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3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5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6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7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8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9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20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21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22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8" r:id="rId4"/>
    <p:sldMasterId id="2147483722" r:id="rId5"/>
  </p:sldMasterIdLst>
  <p:notesMasterIdLst>
    <p:notesMasterId r:id="rId61"/>
  </p:notesMasterIdLst>
  <p:sldIdLst>
    <p:sldId id="370" r:id="rId6"/>
    <p:sldId id="10546" r:id="rId7"/>
    <p:sldId id="2141412417" r:id="rId8"/>
    <p:sldId id="2141412452" r:id="rId9"/>
    <p:sldId id="2141412456" r:id="rId10"/>
    <p:sldId id="2141412457" r:id="rId11"/>
    <p:sldId id="2141412458" r:id="rId12"/>
    <p:sldId id="2141412451" r:id="rId13"/>
    <p:sldId id="382" r:id="rId14"/>
    <p:sldId id="2141412449" r:id="rId15"/>
    <p:sldId id="421" r:id="rId16"/>
    <p:sldId id="1589" r:id="rId17"/>
    <p:sldId id="2141412480" r:id="rId18"/>
    <p:sldId id="1242" r:id="rId19"/>
    <p:sldId id="407" r:id="rId20"/>
    <p:sldId id="10540" r:id="rId21"/>
    <p:sldId id="10541" r:id="rId22"/>
    <p:sldId id="10542" r:id="rId23"/>
    <p:sldId id="10543" r:id="rId24"/>
    <p:sldId id="10544" r:id="rId25"/>
    <p:sldId id="10547" r:id="rId26"/>
    <p:sldId id="10538" r:id="rId27"/>
    <p:sldId id="10545" r:id="rId28"/>
    <p:sldId id="10518" r:id="rId29"/>
    <p:sldId id="10501" r:id="rId30"/>
    <p:sldId id="10536" r:id="rId31"/>
    <p:sldId id="10537" r:id="rId32"/>
    <p:sldId id="10515" r:id="rId33"/>
    <p:sldId id="2141412461" r:id="rId34"/>
    <p:sldId id="2141412463" r:id="rId35"/>
    <p:sldId id="10553" r:id="rId36"/>
    <p:sldId id="384" r:id="rId37"/>
    <p:sldId id="2141412464" r:id="rId38"/>
    <p:sldId id="2141412465" r:id="rId39"/>
    <p:sldId id="2141412466" r:id="rId40"/>
    <p:sldId id="2141412431" r:id="rId41"/>
    <p:sldId id="388" r:id="rId42"/>
    <p:sldId id="2141412479" r:id="rId43"/>
    <p:sldId id="406" r:id="rId44"/>
    <p:sldId id="1243" r:id="rId45"/>
    <p:sldId id="1245" r:id="rId46"/>
    <p:sldId id="2141412475" r:id="rId47"/>
    <p:sldId id="2141412476" r:id="rId48"/>
    <p:sldId id="2141412477" r:id="rId49"/>
    <p:sldId id="2141412478" r:id="rId50"/>
    <p:sldId id="2141412467" r:id="rId51"/>
    <p:sldId id="2141412468" r:id="rId52"/>
    <p:sldId id="2141412469" r:id="rId53"/>
    <p:sldId id="2141412470" r:id="rId54"/>
    <p:sldId id="2141412471" r:id="rId55"/>
    <p:sldId id="2141412472" r:id="rId56"/>
    <p:sldId id="2141412453" r:id="rId57"/>
    <p:sldId id="2141412386" r:id="rId58"/>
    <p:sldId id="2141412473" r:id="rId59"/>
    <p:sldId id="2141412474" r:id="rId6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D0089E00-F471-471D-9C5F-26B18FF19A11}">
          <p14:sldIdLst>
            <p14:sldId id="370"/>
            <p14:sldId id="10546"/>
          </p14:sldIdLst>
        </p14:section>
        <p14:section name="HIstoria" id="{E740C997-47F7-47E7-9E3B-72B681D6F75A}">
          <p14:sldIdLst>
            <p14:sldId id="2141412417"/>
            <p14:sldId id="2141412452"/>
            <p14:sldId id="2141412456"/>
            <p14:sldId id="2141412457"/>
            <p14:sldId id="2141412458"/>
            <p14:sldId id="2141412451"/>
            <p14:sldId id="382"/>
            <p14:sldId id="2141412449"/>
            <p14:sldId id="421"/>
            <p14:sldId id="1589"/>
          </p14:sldIdLst>
        </p14:section>
        <p14:section name="Quality by Design" id="{31B4036F-9B88-42EB-A2C4-B22A3AADE3CD}">
          <p14:sldIdLst>
            <p14:sldId id="2141412480"/>
            <p14:sldId id="1242"/>
            <p14:sldId id="407"/>
            <p14:sldId id="10540"/>
            <p14:sldId id="10541"/>
            <p14:sldId id="10542"/>
            <p14:sldId id="10543"/>
            <p14:sldId id="10544"/>
            <p14:sldId id="10547"/>
            <p14:sldId id="10538"/>
            <p14:sldId id="10545"/>
            <p14:sldId id="10518"/>
            <p14:sldId id="10501"/>
            <p14:sldId id="10536"/>
            <p14:sldId id="10537"/>
            <p14:sldId id="10515"/>
          </p14:sldIdLst>
        </p14:section>
        <p14:section name="Aliados" id="{1F5879C3-55D2-489B-8FA0-CB075099C268}">
          <p14:sldIdLst>
            <p14:sldId id="2141412461"/>
            <p14:sldId id="2141412463"/>
            <p14:sldId id="10553"/>
            <p14:sldId id="384"/>
            <p14:sldId id="2141412464"/>
            <p14:sldId id="2141412465"/>
            <p14:sldId id="2141412466"/>
            <p14:sldId id="2141412431"/>
            <p14:sldId id="388"/>
            <p14:sldId id="2141412479"/>
          </p14:sldIdLst>
        </p14:section>
        <p14:section name="Productos" id="{96C7EED7-0024-4DFE-A789-A8D0087DF5A1}">
          <p14:sldIdLst>
            <p14:sldId id="406"/>
            <p14:sldId id="1243"/>
            <p14:sldId id="1245"/>
            <p14:sldId id="2141412475"/>
            <p14:sldId id="2141412476"/>
            <p14:sldId id="2141412477"/>
            <p14:sldId id="2141412478"/>
            <p14:sldId id="2141412467"/>
            <p14:sldId id="2141412468"/>
            <p14:sldId id="2141412469"/>
            <p14:sldId id="2141412470"/>
            <p14:sldId id="2141412471"/>
            <p14:sldId id="2141412472"/>
          </p14:sldIdLst>
        </p14:section>
        <p14:section name="Servicios" id="{1F0FD2C4-916B-4F6D-850E-C85CF802E9E7}">
          <p14:sldIdLst>
            <p14:sldId id="2141412453"/>
            <p14:sldId id="2141412386"/>
            <p14:sldId id="2141412473"/>
            <p14:sldId id="214141247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arin, Charlotte" initials="LC" lastIdx="12" clrIdx="0">
    <p:extLst>
      <p:ext uri="{19B8F6BF-5375-455C-9EA6-DF929625EA0E}">
        <p15:presenceInfo xmlns:p15="http://schemas.microsoft.com/office/powerpoint/2012/main" userId="S::Charlotte.Larin@terex.com::e82e422c-fce7-4c2f-b914-37d96f1c1e1f" providerId="AD"/>
      </p:ext>
    </p:extLst>
  </p:cmAuthor>
  <p:cmAuthor id="2" name="PaluBenson, Saoirse" initials="PS" lastIdx="25" clrIdx="1">
    <p:extLst>
      <p:ext uri="{19B8F6BF-5375-455C-9EA6-DF929625EA0E}">
        <p15:presenceInfo xmlns:p15="http://schemas.microsoft.com/office/powerpoint/2012/main" userId="S::saoirse.palubenson@terex.com::db309ccb-82c2-4287-9526-cbb98089713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17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76E6A50-5325-47F2-83D2-564DD5032518}" v="10" dt="2022-08-22T18:32:41.13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258"/>
    <p:restoredTop sz="95535" autoAdjust="0"/>
  </p:normalViewPr>
  <p:slideViewPr>
    <p:cSldViewPr snapToGrid="0">
      <p:cViewPr varScale="1">
        <p:scale>
          <a:sx n="109" d="100"/>
          <a:sy n="109" d="100"/>
        </p:scale>
        <p:origin x="48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presProps" Target="presProps.xml"/><Relationship Id="rId68" Type="http://schemas.microsoft.com/office/2015/10/relationships/revisionInfo" Target="revisionInfo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61" Type="http://schemas.openxmlformats.org/officeDocument/2006/relationships/notesMaster" Target="notesMasters/notesMaster1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viewProps" Target="view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microsoft.com/office/2016/11/relationships/changesInfo" Target="changesInfos/changesInfo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cini, Bruno" userId="7446576f-c84e-4bad-a3b1-7bbdc53f2349" providerId="ADAL" clId="{876E6A50-5325-47F2-83D2-564DD5032518}"/>
    <pc:docChg chg="undo custSel addSld delSld modSld addSection modSection">
      <pc:chgData name="Picini, Bruno" userId="7446576f-c84e-4bad-a3b1-7bbdc53f2349" providerId="ADAL" clId="{876E6A50-5325-47F2-83D2-564DD5032518}" dt="2022-08-22T18:34:22.519" v="75" actId="1076"/>
      <pc:docMkLst>
        <pc:docMk/>
      </pc:docMkLst>
      <pc:sldChg chg="addSp delSp modSp mod">
        <pc:chgData name="Picini, Bruno" userId="7446576f-c84e-4bad-a3b1-7bbdc53f2349" providerId="ADAL" clId="{876E6A50-5325-47F2-83D2-564DD5032518}" dt="2022-08-22T18:23:54.718" v="18" actId="20577"/>
        <pc:sldMkLst>
          <pc:docMk/>
          <pc:sldMk cId="1735885423" sldId="370"/>
        </pc:sldMkLst>
        <pc:spChg chg="add del mod">
          <ac:chgData name="Picini, Bruno" userId="7446576f-c84e-4bad-a3b1-7bbdc53f2349" providerId="ADAL" clId="{876E6A50-5325-47F2-83D2-564DD5032518}" dt="2022-08-22T18:23:49.929" v="1" actId="478"/>
          <ac:spMkLst>
            <pc:docMk/>
            <pc:sldMk cId="1735885423" sldId="370"/>
            <ac:spMk id="3" creationId="{4BA8F759-BB03-48D9-8557-18842A11DF87}"/>
          </ac:spMkLst>
        </pc:spChg>
        <pc:spChg chg="mod">
          <ac:chgData name="Picini, Bruno" userId="7446576f-c84e-4bad-a3b1-7bbdc53f2349" providerId="ADAL" clId="{876E6A50-5325-47F2-83D2-564DD5032518}" dt="2022-08-22T18:23:54.718" v="18" actId="20577"/>
          <ac:spMkLst>
            <pc:docMk/>
            <pc:sldMk cId="1735885423" sldId="370"/>
            <ac:spMk id="4" creationId="{D5EE9306-4B1A-492F-8FD5-0FE621930D45}"/>
          </ac:spMkLst>
        </pc:spChg>
        <pc:spChg chg="del">
          <ac:chgData name="Picini, Bruno" userId="7446576f-c84e-4bad-a3b1-7bbdc53f2349" providerId="ADAL" clId="{876E6A50-5325-47F2-83D2-564DD5032518}" dt="2022-08-22T18:23:47.958" v="0" actId="478"/>
          <ac:spMkLst>
            <pc:docMk/>
            <pc:sldMk cId="1735885423" sldId="370"/>
            <ac:spMk id="7" creationId="{2F1CD21F-6D82-4CC4-AE82-301A9B9780F9}"/>
          </ac:spMkLst>
        </pc:spChg>
      </pc:sldChg>
      <pc:sldChg chg="modSp mod">
        <pc:chgData name="Picini, Bruno" userId="7446576f-c84e-4bad-a3b1-7bbdc53f2349" providerId="ADAL" clId="{876E6A50-5325-47F2-83D2-564DD5032518}" dt="2022-08-22T18:32:09.976" v="58" actId="20577"/>
        <pc:sldMkLst>
          <pc:docMk/>
          <pc:sldMk cId="3074168955" sldId="406"/>
        </pc:sldMkLst>
        <pc:spChg chg="mod">
          <ac:chgData name="Picini, Bruno" userId="7446576f-c84e-4bad-a3b1-7bbdc53f2349" providerId="ADAL" clId="{876E6A50-5325-47F2-83D2-564DD5032518}" dt="2022-08-22T18:32:09.976" v="58" actId="20577"/>
          <ac:spMkLst>
            <pc:docMk/>
            <pc:sldMk cId="3074168955" sldId="406"/>
            <ac:spMk id="6" creationId="{F76E52BE-0B77-479D-91CD-51F326AFC8F3}"/>
          </ac:spMkLst>
        </pc:spChg>
      </pc:sldChg>
      <pc:sldChg chg="modSp add mod">
        <pc:chgData name="Picini, Bruno" userId="7446576f-c84e-4bad-a3b1-7bbdc53f2349" providerId="ADAL" clId="{876E6A50-5325-47F2-83D2-564DD5032518}" dt="2022-08-22T18:29:53.238" v="35" actId="255"/>
        <pc:sldMkLst>
          <pc:docMk/>
          <pc:sldMk cId="936434662" sldId="407"/>
        </pc:sldMkLst>
        <pc:spChg chg="mod">
          <ac:chgData name="Picini, Bruno" userId="7446576f-c84e-4bad-a3b1-7bbdc53f2349" providerId="ADAL" clId="{876E6A50-5325-47F2-83D2-564DD5032518}" dt="2022-08-22T18:29:53.238" v="35" actId="255"/>
          <ac:spMkLst>
            <pc:docMk/>
            <pc:sldMk cId="936434662" sldId="407"/>
            <ac:spMk id="2" creationId="{E52079A7-A6CE-0846-A796-EC1D98D36C52}"/>
          </ac:spMkLst>
        </pc:spChg>
      </pc:sldChg>
      <pc:sldChg chg="add">
        <pc:chgData name="Picini, Bruno" userId="7446576f-c84e-4bad-a3b1-7bbdc53f2349" providerId="ADAL" clId="{876E6A50-5325-47F2-83D2-564DD5032518}" dt="2022-08-22T18:28:34.480" v="33"/>
        <pc:sldMkLst>
          <pc:docMk/>
          <pc:sldMk cId="2247967493" sldId="1242"/>
        </pc:sldMkLst>
      </pc:sldChg>
      <pc:sldChg chg="modSp mod">
        <pc:chgData name="Picini, Bruno" userId="7446576f-c84e-4bad-a3b1-7bbdc53f2349" providerId="ADAL" clId="{876E6A50-5325-47F2-83D2-564DD5032518}" dt="2022-08-22T18:32:04.927" v="55" actId="1076"/>
        <pc:sldMkLst>
          <pc:docMk/>
          <pc:sldMk cId="3111387043" sldId="1243"/>
        </pc:sldMkLst>
        <pc:spChg chg="mod">
          <ac:chgData name="Picini, Bruno" userId="7446576f-c84e-4bad-a3b1-7bbdc53f2349" providerId="ADAL" clId="{876E6A50-5325-47F2-83D2-564DD5032518}" dt="2022-08-22T18:32:04.927" v="55" actId="1076"/>
          <ac:spMkLst>
            <pc:docMk/>
            <pc:sldMk cId="3111387043" sldId="1243"/>
            <ac:spMk id="2" creationId="{B3838279-E6B2-4B03-BC9A-1DB95A5A0BDE}"/>
          </ac:spMkLst>
        </pc:spChg>
      </pc:sldChg>
      <pc:sldChg chg="add">
        <pc:chgData name="Picini, Bruno" userId="7446576f-c84e-4bad-a3b1-7bbdc53f2349" providerId="ADAL" clId="{876E6A50-5325-47F2-83D2-564DD5032518}" dt="2022-08-22T18:29:03.013" v="34"/>
        <pc:sldMkLst>
          <pc:docMk/>
          <pc:sldMk cId="2579518291" sldId="10501"/>
        </pc:sldMkLst>
      </pc:sldChg>
      <pc:sldChg chg="delSp add mod">
        <pc:chgData name="Picini, Bruno" userId="7446576f-c84e-4bad-a3b1-7bbdc53f2349" providerId="ADAL" clId="{876E6A50-5325-47F2-83D2-564DD5032518}" dt="2022-08-22T18:30:46.871" v="45" actId="478"/>
        <pc:sldMkLst>
          <pc:docMk/>
          <pc:sldMk cId="2229872677" sldId="10515"/>
        </pc:sldMkLst>
        <pc:picChg chg="del">
          <ac:chgData name="Picini, Bruno" userId="7446576f-c84e-4bad-a3b1-7bbdc53f2349" providerId="ADAL" clId="{876E6A50-5325-47F2-83D2-564DD5032518}" dt="2022-08-22T18:30:46.871" v="45" actId="478"/>
          <ac:picMkLst>
            <pc:docMk/>
            <pc:sldMk cId="2229872677" sldId="10515"/>
            <ac:picMk id="16" creationId="{F3DE5691-9461-445E-BF38-39444A2542FA}"/>
          </ac:picMkLst>
        </pc:picChg>
      </pc:sldChg>
      <pc:sldChg chg="add">
        <pc:chgData name="Picini, Bruno" userId="7446576f-c84e-4bad-a3b1-7bbdc53f2349" providerId="ADAL" clId="{876E6A50-5325-47F2-83D2-564DD5032518}" dt="2022-08-22T18:29:03.013" v="34"/>
        <pc:sldMkLst>
          <pc:docMk/>
          <pc:sldMk cId="1464117215" sldId="10518"/>
        </pc:sldMkLst>
      </pc:sldChg>
      <pc:sldChg chg="add del">
        <pc:chgData name="Picini, Bruno" userId="7446576f-c84e-4bad-a3b1-7bbdc53f2349" providerId="ADAL" clId="{876E6A50-5325-47F2-83D2-564DD5032518}" dt="2022-08-22T18:30:33.796" v="42" actId="47"/>
        <pc:sldMkLst>
          <pc:docMk/>
          <pc:sldMk cId="275185241" sldId="10535"/>
        </pc:sldMkLst>
      </pc:sldChg>
      <pc:sldChg chg="delSp add mod">
        <pc:chgData name="Picini, Bruno" userId="7446576f-c84e-4bad-a3b1-7bbdc53f2349" providerId="ADAL" clId="{876E6A50-5325-47F2-83D2-564DD5032518}" dt="2022-08-22T18:30:40.938" v="43" actId="478"/>
        <pc:sldMkLst>
          <pc:docMk/>
          <pc:sldMk cId="3728838404" sldId="10536"/>
        </pc:sldMkLst>
        <pc:picChg chg="del">
          <ac:chgData name="Picini, Bruno" userId="7446576f-c84e-4bad-a3b1-7bbdc53f2349" providerId="ADAL" clId="{876E6A50-5325-47F2-83D2-564DD5032518}" dt="2022-08-22T18:30:40.938" v="43" actId="478"/>
          <ac:picMkLst>
            <pc:docMk/>
            <pc:sldMk cId="3728838404" sldId="10536"/>
            <ac:picMk id="16" creationId="{5F50ABC2-E51A-4F2A-8800-07897CD39BB6}"/>
          </ac:picMkLst>
        </pc:picChg>
      </pc:sldChg>
      <pc:sldChg chg="delSp add mod">
        <pc:chgData name="Picini, Bruno" userId="7446576f-c84e-4bad-a3b1-7bbdc53f2349" providerId="ADAL" clId="{876E6A50-5325-47F2-83D2-564DD5032518}" dt="2022-08-22T18:30:43.281" v="44" actId="478"/>
        <pc:sldMkLst>
          <pc:docMk/>
          <pc:sldMk cId="4197123682" sldId="10537"/>
        </pc:sldMkLst>
        <pc:grpChg chg="del">
          <ac:chgData name="Picini, Bruno" userId="7446576f-c84e-4bad-a3b1-7bbdc53f2349" providerId="ADAL" clId="{876E6A50-5325-47F2-83D2-564DD5032518}" dt="2022-08-22T18:30:43.281" v="44" actId="478"/>
          <ac:grpSpMkLst>
            <pc:docMk/>
            <pc:sldMk cId="4197123682" sldId="10537"/>
            <ac:grpSpMk id="4" creationId="{EC3167FE-B802-604B-81A6-13130222B9A0}"/>
          </ac:grpSpMkLst>
        </pc:grpChg>
      </pc:sldChg>
      <pc:sldChg chg="add">
        <pc:chgData name="Picini, Bruno" userId="7446576f-c84e-4bad-a3b1-7bbdc53f2349" providerId="ADAL" clId="{876E6A50-5325-47F2-83D2-564DD5032518}" dt="2022-08-22T18:29:03.013" v="34"/>
        <pc:sldMkLst>
          <pc:docMk/>
          <pc:sldMk cId="411366147" sldId="10538"/>
        </pc:sldMkLst>
      </pc:sldChg>
      <pc:sldChg chg="delSp add mod">
        <pc:chgData name="Picini, Bruno" userId="7446576f-c84e-4bad-a3b1-7bbdc53f2349" providerId="ADAL" clId="{876E6A50-5325-47F2-83D2-564DD5032518}" dt="2022-08-22T18:29:58.122" v="36" actId="478"/>
        <pc:sldMkLst>
          <pc:docMk/>
          <pc:sldMk cId="3676510723" sldId="10540"/>
        </pc:sldMkLst>
        <pc:spChg chg="del">
          <ac:chgData name="Picini, Bruno" userId="7446576f-c84e-4bad-a3b1-7bbdc53f2349" providerId="ADAL" clId="{876E6A50-5325-47F2-83D2-564DD5032518}" dt="2022-08-22T18:29:58.122" v="36" actId="478"/>
          <ac:spMkLst>
            <pc:docMk/>
            <pc:sldMk cId="3676510723" sldId="10540"/>
            <ac:spMk id="48" creationId="{15270F83-C91F-C84A-A0B7-5A22FEA21368}"/>
          </ac:spMkLst>
        </pc:spChg>
      </pc:sldChg>
      <pc:sldChg chg="delSp add mod">
        <pc:chgData name="Picini, Bruno" userId="7446576f-c84e-4bad-a3b1-7bbdc53f2349" providerId="ADAL" clId="{876E6A50-5325-47F2-83D2-564DD5032518}" dt="2022-08-22T18:30:07.977" v="37" actId="478"/>
        <pc:sldMkLst>
          <pc:docMk/>
          <pc:sldMk cId="4088014278" sldId="10541"/>
        </pc:sldMkLst>
        <pc:spChg chg="del">
          <ac:chgData name="Picini, Bruno" userId="7446576f-c84e-4bad-a3b1-7bbdc53f2349" providerId="ADAL" clId="{876E6A50-5325-47F2-83D2-564DD5032518}" dt="2022-08-22T18:30:07.977" v="37" actId="478"/>
          <ac:spMkLst>
            <pc:docMk/>
            <pc:sldMk cId="4088014278" sldId="10541"/>
            <ac:spMk id="36" creationId="{6FA61110-5126-3E4C-8E70-A56C06EE1DEF}"/>
          </ac:spMkLst>
        </pc:spChg>
      </pc:sldChg>
      <pc:sldChg chg="delSp add mod">
        <pc:chgData name="Picini, Bruno" userId="7446576f-c84e-4bad-a3b1-7bbdc53f2349" providerId="ADAL" clId="{876E6A50-5325-47F2-83D2-564DD5032518}" dt="2022-08-22T18:30:11.193" v="38" actId="478"/>
        <pc:sldMkLst>
          <pc:docMk/>
          <pc:sldMk cId="2512193228" sldId="10542"/>
        </pc:sldMkLst>
        <pc:spChg chg="del">
          <ac:chgData name="Picini, Bruno" userId="7446576f-c84e-4bad-a3b1-7bbdc53f2349" providerId="ADAL" clId="{876E6A50-5325-47F2-83D2-564DD5032518}" dt="2022-08-22T18:30:11.193" v="38" actId="478"/>
          <ac:spMkLst>
            <pc:docMk/>
            <pc:sldMk cId="2512193228" sldId="10542"/>
            <ac:spMk id="27" creationId="{F3F54755-FD2B-E24E-B501-F9B1BE83DC68}"/>
          </ac:spMkLst>
        </pc:spChg>
      </pc:sldChg>
      <pc:sldChg chg="delSp add mod">
        <pc:chgData name="Picini, Bruno" userId="7446576f-c84e-4bad-a3b1-7bbdc53f2349" providerId="ADAL" clId="{876E6A50-5325-47F2-83D2-564DD5032518}" dt="2022-08-22T18:30:14.824" v="39" actId="478"/>
        <pc:sldMkLst>
          <pc:docMk/>
          <pc:sldMk cId="1894546925" sldId="10543"/>
        </pc:sldMkLst>
        <pc:spChg chg="del">
          <ac:chgData name="Picini, Bruno" userId="7446576f-c84e-4bad-a3b1-7bbdc53f2349" providerId="ADAL" clId="{876E6A50-5325-47F2-83D2-564DD5032518}" dt="2022-08-22T18:30:14.824" v="39" actId="478"/>
          <ac:spMkLst>
            <pc:docMk/>
            <pc:sldMk cId="1894546925" sldId="10543"/>
            <ac:spMk id="38" creationId="{F339A4E1-4FB1-7A40-8E1C-0B439F39D760}"/>
          </ac:spMkLst>
        </pc:spChg>
      </pc:sldChg>
      <pc:sldChg chg="delSp add mod">
        <pc:chgData name="Picini, Bruno" userId="7446576f-c84e-4bad-a3b1-7bbdc53f2349" providerId="ADAL" clId="{876E6A50-5325-47F2-83D2-564DD5032518}" dt="2022-08-22T18:30:21.654" v="40" actId="478"/>
        <pc:sldMkLst>
          <pc:docMk/>
          <pc:sldMk cId="3604618641" sldId="10544"/>
        </pc:sldMkLst>
        <pc:spChg chg="del">
          <ac:chgData name="Picini, Bruno" userId="7446576f-c84e-4bad-a3b1-7bbdc53f2349" providerId="ADAL" clId="{876E6A50-5325-47F2-83D2-564DD5032518}" dt="2022-08-22T18:30:21.654" v="40" actId="478"/>
          <ac:spMkLst>
            <pc:docMk/>
            <pc:sldMk cId="3604618641" sldId="10544"/>
            <ac:spMk id="28" creationId="{DA7B716B-5F70-6441-AFF5-9BF1D5C564C5}"/>
          </ac:spMkLst>
        </pc:spChg>
      </pc:sldChg>
      <pc:sldChg chg="add">
        <pc:chgData name="Picini, Bruno" userId="7446576f-c84e-4bad-a3b1-7bbdc53f2349" providerId="ADAL" clId="{876E6A50-5325-47F2-83D2-564DD5032518}" dt="2022-08-22T18:29:03.013" v="34"/>
        <pc:sldMkLst>
          <pc:docMk/>
          <pc:sldMk cId="3274420405" sldId="10545"/>
        </pc:sldMkLst>
      </pc:sldChg>
      <pc:sldChg chg="addSp delSp modSp mod">
        <pc:chgData name="Picini, Bruno" userId="7446576f-c84e-4bad-a3b1-7bbdc53f2349" providerId="ADAL" clId="{876E6A50-5325-47F2-83D2-564DD5032518}" dt="2022-08-22T18:26:13.631" v="22"/>
        <pc:sldMkLst>
          <pc:docMk/>
          <pc:sldMk cId="718245858" sldId="10546"/>
        </pc:sldMkLst>
        <pc:spChg chg="del mod">
          <ac:chgData name="Picini, Bruno" userId="7446576f-c84e-4bad-a3b1-7bbdc53f2349" providerId="ADAL" clId="{876E6A50-5325-47F2-83D2-564DD5032518}" dt="2022-08-22T18:26:12.744" v="21" actId="478"/>
          <ac:spMkLst>
            <pc:docMk/>
            <pc:sldMk cId="718245858" sldId="10546"/>
            <ac:spMk id="4" creationId="{E1FB9B70-D548-C740-82C8-640E5DCD362B}"/>
          </ac:spMkLst>
        </pc:spChg>
        <pc:spChg chg="del">
          <ac:chgData name="Picini, Bruno" userId="7446576f-c84e-4bad-a3b1-7bbdc53f2349" providerId="ADAL" clId="{876E6A50-5325-47F2-83D2-564DD5032518}" dt="2022-08-22T18:26:12.744" v="21" actId="478"/>
          <ac:spMkLst>
            <pc:docMk/>
            <pc:sldMk cId="718245858" sldId="10546"/>
            <ac:spMk id="15" creationId="{B28BBB0B-1BF1-4340-A281-02EE2B371229}"/>
          </ac:spMkLst>
        </pc:spChg>
        <pc:spChg chg="del">
          <ac:chgData name="Picini, Bruno" userId="7446576f-c84e-4bad-a3b1-7bbdc53f2349" providerId="ADAL" clId="{876E6A50-5325-47F2-83D2-564DD5032518}" dt="2022-08-22T18:26:12.744" v="21" actId="478"/>
          <ac:spMkLst>
            <pc:docMk/>
            <pc:sldMk cId="718245858" sldId="10546"/>
            <ac:spMk id="17" creationId="{E77EDCEE-4D63-3745-93EE-A5F3C06643BB}"/>
          </ac:spMkLst>
        </pc:spChg>
        <pc:spChg chg="del">
          <ac:chgData name="Picini, Bruno" userId="7446576f-c84e-4bad-a3b1-7bbdc53f2349" providerId="ADAL" clId="{876E6A50-5325-47F2-83D2-564DD5032518}" dt="2022-08-22T18:26:12.744" v="21" actId="478"/>
          <ac:spMkLst>
            <pc:docMk/>
            <pc:sldMk cId="718245858" sldId="10546"/>
            <ac:spMk id="19" creationId="{242CA797-C52B-A845-9A1D-DBDEC4652C9C}"/>
          </ac:spMkLst>
        </pc:spChg>
        <pc:spChg chg="del">
          <ac:chgData name="Picini, Bruno" userId="7446576f-c84e-4bad-a3b1-7bbdc53f2349" providerId="ADAL" clId="{876E6A50-5325-47F2-83D2-564DD5032518}" dt="2022-08-22T18:26:12.744" v="21" actId="478"/>
          <ac:spMkLst>
            <pc:docMk/>
            <pc:sldMk cId="718245858" sldId="10546"/>
            <ac:spMk id="21" creationId="{5745B192-9642-434C-9577-6B6AD7C539F5}"/>
          </ac:spMkLst>
        </pc:spChg>
        <pc:spChg chg="add mod">
          <ac:chgData name="Picini, Bruno" userId="7446576f-c84e-4bad-a3b1-7bbdc53f2349" providerId="ADAL" clId="{876E6A50-5325-47F2-83D2-564DD5032518}" dt="2022-08-22T18:26:13.631" v="22"/>
          <ac:spMkLst>
            <pc:docMk/>
            <pc:sldMk cId="718245858" sldId="10546"/>
            <ac:spMk id="22" creationId="{96ADB9F7-A2D7-4224-B750-5454CA926B85}"/>
          </ac:spMkLst>
        </pc:spChg>
        <pc:spChg chg="add mod">
          <ac:chgData name="Picini, Bruno" userId="7446576f-c84e-4bad-a3b1-7bbdc53f2349" providerId="ADAL" clId="{876E6A50-5325-47F2-83D2-564DD5032518}" dt="2022-08-22T18:26:13.631" v="22"/>
          <ac:spMkLst>
            <pc:docMk/>
            <pc:sldMk cId="718245858" sldId="10546"/>
            <ac:spMk id="23" creationId="{ABE93053-6AE3-4AC7-966F-24BDA1E10AB7}"/>
          </ac:spMkLst>
        </pc:spChg>
        <pc:spChg chg="add mod">
          <ac:chgData name="Picini, Bruno" userId="7446576f-c84e-4bad-a3b1-7bbdc53f2349" providerId="ADAL" clId="{876E6A50-5325-47F2-83D2-564DD5032518}" dt="2022-08-22T18:26:13.631" v="22"/>
          <ac:spMkLst>
            <pc:docMk/>
            <pc:sldMk cId="718245858" sldId="10546"/>
            <ac:spMk id="24" creationId="{5A852251-B61C-4AD1-AADF-5A3EFA227F26}"/>
          </ac:spMkLst>
        </pc:spChg>
        <pc:spChg chg="add mod">
          <ac:chgData name="Picini, Bruno" userId="7446576f-c84e-4bad-a3b1-7bbdc53f2349" providerId="ADAL" clId="{876E6A50-5325-47F2-83D2-564DD5032518}" dt="2022-08-22T18:26:13.631" v="22"/>
          <ac:spMkLst>
            <pc:docMk/>
            <pc:sldMk cId="718245858" sldId="10546"/>
            <ac:spMk id="25" creationId="{C825D471-F55C-4BD4-803C-E70DE59BAEA5}"/>
          </ac:spMkLst>
        </pc:spChg>
        <pc:spChg chg="add mod">
          <ac:chgData name="Picini, Bruno" userId="7446576f-c84e-4bad-a3b1-7bbdc53f2349" providerId="ADAL" clId="{876E6A50-5325-47F2-83D2-564DD5032518}" dt="2022-08-22T18:26:13.631" v="22"/>
          <ac:spMkLst>
            <pc:docMk/>
            <pc:sldMk cId="718245858" sldId="10546"/>
            <ac:spMk id="26" creationId="{37BE465B-FBC4-49EE-AD44-581254441B63}"/>
          </ac:spMkLst>
        </pc:spChg>
      </pc:sldChg>
      <pc:sldChg chg="delSp add mod">
        <pc:chgData name="Picini, Bruno" userId="7446576f-c84e-4bad-a3b1-7bbdc53f2349" providerId="ADAL" clId="{876E6A50-5325-47F2-83D2-564DD5032518}" dt="2022-08-22T18:30:25.136" v="41" actId="478"/>
        <pc:sldMkLst>
          <pc:docMk/>
          <pc:sldMk cId="4108119083" sldId="10547"/>
        </pc:sldMkLst>
        <pc:spChg chg="del">
          <ac:chgData name="Picini, Bruno" userId="7446576f-c84e-4bad-a3b1-7bbdc53f2349" providerId="ADAL" clId="{876E6A50-5325-47F2-83D2-564DD5032518}" dt="2022-08-22T18:30:25.136" v="41" actId="478"/>
          <ac:spMkLst>
            <pc:docMk/>
            <pc:sldMk cId="4108119083" sldId="10547"/>
            <ac:spMk id="28" creationId="{DA7B716B-5F70-6441-AFF5-9BF1D5C564C5}"/>
          </ac:spMkLst>
        </pc:spChg>
      </pc:sldChg>
      <pc:sldChg chg="modSp mod">
        <pc:chgData name="Picini, Bruno" userId="7446576f-c84e-4bad-a3b1-7bbdc53f2349" providerId="ADAL" clId="{876E6A50-5325-47F2-83D2-564DD5032518}" dt="2022-08-22T18:26:42.399" v="23" actId="6549"/>
        <pc:sldMkLst>
          <pc:docMk/>
          <pc:sldMk cId="332081125" sldId="2141412449"/>
        </pc:sldMkLst>
        <pc:spChg chg="mod">
          <ac:chgData name="Picini, Bruno" userId="7446576f-c84e-4bad-a3b1-7bbdc53f2349" providerId="ADAL" clId="{876E6A50-5325-47F2-83D2-564DD5032518}" dt="2022-08-22T18:26:42.399" v="23" actId="6549"/>
          <ac:spMkLst>
            <pc:docMk/>
            <pc:sldMk cId="332081125" sldId="2141412449"/>
            <ac:spMk id="5" creationId="{04808D92-E60E-4033-8B3D-9680CBE3CFA5}"/>
          </ac:spMkLst>
        </pc:spChg>
      </pc:sldChg>
      <pc:sldChg chg="modSp mod delCm modCm">
        <pc:chgData name="Picini, Bruno" userId="7446576f-c84e-4bad-a3b1-7bbdc53f2349" providerId="ADAL" clId="{876E6A50-5325-47F2-83D2-564DD5032518}" dt="2022-08-22T18:33:07.714" v="71" actId="20577"/>
        <pc:sldMkLst>
          <pc:docMk/>
          <pc:sldMk cId="586527606" sldId="2141412453"/>
        </pc:sldMkLst>
        <pc:spChg chg="mod">
          <ac:chgData name="Picini, Bruno" userId="7446576f-c84e-4bad-a3b1-7bbdc53f2349" providerId="ADAL" clId="{876E6A50-5325-47F2-83D2-564DD5032518}" dt="2022-08-22T18:33:07.714" v="71" actId="20577"/>
          <ac:spMkLst>
            <pc:docMk/>
            <pc:sldMk cId="586527606" sldId="2141412453"/>
            <ac:spMk id="2" creationId="{6F21AC65-B2DD-4FDC-855F-15EA19F3DA10}"/>
          </ac:spMkLst>
        </pc:spChg>
      </pc:sldChg>
      <pc:sldChg chg="modSp mod">
        <pc:chgData name="Picini, Bruno" userId="7446576f-c84e-4bad-a3b1-7bbdc53f2349" providerId="ADAL" clId="{876E6A50-5325-47F2-83D2-564DD5032518}" dt="2022-08-22T18:31:16.411" v="48" actId="1076"/>
        <pc:sldMkLst>
          <pc:docMk/>
          <pc:sldMk cId="4268579944" sldId="2141412464"/>
        </pc:sldMkLst>
        <pc:grpChg chg="mod">
          <ac:chgData name="Picini, Bruno" userId="7446576f-c84e-4bad-a3b1-7bbdc53f2349" providerId="ADAL" clId="{876E6A50-5325-47F2-83D2-564DD5032518}" dt="2022-08-22T18:31:16.411" v="48" actId="1076"/>
          <ac:grpSpMkLst>
            <pc:docMk/>
            <pc:sldMk cId="4268579944" sldId="2141412464"/>
            <ac:grpSpMk id="15" creationId="{771F7F50-0D0D-E744-9AAA-EBD2FB7EB718}"/>
          </ac:grpSpMkLst>
        </pc:grpChg>
      </pc:sldChg>
      <pc:sldChg chg="modSp mod">
        <pc:chgData name="Picini, Bruno" userId="7446576f-c84e-4bad-a3b1-7bbdc53f2349" providerId="ADAL" clId="{876E6A50-5325-47F2-83D2-564DD5032518}" dt="2022-08-22T18:32:33.196" v="60" actId="404"/>
        <pc:sldMkLst>
          <pc:docMk/>
          <pc:sldMk cId="3049261080" sldId="2141412468"/>
        </pc:sldMkLst>
        <pc:spChg chg="mod">
          <ac:chgData name="Picini, Bruno" userId="7446576f-c84e-4bad-a3b1-7bbdc53f2349" providerId="ADAL" clId="{876E6A50-5325-47F2-83D2-564DD5032518}" dt="2022-08-22T18:32:33.196" v="60" actId="404"/>
          <ac:spMkLst>
            <pc:docMk/>
            <pc:sldMk cId="3049261080" sldId="2141412468"/>
            <ac:spMk id="8" creationId="{16B2BB81-02A2-4C10-9885-B1EA18BDEC64}"/>
          </ac:spMkLst>
        </pc:spChg>
        <pc:spChg chg="mod">
          <ac:chgData name="Picini, Bruno" userId="7446576f-c84e-4bad-a3b1-7bbdc53f2349" providerId="ADAL" clId="{876E6A50-5325-47F2-83D2-564DD5032518}" dt="2022-08-22T18:32:30.554" v="59" actId="1076"/>
          <ac:spMkLst>
            <pc:docMk/>
            <pc:sldMk cId="3049261080" sldId="2141412468"/>
            <ac:spMk id="11" creationId="{E4BECCCD-E0FE-411A-B147-080B52B6A7B1}"/>
          </ac:spMkLst>
        </pc:spChg>
      </pc:sldChg>
      <pc:sldChg chg="delSp">
        <pc:chgData name="Picini, Bruno" userId="7446576f-c84e-4bad-a3b1-7bbdc53f2349" providerId="ADAL" clId="{876E6A50-5325-47F2-83D2-564DD5032518}" dt="2022-08-22T18:32:41.136" v="62" actId="478"/>
        <pc:sldMkLst>
          <pc:docMk/>
          <pc:sldMk cId="1956964759" sldId="2141412470"/>
        </pc:sldMkLst>
        <pc:picChg chg="del">
          <ac:chgData name="Picini, Bruno" userId="7446576f-c84e-4bad-a3b1-7bbdc53f2349" providerId="ADAL" clId="{876E6A50-5325-47F2-83D2-564DD5032518}" dt="2022-08-22T18:32:40.623" v="61" actId="478"/>
          <ac:picMkLst>
            <pc:docMk/>
            <pc:sldMk cId="1956964759" sldId="2141412470"/>
            <ac:picMk id="4098" creationId="{6BC90897-2E4F-466B-AE96-3F454499CFE6}"/>
          </ac:picMkLst>
        </pc:picChg>
        <pc:picChg chg="del">
          <ac:chgData name="Picini, Bruno" userId="7446576f-c84e-4bad-a3b1-7bbdc53f2349" providerId="ADAL" clId="{876E6A50-5325-47F2-83D2-564DD5032518}" dt="2022-08-22T18:32:41.136" v="62" actId="478"/>
          <ac:picMkLst>
            <pc:docMk/>
            <pc:sldMk cId="1956964759" sldId="2141412470"/>
            <ac:picMk id="4104" creationId="{517AE06E-BC53-4F7D-9A9B-4B50207130E1}"/>
          </ac:picMkLst>
        </pc:picChg>
      </pc:sldChg>
      <pc:sldChg chg="modSp mod">
        <pc:chgData name="Picini, Bruno" userId="7446576f-c84e-4bad-a3b1-7bbdc53f2349" providerId="ADAL" clId="{876E6A50-5325-47F2-83D2-564DD5032518}" dt="2022-08-22T18:34:22.519" v="75" actId="1076"/>
        <pc:sldMkLst>
          <pc:docMk/>
          <pc:sldMk cId="4019613188" sldId="2141412474"/>
        </pc:sldMkLst>
        <pc:spChg chg="mod">
          <ac:chgData name="Picini, Bruno" userId="7446576f-c84e-4bad-a3b1-7bbdc53f2349" providerId="ADAL" clId="{876E6A50-5325-47F2-83D2-564DD5032518}" dt="2022-08-22T18:34:19.673" v="74" actId="1076"/>
          <ac:spMkLst>
            <pc:docMk/>
            <pc:sldMk cId="4019613188" sldId="2141412474"/>
            <ac:spMk id="2" creationId="{1C50A13E-D5B4-45CE-8F1D-A890AFEBAC18}"/>
          </ac:spMkLst>
        </pc:spChg>
        <pc:spChg chg="mod">
          <ac:chgData name="Picini, Bruno" userId="7446576f-c84e-4bad-a3b1-7bbdc53f2349" providerId="ADAL" clId="{876E6A50-5325-47F2-83D2-564DD5032518}" dt="2022-08-22T18:34:22.519" v="75" actId="1076"/>
          <ac:spMkLst>
            <pc:docMk/>
            <pc:sldMk cId="4019613188" sldId="2141412474"/>
            <ac:spMk id="4" creationId="{32B2C842-6BB6-4BE2-8B27-C75C57A5DA44}"/>
          </ac:spMkLst>
        </pc:spChg>
        <pc:spChg chg="mod">
          <ac:chgData name="Picini, Bruno" userId="7446576f-c84e-4bad-a3b1-7bbdc53f2349" providerId="ADAL" clId="{876E6A50-5325-47F2-83D2-564DD5032518}" dt="2022-08-22T18:34:16.655" v="73" actId="1076"/>
          <ac:spMkLst>
            <pc:docMk/>
            <pc:sldMk cId="4019613188" sldId="2141412474"/>
            <ac:spMk id="5" creationId="{F99EB4AB-A57F-4148-B1FA-A65B1492094B}"/>
          </ac:spMkLst>
        </pc:spChg>
      </pc:sldChg>
      <pc:sldChg chg="addSp delSp modSp mod">
        <pc:chgData name="Picini, Bruno" userId="7446576f-c84e-4bad-a3b1-7bbdc53f2349" providerId="ADAL" clId="{876E6A50-5325-47F2-83D2-564DD5032518}" dt="2022-08-22T18:31:45.496" v="53" actId="1076"/>
        <pc:sldMkLst>
          <pc:docMk/>
          <pc:sldMk cId="2555563103" sldId="2141412479"/>
        </pc:sldMkLst>
        <pc:spChg chg="add mod">
          <ac:chgData name="Picini, Bruno" userId="7446576f-c84e-4bad-a3b1-7bbdc53f2349" providerId="ADAL" clId="{876E6A50-5325-47F2-83D2-564DD5032518}" dt="2022-08-22T18:31:30.861" v="49" actId="478"/>
          <ac:spMkLst>
            <pc:docMk/>
            <pc:sldMk cId="2555563103" sldId="2141412479"/>
            <ac:spMk id="3" creationId="{2B74EF56-9844-4890-96C7-28F92EB617F4}"/>
          </ac:spMkLst>
        </pc:spChg>
        <pc:spChg chg="del">
          <ac:chgData name="Picini, Bruno" userId="7446576f-c84e-4bad-a3b1-7bbdc53f2349" providerId="ADAL" clId="{876E6A50-5325-47F2-83D2-564DD5032518}" dt="2022-08-22T18:31:30.861" v="49" actId="478"/>
          <ac:spMkLst>
            <pc:docMk/>
            <pc:sldMk cId="2555563103" sldId="2141412479"/>
            <ac:spMk id="5" creationId="{7DBA59FD-0F83-4012-B900-EB08B6C4B6B3}"/>
          </ac:spMkLst>
        </pc:spChg>
        <pc:spChg chg="mod">
          <ac:chgData name="Picini, Bruno" userId="7446576f-c84e-4bad-a3b1-7bbdc53f2349" providerId="ADAL" clId="{876E6A50-5325-47F2-83D2-564DD5032518}" dt="2022-08-22T18:31:45.496" v="53" actId="1076"/>
          <ac:spMkLst>
            <pc:docMk/>
            <pc:sldMk cId="2555563103" sldId="2141412479"/>
            <ac:spMk id="49" creationId="{9AFA72EB-C623-E849-94FA-374209D2200F}"/>
          </ac:spMkLst>
        </pc:spChg>
        <pc:spChg chg="del">
          <ac:chgData name="Picini, Bruno" userId="7446576f-c84e-4bad-a3b1-7bbdc53f2349" providerId="ADAL" clId="{876E6A50-5325-47F2-83D2-564DD5032518}" dt="2022-08-22T18:31:34.107" v="51" actId="478"/>
          <ac:spMkLst>
            <pc:docMk/>
            <pc:sldMk cId="2555563103" sldId="2141412479"/>
            <ac:spMk id="62" creationId="{F2C9E863-1028-7F40-8F9A-44EC4608109A}"/>
          </ac:spMkLst>
        </pc:spChg>
        <pc:picChg chg="mod">
          <ac:chgData name="Picini, Bruno" userId="7446576f-c84e-4bad-a3b1-7bbdc53f2349" providerId="ADAL" clId="{876E6A50-5325-47F2-83D2-564DD5032518}" dt="2022-08-22T18:31:37.035" v="52" actId="1076"/>
          <ac:picMkLst>
            <pc:docMk/>
            <pc:sldMk cId="2555563103" sldId="2141412479"/>
            <ac:picMk id="14" creationId="{0DFC8362-0084-4098-9904-10D0758B816F}"/>
          </ac:picMkLst>
        </pc:picChg>
        <pc:picChg chg="del">
          <ac:chgData name="Picini, Bruno" userId="7446576f-c84e-4bad-a3b1-7bbdc53f2349" providerId="ADAL" clId="{876E6A50-5325-47F2-83D2-564DD5032518}" dt="2022-08-22T18:31:31.513" v="50" actId="478"/>
          <ac:picMkLst>
            <pc:docMk/>
            <pc:sldMk cId="2555563103" sldId="2141412479"/>
            <ac:picMk id="63" creationId="{C3817175-0CC1-0F44-B422-5A45019C74DF}"/>
          </ac:picMkLst>
        </pc:picChg>
      </pc:sldChg>
      <pc:sldChg chg="add">
        <pc:chgData name="Picini, Bruno" userId="7446576f-c84e-4bad-a3b1-7bbdc53f2349" providerId="ADAL" clId="{876E6A50-5325-47F2-83D2-564DD5032518}" dt="2022-08-22T18:27:54.722" v="30"/>
        <pc:sldMkLst>
          <pc:docMk/>
          <pc:sldMk cId="1608532250" sldId="2141412480"/>
        </pc:sldMkLst>
      </pc:sldChg>
      <pc:sldChg chg="add del">
        <pc:chgData name="Picini, Bruno" userId="7446576f-c84e-4bad-a3b1-7bbdc53f2349" providerId="ADAL" clId="{876E6A50-5325-47F2-83D2-564DD5032518}" dt="2022-08-22T18:27:48.222" v="29"/>
        <pc:sldMkLst>
          <pc:docMk/>
          <pc:sldMk cId="2692572297" sldId="2141412480"/>
        </pc:sldMkLst>
      </pc:sldChg>
      <pc:sldChg chg="add del">
        <pc:chgData name="Picini, Bruno" userId="7446576f-c84e-4bad-a3b1-7bbdc53f2349" providerId="ADAL" clId="{876E6A50-5325-47F2-83D2-564DD5032518}" dt="2022-08-22T18:27:40.612" v="27" actId="47"/>
        <pc:sldMkLst>
          <pc:docMk/>
          <pc:sldMk cId="3986335896" sldId="2141412480"/>
        </pc:sldMkLst>
      </pc:sldChg>
    </pc:docChg>
  </pc:docChgLst>
</pc:chgInfo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2-04-04T15:09:12.659" idx="4">
    <p:pos x="10" y="10"/>
    <p:text>Find mapstand content to add features and benefits infographics</p:text>
    <p:extLst>
      <p:ext uri="{C676402C-5697-4E1C-873F-D02D1690AC5C}">
        <p15:threadingInfo xmlns:p15="http://schemas.microsoft.com/office/powerpoint/2012/main" timeZoneBias="420"/>
      </p:ext>
    </p:extLst>
  </p:cm>
  <p:cm authorId="1" dt="2022-04-04T15:09:53.772" idx="5">
    <p:pos x="10" y="106"/>
    <p:text>May be from the spec sheet project?</p:text>
    <p:extLst>
      <p:ext uri="{C676402C-5697-4E1C-873F-D02D1690AC5C}">
        <p15:threadingInfo xmlns:p15="http://schemas.microsoft.com/office/powerpoint/2012/main" timeZoneBias="420">
          <p15:parentCm authorId="1" idx="4"/>
        </p15:threadingInfo>
      </p:ext>
    </p:extLst>
  </p:cm>
</p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D91A52-947F-44AC-8821-C9C2817613FB}" type="datetimeFigureOut">
              <a:rPr lang="en-US" smtClean="0"/>
              <a:t>8/2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5120AB-1BE0-4A7D-8316-508CB20C9EB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918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6450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 algn="l" rtl="0">
              <a:buFont typeface="Arial" panose="020B0604020202020204" pitchFamily="34" charset="0"/>
              <a:buChar char="•"/>
            </a:pPr>
            <a:endParaRPr lang="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DBE71D4B-DE26-4E85-8678-1ABB48BA24AA}" type="slidenum">
              <a:rPr/>
              <a:t>15</a:t>
            </a:fld>
            <a:endParaRPr lang="es"/>
          </a:p>
        </p:txBody>
      </p:sp>
    </p:spTree>
    <p:extLst>
      <p:ext uri="{BB962C8B-B14F-4D97-AF65-F5344CB8AC3E}">
        <p14:creationId xmlns:p14="http://schemas.microsoft.com/office/powerpoint/2010/main" val="4352195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8DBF8F21-6F60-414D-995E-AED79BF20E59}" type="slidenum">
              <a:rPr/>
              <a:t>16</a:t>
            </a:fld>
            <a:endParaRPr lang="e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s"/>
          </a:p>
        </p:txBody>
      </p:sp>
    </p:spTree>
    <p:extLst>
      <p:ext uri="{BB962C8B-B14F-4D97-AF65-F5344CB8AC3E}">
        <p14:creationId xmlns:p14="http://schemas.microsoft.com/office/powerpoint/2010/main" val="33324797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8DBF8F21-6F60-414D-995E-AED79BF20E59}" type="slidenum">
              <a:rPr/>
              <a:t>17</a:t>
            </a:fld>
            <a:endParaRPr lang="e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s"/>
          </a:p>
        </p:txBody>
      </p:sp>
    </p:spTree>
    <p:extLst>
      <p:ext uri="{BB962C8B-B14F-4D97-AF65-F5344CB8AC3E}">
        <p14:creationId xmlns:p14="http://schemas.microsoft.com/office/powerpoint/2010/main" val="6936805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8DBF8F21-6F60-414D-995E-AED79BF20E59}" type="slidenum">
              <a:rPr/>
              <a:t>18</a:t>
            </a:fld>
            <a:endParaRPr lang="e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s"/>
          </a:p>
        </p:txBody>
      </p:sp>
    </p:spTree>
    <p:extLst>
      <p:ext uri="{BB962C8B-B14F-4D97-AF65-F5344CB8AC3E}">
        <p14:creationId xmlns:p14="http://schemas.microsoft.com/office/powerpoint/2010/main" val="60919799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8DBF8F21-6F60-414D-995E-AED79BF20E59}" type="slidenum">
              <a:rPr/>
              <a:t>19</a:t>
            </a:fld>
            <a:endParaRPr lang="e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s"/>
          </a:p>
        </p:txBody>
      </p:sp>
    </p:spTree>
    <p:extLst>
      <p:ext uri="{BB962C8B-B14F-4D97-AF65-F5344CB8AC3E}">
        <p14:creationId xmlns:p14="http://schemas.microsoft.com/office/powerpoint/2010/main" val="24610743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8DBF8F21-6F60-414D-995E-AED79BF20E59}" type="slidenum">
              <a:rPr/>
              <a:t>20</a:t>
            </a:fld>
            <a:endParaRPr lang="e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s"/>
          </a:p>
        </p:txBody>
      </p:sp>
    </p:spTree>
    <p:extLst>
      <p:ext uri="{BB962C8B-B14F-4D97-AF65-F5344CB8AC3E}">
        <p14:creationId xmlns:p14="http://schemas.microsoft.com/office/powerpoint/2010/main" val="105391871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8DBF8F21-6F60-414D-995E-AED79BF20E59}" type="slidenum">
              <a:rPr/>
              <a:t>21</a:t>
            </a:fld>
            <a:endParaRPr lang="e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s"/>
          </a:p>
        </p:txBody>
      </p:sp>
    </p:spTree>
    <p:extLst>
      <p:ext uri="{BB962C8B-B14F-4D97-AF65-F5344CB8AC3E}">
        <p14:creationId xmlns:p14="http://schemas.microsoft.com/office/powerpoint/2010/main" val="400778818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8DBF8F21-6F60-414D-995E-AED79BF20E59}" type="slidenum">
              <a:rPr/>
              <a:t>22</a:t>
            </a:fld>
            <a:endParaRPr lang="e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s"/>
          </a:p>
        </p:txBody>
      </p:sp>
    </p:spTree>
    <p:extLst>
      <p:ext uri="{BB962C8B-B14F-4D97-AF65-F5344CB8AC3E}">
        <p14:creationId xmlns:p14="http://schemas.microsoft.com/office/powerpoint/2010/main" val="385713618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8DBF8F21-6F60-414D-995E-AED79BF20E59}" type="slidenum">
              <a:rPr/>
              <a:t>23</a:t>
            </a:fld>
            <a:endParaRPr lang="e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s"/>
          </a:p>
        </p:txBody>
      </p:sp>
    </p:spTree>
    <p:extLst>
      <p:ext uri="{BB962C8B-B14F-4D97-AF65-F5344CB8AC3E}">
        <p14:creationId xmlns:p14="http://schemas.microsoft.com/office/powerpoint/2010/main" val="87385071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8DBF8F21-6F60-414D-995E-AED79BF20E59}" type="slidenum">
              <a:rPr/>
              <a:t>24</a:t>
            </a:fld>
            <a:endParaRPr lang="e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s" dirty="0"/>
          </a:p>
        </p:txBody>
      </p:sp>
    </p:spTree>
    <p:extLst>
      <p:ext uri="{BB962C8B-B14F-4D97-AF65-F5344CB8AC3E}">
        <p14:creationId xmlns:p14="http://schemas.microsoft.com/office/powerpoint/2010/main" val="35084402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E71D4B-DE26-4E85-8678-1ABB48BA24A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374683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8DBF8F21-6F60-414D-995E-AED79BF20E59}" type="slidenum">
              <a:rPr/>
              <a:t>25</a:t>
            </a:fld>
            <a:endParaRPr lang="e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s"/>
          </a:p>
        </p:txBody>
      </p:sp>
    </p:spTree>
    <p:extLst>
      <p:ext uri="{BB962C8B-B14F-4D97-AF65-F5344CB8AC3E}">
        <p14:creationId xmlns:p14="http://schemas.microsoft.com/office/powerpoint/2010/main" val="309467209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8DBF8F21-6F60-414D-995E-AED79BF20E59}" type="slidenum">
              <a:rPr/>
              <a:t>26</a:t>
            </a:fld>
            <a:endParaRPr lang="e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s"/>
          </a:p>
        </p:txBody>
      </p:sp>
    </p:spTree>
    <p:extLst>
      <p:ext uri="{BB962C8B-B14F-4D97-AF65-F5344CB8AC3E}">
        <p14:creationId xmlns:p14="http://schemas.microsoft.com/office/powerpoint/2010/main" val="53762489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8DBF8F21-6F60-414D-995E-AED79BF20E59}" type="slidenum">
              <a:rPr/>
              <a:t>27</a:t>
            </a:fld>
            <a:endParaRPr lang="e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s"/>
          </a:p>
        </p:txBody>
      </p:sp>
    </p:spTree>
    <p:extLst>
      <p:ext uri="{BB962C8B-B14F-4D97-AF65-F5344CB8AC3E}">
        <p14:creationId xmlns:p14="http://schemas.microsoft.com/office/powerpoint/2010/main" val="32623508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8DBF8F21-6F60-414D-995E-AED79BF20E59}" type="slidenum">
              <a:rPr/>
              <a:t>28</a:t>
            </a:fld>
            <a:endParaRPr lang="e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s"/>
          </a:p>
        </p:txBody>
      </p:sp>
    </p:spTree>
    <p:extLst>
      <p:ext uri="{BB962C8B-B14F-4D97-AF65-F5344CB8AC3E}">
        <p14:creationId xmlns:p14="http://schemas.microsoft.com/office/powerpoint/2010/main" val="215980879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316199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5120AB-1BE0-4A7D-8316-508CB20C9EB0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752888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795431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7046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00549"/>
            <a:ext cx="5486400" cy="428466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65060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4848958"/>
          </a:xfr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79524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F8F21-6F60-414D-995E-AED79BF20E59}" type="slidenum">
              <a:rPr lang="en-US" smtClean="0"/>
              <a:t>5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881791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4485542"/>
          </a:xfrm>
        </p:spPr>
        <p:txBody>
          <a:bodyPr/>
          <a:lstStyle/>
          <a:p>
            <a:pPr lvl="0"/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7538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31341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271391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29626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528394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68987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011598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88057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63562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54498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F8F21-6F60-414D-995E-AED79BF20E59}" type="slidenum">
              <a:rPr lang="en-US" smtClean="0"/>
              <a:t>6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100958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8301928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6343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F8F21-6F60-414D-995E-AED79BF20E59}" type="slidenum">
              <a:rPr lang="en-US" smtClean="0"/>
              <a:t>7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sz="1200" dirty="0">
              <a:solidFill>
                <a:schemeClr val="bg1"/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4056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4077" y="4400550"/>
            <a:ext cx="5486400" cy="36004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E71D4B-DE26-4E85-8678-1ABB48BA24A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20519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E71D4B-DE26-4E85-8678-1ABB48BA24A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76547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D31708-4BE9-4890-952B-3AFBE258A7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9260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BF8F21-6F60-414D-995E-AED79BF20E59}" type="slidenum">
              <a:rPr kumimoji="0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5526976D-99EF-0342-9B13-CC15F7A333C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s" dirty="0"/>
          </a:p>
        </p:txBody>
      </p:sp>
    </p:spTree>
    <p:extLst>
      <p:ext uri="{BB962C8B-B14F-4D97-AF65-F5344CB8AC3E}">
        <p14:creationId xmlns:p14="http://schemas.microsoft.com/office/powerpoint/2010/main" val="8320334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2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tif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9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9.sv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9.sv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image" Target="../media/image32.sv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32.sv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openxmlformats.org/officeDocument/2006/relationships/image" Target="../media/image32.sv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32.sv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sv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34.sv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3.png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36.sv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5.png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38.sv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7.png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40.sv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9.png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42.sv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1.png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45.sv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4.png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47.sv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6.png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49.sv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8.png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51.sv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0.png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2.svg"/><Relationship Id="rId5" Type="http://schemas.openxmlformats.org/officeDocument/2006/relationships/image" Target="../media/image13.png"/><Relationship Id="rId4" Type="http://schemas.openxmlformats.org/officeDocument/2006/relationships/image" Target="../media/image2.pn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tif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sv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sv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745551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251251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1251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854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542F301-65CE-4F08-B93A-0395ABC2A6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nº›</a:t>
            </a:fld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530F654-9F4F-5E41-BCB7-5BBAB6DA38E9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643418C-49D6-3947-9B54-BA245092151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4" name="Picture 13" descr="A close up of a sign&#10;&#10;Description automatically generated">
              <a:extLst>
                <a:ext uri="{FF2B5EF4-FFF2-40B4-BE49-F238E27FC236}">
                  <a16:creationId xmlns:a16="http://schemas.microsoft.com/office/drawing/2014/main" id="{0B63FD42-B681-B040-A93C-1B7FE59BC3D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5B2CF3F3-B000-5C4F-90AA-064B744820A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278892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5FC9B372-1D18-CD44-9039-78177B97E9A9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9D47B99-EF27-5942-89BD-A5F5A7668E4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D92B0CB6-4DE6-3245-98A9-33F14156AFA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2BDBA186-C518-B541-BECB-08013D778C6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nº›</a:t>
            </a:fld>
            <a:endParaRPr lang="en-US"/>
          </a:p>
        </p:txBody>
      </p:sp>
      <p:sp>
        <p:nvSpPr>
          <p:cNvPr id="5" name="Media Placeholder 4">
            <a:extLst>
              <a:ext uri="{FF2B5EF4-FFF2-40B4-BE49-F238E27FC236}">
                <a16:creationId xmlns:a16="http://schemas.microsoft.com/office/drawing/2014/main" id="{ECE55E35-3A4B-8E4A-B6E9-FD453FE99CF7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3851328" y="1445625"/>
            <a:ext cx="7656437" cy="4303877"/>
          </a:xfrm>
        </p:spPr>
        <p:txBody>
          <a:bodyPr/>
          <a:lstStyle/>
          <a:p>
            <a:r>
              <a:rPr lang="en-US"/>
              <a:t>Click icon to add media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B9B00F4-7E66-794E-A858-8786691C23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16F0B3CA-FFB9-694E-AF6A-96A29DA4C6C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EF4AB42C-FD44-8B41-8837-D43E80FBFF7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47470" y="1445612"/>
            <a:ext cx="3054407" cy="423539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85262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rait Print Hand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A9DC0FF-F7CD-43C5-8CB6-9B8DF9B6022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1353800" y="195260"/>
            <a:ext cx="598488" cy="642382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AF28873-D3C1-43E3-8018-319B50F53D9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343025" y="195260"/>
            <a:ext cx="8943975" cy="642382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F4FD6B-8BB6-42B9-ABBD-DFE5E087921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5400000">
            <a:off x="486567" y="415132"/>
            <a:ext cx="804866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fld id="{68DF629A-FA29-48CC-BB18-3E535D6096F3}" type="datetimeFigureOut">
              <a:rPr lang="en-US" smtClean="0"/>
              <a:pPr/>
              <a:t>8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63D715-41D8-4FBB-9BEF-09A83A3D7A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5400000">
            <a:off x="-1539872" y="3246437"/>
            <a:ext cx="4857744" cy="365126"/>
          </a:xfrm>
        </p:spPr>
        <p:txBody>
          <a:bodyPr/>
          <a:lstStyle>
            <a:lvl1pPr>
              <a:defRPr sz="1100"/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09CAB-9482-429D-B86D-71C94EE803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rot="5400000">
            <a:off x="508397" y="6055914"/>
            <a:ext cx="761206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C1C3CED2-0084-4824-BF3B-077572D6069D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DECFFD6-C49A-4D66-A3C0-4FF41CE71A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 rot="5400000">
            <a:off x="7805340" y="3192860"/>
            <a:ext cx="6423820" cy="428625"/>
          </a:xfrm>
        </p:spPr>
        <p:txBody>
          <a:bodyPr/>
          <a:lstStyle>
            <a:lvl1pPr marL="0" indent="0">
              <a:buFontTx/>
              <a:buNone/>
              <a:defRPr b="1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D7A1D10-5222-D64E-9593-D4CD742F8B9E}"/>
              </a:ext>
            </a:extLst>
          </p:cNvPr>
          <p:cNvGrpSpPr/>
          <p:nvPr userDrawn="1"/>
        </p:nvGrpSpPr>
        <p:grpSpPr>
          <a:xfrm>
            <a:off x="11012" y="1"/>
            <a:ext cx="585887" cy="6858001"/>
            <a:chOff x="11012" y="1"/>
            <a:chExt cx="585887" cy="6858001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29B382D-5ABE-BA41-9B6E-6D6B878559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 rot="5400000">
              <a:off x="-3125045" y="3136058"/>
              <a:ext cx="6858001" cy="585887"/>
            </a:xfrm>
            <a:prstGeom prst="rect">
              <a:avLst/>
            </a:prstGeom>
          </p:spPr>
        </p:pic>
        <p:pic>
          <p:nvPicPr>
            <p:cNvPr id="14" name="Picture 13" descr="A close up of a sign&#10;&#10;Description automatically generated">
              <a:extLst>
                <a:ext uri="{FF2B5EF4-FFF2-40B4-BE49-F238E27FC236}">
                  <a16:creationId xmlns:a16="http://schemas.microsoft.com/office/drawing/2014/main" id="{599BED91-CD3B-AE4C-A337-E40C03C55F2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 rot="5400000">
              <a:off x="-170431" y="6061520"/>
              <a:ext cx="924134" cy="190986"/>
            </a:xfrm>
            <a:prstGeom prst="rect">
              <a:avLst/>
            </a:prstGeom>
          </p:spPr>
        </p:pic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14DB29A9-2FF5-9240-9AA7-75552787341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5400000">
              <a:off x="-80639" y="502093"/>
              <a:ext cx="802743" cy="2282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4209119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ie 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9" y="1487695"/>
            <a:ext cx="11491277" cy="1107996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Aft>
                <a:spcPts val="120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11C2809-AA0C-7D4A-91D8-35DADFE861B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50995" y="3053336"/>
            <a:ext cx="11490325" cy="2703669"/>
          </a:xfr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8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/>
              <a:t>Click to edit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2663AA7-3F2F-8B4E-BAED-5EA0CF67F2BE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F81714BA-6A99-854B-BB8A-ED003B29DF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2" name="Picture 11" descr="A close up of a sign&#10;&#10;Description automatically generated">
              <a:extLst>
                <a:ext uri="{FF2B5EF4-FFF2-40B4-BE49-F238E27FC236}">
                  <a16:creationId xmlns:a16="http://schemas.microsoft.com/office/drawing/2014/main" id="{CD878F0A-FF8B-E842-A4E2-C19154699D6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825F58C4-54AB-D040-BC63-54155BB7F8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4660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ann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F2C16CA3-6D0D-0E44-9EB1-5D794641373D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5A869E0D-CB02-2348-B6B1-9B8AAA03620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4EBADADB-011F-6945-8750-B443EF2EC92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97B4393A-4BC3-1147-9C23-A4B67C445D4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nº›</a:t>
            </a:fld>
            <a:endParaRPr lang="en-US"/>
          </a:p>
        </p:txBody>
      </p:sp>
      <p:graphicFrame>
        <p:nvGraphicFramePr>
          <p:cNvPr id="9" name="Table 108">
            <a:extLst>
              <a:ext uri="{FF2B5EF4-FFF2-40B4-BE49-F238E27FC236}">
                <a16:creationId xmlns:a16="http://schemas.microsoft.com/office/drawing/2014/main" id="{8CDBE5F4-E3F7-174C-AA64-964A58D379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2273292"/>
              </p:ext>
            </p:extLst>
          </p:nvPr>
        </p:nvGraphicFramePr>
        <p:xfrm>
          <a:off x="4217262" y="1515281"/>
          <a:ext cx="7336728" cy="41503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8104">
                  <a:extLst>
                    <a:ext uri="{9D8B030D-6E8A-4147-A177-3AD203B41FA5}">
                      <a16:colId xmlns:a16="http://schemas.microsoft.com/office/drawing/2014/main" val="1191107196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1553911626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417984971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961193746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3140321673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4248754166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2187549160"/>
                    </a:ext>
                  </a:extLst>
                </a:gridCol>
              </a:tblGrid>
              <a:tr h="460200"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SUN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MON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TUE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WED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THU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FRI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SAT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4118390"/>
                  </a:ext>
                </a:extLst>
              </a:tr>
              <a:tr h="3690130"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6932779"/>
                  </a:ext>
                </a:extLst>
              </a:tr>
            </a:tbl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0C9E8EC0-435B-314C-838A-28066CA8D2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2D3D03BA-7108-9D43-87E6-C40DDAD275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F892D86-0AB6-0C42-9726-0A172F40B83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7471" y="1515281"/>
            <a:ext cx="3279132" cy="415033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39759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annt Chart - Ye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AD0FB67B-6B57-4B4E-9ED9-8282ECA5ED90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76594604-47B5-BD46-9A09-318BD2D73F6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8" name="Picture 17" descr="A close up of a sign&#10;&#10;Description automatically generated">
              <a:extLst>
                <a:ext uri="{FF2B5EF4-FFF2-40B4-BE49-F238E27FC236}">
                  <a16:creationId xmlns:a16="http://schemas.microsoft.com/office/drawing/2014/main" id="{7EC9E442-9AE2-AE44-B3FC-23AC03F0978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828156C3-C5C9-9D48-9425-8227FC0FFC0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nº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C9E8EC0-435B-314C-838A-28066CA8D2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2D3D03BA-7108-9D43-87E6-C40DDAD275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619C80D-39F7-1E4B-9E37-DB76412397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2170617"/>
              </p:ext>
            </p:extLst>
          </p:nvPr>
        </p:nvGraphicFramePr>
        <p:xfrm>
          <a:off x="455960" y="1427532"/>
          <a:ext cx="11222017" cy="403245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8934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3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4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5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6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7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8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9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30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31"/>
                    </a:ext>
                  </a:extLst>
                </a:gridCol>
              </a:tblGrid>
              <a:tr h="373789"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3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4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5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6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7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8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9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0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1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2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3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4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5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6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7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8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9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0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1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2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3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4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5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6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7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8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9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30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31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JANUARY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FEBRUARY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9395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MARCH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APRIL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MAY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JUNE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JULY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AUGUST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SEPTEMBER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OCTOBER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NOVEMBER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DECEMBER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93B0498-AFAE-B644-910E-6D28BBDBFB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5645" y="1453375"/>
            <a:ext cx="884958" cy="335166"/>
          </a:xfrm>
        </p:spPr>
        <p:txBody>
          <a:bodyPr wrap="none" lIns="0" tIns="0" rIns="0" bIns="0" anchor="ctr" anchorCtr="0">
            <a:noAutofit/>
          </a:bodyPr>
          <a:lstStyle>
            <a:lvl1pPr marL="0" indent="0" algn="ctr">
              <a:buNone/>
              <a:defRPr sz="16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1200">
                <a:solidFill>
                  <a:schemeClr val="accent1"/>
                </a:solidFill>
              </a:defRPr>
            </a:lvl2pPr>
            <a:lvl3pPr marL="914400" indent="0" algn="ctr">
              <a:buNone/>
              <a:defRPr sz="1200">
                <a:solidFill>
                  <a:schemeClr val="accent1"/>
                </a:solidFill>
              </a:defRPr>
            </a:lvl3pPr>
            <a:lvl4pPr marL="1371600" indent="0" algn="ctr">
              <a:buNone/>
              <a:defRPr sz="1200">
                <a:solidFill>
                  <a:schemeClr val="accent1"/>
                </a:solidFill>
              </a:defRPr>
            </a:lvl4pPr>
            <a:lvl5pPr marL="1828800" indent="0" algn="ctr"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202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6277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annt Chart - Year -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>
            <a:extLst>
              <a:ext uri="{FF2B5EF4-FFF2-40B4-BE49-F238E27FC236}">
                <a16:creationId xmlns:a16="http://schemas.microsoft.com/office/drawing/2014/main" id="{25BB3EEC-8A2D-6843-9FDD-9B7599DF121F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19303AEF-C28A-D048-9B11-13CE7BB807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30" name="Picture 29" descr="A close up of a sign&#10;&#10;Description automatically generated">
              <a:extLst>
                <a:ext uri="{FF2B5EF4-FFF2-40B4-BE49-F238E27FC236}">
                  <a16:creationId xmlns:a16="http://schemas.microsoft.com/office/drawing/2014/main" id="{103A7AAC-1A49-3143-A5AF-B067C76E75D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80DB3FB0-1016-EA4D-B2E3-DC30261626B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nº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C9E8EC0-435B-314C-838A-28066CA8D2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2D3D03BA-7108-9D43-87E6-C40DDAD275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619C80D-39F7-1E4B-9E37-DB76412397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1743811"/>
              </p:ext>
            </p:extLst>
          </p:nvPr>
        </p:nvGraphicFramePr>
        <p:xfrm>
          <a:off x="455959" y="1427532"/>
          <a:ext cx="11216095" cy="403245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3997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373789"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JANUARY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FEBRUARY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MARCH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APRIL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MAY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JUNE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JULY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AUGUST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SEPTEMBER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OCTOBER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NOVEMBER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DECEMBER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9395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93B0498-AFAE-B644-910E-6D28BBDBFB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5643" y="1448513"/>
            <a:ext cx="1373155" cy="335166"/>
          </a:xfrm>
        </p:spPr>
        <p:txBody>
          <a:bodyPr wrap="none" lIns="0" tIns="0" rIns="0" bIns="0" anchor="ctr" anchorCtr="0">
            <a:noAutofit/>
          </a:bodyPr>
          <a:lstStyle>
            <a:lvl1pPr marL="0" indent="0" algn="ctr">
              <a:buNone/>
              <a:defRPr sz="16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1200">
                <a:solidFill>
                  <a:schemeClr val="accent1"/>
                </a:solidFill>
              </a:defRPr>
            </a:lvl2pPr>
            <a:lvl3pPr marL="914400" indent="0" algn="ctr">
              <a:buNone/>
              <a:defRPr sz="1200">
                <a:solidFill>
                  <a:schemeClr val="accent1"/>
                </a:solidFill>
              </a:defRPr>
            </a:lvl3pPr>
            <a:lvl4pPr marL="1371600" indent="0" algn="ctr">
              <a:buNone/>
              <a:defRPr sz="1200">
                <a:solidFill>
                  <a:schemeClr val="accent1"/>
                </a:solidFill>
              </a:defRPr>
            </a:lvl4pPr>
            <a:lvl5pPr marL="1828800" indent="0" algn="ctr"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Edit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4D909D-73C3-CF49-82A5-0593885377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644" y="1827103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1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1663F3FB-91AB-C047-9C3B-99E0398576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5644" y="2131979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2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B796EA9-AEC0-2E48-8405-8944FA512FF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5644" y="2436855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3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60E4288-A1A9-BF49-A895-2EBF2556920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5644" y="2741731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4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1061843-1392-7840-8C35-7EA3EDEA6A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5644" y="3046607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5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8E5C289-C107-6045-8076-27281607D32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5644" y="3351483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6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75EA098-C2E2-3F48-A898-B9399C0EC68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5644" y="3656359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7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2812D88-A6FF-EB4E-B04D-71657498083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5644" y="3961235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8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11F50CD-16BD-4349-8AAE-7DD429AF218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5644" y="4266111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9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D54A555-C9C1-6240-85A6-CCE36FC814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55644" y="4570987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10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B5406876-6781-8549-B961-07B178D7B6C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5644" y="4875863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11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7CD7E9E-0872-984A-B80E-E5260FFD537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5644" y="5180744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12</a:t>
            </a:r>
          </a:p>
        </p:txBody>
      </p:sp>
    </p:spTree>
    <p:extLst>
      <p:ext uri="{BB962C8B-B14F-4D97-AF65-F5344CB8AC3E}">
        <p14:creationId xmlns:p14="http://schemas.microsoft.com/office/powerpoint/2010/main" val="2875458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tical Content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749038"/>
            <a:ext cx="9809972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39"/>
            <a:ext cx="9809972" cy="47397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254738"/>
            <a:ext cx="9809972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4738"/>
            <a:ext cx="980971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9809711" cy="473976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52341"/>
            <a:ext cx="9809972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CF3FD55-47AD-4A02-85A8-E493FEB975E0}"/>
              </a:ext>
            </a:extLst>
          </p:cNvPr>
          <p:cNvSpPr/>
          <p:nvPr/>
        </p:nvSpPr>
        <p:spPr>
          <a:xfrm>
            <a:off x="10495510" y="0"/>
            <a:ext cx="1696490" cy="6858000"/>
          </a:xfrm>
          <a:custGeom>
            <a:avLst/>
            <a:gdLst>
              <a:gd name="connsiteX0" fmla="*/ 0 w 12179300"/>
              <a:gd name="connsiteY0" fmla="*/ 0 h 800100"/>
              <a:gd name="connsiteX1" fmla="*/ 12189460 w 12179300"/>
              <a:gd name="connsiteY1" fmla="*/ 0 h 800100"/>
              <a:gd name="connsiteX2" fmla="*/ 12189460 w 12179300"/>
              <a:gd name="connsiteY2" fmla="*/ 800100 h 800100"/>
              <a:gd name="connsiteX3" fmla="*/ 0 w 12179300"/>
              <a:gd name="connsiteY3" fmla="*/ 800100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79300" h="800100">
                <a:moveTo>
                  <a:pt x="0" y="0"/>
                </a:moveTo>
                <a:lnTo>
                  <a:pt x="12189460" y="0"/>
                </a:lnTo>
                <a:lnTo>
                  <a:pt x="12189460" y="800100"/>
                </a:lnTo>
                <a:lnTo>
                  <a:pt x="0" y="80010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5400000" scaled="0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5" name="Slide Number Placeholder 5">
            <a:extLst>
              <a:ext uri="{FF2B5EF4-FFF2-40B4-BE49-F238E27FC236}">
                <a16:creationId xmlns:a16="http://schemas.microsoft.com/office/drawing/2014/main" id="{C979639F-38C0-4628-BAAF-5AA7B0D1F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5124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nº›</a:t>
            </a:fld>
            <a:endParaRPr lang="en-US"/>
          </a:p>
        </p:txBody>
      </p:sp>
      <p:pic>
        <p:nvPicPr>
          <p:cNvPr id="33" name="Picture 32" descr="A close up of a sign&#10;&#10;Description automatically generated">
            <a:extLst>
              <a:ext uri="{FF2B5EF4-FFF2-40B4-BE49-F238E27FC236}">
                <a16:creationId xmlns:a16="http://schemas.microsoft.com/office/drawing/2014/main" id="{C57C82E1-714E-D445-B51F-2BF253D1A4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51218" y="6363046"/>
            <a:ext cx="1050007" cy="217001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A1CF02B1-E9E8-A24E-8F95-584F5D7244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2897" y="290971"/>
            <a:ext cx="1075849" cy="30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47019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ternate Blank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49986" y="745859"/>
            <a:ext cx="10132150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61634" y="1577339"/>
            <a:ext cx="10132150" cy="4978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49986" y="251559"/>
            <a:ext cx="10132150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301" y="251559"/>
            <a:ext cx="10131880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1950" y="1577339"/>
            <a:ext cx="10131880" cy="49783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9986" y="749162"/>
            <a:ext cx="10132150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C9C87841-CAC5-4E6D-807E-39663948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93784" y="6317107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nº›</a:t>
            </a:fld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7F90567-BB15-6B46-A462-5253B49809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2897" y="290971"/>
            <a:ext cx="1075849" cy="30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9542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elcom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1474" y="2578916"/>
            <a:ext cx="4652005" cy="2899733"/>
          </a:xfrm>
          <a:custGeom>
            <a:avLst/>
            <a:gdLst>
              <a:gd name="connsiteX0" fmla="*/ 0 w 4648517"/>
              <a:gd name="connsiteY0" fmla="*/ 2899733 h 2899733"/>
              <a:gd name="connsiteX1" fmla="*/ 724933 w 4648517"/>
              <a:gd name="connsiteY1" fmla="*/ 0 h 2899733"/>
              <a:gd name="connsiteX2" fmla="*/ 4648517 w 4648517"/>
              <a:gd name="connsiteY2" fmla="*/ 0 h 2899733"/>
              <a:gd name="connsiteX3" fmla="*/ 3923584 w 4648517"/>
              <a:gd name="connsiteY3" fmla="*/ 2899733 h 2899733"/>
              <a:gd name="connsiteX4" fmla="*/ 0 w 4648517"/>
              <a:gd name="connsiteY4" fmla="*/ 2899733 h 2899733"/>
              <a:gd name="connsiteX0" fmla="*/ 3488 w 4652005"/>
              <a:gd name="connsiteY0" fmla="*/ 2899733 h 2899733"/>
              <a:gd name="connsiteX1" fmla="*/ 0 w 4652005"/>
              <a:gd name="connsiteY1" fmla="*/ 0 h 2899733"/>
              <a:gd name="connsiteX2" fmla="*/ 4652005 w 4652005"/>
              <a:gd name="connsiteY2" fmla="*/ 0 h 2899733"/>
              <a:gd name="connsiteX3" fmla="*/ 3927072 w 4652005"/>
              <a:gd name="connsiteY3" fmla="*/ 2899733 h 2899733"/>
              <a:gd name="connsiteX4" fmla="*/ 3488 w 4652005"/>
              <a:gd name="connsiteY4" fmla="*/ 2899733 h 2899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2005" h="2899733">
                <a:moveTo>
                  <a:pt x="3488" y="2899733"/>
                </a:moveTo>
                <a:cubicBezTo>
                  <a:pt x="2325" y="1933155"/>
                  <a:pt x="1163" y="966578"/>
                  <a:pt x="0" y="0"/>
                </a:cubicBezTo>
                <a:lnTo>
                  <a:pt x="4652005" y="0"/>
                </a:lnTo>
                <a:lnTo>
                  <a:pt x="3927072" y="2899733"/>
                </a:lnTo>
                <a:lnTo>
                  <a:pt x="3488" y="2899733"/>
                </a:lnTo>
                <a:close/>
              </a:path>
            </a:pathLst>
          </a:cu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Welcome Messag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DABE094-B3B9-E94A-BEA8-66B78744DE5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261675" y="78832"/>
            <a:ext cx="6930325" cy="564961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14"/>
              <a:gd name="connsiteX1" fmla="*/ 2000 w 10000"/>
              <a:gd name="connsiteY1" fmla="*/ 0 h 10014"/>
              <a:gd name="connsiteX2" fmla="*/ 10000 w 10000"/>
              <a:gd name="connsiteY2" fmla="*/ 0 h 10014"/>
              <a:gd name="connsiteX3" fmla="*/ 9979 w 10000"/>
              <a:gd name="connsiteY3" fmla="*/ 10014 h 10014"/>
              <a:gd name="connsiteX4" fmla="*/ 0 w 10000"/>
              <a:gd name="connsiteY4" fmla="*/ 10000 h 10014"/>
              <a:gd name="connsiteX0" fmla="*/ 0 w 10000"/>
              <a:gd name="connsiteY0" fmla="*/ 10000 h 10028"/>
              <a:gd name="connsiteX1" fmla="*/ 2000 w 10000"/>
              <a:gd name="connsiteY1" fmla="*/ 0 h 10028"/>
              <a:gd name="connsiteX2" fmla="*/ 10000 w 10000"/>
              <a:gd name="connsiteY2" fmla="*/ 0 h 10028"/>
              <a:gd name="connsiteX3" fmla="*/ 9945 w 10000"/>
              <a:gd name="connsiteY3" fmla="*/ 10028 h 10028"/>
              <a:gd name="connsiteX4" fmla="*/ 0 w 10000"/>
              <a:gd name="connsiteY4" fmla="*/ 10000 h 10028"/>
              <a:gd name="connsiteX0" fmla="*/ 0 w 10000"/>
              <a:gd name="connsiteY0" fmla="*/ 10000 h 10028"/>
              <a:gd name="connsiteX1" fmla="*/ 2000 w 10000"/>
              <a:gd name="connsiteY1" fmla="*/ 0 h 10028"/>
              <a:gd name="connsiteX2" fmla="*/ 10000 w 10000"/>
              <a:gd name="connsiteY2" fmla="*/ 0 h 10028"/>
              <a:gd name="connsiteX3" fmla="*/ 9990 w 10000"/>
              <a:gd name="connsiteY3" fmla="*/ 10028 h 10028"/>
              <a:gd name="connsiteX4" fmla="*/ 0 w 10000"/>
              <a:gd name="connsiteY4" fmla="*/ 10000 h 10028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9987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82" y="3343"/>
                  <a:pt x="10008" y="6644"/>
                  <a:pt x="9990" y="9987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 wrap="none" anchor="t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DCDAC54-66E5-7F44-9B5C-53BCA9301B9D}"/>
              </a:ext>
            </a:extLst>
          </p:cNvPr>
          <p:cNvGrpSpPr/>
          <p:nvPr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098F300E-CF72-6642-BD96-4AA363E6442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Picture 9" descr="A close up of a sign&#10;&#10;Description automatically generated">
              <a:extLst>
                <a:ext uri="{FF2B5EF4-FFF2-40B4-BE49-F238E27FC236}">
                  <a16:creationId xmlns:a16="http://schemas.microsoft.com/office/drawing/2014/main" id="{12C65011-197F-9C43-98F1-AD4031BD56D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81E43CB8-9FB1-A54B-AD7D-E2F895CDFF3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94458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eneral Branded Cover (Clean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AD8623F-CF98-4400-9223-3E03750A456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35F2FB4-2275-CE4E-9F79-705815AA19B3}"/>
              </a:ext>
            </a:extLst>
          </p:cNvPr>
          <p:cNvGrpSpPr/>
          <p:nvPr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DA41912-3988-C34D-8179-3D5C0B22359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9" name="Picture 8" descr="A close up of a sign&#10;&#10;Description automatically generated">
              <a:extLst>
                <a:ext uri="{FF2B5EF4-FFF2-40B4-BE49-F238E27FC236}">
                  <a16:creationId xmlns:a16="http://schemas.microsoft.com/office/drawing/2014/main" id="{34D62FC2-C116-2F45-B365-5354FD569D9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3042947B-03F2-5B45-AF7C-F92F88E2F2B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092937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ean Blue Blank Construc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69ACADD-ACDB-4D31-8F88-A2A090EDE42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04514EA-8457-B74B-8524-1D58392AFA01}"/>
              </a:ext>
            </a:extLst>
          </p:cNvPr>
          <p:cNvGrpSpPr/>
          <p:nvPr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79377C9-F45F-D14E-80E7-2E2182A6C4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Picture 9" descr="A close up of a sign&#10;&#10;Description automatically generated">
              <a:extLst>
                <a:ext uri="{FF2B5EF4-FFF2-40B4-BE49-F238E27FC236}">
                  <a16:creationId xmlns:a16="http://schemas.microsoft.com/office/drawing/2014/main" id="{753ACD95-593D-D348-A0A8-FE135729A8A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49834D50-F146-B746-AA9C-F028C7C3ECB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2102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ean Blue Blank Indoor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69ACADD-ACDB-4D31-8F88-A2A090EDE42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2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425E926-5E30-D644-B9AA-448DE4D82584}"/>
              </a:ext>
            </a:extLst>
          </p:cNvPr>
          <p:cNvGrpSpPr/>
          <p:nvPr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28E3DA3F-BACF-C048-A05B-B1B79A393F1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Picture 9" descr="A close up of a sign&#10;&#10;Description automatically generated">
              <a:extLst>
                <a:ext uri="{FF2B5EF4-FFF2-40B4-BE49-F238E27FC236}">
                  <a16:creationId xmlns:a16="http://schemas.microsoft.com/office/drawing/2014/main" id="{8BE0455A-152F-8E47-A912-1E9AE758DCB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CD62B948-68E1-744E-B41A-5B5BA12F177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19760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 Footer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81A801EF-FD57-6746-88FB-A37598FBC0D0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1E32425-D66D-9D4C-B23F-1DB66A6DF16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5" name="Picture 14" descr="A close up of a sign&#10;&#10;Description automatically generated">
              <a:extLst>
                <a:ext uri="{FF2B5EF4-FFF2-40B4-BE49-F238E27FC236}">
                  <a16:creationId xmlns:a16="http://schemas.microsoft.com/office/drawing/2014/main" id="{7CA563C7-21AE-D44D-BAC7-542B2A7D9E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A90FEB81-9C02-8843-8920-8818B001AE5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74903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25473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473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5234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EAB372FF-D6E3-4950-A2A9-6F8A8BA00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58950" y="6216650"/>
            <a:ext cx="8674100" cy="482600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5D25BD-133B-42B6-AB8B-55C7F8306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3985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ean Blue Blan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69ACADD-ACDB-4D31-8F88-A2A090EDE42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813CB0B-51A1-9342-95F9-56DDF044D677}"/>
              </a:ext>
            </a:extLst>
          </p:cNvPr>
          <p:cNvGrpSpPr/>
          <p:nvPr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E0656225-5782-B448-B908-F275554A9C7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Picture 9" descr="A close up of a sign&#10;&#10;Description automatically generated">
              <a:extLst>
                <a:ext uri="{FF2B5EF4-FFF2-40B4-BE49-F238E27FC236}">
                  <a16:creationId xmlns:a16="http://schemas.microsoft.com/office/drawing/2014/main" id="{1E7C2D77-1310-FD4B-AA40-329EA3EDE87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261777FF-1480-2F4F-8900-7861E47FF5F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714068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enie Genuine Parts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E9F10A6-1715-8841-8DD9-F5B0A98AB9B5}"/>
              </a:ext>
            </a:extLst>
          </p:cNvPr>
          <p:cNvGrpSpPr/>
          <p:nvPr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452D29D-8384-7046-9EC5-65A2DCEA708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Picture 9" descr="A close up of a sign&#10;&#10;Description automatically generated">
              <a:extLst>
                <a:ext uri="{FF2B5EF4-FFF2-40B4-BE49-F238E27FC236}">
                  <a16:creationId xmlns:a16="http://schemas.microsoft.com/office/drawing/2014/main" id="{F3F992AA-7A78-544E-91E4-59992A4A64C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6AC81AF8-6557-624E-98FD-63B8CBC6F72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7457" y="5990802"/>
              <a:ext cx="2613881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209142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: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71A6CB-62E9-8F48-B623-9C56007C59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7472" y="2297350"/>
            <a:ext cx="4821024" cy="3429729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introduction</a:t>
            </a:r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DA9F4D4C-52C8-A04E-B64E-2A13E9EE5F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2" y="276712"/>
            <a:ext cx="4821214" cy="950986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59" name="Content Placeholder 8">
            <a:extLst>
              <a:ext uri="{FF2B5EF4-FFF2-40B4-BE49-F238E27FC236}">
                <a16:creationId xmlns:a16="http://schemas.microsoft.com/office/drawing/2014/main" id="{C9DA2990-03A6-4A4D-AA3D-65C130A09DE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47663" y="1227698"/>
            <a:ext cx="4821024" cy="772265"/>
          </a:xfrm>
        </p:spPr>
        <p:txBody>
          <a:bodyPr anchor="ctr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6641DC85-885A-814D-89F1-77905E98F7B8}"/>
              </a:ext>
            </a:extLst>
          </p:cNvPr>
          <p:cNvGrpSpPr/>
          <p:nvPr/>
        </p:nvGrpSpPr>
        <p:grpSpPr>
          <a:xfrm>
            <a:off x="5439067" y="338430"/>
            <a:ext cx="2581305" cy="5413942"/>
            <a:chOff x="6402545" y="1249931"/>
            <a:chExt cx="2592388" cy="5437187"/>
          </a:xfrm>
        </p:grpSpPr>
        <p:sp>
          <p:nvSpPr>
            <p:cNvPr id="63" name="Freeform 6">
              <a:extLst>
                <a:ext uri="{FF2B5EF4-FFF2-40B4-BE49-F238E27FC236}">
                  <a16:creationId xmlns:a16="http://schemas.microsoft.com/office/drawing/2014/main" id="{CD0D6DB1-FFB1-7341-9E7F-EEE50CB65DF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5407" y="1295968"/>
              <a:ext cx="2524125" cy="5365750"/>
            </a:xfrm>
            <a:custGeom>
              <a:avLst/>
              <a:gdLst>
                <a:gd name="T0" fmla="*/ 155 w 1172"/>
                <a:gd name="T1" fmla="*/ 2494 h 2494"/>
                <a:gd name="T2" fmla="*/ 0 w 1172"/>
                <a:gd name="T3" fmla="*/ 2338 h 2494"/>
                <a:gd name="T4" fmla="*/ 0 w 1172"/>
                <a:gd name="T5" fmla="*/ 156 h 2494"/>
                <a:gd name="T6" fmla="*/ 155 w 1172"/>
                <a:gd name="T7" fmla="*/ 0 h 2494"/>
                <a:gd name="T8" fmla="*/ 1016 w 1172"/>
                <a:gd name="T9" fmla="*/ 0 h 2494"/>
                <a:gd name="T10" fmla="*/ 1172 w 1172"/>
                <a:gd name="T11" fmla="*/ 156 h 2494"/>
                <a:gd name="T12" fmla="*/ 1172 w 1172"/>
                <a:gd name="T13" fmla="*/ 2338 h 2494"/>
                <a:gd name="T14" fmla="*/ 1016 w 1172"/>
                <a:gd name="T15" fmla="*/ 2494 h 2494"/>
                <a:gd name="T16" fmla="*/ 155 w 1172"/>
                <a:gd name="T17" fmla="*/ 2494 h 2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2" h="2494">
                  <a:moveTo>
                    <a:pt x="155" y="2494"/>
                  </a:moveTo>
                  <a:cubicBezTo>
                    <a:pt x="69" y="2494"/>
                    <a:pt x="0" y="2424"/>
                    <a:pt x="0" y="2338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65"/>
                    <a:pt x="65" y="0"/>
                    <a:pt x="155" y="0"/>
                  </a:cubicBezTo>
                  <a:cubicBezTo>
                    <a:pt x="1016" y="0"/>
                    <a:pt x="1016" y="0"/>
                    <a:pt x="1016" y="0"/>
                  </a:cubicBezTo>
                  <a:cubicBezTo>
                    <a:pt x="1105" y="0"/>
                    <a:pt x="1172" y="67"/>
                    <a:pt x="1172" y="156"/>
                  </a:cubicBezTo>
                  <a:cubicBezTo>
                    <a:pt x="1172" y="2338"/>
                    <a:pt x="1172" y="2338"/>
                    <a:pt x="1172" y="2338"/>
                  </a:cubicBezTo>
                  <a:cubicBezTo>
                    <a:pt x="1172" y="2424"/>
                    <a:pt x="1102" y="2494"/>
                    <a:pt x="1016" y="2494"/>
                  </a:cubicBezTo>
                  <a:lnTo>
                    <a:pt x="155" y="249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4" name="Freeform 9">
              <a:extLst>
                <a:ext uri="{FF2B5EF4-FFF2-40B4-BE49-F238E27FC236}">
                  <a16:creationId xmlns:a16="http://schemas.microsoft.com/office/drawing/2014/main" id="{A6B3979C-E62E-AC41-ADCA-0280D5E50F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02545" y="1249931"/>
              <a:ext cx="2592388" cy="5437187"/>
            </a:xfrm>
            <a:custGeom>
              <a:avLst/>
              <a:gdLst>
                <a:gd name="T0" fmla="*/ 1157 w 1204"/>
                <a:gd name="T1" fmla="*/ 59 h 2528"/>
                <a:gd name="T2" fmla="*/ 1036 w 1204"/>
                <a:gd name="T3" fmla="*/ 10 h 2528"/>
                <a:gd name="T4" fmla="*/ 1001 w 1204"/>
                <a:gd name="T5" fmla="*/ 10 h 2528"/>
                <a:gd name="T6" fmla="*/ 1001 w 1204"/>
                <a:gd name="T7" fmla="*/ 4 h 2528"/>
                <a:gd name="T8" fmla="*/ 995 w 1204"/>
                <a:gd name="T9" fmla="*/ 0 h 2528"/>
                <a:gd name="T10" fmla="*/ 812 w 1204"/>
                <a:gd name="T11" fmla="*/ 0 h 2528"/>
                <a:gd name="T12" fmla="*/ 806 w 1204"/>
                <a:gd name="T13" fmla="*/ 4 h 2528"/>
                <a:gd name="T14" fmla="*/ 806 w 1204"/>
                <a:gd name="T15" fmla="*/ 10 h 2528"/>
                <a:gd name="T16" fmla="*/ 175 w 1204"/>
                <a:gd name="T17" fmla="*/ 10 h 2528"/>
                <a:gd name="T18" fmla="*/ 8 w 1204"/>
                <a:gd name="T19" fmla="*/ 178 h 2528"/>
                <a:gd name="T20" fmla="*/ 8 w 1204"/>
                <a:gd name="T21" fmla="*/ 354 h 2528"/>
                <a:gd name="T22" fmla="*/ 6 w 1204"/>
                <a:gd name="T23" fmla="*/ 354 h 2528"/>
                <a:gd name="T24" fmla="*/ 0 w 1204"/>
                <a:gd name="T25" fmla="*/ 360 h 2528"/>
                <a:gd name="T26" fmla="*/ 0 w 1204"/>
                <a:gd name="T27" fmla="*/ 465 h 2528"/>
                <a:gd name="T28" fmla="*/ 6 w 1204"/>
                <a:gd name="T29" fmla="*/ 470 h 2528"/>
                <a:gd name="T30" fmla="*/ 8 w 1204"/>
                <a:gd name="T31" fmla="*/ 470 h 2528"/>
                <a:gd name="T32" fmla="*/ 8 w 1204"/>
                <a:gd name="T33" fmla="*/ 594 h 2528"/>
                <a:gd name="T34" fmla="*/ 6 w 1204"/>
                <a:gd name="T35" fmla="*/ 594 h 2528"/>
                <a:gd name="T36" fmla="*/ 0 w 1204"/>
                <a:gd name="T37" fmla="*/ 600 h 2528"/>
                <a:gd name="T38" fmla="*/ 0 w 1204"/>
                <a:gd name="T39" fmla="*/ 675 h 2528"/>
                <a:gd name="T40" fmla="*/ 6 w 1204"/>
                <a:gd name="T41" fmla="*/ 681 h 2528"/>
                <a:gd name="T42" fmla="*/ 8 w 1204"/>
                <a:gd name="T43" fmla="*/ 681 h 2528"/>
                <a:gd name="T44" fmla="*/ 8 w 1204"/>
                <a:gd name="T45" fmla="*/ 802 h 2528"/>
                <a:gd name="T46" fmla="*/ 6 w 1204"/>
                <a:gd name="T47" fmla="*/ 802 h 2528"/>
                <a:gd name="T48" fmla="*/ 0 w 1204"/>
                <a:gd name="T49" fmla="*/ 807 h 2528"/>
                <a:gd name="T50" fmla="*/ 0 w 1204"/>
                <a:gd name="T51" fmla="*/ 885 h 2528"/>
                <a:gd name="T52" fmla="*/ 6 w 1204"/>
                <a:gd name="T53" fmla="*/ 891 h 2528"/>
                <a:gd name="T54" fmla="*/ 8 w 1204"/>
                <a:gd name="T55" fmla="*/ 891 h 2528"/>
                <a:gd name="T56" fmla="*/ 8 w 1204"/>
                <a:gd name="T57" fmla="*/ 2360 h 2528"/>
                <a:gd name="T58" fmla="*/ 175 w 1204"/>
                <a:gd name="T59" fmla="*/ 2528 h 2528"/>
                <a:gd name="T60" fmla="*/ 1036 w 1204"/>
                <a:gd name="T61" fmla="*/ 2528 h 2528"/>
                <a:gd name="T62" fmla="*/ 1204 w 1204"/>
                <a:gd name="T63" fmla="*/ 2360 h 2528"/>
                <a:gd name="T64" fmla="*/ 1204 w 1204"/>
                <a:gd name="T65" fmla="*/ 178 h 2528"/>
                <a:gd name="T66" fmla="*/ 1157 w 1204"/>
                <a:gd name="T67" fmla="*/ 59 h 2528"/>
                <a:gd name="T68" fmla="*/ 1180 w 1204"/>
                <a:gd name="T69" fmla="*/ 2360 h 2528"/>
                <a:gd name="T70" fmla="*/ 1036 w 1204"/>
                <a:gd name="T71" fmla="*/ 2504 h 2528"/>
                <a:gd name="T72" fmla="*/ 175 w 1204"/>
                <a:gd name="T73" fmla="*/ 2504 h 2528"/>
                <a:gd name="T74" fmla="*/ 32 w 1204"/>
                <a:gd name="T75" fmla="*/ 2360 h 2528"/>
                <a:gd name="T76" fmla="*/ 32 w 1204"/>
                <a:gd name="T77" fmla="*/ 178 h 2528"/>
                <a:gd name="T78" fmla="*/ 175 w 1204"/>
                <a:gd name="T79" fmla="*/ 34 h 2528"/>
                <a:gd name="T80" fmla="*/ 1036 w 1204"/>
                <a:gd name="T81" fmla="*/ 34 h 2528"/>
                <a:gd name="T82" fmla="*/ 1180 w 1204"/>
                <a:gd name="T83" fmla="*/ 178 h 2528"/>
                <a:gd name="T84" fmla="*/ 1180 w 1204"/>
                <a:gd name="T85" fmla="*/ 2360 h 2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4" h="2528">
                  <a:moveTo>
                    <a:pt x="1157" y="59"/>
                  </a:moveTo>
                  <a:cubicBezTo>
                    <a:pt x="1126" y="28"/>
                    <a:pt x="1083" y="10"/>
                    <a:pt x="1036" y="10"/>
                  </a:cubicBezTo>
                  <a:cubicBezTo>
                    <a:pt x="1001" y="10"/>
                    <a:pt x="1001" y="10"/>
                    <a:pt x="1001" y="10"/>
                  </a:cubicBezTo>
                  <a:cubicBezTo>
                    <a:pt x="1001" y="4"/>
                    <a:pt x="1001" y="4"/>
                    <a:pt x="1001" y="4"/>
                  </a:cubicBezTo>
                  <a:cubicBezTo>
                    <a:pt x="1001" y="2"/>
                    <a:pt x="998" y="0"/>
                    <a:pt x="995" y="0"/>
                  </a:cubicBezTo>
                  <a:cubicBezTo>
                    <a:pt x="812" y="0"/>
                    <a:pt x="812" y="0"/>
                    <a:pt x="812" y="0"/>
                  </a:cubicBezTo>
                  <a:cubicBezTo>
                    <a:pt x="809" y="0"/>
                    <a:pt x="806" y="2"/>
                    <a:pt x="806" y="4"/>
                  </a:cubicBezTo>
                  <a:cubicBezTo>
                    <a:pt x="806" y="10"/>
                    <a:pt x="806" y="10"/>
                    <a:pt x="806" y="10"/>
                  </a:cubicBezTo>
                  <a:cubicBezTo>
                    <a:pt x="175" y="10"/>
                    <a:pt x="175" y="10"/>
                    <a:pt x="175" y="10"/>
                  </a:cubicBezTo>
                  <a:cubicBezTo>
                    <a:pt x="78" y="10"/>
                    <a:pt x="8" y="81"/>
                    <a:pt x="8" y="178"/>
                  </a:cubicBezTo>
                  <a:cubicBezTo>
                    <a:pt x="8" y="354"/>
                    <a:pt x="8" y="354"/>
                    <a:pt x="8" y="354"/>
                  </a:cubicBezTo>
                  <a:cubicBezTo>
                    <a:pt x="6" y="354"/>
                    <a:pt x="6" y="354"/>
                    <a:pt x="6" y="354"/>
                  </a:cubicBezTo>
                  <a:cubicBezTo>
                    <a:pt x="3" y="354"/>
                    <a:pt x="0" y="357"/>
                    <a:pt x="0" y="360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468"/>
                    <a:pt x="3" y="470"/>
                    <a:pt x="6" y="470"/>
                  </a:cubicBezTo>
                  <a:cubicBezTo>
                    <a:pt x="8" y="470"/>
                    <a:pt x="8" y="470"/>
                    <a:pt x="8" y="470"/>
                  </a:cubicBezTo>
                  <a:cubicBezTo>
                    <a:pt x="8" y="594"/>
                    <a:pt x="8" y="594"/>
                    <a:pt x="8" y="594"/>
                  </a:cubicBezTo>
                  <a:cubicBezTo>
                    <a:pt x="6" y="594"/>
                    <a:pt x="6" y="594"/>
                    <a:pt x="6" y="594"/>
                  </a:cubicBezTo>
                  <a:cubicBezTo>
                    <a:pt x="3" y="594"/>
                    <a:pt x="0" y="597"/>
                    <a:pt x="0" y="600"/>
                  </a:cubicBezTo>
                  <a:cubicBezTo>
                    <a:pt x="0" y="675"/>
                    <a:pt x="0" y="675"/>
                    <a:pt x="0" y="675"/>
                  </a:cubicBezTo>
                  <a:cubicBezTo>
                    <a:pt x="0" y="678"/>
                    <a:pt x="3" y="681"/>
                    <a:pt x="6" y="681"/>
                  </a:cubicBezTo>
                  <a:cubicBezTo>
                    <a:pt x="8" y="681"/>
                    <a:pt x="8" y="681"/>
                    <a:pt x="8" y="681"/>
                  </a:cubicBezTo>
                  <a:cubicBezTo>
                    <a:pt x="8" y="802"/>
                    <a:pt x="8" y="802"/>
                    <a:pt x="8" y="802"/>
                  </a:cubicBezTo>
                  <a:cubicBezTo>
                    <a:pt x="6" y="802"/>
                    <a:pt x="6" y="802"/>
                    <a:pt x="6" y="802"/>
                  </a:cubicBezTo>
                  <a:cubicBezTo>
                    <a:pt x="3" y="802"/>
                    <a:pt x="0" y="804"/>
                    <a:pt x="0" y="807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888"/>
                    <a:pt x="3" y="891"/>
                    <a:pt x="6" y="891"/>
                  </a:cubicBezTo>
                  <a:cubicBezTo>
                    <a:pt x="8" y="891"/>
                    <a:pt x="8" y="891"/>
                    <a:pt x="8" y="891"/>
                  </a:cubicBezTo>
                  <a:cubicBezTo>
                    <a:pt x="8" y="2360"/>
                    <a:pt x="8" y="2360"/>
                    <a:pt x="8" y="2360"/>
                  </a:cubicBezTo>
                  <a:cubicBezTo>
                    <a:pt x="8" y="2452"/>
                    <a:pt x="83" y="2528"/>
                    <a:pt x="175" y="2528"/>
                  </a:cubicBezTo>
                  <a:cubicBezTo>
                    <a:pt x="1036" y="2528"/>
                    <a:pt x="1036" y="2528"/>
                    <a:pt x="1036" y="2528"/>
                  </a:cubicBezTo>
                  <a:cubicBezTo>
                    <a:pt x="1129" y="2528"/>
                    <a:pt x="1204" y="2452"/>
                    <a:pt x="1204" y="2360"/>
                  </a:cubicBezTo>
                  <a:cubicBezTo>
                    <a:pt x="1204" y="178"/>
                    <a:pt x="1204" y="178"/>
                    <a:pt x="1204" y="178"/>
                  </a:cubicBezTo>
                  <a:cubicBezTo>
                    <a:pt x="1204" y="132"/>
                    <a:pt x="1187" y="90"/>
                    <a:pt x="1157" y="59"/>
                  </a:cubicBezTo>
                  <a:close/>
                  <a:moveTo>
                    <a:pt x="1180" y="2360"/>
                  </a:moveTo>
                  <a:cubicBezTo>
                    <a:pt x="1180" y="2439"/>
                    <a:pt x="1116" y="2504"/>
                    <a:pt x="1036" y="2504"/>
                  </a:cubicBezTo>
                  <a:cubicBezTo>
                    <a:pt x="175" y="2504"/>
                    <a:pt x="175" y="2504"/>
                    <a:pt x="175" y="2504"/>
                  </a:cubicBezTo>
                  <a:cubicBezTo>
                    <a:pt x="96" y="2504"/>
                    <a:pt x="32" y="2439"/>
                    <a:pt x="32" y="2360"/>
                  </a:cubicBezTo>
                  <a:cubicBezTo>
                    <a:pt x="32" y="178"/>
                    <a:pt x="32" y="178"/>
                    <a:pt x="32" y="178"/>
                  </a:cubicBezTo>
                  <a:cubicBezTo>
                    <a:pt x="32" y="94"/>
                    <a:pt x="91" y="34"/>
                    <a:pt x="175" y="34"/>
                  </a:cubicBezTo>
                  <a:cubicBezTo>
                    <a:pt x="1036" y="34"/>
                    <a:pt x="1036" y="34"/>
                    <a:pt x="1036" y="34"/>
                  </a:cubicBezTo>
                  <a:cubicBezTo>
                    <a:pt x="1121" y="34"/>
                    <a:pt x="1180" y="98"/>
                    <a:pt x="1180" y="178"/>
                  </a:cubicBezTo>
                  <a:lnTo>
                    <a:pt x="1180" y="23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65" name="Picture Placeholder 17">
            <a:extLst>
              <a:ext uri="{FF2B5EF4-FFF2-40B4-BE49-F238E27FC236}">
                <a16:creationId xmlns:a16="http://schemas.microsoft.com/office/drawing/2014/main" id="{7D7868EB-ED02-384A-BB89-42F228E0F827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607805" y="520376"/>
            <a:ext cx="2260794" cy="5067616"/>
          </a:xfrm>
          <a:prstGeom prst="roundRect">
            <a:avLst>
              <a:gd name="adj" fmla="val 10376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1600" baseline="-25000">
                <a:solidFill>
                  <a:schemeClr val="bg1"/>
                </a:solidFill>
              </a:defRPr>
            </a:lvl1pPr>
          </a:lstStyle>
          <a:p>
            <a:r>
              <a:rPr lang="en-AU"/>
              <a:t>Click to add pictur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7F2F698-835D-6C42-AE78-0D943ABB2B4C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E0FFF26-37AB-0E44-B223-216BE21BBD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4" name="Picture 13" descr="A close up of a sign&#10;&#10;Description automatically generated">
              <a:extLst>
                <a:ext uri="{FF2B5EF4-FFF2-40B4-BE49-F238E27FC236}">
                  <a16:creationId xmlns:a16="http://schemas.microsoft.com/office/drawing/2014/main" id="{0E89767C-0F18-CF41-B300-11BE2146ADD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316B86D4-F29E-7548-9EB5-1FC609BC6DB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943588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 animBg="1"/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: Two Ph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9611AF75-BF28-F342-BCD3-2B35229FB128}"/>
              </a:ext>
            </a:extLst>
          </p:cNvPr>
          <p:cNvGrpSpPr/>
          <p:nvPr/>
        </p:nvGrpSpPr>
        <p:grpSpPr>
          <a:xfrm>
            <a:off x="9059945" y="324743"/>
            <a:ext cx="2568950" cy="5388029"/>
            <a:chOff x="6402545" y="1249931"/>
            <a:chExt cx="2592388" cy="5437187"/>
          </a:xfrm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D41993E-E7BB-1349-A273-C795E290A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5407" y="1295968"/>
              <a:ext cx="2524125" cy="5365750"/>
            </a:xfrm>
            <a:custGeom>
              <a:avLst/>
              <a:gdLst>
                <a:gd name="T0" fmla="*/ 155 w 1172"/>
                <a:gd name="T1" fmla="*/ 2494 h 2494"/>
                <a:gd name="T2" fmla="*/ 0 w 1172"/>
                <a:gd name="T3" fmla="*/ 2338 h 2494"/>
                <a:gd name="T4" fmla="*/ 0 w 1172"/>
                <a:gd name="T5" fmla="*/ 156 h 2494"/>
                <a:gd name="T6" fmla="*/ 155 w 1172"/>
                <a:gd name="T7" fmla="*/ 0 h 2494"/>
                <a:gd name="T8" fmla="*/ 1016 w 1172"/>
                <a:gd name="T9" fmla="*/ 0 h 2494"/>
                <a:gd name="T10" fmla="*/ 1172 w 1172"/>
                <a:gd name="T11" fmla="*/ 156 h 2494"/>
                <a:gd name="T12" fmla="*/ 1172 w 1172"/>
                <a:gd name="T13" fmla="*/ 2338 h 2494"/>
                <a:gd name="T14" fmla="*/ 1016 w 1172"/>
                <a:gd name="T15" fmla="*/ 2494 h 2494"/>
                <a:gd name="T16" fmla="*/ 155 w 1172"/>
                <a:gd name="T17" fmla="*/ 2494 h 2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2" h="2494">
                  <a:moveTo>
                    <a:pt x="155" y="2494"/>
                  </a:moveTo>
                  <a:cubicBezTo>
                    <a:pt x="69" y="2494"/>
                    <a:pt x="0" y="2424"/>
                    <a:pt x="0" y="2338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65"/>
                    <a:pt x="65" y="0"/>
                    <a:pt x="155" y="0"/>
                  </a:cubicBezTo>
                  <a:cubicBezTo>
                    <a:pt x="1016" y="0"/>
                    <a:pt x="1016" y="0"/>
                    <a:pt x="1016" y="0"/>
                  </a:cubicBezTo>
                  <a:cubicBezTo>
                    <a:pt x="1105" y="0"/>
                    <a:pt x="1172" y="67"/>
                    <a:pt x="1172" y="156"/>
                  </a:cubicBezTo>
                  <a:cubicBezTo>
                    <a:pt x="1172" y="2338"/>
                    <a:pt x="1172" y="2338"/>
                    <a:pt x="1172" y="2338"/>
                  </a:cubicBezTo>
                  <a:cubicBezTo>
                    <a:pt x="1172" y="2424"/>
                    <a:pt x="1102" y="2494"/>
                    <a:pt x="1016" y="2494"/>
                  </a:cubicBezTo>
                  <a:lnTo>
                    <a:pt x="155" y="249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BF4460A6-AE20-A546-A06A-B5065892B4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02545" y="1249931"/>
              <a:ext cx="2592388" cy="5437187"/>
            </a:xfrm>
            <a:custGeom>
              <a:avLst/>
              <a:gdLst>
                <a:gd name="T0" fmla="*/ 1157 w 1204"/>
                <a:gd name="T1" fmla="*/ 59 h 2528"/>
                <a:gd name="T2" fmla="*/ 1036 w 1204"/>
                <a:gd name="T3" fmla="*/ 10 h 2528"/>
                <a:gd name="T4" fmla="*/ 1001 w 1204"/>
                <a:gd name="T5" fmla="*/ 10 h 2528"/>
                <a:gd name="T6" fmla="*/ 1001 w 1204"/>
                <a:gd name="T7" fmla="*/ 4 h 2528"/>
                <a:gd name="T8" fmla="*/ 995 w 1204"/>
                <a:gd name="T9" fmla="*/ 0 h 2528"/>
                <a:gd name="T10" fmla="*/ 812 w 1204"/>
                <a:gd name="T11" fmla="*/ 0 h 2528"/>
                <a:gd name="T12" fmla="*/ 806 w 1204"/>
                <a:gd name="T13" fmla="*/ 4 h 2528"/>
                <a:gd name="T14" fmla="*/ 806 w 1204"/>
                <a:gd name="T15" fmla="*/ 10 h 2528"/>
                <a:gd name="T16" fmla="*/ 175 w 1204"/>
                <a:gd name="T17" fmla="*/ 10 h 2528"/>
                <a:gd name="T18" fmla="*/ 8 w 1204"/>
                <a:gd name="T19" fmla="*/ 178 h 2528"/>
                <a:gd name="T20" fmla="*/ 8 w 1204"/>
                <a:gd name="T21" fmla="*/ 354 h 2528"/>
                <a:gd name="T22" fmla="*/ 6 w 1204"/>
                <a:gd name="T23" fmla="*/ 354 h 2528"/>
                <a:gd name="T24" fmla="*/ 0 w 1204"/>
                <a:gd name="T25" fmla="*/ 360 h 2528"/>
                <a:gd name="T26" fmla="*/ 0 w 1204"/>
                <a:gd name="T27" fmla="*/ 465 h 2528"/>
                <a:gd name="T28" fmla="*/ 6 w 1204"/>
                <a:gd name="T29" fmla="*/ 470 h 2528"/>
                <a:gd name="T30" fmla="*/ 8 w 1204"/>
                <a:gd name="T31" fmla="*/ 470 h 2528"/>
                <a:gd name="T32" fmla="*/ 8 w 1204"/>
                <a:gd name="T33" fmla="*/ 594 h 2528"/>
                <a:gd name="T34" fmla="*/ 6 w 1204"/>
                <a:gd name="T35" fmla="*/ 594 h 2528"/>
                <a:gd name="T36" fmla="*/ 0 w 1204"/>
                <a:gd name="T37" fmla="*/ 600 h 2528"/>
                <a:gd name="T38" fmla="*/ 0 w 1204"/>
                <a:gd name="T39" fmla="*/ 675 h 2528"/>
                <a:gd name="T40" fmla="*/ 6 w 1204"/>
                <a:gd name="T41" fmla="*/ 681 h 2528"/>
                <a:gd name="T42" fmla="*/ 8 w 1204"/>
                <a:gd name="T43" fmla="*/ 681 h 2528"/>
                <a:gd name="T44" fmla="*/ 8 w 1204"/>
                <a:gd name="T45" fmla="*/ 802 h 2528"/>
                <a:gd name="T46" fmla="*/ 6 w 1204"/>
                <a:gd name="T47" fmla="*/ 802 h 2528"/>
                <a:gd name="T48" fmla="*/ 0 w 1204"/>
                <a:gd name="T49" fmla="*/ 807 h 2528"/>
                <a:gd name="T50" fmla="*/ 0 w 1204"/>
                <a:gd name="T51" fmla="*/ 885 h 2528"/>
                <a:gd name="T52" fmla="*/ 6 w 1204"/>
                <a:gd name="T53" fmla="*/ 891 h 2528"/>
                <a:gd name="T54" fmla="*/ 8 w 1204"/>
                <a:gd name="T55" fmla="*/ 891 h 2528"/>
                <a:gd name="T56" fmla="*/ 8 w 1204"/>
                <a:gd name="T57" fmla="*/ 2360 h 2528"/>
                <a:gd name="T58" fmla="*/ 175 w 1204"/>
                <a:gd name="T59" fmla="*/ 2528 h 2528"/>
                <a:gd name="T60" fmla="*/ 1036 w 1204"/>
                <a:gd name="T61" fmla="*/ 2528 h 2528"/>
                <a:gd name="T62" fmla="*/ 1204 w 1204"/>
                <a:gd name="T63" fmla="*/ 2360 h 2528"/>
                <a:gd name="T64" fmla="*/ 1204 w 1204"/>
                <a:gd name="T65" fmla="*/ 178 h 2528"/>
                <a:gd name="T66" fmla="*/ 1157 w 1204"/>
                <a:gd name="T67" fmla="*/ 59 h 2528"/>
                <a:gd name="T68" fmla="*/ 1180 w 1204"/>
                <a:gd name="T69" fmla="*/ 2360 h 2528"/>
                <a:gd name="T70" fmla="*/ 1036 w 1204"/>
                <a:gd name="T71" fmla="*/ 2504 h 2528"/>
                <a:gd name="T72" fmla="*/ 175 w 1204"/>
                <a:gd name="T73" fmla="*/ 2504 h 2528"/>
                <a:gd name="T74" fmla="*/ 32 w 1204"/>
                <a:gd name="T75" fmla="*/ 2360 h 2528"/>
                <a:gd name="T76" fmla="*/ 32 w 1204"/>
                <a:gd name="T77" fmla="*/ 178 h 2528"/>
                <a:gd name="T78" fmla="*/ 175 w 1204"/>
                <a:gd name="T79" fmla="*/ 34 h 2528"/>
                <a:gd name="T80" fmla="*/ 1036 w 1204"/>
                <a:gd name="T81" fmla="*/ 34 h 2528"/>
                <a:gd name="T82" fmla="*/ 1180 w 1204"/>
                <a:gd name="T83" fmla="*/ 178 h 2528"/>
                <a:gd name="T84" fmla="*/ 1180 w 1204"/>
                <a:gd name="T85" fmla="*/ 2360 h 2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4" h="2528">
                  <a:moveTo>
                    <a:pt x="1157" y="59"/>
                  </a:moveTo>
                  <a:cubicBezTo>
                    <a:pt x="1126" y="28"/>
                    <a:pt x="1083" y="10"/>
                    <a:pt x="1036" y="10"/>
                  </a:cubicBezTo>
                  <a:cubicBezTo>
                    <a:pt x="1001" y="10"/>
                    <a:pt x="1001" y="10"/>
                    <a:pt x="1001" y="10"/>
                  </a:cubicBezTo>
                  <a:cubicBezTo>
                    <a:pt x="1001" y="4"/>
                    <a:pt x="1001" y="4"/>
                    <a:pt x="1001" y="4"/>
                  </a:cubicBezTo>
                  <a:cubicBezTo>
                    <a:pt x="1001" y="2"/>
                    <a:pt x="998" y="0"/>
                    <a:pt x="995" y="0"/>
                  </a:cubicBezTo>
                  <a:cubicBezTo>
                    <a:pt x="812" y="0"/>
                    <a:pt x="812" y="0"/>
                    <a:pt x="812" y="0"/>
                  </a:cubicBezTo>
                  <a:cubicBezTo>
                    <a:pt x="809" y="0"/>
                    <a:pt x="806" y="2"/>
                    <a:pt x="806" y="4"/>
                  </a:cubicBezTo>
                  <a:cubicBezTo>
                    <a:pt x="806" y="10"/>
                    <a:pt x="806" y="10"/>
                    <a:pt x="806" y="10"/>
                  </a:cubicBezTo>
                  <a:cubicBezTo>
                    <a:pt x="175" y="10"/>
                    <a:pt x="175" y="10"/>
                    <a:pt x="175" y="10"/>
                  </a:cubicBezTo>
                  <a:cubicBezTo>
                    <a:pt x="78" y="10"/>
                    <a:pt x="8" y="81"/>
                    <a:pt x="8" y="178"/>
                  </a:cubicBezTo>
                  <a:cubicBezTo>
                    <a:pt x="8" y="354"/>
                    <a:pt x="8" y="354"/>
                    <a:pt x="8" y="354"/>
                  </a:cubicBezTo>
                  <a:cubicBezTo>
                    <a:pt x="6" y="354"/>
                    <a:pt x="6" y="354"/>
                    <a:pt x="6" y="354"/>
                  </a:cubicBezTo>
                  <a:cubicBezTo>
                    <a:pt x="3" y="354"/>
                    <a:pt x="0" y="357"/>
                    <a:pt x="0" y="360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468"/>
                    <a:pt x="3" y="470"/>
                    <a:pt x="6" y="470"/>
                  </a:cubicBezTo>
                  <a:cubicBezTo>
                    <a:pt x="8" y="470"/>
                    <a:pt x="8" y="470"/>
                    <a:pt x="8" y="470"/>
                  </a:cubicBezTo>
                  <a:cubicBezTo>
                    <a:pt x="8" y="594"/>
                    <a:pt x="8" y="594"/>
                    <a:pt x="8" y="594"/>
                  </a:cubicBezTo>
                  <a:cubicBezTo>
                    <a:pt x="6" y="594"/>
                    <a:pt x="6" y="594"/>
                    <a:pt x="6" y="594"/>
                  </a:cubicBezTo>
                  <a:cubicBezTo>
                    <a:pt x="3" y="594"/>
                    <a:pt x="0" y="597"/>
                    <a:pt x="0" y="600"/>
                  </a:cubicBezTo>
                  <a:cubicBezTo>
                    <a:pt x="0" y="675"/>
                    <a:pt x="0" y="675"/>
                    <a:pt x="0" y="675"/>
                  </a:cubicBezTo>
                  <a:cubicBezTo>
                    <a:pt x="0" y="678"/>
                    <a:pt x="3" y="681"/>
                    <a:pt x="6" y="681"/>
                  </a:cubicBezTo>
                  <a:cubicBezTo>
                    <a:pt x="8" y="681"/>
                    <a:pt x="8" y="681"/>
                    <a:pt x="8" y="681"/>
                  </a:cubicBezTo>
                  <a:cubicBezTo>
                    <a:pt x="8" y="802"/>
                    <a:pt x="8" y="802"/>
                    <a:pt x="8" y="802"/>
                  </a:cubicBezTo>
                  <a:cubicBezTo>
                    <a:pt x="6" y="802"/>
                    <a:pt x="6" y="802"/>
                    <a:pt x="6" y="802"/>
                  </a:cubicBezTo>
                  <a:cubicBezTo>
                    <a:pt x="3" y="802"/>
                    <a:pt x="0" y="804"/>
                    <a:pt x="0" y="807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888"/>
                    <a:pt x="3" y="891"/>
                    <a:pt x="6" y="891"/>
                  </a:cubicBezTo>
                  <a:cubicBezTo>
                    <a:pt x="8" y="891"/>
                    <a:pt x="8" y="891"/>
                    <a:pt x="8" y="891"/>
                  </a:cubicBezTo>
                  <a:cubicBezTo>
                    <a:pt x="8" y="2360"/>
                    <a:pt x="8" y="2360"/>
                    <a:pt x="8" y="2360"/>
                  </a:cubicBezTo>
                  <a:cubicBezTo>
                    <a:pt x="8" y="2452"/>
                    <a:pt x="83" y="2528"/>
                    <a:pt x="175" y="2528"/>
                  </a:cubicBezTo>
                  <a:cubicBezTo>
                    <a:pt x="1036" y="2528"/>
                    <a:pt x="1036" y="2528"/>
                    <a:pt x="1036" y="2528"/>
                  </a:cubicBezTo>
                  <a:cubicBezTo>
                    <a:pt x="1129" y="2528"/>
                    <a:pt x="1204" y="2452"/>
                    <a:pt x="1204" y="2360"/>
                  </a:cubicBezTo>
                  <a:cubicBezTo>
                    <a:pt x="1204" y="178"/>
                    <a:pt x="1204" y="178"/>
                    <a:pt x="1204" y="178"/>
                  </a:cubicBezTo>
                  <a:cubicBezTo>
                    <a:pt x="1204" y="132"/>
                    <a:pt x="1187" y="90"/>
                    <a:pt x="1157" y="59"/>
                  </a:cubicBezTo>
                  <a:close/>
                  <a:moveTo>
                    <a:pt x="1180" y="2360"/>
                  </a:moveTo>
                  <a:cubicBezTo>
                    <a:pt x="1180" y="2439"/>
                    <a:pt x="1116" y="2504"/>
                    <a:pt x="1036" y="2504"/>
                  </a:cubicBezTo>
                  <a:cubicBezTo>
                    <a:pt x="175" y="2504"/>
                    <a:pt x="175" y="2504"/>
                    <a:pt x="175" y="2504"/>
                  </a:cubicBezTo>
                  <a:cubicBezTo>
                    <a:pt x="96" y="2504"/>
                    <a:pt x="32" y="2439"/>
                    <a:pt x="32" y="2360"/>
                  </a:cubicBezTo>
                  <a:cubicBezTo>
                    <a:pt x="32" y="178"/>
                    <a:pt x="32" y="178"/>
                    <a:pt x="32" y="178"/>
                  </a:cubicBezTo>
                  <a:cubicBezTo>
                    <a:pt x="32" y="94"/>
                    <a:pt x="91" y="34"/>
                    <a:pt x="175" y="34"/>
                  </a:cubicBezTo>
                  <a:cubicBezTo>
                    <a:pt x="1036" y="34"/>
                    <a:pt x="1036" y="34"/>
                    <a:pt x="1036" y="34"/>
                  </a:cubicBezTo>
                  <a:cubicBezTo>
                    <a:pt x="1121" y="34"/>
                    <a:pt x="1180" y="98"/>
                    <a:pt x="1180" y="178"/>
                  </a:cubicBezTo>
                  <a:lnTo>
                    <a:pt x="1180" y="23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25" name="Picture Placeholder 17">
            <a:extLst>
              <a:ext uri="{FF2B5EF4-FFF2-40B4-BE49-F238E27FC236}">
                <a16:creationId xmlns:a16="http://schemas.microsoft.com/office/drawing/2014/main" id="{76A75DB2-2979-D04E-B8F2-6DC1569D0BC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244788" y="505033"/>
            <a:ext cx="2249973" cy="5043360"/>
          </a:xfrm>
          <a:prstGeom prst="roundRect">
            <a:avLst>
              <a:gd name="adj" fmla="val 10376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-250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/>
              <a:t>Click to add picture</a:t>
            </a:r>
          </a:p>
          <a:p>
            <a:endParaRPr lang="en-AU"/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DA9F4D4C-52C8-A04E-B64E-2A13E9EE5F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2" y="276712"/>
            <a:ext cx="5642654" cy="950986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59" name="Content Placeholder 8">
            <a:extLst>
              <a:ext uri="{FF2B5EF4-FFF2-40B4-BE49-F238E27FC236}">
                <a16:creationId xmlns:a16="http://schemas.microsoft.com/office/drawing/2014/main" id="{C9DA2990-03A6-4A4D-AA3D-65C130A09DE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47663" y="1227698"/>
            <a:ext cx="5642432" cy="772265"/>
          </a:xfrm>
        </p:spPr>
        <p:txBody>
          <a:bodyPr anchor="t" anchorCtr="0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0ECBF2BE-15CF-FF46-B772-18B3AE2A48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7472" y="2107769"/>
            <a:ext cx="5642432" cy="1077133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introduction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11D4246-D20E-3941-B011-1B6269F44A52}"/>
              </a:ext>
            </a:extLst>
          </p:cNvPr>
          <p:cNvGrpSpPr/>
          <p:nvPr/>
        </p:nvGrpSpPr>
        <p:grpSpPr>
          <a:xfrm>
            <a:off x="6308996" y="324743"/>
            <a:ext cx="2568950" cy="5388029"/>
            <a:chOff x="6402545" y="1249931"/>
            <a:chExt cx="2592388" cy="5437187"/>
          </a:xfrm>
        </p:grpSpPr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CFC008EC-A8D7-9341-8159-BC1C93693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5407" y="1295968"/>
              <a:ext cx="2524125" cy="5365750"/>
            </a:xfrm>
            <a:custGeom>
              <a:avLst/>
              <a:gdLst>
                <a:gd name="T0" fmla="*/ 155 w 1172"/>
                <a:gd name="T1" fmla="*/ 2494 h 2494"/>
                <a:gd name="T2" fmla="*/ 0 w 1172"/>
                <a:gd name="T3" fmla="*/ 2338 h 2494"/>
                <a:gd name="T4" fmla="*/ 0 w 1172"/>
                <a:gd name="T5" fmla="*/ 156 h 2494"/>
                <a:gd name="T6" fmla="*/ 155 w 1172"/>
                <a:gd name="T7" fmla="*/ 0 h 2494"/>
                <a:gd name="T8" fmla="*/ 1016 w 1172"/>
                <a:gd name="T9" fmla="*/ 0 h 2494"/>
                <a:gd name="T10" fmla="*/ 1172 w 1172"/>
                <a:gd name="T11" fmla="*/ 156 h 2494"/>
                <a:gd name="T12" fmla="*/ 1172 w 1172"/>
                <a:gd name="T13" fmla="*/ 2338 h 2494"/>
                <a:gd name="T14" fmla="*/ 1016 w 1172"/>
                <a:gd name="T15" fmla="*/ 2494 h 2494"/>
                <a:gd name="T16" fmla="*/ 155 w 1172"/>
                <a:gd name="T17" fmla="*/ 2494 h 2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2" h="2494">
                  <a:moveTo>
                    <a:pt x="155" y="2494"/>
                  </a:moveTo>
                  <a:cubicBezTo>
                    <a:pt x="69" y="2494"/>
                    <a:pt x="0" y="2424"/>
                    <a:pt x="0" y="2338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65"/>
                    <a:pt x="65" y="0"/>
                    <a:pt x="155" y="0"/>
                  </a:cubicBezTo>
                  <a:cubicBezTo>
                    <a:pt x="1016" y="0"/>
                    <a:pt x="1016" y="0"/>
                    <a:pt x="1016" y="0"/>
                  </a:cubicBezTo>
                  <a:cubicBezTo>
                    <a:pt x="1105" y="0"/>
                    <a:pt x="1172" y="67"/>
                    <a:pt x="1172" y="156"/>
                  </a:cubicBezTo>
                  <a:cubicBezTo>
                    <a:pt x="1172" y="2338"/>
                    <a:pt x="1172" y="2338"/>
                    <a:pt x="1172" y="2338"/>
                  </a:cubicBezTo>
                  <a:cubicBezTo>
                    <a:pt x="1172" y="2424"/>
                    <a:pt x="1102" y="2494"/>
                    <a:pt x="1016" y="2494"/>
                  </a:cubicBezTo>
                  <a:lnTo>
                    <a:pt x="155" y="249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603180CF-34EF-1549-8B0B-9FBA25FC24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02545" y="1249931"/>
              <a:ext cx="2592388" cy="5437187"/>
            </a:xfrm>
            <a:custGeom>
              <a:avLst/>
              <a:gdLst>
                <a:gd name="T0" fmla="*/ 1157 w 1204"/>
                <a:gd name="T1" fmla="*/ 59 h 2528"/>
                <a:gd name="T2" fmla="*/ 1036 w 1204"/>
                <a:gd name="T3" fmla="*/ 10 h 2528"/>
                <a:gd name="T4" fmla="*/ 1001 w 1204"/>
                <a:gd name="T5" fmla="*/ 10 h 2528"/>
                <a:gd name="T6" fmla="*/ 1001 w 1204"/>
                <a:gd name="T7" fmla="*/ 4 h 2528"/>
                <a:gd name="T8" fmla="*/ 995 w 1204"/>
                <a:gd name="T9" fmla="*/ 0 h 2528"/>
                <a:gd name="T10" fmla="*/ 812 w 1204"/>
                <a:gd name="T11" fmla="*/ 0 h 2528"/>
                <a:gd name="T12" fmla="*/ 806 w 1204"/>
                <a:gd name="T13" fmla="*/ 4 h 2528"/>
                <a:gd name="T14" fmla="*/ 806 w 1204"/>
                <a:gd name="T15" fmla="*/ 10 h 2528"/>
                <a:gd name="T16" fmla="*/ 175 w 1204"/>
                <a:gd name="T17" fmla="*/ 10 h 2528"/>
                <a:gd name="T18" fmla="*/ 8 w 1204"/>
                <a:gd name="T19" fmla="*/ 178 h 2528"/>
                <a:gd name="T20" fmla="*/ 8 w 1204"/>
                <a:gd name="T21" fmla="*/ 354 h 2528"/>
                <a:gd name="T22" fmla="*/ 6 w 1204"/>
                <a:gd name="T23" fmla="*/ 354 h 2528"/>
                <a:gd name="T24" fmla="*/ 0 w 1204"/>
                <a:gd name="T25" fmla="*/ 360 h 2528"/>
                <a:gd name="T26" fmla="*/ 0 w 1204"/>
                <a:gd name="T27" fmla="*/ 465 h 2528"/>
                <a:gd name="T28" fmla="*/ 6 w 1204"/>
                <a:gd name="T29" fmla="*/ 470 h 2528"/>
                <a:gd name="T30" fmla="*/ 8 w 1204"/>
                <a:gd name="T31" fmla="*/ 470 h 2528"/>
                <a:gd name="T32" fmla="*/ 8 w 1204"/>
                <a:gd name="T33" fmla="*/ 594 h 2528"/>
                <a:gd name="T34" fmla="*/ 6 w 1204"/>
                <a:gd name="T35" fmla="*/ 594 h 2528"/>
                <a:gd name="T36" fmla="*/ 0 w 1204"/>
                <a:gd name="T37" fmla="*/ 600 h 2528"/>
                <a:gd name="T38" fmla="*/ 0 w 1204"/>
                <a:gd name="T39" fmla="*/ 675 h 2528"/>
                <a:gd name="T40" fmla="*/ 6 w 1204"/>
                <a:gd name="T41" fmla="*/ 681 h 2528"/>
                <a:gd name="T42" fmla="*/ 8 w 1204"/>
                <a:gd name="T43" fmla="*/ 681 h 2528"/>
                <a:gd name="T44" fmla="*/ 8 w 1204"/>
                <a:gd name="T45" fmla="*/ 802 h 2528"/>
                <a:gd name="T46" fmla="*/ 6 w 1204"/>
                <a:gd name="T47" fmla="*/ 802 h 2528"/>
                <a:gd name="T48" fmla="*/ 0 w 1204"/>
                <a:gd name="T49" fmla="*/ 807 h 2528"/>
                <a:gd name="T50" fmla="*/ 0 w 1204"/>
                <a:gd name="T51" fmla="*/ 885 h 2528"/>
                <a:gd name="T52" fmla="*/ 6 w 1204"/>
                <a:gd name="T53" fmla="*/ 891 h 2528"/>
                <a:gd name="T54" fmla="*/ 8 w 1204"/>
                <a:gd name="T55" fmla="*/ 891 h 2528"/>
                <a:gd name="T56" fmla="*/ 8 w 1204"/>
                <a:gd name="T57" fmla="*/ 2360 h 2528"/>
                <a:gd name="T58" fmla="*/ 175 w 1204"/>
                <a:gd name="T59" fmla="*/ 2528 h 2528"/>
                <a:gd name="T60" fmla="*/ 1036 w 1204"/>
                <a:gd name="T61" fmla="*/ 2528 h 2528"/>
                <a:gd name="T62" fmla="*/ 1204 w 1204"/>
                <a:gd name="T63" fmla="*/ 2360 h 2528"/>
                <a:gd name="T64" fmla="*/ 1204 w 1204"/>
                <a:gd name="T65" fmla="*/ 178 h 2528"/>
                <a:gd name="T66" fmla="*/ 1157 w 1204"/>
                <a:gd name="T67" fmla="*/ 59 h 2528"/>
                <a:gd name="T68" fmla="*/ 1180 w 1204"/>
                <a:gd name="T69" fmla="*/ 2360 h 2528"/>
                <a:gd name="T70" fmla="*/ 1036 w 1204"/>
                <a:gd name="T71" fmla="*/ 2504 h 2528"/>
                <a:gd name="T72" fmla="*/ 175 w 1204"/>
                <a:gd name="T73" fmla="*/ 2504 h 2528"/>
                <a:gd name="T74" fmla="*/ 32 w 1204"/>
                <a:gd name="T75" fmla="*/ 2360 h 2528"/>
                <a:gd name="T76" fmla="*/ 32 w 1204"/>
                <a:gd name="T77" fmla="*/ 178 h 2528"/>
                <a:gd name="T78" fmla="*/ 175 w 1204"/>
                <a:gd name="T79" fmla="*/ 34 h 2528"/>
                <a:gd name="T80" fmla="*/ 1036 w 1204"/>
                <a:gd name="T81" fmla="*/ 34 h 2528"/>
                <a:gd name="T82" fmla="*/ 1180 w 1204"/>
                <a:gd name="T83" fmla="*/ 178 h 2528"/>
                <a:gd name="T84" fmla="*/ 1180 w 1204"/>
                <a:gd name="T85" fmla="*/ 2360 h 2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4" h="2528">
                  <a:moveTo>
                    <a:pt x="1157" y="59"/>
                  </a:moveTo>
                  <a:cubicBezTo>
                    <a:pt x="1126" y="28"/>
                    <a:pt x="1083" y="10"/>
                    <a:pt x="1036" y="10"/>
                  </a:cubicBezTo>
                  <a:cubicBezTo>
                    <a:pt x="1001" y="10"/>
                    <a:pt x="1001" y="10"/>
                    <a:pt x="1001" y="10"/>
                  </a:cubicBezTo>
                  <a:cubicBezTo>
                    <a:pt x="1001" y="4"/>
                    <a:pt x="1001" y="4"/>
                    <a:pt x="1001" y="4"/>
                  </a:cubicBezTo>
                  <a:cubicBezTo>
                    <a:pt x="1001" y="2"/>
                    <a:pt x="998" y="0"/>
                    <a:pt x="995" y="0"/>
                  </a:cubicBezTo>
                  <a:cubicBezTo>
                    <a:pt x="812" y="0"/>
                    <a:pt x="812" y="0"/>
                    <a:pt x="812" y="0"/>
                  </a:cubicBezTo>
                  <a:cubicBezTo>
                    <a:pt x="809" y="0"/>
                    <a:pt x="806" y="2"/>
                    <a:pt x="806" y="4"/>
                  </a:cubicBezTo>
                  <a:cubicBezTo>
                    <a:pt x="806" y="10"/>
                    <a:pt x="806" y="10"/>
                    <a:pt x="806" y="10"/>
                  </a:cubicBezTo>
                  <a:cubicBezTo>
                    <a:pt x="175" y="10"/>
                    <a:pt x="175" y="10"/>
                    <a:pt x="175" y="10"/>
                  </a:cubicBezTo>
                  <a:cubicBezTo>
                    <a:pt x="78" y="10"/>
                    <a:pt x="8" y="81"/>
                    <a:pt x="8" y="178"/>
                  </a:cubicBezTo>
                  <a:cubicBezTo>
                    <a:pt x="8" y="354"/>
                    <a:pt x="8" y="354"/>
                    <a:pt x="8" y="354"/>
                  </a:cubicBezTo>
                  <a:cubicBezTo>
                    <a:pt x="6" y="354"/>
                    <a:pt x="6" y="354"/>
                    <a:pt x="6" y="354"/>
                  </a:cubicBezTo>
                  <a:cubicBezTo>
                    <a:pt x="3" y="354"/>
                    <a:pt x="0" y="357"/>
                    <a:pt x="0" y="360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468"/>
                    <a:pt x="3" y="470"/>
                    <a:pt x="6" y="470"/>
                  </a:cubicBezTo>
                  <a:cubicBezTo>
                    <a:pt x="8" y="470"/>
                    <a:pt x="8" y="470"/>
                    <a:pt x="8" y="470"/>
                  </a:cubicBezTo>
                  <a:cubicBezTo>
                    <a:pt x="8" y="594"/>
                    <a:pt x="8" y="594"/>
                    <a:pt x="8" y="594"/>
                  </a:cubicBezTo>
                  <a:cubicBezTo>
                    <a:pt x="6" y="594"/>
                    <a:pt x="6" y="594"/>
                    <a:pt x="6" y="594"/>
                  </a:cubicBezTo>
                  <a:cubicBezTo>
                    <a:pt x="3" y="594"/>
                    <a:pt x="0" y="597"/>
                    <a:pt x="0" y="600"/>
                  </a:cubicBezTo>
                  <a:cubicBezTo>
                    <a:pt x="0" y="675"/>
                    <a:pt x="0" y="675"/>
                    <a:pt x="0" y="675"/>
                  </a:cubicBezTo>
                  <a:cubicBezTo>
                    <a:pt x="0" y="678"/>
                    <a:pt x="3" y="681"/>
                    <a:pt x="6" y="681"/>
                  </a:cubicBezTo>
                  <a:cubicBezTo>
                    <a:pt x="8" y="681"/>
                    <a:pt x="8" y="681"/>
                    <a:pt x="8" y="681"/>
                  </a:cubicBezTo>
                  <a:cubicBezTo>
                    <a:pt x="8" y="802"/>
                    <a:pt x="8" y="802"/>
                    <a:pt x="8" y="802"/>
                  </a:cubicBezTo>
                  <a:cubicBezTo>
                    <a:pt x="6" y="802"/>
                    <a:pt x="6" y="802"/>
                    <a:pt x="6" y="802"/>
                  </a:cubicBezTo>
                  <a:cubicBezTo>
                    <a:pt x="3" y="802"/>
                    <a:pt x="0" y="804"/>
                    <a:pt x="0" y="807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888"/>
                    <a:pt x="3" y="891"/>
                    <a:pt x="6" y="891"/>
                  </a:cubicBezTo>
                  <a:cubicBezTo>
                    <a:pt x="8" y="891"/>
                    <a:pt x="8" y="891"/>
                    <a:pt x="8" y="891"/>
                  </a:cubicBezTo>
                  <a:cubicBezTo>
                    <a:pt x="8" y="2360"/>
                    <a:pt x="8" y="2360"/>
                    <a:pt x="8" y="2360"/>
                  </a:cubicBezTo>
                  <a:cubicBezTo>
                    <a:pt x="8" y="2452"/>
                    <a:pt x="83" y="2528"/>
                    <a:pt x="175" y="2528"/>
                  </a:cubicBezTo>
                  <a:cubicBezTo>
                    <a:pt x="1036" y="2528"/>
                    <a:pt x="1036" y="2528"/>
                    <a:pt x="1036" y="2528"/>
                  </a:cubicBezTo>
                  <a:cubicBezTo>
                    <a:pt x="1129" y="2528"/>
                    <a:pt x="1204" y="2452"/>
                    <a:pt x="1204" y="2360"/>
                  </a:cubicBezTo>
                  <a:cubicBezTo>
                    <a:pt x="1204" y="178"/>
                    <a:pt x="1204" y="178"/>
                    <a:pt x="1204" y="178"/>
                  </a:cubicBezTo>
                  <a:cubicBezTo>
                    <a:pt x="1204" y="132"/>
                    <a:pt x="1187" y="90"/>
                    <a:pt x="1157" y="59"/>
                  </a:cubicBezTo>
                  <a:close/>
                  <a:moveTo>
                    <a:pt x="1180" y="2360"/>
                  </a:moveTo>
                  <a:cubicBezTo>
                    <a:pt x="1180" y="2439"/>
                    <a:pt x="1116" y="2504"/>
                    <a:pt x="1036" y="2504"/>
                  </a:cubicBezTo>
                  <a:cubicBezTo>
                    <a:pt x="175" y="2504"/>
                    <a:pt x="175" y="2504"/>
                    <a:pt x="175" y="2504"/>
                  </a:cubicBezTo>
                  <a:cubicBezTo>
                    <a:pt x="96" y="2504"/>
                    <a:pt x="32" y="2439"/>
                    <a:pt x="32" y="2360"/>
                  </a:cubicBezTo>
                  <a:cubicBezTo>
                    <a:pt x="32" y="178"/>
                    <a:pt x="32" y="178"/>
                    <a:pt x="32" y="178"/>
                  </a:cubicBezTo>
                  <a:cubicBezTo>
                    <a:pt x="32" y="94"/>
                    <a:pt x="91" y="34"/>
                    <a:pt x="175" y="34"/>
                  </a:cubicBezTo>
                  <a:cubicBezTo>
                    <a:pt x="1036" y="34"/>
                    <a:pt x="1036" y="34"/>
                    <a:pt x="1036" y="34"/>
                  </a:cubicBezTo>
                  <a:cubicBezTo>
                    <a:pt x="1121" y="34"/>
                    <a:pt x="1180" y="98"/>
                    <a:pt x="1180" y="178"/>
                  </a:cubicBezTo>
                  <a:lnTo>
                    <a:pt x="1180" y="23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33" name="Picture Placeholder 17">
            <a:extLst>
              <a:ext uri="{FF2B5EF4-FFF2-40B4-BE49-F238E27FC236}">
                <a16:creationId xmlns:a16="http://schemas.microsoft.com/office/drawing/2014/main" id="{41D11EAF-AF71-0D47-95D2-2385AF33733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493839" y="505033"/>
            <a:ext cx="2249973" cy="5043360"/>
          </a:xfrm>
          <a:prstGeom prst="roundRect">
            <a:avLst>
              <a:gd name="adj" fmla="val 10376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-250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/>
              <a:t>Click to add picture</a:t>
            </a:r>
          </a:p>
          <a:p>
            <a:endParaRPr lang="en-AU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DB347DE-F344-CF4C-B5E2-5FD67E40EF16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8EF94FB-04F8-044B-9500-34B81E95392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6D8730F3-9144-CF42-9CDC-FE5ED321DFF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4B9053C2-CAFF-444C-97F5-A35D320E697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563715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33" grpId="0" animBg="1"/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: Compu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FCDE05EF-0C1E-7542-96AF-FFC170CA871D}"/>
              </a:ext>
            </a:extLst>
          </p:cNvPr>
          <p:cNvGrpSpPr/>
          <p:nvPr/>
        </p:nvGrpSpPr>
        <p:grpSpPr>
          <a:xfrm>
            <a:off x="4977626" y="1622546"/>
            <a:ext cx="6870990" cy="3939887"/>
            <a:chOff x="2058988" y="2539102"/>
            <a:chExt cx="7558088" cy="4333876"/>
          </a:xfrm>
        </p:grpSpPr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id="{0C66CF27-1DA4-AD46-B455-6A98437D1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5588" y="2539102"/>
              <a:ext cx="6113463" cy="4198938"/>
            </a:xfrm>
            <a:custGeom>
              <a:avLst/>
              <a:gdLst>
                <a:gd name="T0" fmla="*/ 6648 w 6648"/>
                <a:gd name="T1" fmla="*/ 4385 h 4566"/>
                <a:gd name="T2" fmla="*/ 6466 w 6648"/>
                <a:gd name="T3" fmla="*/ 4566 h 4566"/>
                <a:gd name="T4" fmla="*/ 182 w 6648"/>
                <a:gd name="T5" fmla="*/ 4566 h 4566"/>
                <a:gd name="T6" fmla="*/ 0 w 6648"/>
                <a:gd name="T7" fmla="*/ 4385 h 4566"/>
                <a:gd name="T8" fmla="*/ 0 w 6648"/>
                <a:gd name="T9" fmla="*/ 182 h 4566"/>
                <a:gd name="T10" fmla="*/ 182 w 6648"/>
                <a:gd name="T11" fmla="*/ 0 h 4566"/>
                <a:gd name="T12" fmla="*/ 6466 w 6648"/>
                <a:gd name="T13" fmla="*/ 0 h 4566"/>
                <a:gd name="T14" fmla="*/ 6648 w 6648"/>
                <a:gd name="T15" fmla="*/ 182 h 4566"/>
                <a:gd name="T16" fmla="*/ 6648 w 6648"/>
                <a:gd name="T17" fmla="*/ 4385 h 4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48" h="4566">
                  <a:moveTo>
                    <a:pt x="6648" y="4385"/>
                  </a:moveTo>
                  <a:cubicBezTo>
                    <a:pt x="6648" y="4485"/>
                    <a:pt x="6567" y="4566"/>
                    <a:pt x="6466" y="4566"/>
                  </a:cubicBezTo>
                  <a:cubicBezTo>
                    <a:pt x="182" y="4566"/>
                    <a:pt x="182" y="4566"/>
                    <a:pt x="182" y="4566"/>
                  </a:cubicBezTo>
                  <a:cubicBezTo>
                    <a:pt x="81" y="4566"/>
                    <a:pt x="0" y="4485"/>
                    <a:pt x="0" y="4385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82"/>
                    <a:pt x="81" y="0"/>
                    <a:pt x="182" y="0"/>
                  </a:cubicBezTo>
                  <a:cubicBezTo>
                    <a:pt x="6466" y="0"/>
                    <a:pt x="6466" y="0"/>
                    <a:pt x="6466" y="0"/>
                  </a:cubicBezTo>
                  <a:cubicBezTo>
                    <a:pt x="6567" y="0"/>
                    <a:pt x="6648" y="82"/>
                    <a:pt x="6648" y="182"/>
                  </a:cubicBezTo>
                  <a:lnTo>
                    <a:pt x="6648" y="438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id="{351129B8-1265-DC48-82BF-84355FAA9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8988" y="6645965"/>
              <a:ext cx="7558088" cy="227013"/>
            </a:xfrm>
            <a:custGeom>
              <a:avLst/>
              <a:gdLst>
                <a:gd name="T0" fmla="*/ 8220 w 8220"/>
                <a:gd name="T1" fmla="*/ 150 h 247"/>
                <a:gd name="T2" fmla="*/ 7911 w 8220"/>
                <a:gd name="T3" fmla="*/ 247 h 247"/>
                <a:gd name="T4" fmla="*/ 321 w 8220"/>
                <a:gd name="T5" fmla="*/ 247 h 247"/>
                <a:gd name="T6" fmla="*/ 0 w 8220"/>
                <a:gd name="T7" fmla="*/ 150 h 247"/>
                <a:gd name="T8" fmla="*/ 0 w 8220"/>
                <a:gd name="T9" fmla="*/ 0 h 247"/>
                <a:gd name="T10" fmla="*/ 8220 w 8220"/>
                <a:gd name="T11" fmla="*/ 0 h 247"/>
                <a:gd name="T12" fmla="*/ 8220 w 8220"/>
                <a:gd name="T13" fmla="*/ 15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20" h="247">
                  <a:moveTo>
                    <a:pt x="8220" y="150"/>
                  </a:moveTo>
                  <a:cubicBezTo>
                    <a:pt x="8220" y="150"/>
                    <a:pt x="8088" y="247"/>
                    <a:pt x="7911" y="247"/>
                  </a:cubicBezTo>
                  <a:cubicBezTo>
                    <a:pt x="7733" y="247"/>
                    <a:pt x="472" y="247"/>
                    <a:pt x="321" y="247"/>
                  </a:cubicBezTo>
                  <a:cubicBezTo>
                    <a:pt x="171" y="247"/>
                    <a:pt x="0" y="150"/>
                    <a:pt x="0" y="15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220" y="0"/>
                    <a:pt x="8220" y="0"/>
                    <a:pt x="8220" y="0"/>
                  </a:cubicBezTo>
                  <a:lnTo>
                    <a:pt x="8220" y="15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DC8892B8-A890-6B40-BB4D-289AFB792E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8988" y="6784077"/>
              <a:ext cx="7558088" cy="88900"/>
            </a:xfrm>
            <a:custGeom>
              <a:avLst/>
              <a:gdLst>
                <a:gd name="T0" fmla="*/ 0 w 8220"/>
                <a:gd name="T1" fmla="*/ 0 h 97"/>
                <a:gd name="T2" fmla="*/ 321 w 8220"/>
                <a:gd name="T3" fmla="*/ 97 h 97"/>
                <a:gd name="T4" fmla="*/ 7911 w 8220"/>
                <a:gd name="T5" fmla="*/ 97 h 97"/>
                <a:gd name="T6" fmla="*/ 8220 w 8220"/>
                <a:gd name="T7" fmla="*/ 0 h 97"/>
                <a:gd name="T8" fmla="*/ 0 w 8220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20" h="97">
                  <a:moveTo>
                    <a:pt x="0" y="0"/>
                  </a:moveTo>
                  <a:cubicBezTo>
                    <a:pt x="0" y="0"/>
                    <a:pt x="171" y="97"/>
                    <a:pt x="321" y="97"/>
                  </a:cubicBezTo>
                  <a:cubicBezTo>
                    <a:pt x="472" y="97"/>
                    <a:pt x="7733" y="97"/>
                    <a:pt x="7911" y="97"/>
                  </a:cubicBezTo>
                  <a:cubicBezTo>
                    <a:pt x="8088" y="97"/>
                    <a:pt x="8220" y="0"/>
                    <a:pt x="822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  <a:alpha val="1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754E2B8E-893E-E945-B71F-92476FF077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0663" y="6645965"/>
              <a:ext cx="1077913" cy="85725"/>
            </a:xfrm>
            <a:custGeom>
              <a:avLst/>
              <a:gdLst>
                <a:gd name="T0" fmla="*/ 0 w 1171"/>
                <a:gd name="T1" fmla="*/ 0 h 93"/>
                <a:gd name="T2" fmla="*/ 129 w 1171"/>
                <a:gd name="T3" fmla="*/ 93 h 93"/>
                <a:gd name="T4" fmla="*/ 1042 w 1171"/>
                <a:gd name="T5" fmla="*/ 93 h 93"/>
                <a:gd name="T6" fmla="*/ 1171 w 1171"/>
                <a:gd name="T7" fmla="*/ 0 h 93"/>
                <a:gd name="T8" fmla="*/ 0 w 1171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1" h="93">
                  <a:moveTo>
                    <a:pt x="0" y="0"/>
                  </a:moveTo>
                  <a:cubicBezTo>
                    <a:pt x="18" y="54"/>
                    <a:pt x="69" y="93"/>
                    <a:pt x="129" y="93"/>
                  </a:cubicBezTo>
                  <a:cubicBezTo>
                    <a:pt x="1042" y="93"/>
                    <a:pt x="1042" y="93"/>
                    <a:pt x="1042" y="93"/>
                  </a:cubicBezTo>
                  <a:cubicBezTo>
                    <a:pt x="1102" y="93"/>
                    <a:pt x="1153" y="54"/>
                    <a:pt x="117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  <a:alpha val="1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CD42B419-2F25-464E-AEEB-331BFA8B77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1101" y="6701527"/>
              <a:ext cx="339725" cy="33338"/>
            </a:xfrm>
            <a:custGeom>
              <a:avLst/>
              <a:gdLst>
                <a:gd name="T0" fmla="*/ 368 w 368"/>
                <a:gd name="T1" fmla="*/ 18 h 36"/>
                <a:gd name="T2" fmla="*/ 350 w 368"/>
                <a:gd name="T3" fmla="*/ 36 h 36"/>
                <a:gd name="T4" fmla="*/ 18 w 368"/>
                <a:gd name="T5" fmla="*/ 36 h 36"/>
                <a:gd name="T6" fmla="*/ 0 w 368"/>
                <a:gd name="T7" fmla="*/ 18 h 36"/>
                <a:gd name="T8" fmla="*/ 0 w 368"/>
                <a:gd name="T9" fmla="*/ 18 h 36"/>
                <a:gd name="T10" fmla="*/ 18 w 368"/>
                <a:gd name="T11" fmla="*/ 0 h 36"/>
                <a:gd name="T12" fmla="*/ 350 w 368"/>
                <a:gd name="T13" fmla="*/ 0 h 36"/>
                <a:gd name="T14" fmla="*/ 368 w 368"/>
                <a:gd name="T15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8" h="36">
                  <a:moveTo>
                    <a:pt x="368" y="18"/>
                  </a:moveTo>
                  <a:cubicBezTo>
                    <a:pt x="368" y="28"/>
                    <a:pt x="360" y="36"/>
                    <a:pt x="350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350" y="0"/>
                    <a:pt x="350" y="0"/>
                    <a:pt x="350" y="0"/>
                  </a:cubicBezTo>
                  <a:cubicBezTo>
                    <a:pt x="360" y="0"/>
                    <a:pt x="368" y="8"/>
                    <a:pt x="368" y="18"/>
                  </a:cubicBezTo>
                  <a:close/>
                </a:path>
              </a:pathLst>
            </a:custGeom>
            <a:solidFill>
              <a:schemeClr val="tx1">
                <a:lumMod val="50000"/>
                <a:alpha val="1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8" name="Oval 19">
              <a:extLst>
                <a:ext uri="{FF2B5EF4-FFF2-40B4-BE49-F238E27FC236}">
                  <a16:creationId xmlns:a16="http://schemas.microsoft.com/office/drawing/2014/main" id="{3E1B1664-CC0B-6345-B76E-D821408799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61051" y="2628002"/>
              <a:ext cx="34925" cy="3492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29" name="Picture Placeholder 17">
            <a:extLst>
              <a:ext uri="{FF2B5EF4-FFF2-40B4-BE49-F238E27FC236}">
                <a16:creationId xmlns:a16="http://schemas.microsoft.com/office/drawing/2014/main" id="{BE1340A3-7B32-324F-93DF-F6E0D98F38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784080" y="1845936"/>
            <a:ext cx="5282502" cy="3341464"/>
          </a:xfrm>
          <a:noFill/>
        </p:spPr>
        <p:txBody>
          <a:bodyPr anchor="t">
            <a:normAutofit/>
          </a:bodyPr>
          <a:lstStyle>
            <a:lvl1pPr marL="0" indent="0" algn="ctr">
              <a:buNone/>
              <a:defRPr sz="2000" baseline="-25000">
                <a:solidFill>
                  <a:schemeClr val="bg1"/>
                </a:solidFill>
              </a:defRPr>
            </a:lvl1pPr>
          </a:lstStyle>
          <a:p>
            <a:r>
              <a:rPr lang="en-AU"/>
              <a:t>Click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755E2FB7-12B3-1045-8BEA-8CB3A912B3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43" name="Content Placeholder 8">
            <a:extLst>
              <a:ext uri="{FF2B5EF4-FFF2-40B4-BE49-F238E27FC236}">
                <a16:creationId xmlns:a16="http://schemas.microsoft.com/office/drawing/2014/main" id="{799ACB22-9CA1-4340-A10D-36668B7CBCD0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47662" y="769980"/>
            <a:ext cx="11844331" cy="452286"/>
          </a:xfrm>
        </p:spPr>
        <p:txBody>
          <a:bodyPr anchor="ctr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B6BCF342-C8C5-FF43-B9D9-DBEEA2913F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7472" y="1626968"/>
            <a:ext cx="4418257" cy="1201475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introduction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9ACE702-FF5A-A54A-AEB8-80D87653C87F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2CAEA392-30FC-DB48-B9E5-4577F2EE955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7987FA05-4FEC-344D-9A7B-3A0CC200A86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0A056A4A-31ED-2A42-949F-AC97CE30072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841648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: Computer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57501746-1BCC-F943-B9D5-EA21C353B101}"/>
              </a:ext>
            </a:extLst>
          </p:cNvPr>
          <p:cNvGrpSpPr/>
          <p:nvPr/>
        </p:nvGrpSpPr>
        <p:grpSpPr>
          <a:xfrm>
            <a:off x="3639301" y="1715534"/>
            <a:ext cx="4913398" cy="4115880"/>
            <a:chOff x="3639301" y="1715534"/>
            <a:chExt cx="4913398" cy="4115880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E6DB734C-B338-B740-A86C-A20CC67A7711}"/>
                </a:ext>
              </a:extLst>
            </p:cNvPr>
            <p:cNvGrpSpPr/>
            <p:nvPr/>
          </p:nvGrpSpPr>
          <p:grpSpPr>
            <a:xfrm>
              <a:off x="3639301" y="1715534"/>
              <a:ext cx="4913398" cy="4115880"/>
              <a:chOff x="5208056" y="1125763"/>
              <a:chExt cx="6539736" cy="5478238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CF4B68CD-07D7-8040-B17D-77A1DD3FD3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7972" y="5808648"/>
                <a:ext cx="2404518" cy="795353"/>
              </a:xfrm>
              <a:custGeom>
                <a:avLst/>
                <a:gdLst>
                  <a:gd name="T0" fmla="*/ 2246 w 2263"/>
                  <a:gd name="T1" fmla="*/ 694 h 749"/>
                  <a:gd name="T2" fmla="*/ 2027 w 2263"/>
                  <a:gd name="T3" fmla="*/ 647 h 749"/>
                  <a:gd name="T4" fmla="*/ 1958 w 2263"/>
                  <a:gd name="T5" fmla="*/ 554 h 749"/>
                  <a:gd name="T6" fmla="*/ 1913 w 2263"/>
                  <a:gd name="T7" fmla="*/ 0 h 749"/>
                  <a:gd name="T8" fmla="*/ 350 w 2263"/>
                  <a:gd name="T9" fmla="*/ 0 h 749"/>
                  <a:gd name="T10" fmla="*/ 306 w 2263"/>
                  <a:gd name="T11" fmla="*/ 554 h 749"/>
                  <a:gd name="T12" fmla="*/ 237 w 2263"/>
                  <a:gd name="T13" fmla="*/ 647 h 749"/>
                  <a:gd name="T14" fmla="*/ 12 w 2263"/>
                  <a:gd name="T15" fmla="*/ 695 h 749"/>
                  <a:gd name="T16" fmla="*/ 0 w 2263"/>
                  <a:gd name="T17" fmla="*/ 708 h 749"/>
                  <a:gd name="T18" fmla="*/ 0 w 2263"/>
                  <a:gd name="T19" fmla="*/ 749 h 749"/>
                  <a:gd name="T20" fmla="*/ 6 w 2263"/>
                  <a:gd name="T21" fmla="*/ 749 h 749"/>
                  <a:gd name="T22" fmla="*/ 2257 w 2263"/>
                  <a:gd name="T23" fmla="*/ 749 h 749"/>
                  <a:gd name="T24" fmla="*/ 2263 w 2263"/>
                  <a:gd name="T25" fmla="*/ 749 h 749"/>
                  <a:gd name="T26" fmla="*/ 2263 w 2263"/>
                  <a:gd name="T27" fmla="*/ 709 h 749"/>
                  <a:gd name="T28" fmla="*/ 2246 w 2263"/>
                  <a:gd name="T29" fmla="*/ 694 h 7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263" h="749">
                    <a:moveTo>
                      <a:pt x="2246" y="694"/>
                    </a:moveTo>
                    <a:cubicBezTo>
                      <a:pt x="2202" y="684"/>
                      <a:pt x="2089" y="661"/>
                      <a:pt x="2027" y="647"/>
                    </a:cubicBezTo>
                    <a:cubicBezTo>
                      <a:pt x="1949" y="629"/>
                      <a:pt x="1958" y="554"/>
                      <a:pt x="1958" y="554"/>
                    </a:cubicBezTo>
                    <a:cubicBezTo>
                      <a:pt x="1913" y="0"/>
                      <a:pt x="1913" y="0"/>
                      <a:pt x="1913" y="0"/>
                    </a:cubicBezTo>
                    <a:cubicBezTo>
                      <a:pt x="350" y="0"/>
                      <a:pt x="350" y="0"/>
                      <a:pt x="350" y="0"/>
                    </a:cubicBezTo>
                    <a:cubicBezTo>
                      <a:pt x="306" y="554"/>
                      <a:pt x="306" y="554"/>
                      <a:pt x="306" y="554"/>
                    </a:cubicBezTo>
                    <a:cubicBezTo>
                      <a:pt x="306" y="554"/>
                      <a:pt x="315" y="629"/>
                      <a:pt x="237" y="647"/>
                    </a:cubicBezTo>
                    <a:cubicBezTo>
                      <a:pt x="172" y="662"/>
                      <a:pt x="50" y="687"/>
                      <a:pt x="12" y="695"/>
                    </a:cubicBezTo>
                    <a:cubicBezTo>
                      <a:pt x="0" y="699"/>
                      <a:pt x="0" y="708"/>
                      <a:pt x="0" y="708"/>
                    </a:cubicBezTo>
                    <a:cubicBezTo>
                      <a:pt x="0" y="749"/>
                      <a:pt x="0" y="749"/>
                      <a:pt x="0" y="749"/>
                    </a:cubicBezTo>
                    <a:cubicBezTo>
                      <a:pt x="6" y="749"/>
                      <a:pt x="6" y="749"/>
                      <a:pt x="6" y="749"/>
                    </a:cubicBezTo>
                    <a:cubicBezTo>
                      <a:pt x="2257" y="749"/>
                      <a:pt x="2257" y="749"/>
                      <a:pt x="2257" y="749"/>
                    </a:cubicBezTo>
                    <a:cubicBezTo>
                      <a:pt x="2263" y="749"/>
                      <a:pt x="2263" y="749"/>
                      <a:pt x="2263" y="749"/>
                    </a:cubicBezTo>
                    <a:cubicBezTo>
                      <a:pt x="2263" y="709"/>
                      <a:pt x="2263" y="709"/>
                      <a:pt x="2263" y="709"/>
                    </a:cubicBezTo>
                    <a:cubicBezTo>
                      <a:pt x="2263" y="709"/>
                      <a:pt x="2263" y="698"/>
                      <a:pt x="2246" y="694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17" name="Freeform 6">
                <a:extLst>
                  <a:ext uri="{FF2B5EF4-FFF2-40B4-BE49-F238E27FC236}">
                    <a16:creationId xmlns:a16="http://schemas.microsoft.com/office/drawing/2014/main" id="{F4B02788-4F84-0B4A-8BCF-047F377808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8056" y="1125763"/>
                <a:ext cx="6539736" cy="3958299"/>
              </a:xfrm>
              <a:custGeom>
                <a:avLst/>
                <a:gdLst>
                  <a:gd name="T0" fmla="*/ 6155 w 6155"/>
                  <a:gd name="T1" fmla="*/ 3725 h 3725"/>
                  <a:gd name="T2" fmla="*/ 6155 w 6155"/>
                  <a:gd name="T3" fmla="*/ 204 h 3725"/>
                  <a:gd name="T4" fmla="*/ 5952 w 6155"/>
                  <a:gd name="T5" fmla="*/ 0 h 3725"/>
                  <a:gd name="T6" fmla="*/ 204 w 6155"/>
                  <a:gd name="T7" fmla="*/ 0 h 3725"/>
                  <a:gd name="T8" fmla="*/ 0 w 6155"/>
                  <a:gd name="T9" fmla="*/ 204 h 3725"/>
                  <a:gd name="T10" fmla="*/ 0 w 6155"/>
                  <a:gd name="T11" fmla="*/ 3725 h 3725"/>
                  <a:gd name="T12" fmla="*/ 6155 w 6155"/>
                  <a:gd name="T13" fmla="*/ 3725 h 37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55" h="3725">
                    <a:moveTo>
                      <a:pt x="6155" y="3725"/>
                    </a:moveTo>
                    <a:cubicBezTo>
                      <a:pt x="6155" y="204"/>
                      <a:pt x="6155" y="204"/>
                      <a:pt x="6155" y="204"/>
                    </a:cubicBezTo>
                    <a:cubicBezTo>
                      <a:pt x="6155" y="92"/>
                      <a:pt x="6064" y="0"/>
                      <a:pt x="5952" y="0"/>
                    </a:cubicBezTo>
                    <a:cubicBezTo>
                      <a:pt x="204" y="0"/>
                      <a:pt x="204" y="0"/>
                      <a:pt x="204" y="0"/>
                    </a:cubicBezTo>
                    <a:cubicBezTo>
                      <a:pt x="92" y="0"/>
                      <a:pt x="0" y="92"/>
                      <a:pt x="0" y="204"/>
                    </a:cubicBezTo>
                    <a:cubicBezTo>
                      <a:pt x="0" y="3725"/>
                      <a:pt x="0" y="3725"/>
                      <a:pt x="0" y="3725"/>
                    </a:cubicBezTo>
                    <a:lnTo>
                      <a:pt x="6155" y="3725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18" name="Freeform 8">
                <a:extLst>
                  <a:ext uri="{FF2B5EF4-FFF2-40B4-BE49-F238E27FC236}">
                    <a16:creationId xmlns:a16="http://schemas.microsoft.com/office/drawing/2014/main" id="{C1CE6520-7A93-2E4D-9065-7C00D761E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8056" y="5084061"/>
                <a:ext cx="6539736" cy="724586"/>
              </a:xfrm>
              <a:custGeom>
                <a:avLst/>
                <a:gdLst>
                  <a:gd name="T0" fmla="*/ 0 w 6155"/>
                  <a:gd name="T1" fmla="*/ 0 h 682"/>
                  <a:gd name="T2" fmla="*/ 0 w 6155"/>
                  <a:gd name="T3" fmla="*/ 478 h 682"/>
                  <a:gd name="T4" fmla="*/ 204 w 6155"/>
                  <a:gd name="T5" fmla="*/ 682 h 682"/>
                  <a:gd name="T6" fmla="*/ 5952 w 6155"/>
                  <a:gd name="T7" fmla="*/ 682 h 682"/>
                  <a:gd name="T8" fmla="*/ 6155 w 6155"/>
                  <a:gd name="T9" fmla="*/ 478 h 682"/>
                  <a:gd name="T10" fmla="*/ 6155 w 6155"/>
                  <a:gd name="T11" fmla="*/ 0 h 682"/>
                  <a:gd name="T12" fmla="*/ 0 w 6155"/>
                  <a:gd name="T13" fmla="*/ 0 h 6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55" h="682">
                    <a:moveTo>
                      <a:pt x="0" y="0"/>
                    </a:moveTo>
                    <a:cubicBezTo>
                      <a:pt x="0" y="478"/>
                      <a:pt x="0" y="478"/>
                      <a:pt x="0" y="478"/>
                    </a:cubicBezTo>
                    <a:cubicBezTo>
                      <a:pt x="0" y="591"/>
                      <a:pt x="92" y="682"/>
                      <a:pt x="204" y="682"/>
                    </a:cubicBezTo>
                    <a:cubicBezTo>
                      <a:pt x="5952" y="682"/>
                      <a:pt x="5952" y="682"/>
                      <a:pt x="5952" y="682"/>
                    </a:cubicBezTo>
                    <a:cubicBezTo>
                      <a:pt x="6064" y="682"/>
                      <a:pt x="6155" y="591"/>
                      <a:pt x="6155" y="478"/>
                    </a:cubicBezTo>
                    <a:cubicBezTo>
                      <a:pt x="6155" y="0"/>
                      <a:pt x="6155" y="0"/>
                      <a:pt x="6155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7FEFF40C-7AEF-1D40-AB79-C856AED0C8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44880" y="5808648"/>
                <a:ext cx="1690701" cy="184608"/>
              </a:xfrm>
              <a:custGeom>
                <a:avLst/>
                <a:gdLst>
                  <a:gd name="T0" fmla="*/ 1099 w 1099"/>
                  <a:gd name="T1" fmla="*/ 120 h 120"/>
                  <a:gd name="T2" fmla="*/ 1090 w 1099"/>
                  <a:gd name="T3" fmla="*/ 0 h 120"/>
                  <a:gd name="T4" fmla="*/ 10 w 1099"/>
                  <a:gd name="T5" fmla="*/ 0 h 120"/>
                  <a:gd name="T6" fmla="*/ 0 w 1099"/>
                  <a:gd name="T7" fmla="*/ 120 h 120"/>
                  <a:gd name="T8" fmla="*/ 1099 w 1099"/>
                  <a:gd name="T9" fmla="*/ 12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99" h="120">
                    <a:moveTo>
                      <a:pt x="1099" y="120"/>
                    </a:moveTo>
                    <a:lnTo>
                      <a:pt x="1090" y="0"/>
                    </a:lnTo>
                    <a:lnTo>
                      <a:pt x="10" y="0"/>
                    </a:lnTo>
                    <a:lnTo>
                      <a:pt x="0" y="120"/>
                    </a:lnTo>
                    <a:lnTo>
                      <a:pt x="1099" y="120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alpha val="1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23" name="Freeform 10">
                <a:extLst>
                  <a:ext uri="{FF2B5EF4-FFF2-40B4-BE49-F238E27FC236}">
                    <a16:creationId xmlns:a16="http://schemas.microsoft.com/office/drawing/2014/main" id="{09A3B097-23A7-3243-AB63-4D8BDAEA9F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7972" y="6548619"/>
                <a:ext cx="2404518" cy="55382"/>
              </a:xfrm>
              <a:custGeom>
                <a:avLst/>
                <a:gdLst>
                  <a:gd name="T0" fmla="*/ 2252 w 2263"/>
                  <a:gd name="T1" fmla="*/ 0 h 53"/>
                  <a:gd name="T2" fmla="*/ 10 w 2263"/>
                  <a:gd name="T3" fmla="*/ 0 h 53"/>
                  <a:gd name="T4" fmla="*/ 0 w 2263"/>
                  <a:gd name="T5" fmla="*/ 12 h 53"/>
                  <a:gd name="T6" fmla="*/ 0 w 2263"/>
                  <a:gd name="T7" fmla="*/ 53 h 53"/>
                  <a:gd name="T8" fmla="*/ 6 w 2263"/>
                  <a:gd name="T9" fmla="*/ 53 h 53"/>
                  <a:gd name="T10" fmla="*/ 2257 w 2263"/>
                  <a:gd name="T11" fmla="*/ 53 h 53"/>
                  <a:gd name="T12" fmla="*/ 2263 w 2263"/>
                  <a:gd name="T13" fmla="*/ 53 h 53"/>
                  <a:gd name="T14" fmla="*/ 2263 w 2263"/>
                  <a:gd name="T15" fmla="*/ 13 h 53"/>
                  <a:gd name="T16" fmla="*/ 2252 w 2263"/>
                  <a:gd name="T17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63" h="53">
                    <a:moveTo>
                      <a:pt x="2252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0" y="4"/>
                      <a:pt x="0" y="12"/>
                      <a:pt x="0" y="12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2257" y="53"/>
                      <a:pt x="2257" y="53"/>
                      <a:pt x="2257" y="53"/>
                    </a:cubicBezTo>
                    <a:cubicBezTo>
                      <a:pt x="2263" y="53"/>
                      <a:pt x="2263" y="53"/>
                      <a:pt x="2263" y="53"/>
                    </a:cubicBezTo>
                    <a:cubicBezTo>
                      <a:pt x="2263" y="13"/>
                      <a:pt x="2263" y="13"/>
                      <a:pt x="2263" y="13"/>
                    </a:cubicBezTo>
                    <a:cubicBezTo>
                      <a:pt x="2263" y="13"/>
                      <a:pt x="2263" y="5"/>
                      <a:pt x="2252" y="0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alpha val="1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30" name="Oval 19">
                <a:extLst>
                  <a:ext uri="{FF2B5EF4-FFF2-40B4-BE49-F238E27FC236}">
                    <a16:creationId xmlns:a16="http://schemas.microsoft.com/office/drawing/2014/main" id="{A2A9ED4A-8563-4B4E-99D1-29B7A781FA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90717" y="1213380"/>
                <a:ext cx="38418" cy="38418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</p:grpSp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F1C6814B-5F3C-BB46-B7C3-BDC33318A57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004883" y="4811177"/>
              <a:ext cx="200725" cy="242635"/>
            </a:xfrm>
            <a:prstGeom prst="rect">
              <a:avLst/>
            </a:prstGeom>
          </p:spPr>
        </p:pic>
      </p:grpSp>
      <p:sp>
        <p:nvSpPr>
          <p:cNvPr id="42" name="Title 1">
            <a:extLst>
              <a:ext uri="{FF2B5EF4-FFF2-40B4-BE49-F238E27FC236}">
                <a16:creationId xmlns:a16="http://schemas.microsoft.com/office/drawing/2014/main" id="{755E2FB7-12B3-1045-8BEA-8CB3A912B3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43" name="Content Placeholder 8">
            <a:extLst>
              <a:ext uri="{FF2B5EF4-FFF2-40B4-BE49-F238E27FC236}">
                <a16:creationId xmlns:a16="http://schemas.microsoft.com/office/drawing/2014/main" id="{799ACB22-9CA1-4340-A10D-36668B7CBCD0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47662" y="769980"/>
            <a:ext cx="11844331" cy="452286"/>
          </a:xfrm>
        </p:spPr>
        <p:txBody>
          <a:bodyPr anchor="ctr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29" name="Picture Placeholder 17">
            <a:extLst>
              <a:ext uri="{FF2B5EF4-FFF2-40B4-BE49-F238E27FC236}">
                <a16:creationId xmlns:a16="http://schemas.microsoft.com/office/drawing/2014/main" id="{BE1340A3-7B32-324F-93DF-F6E0D98F38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753802" y="1931941"/>
            <a:ext cx="4677276" cy="2642192"/>
          </a:xfrm>
          <a:noFill/>
        </p:spPr>
        <p:txBody>
          <a:bodyPr anchor="t">
            <a:normAutofit/>
          </a:bodyPr>
          <a:lstStyle>
            <a:lvl1pPr marL="0" indent="0" algn="ctr">
              <a:buNone/>
              <a:defRPr sz="2000" baseline="-25000">
                <a:solidFill>
                  <a:schemeClr val="bg1"/>
                </a:solidFill>
              </a:defRPr>
            </a:lvl1pPr>
          </a:lstStyle>
          <a:p>
            <a:r>
              <a:rPr lang="en-AU"/>
              <a:t>Click to add pictur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54B8EFD-20E7-A343-A4D1-CC658CA82C69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B534FD23-28DC-544F-8366-7A30D7D001D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09C01DE1-A4D6-8149-9626-6B3A018CD9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3C519DE2-2422-7A4B-8D2F-3AC0C556A48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855881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er Slide 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457390-8C62-4465-A819-B8E149E0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5650" y="443948"/>
            <a:ext cx="9837190" cy="3022995"/>
          </a:xfrm>
        </p:spPr>
        <p:txBody>
          <a:bodyPr anchor="b"/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7A193181-11E3-4AE3-8ACA-7673F334742F}"/>
              </a:ext>
            </a:extLst>
          </p:cNvPr>
          <p:cNvSpPr/>
          <p:nvPr/>
        </p:nvSpPr>
        <p:spPr>
          <a:xfrm>
            <a:off x="0" y="0"/>
            <a:ext cx="1696490" cy="6858000"/>
          </a:xfrm>
          <a:custGeom>
            <a:avLst/>
            <a:gdLst>
              <a:gd name="connsiteX0" fmla="*/ 0 w 12179300"/>
              <a:gd name="connsiteY0" fmla="*/ 0 h 800100"/>
              <a:gd name="connsiteX1" fmla="*/ 12189460 w 12179300"/>
              <a:gd name="connsiteY1" fmla="*/ 0 h 800100"/>
              <a:gd name="connsiteX2" fmla="*/ 12189460 w 12179300"/>
              <a:gd name="connsiteY2" fmla="*/ 800100 h 800100"/>
              <a:gd name="connsiteX3" fmla="*/ 0 w 12179300"/>
              <a:gd name="connsiteY3" fmla="*/ 800100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79300" h="800100">
                <a:moveTo>
                  <a:pt x="0" y="0"/>
                </a:moveTo>
                <a:lnTo>
                  <a:pt x="12189460" y="0"/>
                </a:lnTo>
                <a:lnTo>
                  <a:pt x="12189460" y="800100"/>
                </a:lnTo>
                <a:lnTo>
                  <a:pt x="0" y="80010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5400000" scaled="0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83435572-35B2-4E79-A039-61636889C9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25442" y="3429000"/>
            <a:ext cx="9838154" cy="1123950"/>
          </a:xfrm>
        </p:spPr>
        <p:txBody>
          <a:bodyPr>
            <a:normAutofit/>
          </a:bodyPr>
          <a:lstStyle>
            <a:lvl1pPr marL="0" indent="0" algn="ctr">
              <a:buNone/>
              <a:defRPr sz="3200" b="1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Slide Number Placeholder 5">
            <a:extLst>
              <a:ext uri="{FF2B5EF4-FFF2-40B4-BE49-F238E27FC236}">
                <a16:creationId xmlns:a16="http://schemas.microsoft.com/office/drawing/2014/main" id="{3235AFA1-6A26-4918-A1B8-7207F40A0F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9640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nº›</a:t>
            </a:fld>
            <a:endParaRPr lang="en-US"/>
          </a:p>
        </p:txBody>
      </p:sp>
      <p:pic>
        <p:nvPicPr>
          <p:cNvPr id="26" name="Picture 25" descr="A close up of a sign&#10;&#10;Description automatically generated">
            <a:extLst>
              <a:ext uri="{FF2B5EF4-FFF2-40B4-BE49-F238E27FC236}">
                <a16:creationId xmlns:a16="http://schemas.microsoft.com/office/drawing/2014/main" id="{4A7C0497-9B4E-824D-A7D6-120F202714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772" y="6363046"/>
            <a:ext cx="1050007" cy="217001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131DAAC4-29B5-1C4F-8DFB-CFBF0E807A5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9160" y="290971"/>
            <a:ext cx="1075849" cy="30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7212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Add Equip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9FF0F-C145-49E6-9DB7-9029FE014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1758" y="981095"/>
            <a:ext cx="6430886" cy="2708255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89688F33-4BC4-47A9-B6D8-2BCCCAE87316}"/>
              </a:ext>
            </a:extLst>
          </p:cNvPr>
          <p:cNvSpPr/>
          <p:nvPr/>
        </p:nvSpPr>
        <p:spPr>
          <a:xfrm>
            <a:off x="0" y="0"/>
            <a:ext cx="1696490" cy="6858000"/>
          </a:xfrm>
          <a:custGeom>
            <a:avLst/>
            <a:gdLst>
              <a:gd name="connsiteX0" fmla="*/ 0 w 12179300"/>
              <a:gd name="connsiteY0" fmla="*/ 0 h 800100"/>
              <a:gd name="connsiteX1" fmla="*/ 12189460 w 12179300"/>
              <a:gd name="connsiteY1" fmla="*/ 0 h 800100"/>
              <a:gd name="connsiteX2" fmla="*/ 12189460 w 12179300"/>
              <a:gd name="connsiteY2" fmla="*/ 800100 h 800100"/>
              <a:gd name="connsiteX3" fmla="*/ 0 w 12179300"/>
              <a:gd name="connsiteY3" fmla="*/ 800100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79300" h="800100">
                <a:moveTo>
                  <a:pt x="0" y="0"/>
                </a:moveTo>
                <a:lnTo>
                  <a:pt x="12189460" y="0"/>
                </a:lnTo>
                <a:lnTo>
                  <a:pt x="12189460" y="800100"/>
                </a:lnTo>
                <a:lnTo>
                  <a:pt x="0" y="80010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5400000" scaled="0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436C2CF2-3450-4105-B197-F5726ABD44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41550" y="3644900"/>
            <a:ext cx="6430963" cy="1314450"/>
          </a:xfrm>
        </p:spPr>
        <p:txBody>
          <a:bodyPr>
            <a:norm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Slide Number Placeholder 5">
            <a:extLst>
              <a:ext uri="{FF2B5EF4-FFF2-40B4-BE49-F238E27FC236}">
                <a16:creationId xmlns:a16="http://schemas.microsoft.com/office/drawing/2014/main" id="{DF584902-B4AB-4BAA-BE27-D520994859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9640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nº›</a:t>
            </a:fld>
            <a:endParaRPr lang="en-US"/>
          </a:p>
        </p:txBody>
      </p:sp>
      <p:pic>
        <p:nvPicPr>
          <p:cNvPr id="25" name="Picture 24" descr="A close up of a sign&#10;&#10;Description automatically generated">
            <a:extLst>
              <a:ext uri="{FF2B5EF4-FFF2-40B4-BE49-F238E27FC236}">
                <a16:creationId xmlns:a16="http://schemas.microsoft.com/office/drawing/2014/main" id="{6A913F3B-2815-1B45-98A5-9BF0F59AC7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772" y="6363046"/>
            <a:ext cx="1050007" cy="217001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7BF9AEC9-2937-9645-9E31-FA97E4EA6CE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9160" y="290971"/>
            <a:ext cx="1075849" cy="30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3169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Revers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52B496D-CF03-42EB-8F77-73346B92C9DF}"/>
              </a:ext>
            </a:extLst>
          </p:cNvPr>
          <p:cNvSpPr/>
          <p:nvPr/>
        </p:nvSpPr>
        <p:spPr>
          <a:xfrm>
            <a:off x="1709190" y="0"/>
            <a:ext cx="10482810" cy="685800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C372AEC-7234-4B28-9629-F5A92BE6A4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1419" y="775970"/>
            <a:ext cx="6430886" cy="2913380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Divider Slide Text</a:t>
            </a:r>
          </a:p>
        </p:txBody>
      </p:sp>
      <p:sp>
        <p:nvSpPr>
          <p:cNvPr id="46" name="Text Placeholder 41">
            <a:extLst>
              <a:ext uri="{FF2B5EF4-FFF2-40B4-BE49-F238E27FC236}">
                <a16:creationId xmlns:a16="http://schemas.microsoft.com/office/drawing/2014/main" id="{10FB7CAE-0346-4142-91E5-CD5222B19E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35200" y="3644900"/>
            <a:ext cx="6430963" cy="1314450"/>
          </a:xfrm>
        </p:spPr>
        <p:txBody>
          <a:bodyPr>
            <a:normAutofit/>
          </a:bodyPr>
          <a:lstStyle>
            <a:lvl1pPr marL="0" indent="0">
              <a:buNone/>
              <a:defRPr sz="2800" b="1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Slide Number Placeholder 5">
            <a:extLst>
              <a:ext uri="{FF2B5EF4-FFF2-40B4-BE49-F238E27FC236}">
                <a16:creationId xmlns:a16="http://schemas.microsoft.com/office/drawing/2014/main" id="{A54740C7-DC14-4415-B0A8-C4E6F2BC2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9640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3"/>
                </a:solidFill>
              </a:defRPr>
            </a:lvl1pPr>
          </a:lstStyle>
          <a:p>
            <a:fld id="{0E2745D4-0B8B-4652-89CD-26C4DB7C167E}" type="slidenum">
              <a:rPr lang="en-US" smtClean="0"/>
              <a:t>‹nº›</a:t>
            </a:fld>
            <a:endParaRPr lang="en-US"/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2063D68E-0E29-9146-BB54-0729DD118D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152" y="6367316"/>
            <a:ext cx="976724" cy="19534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E8247B45-C09F-D54B-A370-C396335E6D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9160" y="290971"/>
            <a:ext cx="1075849" cy="30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6057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rint Hand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A9DC0FF-F7CD-43C5-8CB6-9B8DF9B6022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1353800" y="195260"/>
            <a:ext cx="598488" cy="642382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AF28873-D3C1-43E3-8018-319B50F53D9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343025" y="195260"/>
            <a:ext cx="8943975" cy="642382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F4FD6B-8BB6-42B9-ABBD-DFE5E087921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5400000">
            <a:off x="486567" y="415132"/>
            <a:ext cx="804866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fld id="{0787A68F-829D-4159-B1EE-EDA3205EBD1E}" type="datetimeFigureOut">
              <a:rPr lang="en-US" smtClean="0"/>
              <a:t>8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63D715-41D8-4FBB-9BEF-09A83A3D7A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5400000">
            <a:off x="-1539872" y="3246437"/>
            <a:ext cx="4857744" cy="365126"/>
          </a:xfrm>
        </p:spPr>
        <p:txBody>
          <a:bodyPr/>
          <a:lstStyle>
            <a:lvl1pPr>
              <a:defRPr sz="1100"/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09CAB-9482-429D-B86D-71C94EE803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rot="5400000">
            <a:off x="508397" y="6055914"/>
            <a:ext cx="761206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nº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DECFFD6-C49A-4D66-A3C0-4FF41CE71A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 rot="5400000">
            <a:off x="7805340" y="3192860"/>
            <a:ext cx="6423820" cy="428625"/>
          </a:xfrm>
        </p:spPr>
        <p:txBody>
          <a:bodyPr/>
          <a:lstStyle>
            <a:lvl1pPr marL="0" indent="0">
              <a:buFontTx/>
              <a:buNone/>
              <a:defRPr b="1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D7A1D10-5222-D64E-9593-D4CD742F8B9E}"/>
              </a:ext>
            </a:extLst>
          </p:cNvPr>
          <p:cNvGrpSpPr/>
          <p:nvPr/>
        </p:nvGrpSpPr>
        <p:grpSpPr>
          <a:xfrm>
            <a:off x="11012" y="1"/>
            <a:ext cx="585887" cy="6858001"/>
            <a:chOff x="11012" y="1"/>
            <a:chExt cx="585887" cy="6858001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29B382D-5ABE-BA41-9B6E-6D6B878559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5400000">
              <a:off x="-3125045" y="3136058"/>
              <a:ext cx="6858001" cy="585887"/>
            </a:xfrm>
            <a:prstGeom prst="rect">
              <a:avLst/>
            </a:prstGeom>
          </p:spPr>
        </p:pic>
        <p:pic>
          <p:nvPicPr>
            <p:cNvPr id="14" name="Picture 13" descr="A close up of a sign&#10;&#10;Description automatically generated">
              <a:extLst>
                <a:ext uri="{FF2B5EF4-FFF2-40B4-BE49-F238E27FC236}">
                  <a16:creationId xmlns:a16="http://schemas.microsoft.com/office/drawing/2014/main" id="{599BED91-CD3B-AE4C-A337-E40C03C55F2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5400000">
              <a:off x="-170431" y="6061520"/>
              <a:ext cx="924134" cy="190986"/>
            </a:xfrm>
            <a:prstGeom prst="rect">
              <a:avLst/>
            </a:prstGeom>
          </p:spPr>
        </p:pic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14DB29A9-2FF5-9240-9AA7-7555278734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5400000">
              <a:off x="-80639" y="502093"/>
              <a:ext cx="802743" cy="2282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31033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ternate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742F602D-70BB-854A-9376-B190DD96469C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165E74AB-4636-1644-9FFF-843098D9BDB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5" name="Picture 14" descr="A close up of a sign&#10;&#10;Description automatically generated">
              <a:extLst>
                <a:ext uri="{FF2B5EF4-FFF2-40B4-BE49-F238E27FC236}">
                  <a16:creationId xmlns:a16="http://schemas.microsoft.com/office/drawing/2014/main" id="{81B8CA80-D4CB-7741-BEEB-57E3667A944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B42A73B6-762B-FE42-9160-383B278DA0E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612192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223" cy="40899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117892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117892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1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615495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E06B389-FC8C-474A-97D1-4048DBEAA967}"/>
              </a:ext>
            </a:extLst>
          </p:cNvPr>
          <p:cNvCxnSpPr>
            <a:cxnSpLocks/>
          </p:cNvCxnSpPr>
          <p:nvPr/>
        </p:nvCxnSpPr>
        <p:spPr>
          <a:xfrm>
            <a:off x="426720" y="1225118"/>
            <a:ext cx="1133856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4AB9242-AA17-4511-9104-7B42B0420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144036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enie 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9" y="1487695"/>
            <a:ext cx="11491277" cy="1107996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Aft>
                <a:spcPts val="120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11C2809-AA0C-7D4A-91D8-35DADFE861B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50995" y="3053336"/>
            <a:ext cx="11490325" cy="2703669"/>
          </a:xfr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8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2663AA7-3F2F-8B4E-BAED-5EA0CF67F2BE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F81714BA-6A99-854B-BB8A-ED003B29D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2" name="Picture 11" descr="A close up of a sign&#10;&#10;Description automatically generated">
              <a:extLst>
                <a:ext uri="{FF2B5EF4-FFF2-40B4-BE49-F238E27FC236}">
                  <a16:creationId xmlns:a16="http://schemas.microsoft.com/office/drawing/2014/main" id="{CD878F0A-FF8B-E842-A4E2-C19154699D6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825F58C4-54AB-D040-BC63-54155BB7F86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228054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ault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5551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1251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1251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854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542F301-65CE-4F08-B93A-0395ABC2A6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CCCFDB5-6AE2-4FAA-B906-CEC651B977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6043406"/>
            <a:ext cx="121920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8357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C6EDF2AD-B5D8-462D-A325-28581F1AEE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522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092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092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53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D6D8741-5789-452E-A11E-6E99855B3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7063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C6EDF2AD-B5D8-462D-A325-28581F1AEE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522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092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092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53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27DFE71-20E4-4F86-81A3-71B5540073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85307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-Green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903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473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473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6EDF2AD-B5D8-462D-A325-28581F1AEE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5234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F597AF3-AB2B-47D0-BD9B-0A192FFDB0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62233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ft Connect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522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092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092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6EDF2AD-B5D8-462D-A325-28581F1AEE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53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697B66E-4699-4ACA-8579-AF7B85F3AD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720045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ault Footer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903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473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473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6EDF2AD-B5D8-462D-A325-28581F1AEE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5234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EAB372FF-D6E3-4950-A2A9-6F8A8BA00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58950" y="6216650"/>
            <a:ext cx="8674100" cy="482600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5D25BD-133B-42B6-AB8B-55C7F8306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11848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ternate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2192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899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892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117892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1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6EDF2AD-B5D8-462D-A325-28581F1AEE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615495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E06B389-FC8C-474A-97D1-4048DBEAA967}"/>
              </a:ext>
            </a:extLst>
          </p:cNvPr>
          <p:cNvCxnSpPr>
            <a:cxnSpLocks/>
          </p:cNvCxnSpPr>
          <p:nvPr userDrawn="1"/>
        </p:nvCxnSpPr>
        <p:spPr>
          <a:xfrm>
            <a:off x="426720" y="1225118"/>
            <a:ext cx="1133856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4AB9242-AA17-4511-9104-7B42B0420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195934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ternate Footer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11757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6EDF2AD-B5D8-462D-A325-28581F1AEE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61518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EAB372FF-D6E3-4950-A2A9-6F8A8BA00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58950" y="6216650"/>
            <a:ext cx="8674100" cy="482600"/>
          </a:xfrm>
        </p:spPr>
        <p:txBody>
          <a:bodyPr/>
          <a:lstStyle/>
          <a:p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C70DB0C-9BAA-4FCC-9FD1-9814B3FAA810}"/>
              </a:ext>
            </a:extLst>
          </p:cNvPr>
          <p:cNvCxnSpPr>
            <a:cxnSpLocks/>
          </p:cNvCxnSpPr>
          <p:nvPr userDrawn="1"/>
        </p:nvCxnSpPr>
        <p:spPr>
          <a:xfrm>
            <a:off x="426720" y="1225118"/>
            <a:ext cx="1133856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14541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Row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phic 22">
            <a:extLst>
              <a:ext uri="{FF2B5EF4-FFF2-40B4-BE49-F238E27FC236}">
                <a16:creationId xmlns:a16="http://schemas.microsoft.com/office/drawing/2014/main" id="{442BA781-BAC8-43FA-9670-07BC53FBD1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1328BD7A-4953-4A17-92F4-91363B0643B7}"/>
              </a:ext>
            </a:extLst>
          </p:cNvPr>
          <p:cNvSpPr/>
          <p:nvPr userDrawn="1"/>
        </p:nvSpPr>
        <p:spPr>
          <a:xfrm>
            <a:off x="4291963" y="3678078"/>
            <a:ext cx="3689990" cy="21712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CA250B1-44FF-4908-A97C-5A94C3FD77F7}"/>
              </a:ext>
            </a:extLst>
          </p:cNvPr>
          <p:cNvSpPr/>
          <p:nvPr userDrawn="1"/>
        </p:nvSpPr>
        <p:spPr>
          <a:xfrm>
            <a:off x="440055" y="3678078"/>
            <a:ext cx="3689990" cy="21712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92F8EDA-8514-4485-8DAE-DB541078A6A9}"/>
              </a:ext>
            </a:extLst>
          </p:cNvPr>
          <p:cNvSpPr/>
          <p:nvPr userDrawn="1"/>
        </p:nvSpPr>
        <p:spPr>
          <a:xfrm>
            <a:off x="8154345" y="3678078"/>
            <a:ext cx="3689990" cy="19892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D48B3D-0123-492D-A6CC-FD0FCA094850}"/>
              </a:ext>
            </a:extLst>
          </p:cNvPr>
          <p:cNvSpPr/>
          <p:nvPr userDrawn="1"/>
        </p:nvSpPr>
        <p:spPr>
          <a:xfrm>
            <a:off x="8154345" y="1414145"/>
            <a:ext cx="368999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D7AE687-04F8-453F-B01A-EF4E07AAB130}"/>
              </a:ext>
            </a:extLst>
          </p:cNvPr>
          <p:cNvSpPr/>
          <p:nvPr userDrawn="1"/>
        </p:nvSpPr>
        <p:spPr>
          <a:xfrm>
            <a:off x="4297200" y="1414145"/>
            <a:ext cx="368999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20CF236-C302-4870-B926-31A3DEBF4579}"/>
              </a:ext>
            </a:extLst>
          </p:cNvPr>
          <p:cNvSpPr/>
          <p:nvPr userDrawn="1"/>
        </p:nvSpPr>
        <p:spPr>
          <a:xfrm>
            <a:off x="440055" y="1414145"/>
            <a:ext cx="368999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5D30D6-723D-4F0C-A922-766E7C64BACC}"/>
              </a:ext>
            </a:extLst>
          </p:cNvPr>
          <p:cNvSpPr/>
          <p:nvPr userDrawn="1"/>
        </p:nvSpPr>
        <p:spPr>
          <a:xfrm>
            <a:off x="350204" y="766510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1F0A719-295C-4138-BAB3-723338DFCF12}"/>
              </a:ext>
            </a:extLst>
          </p:cNvPr>
          <p:cNvSpPr/>
          <p:nvPr userDrawn="1"/>
        </p:nvSpPr>
        <p:spPr>
          <a:xfrm>
            <a:off x="350204" y="272210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9D86C1-4F90-4129-948C-8D9CB9390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C8DA2C-1310-4585-A222-CF50F1ED723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0055" y="1414145"/>
            <a:ext cx="3689990" cy="20148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2D63035-BE38-400F-90BE-30027BAC06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0055" y="3678079"/>
            <a:ext cx="3689990" cy="21712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4E4043-7A6B-4D4A-AC75-079EF30A2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BB6B182-6E84-4E5D-A735-AD709AA93C4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7662" y="769980"/>
            <a:ext cx="11844331" cy="452286"/>
          </a:xfrm>
        </p:spPr>
        <p:txBody>
          <a:bodyPr anchor="ctr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E03B7A3-A83C-4E17-81DB-5257258C4804}"/>
              </a:ext>
            </a:extLst>
          </p:cNvPr>
          <p:cNvCxnSpPr/>
          <p:nvPr userDrawn="1"/>
        </p:nvCxnSpPr>
        <p:spPr>
          <a:xfrm>
            <a:off x="440055" y="3549650"/>
            <a:ext cx="11393806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A0D59A3-1A23-4C10-8F64-BCBE77A4303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297200" y="1414145"/>
            <a:ext cx="3689990" cy="20148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74EA4FB4-E607-4540-8530-22C9CEF028CE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297200" y="3678079"/>
            <a:ext cx="3689990" cy="21712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AD8E318-9CA0-476C-BA21-DB38CFDBD543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154345" y="1414145"/>
            <a:ext cx="3689990" cy="20148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6E5FE31A-5877-481C-81F4-B38FBD462422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54345" y="3678079"/>
            <a:ext cx="3679516" cy="198929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3BA70509-90E9-4C1B-9BEB-EF4EA172E16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41442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ternate Footer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FE0D8CB-284B-C34B-AAE2-33E622212116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74BFFB4C-E4CC-C84F-9047-D0E8324FBB3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63CA69A6-C933-6E43-BAA4-BF25FDA2EB2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F57F6B82-8B22-4A4B-B513-9884E64805C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11757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61518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EAB372FF-D6E3-4950-A2A9-6F8A8BA00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58950" y="6216650"/>
            <a:ext cx="8674100" cy="482600"/>
          </a:xfrm>
        </p:spPr>
        <p:txBody>
          <a:bodyPr/>
          <a:lstStyle/>
          <a:p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C70DB0C-9BAA-4FCC-9FD1-9814B3FAA810}"/>
              </a:ext>
            </a:extLst>
          </p:cNvPr>
          <p:cNvCxnSpPr>
            <a:cxnSpLocks/>
          </p:cNvCxnSpPr>
          <p:nvPr/>
        </p:nvCxnSpPr>
        <p:spPr>
          <a:xfrm>
            <a:off x="426720" y="1225118"/>
            <a:ext cx="1133856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117359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A0B01979-3C6E-4189-B345-772E3EF24A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A99AC53-F8F0-4C8E-AC61-878EF80B8B4E}"/>
              </a:ext>
            </a:extLst>
          </p:cNvPr>
          <p:cNvSpPr/>
          <p:nvPr userDrawn="1"/>
        </p:nvSpPr>
        <p:spPr>
          <a:xfrm>
            <a:off x="8154345" y="1497965"/>
            <a:ext cx="3689990" cy="41694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4BD03AD-C42B-40E3-B029-5BDD237D326F}"/>
              </a:ext>
            </a:extLst>
          </p:cNvPr>
          <p:cNvSpPr/>
          <p:nvPr userDrawn="1"/>
        </p:nvSpPr>
        <p:spPr>
          <a:xfrm>
            <a:off x="4250908" y="1497965"/>
            <a:ext cx="3689990" cy="4351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541A67A-900A-4585-8813-11129A54C87C}"/>
              </a:ext>
            </a:extLst>
          </p:cNvPr>
          <p:cNvSpPr/>
          <p:nvPr userDrawn="1"/>
        </p:nvSpPr>
        <p:spPr>
          <a:xfrm>
            <a:off x="347471" y="1497965"/>
            <a:ext cx="3689990" cy="4351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74F6610-05C7-441A-A389-C8E21D0E3793}"/>
              </a:ext>
            </a:extLst>
          </p:cNvPr>
          <p:cNvSpPr/>
          <p:nvPr userDrawn="1"/>
        </p:nvSpPr>
        <p:spPr>
          <a:xfrm>
            <a:off x="350204" y="783982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8203480-C068-4D11-8FE0-2DA2AE147DB0}"/>
              </a:ext>
            </a:extLst>
          </p:cNvPr>
          <p:cNvSpPr/>
          <p:nvPr userDrawn="1"/>
        </p:nvSpPr>
        <p:spPr>
          <a:xfrm>
            <a:off x="350204" y="272210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9D86C1-4F90-4129-948C-8D9CB9390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C8DA2C-1310-4585-A222-CF50F1ED723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47471" y="1497965"/>
            <a:ext cx="368999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2D63035-BE38-400F-90BE-30027BAC06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50908" y="1497965"/>
            <a:ext cx="368999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4E4043-7A6B-4D4A-AC75-079EF30A2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BB6B182-6E84-4E5D-A735-AD709AA93C4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7662" y="787452"/>
            <a:ext cx="11844331" cy="452287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21CF6E87-C611-4680-AD0F-9A28387D23E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54345" y="1497965"/>
            <a:ext cx="3689990" cy="41694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714F17F2-DDBC-4D23-9B7A-91131603866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910536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id Con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Graphic 27">
            <a:extLst>
              <a:ext uri="{FF2B5EF4-FFF2-40B4-BE49-F238E27FC236}">
                <a16:creationId xmlns:a16="http://schemas.microsoft.com/office/drawing/2014/main" id="{4B77D26B-01F0-4F2E-86BF-6B0A9B66EB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2FFBA41-4FA5-4693-8095-B6ADC6C65355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466520" y="1414145"/>
            <a:ext cx="2560320" cy="20148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43C99AE-3665-409E-8442-0BE34C78F83F}"/>
              </a:ext>
            </a:extLst>
          </p:cNvPr>
          <p:cNvSpPr/>
          <p:nvPr userDrawn="1"/>
        </p:nvSpPr>
        <p:spPr>
          <a:xfrm>
            <a:off x="440055" y="1414145"/>
            <a:ext cx="256032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C086295-9402-49DA-9C2A-68A03BD04C41}"/>
              </a:ext>
            </a:extLst>
          </p:cNvPr>
          <p:cNvSpPr/>
          <p:nvPr userDrawn="1"/>
        </p:nvSpPr>
        <p:spPr>
          <a:xfrm>
            <a:off x="3257550" y="1414145"/>
            <a:ext cx="256032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C4C519B-5228-4ABB-8EDA-9E29018BDD9A}"/>
              </a:ext>
            </a:extLst>
          </p:cNvPr>
          <p:cNvSpPr/>
          <p:nvPr userDrawn="1"/>
        </p:nvSpPr>
        <p:spPr>
          <a:xfrm>
            <a:off x="9284015" y="1414145"/>
            <a:ext cx="256032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9D86C1-4F90-4129-948C-8D9CB9390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C8DA2C-1310-4585-A222-CF50F1ED723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0055" y="1414145"/>
            <a:ext cx="2560320" cy="20148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2D63035-BE38-400F-90BE-30027BAC06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0055" y="3678079"/>
            <a:ext cx="2560320" cy="21712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4E4043-7A6B-4D4A-AC75-079EF30A2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BB6B182-6E84-4E5D-A735-AD709AA93C4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E03B7A3-A83C-4E17-81DB-5257258C4804}"/>
              </a:ext>
            </a:extLst>
          </p:cNvPr>
          <p:cNvCxnSpPr/>
          <p:nvPr userDrawn="1"/>
        </p:nvCxnSpPr>
        <p:spPr>
          <a:xfrm>
            <a:off x="440055" y="3549650"/>
            <a:ext cx="539496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A0D59A3-1A23-4C10-8F64-BCBE77A4303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3257550" y="1414145"/>
            <a:ext cx="2560320" cy="20148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74EA4FB4-E607-4540-8530-22C9CEF028CE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3257550" y="3678079"/>
            <a:ext cx="2560320" cy="21712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F12A9270-CEFC-48E2-B9D4-CBB89E15846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466520" y="3678079"/>
            <a:ext cx="2560320" cy="21712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087661F-11ED-4FC0-917C-B860C3779CA1}"/>
              </a:ext>
            </a:extLst>
          </p:cNvPr>
          <p:cNvCxnSpPr/>
          <p:nvPr userDrawn="1"/>
        </p:nvCxnSpPr>
        <p:spPr>
          <a:xfrm>
            <a:off x="6466520" y="3549650"/>
            <a:ext cx="539496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EED0A7C-5515-4C6D-8CE9-2B9C756022BB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9284015" y="1414145"/>
            <a:ext cx="2560320" cy="20148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143710E3-3972-4086-ABB3-64C883A5A5E4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284015" y="3678079"/>
            <a:ext cx="2560320" cy="20011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E03DBC3-EA46-499E-A0D2-886329EE9DF7}"/>
              </a:ext>
            </a:extLst>
          </p:cNvPr>
          <p:cNvSpPr/>
          <p:nvPr userDrawn="1"/>
        </p:nvSpPr>
        <p:spPr>
          <a:xfrm>
            <a:off x="6466520" y="1414145"/>
            <a:ext cx="256032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F41965F9-9C09-4BF3-9C6D-E9DA4FC68121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466520" y="3670301"/>
            <a:ext cx="2560320" cy="21790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BCDEF3D-E55F-489C-8244-F7114E764801}"/>
              </a:ext>
            </a:extLst>
          </p:cNvPr>
          <p:cNvSpPr/>
          <p:nvPr userDrawn="1"/>
        </p:nvSpPr>
        <p:spPr>
          <a:xfrm>
            <a:off x="440055" y="3670300"/>
            <a:ext cx="2560320" cy="2179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7EF1A9E-1095-4440-9C22-668846708496}"/>
              </a:ext>
            </a:extLst>
          </p:cNvPr>
          <p:cNvSpPr/>
          <p:nvPr userDrawn="1"/>
        </p:nvSpPr>
        <p:spPr>
          <a:xfrm>
            <a:off x="3257550" y="3670300"/>
            <a:ext cx="2560320" cy="2179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3D8B99D-501A-497C-A747-464646340496}"/>
              </a:ext>
            </a:extLst>
          </p:cNvPr>
          <p:cNvSpPr/>
          <p:nvPr userDrawn="1"/>
        </p:nvSpPr>
        <p:spPr>
          <a:xfrm>
            <a:off x="9284015" y="3670300"/>
            <a:ext cx="2560320" cy="2179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40F27D4-6339-4B42-AF32-F17D5350AA2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81168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tical Content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9038"/>
            <a:ext cx="9809972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39"/>
            <a:ext cx="9809972" cy="47397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4738"/>
            <a:ext cx="9809972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4738"/>
            <a:ext cx="980971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9809711" cy="473976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52341"/>
            <a:ext cx="9809972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CF3FD55-47AD-4A02-85A8-E493FEB975E0}"/>
              </a:ext>
            </a:extLst>
          </p:cNvPr>
          <p:cNvSpPr/>
          <p:nvPr/>
        </p:nvSpPr>
        <p:spPr>
          <a:xfrm>
            <a:off x="10495510" y="0"/>
            <a:ext cx="1696490" cy="6858000"/>
          </a:xfrm>
          <a:custGeom>
            <a:avLst/>
            <a:gdLst>
              <a:gd name="connsiteX0" fmla="*/ 0 w 12179300"/>
              <a:gd name="connsiteY0" fmla="*/ 0 h 800100"/>
              <a:gd name="connsiteX1" fmla="*/ 12189460 w 12179300"/>
              <a:gd name="connsiteY1" fmla="*/ 0 h 800100"/>
              <a:gd name="connsiteX2" fmla="*/ 12189460 w 12179300"/>
              <a:gd name="connsiteY2" fmla="*/ 800100 h 800100"/>
              <a:gd name="connsiteX3" fmla="*/ 0 w 12179300"/>
              <a:gd name="connsiteY3" fmla="*/ 800100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79300" h="800100">
                <a:moveTo>
                  <a:pt x="0" y="0"/>
                </a:moveTo>
                <a:lnTo>
                  <a:pt x="12189460" y="0"/>
                </a:lnTo>
                <a:lnTo>
                  <a:pt x="12189460" y="800100"/>
                </a:lnTo>
                <a:lnTo>
                  <a:pt x="0" y="80010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5400000" scaled="0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DAF3C45B-55B8-46D2-9A9D-3DF616095251}"/>
              </a:ext>
            </a:extLst>
          </p:cNvPr>
          <p:cNvGrpSpPr/>
          <p:nvPr userDrawn="1"/>
        </p:nvGrpSpPr>
        <p:grpSpPr>
          <a:xfrm>
            <a:off x="10824878" y="297898"/>
            <a:ext cx="1037754" cy="375165"/>
            <a:chOff x="430366" y="6268204"/>
            <a:chExt cx="1037754" cy="375165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D781D3E-0EE7-41E1-8A8C-18F32BBF841D}"/>
                </a:ext>
              </a:extLst>
            </p:cNvPr>
            <p:cNvSpPr/>
            <p:nvPr/>
          </p:nvSpPr>
          <p:spPr>
            <a:xfrm>
              <a:off x="430366" y="6268204"/>
              <a:ext cx="241300" cy="292100"/>
            </a:xfrm>
            <a:custGeom>
              <a:avLst/>
              <a:gdLst>
                <a:gd name="connsiteX0" fmla="*/ 245274 w 241300"/>
                <a:gd name="connsiteY0" fmla="*/ 257055 h 292100"/>
                <a:gd name="connsiteX1" fmla="*/ 245274 w 241300"/>
                <a:gd name="connsiteY1" fmla="*/ 88145 h 292100"/>
                <a:gd name="connsiteX2" fmla="*/ 156374 w 241300"/>
                <a:gd name="connsiteY2" fmla="*/ 179585 h 292100"/>
                <a:gd name="connsiteX3" fmla="*/ 179234 w 241300"/>
                <a:gd name="connsiteY3" fmla="*/ 206255 h 292100"/>
                <a:gd name="connsiteX4" fmla="*/ 144944 w 241300"/>
                <a:gd name="connsiteY4" fmla="*/ 226575 h 292100"/>
                <a:gd name="connsiteX5" fmla="*/ 64934 w 241300"/>
                <a:gd name="connsiteY5" fmla="*/ 146565 h 292100"/>
                <a:gd name="connsiteX6" fmla="*/ 144944 w 241300"/>
                <a:gd name="connsiteY6" fmla="*/ 66555 h 292100"/>
                <a:gd name="connsiteX7" fmla="*/ 183044 w 241300"/>
                <a:gd name="connsiteY7" fmla="*/ 76715 h 292100"/>
                <a:gd name="connsiteX8" fmla="*/ 231304 w 241300"/>
                <a:gd name="connsiteY8" fmla="*/ 27185 h 292100"/>
                <a:gd name="connsiteX9" fmla="*/ 26834 w 241300"/>
                <a:gd name="connsiteY9" fmla="*/ 62745 h 292100"/>
                <a:gd name="connsiteX10" fmla="*/ 62394 w 241300"/>
                <a:gd name="connsiteY10" fmla="*/ 267215 h 292100"/>
                <a:gd name="connsiteX11" fmla="*/ 245274 w 241300"/>
                <a:gd name="connsiteY11" fmla="*/ 257055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300" h="292100">
                  <a:moveTo>
                    <a:pt x="245274" y="257055"/>
                  </a:moveTo>
                  <a:lnTo>
                    <a:pt x="245274" y="88145"/>
                  </a:lnTo>
                  <a:lnTo>
                    <a:pt x="156374" y="179585"/>
                  </a:lnTo>
                  <a:cubicBezTo>
                    <a:pt x="156374" y="179585"/>
                    <a:pt x="179234" y="178315"/>
                    <a:pt x="179234" y="206255"/>
                  </a:cubicBezTo>
                  <a:cubicBezTo>
                    <a:pt x="179234" y="206255"/>
                    <a:pt x="177964" y="226575"/>
                    <a:pt x="144944" y="226575"/>
                  </a:cubicBezTo>
                  <a:cubicBezTo>
                    <a:pt x="100494" y="226575"/>
                    <a:pt x="64934" y="189745"/>
                    <a:pt x="64934" y="146565"/>
                  </a:cubicBezTo>
                  <a:cubicBezTo>
                    <a:pt x="64934" y="103385"/>
                    <a:pt x="101764" y="66555"/>
                    <a:pt x="144944" y="66555"/>
                  </a:cubicBezTo>
                  <a:cubicBezTo>
                    <a:pt x="157644" y="66555"/>
                    <a:pt x="170344" y="70365"/>
                    <a:pt x="183044" y="76715"/>
                  </a:cubicBezTo>
                  <a:lnTo>
                    <a:pt x="231304" y="27185"/>
                  </a:lnTo>
                  <a:cubicBezTo>
                    <a:pt x="166534" y="-19805"/>
                    <a:pt x="73824" y="-4565"/>
                    <a:pt x="26834" y="62745"/>
                  </a:cubicBezTo>
                  <a:cubicBezTo>
                    <a:pt x="-20156" y="128785"/>
                    <a:pt x="-3646" y="220225"/>
                    <a:pt x="62394" y="267215"/>
                  </a:cubicBezTo>
                  <a:cubicBezTo>
                    <a:pt x="118274" y="306585"/>
                    <a:pt x="194474" y="302775"/>
                    <a:pt x="245274" y="257055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8A90FD4E-2293-4177-AFA1-09216F1E315D}"/>
                </a:ext>
              </a:extLst>
            </p:cNvPr>
            <p:cNvSpPr/>
            <p:nvPr/>
          </p:nvSpPr>
          <p:spPr>
            <a:xfrm>
              <a:off x="689628" y="6344937"/>
              <a:ext cx="419100" cy="203200"/>
            </a:xfrm>
            <a:custGeom>
              <a:avLst/>
              <a:gdLst>
                <a:gd name="connsiteX0" fmla="*/ 314942 w 419100"/>
                <a:gd name="connsiteY0" fmla="*/ 2522 h 203200"/>
                <a:gd name="connsiteX1" fmla="*/ 314942 w 419100"/>
                <a:gd name="connsiteY1" fmla="*/ 2522 h 203200"/>
                <a:gd name="connsiteX2" fmla="*/ 210802 w 419100"/>
                <a:gd name="connsiteY2" fmla="*/ 90152 h 203200"/>
                <a:gd name="connsiteX3" fmla="*/ 210802 w 419100"/>
                <a:gd name="connsiteY3" fmla="*/ 90152 h 203200"/>
                <a:gd name="connsiteX4" fmla="*/ 90152 w 419100"/>
                <a:gd name="connsiteY4" fmla="*/ 1252 h 203200"/>
                <a:gd name="connsiteX5" fmla="*/ 1252 w 419100"/>
                <a:gd name="connsiteY5" fmla="*/ 121902 h 203200"/>
                <a:gd name="connsiteX6" fmla="*/ 106662 w 419100"/>
                <a:gd name="connsiteY6" fmla="*/ 212072 h 203200"/>
                <a:gd name="connsiteX7" fmla="*/ 128252 w 419100"/>
                <a:gd name="connsiteY7" fmla="*/ 212072 h 203200"/>
                <a:gd name="connsiteX8" fmla="*/ 274302 w 419100"/>
                <a:gd name="connsiteY8" fmla="*/ 212072 h 203200"/>
                <a:gd name="connsiteX9" fmla="*/ 274302 w 419100"/>
                <a:gd name="connsiteY9" fmla="*/ 106662 h 203200"/>
                <a:gd name="connsiteX10" fmla="*/ 318752 w 419100"/>
                <a:gd name="connsiteY10" fmla="*/ 66022 h 203200"/>
                <a:gd name="connsiteX11" fmla="*/ 359392 w 419100"/>
                <a:gd name="connsiteY11" fmla="*/ 106662 h 203200"/>
                <a:gd name="connsiteX12" fmla="*/ 359392 w 419100"/>
                <a:gd name="connsiteY12" fmla="*/ 212072 h 203200"/>
                <a:gd name="connsiteX13" fmla="*/ 422892 w 419100"/>
                <a:gd name="connsiteY13" fmla="*/ 212072 h 203200"/>
                <a:gd name="connsiteX14" fmla="*/ 422892 w 419100"/>
                <a:gd name="connsiteY14" fmla="*/ 106662 h 203200"/>
                <a:gd name="connsiteX15" fmla="*/ 314942 w 419100"/>
                <a:gd name="connsiteY15" fmla="*/ 2522 h 203200"/>
                <a:gd name="connsiteX16" fmla="*/ 77452 w 419100"/>
                <a:gd name="connsiteY16" fmla="*/ 138412 h 203200"/>
                <a:gd name="connsiteX17" fmla="*/ 63482 w 419100"/>
                <a:gd name="connsiteY17" fmla="*/ 107932 h 203200"/>
                <a:gd name="connsiteX18" fmla="*/ 106662 w 419100"/>
                <a:gd name="connsiteY18" fmla="*/ 66022 h 203200"/>
                <a:gd name="connsiteX19" fmla="*/ 106662 w 419100"/>
                <a:gd name="connsiteY19" fmla="*/ 66022 h 203200"/>
                <a:gd name="connsiteX20" fmla="*/ 137142 w 419100"/>
                <a:gd name="connsiteY20" fmla="*/ 78722 h 203200"/>
                <a:gd name="connsiteX21" fmla="*/ 77452 w 419100"/>
                <a:gd name="connsiteY21" fmla="*/ 138412 h 203200"/>
                <a:gd name="connsiteX22" fmla="*/ 154922 w 419100"/>
                <a:gd name="connsiteY22" fmla="*/ 151112 h 203200"/>
                <a:gd name="connsiteX23" fmla="*/ 212072 w 419100"/>
                <a:gd name="connsiteY23" fmla="*/ 93962 h 203200"/>
                <a:gd name="connsiteX24" fmla="*/ 269222 w 419100"/>
                <a:gd name="connsiteY24" fmla="*/ 151112 h 203200"/>
                <a:gd name="connsiteX25" fmla="*/ 154922 w 419100"/>
                <a:gd name="connsiteY25" fmla="*/ 1511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19100" h="203200">
                  <a:moveTo>
                    <a:pt x="314942" y="2522"/>
                  </a:moveTo>
                  <a:lnTo>
                    <a:pt x="314942" y="2522"/>
                  </a:lnTo>
                  <a:cubicBezTo>
                    <a:pt x="262872" y="2522"/>
                    <a:pt x="218422" y="39352"/>
                    <a:pt x="210802" y="90152"/>
                  </a:cubicBez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74302" y="212072"/>
                  </a:lnTo>
                  <a:lnTo>
                    <a:pt x="274302" y="106662"/>
                  </a:lnTo>
                  <a:cubicBezTo>
                    <a:pt x="275572" y="82532"/>
                    <a:pt x="294622" y="64752"/>
                    <a:pt x="318752" y="66022"/>
                  </a:cubicBezTo>
                  <a:cubicBezTo>
                    <a:pt x="340342" y="67292"/>
                    <a:pt x="358122" y="85072"/>
                    <a:pt x="359392" y="106662"/>
                  </a:cubicBezTo>
                  <a:lnTo>
                    <a:pt x="359392" y="212072"/>
                  </a:lnTo>
                  <a:lnTo>
                    <a:pt x="422892" y="212072"/>
                  </a:lnTo>
                  <a:lnTo>
                    <a:pt x="422892" y="106662"/>
                  </a:lnTo>
                  <a:cubicBezTo>
                    <a:pt x="421622" y="49512"/>
                    <a:pt x="373362" y="2522"/>
                    <a:pt x="314942" y="2522"/>
                  </a:cubicBezTo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7932"/>
                  </a:cubicBezTo>
                  <a:cubicBezTo>
                    <a:pt x="63482" y="83802"/>
                    <a:pt x="82532" y="64752"/>
                    <a:pt x="106662" y="66022"/>
                  </a:cubicBezTo>
                  <a:lnTo>
                    <a:pt x="106662" y="66022"/>
                  </a:lnTo>
                  <a:cubicBezTo>
                    <a:pt x="118092" y="66022"/>
                    <a:pt x="128252" y="69832"/>
                    <a:pt x="137142" y="78722"/>
                  </a:cubicBezTo>
                  <a:lnTo>
                    <a:pt x="77452" y="138412"/>
                  </a:lnTo>
                  <a:close/>
                  <a:moveTo>
                    <a:pt x="154922" y="151112"/>
                  </a:moveTo>
                  <a:lnTo>
                    <a:pt x="212072" y="93962"/>
                  </a:lnTo>
                  <a:lnTo>
                    <a:pt x="269222" y="151112"/>
                  </a:lnTo>
                  <a:lnTo>
                    <a:pt x="154922" y="151112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81B9D30-3014-4096-9F78-CCAC6A2F7B5A}"/>
                </a:ext>
              </a:extLst>
            </p:cNvPr>
            <p:cNvSpPr/>
            <p:nvPr/>
          </p:nvSpPr>
          <p:spPr>
            <a:xfrm>
              <a:off x="1104900" y="6278879"/>
              <a:ext cx="114300" cy="279400"/>
            </a:xfrm>
            <a:custGeom>
              <a:avLst/>
              <a:gdLst>
                <a:gd name="connsiteX0" fmla="*/ 114300 w 114300"/>
                <a:gd name="connsiteY0" fmla="*/ 57150 h 279400"/>
                <a:gd name="connsiteX1" fmla="*/ 0 w 114300"/>
                <a:gd name="connsiteY1" fmla="*/ 57150 h 279400"/>
                <a:gd name="connsiteX2" fmla="*/ 57150 w 114300"/>
                <a:gd name="connsiteY2" fmla="*/ 0 h 279400"/>
                <a:gd name="connsiteX3" fmla="*/ 114300 w 114300"/>
                <a:gd name="connsiteY3" fmla="*/ 57150 h 279400"/>
                <a:gd name="connsiteX4" fmla="*/ 88900 w 114300"/>
                <a:gd name="connsiteY4" fmla="*/ 78740 h 279400"/>
                <a:gd name="connsiteX5" fmla="*/ 25400 w 114300"/>
                <a:gd name="connsiteY5" fmla="*/ 78740 h 279400"/>
                <a:gd name="connsiteX6" fmla="*/ 25400 w 114300"/>
                <a:gd name="connsiteY6" fmla="*/ 279400 h 279400"/>
                <a:gd name="connsiteX7" fmla="*/ 88900 w 114300"/>
                <a:gd name="connsiteY7" fmla="*/ 279400 h 279400"/>
                <a:gd name="connsiteX8" fmla="*/ 88900 w 114300"/>
                <a:gd name="connsiteY8" fmla="*/ 7874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279400">
                  <a:moveTo>
                    <a:pt x="114300" y="57150"/>
                  </a:moveTo>
                  <a:lnTo>
                    <a:pt x="0" y="57150"/>
                  </a:lnTo>
                  <a:lnTo>
                    <a:pt x="57150" y="0"/>
                  </a:lnTo>
                  <a:lnTo>
                    <a:pt x="114300" y="57150"/>
                  </a:lnTo>
                  <a:close/>
                  <a:moveTo>
                    <a:pt x="88900" y="78740"/>
                  </a:moveTo>
                  <a:lnTo>
                    <a:pt x="25400" y="78740"/>
                  </a:lnTo>
                  <a:lnTo>
                    <a:pt x="25400" y="279400"/>
                  </a:lnTo>
                  <a:lnTo>
                    <a:pt x="88900" y="279400"/>
                  </a:lnTo>
                  <a:lnTo>
                    <a:pt x="88900" y="7874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1AA41DC-EADE-4C73-B53C-99D1947A1870}"/>
                </a:ext>
              </a:extLst>
            </p:cNvPr>
            <p:cNvSpPr/>
            <p:nvPr/>
          </p:nvSpPr>
          <p:spPr>
            <a:xfrm>
              <a:off x="1207788" y="6344937"/>
              <a:ext cx="203200" cy="203200"/>
            </a:xfrm>
            <a:custGeom>
              <a:avLst/>
              <a:gdLst>
                <a:gd name="connsiteX0" fmla="*/ 212072 w 203200"/>
                <a:gd name="connsiteY0" fmla="*/ 93962 h 203200"/>
                <a:gd name="connsiteX1" fmla="*/ 210802 w 203200"/>
                <a:gd name="connsiteY1" fmla="*/ 90152 h 203200"/>
                <a:gd name="connsiteX2" fmla="*/ 210802 w 203200"/>
                <a:gd name="connsiteY2" fmla="*/ 90152 h 203200"/>
                <a:gd name="connsiteX3" fmla="*/ 90152 w 203200"/>
                <a:gd name="connsiteY3" fmla="*/ 1252 h 203200"/>
                <a:gd name="connsiteX4" fmla="*/ 1252 w 203200"/>
                <a:gd name="connsiteY4" fmla="*/ 121902 h 203200"/>
                <a:gd name="connsiteX5" fmla="*/ 106662 w 203200"/>
                <a:gd name="connsiteY5" fmla="*/ 212072 h 203200"/>
                <a:gd name="connsiteX6" fmla="*/ 128252 w 203200"/>
                <a:gd name="connsiteY6" fmla="*/ 212072 h 203200"/>
                <a:gd name="connsiteX7" fmla="*/ 212072 w 203200"/>
                <a:gd name="connsiteY7" fmla="*/ 212072 h 203200"/>
                <a:gd name="connsiteX8" fmla="*/ 212072 w 203200"/>
                <a:gd name="connsiteY8" fmla="*/ 149842 h 203200"/>
                <a:gd name="connsiteX9" fmla="*/ 154922 w 203200"/>
                <a:gd name="connsiteY9" fmla="*/ 149842 h 203200"/>
                <a:gd name="connsiteX10" fmla="*/ 212072 w 203200"/>
                <a:gd name="connsiteY10" fmla="*/ 93962 h 203200"/>
                <a:gd name="connsiteX11" fmla="*/ 77452 w 203200"/>
                <a:gd name="connsiteY11" fmla="*/ 138412 h 203200"/>
                <a:gd name="connsiteX12" fmla="*/ 63482 w 203200"/>
                <a:gd name="connsiteY12" fmla="*/ 106662 h 203200"/>
                <a:gd name="connsiteX13" fmla="*/ 106662 w 203200"/>
                <a:gd name="connsiteY13" fmla="*/ 64752 h 203200"/>
                <a:gd name="connsiteX14" fmla="*/ 106662 w 203200"/>
                <a:gd name="connsiteY14" fmla="*/ 64752 h 203200"/>
                <a:gd name="connsiteX15" fmla="*/ 137142 w 203200"/>
                <a:gd name="connsiteY15" fmla="*/ 77452 h 203200"/>
                <a:gd name="connsiteX16" fmla="*/ 77452 w 203200"/>
                <a:gd name="connsiteY16" fmla="*/ 1384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200" h="203200">
                  <a:moveTo>
                    <a:pt x="212072" y="93962"/>
                  </a:moveTo>
                  <a:lnTo>
                    <a:pt x="210802" y="90152"/>
                  </a:ln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12072" y="212072"/>
                  </a:lnTo>
                  <a:lnTo>
                    <a:pt x="212072" y="149842"/>
                  </a:lnTo>
                  <a:lnTo>
                    <a:pt x="154922" y="149842"/>
                  </a:lnTo>
                  <a:lnTo>
                    <a:pt x="212072" y="93962"/>
                  </a:lnTo>
                  <a:close/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6662"/>
                  </a:cubicBezTo>
                  <a:cubicBezTo>
                    <a:pt x="63482" y="82532"/>
                    <a:pt x="82532" y="63482"/>
                    <a:pt x="106662" y="64752"/>
                  </a:cubicBezTo>
                  <a:lnTo>
                    <a:pt x="106662" y="64752"/>
                  </a:lnTo>
                  <a:cubicBezTo>
                    <a:pt x="118092" y="64752"/>
                    <a:pt x="128252" y="68562"/>
                    <a:pt x="137142" y="77452"/>
                  </a:cubicBezTo>
                  <a:lnTo>
                    <a:pt x="77452" y="138412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395C5D4A-7C92-433D-BEA8-5F354AAAA999}"/>
                </a:ext>
              </a:extLst>
            </p:cNvPr>
            <p:cNvSpPr/>
            <p:nvPr/>
          </p:nvSpPr>
          <p:spPr>
            <a:xfrm>
              <a:off x="1430020" y="6518909"/>
              <a:ext cx="38100" cy="38100"/>
            </a:xfrm>
            <a:custGeom>
              <a:avLst/>
              <a:gdLst>
                <a:gd name="connsiteX0" fmla="*/ 19050 w 38100"/>
                <a:gd name="connsiteY0" fmla="*/ 0 h 38100"/>
                <a:gd name="connsiteX1" fmla="*/ 0 w 38100"/>
                <a:gd name="connsiteY1" fmla="*/ 19050 h 38100"/>
                <a:gd name="connsiteX2" fmla="*/ 19050 w 38100"/>
                <a:gd name="connsiteY2" fmla="*/ 38100 h 38100"/>
                <a:gd name="connsiteX3" fmla="*/ 38100 w 38100"/>
                <a:gd name="connsiteY3" fmla="*/ 19050 h 38100"/>
                <a:gd name="connsiteX4" fmla="*/ 19050 w 38100"/>
                <a:gd name="connsiteY4" fmla="*/ 0 h 38100"/>
                <a:gd name="connsiteX5" fmla="*/ 19050 w 38100"/>
                <a:gd name="connsiteY5" fmla="*/ 0 h 38100"/>
                <a:gd name="connsiteX6" fmla="*/ 19050 w 38100"/>
                <a:gd name="connsiteY6" fmla="*/ 35560 h 38100"/>
                <a:gd name="connsiteX7" fmla="*/ 2540 w 38100"/>
                <a:gd name="connsiteY7" fmla="*/ 19050 h 38100"/>
                <a:gd name="connsiteX8" fmla="*/ 19050 w 38100"/>
                <a:gd name="connsiteY8" fmla="*/ 2540 h 38100"/>
                <a:gd name="connsiteX9" fmla="*/ 35560 w 38100"/>
                <a:gd name="connsiteY9" fmla="*/ 19050 h 38100"/>
                <a:gd name="connsiteX10" fmla="*/ 21590 w 38100"/>
                <a:gd name="connsiteY10" fmla="*/ 35560 h 38100"/>
                <a:gd name="connsiteX11" fmla="*/ 19050 w 38100"/>
                <a:gd name="connsiteY11" fmla="*/ 3556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19050" y="0"/>
                  </a:moveTo>
                  <a:cubicBezTo>
                    <a:pt x="8890" y="0"/>
                    <a:pt x="0" y="8890"/>
                    <a:pt x="0" y="19050"/>
                  </a:cubicBezTo>
                  <a:cubicBezTo>
                    <a:pt x="0" y="29210"/>
                    <a:pt x="8890" y="38100"/>
                    <a:pt x="19050" y="38100"/>
                  </a:cubicBezTo>
                  <a:cubicBezTo>
                    <a:pt x="29210" y="38100"/>
                    <a:pt x="38100" y="29210"/>
                    <a:pt x="38100" y="19050"/>
                  </a:cubicBezTo>
                  <a:cubicBezTo>
                    <a:pt x="38100" y="8890"/>
                    <a:pt x="29210" y="0"/>
                    <a:pt x="19050" y="0"/>
                  </a:cubicBezTo>
                  <a:lnTo>
                    <a:pt x="19050" y="0"/>
                  </a:lnTo>
                  <a:moveTo>
                    <a:pt x="19050" y="35560"/>
                  </a:moveTo>
                  <a:cubicBezTo>
                    <a:pt x="10160" y="35560"/>
                    <a:pt x="2540" y="27940"/>
                    <a:pt x="2540" y="19050"/>
                  </a:cubicBezTo>
                  <a:cubicBezTo>
                    <a:pt x="2540" y="10160"/>
                    <a:pt x="10160" y="2540"/>
                    <a:pt x="19050" y="2540"/>
                  </a:cubicBezTo>
                  <a:cubicBezTo>
                    <a:pt x="27940" y="2540"/>
                    <a:pt x="35560" y="10160"/>
                    <a:pt x="35560" y="19050"/>
                  </a:cubicBezTo>
                  <a:cubicBezTo>
                    <a:pt x="35560" y="27940"/>
                    <a:pt x="29210" y="34290"/>
                    <a:pt x="21590" y="35560"/>
                  </a:cubicBezTo>
                  <a:cubicBezTo>
                    <a:pt x="19050" y="35560"/>
                    <a:pt x="19050" y="35560"/>
                    <a:pt x="19050" y="3556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3C8CF4E-7FF2-4737-A12F-8A7E5AF77E85}"/>
                </a:ext>
              </a:extLst>
            </p:cNvPr>
            <p:cNvSpPr/>
            <p:nvPr/>
          </p:nvSpPr>
          <p:spPr>
            <a:xfrm>
              <a:off x="1440180" y="6530339"/>
              <a:ext cx="12700" cy="12700"/>
            </a:xfrm>
            <a:custGeom>
              <a:avLst/>
              <a:gdLst>
                <a:gd name="connsiteX0" fmla="*/ 16510 w 12700"/>
                <a:gd name="connsiteY0" fmla="*/ 5080 h 12700"/>
                <a:gd name="connsiteX1" fmla="*/ 10160 w 12700"/>
                <a:gd name="connsiteY1" fmla="*/ 0 h 12700"/>
                <a:gd name="connsiteX2" fmla="*/ 0 w 12700"/>
                <a:gd name="connsiteY2" fmla="*/ 0 h 12700"/>
                <a:gd name="connsiteX3" fmla="*/ 0 w 12700"/>
                <a:gd name="connsiteY3" fmla="*/ 17780 h 12700"/>
                <a:gd name="connsiteX4" fmla="*/ 3810 w 12700"/>
                <a:gd name="connsiteY4" fmla="*/ 17780 h 12700"/>
                <a:gd name="connsiteX5" fmla="*/ 3810 w 12700"/>
                <a:gd name="connsiteY5" fmla="*/ 10160 h 12700"/>
                <a:gd name="connsiteX6" fmla="*/ 7620 w 12700"/>
                <a:gd name="connsiteY6" fmla="*/ 10160 h 12700"/>
                <a:gd name="connsiteX7" fmla="*/ 12700 w 12700"/>
                <a:gd name="connsiteY7" fmla="*/ 17780 h 12700"/>
                <a:gd name="connsiteX8" fmla="*/ 17780 w 12700"/>
                <a:gd name="connsiteY8" fmla="*/ 17780 h 12700"/>
                <a:gd name="connsiteX9" fmla="*/ 12700 w 12700"/>
                <a:gd name="connsiteY9" fmla="*/ 10160 h 12700"/>
                <a:gd name="connsiteX10" fmla="*/ 16510 w 12700"/>
                <a:gd name="connsiteY10" fmla="*/ 5080 h 12700"/>
                <a:gd name="connsiteX11" fmla="*/ 16510 w 12700"/>
                <a:gd name="connsiteY11" fmla="*/ 5080 h 12700"/>
                <a:gd name="connsiteX12" fmla="*/ 8890 w 12700"/>
                <a:gd name="connsiteY12" fmla="*/ 6350 h 12700"/>
                <a:gd name="connsiteX13" fmla="*/ 3810 w 12700"/>
                <a:gd name="connsiteY13" fmla="*/ 6350 h 12700"/>
                <a:gd name="connsiteX14" fmla="*/ 3810 w 12700"/>
                <a:gd name="connsiteY14" fmla="*/ 2540 h 12700"/>
                <a:gd name="connsiteX15" fmla="*/ 8890 w 12700"/>
                <a:gd name="connsiteY15" fmla="*/ 2540 h 12700"/>
                <a:gd name="connsiteX16" fmla="*/ 12700 w 12700"/>
                <a:gd name="connsiteY16" fmla="*/ 3810 h 12700"/>
                <a:gd name="connsiteX17" fmla="*/ 8890 w 12700"/>
                <a:gd name="connsiteY17" fmla="*/ 6350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700" h="12700">
                  <a:moveTo>
                    <a:pt x="16510" y="5080"/>
                  </a:moveTo>
                  <a:cubicBezTo>
                    <a:pt x="16510" y="1270"/>
                    <a:pt x="13970" y="0"/>
                    <a:pt x="10160" y="0"/>
                  </a:cubicBezTo>
                  <a:lnTo>
                    <a:pt x="0" y="0"/>
                  </a:lnTo>
                  <a:lnTo>
                    <a:pt x="0" y="17780"/>
                  </a:lnTo>
                  <a:lnTo>
                    <a:pt x="3810" y="17780"/>
                  </a:lnTo>
                  <a:lnTo>
                    <a:pt x="3810" y="10160"/>
                  </a:lnTo>
                  <a:lnTo>
                    <a:pt x="7620" y="10160"/>
                  </a:lnTo>
                  <a:lnTo>
                    <a:pt x="12700" y="17780"/>
                  </a:lnTo>
                  <a:lnTo>
                    <a:pt x="17780" y="17780"/>
                  </a:lnTo>
                  <a:lnTo>
                    <a:pt x="12700" y="10160"/>
                  </a:lnTo>
                  <a:cubicBezTo>
                    <a:pt x="15240" y="8890"/>
                    <a:pt x="16510" y="7620"/>
                    <a:pt x="16510" y="5080"/>
                  </a:cubicBezTo>
                  <a:lnTo>
                    <a:pt x="16510" y="5080"/>
                  </a:lnTo>
                  <a:moveTo>
                    <a:pt x="8890" y="6350"/>
                  </a:moveTo>
                  <a:lnTo>
                    <a:pt x="3810" y="6350"/>
                  </a:lnTo>
                  <a:lnTo>
                    <a:pt x="3810" y="2540"/>
                  </a:lnTo>
                  <a:lnTo>
                    <a:pt x="8890" y="2540"/>
                  </a:lnTo>
                  <a:cubicBezTo>
                    <a:pt x="11430" y="2540"/>
                    <a:pt x="12700" y="2540"/>
                    <a:pt x="12700" y="3810"/>
                  </a:cubicBezTo>
                  <a:cubicBezTo>
                    <a:pt x="12700" y="6350"/>
                    <a:pt x="11430" y="6350"/>
                    <a:pt x="8890" y="635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920BBBD-DCBC-4ACE-B0A1-7AAD7B9FE4FD}"/>
                </a:ext>
              </a:extLst>
            </p:cNvPr>
            <p:cNvSpPr/>
            <p:nvPr/>
          </p:nvSpPr>
          <p:spPr>
            <a:xfrm>
              <a:off x="445770" y="6605269"/>
              <a:ext cx="50800" cy="38100"/>
            </a:xfrm>
            <a:custGeom>
              <a:avLst/>
              <a:gdLst>
                <a:gd name="connsiteX0" fmla="*/ 24130 w 50800"/>
                <a:gd name="connsiteY0" fmla="*/ 6350 h 38100"/>
                <a:gd name="connsiteX1" fmla="*/ 15240 w 50800"/>
                <a:gd name="connsiteY1" fmla="*/ 26670 h 38100"/>
                <a:gd name="connsiteX2" fmla="*/ 33020 w 50800"/>
                <a:gd name="connsiteY2" fmla="*/ 26670 h 38100"/>
                <a:gd name="connsiteX3" fmla="*/ 2413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4130" y="6350"/>
                  </a:moveTo>
                  <a:lnTo>
                    <a:pt x="15240" y="26670"/>
                  </a:lnTo>
                  <a:lnTo>
                    <a:pt x="33020" y="26670"/>
                  </a:lnTo>
                  <a:lnTo>
                    <a:pt x="2413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138CFB5-FB9A-4CEA-A0E2-28B9016F9358}"/>
                </a:ext>
              </a:extLst>
            </p:cNvPr>
            <p:cNvSpPr/>
            <p:nvPr/>
          </p:nvSpPr>
          <p:spPr>
            <a:xfrm>
              <a:off x="524510" y="6605269"/>
              <a:ext cx="38100" cy="38100"/>
            </a:xfrm>
            <a:custGeom>
              <a:avLst/>
              <a:gdLst>
                <a:gd name="connsiteX0" fmla="*/ 17780 w 38100"/>
                <a:gd name="connsiteY0" fmla="*/ 6350 h 38100"/>
                <a:gd name="connsiteX1" fmla="*/ 0 w 38100"/>
                <a:gd name="connsiteY1" fmla="*/ 6350 h 38100"/>
                <a:gd name="connsiteX2" fmla="*/ 0 w 38100"/>
                <a:gd name="connsiteY2" fmla="*/ 0 h 38100"/>
                <a:gd name="connsiteX3" fmla="*/ 41910 w 38100"/>
                <a:gd name="connsiteY3" fmla="*/ 0 h 38100"/>
                <a:gd name="connsiteX4" fmla="*/ 41910 w 38100"/>
                <a:gd name="connsiteY4" fmla="*/ 6350 h 38100"/>
                <a:gd name="connsiteX5" fmla="*/ 24130 w 38100"/>
                <a:gd name="connsiteY5" fmla="*/ 6350 h 38100"/>
                <a:gd name="connsiteX6" fmla="*/ 24130 w 38100"/>
                <a:gd name="connsiteY6" fmla="*/ 46990 h 38100"/>
                <a:gd name="connsiteX7" fmla="*/ 17780 w 38100"/>
                <a:gd name="connsiteY7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" h="38100">
                  <a:moveTo>
                    <a:pt x="17780" y="6350"/>
                  </a:moveTo>
                  <a:lnTo>
                    <a:pt x="0" y="6350"/>
                  </a:lnTo>
                  <a:lnTo>
                    <a:pt x="0" y="0"/>
                  </a:lnTo>
                  <a:lnTo>
                    <a:pt x="41910" y="0"/>
                  </a:lnTo>
                  <a:lnTo>
                    <a:pt x="41910" y="6350"/>
                  </a:lnTo>
                  <a:lnTo>
                    <a:pt x="24130" y="6350"/>
                  </a:lnTo>
                  <a:lnTo>
                    <a:pt x="24130" y="46990"/>
                  </a:lnTo>
                  <a:lnTo>
                    <a:pt x="1778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B12F524-B636-41B0-BC64-E736F198786E}"/>
                </a:ext>
              </a:extLst>
            </p:cNvPr>
            <p:cNvSpPr/>
            <p:nvPr/>
          </p:nvSpPr>
          <p:spPr>
            <a:xfrm>
              <a:off x="5753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6830 w 38100"/>
                <a:gd name="connsiteY1" fmla="*/ 0 h 38100"/>
                <a:gd name="connsiteX2" fmla="*/ 3683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6350 w 38100"/>
                <a:gd name="connsiteY7" fmla="*/ 25400 h 38100"/>
                <a:gd name="connsiteX8" fmla="*/ 6350 w 38100"/>
                <a:gd name="connsiteY8" fmla="*/ 40640 h 38100"/>
                <a:gd name="connsiteX9" fmla="*/ 38100 w 38100"/>
                <a:gd name="connsiteY9" fmla="*/ 40640 h 38100"/>
                <a:gd name="connsiteX10" fmla="*/ 3810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6830" y="0"/>
                  </a:lnTo>
                  <a:lnTo>
                    <a:pt x="36830" y="6350"/>
                  </a:lnTo>
                  <a:lnTo>
                    <a:pt x="6350" y="6350"/>
                  </a:lnTo>
                  <a:lnTo>
                    <a:pt x="635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6350" y="25400"/>
                  </a:lnTo>
                  <a:lnTo>
                    <a:pt x="6350" y="40640"/>
                  </a:lnTo>
                  <a:lnTo>
                    <a:pt x="38100" y="40640"/>
                  </a:lnTo>
                  <a:lnTo>
                    <a:pt x="38100" y="46990"/>
                  </a:lnTo>
                  <a:lnTo>
                    <a:pt x="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050935B-39FE-4372-A7B6-3EBCAF1F4FB9}"/>
                </a:ext>
              </a:extLst>
            </p:cNvPr>
            <p:cNvSpPr/>
            <p:nvPr/>
          </p:nvSpPr>
          <p:spPr>
            <a:xfrm>
              <a:off x="62484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4AA9675-669B-4AA9-A691-EE5D63419BFB}"/>
                </a:ext>
              </a:extLst>
            </p:cNvPr>
            <p:cNvSpPr/>
            <p:nvPr/>
          </p:nvSpPr>
          <p:spPr>
            <a:xfrm>
              <a:off x="6769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8100 w 38100"/>
                <a:gd name="connsiteY1" fmla="*/ 0 h 38100"/>
                <a:gd name="connsiteX2" fmla="*/ 38100 w 38100"/>
                <a:gd name="connsiteY2" fmla="*/ 6350 h 38100"/>
                <a:gd name="connsiteX3" fmla="*/ 7620 w 38100"/>
                <a:gd name="connsiteY3" fmla="*/ 6350 h 38100"/>
                <a:gd name="connsiteX4" fmla="*/ 762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7620 w 38100"/>
                <a:gd name="connsiteY7" fmla="*/ 25400 h 38100"/>
                <a:gd name="connsiteX8" fmla="*/ 7620 w 38100"/>
                <a:gd name="connsiteY8" fmla="*/ 40640 h 38100"/>
                <a:gd name="connsiteX9" fmla="*/ 39370 w 38100"/>
                <a:gd name="connsiteY9" fmla="*/ 40640 h 38100"/>
                <a:gd name="connsiteX10" fmla="*/ 3937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8100" y="0"/>
                  </a:lnTo>
                  <a:lnTo>
                    <a:pt x="38100" y="6350"/>
                  </a:lnTo>
                  <a:lnTo>
                    <a:pt x="7620" y="6350"/>
                  </a:lnTo>
                  <a:lnTo>
                    <a:pt x="762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7620" y="25400"/>
                  </a:lnTo>
                  <a:lnTo>
                    <a:pt x="7620" y="40640"/>
                  </a:lnTo>
                  <a:lnTo>
                    <a:pt x="39370" y="40640"/>
                  </a:lnTo>
                  <a:lnTo>
                    <a:pt x="39370" y="46990"/>
                  </a:lnTo>
                  <a:lnTo>
                    <a:pt x="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E857195-FB2D-44D1-B043-AC6916B17BBC}"/>
                </a:ext>
              </a:extLst>
            </p:cNvPr>
            <p:cNvSpPr/>
            <p:nvPr/>
          </p:nvSpPr>
          <p:spPr>
            <a:xfrm>
              <a:off x="722630" y="6605269"/>
              <a:ext cx="38100" cy="38100"/>
            </a:xfrm>
            <a:custGeom>
              <a:avLst/>
              <a:gdLst>
                <a:gd name="connsiteX0" fmla="*/ 36830 w 38100"/>
                <a:gd name="connsiteY0" fmla="*/ 0 h 38100"/>
                <a:gd name="connsiteX1" fmla="*/ 45720 w 38100"/>
                <a:gd name="connsiteY1" fmla="*/ 0 h 38100"/>
                <a:gd name="connsiteX2" fmla="*/ 26670 w 38100"/>
                <a:gd name="connsiteY2" fmla="*/ 22860 h 38100"/>
                <a:gd name="connsiteX3" fmla="*/ 45720 w 38100"/>
                <a:gd name="connsiteY3" fmla="*/ 46990 h 38100"/>
                <a:gd name="connsiteX4" fmla="*/ 36830 w 38100"/>
                <a:gd name="connsiteY4" fmla="*/ 46990 h 38100"/>
                <a:gd name="connsiteX5" fmla="*/ 22860 w 38100"/>
                <a:gd name="connsiteY5" fmla="*/ 27940 h 38100"/>
                <a:gd name="connsiteX6" fmla="*/ 7620 w 38100"/>
                <a:gd name="connsiteY6" fmla="*/ 46990 h 38100"/>
                <a:gd name="connsiteX7" fmla="*/ 0 w 38100"/>
                <a:gd name="connsiteY7" fmla="*/ 46990 h 38100"/>
                <a:gd name="connsiteX8" fmla="*/ 17780 w 38100"/>
                <a:gd name="connsiteY8" fmla="*/ 22860 h 38100"/>
                <a:gd name="connsiteX9" fmla="*/ 0 w 38100"/>
                <a:gd name="connsiteY9" fmla="*/ 0 h 38100"/>
                <a:gd name="connsiteX10" fmla="*/ 8890 w 38100"/>
                <a:gd name="connsiteY10" fmla="*/ 0 h 38100"/>
                <a:gd name="connsiteX11" fmla="*/ 22860 w 38100"/>
                <a:gd name="connsiteY11" fmla="*/ 1778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36830" y="0"/>
                  </a:moveTo>
                  <a:lnTo>
                    <a:pt x="45720" y="0"/>
                  </a:lnTo>
                  <a:lnTo>
                    <a:pt x="26670" y="22860"/>
                  </a:lnTo>
                  <a:lnTo>
                    <a:pt x="45720" y="46990"/>
                  </a:lnTo>
                  <a:lnTo>
                    <a:pt x="36830" y="46990"/>
                  </a:lnTo>
                  <a:lnTo>
                    <a:pt x="22860" y="2794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17780" y="22860"/>
                  </a:lnTo>
                  <a:lnTo>
                    <a:pt x="0" y="0"/>
                  </a:lnTo>
                  <a:lnTo>
                    <a:pt x="8890" y="0"/>
                  </a:lnTo>
                  <a:lnTo>
                    <a:pt x="22860" y="1778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4302F001-5F1C-4B4B-8FF8-6A3446945576}"/>
                </a:ext>
              </a:extLst>
            </p:cNvPr>
            <p:cNvSpPr/>
            <p:nvPr/>
          </p:nvSpPr>
          <p:spPr>
            <a:xfrm>
              <a:off x="802640" y="6605269"/>
              <a:ext cx="38100" cy="38100"/>
            </a:xfrm>
            <a:custGeom>
              <a:avLst/>
              <a:gdLst>
                <a:gd name="connsiteX0" fmla="*/ 26670 w 38100"/>
                <a:gd name="connsiteY0" fmla="*/ 40640 h 38100"/>
                <a:gd name="connsiteX1" fmla="*/ 36830 w 38100"/>
                <a:gd name="connsiteY1" fmla="*/ 33020 h 38100"/>
                <a:gd name="connsiteX2" fmla="*/ 27940 w 38100"/>
                <a:gd name="connsiteY2" fmla="*/ 25400 h 38100"/>
                <a:gd name="connsiteX3" fmla="*/ 8890 w 38100"/>
                <a:gd name="connsiteY3" fmla="*/ 25400 h 38100"/>
                <a:gd name="connsiteX4" fmla="*/ 8890 w 38100"/>
                <a:gd name="connsiteY4" fmla="*/ 40640 h 38100"/>
                <a:gd name="connsiteX5" fmla="*/ 26670 w 38100"/>
                <a:gd name="connsiteY5" fmla="*/ 40640 h 38100"/>
                <a:gd name="connsiteX6" fmla="*/ 26670 w 38100"/>
                <a:gd name="connsiteY6" fmla="*/ 19050 h 38100"/>
                <a:gd name="connsiteX7" fmla="*/ 34290 w 38100"/>
                <a:gd name="connsiteY7" fmla="*/ 12700 h 38100"/>
                <a:gd name="connsiteX8" fmla="*/ 26670 w 38100"/>
                <a:gd name="connsiteY8" fmla="*/ 6350 h 38100"/>
                <a:gd name="connsiteX9" fmla="*/ 7620 w 38100"/>
                <a:gd name="connsiteY9" fmla="*/ 6350 h 38100"/>
                <a:gd name="connsiteX10" fmla="*/ 7620 w 38100"/>
                <a:gd name="connsiteY10" fmla="*/ 19050 h 38100"/>
                <a:gd name="connsiteX11" fmla="*/ 26670 w 38100"/>
                <a:gd name="connsiteY11" fmla="*/ 19050 h 38100"/>
                <a:gd name="connsiteX12" fmla="*/ 0 w 38100"/>
                <a:gd name="connsiteY12" fmla="*/ 0 h 38100"/>
                <a:gd name="connsiteX13" fmla="*/ 26670 w 38100"/>
                <a:gd name="connsiteY13" fmla="*/ 0 h 38100"/>
                <a:gd name="connsiteX14" fmla="*/ 40640 w 38100"/>
                <a:gd name="connsiteY14" fmla="*/ 11430 h 38100"/>
                <a:gd name="connsiteX15" fmla="*/ 34290 w 38100"/>
                <a:gd name="connsiteY15" fmla="*/ 21590 h 38100"/>
                <a:gd name="connsiteX16" fmla="*/ 34290 w 38100"/>
                <a:gd name="connsiteY16" fmla="*/ 21590 h 38100"/>
                <a:gd name="connsiteX17" fmla="*/ 43180 w 38100"/>
                <a:gd name="connsiteY17" fmla="*/ 33020 h 38100"/>
                <a:gd name="connsiteX18" fmla="*/ 29210 w 38100"/>
                <a:gd name="connsiteY18" fmla="*/ 46990 h 38100"/>
                <a:gd name="connsiteX19" fmla="*/ 27940 w 38100"/>
                <a:gd name="connsiteY19" fmla="*/ 46990 h 38100"/>
                <a:gd name="connsiteX20" fmla="*/ 0 w 38100"/>
                <a:gd name="connsiteY20" fmla="*/ 4699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40640"/>
                  </a:moveTo>
                  <a:cubicBezTo>
                    <a:pt x="34290" y="40640"/>
                    <a:pt x="36830" y="36830"/>
                    <a:pt x="36830" y="33020"/>
                  </a:cubicBezTo>
                  <a:cubicBezTo>
                    <a:pt x="36830" y="29210"/>
                    <a:pt x="34290" y="25400"/>
                    <a:pt x="27940" y="25400"/>
                  </a:cubicBezTo>
                  <a:lnTo>
                    <a:pt x="8890" y="25400"/>
                  </a:lnTo>
                  <a:lnTo>
                    <a:pt x="8890" y="40640"/>
                  </a:lnTo>
                  <a:lnTo>
                    <a:pt x="26670" y="40640"/>
                  </a:lnTo>
                  <a:close/>
                  <a:moveTo>
                    <a:pt x="26670" y="19050"/>
                  </a:moveTo>
                  <a:cubicBezTo>
                    <a:pt x="31750" y="19050"/>
                    <a:pt x="34290" y="16510"/>
                    <a:pt x="34290" y="12700"/>
                  </a:cubicBezTo>
                  <a:cubicBezTo>
                    <a:pt x="34290" y="8890"/>
                    <a:pt x="31750" y="6350"/>
                    <a:pt x="26670" y="6350"/>
                  </a:cubicBezTo>
                  <a:lnTo>
                    <a:pt x="7620" y="6350"/>
                  </a:lnTo>
                  <a:lnTo>
                    <a:pt x="7620" y="19050"/>
                  </a:lnTo>
                  <a:lnTo>
                    <a:pt x="26670" y="19050"/>
                  </a:lnTo>
                  <a:close/>
                  <a:moveTo>
                    <a:pt x="0" y="0"/>
                  </a:moveTo>
                  <a:lnTo>
                    <a:pt x="26670" y="0"/>
                  </a:lnTo>
                  <a:cubicBezTo>
                    <a:pt x="36830" y="0"/>
                    <a:pt x="40640" y="3810"/>
                    <a:pt x="40640" y="11430"/>
                  </a:cubicBezTo>
                  <a:cubicBezTo>
                    <a:pt x="40640" y="16510"/>
                    <a:pt x="38100" y="20320"/>
                    <a:pt x="34290" y="21590"/>
                  </a:cubicBezTo>
                  <a:lnTo>
                    <a:pt x="34290" y="21590"/>
                  </a:lnTo>
                  <a:cubicBezTo>
                    <a:pt x="39370" y="22860"/>
                    <a:pt x="43180" y="27940"/>
                    <a:pt x="43180" y="33020"/>
                  </a:cubicBezTo>
                  <a:cubicBezTo>
                    <a:pt x="43180" y="40640"/>
                    <a:pt x="36830" y="46990"/>
                    <a:pt x="29210" y="46990"/>
                  </a:cubicBezTo>
                  <a:lnTo>
                    <a:pt x="27940" y="46990"/>
                  </a:ln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5FFBA8A-EF8B-489D-BE95-9F98B473327D}"/>
                </a:ext>
              </a:extLst>
            </p:cNvPr>
            <p:cNvSpPr/>
            <p:nvPr/>
          </p:nvSpPr>
          <p:spPr>
            <a:xfrm>
              <a:off x="85725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127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12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87E157F-E5F5-43D2-8DF1-07B7BAA302DC}"/>
                </a:ext>
              </a:extLst>
            </p:cNvPr>
            <p:cNvSpPr/>
            <p:nvPr/>
          </p:nvSpPr>
          <p:spPr>
            <a:xfrm>
              <a:off x="905510" y="6605269"/>
              <a:ext cx="50800" cy="38100"/>
            </a:xfrm>
            <a:custGeom>
              <a:avLst/>
              <a:gdLst>
                <a:gd name="connsiteX0" fmla="*/ 25400 w 50800"/>
                <a:gd name="connsiteY0" fmla="*/ 6350 h 38100"/>
                <a:gd name="connsiteX1" fmla="*/ 16510 w 50800"/>
                <a:gd name="connsiteY1" fmla="*/ 26670 h 38100"/>
                <a:gd name="connsiteX2" fmla="*/ 34290 w 50800"/>
                <a:gd name="connsiteY2" fmla="*/ 26670 h 38100"/>
                <a:gd name="connsiteX3" fmla="*/ 2540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5400" y="6350"/>
                  </a:moveTo>
                  <a:lnTo>
                    <a:pt x="16510" y="26670"/>
                  </a:lnTo>
                  <a:lnTo>
                    <a:pt x="34290" y="26670"/>
                  </a:lnTo>
                  <a:lnTo>
                    <a:pt x="2540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1DCF19E-BDBD-46C9-A130-E96367FE80F1}"/>
                </a:ext>
              </a:extLst>
            </p:cNvPr>
            <p:cNvSpPr/>
            <p:nvPr/>
          </p:nvSpPr>
          <p:spPr>
            <a:xfrm>
              <a:off x="962660" y="6605269"/>
              <a:ext cx="38100" cy="38100"/>
            </a:xfrm>
            <a:custGeom>
              <a:avLst/>
              <a:gdLst>
                <a:gd name="connsiteX0" fmla="*/ 6350 w 38100"/>
                <a:gd name="connsiteY0" fmla="*/ 8890 h 38100"/>
                <a:gd name="connsiteX1" fmla="*/ 6350 w 38100"/>
                <a:gd name="connsiteY1" fmla="*/ 8890 h 38100"/>
                <a:gd name="connsiteX2" fmla="*/ 6350 w 38100"/>
                <a:gd name="connsiteY2" fmla="*/ 46990 h 38100"/>
                <a:gd name="connsiteX3" fmla="*/ 0 w 38100"/>
                <a:gd name="connsiteY3" fmla="*/ 46990 h 38100"/>
                <a:gd name="connsiteX4" fmla="*/ 0 w 38100"/>
                <a:gd name="connsiteY4" fmla="*/ 0 h 38100"/>
                <a:gd name="connsiteX5" fmla="*/ 7620 w 38100"/>
                <a:gd name="connsiteY5" fmla="*/ 0 h 38100"/>
                <a:gd name="connsiteX6" fmla="*/ 38100 w 38100"/>
                <a:gd name="connsiteY6" fmla="*/ 36830 h 38100"/>
                <a:gd name="connsiteX7" fmla="*/ 38100 w 38100"/>
                <a:gd name="connsiteY7" fmla="*/ 36830 h 38100"/>
                <a:gd name="connsiteX8" fmla="*/ 38100 w 38100"/>
                <a:gd name="connsiteY8" fmla="*/ 0 h 38100"/>
                <a:gd name="connsiteX9" fmla="*/ 45720 w 38100"/>
                <a:gd name="connsiteY9" fmla="*/ 0 h 38100"/>
                <a:gd name="connsiteX10" fmla="*/ 45720 w 38100"/>
                <a:gd name="connsiteY10" fmla="*/ 46990 h 38100"/>
                <a:gd name="connsiteX11" fmla="*/ 3683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6350" y="8890"/>
                  </a:moveTo>
                  <a:lnTo>
                    <a:pt x="6350" y="8890"/>
                  </a:lnTo>
                  <a:lnTo>
                    <a:pt x="6350" y="46990"/>
                  </a:lnTo>
                  <a:lnTo>
                    <a:pt x="0" y="46990"/>
                  </a:lnTo>
                  <a:lnTo>
                    <a:pt x="0" y="0"/>
                  </a:lnTo>
                  <a:lnTo>
                    <a:pt x="7620" y="0"/>
                  </a:lnTo>
                  <a:lnTo>
                    <a:pt x="38100" y="36830"/>
                  </a:lnTo>
                  <a:lnTo>
                    <a:pt x="38100" y="36830"/>
                  </a:lnTo>
                  <a:lnTo>
                    <a:pt x="38100" y="0"/>
                  </a:lnTo>
                  <a:lnTo>
                    <a:pt x="45720" y="0"/>
                  </a:lnTo>
                  <a:lnTo>
                    <a:pt x="45720" y="46990"/>
                  </a:lnTo>
                  <a:lnTo>
                    <a:pt x="3683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5E1B88B-CD10-4812-B673-4524E2A70B3F}"/>
                </a:ext>
              </a:extLst>
            </p:cNvPr>
            <p:cNvSpPr/>
            <p:nvPr/>
          </p:nvSpPr>
          <p:spPr>
            <a:xfrm>
              <a:off x="1022350" y="6605269"/>
              <a:ext cx="38100" cy="38100"/>
            </a:xfrm>
            <a:custGeom>
              <a:avLst/>
              <a:gdLst>
                <a:gd name="connsiteX0" fmla="*/ 24130 w 38100"/>
                <a:gd name="connsiteY0" fmla="*/ 40640 h 38100"/>
                <a:gd name="connsiteX1" fmla="*/ 38100 w 38100"/>
                <a:gd name="connsiteY1" fmla="*/ 22860 h 38100"/>
                <a:gd name="connsiteX2" fmla="*/ 2286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40640 h 38100"/>
                <a:gd name="connsiteX5" fmla="*/ 24130 w 38100"/>
                <a:gd name="connsiteY5" fmla="*/ 40640 h 38100"/>
                <a:gd name="connsiteX6" fmla="*/ 0 w 38100"/>
                <a:gd name="connsiteY6" fmla="*/ 0 h 38100"/>
                <a:gd name="connsiteX7" fmla="*/ 24130 w 38100"/>
                <a:gd name="connsiteY7" fmla="*/ 0 h 38100"/>
                <a:gd name="connsiteX8" fmla="*/ 44450 w 38100"/>
                <a:gd name="connsiteY8" fmla="*/ 22860 h 38100"/>
                <a:gd name="connsiteX9" fmla="*/ 24130 w 38100"/>
                <a:gd name="connsiteY9" fmla="*/ 46990 h 38100"/>
                <a:gd name="connsiteX10" fmla="*/ 0 w 38100"/>
                <a:gd name="connsiteY10" fmla="*/ 46990 h 38100"/>
                <a:gd name="connsiteX11" fmla="*/ 0 w 38100"/>
                <a:gd name="connsiteY1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24130" y="40640"/>
                  </a:moveTo>
                  <a:cubicBezTo>
                    <a:pt x="35560" y="40640"/>
                    <a:pt x="38100" y="31750"/>
                    <a:pt x="38100" y="22860"/>
                  </a:cubicBezTo>
                  <a:cubicBezTo>
                    <a:pt x="38100" y="13970"/>
                    <a:pt x="35560" y="6350"/>
                    <a:pt x="22860" y="6350"/>
                  </a:cubicBezTo>
                  <a:lnTo>
                    <a:pt x="6350" y="6350"/>
                  </a:lnTo>
                  <a:lnTo>
                    <a:pt x="6350" y="40640"/>
                  </a:lnTo>
                  <a:lnTo>
                    <a:pt x="24130" y="40640"/>
                  </a:lnTo>
                  <a:close/>
                  <a:moveTo>
                    <a:pt x="0" y="0"/>
                  </a:moveTo>
                  <a:lnTo>
                    <a:pt x="24130" y="0"/>
                  </a:lnTo>
                  <a:cubicBezTo>
                    <a:pt x="38100" y="0"/>
                    <a:pt x="44450" y="8890"/>
                    <a:pt x="44450" y="22860"/>
                  </a:cubicBezTo>
                  <a:cubicBezTo>
                    <a:pt x="44450" y="36830"/>
                    <a:pt x="38100" y="46990"/>
                    <a:pt x="24130" y="46990"/>
                  </a:cubicBez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CB49E39-A32D-4026-889F-911A8D83072C}"/>
              </a:ext>
            </a:extLst>
          </p:cNvPr>
          <p:cNvGrpSpPr/>
          <p:nvPr userDrawn="1"/>
        </p:nvGrpSpPr>
        <p:grpSpPr>
          <a:xfrm>
            <a:off x="10880205" y="6287769"/>
            <a:ext cx="927100" cy="267970"/>
            <a:chOff x="10826750" y="6287769"/>
            <a:chExt cx="927100" cy="267970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6BEA61B7-5C18-493B-8296-6EF5601EE412}"/>
                </a:ext>
              </a:extLst>
            </p:cNvPr>
            <p:cNvSpPr/>
            <p:nvPr/>
          </p:nvSpPr>
          <p:spPr>
            <a:xfrm>
              <a:off x="10955020" y="6487159"/>
              <a:ext cx="38100" cy="63500"/>
            </a:xfrm>
            <a:custGeom>
              <a:avLst/>
              <a:gdLst>
                <a:gd name="connsiteX0" fmla="*/ 35561 w 38100"/>
                <a:gd name="connsiteY0" fmla="*/ 0 h 63500"/>
                <a:gd name="connsiteX1" fmla="*/ 24130 w 38100"/>
                <a:gd name="connsiteY1" fmla="*/ 29210 h 63500"/>
                <a:gd name="connsiteX2" fmla="*/ 12700 w 38100"/>
                <a:gd name="connsiteY2" fmla="*/ 0 h 63500"/>
                <a:gd name="connsiteX3" fmla="*/ 0 w 38100"/>
                <a:gd name="connsiteY3" fmla="*/ 0 h 63500"/>
                <a:gd name="connsiteX4" fmla="*/ 17780 w 38100"/>
                <a:gd name="connsiteY4" fmla="*/ 41910 h 63500"/>
                <a:gd name="connsiteX5" fmla="*/ 17780 w 38100"/>
                <a:gd name="connsiteY5" fmla="*/ 68580 h 63500"/>
                <a:gd name="connsiteX6" fmla="*/ 29211 w 38100"/>
                <a:gd name="connsiteY6" fmla="*/ 68580 h 63500"/>
                <a:gd name="connsiteX7" fmla="*/ 29211 w 38100"/>
                <a:gd name="connsiteY7" fmla="*/ 41910 h 63500"/>
                <a:gd name="connsiteX8" fmla="*/ 48261 w 38100"/>
                <a:gd name="connsiteY8" fmla="*/ 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100" h="63500">
                  <a:moveTo>
                    <a:pt x="35561" y="0"/>
                  </a:moveTo>
                  <a:lnTo>
                    <a:pt x="24130" y="29210"/>
                  </a:lnTo>
                  <a:lnTo>
                    <a:pt x="12700" y="0"/>
                  </a:lnTo>
                  <a:lnTo>
                    <a:pt x="0" y="0"/>
                  </a:lnTo>
                  <a:lnTo>
                    <a:pt x="17780" y="41910"/>
                  </a:lnTo>
                  <a:lnTo>
                    <a:pt x="17780" y="68580"/>
                  </a:lnTo>
                  <a:lnTo>
                    <a:pt x="29211" y="68580"/>
                  </a:lnTo>
                  <a:lnTo>
                    <a:pt x="29211" y="41910"/>
                  </a:lnTo>
                  <a:lnTo>
                    <a:pt x="48261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14E8148A-671C-4510-B465-12BA4A14826E}"/>
                </a:ext>
              </a:extLst>
            </p:cNvPr>
            <p:cNvSpPr/>
            <p:nvPr/>
          </p:nvSpPr>
          <p:spPr>
            <a:xfrm>
              <a:off x="10999470" y="6485889"/>
              <a:ext cx="38100" cy="63500"/>
            </a:xfrm>
            <a:custGeom>
              <a:avLst/>
              <a:gdLst>
                <a:gd name="connsiteX0" fmla="*/ 0 w 38100"/>
                <a:gd name="connsiteY0" fmla="*/ 35560 h 63500"/>
                <a:gd name="connsiteX1" fmla="*/ 22861 w 38100"/>
                <a:gd name="connsiteY1" fmla="*/ 0 h 63500"/>
                <a:gd name="connsiteX2" fmla="*/ 45720 w 38100"/>
                <a:gd name="connsiteY2" fmla="*/ 35560 h 63500"/>
                <a:gd name="connsiteX3" fmla="*/ 22861 w 38100"/>
                <a:gd name="connsiteY3" fmla="*/ 71120 h 63500"/>
                <a:gd name="connsiteX4" fmla="*/ 0 w 38100"/>
                <a:gd name="connsiteY4" fmla="*/ 35560 h 63500"/>
                <a:gd name="connsiteX5" fmla="*/ 35561 w 38100"/>
                <a:gd name="connsiteY5" fmla="*/ 35560 h 63500"/>
                <a:gd name="connsiteX6" fmla="*/ 24130 w 38100"/>
                <a:gd name="connsiteY6" fmla="*/ 8890 h 63500"/>
                <a:gd name="connsiteX7" fmla="*/ 12700 w 38100"/>
                <a:gd name="connsiteY7" fmla="*/ 35560 h 63500"/>
                <a:gd name="connsiteX8" fmla="*/ 24130 w 38100"/>
                <a:gd name="connsiteY8" fmla="*/ 63500 h 63500"/>
                <a:gd name="connsiteX9" fmla="*/ 35561 w 38100"/>
                <a:gd name="connsiteY9" fmla="*/ 3556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100" h="63500">
                  <a:moveTo>
                    <a:pt x="0" y="35560"/>
                  </a:moveTo>
                  <a:cubicBezTo>
                    <a:pt x="0" y="11430"/>
                    <a:pt x="7620" y="0"/>
                    <a:pt x="22861" y="0"/>
                  </a:cubicBezTo>
                  <a:cubicBezTo>
                    <a:pt x="38100" y="0"/>
                    <a:pt x="45720" y="11430"/>
                    <a:pt x="45720" y="35560"/>
                  </a:cubicBezTo>
                  <a:cubicBezTo>
                    <a:pt x="45720" y="59690"/>
                    <a:pt x="39370" y="71120"/>
                    <a:pt x="22861" y="71120"/>
                  </a:cubicBezTo>
                  <a:cubicBezTo>
                    <a:pt x="6350" y="71120"/>
                    <a:pt x="0" y="59690"/>
                    <a:pt x="0" y="35560"/>
                  </a:cubicBezTo>
                  <a:moveTo>
                    <a:pt x="35561" y="35560"/>
                  </a:moveTo>
                  <a:cubicBezTo>
                    <a:pt x="35561" y="12700"/>
                    <a:pt x="30480" y="8890"/>
                    <a:pt x="24130" y="8890"/>
                  </a:cubicBezTo>
                  <a:cubicBezTo>
                    <a:pt x="17780" y="8890"/>
                    <a:pt x="12700" y="12700"/>
                    <a:pt x="12700" y="35560"/>
                  </a:cubicBezTo>
                  <a:cubicBezTo>
                    <a:pt x="12700" y="58420"/>
                    <a:pt x="17780" y="63500"/>
                    <a:pt x="24130" y="63500"/>
                  </a:cubicBezTo>
                  <a:cubicBezTo>
                    <a:pt x="30480" y="63500"/>
                    <a:pt x="35561" y="58420"/>
                    <a:pt x="35561" y="3556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75595F2-6DB4-44DB-ABB5-864551EA06EA}"/>
                </a:ext>
              </a:extLst>
            </p:cNvPr>
            <p:cNvSpPr/>
            <p:nvPr/>
          </p:nvSpPr>
          <p:spPr>
            <a:xfrm>
              <a:off x="11052810" y="6487159"/>
              <a:ext cx="38100" cy="63500"/>
            </a:xfrm>
            <a:custGeom>
              <a:avLst/>
              <a:gdLst>
                <a:gd name="connsiteX0" fmla="*/ 11430 w 38100"/>
                <a:gd name="connsiteY0" fmla="*/ 0 h 63500"/>
                <a:gd name="connsiteX1" fmla="*/ 11430 w 38100"/>
                <a:gd name="connsiteY1" fmla="*/ 49530 h 63500"/>
                <a:gd name="connsiteX2" fmla="*/ 21590 w 38100"/>
                <a:gd name="connsiteY2" fmla="*/ 62230 h 63500"/>
                <a:gd name="connsiteX3" fmla="*/ 31750 w 38100"/>
                <a:gd name="connsiteY3" fmla="*/ 49530 h 63500"/>
                <a:gd name="connsiteX4" fmla="*/ 31750 w 38100"/>
                <a:gd name="connsiteY4" fmla="*/ 0 h 63500"/>
                <a:gd name="connsiteX5" fmla="*/ 43180 w 38100"/>
                <a:gd name="connsiteY5" fmla="*/ 0 h 63500"/>
                <a:gd name="connsiteX6" fmla="*/ 43180 w 38100"/>
                <a:gd name="connsiteY6" fmla="*/ 48260 h 63500"/>
                <a:gd name="connsiteX7" fmla="*/ 21590 w 38100"/>
                <a:gd name="connsiteY7" fmla="*/ 69850 h 63500"/>
                <a:gd name="connsiteX8" fmla="*/ 0 w 38100"/>
                <a:gd name="connsiteY8" fmla="*/ 48260 h 63500"/>
                <a:gd name="connsiteX9" fmla="*/ 0 w 38100"/>
                <a:gd name="connsiteY9" fmla="*/ 0 h 63500"/>
                <a:gd name="connsiteX10" fmla="*/ 11430 w 38100"/>
                <a:gd name="connsiteY10" fmla="*/ 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100" h="63500">
                  <a:moveTo>
                    <a:pt x="11430" y="0"/>
                  </a:moveTo>
                  <a:lnTo>
                    <a:pt x="11430" y="49530"/>
                  </a:lnTo>
                  <a:cubicBezTo>
                    <a:pt x="11430" y="58420"/>
                    <a:pt x="15240" y="62230"/>
                    <a:pt x="21590" y="62230"/>
                  </a:cubicBezTo>
                  <a:cubicBezTo>
                    <a:pt x="27940" y="62230"/>
                    <a:pt x="31750" y="58420"/>
                    <a:pt x="31750" y="49530"/>
                  </a:cubicBezTo>
                  <a:lnTo>
                    <a:pt x="31750" y="0"/>
                  </a:lnTo>
                  <a:lnTo>
                    <a:pt x="43180" y="0"/>
                  </a:lnTo>
                  <a:lnTo>
                    <a:pt x="43180" y="48260"/>
                  </a:lnTo>
                  <a:cubicBezTo>
                    <a:pt x="43180" y="64770"/>
                    <a:pt x="35560" y="69850"/>
                    <a:pt x="21590" y="69850"/>
                  </a:cubicBezTo>
                  <a:cubicBezTo>
                    <a:pt x="8890" y="69850"/>
                    <a:pt x="0" y="63500"/>
                    <a:pt x="0" y="48260"/>
                  </a:cubicBezTo>
                  <a:lnTo>
                    <a:pt x="0" y="0"/>
                  </a:lnTo>
                  <a:lnTo>
                    <a:pt x="1143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63F77448-36ED-4983-A4BB-CAF7E06CE2B2}"/>
                </a:ext>
              </a:extLst>
            </p:cNvPr>
            <p:cNvSpPr/>
            <p:nvPr/>
          </p:nvSpPr>
          <p:spPr>
            <a:xfrm>
              <a:off x="10826750" y="6403339"/>
              <a:ext cx="38100" cy="63500"/>
            </a:xfrm>
            <a:custGeom>
              <a:avLst/>
              <a:gdLst>
                <a:gd name="connsiteX0" fmla="*/ 0 w 38100"/>
                <a:gd name="connsiteY0" fmla="*/ 0 h 63500"/>
                <a:gd name="connsiteX1" fmla="*/ 0 w 38100"/>
                <a:gd name="connsiteY1" fmla="*/ 10160 h 63500"/>
                <a:gd name="connsiteX2" fmla="*/ 16510 w 38100"/>
                <a:gd name="connsiteY2" fmla="*/ 10160 h 63500"/>
                <a:gd name="connsiteX3" fmla="*/ 16510 w 38100"/>
                <a:gd name="connsiteY3" fmla="*/ 69850 h 63500"/>
                <a:gd name="connsiteX4" fmla="*/ 27940 w 38100"/>
                <a:gd name="connsiteY4" fmla="*/ 69850 h 63500"/>
                <a:gd name="connsiteX5" fmla="*/ 27940 w 38100"/>
                <a:gd name="connsiteY5" fmla="*/ 10160 h 63500"/>
                <a:gd name="connsiteX6" fmla="*/ 44450 w 38100"/>
                <a:gd name="connsiteY6" fmla="*/ 10160 h 63500"/>
                <a:gd name="connsiteX7" fmla="*/ 44450 w 38100"/>
                <a:gd name="connsiteY7" fmla="*/ 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" h="63500">
                  <a:moveTo>
                    <a:pt x="0" y="0"/>
                  </a:moveTo>
                  <a:lnTo>
                    <a:pt x="0" y="10160"/>
                  </a:lnTo>
                  <a:lnTo>
                    <a:pt x="16510" y="10160"/>
                  </a:lnTo>
                  <a:lnTo>
                    <a:pt x="16510" y="69850"/>
                  </a:lnTo>
                  <a:lnTo>
                    <a:pt x="27940" y="69850"/>
                  </a:lnTo>
                  <a:lnTo>
                    <a:pt x="27940" y="10160"/>
                  </a:lnTo>
                  <a:lnTo>
                    <a:pt x="44450" y="10160"/>
                  </a:lnTo>
                  <a:lnTo>
                    <a:pt x="4445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5DDF6ED-422C-4ABD-9D7A-13348E83AA83}"/>
                </a:ext>
              </a:extLst>
            </p:cNvPr>
            <p:cNvSpPr/>
            <p:nvPr/>
          </p:nvSpPr>
          <p:spPr>
            <a:xfrm>
              <a:off x="10867390" y="6403339"/>
              <a:ext cx="50800" cy="63500"/>
            </a:xfrm>
            <a:custGeom>
              <a:avLst/>
              <a:gdLst>
                <a:gd name="connsiteX0" fmla="*/ 19050 w 50800"/>
                <a:gd name="connsiteY0" fmla="*/ 0 h 63500"/>
                <a:gd name="connsiteX1" fmla="*/ 33020 w 50800"/>
                <a:gd name="connsiteY1" fmla="*/ 0 h 63500"/>
                <a:gd name="connsiteX2" fmla="*/ 52070 w 50800"/>
                <a:gd name="connsiteY2" fmla="*/ 69850 h 63500"/>
                <a:gd name="connsiteX3" fmla="*/ 40640 w 50800"/>
                <a:gd name="connsiteY3" fmla="*/ 69850 h 63500"/>
                <a:gd name="connsiteX4" fmla="*/ 36830 w 50800"/>
                <a:gd name="connsiteY4" fmla="*/ 52070 h 63500"/>
                <a:gd name="connsiteX5" fmla="*/ 16510 w 50800"/>
                <a:gd name="connsiteY5" fmla="*/ 52070 h 63500"/>
                <a:gd name="connsiteX6" fmla="*/ 11430 w 50800"/>
                <a:gd name="connsiteY6" fmla="*/ 69850 h 63500"/>
                <a:gd name="connsiteX7" fmla="*/ 0 w 50800"/>
                <a:gd name="connsiteY7" fmla="*/ 69850 h 63500"/>
                <a:gd name="connsiteX8" fmla="*/ 19050 w 50800"/>
                <a:gd name="connsiteY8" fmla="*/ 0 h 63500"/>
                <a:gd name="connsiteX9" fmla="*/ 33020 w 50800"/>
                <a:gd name="connsiteY9" fmla="*/ 44450 h 63500"/>
                <a:gd name="connsiteX10" fmla="*/ 25400 w 50800"/>
                <a:gd name="connsiteY10" fmla="*/ 10160 h 63500"/>
                <a:gd name="connsiteX11" fmla="*/ 25400 w 50800"/>
                <a:gd name="connsiteY11" fmla="*/ 10160 h 63500"/>
                <a:gd name="connsiteX12" fmla="*/ 17780 w 50800"/>
                <a:gd name="connsiteY12" fmla="*/ 44450 h 63500"/>
                <a:gd name="connsiteX13" fmla="*/ 33020 w 50800"/>
                <a:gd name="connsiteY13" fmla="*/ 4445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800" h="63500">
                  <a:moveTo>
                    <a:pt x="19050" y="0"/>
                  </a:moveTo>
                  <a:lnTo>
                    <a:pt x="33020" y="0"/>
                  </a:lnTo>
                  <a:lnTo>
                    <a:pt x="52070" y="69850"/>
                  </a:lnTo>
                  <a:lnTo>
                    <a:pt x="40640" y="69850"/>
                  </a:lnTo>
                  <a:lnTo>
                    <a:pt x="36830" y="52070"/>
                  </a:lnTo>
                  <a:lnTo>
                    <a:pt x="16510" y="52070"/>
                  </a:lnTo>
                  <a:lnTo>
                    <a:pt x="11430" y="69850"/>
                  </a:lnTo>
                  <a:lnTo>
                    <a:pt x="0" y="69850"/>
                  </a:lnTo>
                  <a:lnTo>
                    <a:pt x="19050" y="0"/>
                  </a:lnTo>
                  <a:close/>
                  <a:moveTo>
                    <a:pt x="33020" y="44450"/>
                  </a:moveTo>
                  <a:lnTo>
                    <a:pt x="25400" y="10160"/>
                  </a:lnTo>
                  <a:lnTo>
                    <a:pt x="25400" y="10160"/>
                  </a:lnTo>
                  <a:lnTo>
                    <a:pt x="17780" y="44450"/>
                  </a:lnTo>
                  <a:lnTo>
                    <a:pt x="33020" y="4445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2C8DDD0-EBD3-4D0E-B921-26FB18C6A706}"/>
                </a:ext>
              </a:extLst>
            </p:cNvPr>
            <p:cNvSpPr/>
            <p:nvPr/>
          </p:nvSpPr>
          <p:spPr>
            <a:xfrm>
              <a:off x="10923270" y="6403339"/>
              <a:ext cx="38100" cy="63500"/>
            </a:xfrm>
            <a:custGeom>
              <a:avLst/>
              <a:gdLst>
                <a:gd name="connsiteX0" fmla="*/ 0 w 38100"/>
                <a:gd name="connsiteY0" fmla="*/ 0 h 63500"/>
                <a:gd name="connsiteX1" fmla="*/ 11430 w 38100"/>
                <a:gd name="connsiteY1" fmla="*/ 0 h 63500"/>
                <a:gd name="connsiteX2" fmla="*/ 11430 w 38100"/>
                <a:gd name="connsiteY2" fmla="*/ 30480 h 63500"/>
                <a:gd name="connsiteX3" fmla="*/ 11430 w 38100"/>
                <a:gd name="connsiteY3" fmla="*/ 30480 h 63500"/>
                <a:gd name="connsiteX4" fmla="*/ 33020 w 38100"/>
                <a:gd name="connsiteY4" fmla="*/ 0 h 63500"/>
                <a:gd name="connsiteX5" fmla="*/ 45720 w 38100"/>
                <a:gd name="connsiteY5" fmla="*/ 0 h 63500"/>
                <a:gd name="connsiteX6" fmla="*/ 25400 w 38100"/>
                <a:gd name="connsiteY6" fmla="*/ 29210 h 63500"/>
                <a:gd name="connsiteX7" fmla="*/ 48261 w 38100"/>
                <a:gd name="connsiteY7" fmla="*/ 69850 h 63500"/>
                <a:gd name="connsiteX8" fmla="*/ 34290 w 38100"/>
                <a:gd name="connsiteY8" fmla="*/ 69850 h 63500"/>
                <a:gd name="connsiteX9" fmla="*/ 17780 w 38100"/>
                <a:gd name="connsiteY9" fmla="*/ 38100 h 63500"/>
                <a:gd name="connsiteX10" fmla="*/ 11430 w 38100"/>
                <a:gd name="connsiteY10" fmla="*/ 46990 h 63500"/>
                <a:gd name="connsiteX11" fmla="*/ 11430 w 38100"/>
                <a:gd name="connsiteY11" fmla="*/ 69850 h 63500"/>
                <a:gd name="connsiteX12" fmla="*/ 0 w 38100"/>
                <a:gd name="connsiteY12" fmla="*/ 6985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100" h="63500">
                  <a:moveTo>
                    <a:pt x="0" y="0"/>
                  </a:moveTo>
                  <a:lnTo>
                    <a:pt x="11430" y="0"/>
                  </a:lnTo>
                  <a:lnTo>
                    <a:pt x="11430" y="30480"/>
                  </a:lnTo>
                  <a:lnTo>
                    <a:pt x="11430" y="30480"/>
                  </a:lnTo>
                  <a:lnTo>
                    <a:pt x="33020" y="0"/>
                  </a:lnTo>
                  <a:lnTo>
                    <a:pt x="45720" y="0"/>
                  </a:lnTo>
                  <a:lnTo>
                    <a:pt x="25400" y="29210"/>
                  </a:lnTo>
                  <a:lnTo>
                    <a:pt x="48261" y="69850"/>
                  </a:lnTo>
                  <a:lnTo>
                    <a:pt x="34290" y="69850"/>
                  </a:lnTo>
                  <a:lnTo>
                    <a:pt x="17780" y="38100"/>
                  </a:lnTo>
                  <a:lnTo>
                    <a:pt x="11430" y="46990"/>
                  </a:lnTo>
                  <a:lnTo>
                    <a:pt x="11430" y="69850"/>
                  </a:lnTo>
                  <a:lnTo>
                    <a:pt x="0" y="6985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27171606-1724-4EF7-BE68-11D1F75948EA}"/>
                </a:ext>
              </a:extLst>
            </p:cNvPr>
            <p:cNvSpPr/>
            <p:nvPr/>
          </p:nvSpPr>
          <p:spPr>
            <a:xfrm>
              <a:off x="10974070" y="6403339"/>
              <a:ext cx="12700" cy="63500"/>
            </a:xfrm>
            <a:custGeom>
              <a:avLst/>
              <a:gdLst>
                <a:gd name="connsiteX0" fmla="*/ 0 w 0"/>
                <a:gd name="connsiteY0" fmla="*/ 0 h 63500"/>
                <a:gd name="connsiteX1" fmla="*/ 11430 w 0"/>
                <a:gd name="connsiteY1" fmla="*/ 0 h 63500"/>
                <a:gd name="connsiteX2" fmla="*/ 11430 w 0"/>
                <a:gd name="connsiteY2" fmla="*/ 69850 h 63500"/>
                <a:gd name="connsiteX3" fmla="*/ 0 w 0"/>
                <a:gd name="connsiteY3" fmla="*/ 6985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3500">
                  <a:moveTo>
                    <a:pt x="0" y="0"/>
                  </a:moveTo>
                  <a:lnTo>
                    <a:pt x="11430" y="0"/>
                  </a:lnTo>
                  <a:lnTo>
                    <a:pt x="11430" y="69850"/>
                  </a:lnTo>
                  <a:lnTo>
                    <a:pt x="0" y="6985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C2EB9642-734A-44A0-A8F2-BABF15DFCA7E}"/>
                </a:ext>
              </a:extLst>
            </p:cNvPr>
            <p:cNvSpPr/>
            <p:nvPr/>
          </p:nvSpPr>
          <p:spPr>
            <a:xfrm>
              <a:off x="10996930" y="6403339"/>
              <a:ext cx="38100" cy="63500"/>
            </a:xfrm>
            <a:custGeom>
              <a:avLst/>
              <a:gdLst>
                <a:gd name="connsiteX0" fmla="*/ 0 w 38100"/>
                <a:gd name="connsiteY0" fmla="*/ 0 h 63500"/>
                <a:gd name="connsiteX1" fmla="*/ 13970 w 38100"/>
                <a:gd name="connsiteY1" fmla="*/ 0 h 63500"/>
                <a:gd name="connsiteX2" fmla="*/ 34289 w 38100"/>
                <a:gd name="connsiteY2" fmla="*/ 52070 h 63500"/>
                <a:gd name="connsiteX3" fmla="*/ 34289 w 38100"/>
                <a:gd name="connsiteY3" fmla="*/ 52070 h 63500"/>
                <a:gd name="connsiteX4" fmla="*/ 34289 w 38100"/>
                <a:gd name="connsiteY4" fmla="*/ 0 h 63500"/>
                <a:gd name="connsiteX5" fmla="*/ 44450 w 38100"/>
                <a:gd name="connsiteY5" fmla="*/ 0 h 63500"/>
                <a:gd name="connsiteX6" fmla="*/ 44450 w 38100"/>
                <a:gd name="connsiteY6" fmla="*/ 69850 h 63500"/>
                <a:gd name="connsiteX7" fmla="*/ 30480 w 38100"/>
                <a:gd name="connsiteY7" fmla="*/ 69850 h 63500"/>
                <a:gd name="connsiteX8" fmla="*/ 10160 w 38100"/>
                <a:gd name="connsiteY8" fmla="*/ 16510 h 63500"/>
                <a:gd name="connsiteX9" fmla="*/ 10160 w 38100"/>
                <a:gd name="connsiteY9" fmla="*/ 16510 h 63500"/>
                <a:gd name="connsiteX10" fmla="*/ 10160 w 38100"/>
                <a:gd name="connsiteY10" fmla="*/ 69850 h 63500"/>
                <a:gd name="connsiteX11" fmla="*/ 0 w 38100"/>
                <a:gd name="connsiteY11" fmla="*/ 6985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63500">
                  <a:moveTo>
                    <a:pt x="0" y="0"/>
                  </a:moveTo>
                  <a:lnTo>
                    <a:pt x="13970" y="0"/>
                  </a:lnTo>
                  <a:lnTo>
                    <a:pt x="34289" y="52070"/>
                  </a:lnTo>
                  <a:lnTo>
                    <a:pt x="34289" y="52070"/>
                  </a:lnTo>
                  <a:lnTo>
                    <a:pt x="34289" y="0"/>
                  </a:lnTo>
                  <a:lnTo>
                    <a:pt x="44450" y="0"/>
                  </a:lnTo>
                  <a:lnTo>
                    <a:pt x="44450" y="69850"/>
                  </a:lnTo>
                  <a:lnTo>
                    <a:pt x="30480" y="69850"/>
                  </a:lnTo>
                  <a:lnTo>
                    <a:pt x="10160" y="16510"/>
                  </a:lnTo>
                  <a:lnTo>
                    <a:pt x="10160" y="16510"/>
                  </a:lnTo>
                  <a:lnTo>
                    <a:pt x="10160" y="69850"/>
                  </a:lnTo>
                  <a:lnTo>
                    <a:pt x="0" y="6985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5518FAE-9511-49A0-B0AB-97A1FBEA723C}"/>
                </a:ext>
              </a:extLst>
            </p:cNvPr>
            <p:cNvSpPr/>
            <p:nvPr/>
          </p:nvSpPr>
          <p:spPr>
            <a:xfrm>
              <a:off x="11052810" y="6400661"/>
              <a:ext cx="38100" cy="63500"/>
            </a:xfrm>
            <a:custGeom>
              <a:avLst/>
              <a:gdLst>
                <a:gd name="connsiteX0" fmla="*/ 35560 w 38100"/>
                <a:gd name="connsiteY0" fmla="*/ 64908 h 63500"/>
                <a:gd name="connsiteX1" fmla="*/ 35560 w 38100"/>
                <a:gd name="connsiteY1" fmla="*/ 64908 h 63500"/>
                <a:gd name="connsiteX2" fmla="*/ 20320 w 38100"/>
                <a:gd name="connsiteY2" fmla="*/ 73798 h 63500"/>
                <a:gd name="connsiteX3" fmla="*/ 0 w 38100"/>
                <a:gd name="connsiteY3" fmla="*/ 36968 h 63500"/>
                <a:gd name="connsiteX4" fmla="*/ 22860 w 38100"/>
                <a:gd name="connsiteY4" fmla="*/ 138 h 63500"/>
                <a:gd name="connsiteX5" fmla="*/ 43180 w 38100"/>
                <a:gd name="connsiteY5" fmla="*/ 17918 h 63500"/>
                <a:gd name="connsiteX6" fmla="*/ 43180 w 38100"/>
                <a:gd name="connsiteY6" fmla="*/ 20458 h 63500"/>
                <a:gd name="connsiteX7" fmla="*/ 43180 w 38100"/>
                <a:gd name="connsiteY7" fmla="*/ 21728 h 63500"/>
                <a:gd name="connsiteX8" fmla="*/ 33020 w 38100"/>
                <a:gd name="connsiteY8" fmla="*/ 21728 h 63500"/>
                <a:gd name="connsiteX9" fmla="*/ 33020 w 38100"/>
                <a:gd name="connsiteY9" fmla="*/ 20458 h 63500"/>
                <a:gd name="connsiteX10" fmla="*/ 22860 w 38100"/>
                <a:gd name="connsiteY10" fmla="*/ 9028 h 63500"/>
                <a:gd name="connsiteX11" fmla="*/ 10160 w 38100"/>
                <a:gd name="connsiteY11" fmla="*/ 36968 h 63500"/>
                <a:gd name="connsiteX12" fmla="*/ 21590 w 38100"/>
                <a:gd name="connsiteY12" fmla="*/ 64908 h 63500"/>
                <a:gd name="connsiteX13" fmla="*/ 33020 w 38100"/>
                <a:gd name="connsiteY13" fmla="*/ 43318 h 63500"/>
                <a:gd name="connsiteX14" fmla="*/ 21590 w 38100"/>
                <a:gd name="connsiteY14" fmla="*/ 43318 h 63500"/>
                <a:gd name="connsiteX15" fmla="*/ 21590 w 38100"/>
                <a:gd name="connsiteY15" fmla="*/ 34428 h 63500"/>
                <a:gd name="connsiteX16" fmla="*/ 44450 w 38100"/>
                <a:gd name="connsiteY16" fmla="*/ 34428 h 63500"/>
                <a:gd name="connsiteX17" fmla="*/ 44450 w 38100"/>
                <a:gd name="connsiteY17" fmla="*/ 71258 h 63500"/>
                <a:gd name="connsiteX18" fmla="*/ 35560 w 38100"/>
                <a:gd name="connsiteY18" fmla="*/ 71258 h 63500"/>
                <a:gd name="connsiteX19" fmla="*/ 35560 w 38100"/>
                <a:gd name="connsiteY19" fmla="*/ 64908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8100" h="63500">
                  <a:moveTo>
                    <a:pt x="35560" y="64908"/>
                  </a:moveTo>
                  <a:lnTo>
                    <a:pt x="35560" y="64908"/>
                  </a:lnTo>
                  <a:cubicBezTo>
                    <a:pt x="33020" y="71258"/>
                    <a:pt x="26670" y="75068"/>
                    <a:pt x="20320" y="73798"/>
                  </a:cubicBezTo>
                  <a:cubicBezTo>
                    <a:pt x="5080" y="73798"/>
                    <a:pt x="0" y="62368"/>
                    <a:pt x="0" y="36968"/>
                  </a:cubicBezTo>
                  <a:cubicBezTo>
                    <a:pt x="0" y="11568"/>
                    <a:pt x="7620" y="138"/>
                    <a:pt x="22860" y="138"/>
                  </a:cubicBezTo>
                  <a:cubicBezTo>
                    <a:pt x="33020" y="-1132"/>
                    <a:pt x="43180" y="6488"/>
                    <a:pt x="43180" y="17918"/>
                  </a:cubicBezTo>
                  <a:cubicBezTo>
                    <a:pt x="43180" y="19188"/>
                    <a:pt x="43180" y="19188"/>
                    <a:pt x="43180" y="20458"/>
                  </a:cubicBezTo>
                  <a:lnTo>
                    <a:pt x="43180" y="21728"/>
                  </a:lnTo>
                  <a:lnTo>
                    <a:pt x="33020" y="21728"/>
                  </a:lnTo>
                  <a:lnTo>
                    <a:pt x="33020" y="20458"/>
                  </a:lnTo>
                  <a:cubicBezTo>
                    <a:pt x="33020" y="15378"/>
                    <a:pt x="30480" y="9028"/>
                    <a:pt x="22860" y="9028"/>
                  </a:cubicBezTo>
                  <a:cubicBezTo>
                    <a:pt x="15240" y="9028"/>
                    <a:pt x="10160" y="14108"/>
                    <a:pt x="10160" y="36968"/>
                  </a:cubicBezTo>
                  <a:cubicBezTo>
                    <a:pt x="10160" y="59828"/>
                    <a:pt x="13970" y="64908"/>
                    <a:pt x="21590" y="64908"/>
                  </a:cubicBezTo>
                  <a:cubicBezTo>
                    <a:pt x="29210" y="64908"/>
                    <a:pt x="33020" y="58558"/>
                    <a:pt x="33020" y="43318"/>
                  </a:cubicBezTo>
                  <a:lnTo>
                    <a:pt x="21590" y="43318"/>
                  </a:lnTo>
                  <a:lnTo>
                    <a:pt x="21590" y="34428"/>
                  </a:lnTo>
                  <a:lnTo>
                    <a:pt x="44450" y="34428"/>
                  </a:lnTo>
                  <a:lnTo>
                    <a:pt x="44450" y="71258"/>
                  </a:lnTo>
                  <a:lnTo>
                    <a:pt x="35560" y="71258"/>
                  </a:lnTo>
                  <a:lnTo>
                    <a:pt x="35560" y="6490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D07B5978-B540-4063-9174-FBF7F85106DB}"/>
                </a:ext>
              </a:extLst>
            </p:cNvPr>
            <p:cNvSpPr/>
            <p:nvPr/>
          </p:nvSpPr>
          <p:spPr>
            <a:xfrm>
              <a:off x="11404600" y="6287769"/>
              <a:ext cx="88900" cy="101600"/>
            </a:xfrm>
            <a:custGeom>
              <a:avLst/>
              <a:gdLst>
                <a:gd name="connsiteX0" fmla="*/ 48260 w 88900"/>
                <a:gd name="connsiteY0" fmla="*/ 0 h 101600"/>
                <a:gd name="connsiteX1" fmla="*/ 0 w 88900"/>
                <a:gd name="connsiteY1" fmla="*/ 62230 h 101600"/>
                <a:gd name="connsiteX2" fmla="*/ 0 w 88900"/>
                <a:gd name="connsiteY2" fmla="*/ 104140 h 101600"/>
                <a:gd name="connsiteX3" fmla="*/ 48260 w 88900"/>
                <a:gd name="connsiteY3" fmla="*/ 40640 h 101600"/>
                <a:gd name="connsiteX4" fmla="*/ 99060 w 88900"/>
                <a:gd name="connsiteY4" fmla="*/ 104140 h 101600"/>
                <a:gd name="connsiteX5" fmla="*/ 99060 w 88900"/>
                <a:gd name="connsiteY5" fmla="*/ 6477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8900" h="101600">
                  <a:moveTo>
                    <a:pt x="48260" y="0"/>
                  </a:moveTo>
                  <a:lnTo>
                    <a:pt x="0" y="62230"/>
                  </a:lnTo>
                  <a:lnTo>
                    <a:pt x="0" y="104140"/>
                  </a:lnTo>
                  <a:lnTo>
                    <a:pt x="48260" y="40640"/>
                  </a:lnTo>
                  <a:lnTo>
                    <a:pt x="99060" y="104140"/>
                  </a:lnTo>
                  <a:lnTo>
                    <a:pt x="99060" y="6477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12795B38-5251-435E-8AE0-87421CC71FD5}"/>
                </a:ext>
              </a:extLst>
            </p:cNvPr>
            <p:cNvSpPr/>
            <p:nvPr/>
          </p:nvSpPr>
          <p:spPr>
            <a:xfrm>
              <a:off x="11121390" y="6403339"/>
              <a:ext cx="88900" cy="152400"/>
            </a:xfrm>
            <a:custGeom>
              <a:avLst/>
              <a:gdLst>
                <a:gd name="connsiteX0" fmla="*/ 67310 w 88900"/>
                <a:gd name="connsiteY0" fmla="*/ 0 h 152400"/>
                <a:gd name="connsiteX1" fmla="*/ 67310 w 88900"/>
                <a:gd name="connsiteY1" fmla="*/ 58420 h 152400"/>
                <a:gd name="connsiteX2" fmla="*/ 31750 w 88900"/>
                <a:gd name="connsiteY2" fmla="*/ 58420 h 152400"/>
                <a:gd name="connsiteX3" fmla="*/ 31750 w 88900"/>
                <a:gd name="connsiteY3" fmla="*/ 0 h 152400"/>
                <a:gd name="connsiteX4" fmla="*/ 0 w 88900"/>
                <a:gd name="connsiteY4" fmla="*/ 0 h 152400"/>
                <a:gd name="connsiteX5" fmla="*/ 0 w 88900"/>
                <a:gd name="connsiteY5" fmla="*/ 152400 h 152400"/>
                <a:gd name="connsiteX6" fmla="*/ 31750 w 88900"/>
                <a:gd name="connsiteY6" fmla="*/ 152400 h 152400"/>
                <a:gd name="connsiteX7" fmla="*/ 31750 w 88900"/>
                <a:gd name="connsiteY7" fmla="*/ 85090 h 152400"/>
                <a:gd name="connsiteX8" fmla="*/ 67310 w 88900"/>
                <a:gd name="connsiteY8" fmla="*/ 85090 h 152400"/>
                <a:gd name="connsiteX9" fmla="*/ 67310 w 88900"/>
                <a:gd name="connsiteY9" fmla="*/ 152400 h 152400"/>
                <a:gd name="connsiteX10" fmla="*/ 99060 w 88900"/>
                <a:gd name="connsiteY10" fmla="*/ 152400 h 152400"/>
                <a:gd name="connsiteX11" fmla="*/ 99060 w 88900"/>
                <a:gd name="connsiteY11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900" h="152400">
                  <a:moveTo>
                    <a:pt x="67310" y="0"/>
                  </a:moveTo>
                  <a:lnTo>
                    <a:pt x="67310" y="58420"/>
                  </a:lnTo>
                  <a:lnTo>
                    <a:pt x="31750" y="58420"/>
                  </a:lnTo>
                  <a:lnTo>
                    <a:pt x="31750" y="0"/>
                  </a:lnTo>
                  <a:lnTo>
                    <a:pt x="0" y="0"/>
                  </a:lnTo>
                  <a:lnTo>
                    <a:pt x="0" y="152400"/>
                  </a:lnTo>
                  <a:lnTo>
                    <a:pt x="31750" y="152400"/>
                  </a:lnTo>
                  <a:lnTo>
                    <a:pt x="31750" y="85090"/>
                  </a:lnTo>
                  <a:lnTo>
                    <a:pt x="67310" y="85090"/>
                  </a:lnTo>
                  <a:lnTo>
                    <a:pt x="67310" y="152400"/>
                  </a:lnTo>
                  <a:lnTo>
                    <a:pt x="99060" y="152400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36837696-2845-4BB2-BC75-7385D71E82E8}"/>
                </a:ext>
              </a:extLst>
            </p:cNvPr>
            <p:cNvSpPr/>
            <p:nvPr/>
          </p:nvSpPr>
          <p:spPr>
            <a:xfrm>
              <a:off x="11239500" y="6403339"/>
              <a:ext cx="25400" cy="152400"/>
            </a:xfrm>
            <a:custGeom>
              <a:avLst/>
              <a:gdLst>
                <a:gd name="connsiteX0" fmla="*/ 0 w 25400"/>
                <a:gd name="connsiteY0" fmla="*/ 0 h 152400"/>
                <a:gd name="connsiteX1" fmla="*/ 30480 w 25400"/>
                <a:gd name="connsiteY1" fmla="*/ 0 h 152400"/>
                <a:gd name="connsiteX2" fmla="*/ 30480 w 25400"/>
                <a:gd name="connsiteY2" fmla="*/ 153670 h 152400"/>
                <a:gd name="connsiteX3" fmla="*/ 0 w 25400"/>
                <a:gd name="connsiteY3" fmla="*/ 15367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00" h="152400">
                  <a:moveTo>
                    <a:pt x="0" y="0"/>
                  </a:moveTo>
                  <a:lnTo>
                    <a:pt x="30480" y="0"/>
                  </a:lnTo>
                  <a:lnTo>
                    <a:pt x="30480" y="153670"/>
                  </a:lnTo>
                  <a:lnTo>
                    <a:pt x="0" y="15367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5911526F-BE11-459C-A72F-BA882FFD23AA}"/>
                </a:ext>
              </a:extLst>
            </p:cNvPr>
            <p:cNvSpPr/>
            <p:nvPr/>
          </p:nvSpPr>
          <p:spPr>
            <a:xfrm>
              <a:off x="11289030" y="6399529"/>
              <a:ext cx="88900" cy="152400"/>
            </a:xfrm>
            <a:custGeom>
              <a:avLst/>
              <a:gdLst>
                <a:gd name="connsiteX0" fmla="*/ 68580 w 88900"/>
                <a:gd name="connsiteY0" fmla="*/ 48260 h 152400"/>
                <a:gd name="connsiteX1" fmla="*/ 50800 w 88900"/>
                <a:gd name="connsiteY1" fmla="*/ 22860 h 152400"/>
                <a:gd name="connsiteX2" fmla="*/ 29210 w 88900"/>
                <a:gd name="connsiteY2" fmla="*/ 76200 h 152400"/>
                <a:gd name="connsiteX3" fmla="*/ 50800 w 88900"/>
                <a:gd name="connsiteY3" fmla="*/ 135890 h 152400"/>
                <a:gd name="connsiteX4" fmla="*/ 69850 w 88900"/>
                <a:gd name="connsiteY4" fmla="*/ 111760 h 152400"/>
                <a:gd name="connsiteX5" fmla="*/ 69850 w 88900"/>
                <a:gd name="connsiteY5" fmla="*/ 95250 h 152400"/>
                <a:gd name="connsiteX6" fmla="*/ 49530 w 88900"/>
                <a:gd name="connsiteY6" fmla="*/ 95250 h 152400"/>
                <a:gd name="connsiteX7" fmla="*/ 49530 w 88900"/>
                <a:gd name="connsiteY7" fmla="*/ 72390 h 152400"/>
                <a:gd name="connsiteX8" fmla="*/ 100330 w 88900"/>
                <a:gd name="connsiteY8" fmla="*/ 72390 h 152400"/>
                <a:gd name="connsiteX9" fmla="*/ 100330 w 88900"/>
                <a:gd name="connsiteY9" fmla="*/ 154940 h 152400"/>
                <a:gd name="connsiteX10" fmla="*/ 77470 w 88900"/>
                <a:gd name="connsiteY10" fmla="*/ 154940 h 152400"/>
                <a:gd name="connsiteX11" fmla="*/ 77470 w 88900"/>
                <a:gd name="connsiteY11" fmla="*/ 140970 h 152400"/>
                <a:gd name="connsiteX12" fmla="*/ 77470 w 88900"/>
                <a:gd name="connsiteY12" fmla="*/ 140970 h 152400"/>
                <a:gd name="connsiteX13" fmla="*/ 45720 w 88900"/>
                <a:gd name="connsiteY13" fmla="*/ 158750 h 152400"/>
                <a:gd name="connsiteX14" fmla="*/ 0 w 88900"/>
                <a:gd name="connsiteY14" fmla="*/ 77470 h 152400"/>
                <a:gd name="connsiteX15" fmla="*/ 52070 w 88900"/>
                <a:gd name="connsiteY15" fmla="*/ 0 h 152400"/>
                <a:gd name="connsiteX16" fmla="*/ 100330 w 88900"/>
                <a:gd name="connsiteY16" fmla="*/ 48260 h 152400"/>
                <a:gd name="connsiteX17" fmla="*/ 68580 w 88900"/>
                <a:gd name="connsiteY17" fmla="*/ 4826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8900" h="152400">
                  <a:moveTo>
                    <a:pt x="68580" y="48260"/>
                  </a:moveTo>
                  <a:cubicBezTo>
                    <a:pt x="68580" y="36830"/>
                    <a:pt x="63500" y="22860"/>
                    <a:pt x="50800" y="22860"/>
                  </a:cubicBezTo>
                  <a:cubicBezTo>
                    <a:pt x="35560" y="22860"/>
                    <a:pt x="29210" y="38100"/>
                    <a:pt x="29210" y="76200"/>
                  </a:cubicBezTo>
                  <a:cubicBezTo>
                    <a:pt x="29210" y="113030"/>
                    <a:pt x="33020" y="135890"/>
                    <a:pt x="50800" y="135890"/>
                  </a:cubicBezTo>
                  <a:cubicBezTo>
                    <a:pt x="62230" y="134620"/>
                    <a:pt x="71120" y="123190"/>
                    <a:pt x="69850" y="111760"/>
                  </a:cubicBezTo>
                  <a:lnTo>
                    <a:pt x="69850" y="95250"/>
                  </a:lnTo>
                  <a:lnTo>
                    <a:pt x="49530" y="95250"/>
                  </a:lnTo>
                  <a:lnTo>
                    <a:pt x="49530" y="72390"/>
                  </a:lnTo>
                  <a:lnTo>
                    <a:pt x="100330" y="72390"/>
                  </a:lnTo>
                  <a:lnTo>
                    <a:pt x="100330" y="154940"/>
                  </a:lnTo>
                  <a:lnTo>
                    <a:pt x="77470" y="154940"/>
                  </a:lnTo>
                  <a:lnTo>
                    <a:pt x="77470" y="140970"/>
                  </a:lnTo>
                  <a:lnTo>
                    <a:pt x="77470" y="140970"/>
                  </a:lnTo>
                  <a:cubicBezTo>
                    <a:pt x="71120" y="152400"/>
                    <a:pt x="58420" y="158750"/>
                    <a:pt x="45720" y="158750"/>
                  </a:cubicBezTo>
                  <a:cubicBezTo>
                    <a:pt x="7620" y="158750"/>
                    <a:pt x="0" y="130810"/>
                    <a:pt x="0" y="77470"/>
                  </a:cubicBezTo>
                  <a:cubicBezTo>
                    <a:pt x="0" y="25400"/>
                    <a:pt x="12700" y="0"/>
                    <a:pt x="52070" y="0"/>
                  </a:cubicBezTo>
                  <a:cubicBezTo>
                    <a:pt x="86360" y="0"/>
                    <a:pt x="100330" y="17780"/>
                    <a:pt x="100330" y="48260"/>
                  </a:cubicBezTo>
                  <a:lnTo>
                    <a:pt x="68580" y="4826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1A7BE8D-7BD1-4357-9CB7-982C3EB37C4B}"/>
                </a:ext>
              </a:extLst>
            </p:cNvPr>
            <p:cNvSpPr/>
            <p:nvPr/>
          </p:nvSpPr>
          <p:spPr>
            <a:xfrm>
              <a:off x="11404600" y="6403339"/>
              <a:ext cx="88900" cy="152400"/>
            </a:xfrm>
            <a:custGeom>
              <a:avLst/>
              <a:gdLst>
                <a:gd name="connsiteX0" fmla="*/ 67310 w 88900"/>
                <a:gd name="connsiteY0" fmla="*/ 0 h 152400"/>
                <a:gd name="connsiteX1" fmla="*/ 67310 w 88900"/>
                <a:gd name="connsiteY1" fmla="*/ 58420 h 152400"/>
                <a:gd name="connsiteX2" fmla="*/ 31750 w 88900"/>
                <a:gd name="connsiteY2" fmla="*/ 58420 h 152400"/>
                <a:gd name="connsiteX3" fmla="*/ 31750 w 88900"/>
                <a:gd name="connsiteY3" fmla="*/ 0 h 152400"/>
                <a:gd name="connsiteX4" fmla="*/ 0 w 88900"/>
                <a:gd name="connsiteY4" fmla="*/ 0 h 152400"/>
                <a:gd name="connsiteX5" fmla="*/ 0 w 88900"/>
                <a:gd name="connsiteY5" fmla="*/ 152400 h 152400"/>
                <a:gd name="connsiteX6" fmla="*/ 31750 w 88900"/>
                <a:gd name="connsiteY6" fmla="*/ 152400 h 152400"/>
                <a:gd name="connsiteX7" fmla="*/ 31750 w 88900"/>
                <a:gd name="connsiteY7" fmla="*/ 85090 h 152400"/>
                <a:gd name="connsiteX8" fmla="*/ 67310 w 88900"/>
                <a:gd name="connsiteY8" fmla="*/ 85090 h 152400"/>
                <a:gd name="connsiteX9" fmla="*/ 67310 w 88900"/>
                <a:gd name="connsiteY9" fmla="*/ 152400 h 152400"/>
                <a:gd name="connsiteX10" fmla="*/ 99060 w 88900"/>
                <a:gd name="connsiteY10" fmla="*/ 152400 h 152400"/>
                <a:gd name="connsiteX11" fmla="*/ 99060 w 88900"/>
                <a:gd name="connsiteY11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900" h="152400">
                  <a:moveTo>
                    <a:pt x="67310" y="0"/>
                  </a:moveTo>
                  <a:lnTo>
                    <a:pt x="67310" y="58420"/>
                  </a:lnTo>
                  <a:lnTo>
                    <a:pt x="31750" y="58420"/>
                  </a:lnTo>
                  <a:lnTo>
                    <a:pt x="31750" y="0"/>
                  </a:lnTo>
                  <a:lnTo>
                    <a:pt x="0" y="0"/>
                  </a:lnTo>
                  <a:lnTo>
                    <a:pt x="0" y="152400"/>
                  </a:lnTo>
                  <a:lnTo>
                    <a:pt x="31750" y="152400"/>
                  </a:lnTo>
                  <a:lnTo>
                    <a:pt x="31750" y="85090"/>
                  </a:lnTo>
                  <a:lnTo>
                    <a:pt x="67310" y="85090"/>
                  </a:lnTo>
                  <a:lnTo>
                    <a:pt x="67310" y="152400"/>
                  </a:lnTo>
                  <a:lnTo>
                    <a:pt x="99060" y="152400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FA8052F3-3CE5-45DC-8358-4439BA29C365}"/>
                </a:ext>
              </a:extLst>
            </p:cNvPr>
            <p:cNvSpPr/>
            <p:nvPr/>
          </p:nvSpPr>
          <p:spPr>
            <a:xfrm>
              <a:off x="11520170" y="6403339"/>
              <a:ext cx="88900" cy="152400"/>
            </a:xfrm>
            <a:custGeom>
              <a:avLst/>
              <a:gdLst>
                <a:gd name="connsiteX0" fmla="*/ 0 w 88900"/>
                <a:gd name="connsiteY0" fmla="*/ 0 h 152400"/>
                <a:gd name="connsiteX1" fmla="*/ 0 w 88900"/>
                <a:gd name="connsiteY1" fmla="*/ 152400 h 152400"/>
                <a:gd name="connsiteX2" fmla="*/ 88900 w 88900"/>
                <a:gd name="connsiteY2" fmla="*/ 152400 h 152400"/>
                <a:gd name="connsiteX3" fmla="*/ 88900 w 88900"/>
                <a:gd name="connsiteY3" fmla="*/ 127000 h 152400"/>
                <a:gd name="connsiteX4" fmla="*/ 31750 w 88900"/>
                <a:gd name="connsiteY4" fmla="*/ 127000 h 152400"/>
                <a:gd name="connsiteX5" fmla="*/ 31750 w 88900"/>
                <a:gd name="connsiteY5" fmla="*/ 86360 h 152400"/>
                <a:gd name="connsiteX6" fmla="*/ 83820 w 88900"/>
                <a:gd name="connsiteY6" fmla="*/ 86360 h 152400"/>
                <a:gd name="connsiteX7" fmla="*/ 83820 w 88900"/>
                <a:gd name="connsiteY7" fmla="*/ 60960 h 152400"/>
                <a:gd name="connsiteX8" fmla="*/ 31750 w 88900"/>
                <a:gd name="connsiteY8" fmla="*/ 60960 h 152400"/>
                <a:gd name="connsiteX9" fmla="*/ 31750 w 88900"/>
                <a:gd name="connsiteY9" fmla="*/ 25400 h 152400"/>
                <a:gd name="connsiteX10" fmla="*/ 86361 w 88900"/>
                <a:gd name="connsiteY10" fmla="*/ 25400 h 152400"/>
                <a:gd name="connsiteX11" fmla="*/ 86361 w 88900"/>
                <a:gd name="connsiteY11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900" h="152400">
                  <a:moveTo>
                    <a:pt x="0" y="0"/>
                  </a:moveTo>
                  <a:lnTo>
                    <a:pt x="0" y="152400"/>
                  </a:lnTo>
                  <a:lnTo>
                    <a:pt x="88900" y="152400"/>
                  </a:lnTo>
                  <a:lnTo>
                    <a:pt x="88900" y="127000"/>
                  </a:lnTo>
                  <a:lnTo>
                    <a:pt x="31750" y="127000"/>
                  </a:lnTo>
                  <a:lnTo>
                    <a:pt x="31750" y="86360"/>
                  </a:lnTo>
                  <a:lnTo>
                    <a:pt x="83820" y="86360"/>
                  </a:lnTo>
                  <a:lnTo>
                    <a:pt x="83820" y="60960"/>
                  </a:lnTo>
                  <a:lnTo>
                    <a:pt x="31750" y="60960"/>
                  </a:lnTo>
                  <a:lnTo>
                    <a:pt x="31750" y="25400"/>
                  </a:lnTo>
                  <a:lnTo>
                    <a:pt x="86361" y="25400"/>
                  </a:lnTo>
                  <a:lnTo>
                    <a:pt x="86361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ABDFBC92-24FE-4F2C-8925-6643C90C83B1}"/>
                </a:ext>
              </a:extLst>
            </p:cNvPr>
            <p:cNvSpPr/>
            <p:nvPr/>
          </p:nvSpPr>
          <p:spPr>
            <a:xfrm>
              <a:off x="11620500" y="6403339"/>
              <a:ext cx="101600" cy="152400"/>
            </a:xfrm>
            <a:custGeom>
              <a:avLst/>
              <a:gdLst>
                <a:gd name="connsiteX0" fmla="*/ 0 w 101600"/>
                <a:gd name="connsiteY0" fmla="*/ 0 h 152400"/>
                <a:gd name="connsiteX1" fmla="*/ 57150 w 101600"/>
                <a:gd name="connsiteY1" fmla="*/ 0 h 152400"/>
                <a:gd name="connsiteX2" fmla="*/ 97790 w 101600"/>
                <a:gd name="connsiteY2" fmla="*/ 39370 h 152400"/>
                <a:gd name="connsiteX3" fmla="*/ 72390 w 101600"/>
                <a:gd name="connsiteY3" fmla="*/ 77470 h 152400"/>
                <a:gd name="connsiteX4" fmla="*/ 72390 w 101600"/>
                <a:gd name="connsiteY4" fmla="*/ 77470 h 152400"/>
                <a:gd name="connsiteX5" fmla="*/ 97790 w 101600"/>
                <a:gd name="connsiteY5" fmla="*/ 124460 h 152400"/>
                <a:gd name="connsiteX6" fmla="*/ 104140 w 101600"/>
                <a:gd name="connsiteY6" fmla="*/ 152400 h 152400"/>
                <a:gd name="connsiteX7" fmla="*/ 104140 w 101600"/>
                <a:gd name="connsiteY7" fmla="*/ 153670 h 152400"/>
                <a:gd name="connsiteX8" fmla="*/ 69850 w 101600"/>
                <a:gd name="connsiteY8" fmla="*/ 153670 h 152400"/>
                <a:gd name="connsiteX9" fmla="*/ 66040 w 101600"/>
                <a:gd name="connsiteY9" fmla="*/ 137160 h 152400"/>
                <a:gd name="connsiteX10" fmla="*/ 64770 w 101600"/>
                <a:gd name="connsiteY10" fmla="*/ 107950 h 152400"/>
                <a:gd name="connsiteX11" fmla="*/ 46990 w 101600"/>
                <a:gd name="connsiteY11" fmla="*/ 88900 h 152400"/>
                <a:gd name="connsiteX12" fmla="*/ 30480 w 101600"/>
                <a:gd name="connsiteY12" fmla="*/ 88900 h 152400"/>
                <a:gd name="connsiteX13" fmla="*/ 30480 w 101600"/>
                <a:gd name="connsiteY13" fmla="*/ 153670 h 152400"/>
                <a:gd name="connsiteX14" fmla="*/ 0 w 101600"/>
                <a:gd name="connsiteY14" fmla="*/ 153670 h 152400"/>
                <a:gd name="connsiteX15" fmla="*/ 0 w 101600"/>
                <a:gd name="connsiteY15" fmla="*/ 0 h 152400"/>
                <a:gd name="connsiteX16" fmla="*/ 30480 w 101600"/>
                <a:gd name="connsiteY16" fmla="*/ 66040 h 152400"/>
                <a:gd name="connsiteX17" fmla="*/ 43180 w 101600"/>
                <a:gd name="connsiteY17" fmla="*/ 66040 h 152400"/>
                <a:gd name="connsiteX18" fmla="*/ 66040 w 101600"/>
                <a:gd name="connsiteY18" fmla="*/ 43180 h 152400"/>
                <a:gd name="connsiteX19" fmla="*/ 49530 w 101600"/>
                <a:gd name="connsiteY19" fmla="*/ 21590 h 152400"/>
                <a:gd name="connsiteX20" fmla="*/ 44450 w 101600"/>
                <a:gd name="connsiteY20" fmla="*/ 21590 h 152400"/>
                <a:gd name="connsiteX21" fmla="*/ 29210 w 101600"/>
                <a:gd name="connsiteY21" fmla="*/ 21590 h 152400"/>
                <a:gd name="connsiteX22" fmla="*/ 30480 w 101600"/>
                <a:gd name="connsiteY22" fmla="*/ 6604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1600" h="152400">
                  <a:moveTo>
                    <a:pt x="0" y="0"/>
                  </a:moveTo>
                  <a:lnTo>
                    <a:pt x="57150" y="0"/>
                  </a:lnTo>
                  <a:cubicBezTo>
                    <a:pt x="82550" y="0"/>
                    <a:pt x="97790" y="12700"/>
                    <a:pt x="97790" y="39370"/>
                  </a:cubicBezTo>
                  <a:cubicBezTo>
                    <a:pt x="97790" y="59690"/>
                    <a:pt x="90170" y="73660"/>
                    <a:pt x="72390" y="77470"/>
                  </a:cubicBezTo>
                  <a:lnTo>
                    <a:pt x="72390" y="77470"/>
                  </a:lnTo>
                  <a:cubicBezTo>
                    <a:pt x="93980" y="80010"/>
                    <a:pt x="96520" y="91440"/>
                    <a:pt x="97790" y="124460"/>
                  </a:cubicBezTo>
                  <a:cubicBezTo>
                    <a:pt x="97790" y="140970"/>
                    <a:pt x="99060" y="148590"/>
                    <a:pt x="104140" y="152400"/>
                  </a:cubicBezTo>
                  <a:lnTo>
                    <a:pt x="104140" y="153670"/>
                  </a:lnTo>
                  <a:lnTo>
                    <a:pt x="69850" y="153670"/>
                  </a:lnTo>
                  <a:cubicBezTo>
                    <a:pt x="67310" y="148590"/>
                    <a:pt x="66040" y="143510"/>
                    <a:pt x="66040" y="137160"/>
                  </a:cubicBezTo>
                  <a:lnTo>
                    <a:pt x="64770" y="107950"/>
                  </a:lnTo>
                  <a:cubicBezTo>
                    <a:pt x="64770" y="96520"/>
                    <a:pt x="58420" y="88900"/>
                    <a:pt x="46990" y="88900"/>
                  </a:cubicBezTo>
                  <a:lnTo>
                    <a:pt x="30480" y="88900"/>
                  </a:lnTo>
                  <a:lnTo>
                    <a:pt x="30480" y="153670"/>
                  </a:lnTo>
                  <a:lnTo>
                    <a:pt x="0" y="153670"/>
                  </a:lnTo>
                  <a:lnTo>
                    <a:pt x="0" y="0"/>
                  </a:lnTo>
                  <a:close/>
                  <a:moveTo>
                    <a:pt x="30480" y="66040"/>
                  </a:moveTo>
                  <a:lnTo>
                    <a:pt x="43180" y="66040"/>
                  </a:lnTo>
                  <a:cubicBezTo>
                    <a:pt x="58420" y="66040"/>
                    <a:pt x="66040" y="59690"/>
                    <a:pt x="66040" y="43180"/>
                  </a:cubicBezTo>
                  <a:cubicBezTo>
                    <a:pt x="67310" y="33020"/>
                    <a:pt x="59690" y="22860"/>
                    <a:pt x="49530" y="21590"/>
                  </a:cubicBezTo>
                  <a:cubicBezTo>
                    <a:pt x="48260" y="21590"/>
                    <a:pt x="45720" y="21590"/>
                    <a:pt x="44450" y="21590"/>
                  </a:cubicBezTo>
                  <a:lnTo>
                    <a:pt x="29210" y="21590"/>
                  </a:lnTo>
                  <a:lnTo>
                    <a:pt x="30480" y="6604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9F48266-F59F-4F12-8BA8-469BA8585EDB}"/>
                </a:ext>
              </a:extLst>
            </p:cNvPr>
            <p:cNvSpPr/>
            <p:nvPr/>
          </p:nvSpPr>
          <p:spPr>
            <a:xfrm>
              <a:off x="11728450" y="6527637"/>
              <a:ext cx="25400" cy="25400"/>
            </a:xfrm>
            <a:custGeom>
              <a:avLst/>
              <a:gdLst>
                <a:gd name="connsiteX0" fmla="*/ 29210 w 25400"/>
                <a:gd name="connsiteY0" fmla="*/ 14132 h 25400"/>
                <a:gd name="connsiteX1" fmla="*/ 15240 w 25400"/>
                <a:gd name="connsiteY1" fmla="*/ 29372 h 25400"/>
                <a:gd name="connsiteX2" fmla="*/ 0 w 25400"/>
                <a:gd name="connsiteY2" fmla="*/ 15402 h 25400"/>
                <a:gd name="connsiteX3" fmla="*/ 13970 w 25400"/>
                <a:gd name="connsiteY3" fmla="*/ 162 h 25400"/>
                <a:gd name="connsiteX4" fmla="*/ 13970 w 25400"/>
                <a:gd name="connsiteY4" fmla="*/ 162 h 25400"/>
                <a:gd name="connsiteX5" fmla="*/ 29210 w 25400"/>
                <a:gd name="connsiteY5" fmla="*/ 14132 h 25400"/>
                <a:gd name="connsiteX6" fmla="*/ 29210 w 25400"/>
                <a:gd name="connsiteY6" fmla="*/ 14132 h 25400"/>
                <a:gd name="connsiteX7" fmla="*/ 3810 w 25400"/>
                <a:gd name="connsiteY7" fmla="*/ 14132 h 25400"/>
                <a:gd name="connsiteX8" fmla="*/ 15240 w 25400"/>
                <a:gd name="connsiteY8" fmla="*/ 25562 h 25400"/>
                <a:gd name="connsiteX9" fmla="*/ 15240 w 25400"/>
                <a:gd name="connsiteY9" fmla="*/ 25562 h 25400"/>
                <a:gd name="connsiteX10" fmla="*/ 26670 w 25400"/>
                <a:gd name="connsiteY10" fmla="*/ 14132 h 25400"/>
                <a:gd name="connsiteX11" fmla="*/ 26670 w 25400"/>
                <a:gd name="connsiteY11" fmla="*/ 14132 h 25400"/>
                <a:gd name="connsiteX12" fmla="*/ 15240 w 25400"/>
                <a:gd name="connsiteY12" fmla="*/ 2702 h 25400"/>
                <a:gd name="connsiteX13" fmla="*/ 3810 w 25400"/>
                <a:gd name="connsiteY13" fmla="*/ 14132 h 25400"/>
                <a:gd name="connsiteX14" fmla="*/ 3810 w 25400"/>
                <a:gd name="connsiteY14" fmla="*/ 14132 h 25400"/>
                <a:gd name="connsiteX15" fmla="*/ 3810 w 25400"/>
                <a:gd name="connsiteY15" fmla="*/ 14132 h 25400"/>
                <a:gd name="connsiteX16" fmla="*/ 12700 w 25400"/>
                <a:gd name="connsiteY16" fmla="*/ 21752 h 25400"/>
                <a:gd name="connsiteX17" fmla="*/ 8890 w 25400"/>
                <a:gd name="connsiteY17" fmla="*/ 21752 h 25400"/>
                <a:gd name="connsiteX18" fmla="*/ 8890 w 25400"/>
                <a:gd name="connsiteY18" fmla="*/ 7782 h 25400"/>
                <a:gd name="connsiteX19" fmla="*/ 13970 w 25400"/>
                <a:gd name="connsiteY19" fmla="*/ 7782 h 25400"/>
                <a:gd name="connsiteX20" fmla="*/ 19050 w 25400"/>
                <a:gd name="connsiteY20" fmla="*/ 9052 h 25400"/>
                <a:gd name="connsiteX21" fmla="*/ 20320 w 25400"/>
                <a:gd name="connsiteY21" fmla="*/ 11592 h 25400"/>
                <a:gd name="connsiteX22" fmla="*/ 17780 w 25400"/>
                <a:gd name="connsiteY22" fmla="*/ 15402 h 25400"/>
                <a:gd name="connsiteX23" fmla="*/ 17780 w 25400"/>
                <a:gd name="connsiteY23" fmla="*/ 15402 h 25400"/>
                <a:gd name="connsiteX24" fmla="*/ 20320 w 25400"/>
                <a:gd name="connsiteY24" fmla="*/ 19212 h 25400"/>
                <a:gd name="connsiteX25" fmla="*/ 21590 w 25400"/>
                <a:gd name="connsiteY25" fmla="*/ 23022 h 25400"/>
                <a:gd name="connsiteX26" fmla="*/ 17780 w 25400"/>
                <a:gd name="connsiteY26" fmla="*/ 23022 h 25400"/>
                <a:gd name="connsiteX27" fmla="*/ 16510 w 25400"/>
                <a:gd name="connsiteY27" fmla="*/ 19212 h 25400"/>
                <a:gd name="connsiteX28" fmla="*/ 13970 w 25400"/>
                <a:gd name="connsiteY28" fmla="*/ 16672 h 25400"/>
                <a:gd name="connsiteX29" fmla="*/ 12700 w 25400"/>
                <a:gd name="connsiteY29" fmla="*/ 16672 h 25400"/>
                <a:gd name="connsiteX30" fmla="*/ 12700 w 25400"/>
                <a:gd name="connsiteY30" fmla="*/ 21752 h 25400"/>
                <a:gd name="connsiteX31" fmla="*/ 12700 w 25400"/>
                <a:gd name="connsiteY31" fmla="*/ 12862 h 25400"/>
                <a:gd name="connsiteX32" fmla="*/ 12700 w 25400"/>
                <a:gd name="connsiteY32" fmla="*/ 12862 h 25400"/>
                <a:gd name="connsiteX33" fmla="*/ 17780 w 25400"/>
                <a:gd name="connsiteY33" fmla="*/ 10322 h 25400"/>
                <a:gd name="connsiteX34" fmla="*/ 15240 w 25400"/>
                <a:gd name="connsiteY34" fmla="*/ 7782 h 25400"/>
                <a:gd name="connsiteX35" fmla="*/ 13970 w 25400"/>
                <a:gd name="connsiteY35" fmla="*/ 7782 h 25400"/>
                <a:gd name="connsiteX36" fmla="*/ 12700 w 25400"/>
                <a:gd name="connsiteY36" fmla="*/ 12862 h 25400"/>
                <a:gd name="connsiteX37" fmla="*/ 12700 w 25400"/>
                <a:gd name="connsiteY37" fmla="*/ 12862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5400" h="25400">
                  <a:moveTo>
                    <a:pt x="29210" y="14132"/>
                  </a:moveTo>
                  <a:cubicBezTo>
                    <a:pt x="29210" y="21752"/>
                    <a:pt x="22860" y="29372"/>
                    <a:pt x="15240" y="29372"/>
                  </a:cubicBezTo>
                  <a:cubicBezTo>
                    <a:pt x="7620" y="29372"/>
                    <a:pt x="0" y="23022"/>
                    <a:pt x="0" y="15402"/>
                  </a:cubicBezTo>
                  <a:cubicBezTo>
                    <a:pt x="0" y="7782"/>
                    <a:pt x="6350" y="162"/>
                    <a:pt x="13970" y="162"/>
                  </a:cubicBezTo>
                  <a:lnTo>
                    <a:pt x="13970" y="162"/>
                  </a:lnTo>
                  <a:cubicBezTo>
                    <a:pt x="22860" y="-1108"/>
                    <a:pt x="29210" y="5242"/>
                    <a:pt x="29210" y="14132"/>
                  </a:cubicBezTo>
                  <a:lnTo>
                    <a:pt x="29210" y="14132"/>
                  </a:lnTo>
                  <a:close/>
                  <a:moveTo>
                    <a:pt x="3810" y="14132"/>
                  </a:moveTo>
                  <a:cubicBezTo>
                    <a:pt x="3810" y="20482"/>
                    <a:pt x="8890" y="25562"/>
                    <a:pt x="15240" y="25562"/>
                  </a:cubicBezTo>
                  <a:lnTo>
                    <a:pt x="15240" y="25562"/>
                  </a:lnTo>
                  <a:cubicBezTo>
                    <a:pt x="21590" y="25562"/>
                    <a:pt x="26670" y="20482"/>
                    <a:pt x="26670" y="14132"/>
                  </a:cubicBezTo>
                  <a:lnTo>
                    <a:pt x="26670" y="14132"/>
                  </a:lnTo>
                  <a:cubicBezTo>
                    <a:pt x="26670" y="7782"/>
                    <a:pt x="21590" y="2702"/>
                    <a:pt x="15240" y="2702"/>
                  </a:cubicBezTo>
                  <a:cubicBezTo>
                    <a:pt x="8890" y="2702"/>
                    <a:pt x="3810" y="7782"/>
                    <a:pt x="3810" y="14132"/>
                  </a:cubicBezTo>
                  <a:lnTo>
                    <a:pt x="3810" y="14132"/>
                  </a:lnTo>
                  <a:lnTo>
                    <a:pt x="3810" y="14132"/>
                  </a:lnTo>
                  <a:close/>
                  <a:moveTo>
                    <a:pt x="12700" y="21752"/>
                  </a:moveTo>
                  <a:lnTo>
                    <a:pt x="8890" y="21752"/>
                  </a:lnTo>
                  <a:lnTo>
                    <a:pt x="8890" y="7782"/>
                  </a:lnTo>
                  <a:cubicBezTo>
                    <a:pt x="10160" y="7782"/>
                    <a:pt x="12700" y="7782"/>
                    <a:pt x="13970" y="7782"/>
                  </a:cubicBezTo>
                  <a:cubicBezTo>
                    <a:pt x="15240" y="7782"/>
                    <a:pt x="17780" y="7782"/>
                    <a:pt x="19050" y="9052"/>
                  </a:cubicBezTo>
                  <a:cubicBezTo>
                    <a:pt x="20320" y="10322"/>
                    <a:pt x="20320" y="10322"/>
                    <a:pt x="20320" y="11592"/>
                  </a:cubicBezTo>
                  <a:cubicBezTo>
                    <a:pt x="20320" y="12862"/>
                    <a:pt x="19050" y="14132"/>
                    <a:pt x="17780" y="15402"/>
                  </a:cubicBezTo>
                  <a:lnTo>
                    <a:pt x="17780" y="15402"/>
                  </a:lnTo>
                  <a:cubicBezTo>
                    <a:pt x="19050" y="15402"/>
                    <a:pt x="20320" y="16672"/>
                    <a:pt x="20320" y="19212"/>
                  </a:cubicBezTo>
                  <a:cubicBezTo>
                    <a:pt x="20320" y="20482"/>
                    <a:pt x="20320" y="21752"/>
                    <a:pt x="21590" y="23022"/>
                  </a:cubicBezTo>
                  <a:lnTo>
                    <a:pt x="17780" y="23022"/>
                  </a:lnTo>
                  <a:cubicBezTo>
                    <a:pt x="17780" y="21752"/>
                    <a:pt x="16510" y="20482"/>
                    <a:pt x="16510" y="19212"/>
                  </a:cubicBezTo>
                  <a:cubicBezTo>
                    <a:pt x="16510" y="17942"/>
                    <a:pt x="15240" y="16672"/>
                    <a:pt x="13970" y="16672"/>
                  </a:cubicBezTo>
                  <a:lnTo>
                    <a:pt x="12700" y="16672"/>
                  </a:lnTo>
                  <a:lnTo>
                    <a:pt x="12700" y="21752"/>
                  </a:lnTo>
                  <a:close/>
                  <a:moveTo>
                    <a:pt x="12700" y="12862"/>
                  </a:moveTo>
                  <a:lnTo>
                    <a:pt x="12700" y="12862"/>
                  </a:lnTo>
                  <a:cubicBezTo>
                    <a:pt x="15240" y="12862"/>
                    <a:pt x="17780" y="11592"/>
                    <a:pt x="17780" y="10322"/>
                  </a:cubicBezTo>
                  <a:cubicBezTo>
                    <a:pt x="17780" y="9052"/>
                    <a:pt x="16510" y="7782"/>
                    <a:pt x="15240" y="7782"/>
                  </a:cubicBezTo>
                  <a:lnTo>
                    <a:pt x="13970" y="7782"/>
                  </a:lnTo>
                  <a:lnTo>
                    <a:pt x="12700" y="12862"/>
                  </a:lnTo>
                  <a:lnTo>
                    <a:pt x="12700" y="12862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5" name="Slide Number Placeholder 5">
            <a:extLst>
              <a:ext uri="{FF2B5EF4-FFF2-40B4-BE49-F238E27FC236}">
                <a16:creationId xmlns:a16="http://schemas.microsoft.com/office/drawing/2014/main" id="{C979639F-38C0-4628-BAAF-5AA7B0D1F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5124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177289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ternate Blank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49986" y="745859"/>
            <a:ext cx="10132150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61634" y="1577339"/>
            <a:ext cx="10132150" cy="4978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49986" y="251559"/>
            <a:ext cx="10132150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301" y="251559"/>
            <a:ext cx="10131880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1950" y="1577339"/>
            <a:ext cx="10131880" cy="49783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9986" y="749162"/>
            <a:ext cx="10132150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DAF3C45B-55B8-46D2-9A9D-3DF616095251}"/>
              </a:ext>
            </a:extLst>
          </p:cNvPr>
          <p:cNvGrpSpPr/>
          <p:nvPr userDrawn="1"/>
        </p:nvGrpSpPr>
        <p:grpSpPr>
          <a:xfrm>
            <a:off x="10824878" y="297898"/>
            <a:ext cx="1037754" cy="375165"/>
            <a:chOff x="430366" y="6268204"/>
            <a:chExt cx="1037754" cy="375165"/>
          </a:xfrm>
          <a:solidFill>
            <a:schemeClr val="bg2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D781D3E-0EE7-41E1-8A8C-18F32BBF841D}"/>
                </a:ext>
              </a:extLst>
            </p:cNvPr>
            <p:cNvSpPr/>
            <p:nvPr/>
          </p:nvSpPr>
          <p:spPr>
            <a:xfrm>
              <a:off x="430366" y="6268204"/>
              <a:ext cx="241300" cy="292100"/>
            </a:xfrm>
            <a:custGeom>
              <a:avLst/>
              <a:gdLst>
                <a:gd name="connsiteX0" fmla="*/ 245274 w 241300"/>
                <a:gd name="connsiteY0" fmla="*/ 257055 h 292100"/>
                <a:gd name="connsiteX1" fmla="*/ 245274 w 241300"/>
                <a:gd name="connsiteY1" fmla="*/ 88145 h 292100"/>
                <a:gd name="connsiteX2" fmla="*/ 156374 w 241300"/>
                <a:gd name="connsiteY2" fmla="*/ 179585 h 292100"/>
                <a:gd name="connsiteX3" fmla="*/ 179234 w 241300"/>
                <a:gd name="connsiteY3" fmla="*/ 206255 h 292100"/>
                <a:gd name="connsiteX4" fmla="*/ 144944 w 241300"/>
                <a:gd name="connsiteY4" fmla="*/ 226575 h 292100"/>
                <a:gd name="connsiteX5" fmla="*/ 64934 w 241300"/>
                <a:gd name="connsiteY5" fmla="*/ 146565 h 292100"/>
                <a:gd name="connsiteX6" fmla="*/ 144944 w 241300"/>
                <a:gd name="connsiteY6" fmla="*/ 66555 h 292100"/>
                <a:gd name="connsiteX7" fmla="*/ 183044 w 241300"/>
                <a:gd name="connsiteY7" fmla="*/ 76715 h 292100"/>
                <a:gd name="connsiteX8" fmla="*/ 231304 w 241300"/>
                <a:gd name="connsiteY8" fmla="*/ 27185 h 292100"/>
                <a:gd name="connsiteX9" fmla="*/ 26834 w 241300"/>
                <a:gd name="connsiteY9" fmla="*/ 62745 h 292100"/>
                <a:gd name="connsiteX10" fmla="*/ 62394 w 241300"/>
                <a:gd name="connsiteY10" fmla="*/ 267215 h 292100"/>
                <a:gd name="connsiteX11" fmla="*/ 245274 w 241300"/>
                <a:gd name="connsiteY11" fmla="*/ 257055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300" h="292100">
                  <a:moveTo>
                    <a:pt x="245274" y="257055"/>
                  </a:moveTo>
                  <a:lnTo>
                    <a:pt x="245274" y="88145"/>
                  </a:lnTo>
                  <a:lnTo>
                    <a:pt x="156374" y="179585"/>
                  </a:lnTo>
                  <a:cubicBezTo>
                    <a:pt x="156374" y="179585"/>
                    <a:pt x="179234" y="178315"/>
                    <a:pt x="179234" y="206255"/>
                  </a:cubicBezTo>
                  <a:cubicBezTo>
                    <a:pt x="179234" y="206255"/>
                    <a:pt x="177964" y="226575"/>
                    <a:pt x="144944" y="226575"/>
                  </a:cubicBezTo>
                  <a:cubicBezTo>
                    <a:pt x="100494" y="226575"/>
                    <a:pt x="64934" y="189745"/>
                    <a:pt x="64934" y="146565"/>
                  </a:cubicBezTo>
                  <a:cubicBezTo>
                    <a:pt x="64934" y="103385"/>
                    <a:pt x="101764" y="66555"/>
                    <a:pt x="144944" y="66555"/>
                  </a:cubicBezTo>
                  <a:cubicBezTo>
                    <a:pt x="157644" y="66555"/>
                    <a:pt x="170344" y="70365"/>
                    <a:pt x="183044" y="76715"/>
                  </a:cubicBezTo>
                  <a:lnTo>
                    <a:pt x="231304" y="27185"/>
                  </a:lnTo>
                  <a:cubicBezTo>
                    <a:pt x="166534" y="-19805"/>
                    <a:pt x="73824" y="-4565"/>
                    <a:pt x="26834" y="62745"/>
                  </a:cubicBezTo>
                  <a:cubicBezTo>
                    <a:pt x="-20156" y="128785"/>
                    <a:pt x="-3646" y="220225"/>
                    <a:pt x="62394" y="267215"/>
                  </a:cubicBezTo>
                  <a:cubicBezTo>
                    <a:pt x="118274" y="306585"/>
                    <a:pt x="194474" y="302775"/>
                    <a:pt x="245274" y="257055"/>
                  </a:cubicBezTo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8A90FD4E-2293-4177-AFA1-09216F1E315D}"/>
                </a:ext>
              </a:extLst>
            </p:cNvPr>
            <p:cNvSpPr/>
            <p:nvPr/>
          </p:nvSpPr>
          <p:spPr>
            <a:xfrm>
              <a:off x="689628" y="6344937"/>
              <a:ext cx="419100" cy="203200"/>
            </a:xfrm>
            <a:custGeom>
              <a:avLst/>
              <a:gdLst>
                <a:gd name="connsiteX0" fmla="*/ 314942 w 419100"/>
                <a:gd name="connsiteY0" fmla="*/ 2522 h 203200"/>
                <a:gd name="connsiteX1" fmla="*/ 314942 w 419100"/>
                <a:gd name="connsiteY1" fmla="*/ 2522 h 203200"/>
                <a:gd name="connsiteX2" fmla="*/ 210802 w 419100"/>
                <a:gd name="connsiteY2" fmla="*/ 90152 h 203200"/>
                <a:gd name="connsiteX3" fmla="*/ 210802 w 419100"/>
                <a:gd name="connsiteY3" fmla="*/ 90152 h 203200"/>
                <a:gd name="connsiteX4" fmla="*/ 90152 w 419100"/>
                <a:gd name="connsiteY4" fmla="*/ 1252 h 203200"/>
                <a:gd name="connsiteX5" fmla="*/ 1252 w 419100"/>
                <a:gd name="connsiteY5" fmla="*/ 121902 h 203200"/>
                <a:gd name="connsiteX6" fmla="*/ 106662 w 419100"/>
                <a:gd name="connsiteY6" fmla="*/ 212072 h 203200"/>
                <a:gd name="connsiteX7" fmla="*/ 128252 w 419100"/>
                <a:gd name="connsiteY7" fmla="*/ 212072 h 203200"/>
                <a:gd name="connsiteX8" fmla="*/ 274302 w 419100"/>
                <a:gd name="connsiteY8" fmla="*/ 212072 h 203200"/>
                <a:gd name="connsiteX9" fmla="*/ 274302 w 419100"/>
                <a:gd name="connsiteY9" fmla="*/ 106662 h 203200"/>
                <a:gd name="connsiteX10" fmla="*/ 318752 w 419100"/>
                <a:gd name="connsiteY10" fmla="*/ 66022 h 203200"/>
                <a:gd name="connsiteX11" fmla="*/ 359392 w 419100"/>
                <a:gd name="connsiteY11" fmla="*/ 106662 h 203200"/>
                <a:gd name="connsiteX12" fmla="*/ 359392 w 419100"/>
                <a:gd name="connsiteY12" fmla="*/ 212072 h 203200"/>
                <a:gd name="connsiteX13" fmla="*/ 422892 w 419100"/>
                <a:gd name="connsiteY13" fmla="*/ 212072 h 203200"/>
                <a:gd name="connsiteX14" fmla="*/ 422892 w 419100"/>
                <a:gd name="connsiteY14" fmla="*/ 106662 h 203200"/>
                <a:gd name="connsiteX15" fmla="*/ 314942 w 419100"/>
                <a:gd name="connsiteY15" fmla="*/ 2522 h 203200"/>
                <a:gd name="connsiteX16" fmla="*/ 77452 w 419100"/>
                <a:gd name="connsiteY16" fmla="*/ 138412 h 203200"/>
                <a:gd name="connsiteX17" fmla="*/ 63482 w 419100"/>
                <a:gd name="connsiteY17" fmla="*/ 107932 h 203200"/>
                <a:gd name="connsiteX18" fmla="*/ 106662 w 419100"/>
                <a:gd name="connsiteY18" fmla="*/ 66022 h 203200"/>
                <a:gd name="connsiteX19" fmla="*/ 106662 w 419100"/>
                <a:gd name="connsiteY19" fmla="*/ 66022 h 203200"/>
                <a:gd name="connsiteX20" fmla="*/ 137142 w 419100"/>
                <a:gd name="connsiteY20" fmla="*/ 78722 h 203200"/>
                <a:gd name="connsiteX21" fmla="*/ 77452 w 419100"/>
                <a:gd name="connsiteY21" fmla="*/ 138412 h 203200"/>
                <a:gd name="connsiteX22" fmla="*/ 154922 w 419100"/>
                <a:gd name="connsiteY22" fmla="*/ 151112 h 203200"/>
                <a:gd name="connsiteX23" fmla="*/ 212072 w 419100"/>
                <a:gd name="connsiteY23" fmla="*/ 93962 h 203200"/>
                <a:gd name="connsiteX24" fmla="*/ 269222 w 419100"/>
                <a:gd name="connsiteY24" fmla="*/ 151112 h 203200"/>
                <a:gd name="connsiteX25" fmla="*/ 154922 w 419100"/>
                <a:gd name="connsiteY25" fmla="*/ 1511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19100" h="203200">
                  <a:moveTo>
                    <a:pt x="314942" y="2522"/>
                  </a:moveTo>
                  <a:lnTo>
                    <a:pt x="314942" y="2522"/>
                  </a:lnTo>
                  <a:cubicBezTo>
                    <a:pt x="262872" y="2522"/>
                    <a:pt x="218422" y="39352"/>
                    <a:pt x="210802" y="90152"/>
                  </a:cubicBez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74302" y="212072"/>
                  </a:lnTo>
                  <a:lnTo>
                    <a:pt x="274302" y="106662"/>
                  </a:lnTo>
                  <a:cubicBezTo>
                    <a:pt x="275572" y="82532"/>
                    <a:pt x="294622" y="64752"/>
                    <a:pt x="318752" y="66022"/>
                  </a:cubicBezTo>
                  <a:cubicBezTo>
                    <a:pt x="340342" y="67292"/>
                    <a:pt x="358122" y="85072"/>
                    <a:pt x="359392" y="106662"/>
                  </a:cubicBezTo>
                  <a:lnTo>
                    <a:pt x="359392" y="212072"/>
                  </a:lnTo>
                  <a:lnTo>
                    <a:pt x="422892" y="212072"/>
                  </a:lnTo>
                  <a:lnTo>
                    <a:pt x="422892" y="106662"/>
                  </a:lnTo>
                  <a:cubicBezTo>
                    <a:pt x="421622" y="49512"/>
                    <a:pt x="373362" y="2522"/>
                    <a:pt x="314942" y="2522"/>
                  </a:cubicBezTo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7932"/>
                  </a:cubicBezTo>
                  <a:cubicBezTo>
                    <a:pt x="63482" y="83802"/>
                    <a:pt x="82532" y="64752"/>
                    <a:pt x="106662" y="66022"/>
                  </a:cubicBezTo>
                  <a:lnTo>
                    <a:pt x="106662" y="66022"/>
                  </a:lnTo>
                  <a:cubicBezTo>
                    <a:pt x="118092" y="66022"/>
                    <a:pt x="128252" y="69832"/>
                    <a:pt x="137142" y="78722"/>
                  </a:cubicBezTo>
                  <a:lnTo>
                    <a:pt x="77452" y="138412"/>
                  </a:lnTo>
                  <a:close/>
                  <a:moveTo>
                    <a:pt x="154922" y="151112"/>
                  </a:moveTo>
                  <a:lnTo>
                    <a:pt x="212072" y="93962"/>
                  </a:lnTo>
                  <a:lnTo>
                    <a:pt x="269222" y="151112"/>
                  </a:lnTo>
                  <a:lnTo>
                    <a:pt x="154922" y="151112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81B9D30-3014-4096-9F78-CCAC6A2F7B5A}"/>
                </a:ext>
              </a:extLst>
            </p:cNvPr>
            <p:cNvSpPr/>
            <p:nvPr/>
          </p:nvSpPr>
          <p:spPr>
            <a:xfrm>
              <a:off x="1104900" y="6278879"/>
              <a:ext cx="114300" cy="279400"/>
            </a:xfrm>
            <a:custGeom>
              <a:avLst/>
              <a:gdLst>
                <a:gd name="connsiteX0" fmla="*/ 114300 w 114300"/>
                <a:gd name="connsiteY0" fmla="*/ 57150 h 279400"/>
                <a:gd name="connsiteX1" fmla="*/ 0 w 114300"/>
                <a:gd name="connsiteY1" fmla="*/ 57150 h 279400"/>
                <a:gd name="connsiteX2" fmla="*/ 57150 w 114300"/>
                <a:gd name="connsiteY2" fmla="*/ 0 h 279400"/>
                <a:gd name="connsiteX3" fmla="*/ 114300 w 114300"/>
                <a:gd name="connsiteY3" fmla="*/ 57150 h 279400"/>
                <a:gd name="connsiteX4" fmla="*/ 88900 w 114300"/>
                <a:gd name="connsiteY4" fmla="*/ 78740 h 279400"/>
                <a:gd name="connsiteX5" fmla="*/ 25400 w 114300"/>
                <a:gd name="connsiteY5" fmla="*/ 78740 h 279400"/>
                <a:gd name="connsiteX6" fmla="*/ 25400 w 114300"/>
                <a:gd name="connsiteY6" fmla="*/ 279400 h 279400"/>
                <a:gd name="connsiteX7" fmla="*/ 88900 w 114300"/>
                <a:gd name="connsiteY7" fmla="*/ 279400 h 279400"/>
                <a:gd name="connsiteX8" fmla="*/ 88900 w 114300"/>
                <a:gd name="connsiteY8" fmla="*/ 7874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279400">
                  <a:moveTo>
                    <a:pt x="114300" y="57150"/>
                  </a:moveTo>
                  <a:lnTo>
                    <a:pt x="0" y="57150"/>
                  </a:lnTo>
                  <a:lnTo>
                    <a:pt x="57150" y="0"/>
                  </a:lnTo>
                  <a:lnTo>
                    <a:pt x="114300" y="57150"/>
                  </a:lnTo>
                  <a:close/>
                  <a:moveTo>
                    <a:pt x="88900" y="78740"/>
                  </a:moveTo>
                  <a:lnTo>
                    <a:pt x="25400" y="78740"/>
                  </a:lnTo>
                  <a:lnTo>
                    <a:pt x="25400" y="279400"/>
                  </a:lnTo>
                  <a:lnTo>
                    <a:pt x="88900" y="279400"/>
                  </a:lnTo>
                  <a:lnTo>
                    <a:pt x="88900" y="7874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1AA41DC-EADE-4C73-B53C-99D1947A1870}"/>
                </a:ext>
              </a:extLst>
            </p:cNvPr>
            <p:cNvSpPr/>
            <p:nvPr/>
          </p:nvSpPr>
          <p:spPr>
            <a:xfrm>
              <a:off x="1207788" y="6344937"/>
              <a:ext cx="203200" cy="203200"/>
            </a:xfrm>
            <a:custGeom>
              <a:avLst/>
              <a:gdLst>
                <a:gd name="connsiteX0" fmla="*/ 212072 w 203200"/>
                <a:gd name="connsiteY0" fmla="*/ 93962 h 203200"/>
                <a:gd name="connsiteX1" fmla="*/ 210802 w 203200"/>
                <a:gd name="connsiteY1" fmla="*/ 90152 h 203200"/>
                <a:gd name="connsiteX2" fmla="*/ 210802 w 203200"/>
                <a:gd name="connsiteY2" fmla="*/ 90152 h 203200"/>
                <a:gd name="connsiteX3" fmla="*/ 90152 w 203200"/>
                <a:gd name="connsiteY3" fmla="*/ 1252 h 203200"/>
                <a:gd name="connsiteX4" fmla="*/ 1252 w 203200"/>
                <a:gd name="connsiteY4" fmla="*/ 121902 h 203200"/>
                <a:gd name="connsiteX5" fmla="*/ 106662 w 203200"/>
                <a:gd name="connsiteY5" fmla="*/ 212072 h 203200"/>
                <a:gd name="connsiteX6" fmla="*/ 128252 w 203200"/>
                <a:gd name="connsiteY6" fmla="*/ 212072 h 203200"/>
                <a:gd name="connsiteX7" fmla="*/ 212072 w 203200"/>
                <a:gd name="connsiteY7" fmla="*/ 212072 h 203200"/>
                <a:gd name="connsiteX8" fmla="*/ 212072 w 203200"/>
                <a:gd name="connsiteY8" fmla="*/ 149842 h 203200"/>
                <a:gd name="connsiteX9" fmla="*/ 154922 w 203200"/>
                <a:gd name="connsiteY9" fmla="*/ 149842 h 203200"/>
                <a:gd name="connsiteX10" fmla="*/ 212072 w 203200"/>
                <a:gd name="connsiteY10" fmla="*/ 93962 h 203200"/>
                <a:gd name="connsiteX11" fmla="*/ 77452 w 203200"/>
                <a:gd name="connsiteY11" fmla="*/ 138412 h 203200"/>
                <a:gd name="connsiteX12" fmla="*/ 63482 w 203200"/>
                <a:gd name="connsiteY12" fmla="*/ 106662 h 203200"/>
                <a:gd name="connsiteX13" fmla="*/ 106662 w 203200"/>
                <a:gd name="connsiteY13" fmla="*/ 64752 h 203200"/>
                <a:gd name="connsiteX14" fmla="*/ 106662 w 203200"/>
                <a:gd name="connsiteY14" fmla="*/ 64752 h 203200"/>
                <a:gd name="connsiteX15" fmla="*/ 137142 w 203200"/>
                <a:gd name="connsiteY15" fmla="*/ 77452 h 203200"/>
                <a:gd name="connsiteX16" fmla="*/ 77452 w 203200"/>
                <a:gd name="connsiteY16" fmla="*/ 1384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200" h="203200">
                  <a:moveTo>
                    <a:pt x="212072" y="93962"/>
                  </a:moveTo>
                  <a:lnTo>
                    <a:pt x="210802" y="90152"/>
                  </a:ln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12072" y="212072"/>
                  </a:lnTo>
                  <a:lnTo>
                    <a:pt x="212072" y="149842"/>
                  </a:lnTo>
                  <a:lnTo>
                    <a:pt x="154922" y="149842"/>
                  </a:lnTo>
                  <a:lnTo>
                    <a:pt x="212072" y="93962"/>
                  </a:lnTo>
                  <a:close/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6662"/>
                  </a:cubicBezTo>
                  <a:cubicBezTo>
                    <a:pt x="63482" y="82532"/>
                    <a:pt x="82532" y="63482"/>
                    <a:pt x="106662" y="64752"/>
                  </a:cubicBezTo>
                  <a:lnTo>
                    <a:pt x="106662" y="64752"/>
                  </a:lnTo>
                  <a:cubicBezTo>
                    <a:pt x="118092" y="64752"/>
                    <a:pt x="128252" y="68562"/>
                    <a:pt x="137142" y="77452"/>
                  </a:cubicBezTo>
                  <a:lnTo>
                    <a:pt x="77452" y="138412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395C5D4A-7C92-433D-BEA8-5F354AAAA999}"/>
                </a:ext>
              </a:extLst>
            </p:cNvPr>
            <p:cNvSpPr/>
            <p:nvPr/>
          </p:nvSpPr>
          <p:spPr>
            <a:xfrm>
              <a:off x="1430020" y="6518909"/>
              <a:ext cx="38100" cy="38100"/>
            </a:xfrm>
            <a:custGeom>
              <a:avLst/>
              <a:gdLst>
                <a:gd name="connsiteX0" fmla="*/ 19050 w 38100"/>
                <a:gd name="connsiteY0" fmla="*/ 0 h 38100"/>
                <a:gd name="connsiteX1" fmla="*/ 0 w 38100"/>
                <a:gd name="connsiteY1" fmla="*/ 19050 h 38100"/>
                <a:gd name="connsiteX2" fmla="*/ 19050 w 38100"/>
                <a:gd name="connsiteY2" fmla="*/ 38100 h 38100"/>
                <a:gd name="connsiteX3" fmla="*/ 38100 w 38100"/>
                <a:gd name="connsiteY3" fmla="*/ 19050 h 38100"/>
                <a:gd name="connsiteX4" fmla="*/ 19050 w 38100"/>
                <a:gd name="connsiteY4" fmla="*/ 0 h 38100"/>
                <a:gd name="connsiteX5" fmla="*/ 19050 w 38100"/>
                <a:gd name="connsiteY5" fmla="*/ 0 h 38100"/>
                <a:gd name="connsiteX6" fmla="*/ 19050 w 38100"/>
                <a:gd name="connsiteY6" fmla="*/ 35560 h 38100"/>
                <a:gd name="connsiteX7" fmla="*/ 2540 w 38100"/>
                <a:gd name="connsiteY7" fmla="*/ 19050 h 38100"/>
                <a:gd name="connsiteX8" fmla="*/ 19050 w 38100"/>
                <a:gd name="connsiteY8" fmla="*/ 2540 h 38100"/>
                <a:gd name="connsiteX9" fmla="*/ 35560 w 38100"/>
                <a:gd name="connsiteY9" fmla="*/ 19050 h 38100"/>
                <a:gd name="connsiteX10" fmla="*/ 21590 w 38100"/>
                <a:gd name="connsiteY10" fmla="*/ 35560 h 38100"/>
                <a:gd name="connsiteX11" fmla="*/ 19050 w 38100"/>
                <a:gd name="connsiteY11" fmla="*/ 3556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19050" y="0"/>
                  </a:moveTo>
                  <a:cubicBezTo>
                    <a:pt x="8890" y="0"/>
                    <a:pt x="0" y="8890"/>
                    <a:pt x="0" y="19050"/>
                  </a:cubicBezTo>
                  <a:cubicBezTo>
                    <a:pt x="0" y="29210"/>
                    <a:pt x="8890" y="38100"/>
                    <a:pt x="19050" y="38100"/>
                  </a:cubicBezTo>
                  <a:cubicBezTo>
                    <a:pt x="29210" y="38100"/>
                    <a:pt x="38100" y="29210"/>
                    <a:pt x="38100" y="19050"/>
                  </a:cubicBezTo>
                  <a:cubicBezTo>
                    <a:pt x="38100" y="8890"/>
                    <a:pt x="29210" y="0"/>
                    <a:pt x="19050" y="0"/>
                  </a:cubicBezTo>
                  <a:lnTo>
                    <a:pt x="19050" y="0"/>
                  </a:lnTo>
                  <a:moveTo>
                    <a:pt x="19050" y="35560"/>
                  </a:moveTo>
                  <a:cubicBezTo>
                    <a:pt x="10160" y="35560"/>
                    <a:pt x="2540" y="27940"/>
                    <a:pt x="2540" y="19050"/>
                  </a:cubicBezTo>
                  <a:cubicBezTo>
                    <a:pt x="2540" y="10160"/>
                    <a:pt x="10160" y="2540"/>
                    <a:pt x="19050" y="2540"/>
                  </a:cubicBezTo>
                  <a:cubicBezTo>
                    <a:pt x="27940" y="2540"/>
                    <a:pt x="35560" y="10160"/>
                    <a:pt x="35560" y="19050"/>
                  </a:cubicBezTo>
                  <a:cubicBezTo>
                    <a:pt x="35560" y="27940"/>
                    <a:pt x="29210" y="34290"/>
                    <a:pt x="21590" y="35560"/>
                  </a:cubicBezTo>
                  <a:cubicBezTo>
                    <a:pt x="19050" y="35560"/>
                    <a:pt x="19050" y="35560"/>
                    <a:pt x="19050" y="35560"/>
                  </a:cubicBezTo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3C8CF4E-7FF2-4737-A12F-8A7E5AF77E85}"/>
                </a:ext>
              </a:extLst>
            </p:cNvPr>
            <p:cNvSpPr/>
            <p:nvPr/>
          </p:nvSpPr>
          <p:spPr>
            <a:xfrm>
              <a:off x="1440180" y="6530339"/>
              <a:ext cx="12700" cy="12700"/>
            </a:xfrm>
            <a:custGeom>
              <a:avLst/>
              <a:gdLst>
                <a:gd name="connsiteX0" fmla="*/ 16510 w 12700"/>
                <a:gd name="connsiteY0" fmla="*/ 5080 h 12700"/>
                <a:gd name="connsiteX1" fmla="*/ 10160 w 12700"/>
                <a:gd name="connsiteY1" fmla="*/ 0 h 12700"/>
                <a:gd name="connsiteX2" fmla="*/ 0 w 12700"/>
                <a:gd name="connsiteY2" fmla="*/ 0 h 12700"/>
                <a:gd name="connsiteX3" fmla="*/ 0 w 12700"/>
                <a:gd name="connsiteY3" fmla="*/ 17780 h 12700"/>
                <a:gd name="connsiteX4" fmla="*/ 3810 w 12700"/>
                <a:gd name="connsiteY4" fmla="*/ 17780 h 12700"/>
                <a:gd name="connsiteX5" fmla="*/ 3810 w 12700"/>
                <a:gd name="connsiteY5" fmla="*/ 10160 h 12700"/>
                <a:gd name="connsiteX6" fmla="*/ 7620 w 12700"/>
                <a:gd name="connsiteY6" fmla="*/ 10160 h 12700"/>
                <a:gd name="connsiteX7" fmla="*/ 12700 w 12700"/>
                <a:gd name="connsiteY7" fmla="*/ 17780 h 12700"/>
                <a:gd name="connsiteX8" fmla="*/ 17780 w 12700"/>
                <a:gd name="connsiteY8" fmla="*/ 17780 h 12700"/>
                <a:gd name="connsiteX9" fmla="*/ 12700 w 12700"/>
                <a:gd name="connsiteY9" fmla="*/ 10160 h 12700"/>
                <a:gd name="connsiteX10" fmla="*/ 16510 w 12700"/>
                <a:gd name="connsiteY10" fmla="*/ 5080 h 12700"/>
                <a:gd name="connsiteX11" fmla="*/ 16510 w 12700"/>
                <a:gd name="connsiteY11" fmla="*/ 5080 h 12700"/>
                <a:gd name="connsiteX12" fmla="*/ 8890 w 12700"/>
                <a:gd name="connsiteY12" fmla="*/ 6350 h 12700"/>
                <a:gd name="connsiteX13" fmla="*/ 3810 w 12700"/>
                <a:gd name="connsiteY13" fmla="*/ 6350 h 12700"/>
                <a:gd name="connsiteX14" fmla="*/ 3810 w 12700"/>
                <a:gd name="connsiteY14" fmla="*/ 2540 h 12700"/>
                <a:gd name="connsiteX15" fmla="*/ 8890 w 12700"/>
                <a:gd name="connsiteY15" fmla="*/ 2540 h 12700"/>
                <a:gd name="connsiteX16" fmla="*/ 12700 w 12700"/>
                <a:gd name="connsiteY16" fmla="*/ 3810 h 12700"/>
                <a:gd name="connsiteX17" fmla="*/ 8890 w 12700"/>
                <a:gd name="connsiteY17" fmla="*/ 6350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700" h="12700">
                  <a:moveTo>
                    <a:pt x="16510" y="5080"/>
                  </a:moveTo>
                  <a:cubicBezTo>
                    <a:pt x="16510" y="1270"/>
                    <a:pt x="13970" y="0"/>
                    <a:pt x="10160" y="0"/>
                  </a:cubicBezTo>
                  <a:lnTo>
                    <a:pt x="0" y="0"/>
                  </a:lnTo>
                  <a:lnTo>
                    <a:pt x="0" y="17780"/>
                  </a:lnTo>
                  <a:lnTo>
                    <a:pt x="3810" y="17780"/>
                  </a:lnTo>
                  <a:lnTo>
                    <a:pt x="3810" y="10160"/>
                  </a:lnTo>
                  <a:lnTo>
                    <a:pt x="7620" y="10160"/>
                  </a:lnTo>
                  <a:lnTo>
                    <a:pt x="12700" y="17780"/>
                  </a:lnTo>
                  <a:lnTo>
                    <a:pt x="17780" y="17780"/>
                  </a:lnTo>
                  <a:lnTo>
                    <a:pt x="12700" y="10160"/>
                  </a:lnTo>
                  <a:cubicBezTo>
                    <a:pt x="15240" y="8890"/>
                    <a:pt x="16510" y="7620"/>
                    <a:pt x="16510" y="5080"/>
                  </a:cubicBezTo>
                  <a:lnTo>
                    <a:pt x="16510" y="5080"/>
                  </a:lnTo>
                  <a:moveTo>
                    <a:pt x="8890" y="6350"/>
                  </a:moveTo>
                  <a:lnTo>
                    <a:pt x="3810" y="6350"/>
                  </a:lnTo>
                  <a:lnTo>
                    <a:pt x="3810" y="2540"/>
                  </a:lnTo>
                  <a:lnTo>
                    <a:pt x="8890" y="2540"/>
                  </a:lnTo>
                  <a:cubicBezTo>
                    <a:pt x="11430" y="2540"/>
                    <a:pt x="12700" y="2540"/>
                    <a:pt x="12700" y="3810"/>
                  </a:cubicBezTo>
                  <a:cubicBezTo>
                    <a:pt x="12700" y="6350"/>
                    <a:pt x="11430" y="6350"/>
                    <a:pt x="8890" y="6350"/>
                  </a:cubicBezTo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920BBBD-DCBC-4ACE-B0A1-7AAD7B9FE4FD}"/>
                </a:ext>
              </a:extLst>
            </p:cNvPr>
            <p:cNvSpPr/>
            <p:nvPr/>
          </p:nvSpPr>
          <p:spPr>
            <a:xfrm>
              <a:off x="445770" y="6605269"/>
              <a:ext cx="50800" cy="38100"/>
            </a:xfrm>
            <a:custGeom>
              <a:avLst/>
              <a:gdLst>
                <a:gd name="connsiteX0" fmla="*/ 24130 w 50800"/>
                <a:gd name="connsiteY0" fmla="*/ 6350 h 38100"/>
                <a:gd name="connsiteX1" fmla="*/ 15240 w 50800"/>
                <a:gd name="connsiteY1" fmla="*/ 26670 h 38100"/>
                <a:gd name="connsiteX2" fmla="*/ 33020 w 50800"/>
                <a:gd name="connsiteY2" fmla="*/ 26670 h 38100"/>
                <a:gd name="connsiteX3" fmla="*/ 2413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4130" y="6350"/>
                  </a:moveTo>
                  <a:lnTo>
                    <a:pt x="15240" y="26670"/>
                  </a:lnTo>
                  <a:lnTo>
                    <a:pt x="33020" y="26670"/>
                  </a:lnTo>
                  <a:lnTo>
                    <a:pt x="2413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138CFB5-FB9A-4CEA-A0E2-28B9016F9358}"/>
                </a:ext>
              </a:extLst>
            </p:cNvPr>
            <p:cNvSpPr/>
            <p:nvPr/>
          </p:nvSpPr>
          <p:spPr>
            <a:xfrm>
              <a:off x="524510" y="6605269"/>
              <a:ext cx="38100" cy="38100"/>
            </a:xfrm>
            <a:custGeom>
              <a:avLst/>
              <a:gdLst>
                <a:gd name="connsiteX0" fmla="*/ 17780 w 38100"/>
                <a:gd name="connsiteY0" fmla="*/ 6350 h 38100"/>
                <a:gd name="connsiteX1" fmla="*/ 0 w 38100"/>
                <a:gd name="connsiteY1" fmla="*/ 6350 h 38100"/>
                <a:gd name="connsiteX2" fmla="*/ 0 w 38100"/>
                <a:gd name="connsiteY2" fmla="*/ 0 h 38100"/>
                <a:gd name="connsiteX3" fmla="*/ 41910 w 38100"/>
                <a:gd name="connsiteY3" fmla="*/ 0 h 38100"/>
                <a:gd name="connsiteX4" fmla="*/ 41910 w 38100"/>
                <a:gd name="connsiteY4" fmla="*/ 6350 h 38100"/>
                <a:gd name="connsiteX5" fmla="*/ 24130 w 38100"/>
                <a:gd name="connsiteY5" fmla="*/ 6350 h 38100"/>
                <a:gd name="connsiteX6" fmla="*/ 24130 w 38100"/>
                <a:gd name="connsiteY6" fmla="*/ 46990 h 38100"/>
                <a:gd name="connsiteX7" fmla="*/ 17780 w 38100"/>
                <a:gd name="connsiteY7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" h="38100">
                  <a:moveTo>
                    <a:pt x="17780" y="6350"/>
                  </a:moveTo>
                  <a:lnTo>
                    <a:pt x="0" y="6350"/>
                  </a:lnTo>
                  <a:lnTo>
                    <a:pt x="0" y="0"/>
                  </a:lnTo>
                  <a:lnTo>
                    <a:pt x="41910" y="0"/>
                  </a:lnTo>
                  <a:lnTo>
                    <a:pt x="41910" y="6350"/>
                  </a:lnTo>
                  <a:lnTo>
                    <a:pt x="24130" y="6350"/>
                  </a:lnTo>
                  <a:lnTo>
                    <a:pt x="24130" y="46990"/>
                  </a:lnTo>
                  <a:lnTo>
                    <a:pt x="17780" y="4699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B12F524-B636-41B0-BC64-E736F198786E}"/>
                </a:ext>
              </a:extLst>
            </p:cNvPr>
            <p:cNvSpPr/>
            <p:nvPr/>
          </p:nvSpPr>
          <p:spPr>
            <a:xfrm>
              <a:off x="5753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6830 w 38100"/>
                <a:gd name="connsiteY1" fmla="*/ 0 h 38100"/>
                <a:gd name="connsiteX2" fmla="*/ 3683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6350 w 38100"/>
                <a:gd name="connsiteY7" fmla="*/ 25400 h 38100"/>
                <a:gd name="connsiteX8" fmla="*/ 6350 w 38100"/>
                <a:gd name="connsiteY8" fmla="*/ 40640 h 38100"/>
                <a:gd name="connsiteX9" fmla="*/ 38100 w 38100"/>
                <a:gd name="connsiteY9" fmla="*/ 40640 h 38100"/>
                <a:gd name="connsiteX10" fmla="*/ 3810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6830" y="0"/>
                  </a:lnTo>
                  <a:lnTo>
                    <a:pt x="36830" y="6350"/>
                  </a:lnTo>
                  <a:lnTo>
                    <a:pt x="6350" y="6350"/>
                  </a:lnTo>
                  <a:lnTo>
                    <a:pt x="635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6350" y="25400"/>
                  </a:lnTo>
                  <a:lnTo>
                    <a:pt x="6350" y="40640"/>
                  </a:lnTo>
                  <a:lnTo>
                    <a:pt x="38100" y="40640"/>
                  </a:lnTo>
                  <a:lnTo>
                    <a:pt x="38100" y="46990"/>
                  </a:lnTo>
                  <a:lnTo>
                    <a:pt x="0" y="4699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050935B-39FE-4372-A7B6-3EBCAF1F4FB9}"/>
                </a:ext>
              </a:extLst>
            </p:cNvPr>
            <p:cNvSpPr/>
            <p:nvPr/>
          </p:nvSpPr>
          <p:spPr>
            <a:xfrm>
              <a:off x="62484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4AA9675-669B-4AA9-A691-EE5D63419BFB}"/>
                </a:ext>
              </a:extLst>
            </p:cNvPr>
            <p:cNvSpPr/>
            <p:nvPr/>
          </p:nvSpPr>
          <p:spPr>
            <a:xfrm>
              <a:off x="6769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8100 w 38100"/>
                <a:gd name="connsiteY1" fmla="*/ 0 h 38100"/>
                <a:gd name="connsiteX2" fmla="*/ 38100 w 38100"/>
                <a:gd name="connsiteY2" fmla="*/ 6350 h 38100"/>
                <a:gd name="connsiteX3" fmla="*/ 7620 w 38100"/>
                <a:gd name="connsiteY3" fmla="*/ 6350 h 38100"/>
                <a:gd name="connsiteX4" fmla="*/ 762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7620 w 38100"/>
                <a:gd name="connsiteY7" fmla="*/ 25400 h 38100"/>
                <a:gd name="connsiteX8" fmla="*/ 7620 w 38100"/>
                <a:gd name="connsiteY8" fmla="*/ 40640 h 38100"/>
                <a:gd name="connsiteX9" fmla="*/ 39370 w 38100"/>
                <a:gd name="connsiteY9" fmla="*/ 40640 h 38100"/>
                <a:gd name="connsiteX10" fmla="*/ 3937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8100" y="0"/>
                  </a:lnTo>
                  <a:lnTo>
                    <a:pt x="38100" y="6350"/>
                  </a:lnTo>
                  <a:lnTo>
                    <a:pt x="7620" y="6350"/>
                  </a:lnTo>
                  <a:lnTo>
                    <a:pt x="762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7620" y="25400"/>
                  </a:lnTo>
                  <a:lnTo>
                    <a:pt x="7620" y="40640"/>
                  </a:lnTo>
                  <a:lnTo>
                    <a:pt x="39370" y="40640"/>
                  </a:lnTo>
                  <a:lnTo>
                    <a:pt x="39370" y="46990"/>
                  </a:lnTo>
                  <a:lnTo>
                    <a:pt x="0" y="4699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E857195-FB2D-44D1-B043-AC6916B17BBC}"/>
                </a:ext>
              </a:extLst>
            </p:cNvPr>
            <p:cNvSpPr/>
            <p:nvPr/>
          </p:nvSpPr>
          <p:spPr>
            <a:xfrm>
              <a:off x="722630" y="6605269"/>
              <a:ext cx="38100" cy="38100"/>
            </a:xfrm>
            <a:custGeom>
              <a:avLst/>
              <a:gdLst>
                <a:gd name="connsiteX0" fmla="*/ 36830 w 38100"/>
                <a:gd name="connsiteY0" fmla="*/ 0 h 38100"/>
                <a:gd name="connsiteX1" fmla="*/ 45720 w 38100"/>
                <a:gd name="connsiteY1" fmla="*/ 0 h 38100"/>
                <a:gd name="connsiteX2" fmla="*/ 26670 w 38100"/>
                <a:gd name="connsiteY2" fmla="*/ 22860 h 38100"/>
                <a:gd name="connsiteX3" fmla="*/ 45720 w 38100"/>
                <a:gd name="connsiteY3" fmla="*/ 46990 h 38100"/>
                <a:gd name="connsiteX4" fmla="*/ 36830 w 38100"/>
                <a:gd name="connsiteY4" fmla="*/ 46990 h 38100"/>
                <a:gd name="connsiteX5" fmla="*/ 22860 w 38100"/>
                <a:gd name="connsiteY5" fmla="*/ 27940 h 38100"/>
                <a:gd name="connsiteX6" fmla="*/ 7620 w 38100"/>
                <a:gd name="connsiteY6" fmla="*/ 46990 h 38100"/>
                <a:gd name="connsiteX7" fmla="*/ 0 w 38100"/>
                <a:gd name="connsiteY7" fmla="*/ 46990 h 38100"/>
                <a:gd name="connsiteX8" fmla="*/ 17780 w 38100"/>
                <a:gd name="connsiteY8" fmla="*/ 22860 h 38100"/>
                <a:gd name="connsiteX9" fmla="*/ 0 w 38100"/>
                <a:gd name="connsiteY9" fmla="*/ 0 h 38100"/>
                <a:gd name="connsiteX10" fmla="*/ 8890 w 38100"/>
                <a:gd name="connsiteY10" fmla="*/ 0 h 38100"/>
                <a:gd name="connsiteX11" fmla="*/ 22860 w 38100"/>
                <a:gd name="connsiteY11" fmla="*/ 1778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36830" y="0"/>
                  </a:moveTo>
                  <a:lnTo>
                    <a:pt x="45720" y="0"/>
                  </a:lnTo>
                  <a:lnTo>
                    <a:pt x="26670" y="22860"/>
                  </a:lnTo>
                  <a:lnTo>
                    <a:pt x="45720" y="46990"/>
                  </a:lnTo>
                  <a:lnTo>
                    <a:pt x="36830" y="46990"/>
                  </a:lnTo>
                  <a:lnTo>
                    <a:pt x="22860" y="2794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17780" y="22860"/>
                  </a:lnTo>
                  <a:lnTo>
                    <a:pt x="0" y="0"/>
                  </a:lnTo>
                  <a:lnTo>
                    <a:pt x="8890" y="0"/>
                  </a:lnTo>
                  <a:lnTo>
                    <a:pt x="22860" y="1778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4302F001-5F1C-4B4B-8FF8-6A3446945576}"/>
                </a:ext>
              </a:extLst>
            </p:cNvPr>
            <p:cNvSpPr/>
            <p:nvPr/>
          </p:nvSpPr>
          <p:spPr>
            <a:xfrm>
              <a:off x="802640" y="6605269"/>
              <a:ext cx="38100" cy="38100"/>
            </a:xfrm>
            <a:custGeom>
              <a:avLst/>
              <a:gdLst>
                <a:gd name="connsiteX0" fmla="*/ 26670 w 38100"/>
                <a:gd name="connsiteY0" fmla="*/ 40640 h 38100"/>
                <a:gd name="connsiteX1" fmla="*/ 36830 w 38100"/>
                <a:gd name="connsiteY1" fmla="*/ 33020 h 38100"/>
                <a:gd name="connsiteX2" fmla="*/ 27940 w 38100"/>
                <a:gd name="connsiteY2" fmla="*/ 25400 h 38100"/>
                <a:gd name="connsiteX3" fmla="*/ 8890 w 38100"/>
                <a:gd name="connsiteY3" fmla="*/ 25400 h 38100"/>
                <a:gd name="connsiteX4" fmla="*/ 8890 w 38100"/>
                <a:gd name="connsiteY4" fmla="*/ 40640 h 38100"/>
                <a:gd name="connsiteX5" fmla="*/ 26670 w 38100"/>
                <a:gd name="connsiteY5" fmla="*/ 40640 h 38100"/>
                <a:gd name="connsiteX6" fmla="*/ 26670 w 38100"/>
                <a:gd name="connsiteY6" fmla="*/ 19050 h 38100"/>
                <a:gd name="connsiteX7" fmla="*/ 34290 w 38100"/>
                <a:gd name="connsiteY7" fmla="*/ 12700 h 38100"/>
                <a:gd name="connsiteX8" fmla="*/ 26670 w 38100"/>
                <a:gd name="connsiteY8" fmla="*/ 6350 h 38100"/>
                <a:gd name="connsiteX9" fmla="*/ 7620 w 38100"/>
                <a:gd name="connsiteY9" fmla="*/ 6350 h 38100"/>
                <a:gd name="connsiteX10" fmla="*/ 7620 w 38100"/>
                <a:gd name="connsiteY10" fmla="*/ 19050 h 38100"/>
                <a:gd name="connsiteX11" fmla="*/ 26670 w 38100"/>
                <a:gd name="connsiteY11" fmla="*/ 19050 h 38100"/>
                <a:gd name="connsiteX12" fmla="*/ 0 w 38100"/>
                <a:gd name="connsiteY12" fmla="*/ 0 h 38100"/>
                <a:gd name="connsiteX13" fmla="*/ 26670 w 38100"/>
                <a:gd name="connsiteY13" fmla="*/ 0 h 38100"/>
                <a:gd name="connsiteX14" fmla="*/ 40640 w 38100"/>
                <a:gd name="connsiteY14" fmla="*/ 11430 h 38100"/>
                <a:gd name="connsiteX15" fmla="*/ 34290 w 38100"/>
                <a:gd name="connsiteY15" fmla="*/ 21590 h 38100"/>
                <a:gd name="connsiteX16" fmla="*/ 34290 w 38100"/>
                <a:gd name="connsiteY16" fmla="*/ 21590 h 38100"/>
                <a:gd name="connsiteX17" fmla="*/ 43180 w 38100"/>
                <a:gd name="connsiteY17" fmla="*/ 33020 h 38100"/>
                <a:gd name="connsiteX18" fmla="*/ 29210 w 38100"/>
                <a:gd name="connsiteY18" fmla="*/ 46990 h 38100"/>
                <a:gd name="connsiteX19" fmla="*/ 27940 w 38100"/>
                <a:gd name="connsiteY19" fmla="*/ 46990 h 38100"/>
                <a:gd name="connsiteX20" fmla="*/ 0 w 38100"/>
                <a:gd name="connsiteY20" fmla="*/ 4699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40640"/>
                  </a:moveTo>
                  <a:cubicBezTo>
                    <a:pt x="34290" y="40640"/>
                    <a:pt x="36830" y="36830"/>
                    <a:pt x="36830" y="33020"/>
                  </a:cubicBezTo>
                  <a:cubicBezTo>
                    <a:pt x="36830" y="29210"/>
                    <a:pt x="34290" y="25400"/>
                    <a:pt x="27940" y="25400"/>
                  </a:cubicBezTo>
                  <a:lnTo>
                    <a:pt x="8890" y="25400"/>
                  </a:lnTo>
                  <a:lnTo>
                    <a:pt x="8890" y="40640"/>
                  </a:lnTo>
                  <a:lnTo>
                    <a:pt x="26670" y="40640"/>
                  </a:lnTo>
                  <a:close/>
                  <a:moveTo>
                    <a:pt x="26670" y="19050"/>
                  </a:moveTo>
                  <a:cubicBezTo>
                    <a:pt x="31750" y="19050"/>
                    <a:pt x="34290" y="16510"/>
                    <a:pt x="34290" y="12700"/>
                  </a:cubicBezTo>
                  <a:cubicBezTo>
                    <a:pt x="34290" y="8890"/>
                    <a:pt x="31750" y="6350"/>
                    <a:pt x="26670" y="6350"/>
                  </a:cubicBezTo>
                  <a:lnTo>
                    <a:pt x="7620" y="6350"/>
                  </a:lnTo>
                  <a:lnTo>
                    <a:pt x="7620" y="19050"/>
                  </a:lnTo>
                  <a:lnTo>
                    <a:pt x="26670" y="19050"/>
                  </a:lnTo>
                  <a:close/>
                  <a:moveTo>
                    <a:pt x="0" y="0"/>
                  </a:moveTo>
                  <a:lnTo>
                    <a:pt x="26670" y="0"/>
                  </a:lnTo>
                  <a:cubicBezTo>
                    <a:pt x="36830" y="0"/>
                    <a:pt x="40640" y="3810"/>
                    <a:pt x="40640" y="11430"/>
                  </a:cubicBezTo>
                  <a:cubicBezTo>
                    <a:pt x="40640" y="16510"/>
                    <a:pt x="38100" y="20320"/>
                    <a:pt x="34290" y="21590"/>
                  </a:cubicBezTo>
                  <a:lnTo>
                    <a:pt x="34290" y="21590"/>
                  </a:lnTo>
                  <a:cubicBezTo>
                    <a:pt x="39370" y="22860"/>
                    <a:pt x="43180" y="27940"/>
                    <a:pt x="43180" y="33020"/>
                  </a:cubicBezTo>
                  <a:cubicBezTo>
                    <a:pt x="43180" y="40640"/>
                    <a:pt x="36830" y="46990"/>
                    <a:pt x="29210" y="46990"/>
                  </a:cubicBezTo>
                  <a:lnTo>
                    <a:pt x="27940" y="46990"/>
                  </a:ln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5FFBA8A-EF8B-489D-BE95-9F98B473327D}"/>
                </a:ext>
              </a:extLst>
            </p:cNvPr>
            <p:cNvSpPr/>
            <p:nvPr/>
          </p:nvSpPr>
          <p:spPr>
            <a:xfrm>
              <a:off x="85725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127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127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87E157F-E5F5-43D2-8DF1-07B7BAA302DC}"/>
                </a:ext>
              </a:extLst>
            </p:cNvPr>
            <p:cNvSpPr/>
            <p:nvPr/>
          </p:nvSpPr>
          <p:spPr>
            <a:xfrm>
              <a:off x="905510" y="6605269"/>
              <a:ext cx="50800" cy="38100"/>
            </a:xfrm>
            <a:custGeom>
              <a:avLst/>
              <a:gdLst>
                <a:gd name="connsiteX0" fmla="*/ 25400 w 50800"/>
                <a:gd name="connsiteY0" fmla="*/ 6350 h 38100"/>
                <a:gd name="connsiteX1" fmla="*/ 16510 w 50800"/>
                <a:gd name="connsiteY1" fmla="*/ 26670 h 38100"/>
                <a:gd name="connsiteX2" fmla="*/ 34290 w 50800"/>
                <a:gd name="connsiteY2" fmla="*/ 26670 h 38100"/>
                <a:gd name="connsiteX3" fmla="*/ 2540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5400" y="6350"/>
                  </a:moveTo>
                  <a:lnTo>
                    <a:pt x="16510" y="26670"/>
                  </a:lnTo>
                  <a:lnTo>
                    <a:pt x="34290" y="26670"/>
                  </a:lnTo>
                  <a:lnTo>
                    <a:pt x="2540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1DCF19E-BDBD-46C9-A130-E96367FE80F1}"/>
                </a:ext>
              </a:extLst>
            </p:cNvPr>
            <p:cNvSpPr/>
            <p:nvPr/>
          </p:nvSpPr>
          <p:spPr>
            <a:xfrm>
              <a:off x="962660" y="6605269"/>
              <a:ext cx="38100" cy="38100"/>
            </a:xfrm>
            <a:custGeom>
              <a:avLst/>
              <a:gdLst>
                <a:gd name="connsiteX0" fmla="*/ 6350 w 38100"/>
                <a:gd name="connsiteY0" fmla="*/ 8890 h 38100"/>
                <a:gd name="connsiteX1" fmla="*/ 6350 w 38100"/>
                <a:gd name="connsiteY1" fmla="*/ 8890 h 38100"/>
                <a:gd name="connsiteX2" fmla="*/ 6350 w 38100"/>
                <a:gd name="connsiteY2" fmla="*/ 46990 h 38100"/>
                <a:gd name="connsiteX3" fmla="*/ 0 w 38100"/>
                <a:gd name="connsiteY3" fmla="*/ 46990 h 38100"/>
                <a:gd name="connsiteX4" fmla="*/ 0 w 38100"/>
                <a:gd name="connsiteY4" fmla="*/ 0 h 38100"/>
                <a:gd name="connsiteX5" fmla="*/ 7620 w 38100"/>
                <a:gd name="connsiteY5" fmla="*/ 0 h 38100"/>
                <a:gd name="connsiteX6" fmla="*/ 38100 w 38100"/>
                <a:gd name="connsiteY6" fmla="*/ 36830 h 38100"/>
                <a:gd name="connsiteX7" fmla="*/ 38100 w 38100"/>
                <a:gd name="connsiteY7" fmla="*/ 36830 h 38100"/>
                <a:gd name="connsiteX8" fmla="*/ 38100 w 38100"/>
                <a:gd name="connsiteY8" fmla="*/ 0 h 38100"/>
                <a:gd name="connsiteX9" fmla="*/ 45720 w 38100"/>
                <a:gd name="connsiteY9" fmla="*/ 0 h 38100"/>
                <a:gd name="connsiteX10" fmla="*/ 45720 w 38100"/>
                <a:gd name="connsiteY10" fmla="*/ 46990 h 38100"/>
                <a:gd name="connsiteX11" fmla="*/ 3683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6350" y="8890"/>
                  </a:moveTo>
                  <a:lnTo>
                    <a:pt x="6350" y="8890"/>
                  </a:lnTo>
                  <a:lnTo>
                    <a:pt x="6350" y="46990"/>
                  </a:lnTo>
                  <a:lnTo>
                    <a:pt x="0" y="46990"/>
                  </a:lnTo>
                  <a:lnTo>
                    <a:pt x="0" y="0"/>
                  </a:lnTo>
                  <a:lnTo>
                    <a:pt x="7620" y="0"/>
                  </a:lnTo>
                  <a:lnTo>
                    <a:pt x="38100" y="36830"/>
                  </a:lnTo>
                  <a:lnTo>
                    <a:pt x="38100" y="36830"/>
                  </a:lnTo>
                  <a:lnTo>
                    <a:pt x="38100" y="0"/>
                  </a:lnTo>
                  <a:lnTo>
                    <a:pt x="45720" y="0"/>
                  </a:lnTo>
                  <a:lnTo>
                    <a:pt x="45720" y="46990"/>
                  </a:lnTo>
                  <a:lnTo>
                    <a:pt x="36830" y="4699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5E1B88B-CD10-4812-B673-4524E2A70B3F}"/>
                </a:ext>
              </a:extLst>
            </p:cNvPr>
            <p:cNvSpPr/>
            <p:nvPr/>
          </p:nvSpPr>
          <p:spPr>
            <a:xfrm>
              <a:off x="1022350" y="6605269"/>
              <a:ext cx="38100" cy="38100"/>
            </a:xfrm>
            <a:custGeom>
              <a:avLst/>
              <a:gdLst>
                <a:gd name="connsiteX0" fmla="*/ 24130 w 38100"/>
                <a:gd name="connsiteY0" fmla="*/ 40640 h 38100"/>
                <a:gd name="connsiteX1" fmla="*/ 38100 w 38100"/>
                <a:gd name="connsiteY1" fmla="*/ 22860 h 38100"/>
                <a:gd name="connsiteX2" fmla="*/ 2286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40640 h 38100"/>
                <a:gd name="connsiteX5" fmla="*/ 24130 w 38100"/>
                <a:gd name="connsiteY5" fmla="*/ 40640 h 38100"/>
                <a:gd name="connsiteX6" fmla="*/ 0 w 38100"/>
                <a:gd name="connsiteY6" fmla="*/ 0 h 38100"/>
                <a:gd name="connsiteX7" fmla="*/ 24130 w 38100"/>
                <a:gd name="connsiteY7" fmla="*/ 0 h 38100"/>
                <a:gd name="connsiteX8" fmla="*/ 44450 w 38100"/>
                <a:gd name="connsiteY8" fmla="*/ 22860 h 38100"/>
                <a:gd name="connsiteX9" fmla="*/ 24130 w 38100"/>
                <a:gd name="connsiteY9" fmla="*/ 46990 h 38100"/>
                <a:gd name="connsiteX10" fmla="*/ 0 w 38100"/>
                <a:gd name="connsiteY10" fmla="*/ 46990 h 38100"/>
                <a:gd name="connsiteX11" fmla="*/ 0 w 38100"/>
                <a:gd name="connsiteY1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24130" y="40640"/>
                  </a:moveTo>
                  <a:cubicBezTo>
                    <a:pt x="35560" y="40640"/>
                    <a:pt x="38100" y="31750"/>
                    <a:pt x="38100" y="22860"/>
                  </a:cubicBezTo>
                  <a:cubicBezTo>
                    <a:pt x="38100" y="13970"/>
                    <a:pt x="35560" y="6350"/>
                    <a:pt x="22860" y="6350"/>
                  </a:cubicBezTo>
                  <a:lnTo>
                    <a:pt x="6350" y="6350"/>
                  </a:lnTo>
                  <a:lnTo>
                    <a:pt x="6350" y="40640"/>
                  </a:lnTo>
                  <a:lnTo>
                    <a:pt x="24130" y="40640"/>
                  </a:lnTo>
                  <a:close/>
                  <a:moveTo>
                    <a:pt x="0" y="0"/>
                  </a:moveTo>
                  <a:lnTo>
                    <a:pt x="24130" y="0"/>
                  </a:lnTo>
                  <a:cubicBezTo>
                    <a:pt x="38100" y="0"/>
                    <a:pt x="44450" y="8890"/>
                    <a:pt x="44450" y="22860"/>
                  </a:cubicBezTo>
                  <a:cubicBezTo>
                    <a:pt x="44450" y="36830"/>
                    <a:pt x="38100" y="46990"/>
                    <a:pt x="24130" y="46990"/>
                  </a:cubicBez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C9C87841-CAC5-4E6D-807E-39663948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93784" y="6317107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830120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eneral Branded Cover (Clean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AD8623F-CF98-4400-9223-3E03750A45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DF05BC19-761B-4B61-8A07-59F105AC4E8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" y="5676902"/>
            <a:ext cx="12191979" cy="118109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</p:spTree>
    <p:extLst>
      <p:ext uri="{BB962C8B-B14F-4D97-AF65-F5344CB8AC3E}">
        <p14:creationId xmlns:p14="http://schemas.microsoft.com/office/powerpoint/2010/main" val="364036672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ean Blue Blank Construc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69ACADD-ACDB-4D31-8F88-A2A090EDE4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DF05BC19-761B-4B61-8A07-59F105AC4E8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" y="5676902"/>
            <a:ext cx="12191979" cy="118109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</p:spTree>
    <p:extLst>
      <p:ext uri="{BB962C8B-B14F-4D97-AF65-F5344CB8AC3E}">
        <p14:creationId xmlns:p14="http://schemas.microsoft.com/office/powerpoint/2010/main" val="425996023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ean Blue Blank Indoor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69ACADD-ACDB-4D31-8F88-A2A090EDE4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DF05BC19-761B-4B61-8A07-59F105AC4E8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" y="5676902"/>
            <a:ext cx="12191979" cy="118109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2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</p:spTree>
    <p:extLst>
      <p:ext uri="{BB962C8B-B14F-4D97-AF65-F5344CB8AC3E}">
        <p14:creationId xmlns:p14="http://schemas.microsoft.com/office/powerpoint/2010/main" val="38225207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ean Blue Blan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69ACADD-ACDB-4D31-8F88-A2A090EDE4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2541C23-8320-4805-8D2F-86447E57A19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032500"/>
            <a:ext cx="121920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293719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Blue XC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EA0AF4-F0FD-46FA-905B-2207C59FD9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032500"/>
            <a:ext cx="121920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31444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Blue FE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82669ED-84B9-4FD3-B772-FD8992375C4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032500"/>
            <a:ext cx="121920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1001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Row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0A63861B-90FD-E64C-B652-00D09A6DFF47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A569F598-26FE-1F46-BF5A-90543C0EC92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5B7382A6-B11D-9844-8C1F-7C365B7568A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A4800433-6587-8141-979E-43FBBE58A67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1328BD7A-4953-4A17-92F4-91363B0643B7}"/>
              </a:ext>
            </a:extLst>
          </p:cNvPr>
          <p:cNvSpPr/>
          <p:nvPr/>
        </p:nvSpPr>
        <p:spPr>
          <a:xfrm>
            <a:off x="4291963" y="3678078"/>
            <a:ext cx="3689990" cy="21712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CA250B1-44FF-4908-A97C-5A94C3FD77F7}"/>
              </a:ext>
            </a:extLst>
          </p:cNvPr>
          <p:cNvSpPr/>
          <p:nvPr/>
        </p:nvSpPr>
        <p:spPr>
          <a:xfrm>
            <a:off x="440055" y="3678078"/>
            <a:ext cx="3689990" cy="21712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92F8EDA-8514-4485-8DAE-DB541078A6A9}"/>
              </a:ext>
            </a:extLst>
          </p:cNvPr>
          <p:cNvSpPr/>
          <p:nvPr/>
        </p:nvSpPr>
        <p:spPr>
          <a:xfrm>
            <a:off x="8154345" y="3678078"/>
            <a:ext cx="3689990" cy="19892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D7AE687-04F8-453F-B01A-EF4E07AAB130}"/>
              </a:ext>
            </a:extLst>
          </p:cNvPr>
          <p:cNvSpPr/>
          <p:nvPr/>
        </p:nvSpPr>
        <p:spPr>
          <a:xfrm>
            <a:off x="4297200" y="1414145"/>
            <a:ext cx="368999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20CF236-C302-4870-B926-31A3DEBF4579}"/>
              </a:ext>
            </a:extLst>
          </p:cNvPr>
          <p:cNvSpPr/>
          <p:nvPr/>
        </p:nvSpPr>
        <p:spPr>
          <a:xfrm>
            <a:off x="440055" y="1414145"/>
            <a:ext cx="368999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5D30D6-723D-4F0C-A922-766E7C64BACC}"/>
              </a:ext>
            </a:extLst>
          </p:cNvPr>
          <p:cNvSpPr/>
          <p:nvPr/>
        </p:nvSpPr>
        <p:spPr>
          <a:xfrm>
            <a:off x="350204" y="766510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1F0A719-295C-4138-BAB3-723338DFCF12}"/>
              </a:ext>
            </a:extLst>
          </p:cNvPr>
          <p:cNvSpPr/>
          <p:nvPr/>
        </p:nvSpPr>
        <p:spPr>
          <a:xfrm>
            <a:off x="350204" y="272210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9D86C1-4F90-4129-948C-8D9CB9390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4E4043-7A6B-4D4A-AC75-079EF30A2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BB6B182-6E84-4E5D-A735-AD709AA93C4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7662" y="769980"/>
            <a:ext cx="11844331" cy="452286"/>
          </a:xfrm>
        </p:spPr>
        <p:txBody>
          <a:bodyPr anchor="ctr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3BA70509-90E9-4C1B-9BEB-EF4EA172E16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nº›</a:t>
            </a:fld>
            <a:endParaRPr lang="en-US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FE83CEA-2DC9-FF43-A744-0738D0894A40}"/>
              </a:ext>
            </a:extLst>
          </p:cNvPr>
          <p:cNvCxnSpPr/>
          <p:nvPr/>
        </p:nvCxnSpPr>
        <p:spPr>
          <a:xfrm>
            <a:off x="440055" y="3620870"/>
            <a:ext cx="11393806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28FD8A3-A5E4-DD41-8D3E-4DFA9EA4BD9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0055" y="1382713"/>
            <a:ext cx="3171825" cy="211613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Picture Placeholder 7">
            <a:extLst>
              <a:ext uri="{FF2B5EF4-FFF2-40B4-BE49-F238E27FC236}">
                <a16:creationId xmlns:a16="http://schemas.microsoft.com/office/drawing/2014/main" id="{79DCDC98-89DD-D049-88EE-60595F79EDE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40054" y="3761703"/>
            <a:ext cx="3171825" cy="211613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519A2488-7F75-7B48-B2A5-5EF5214C0CE1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895723" y="1393007"/>
            <a:ext cx="4086229" cy="2100110"/>
          </a:xfrm>
        </p:spPr>
        <p:txBody>
          <a:bodyPr lIns="0" tIns="0" rIns="0" bIns="0"/>
          <a:lstStyle>
            <a:lvl1pPr marL="0" indent="0">
              <a:buNone/>
              <a:defRPr sz="1600" b="0"/>
            </a:lvl1pPr>
            <a:lvl2pPr marL="457200" indent="0">
              <a:buNone/>
              <a:defRPr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sz="2400">
                <a:solidFill>
                  <a:schemeClr val="accent1"/>
                </a:solidFill>
              </a:rPr>
              <a:t>Click to add Title </a:t>
            </a:r>
          </a:p>
          <a:p>
            <a:pPr lvl="0"/>
            <a:r>
              <a:rPr lang="en-GB"/>
              <a:t>Second level</a:t>
            </a:r>
            <a:endParaRPr lang="en-US"/>
          </a:p>
        </p:txBody>
      </p:sp>
      <p:sp>
        <p:nvSpPr>
          <p:cNvPr id="34" name="Content Placeholder 30">
            <a:extLst>
              <a:ext uri="{FF2B5EF4-FFF2-40B4-BE49-F238E27FC236}">
                <a16:creationId xmlns:a16="http://schemas.microsoft.com/office/drawing/2014/main" id="{6A868EB0-3C1E-8248-8C95-5A6A2483DA8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895723" y="3771997"/>
            <a:ext cx="4086229" cy="2116136"/>
          </a:xfrm>
        </p:spPr>
        <p:txBody>
          <a:bodyPr lIns="0" tIns="0" rIns="0" bIns="0"/>
          <a:lstStyle>
            <a:lvl1pPr marL="0" indent="0">
              <a:buNone/>
              <a:defRPr sz="1600" b="0"/>
            </a:lvl1pPr>
            <a:lvl2pPr marL="457200" indent="0">
              <a:buNone/>
              <a:defRPr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sz="2400">
                <a:solidFill>
                  <a:schemeClr val="accent1"/>
                </a:solidFill>
              </a:rPr>
              <a:t>Click to add Title </a:t>
            </a:r>
          </a:p>
          <a:p>
            <a:pPr lvl="0"/>
            <a:r>
              <a:rPr lang="en-GB"/>
              <a:t>Second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32917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Blue J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09EFEA0-D8BE-4DC9-8757-DAFE872E097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032500"/>
            <a:ext cx="121920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49409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Blue Blue-Green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D35225A-FE52-41BF-BAF0-5745C53742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032500"/>
            <a:ext cx="121920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4636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ft Connect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AB77F8-D676-405A-AA2C-CCA0E23DADB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032500"/>
            <a:ext cx="121920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44453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er Slide 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457390-8C62-4465-A819-B8E149E0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5650" y="443948"/>
            <a:ext cx="9837190" cy="3022995"/>
          </a:xfrm>
        </p:spPr>
        <p:txBody>
          <a:bodyPr anchor="b"/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8216746-2893-4394-A2B9-F1B4B1A105E8}"/>
              </a:ext>
            </a:extLst>
          </p:cNvPr>
          <p:cNvGrpSpPr/>
          <p:nvPr userDrawn="1"/>
        </p:nvGrpSpPr>
        <p:grpSpPr>
          <a:xfrm>
            <a:off x="329368" y="297898"/>
            <a:ext cx="1037754" cy="375165"/>
            <a:chOff x="430366" y="6268204"/>
            <a:chExt cx="1037754" cy="375165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9C550075-4100-41D3-8C0C-B50828946515}"/>
                </a:ext>
              </a:extLst>
            </p:cNvPr>
            <p:cNvSpPr/>
            <p:nvPr/>
          </p:nvSpPr>
          <p:spPr>
            <a:xfrm>
              <a:off x="430366" y="6268204"/>
              <a:ext cx="241300" cy="292100"/>
            </a:xfrm>
            <a:custGeom>
              <a:avLst/>
              <a:gdLst>
                <a:gd name="connsiteX0" fmla="*/ 245274 w 241300"/>
                <a:gd name="connsiteY0" fmla="*/ 257055 h 292100"/>
                <a:gd name="connsiteX1" fmla="*/ 245274 w 241300"/>
                <a:gd name="connsiteY1" fmla="*/ 88145 h 292100"/>
                <a:gd name="connsiteX2" fmla="*/ 156374 w 241300"/>
                <a:gd name="connsiteY2" fmla="*/ 179585 h 292100"/>
                <a:gd name="connsiteX3" fmla="*/ 179234 w 241300"/>
                <a:gd name="connsiteY3" fmla="*/ 206255 h 292100"/>
                <a:gd name="connsiteX4" fmla="*/ 144944 w 241300"/>
                <a:gd name="connsiteY4" fmla="*/ 226575 h 292100"/>
                <a:gd name="connsiteX5" fmla="*/ 64934 w 241300"/>
                <a:gd name="connsiteY5" fmla="*/ 146565 h 292100"/>
                <a:gd name="connsiteX6" fmla="*/ 144944 w 241300"/>
                <a:gd name="connsiteY6" fmla="*/ 66555 h 292100"/>
                <a:gd name="connsiteX7" fmla="*/ 183044 w 241300"/>
                <a:gd name="connsiteY7" fmla="*/ 76715 h 292100"/>
                <a:gd name="connsiteX8" fmla="*/ 231304 w 241300"/>
                <a:gd name="connsiteY8" fmla="*/ 27185 h 292100"/>
                <a:gd name="connsiteX9" fmla="*/ 26834 w 241300"/>
                <a:gd name="connsiteY9" fmla="*/ 62745 h 292100"/>
                <a:gd name="connsiteX10" fmla="*/ 62394 w 241300"/>
                <a:gd name="connsiteY10" fmla="*/ 267215 h 292100"/>
                <a:gd name="connsiteX11" fmla="*/ 245274 w 241300"/>
                <a:gd name="connsiteY11" fmla="*/ 257055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300" h="292100">
                  <a:moveTo>
                    <a:pt x="245274" y="257055"/>
                  </a:moveTo>
                  <a:lnTo>
                    <a:pt x="245274" y="88145"/>
                  </a:lnTo>
                  <a:lnTo>
                    <a:pt x="156374" y="179585"/>
                  </a:lnTo>
                  <a:cubicBezTo>
                    <a:pt x="156374" y="179585"/>
                    <a:pt x="179234" y="178315"/>
                    <a:pt x="179234" y="206255"/>
                  </a:cubicBezTo>
                  <a:cubicBezTo>
                    <a:pt x="179234" y="206255"/>
                    <a:pt x="177964" y="226575"/>
                    <a:pt x="144944" y="226575"/>
                  </a:cubicBezTo>
                  <a:cubicBezTo>
                    <a:pt x="100494" y="226575"/>
                    <a:pt x="64934" y="189745"/>
                    <a:pt x="64934" y="146565"/>
                  </a:cubicBezTo>
                  <a:cubicBezTo>
                    <a:pt x="64934" y="103385"/>
                    <a:pt x="101764" y="66555"/>
                    <a:pt x="144944" y="66555"/>
                  </a:cubicBezTo>
                  <a:cubicBezTo>
                    <a:pt x="157644" y="66555"/>
                    <a:pt x="170344" y="70365"/>
                    <a:pt x="183044" y="76715"/>
                  </a:cubicBezTo>
                  <a:lnTo>
                    <a:pt x="231304" y="27185"/>
                  </a:lnTo>
                  <a:cubicBezTo>
                    <a:pt x="166534" y="-19805"/>
                    <a:pt x="73824" y="-4565"/>
                    <a:pt x="26834" y="62745"/>
                  </a:cubicBezTo>
                  <a:cubicBezTo>
                    <a:pt x="-20156" y="128785"/>
                    <a:pt x="-3646" y="220225"/>
                    <a:pt x="62394" y="267215"/>
                  </a:cubicBezTo>
                  <a:cubicBezTo>
                    <a:pt x="118274" y="306585"/>
                    <a:pt x="194474" y="302775"/>
                    <a:pt x="245274" y="257055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ADF75A6-D109-4B97-B1BE-CC8C840E272D}"/>
                </a:ext>
              </a:extLst>
            </p:cNvPr>
            <p:cNvSpPr/>
            <p:nvPr/>
          </p:nvSpPr>
          <p:spPr>
            <a:xfrm>
              <a:off x="689628" y="6344937"/>
              <a:ext cx="419100" cy="203200"/>
            </a:xfrm>
            <a:custGeom>
              <a:avLst/>
              <a:gdLst>
                <a:gd name="connsiteX0" fmla="*/ 314942 w 419100"/>
                <a:gd name="connsiteY0" fmla="*/ 2522 h 203200"/>
                <a:gd name="connsiteX1" fmla="*/ 314942 w 419100"/>
                <a:gd name="connsiteY1" fmla="*/ 2522 h 203200"/>
                <a:gd name="connsiteX2" fmla="*/ 210802 w 419100"/>
                <a:gd name="connsiteY2" fmla="*/ 90152 h 203200"/>
                <a:gd name="connsiteX3" fmla="*/ 210802 w 419100"/>
                <a:gd name="connsiteY3" fmla="*/ 90152 h 203200"/>
                <a:gd name="connsiteX4" fmla="*/ 90152 w 419100"/>
                <a:gd name="connsiteY4" fmla="*/ 1252 h 203200"/>
                <a:gd name="connsiteX5" fmla="*/ 1252 w 419100"/>
                <a:gd name="connsiteY5" fmla="*/ 121902 h 203200"/>
                <a:gd name="connsiteX6" fmla="*/ 106662 w 419100"/>
                <a:gd name="connsiteY6" fmla="*/ 212072 h 203200"/>
                <a:gd name="connsiteX7" fmla="*/ 128252 w 419100"/>
                <a:gd name="connsiteY7" fmla="*/ 212072 h 203200"/>
                <a:gd name="connsiteX8" fmla="*/ 274302 w 419100"/>
                <a:gd name="connsiteY8" fmla="*/ 212072 h 203200"/>
                <a:gd name="connsiteX9" fmla="*/ 274302 w 419100"/>
                <a:gd name="connsiteY9" fmla="*/ 106662 h 203200"/>
                <a:gd name="connsiteX10" fmla="*/ 318752 w 419100"/>
                <a:gd name="connsiteY10" fmla="*/ 66022 h 203200"/>
                <a:gd name="connsiteX11" fmla="*/ 359392 w 419100"/>
                <a:gd name="connsiteY11" fmla="*/ 106662 h 203200"/>
                <a:gd name="connsiteX12" fmla="*/ 359392 w 419100"/>
                <a:gd name="connsiteY12" fmla="*/ 212072 h 203200"/>
                <a:gd name="connsiteX13" fmla="*/ 422892 w 419100"/>
                <a:gd name="connsiteY13" fmla="*/ 212072 h 203200"/>
                <a:gd name="connsiteX14" fmla="*/ 422892 w 419100"/>
                <a:gd name="connsiteY14" fmla="*/ 106662 h 203200"/>
                <a:gd name="connsiteX15" fmla="*/ 314942 w 419100"/>
                <a:gd name="connsiteY15" fmla="*/ 2522 h 203200"/>
                <a:gd name="connsiteX16" fmla="*/ 77452 w 419100"/>
                <a:gd name="connsiteY16" fmla="*/ 138412 h 203200"/>
                <a:gd name="connsiteX17" fmla="*/ 63482 w 419100"/>
                <a:gd name="connsiteY17" fmla="*/ 107932 h 203200"/>
                <a:gd name="connsiteX18" fmla="*/ 106662 w 419100"/>
                <a:gd name="connsiteY18" fmla="*/ 66022 h 203200"/>
                <a:gd name="connsiteX19" fmla="*/ 106662 w 419100"/>
                <a:gd name="connsiteY19" fmla="*/ 66022 h 203200"/>
                <a:gd name="connsiteX20" fmla="*/ 137142 w 419100"/>
                <a:gd name="connsiteY20" fmla="*/ 78722 h 203200"/>
                <a:gd name="connsiteX21" fmla="*/ 77452 w 419100"/>
                <a:gd name="connsiteY21" fmla="*/ 138412 h 203200"/>
                <a:gd name="connsiteX22" fmla="*/ 154922 w 419100"/>
                <a:gd name="connsiteY22" fmla="*/ 151112 h 203200"/>
                <a:gd name="connsiteX23" fmla="*/ 212072 w 419100"/>
                <a:gd name="connsiteY23" fmla="*/ 93962 h 203200"/>
                <a:gd name="connsiteX24" fmla="*/ 269222 w 419100"/>
                <a:gd name="connsiteY24" fmla="*/ 151112 h 203200"/>
                <a:gd name="connsiteX25" fmla="*/ 154922 w 419100"/>
                <a:gd name="connsiteY25" fmla="*/ 1511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19100" h="203200">
                  <a:moveTo>
                    <a:pt x="314942" y="2522"/>
                  </a:moveTo>
                  <a:lnTo>
                    <a:pt x="314942" y="2522"/>
                  </a:lnTo>
                  <a:cubicBezTo>
                    <a:pt x="262872" y="2522"/>
                    <a:pt x="218422" y="39352"/>
                    <a:pt x="210802" y="90152"/>
                  </a:cubicBez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74302" y="212072"/>
                  </a:lnTo>
                  <a:lnTo>
                    <a:pt x="274302" y="106662"/>
                  </a:lnTo>
                  <a:cubicBezTo>
                    <a:pt x="275572" y="82532"/>
                    <a:pt x="294622" y="64752"/>
                    <a:pt x="318752" y="66022"/>
                  </a:cubicBezTo>
                  <a:cubicBezTo>
                    <a:pt x="340342" y="67292"/>
                    <a:pt x="358122" y="85072"/>
                    <a:pt x="359392" y="106662"/>
                  </a:cubicBezTo>
                  <a:lnTo>
                    <a:pt x="359392" y="212072"/>
                  </a:lnTo>
                  <a:lnTo>
                    <a:pt x="422892" y="212072"/>
                  </a:lnTo>
                  <a:lnTo>
                    <a:pt x="422892" y="106662"/>
                  </a:lnTo>
                  <a:cubicBezTo>
                    <a:pt x="421622" y="49512"/>
                    <a:pt x="373362" y="2522"/>
                    <a:pt x="314942" y="2522"/>
                  </a:cubicBezTo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7932"/>
                  </a:cubicBezTo>
                  <a:cubicBezTo>
                    <a:pt x="63482" y="83802"/>
                    <a:pt x="82532" y="64752"/>
                    <a:pt x="106662" y="66022"/>
                  </a:cubicBezTo>
                  <a:lnTo>
                    <a:pt x="106662" y="66022"/>
                  </a:lnTo>
                  <a:cubicBezTo>
                    <a:pt x="118092" y="66022"/>
                    <a:pt x="128252" y="69832"/>
                    <a:pt x="137142" y="78722"/>
                  </a:cubicBezTo>
                  <a:lnTo>
                    <a:pt x="77452" y="138412"/>
                  </a:lnTo>
                  <a:close/>
                  <a:moveTo>
                    <a:pt x="154922" y="151112"/>
                  </a:moveTo>
                  <a:lnTo>
                    <a:pt x="212072" y="93962"/>
                  </a:lnTo>
                  <a:lnTo>
                    <a:pt x="269222" y="151112"/>
                  </a:lnTo>
                  <a:lnTo>
                    <a:pt x="154922" y="151112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FAB10A0-9B10-4687-9D5E-506BCCF7BB54}"/>
                </a:ext>
              </a:extLst>
            </p:cNvPr>
            <p:cNvSpPr/>
            <p:nvPr/>
          </p:nvSpPr>
          <p:spPr>
            <a:xfrm>
              <a:off x="1104900" y="6278879"/>
              <a:ext cx="114300" cy="279400"/>
            </a:xfrm>
            <a:custGeom>
              <a:avLst/>
              <a:gdLst>
                <a:gd name="connsiteX0" fmla="*/ 114300 w 114300"/>
                <a:gd name="connsiteY0" fmla="*/ 57150 h 279400"/>
                <a:gd name="connsiteX1" fmla="*/ 0 w 114300"/>
                <a:gd name="connsiteY1" fmla="*/ 57150 h 279400"/>
                <a:gd name="connsiteX2" fmla="*/ 57150 w 114300"/>
                <a:gd name="connsiteY2" fmla="*/ 0 h 279400"/>
                <a:gd name="connsiteX3" fmla="*/ 114300 w 114300"/>
                <a:gd name="connsiteY3" fmla="*/ 57150 h 279400"/>
                <a:gd name="connsiteX4" fmla="*/ 88900 w 114300"/>
                <a:gd name="connsiteY4" fmla="*/ 78740 h 279400"/>
                <a:gd name="connsiteX5" fmla="*/ 25400 w 114300"/>
                <a:gd name="connsiteY5" fmla="*/ 78740 h 279400"/>
                <a:gd name="connsiteX6" fmla="*/ 25400 w 114300"/>
                <a:gd name="connsiteY6" fmla="*/ 279400 h 279400"/>
                <a:gd name="connsiteX7" fmla="*/ 88900 w 114300"/>
                <a:gd name="connsiteY7" fmla="*/ 279400 h 279400"/>
                <a:gd name="connsiteX8" fmla="*/ 88900 w 114300"/>
                <a:gd name="connsiteY8" fmla="*/ 7874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279400">
                  <a:moveTo>
                    <a:pt x="114300" y="57150"/>
                  </a:moveTo>
                  <a:lnTo>
                    <a:pt x="0" y="57150"/>
                  </a:lnTo>
                  <a:lnTo>
                    <a:pt x="57150" y="0"/>
                  </a:lnTo>
                  <a:lnTo>
                    <a:pt x="114300" y="57150"/>
                  </a:lnTo>
                  <a:close/>
                  <a:moveTo>
                    <a:pt x="88900" y="78740"/>
                  </a:moveTo>
                  <a:lnTo>
                    <a:pt x="25400" y="78740"/>
                  </a:lnTo>
                  <a:lnTo>
                    <a:pt x="25400" y="279400"/>
                  </a:lnTo>
                  <a:lnTo>
                    <a:pt x="88900" y="279400"/>
                  </a:lnTo>
                  <a:lnTo>
                    <a:pt x="88900" y="7874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84DF5BB6-34DE-4ECE-B726-65514465BB5F}"/>
                </a:ext>
              </a:extLst>
            </p:cNvPr>
            <p:cNvSpPr/>
            <p:nvPr/>
          </p:nvSpPr>
          <p:spPr>
            <a:xfrm>
              <a:off x="1207788" y="6344937"/>
              <a:ext cx="203200" cy="203200"/>
            </a:xfrm>
            <a:custGeom>
              <a:avLst/>
              <a:gdLst>
                <a:gd name="connsiteX0" fmla="*/ 212072 w 203200"/>
                <a:gd name="connsiteY0" fmla="*/ 93962 h 203200"/>
                <a:gd name="connsiteX1" fmla="*/ 210802 w 203200"/>
                <a:gd name="connsiteY1" fmla="*/ 90152 h 203200"/>
                <a:gd name="connsiteX2" fmla="*/ 210802 w 203200"/>
                <a:gd name="connsiteY2" fmla="*/ 90152 h 203200"/>
                <a:gd name="connsiteX3" fmla="*/ 90152 w 203200"/>
                <a:gd name="connsiteY3" fmla="*/ 1252 h 203200"/>
                <a:gd name="connsiteX4" fmla="*/ 1252 w 203200"/>
                <a:gd name="connsiteY4" fmla="*/ 121902 h 203200"/>
                <a:gd name="connsiteX5" fmla="*/ 106662 w 203200"/>
                <a:gd name="connsiteY5" fmla="*/ 212072 h 203200"/>
                <a:gd name="connsiteX6" fmla="*/ 128252 w 203200"/>
                <a:gd name="connsiteY6" fmla="*/ 212072 h 203200"/>
                <a:gd name="connsiteX7" fmla="*/ 212072 w 203200"/>
                <a:gd name="connsiteY7" fmla="*/ 212072 h 203200"/>
                <a:gd name="connsiteX8" fmla="*/ 212072 w 203200"/>
                <a:gd name="connsiteY8" fmla="*/ 149842 h 203200"/>
                <a:gd name="connsiteX9" fmla="*/ 154922 w 203200"/>
                <a:gd name="connsiteY9" fmla="*/ 149842 h 203200"/>
                <a:gd name="connsiteX10" fmla="*/ 212072 w 203200"/>
                <a:gd name="connsiteY10" fmla="*/ 93962 h 203200"/>
                <a:gd name="connsiteX11" fmla="*/ 77452 w 203200"/>
                <a:gd name="connsiteY11" fmla="*/ 138412 h 203200"/>
                <a:gd name="connsiteX12" fmla="*/ 63482 w 203200"/>
                <a:gd name="connsiteY12" fmla="*/ 106662 h 203200"/>
                <a:gd name="connsiteX13" fmla="*/ 106662 w 203200"/>
                <a:gd name="connsiteY13" fmla="*/ 64752 h 203200"/>
                <a:gd name="connsiteX14" fmla="*/ 106662 w 203200"/>
                <a:gd name="connsiteY14" fmla="*/ 64752 h 203200"/>
                <a:gd name="connsiteX15" fmla="*/ 137142 w 203200"/>
                <a:gd name="connsiteY15" fmla="*/ 77452 h 203200"/>
                <a:gd name="connsiteX16" fmla="*/ 77452 w 203200"/>
                <a:gd name="connsiteY16" fmla="*/ 1384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200" h="203200">
                  <a:moveTo>
                    <a:pt x="212072" y="93962"/>
                  </a:moveTo>
                  <a:lnTo>
                    <a:pt x="210802" y="90152"/>
                  </a:ln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12072" y="212072"/>
                  </a:lnTo>
                  <a:lnTo>
                    <a:pt x="212072" y="149842"/>
                  </a:lnTo>
                  <a:lnTo>
                    <a:pt x="154922" y="149842"/>
                  </a:lnTo>
                  <a:lnTo>
                    <a:pt x="212072" y="93962"/>
                  </a:lnTo>
                  <a:close/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6662"/>
                  </a:cubicBezTo>
                  <a:cubicBezTo>
                    <a:pt x="63482" y="82532"/>
                    <a:pt x="82532" y="63482"/>
                    <a:pt x="106662" y="64752"/>
                  </a:cubicBezTo>
                  <a:lnTo>
                    <a:pt x="106662" y="64752"/>
                  </a:lnTo>
                  <a:cubicBezTo>
                    <a:pt x="118092" y="64752"/>
                    <a:pt x="128252" y="68562"/>
                    <a:pt x="137142" y="77452"/>
                  </a:cubicBezTo>
                  <a:lnTo>
                    <a:pt x="77452" y="138412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88EF019-99BA-4C9F-A51C-A2D3591CF57B}"/>
                </a:ext>
              </a:extLst>
            </p:cNvPr>
            <p:cNvSpPr/>
            <p:nvPr/>
          </p:nvSpPr>
          <p:spPr>
            <a:xfrm>
              <a:off x="1430020" y="6518909"/>
              <a:ext cx="38100" cy="38100"/>
            </a:xfrm>
            <a:custGeom>
              <a:avLst/>
              <a:gdLst>
                <a:gd name="connsiteX0" fmla="*/ 19050 w 38100"/>
                <a:gd name="connsiteY0" fmla="*/ 0 h 38100"/>
                <a:gd name="connsiteX1" fmla="*/ 0 w 38100"/>
                <a:gd name="connsiteY1" fmla="*/ 19050 h 38100"/>
                <a:gd name="connsiteX2" fmla="*/ 19050 w 38100"/>
                <a:gd name="connsiteY2" fmla="*/ 38100 h 38100"/>
                <a:gd name="connsiteX3" fmla="*/ 38100 w 38100"/>
                <a:gd name="connsiteY3" fmla="*/ 19050 h 38100"/>
                <a:gd name="connsiteX4" fmla="*/ 19050 w 38100"/>
                <a:gd name="connsiteY4" fmla="*/ 0 h 38100"/>
                <a:gd name="connsiteX5" fmla="*/ 19050 w 38100"/>
                <a:gd name="connsiteY5" fmla="*/ 0 h 38100"/>
                <a:gd name="connsiteX6" fmla="*/ 19050 w 38100"/>
                <a:gd name="connsiteY6" fmla="*/ 35560 h 38100"/>
                <a:gd name="connsiteX7" fmla="*/ 2540 w 38100"/>
                <a:gd name="connsiteY7" fmla="*/ 19050 h 38100"/>
                <a:gd name="connsiteX8" fmla="*/ 19050 w 38100"/>
                <a:gd name="connsiteY8" fmla="*/ 2540 h 38100"/>
                <a:gd name="connsiteX9" fmla="*/ 35560 w 38100"/>
                <a:gd name="connsiteY9" fmla="*/ 19050 h 38100"/>
                <a:gd name="connsiteX10" fmla="*/ 21590 w 38100"/>
                <a:gd name="connsiteY10" fmla="*/ 35560 h 38100"/>
                <a:gd name="connsiteX11" fmla="*/ 19050 w 38100"/>
                <a:gd name="connsiteY11" fmla="*/ 3556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19050" y="0"/>
                  </a:moveTo>
                  <a:cubicBezTo>
                    <a:pt x="8890" y="0"/>
                    <a:pt x="0" y="8890"/>
                    <a:pt x="0" y="19050"/>
                  </a:cubicBezTo>
                  <a:cubicBezTo>
                    <a:pt x="0" y="29210"/>
                    <a:pt x="8890" y="38100"/>
                    <a:pt x="19050" y="38100"/>
                  </a:cubicBezTo>
                  <a:cubicBezTo>
                    <a:pt x="29210" y="38100"/>
                    <a:pt x="38100" y="29210"/>
                    <a:pt x="38100" y="19050"/>
                  </a:cubicBezTo>
                  <a:cubicBezTo>
                    <a:pt x="38100" y="8890"/>
                    <a:pt x="29210" y="0"/>
                    <a:pt x="19050" y="0"/>
                  </a:cubicBezTo>
                  <a:lnTo>
                    <a:pt x="19050" y="0"/>
                  </a:lnTo>
                  <a:moveTo>
                    <a:pt x="19050" y="35560"/>
                  </a:moveTo>
                  <a:cubicBezTo>
                    <a:pt x="10160" y="35560"/>
                    <a:pt x="2540" y="27940"/>
                    <a:pt x="2540" y="19050"/>
                  </a:cubicBezTo>
                  <a:cubicBezTo>
                    <a:pt x="2540" y="10160"/>
                    <a:pt x="10160" y="2540"/>
                    <a:pt x="19050" y="2540"/>
                  </a:cubicBezTo>
                  <a:cubicBezTo>
                    <a:pt x="27940" y="2540"/>
                    <a:pt x="35560" y="10160"/>
                    <a:pt x="35560" y="19050"/>
                  </a:cubicBezTo>
                  <a:cubicBezTo>
                    <a:pt x="35560" y="27940"/>
                    <a:pt x="29210" y="34290"/>
                    <a:pt x="21590" y="35560"/>
                  </a:cubicBezTo>
                  <a:cubicBezTo>
                    <a:pt x="19050" y="35560"/>
                    <a:pt x="19050" y="35560"/>
                    <a:pt x="19050" y="3556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9F65B260-9A09-4FE9-8720-9E22FBCCDF48}"/>
                </a:ext>
              </a:extLst>
            </p:cNvPr>
            <p:cNvSpPr/>
            <p:nvPr/>
          </p:nvSpPr>
          <p:spPr>
            <a:xfrm>
              <a:off x="1440180" y="6530339"/>
              <a:ext cx="12700" cy="12700"/>
            </a:xfrm>
            <a:custGeom>
              <a:avLst/>
              <a:gdLst>
                <a:gd name="connsiteX0" fmla="*/ 16510 w 12700"/>
                <a:gd name="connsiteY0" fmla="*/ 5080 h 12700"/>
                <a:gd name="connsiteX1" fmla="*/ 10160 w 12700"/>
                <a:gd name="connsiteY1" fmla="*/ 0 h 12700"/>
                <a:gd name="connsiteX2" fmla="*/ 0 w 12700"/>
                <a:gd name="connsiteY2" fmla="*/ 0 h 12700"/>
                <a:gd name="connsiteX3" fmla="*/ 0 w 12700"/>
                <a:gd name="connsiteY3" fmla="*/ 17780 h 12700"/>
                <a:gd name="connsiteX4" fmla="*/ 3810 w 12700"/>
                <a:gd name="connsiteY4" fmla="*/ 17780 h 12700"/>
                <a:gd name="connsiteX5" fmla="*/ 3810 w 12700"/>
                <a:gd name="connsiteY5" fmla="*/ 10160 h 12700"/>
                <a:gd name="connsiteX6" fmla="*/ 7620 w 12700"/>
                <a:gd name="connsiteY6" fmla="*/ 10160 h 12700"/>
                <a:gd name="connsiteX7" fmla="*/ 12700 w 12700"/>
                <a:gd name="connsiteY7" fmla="*/ 17780 h 12700"/>
                <a:gd name="connsiteX8" fmla="*/ 17780 w 12700"/>
                <a:gd name="connsiteY8" fmla="*/ 17780 h 12700"/>
                <a:gd name="connsiteX9" fmla="*/ 12700 w 12700"/>
                <a:gd name="connsiteY9" fmla="*/ 10160 h 12700"/>
                <a:gd name="connsiteX10" fmla="*/ 16510 w 12700"/>
                <a:gd name="connsiteY10" fmla="*/ 5080 h 12700"/>
                <a:gd name="connsiteX11" fmla="*/ 16510 w 12700"/>
                <a:gd name="connsiteY11" fmla="*/ 5080 h 12700"/>
                <a:gd name="connsiteX12" fmla="*/ 8890 w 12700"/>
                <a:gd name="connsiteY12" fmla="*/ 6350 h 12700"/>
                <a:gd name="connsiteX13" fmla="*/ 3810 w 12700"/>
                <a:gd name="connsiteY13" fmla="*/ 6350 h 12700"/>
                <a:gd name="connsiteX14" fmla="*/ 3810 w 12700"/>
                <a:gd name="connsiteY14" fmla="*/ 2540 h 12700"/>
                <a:gd name="connsiteX15" fmla="*/ 8890 w 12700"/>
                <a:gd name="connsiteY15" fmla="*/ 2540 h 12700"/>
                <a:gd name="connsiteX16" fmla="*/ 12700 w 12700"/>
                <a:gd name="connsiteY16" fmla="*/ 3810 h 12700"/>
                <a:gd name="connsiteX17" fmla="*/ 8890 w 12700"/>
                <a:gd name="connsiteY17" fmla="*/ 6350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700" h="12700">
                  <a:moveTo>
                    <a:pt x="16510" y="5080"/>
                  </a:moveTo>
                  <a:cubicBezTo>
                    <a:pt x="16510" y="1270"/>
                    <a:pt x="13970" y="0"/>
                    <a:pt x="10160" y="0"/>
                  </a:cubicBezTo>
                  <a:lnTo>
                    <a:pt x="0" y="0"/>
                  </a:lnTo>
                  <a:lnTo>
                    <a:pt x="0" y="17780"/>
                  </a:lnTo>
                  <a:lnTo>
                    <a:pt x="3810" y="17780"/>
                  </a:lnTo>
                  <a:lnTo>
                    <a:pt x="3810" y="10160"/>
                  </a:lnTo>
                  <a:lnTo>
                    <a:pt x="7620" y="10160"/>
                  </a:lnTo>
                  <a:lnTo>
                    <a:pt x="12700" y="17780"/>
                  </a:lnTo>
                  <a:lnTo>
                    <a:pt x="17780" y="17780"/>
                  </a:lnTo>
                  <a:lnTo>
                    <a:pt x="12700" y="10160"/>
                  </a:lnTo>
                  <a:cubicBezTo>
                    <a:pt x="15240" y="8890"/>
                    <a:pt x="16510" y="7620"/>
                    <a:pt x="16510" y="5080"/>
                  </a:cubicBezTo>
                  <a:lnTo>
                    <a:pt x="16510" y="5080"/>
                  </a:lnTo>
                  <a:moveTo>
                    <a:pt x="8890" y="6350"/>
                  </a:moveTo>
                  <a:lnTo>
                    <a:pt x="3810" y="6350"/>
                  </a:lnTo>
                  <a:lnTo>
                    <a:pt x="3810" y="2540"/>
                  </a:lnTo>
                  <a:lnTo>
                    <a:pt x="8890" y="2540"/>
                  </a:lnTo>
                  <a:cubicBezTo>
                    <a:pt x="11430" y="2540"/>
                    <a:pt x="12700" y="2540"/>
                    <a:pt x="12700" y="3810"/>
                  </a:cubicBezTo>
                  <a:cubicBezTo>
                    <a:pt x="12700" y="6350"/>
                    <a:pt x="11430" y="6350"/>
                    <a:pt x="8890" y="635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0BC732B-7876-4917-A677-63E2DA1526C8}"/>
                </a:ext>
              </a:extLst>
            </p:cNvPr>
            <p:cNvSpPr/>
            <p:nvPr/>
          </p:nvSpPr>
          <p:spPr>
            <a:xfrm>
              <a:off x="445770" y="6605269"/>
              <a:ext cx="50800" cy="38100"/>
            </a:xfrm>
            <a:custGeom>
              <a:avLst/>
              <a:gdLst>
                <a:gd name="connsiteX0" fmla="*/ 24130 w 50800"/>
                <a:gd name="connsiteY0" fmla="*/ 6350 h 38100"/>
                <a:gd name="connsiteX1" fmla="*/ 15240 w 50800"/>
                <a:gd name="connsiteY1" fmla="*/ 26670 h 38100"/>
                <a:gd name="connsiteX2" fmla="*/ 33020 w 50800"/>
                <a:gd name="connsiteY2" fmla="*/ 26670 h 38100"/>
                <a:gd name="connsiteX3" fmla="*/ 2413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4130" y="6350"/>
                  </a:moveTo>
                  <a:lnTo>
                    <a:pt x="15240" y="26670"/>
                  </a:lnTo>
                  <a:lnTo>
                    <a:pt x="33020" y="26670"/>
                  </a:lnTo>
                  <a:lnTo>
                    <a:pt x="2413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F491851-DC43-4E0B-A920-CB989A0505EA}"/>
                </a:ext>
              </a:extLst>
            </p:cNvPr>
            <p:cNvSpPr/>
            <p:nvPr/>
          </p:nvSpPr>
          <p:spPr>
            <a:xfrm>
              <a:off x="524510" y="6605269"/>
              <a:ext cx="38100" cy="38100"/>
            </a:xfrm>
            <a:custGeom>
              <a:avLst/>
              <a:gdLst>
                <a:gd name="connsiteX0" fmla="*/ 17780 w 38100"/>
                <a:gd name="connsiteY0" fmla="*/ 6350 h 38100"/>
                <a:gd name="connsiteX1" fmla="*/ 0 w 38100"/>
                <a:gd name="connsiteY1" fmla="*/ 6350 h 38100"/>
                <a:gd name="connsiteX2" fmla="*/ 0 w 38100"/>
                <a:gd name="connsiteY2" fmla="*/ 0 h 38100"/>
                <a:gd name="connsiteX3" fmla="*/ 41910 w 38100"/>
                <a:gd name="connsiteY3" fmla="*/ 0 h 38100"/>
                <a:gd name="connsiteX4" fmla="*/ 41910 w 38100"/>
                <a:gd name="connsiteY4" fmla="*/ 6350 h 38100"/>
                <a:gd name="connsiteX5" fmla="*/ 24130 w 38100"/>
                <a:gd name="connsiteY5" fmla="*/ 6350 h 38100"/>
                <a:gd name="connsiteX6" fmla="*/ 24130 w 38100"/>
                <a:gd name="connsiteY6" fmla="*/ 46990 h 38100"/>
                <a:gd name="connsiteX7" fmla="*/ 17780 w 38100"/>
                <a:gd name="connsiteY7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" h="38100">
                  <a:moveTo>
                    <a:pt x="17780" y="6350"/>
                  </a:moveTo>
                  <a:lnTo>
                    <a:pt x="0" y="6350"/>
                  </a:lnTo>
                  <a:lnTo>
                    <a:pt x="0" y="0"/>
                  </a:lnTo>
                  <a:lnTo>
                    <a:pt x="41910" y="0"/>
                  </a:lnTo>
                  <a:lnTo>
                    <a:pt x="41910" y="6350"/>
                  </a:lnTo>
                  <a:lnTo>
                    <a:pt x="24130" y="6350"/>
                  </a:lnTo>
                  <a:lnTo>
                    <a:pt x="24130" y="46990"/>
                  </a:lnTo>
                  <a:lnTo>
                    <a:pt x="1778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6A424CE-D2E1-4071-8010-5FB34417915D}"/>
                </a:ext>
              </a:extLst>
            </p:cNvPr>
            <p:cNvSpPr/>
            <p:nvPr/>
          </p:nvSpPr>
          <p:spPr>
            <a:xfrm>
              <a:off x="5753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6830 w 38100"/>
                <a:gd name="connsiteY1" fmla="*/ 0 h 38100"/>
                <a:gd name="connsiteX2" fmla="*/ 3683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6350 w 38100"/>
                <a:gd name="connsiteY7" fmla="*/ 25400 h 38100"/>
                <a:gd name="connsiteX8" fmla="*/ 6350 w 38100"/>
                <a:gd name="connsiteY8" fmla="*/ 40640 h 38100"/>
                <a:gd name="connsiteX9" fmla="*/ 38100 w 38100"/>
                <a:gd name="connsiteY9" fmla="*/ 40640 h 38100"/>
                <a:gd name="connsiteX10" fmla="*/ 3810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6830" y="0"/>
                  </a:lnTo>
                  <a:lnTo>
                    <a:pt x="36830" y="6350"/>
                  </a:lnTo>
                  <a:lnTo>
                    <a:pt x="6350" y="6350"/>
                  </a:lnTo>
                  <a:lnTo>
                    <a:pt x="635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6350" y="25400"/>
                  </a:lnTo>
                  <a:lnTo>
                    <a:pt x="6350" y="40640"/>
                  </a:lnTo>
                  <a:lnTo>
                    <a:pt x="38100" y="40640"/>
                  </a:lnTo>
                  <a:lnTo>
                    <a:pt x="38100" y="46990"/>
                  </a:lnTo>
                  <a:lnTo>
                    <a:pt x="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98CCCD54-0BEB-41B1-95B6-5F1C82603408}"/>
                </a:ext>
              </a:extLst>
            </p:cNvPr>
            <p:cNvSpPr/>
            <p:nvPr/>
          </p:nvSpPr>
          <p:spPr>
            <a:xfrm>
              <a:off x="62484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BB32FC8-1688-4FEA-920E-1AD458C9BC4E}"/>
                </a:ext>
              </a:extLst>
            </p:cNvPr>
            <p:cNvSpPr/>
            <p:nvPr/>
          </p:nvSpPr>
          <p:spPr>
            <a:xfrm>
              <a:off x="6769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8100 w 38100"/>
                <a:gd name="connsiteY1" fmla="*/ 0 h 38100"/>
                <a:gd name="connsiteX2" fmla="*/ 38100 w 38100"/>
                <a:gd name="connsiteY2" fmla="*/ 6350 h 38100"/>
                <a:gd name="connsiteX3" fmla="*/ 7620 w 38100"/>
                <a:gd name="connsiteY3" fmla="*/ 6350 h 38100"/>
                <a:gd name="connsiteX4" fmla="*/ 762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7620 w 38100"/>
                <a:gd name="connsiteY7" fmla="*/ 25400 h 38100"/>
                <a:gd name="connsiteX8" fmla="*/ 7620 w 38100"/>
                <a:gd name="connsiteY8" fmla="*/ 40640 h 38100"/>
                <a:gd name="connsiteX9" fmla="*/ 39370 w 38100"/>
                <a:gd name="connsiteY9" fmla="*/ 40640 h 38100"/>
                <a:gd name="connsiteX10" fmla="*/ 3937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8100" y="0"/>
                  </a:lnTo>
                  <a:lnTo>
                    <a:pt x="38100" y="6350"/>
                  </a:lnTo>
                  <a:lnTo>
                    <a:pt x="7620" y="6350"/>
                  </a:lnTo>
                  <a:lnTo>
                    <a:pt x="762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7620" y="25400"/>
                  </a:lnTo>
                  <a:lnTo>
                    <a:pt x="7620" y="40640"/>
                  </a:lnTo>
                  <a:lnTo>
                    <a:pt x="39370" y="40640"/>
                  </a:lnTo>
                  <a:lnTo>
                    <a:pt x="39370" y="46990"/>
                  </a:lnTo>
                  <a:lnTo>
                    <a:pt x="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5DC6F488-B4DE-4AB5-B144-CE4229D713D3}"/>
                </a:ext>
              </a:extLst>
            </p:cNvPr>
            <p:cNvSpPr/>
            <p:nvPr/>
          </p:nvSpPr>
          <p:spPr>
            <a:xfrm>
              <a:off x="722630" y="6605269"/>
              <a:ext cx="38100" cy="38100"/>
            </a:xfrm>
            <a:custGeom>
              <a:avLst/>
              <a:gdLst>
                <a:gd name="connsiteX0" fmla="*/ 36830 w 38100"/>
                <a:gd name="connsiteY0" fmla="*/ 0 h 38100"/>
                <a:gd name="connsiteX1" fmla="*/ 45720 w 38100"/>
                <a:gd name="connsiteY1" fmla="*/ 0 h 38100"/>
                <a:gd name="connsiteX2" fmla="*/ 26670 w 38100"/>
                <a:gd name="connsiteY2" fmla="*/ 22860 h 38100"/>
                <a:gd name="connsiteX3" fmla="*/ 45720 w 38100"/>
                <a:gd name="connsiteY3" fmla="*/ 46990 h 38100"/>
                <a:gd name="connsiteX4" fmla="*/ 36830 w 38100"/>
                <a:gd name="connsiteY4" fmla="*/ 46990 h 38100"/>
                <a:gd name="connsiteX5" fmla="*/ 22860 w 38100"/>
                <a:gd name="connsiteY5" fmla="*/ 27940 h 38100"/>
                <a:gd name="connsiteX6" fmla="*/ 7620 w 38100"/>
                <a:gd name="connsiteY6" fmla="*/ 46990 h 38100"/>
                <a:gd name="connsiteX7" fmla="*/ 0 w 38100"/>
                <a:gd name="connsiteY7" fmla="*/ 46990 h 38100"/>
                <a:gd name="connsiteX8" fmla="*/ 17780 w 38100"/>
                <a:gd name="connsiteY8" fmla="*/ 22860 h 38100"/>
                <a:gd name="connsiteX9" fmla="*/ 0 w 38100"/>
                <a:gd name="connsiteY9" fmla="*/ 0 h 38100"/>
                <a:gd name="connsiteX10" fmla="*/ 8890 w 38100"/>
                <a:gd name="connsiteY10" fmla="*/ 0 h 38100"/>
                <a:gd name="connsiteX11" fmla="*/ 22860 w 38100"/>
                <a:gd name="connsiteY11" fmla="*/ 1778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36830" y="0"/>
                  </a:moveTo>
                  <a:lnTo>
                    <a:pt x="45720" y="0"/>
                  </a:lnTo>
                  <a:lnTo>
                    <a:pt x="26670" y="22860"/>
                  </a:lnTo>
                  <a:lnTo>
                    <a:pt x="45720" y="46990"/>
                  </a:lnTo>
                  <a:lnTo>
                    <a:pt x="36830" y="46990"/>
                  </a:lnTo>
                  <a:lnTo>
                    <a:pt x="22860" y="2794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17780" y="22860"/>
                  </a:lnTo>
                  <a:lnTo>
                    <a:pt x="0" y="0"/>
                  </a:lnTo>
                  <a:lnTo>
                    <a:pt x="8890" y="0"/>
                  </a:lnTo>
                  <a:lnTo>
                    <a:pt x="22860" y="1778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1DB70F7-C080-41F7-889E-91F7852D5E50}"/>
                </a:ext>
              </a:extLst>
            </p:cNvPr>
            <p:cNvSpPr/>
            <p:nvPr/>
          </p:nvSpPr>
          <p:spPr>
            <a:xfrm>
              <a:off x="802640" y="6605269"/>
              <a:ext cx="38100" cy="38100"/>
            </a:xfrm>
            <a:custGeom>
              <a:avLst/>
              <a:gdLst>
                <a:gd name="connsiteX0" fmla="*/ 26670 w 38100"/>
                <a:gd name="connsiteY0" fmla="*/ 40640 h 38100"/>
                <a:gd name="connsiteX1" fmla="*/ 36830 w 38100"/>
                <a:gd name="connsiteY1" fmla="*/ 33020 h 38100"/>
                <a:gd name="connsiteX2" fmla="*/ 27940 w 38100"/>
                <a:gd name="connsiteY2" fmla="*/ 25400 h 38100"/>
                <a:gd name="connsiteX3" fmla="*/ 8890 w 38100"/>
                <a:gd name="connsiteY3" fmla="*/ 25400 h 38100"/>
                <a:gd name="connsiteX4" fmla="*/ 8890 w 38100"/>
                <a:gd name="connsiteY4" fmla="*/ 40640 h 38100"/>
                <a:gd name="connsiteX5" fmla="*/ 26670 w 38100"/>
                <a:gd name="connsiteY5" fmla="*/ 40640 h 38100"/>
                <a:gd name="connsiteX6" fmla="*/ 26670 w 38100"/>
                <a:gd name="connsiteY6" fmla="*/ 19050 h 38100"/>
                <a:gd name="connsiteX7" fmla="*/ 34290 w 38100"/>
                <a:gd name="connsiteY7" fmla="*/ 12700 h 38100"/>
                <a:gd name="connsiteX8" fmla="*/ 26670 w 38100"/>
                <a:gd name="connsiteY8" fmla="*/ 6350 h 38100"/>
                <a:gd name="connsiteX9" fmla="*/ 7620 w 38100"/>
                <a:gd name="connsiteY9" fmla="*/ 6350 h 38100"/>
                <a:gd name="connsiteX10" fmla="*/ 7620 w 38100"/>
                <a:gd name="connsiteY10" fmla="*/ 19050 h 38100"/>
                <a:gd name="connsiteX11" fmla="*/ 26670 w 38100"/>
                <a:gd name="connsiteY11" fmla="*/ 19050 h 38100"/>
                <a:gd name="connsiteX12" fmla="*/ 0 w 38100"/>
                <a:gd name="connsiteY12" fmla="*/ 0 h 38100"/>
                <a:gd name="connsiteX13" fmla="*/ 26670 w 38100"/>
                <a:gd name="connsiteY13" fmla="*/ 0 h 38100"/>
                <a:gd name="connsiteX14" fmla="*/ 40640 w 38100"/>
                <a:gd name="connsiteY14" fmla="*/ 11430 h 38100"/>
                <a:gd name="connsiteX15" fmla="*/ 34290 w 38100"/>
                <a:gd name="connsiteY15" fmla="*/ 21590 h 38100"/>
                <a:gd name="connsiteX16" fmla="*/ 34290 w 38100"/>
                <a:gd name="connsiteY16" fmla="*/ 21590 h 38100"/>
                <a:gd name="connsiteX17" fmla="*/ 43180 w 38100"/>
                <a:gd name="connsiteY17" fmla="*/ 33020 h 38100"/>
                <a:gd name="connsiteX18" fmla="*/ 29210 w 38100"/>
                <a:gd name="connsiteY18" fmla="*/ 46990 h 38100"/>
                <a:gd name="connsiteX19" fmla="*/ 27940 w 38100"/>
                <a:gd name="connsiteY19" fmla="*/ 46990 h 38100"/>
                <a:gd name="connsiteX20" fmla="*/ 0 w 38100"/>
                <a:gd name="connsiteY20" fmla="*/ 4699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40640"/>
                  </a:moveTo>
                  <a:cubicBezTo>
                    <a:pt x="34290" y="40640"/>
                    <a:pt x="36830" y="36830"/>
                    <a:pt x="36830" y="33020"/>
                  </a:cubicBezTo>
                  <a:cubicBezTo>
                    <a:pt x="36830" y="29210"/>
                    <a:pt x="34290" y="25400"/>
                    <a:pt x="27940" y="25400"/>
                  </a:cubicBezTo>
                  <a:lnTo>
                    <a:pt x="8890" y="25400"/>
                  </a:lnTo>
                  <a:lnTo>
                    <a:pt x="8890" y="40640"/>
                  </a:lnTo>
                  <a:lnTo>
                    <a:pt x="26670" y="40640"/>
                  </a:lnTo>
                  <a:close/>
                  <a:moveTo>
                    <a:pt x="26670" y="19050"/>
                  </a:moveTo>
                  <a:cubicBezTo>
                    <a:pt x="31750" y="19050"/>
                    <a:pt x="34290" y="16510"/>
                    <a:pt x="34290" y="12700"/>
                  </a:cubicBezTo>
                  <a:cubicBezTo>
                    <a:pt x="34290" y="8890"/>
                    <a:pt x="31750" y="6350"/>
                    <a:pt x="26670" y="6350"/>
                  </a:cubicBezTo>
                  <a:lnTo>
                    <a:pt x="7620" y="6350"/>
                  </a:lnTo>
                  <a:lnTo>
                    <a:pt x="7620" y="19050"/>
                  </a:lnTo>
                  <a:lnTo>
                    <a:pt x="26670" y="19050"/>
                  </a:lnTo>
                  <a:close/>
                  <a:moveTo>
                    <a:pt x="0" y="0"/>
                  </a:moveTo>
                  <a:lnTo>
                    <a:pt x="26670" y="0"/>
                  </a:lnTo>
                  <a:cubicBezTo>
                    <a:pt x="36830" y="0"/>
                    <a:pt x="40640" y="3810"/>
                    <a:pt x="40640" y="11430"/>
                  </a:cubicBezTo>
                  <a:cubicBezTo>
                    <a:pt x="40640" y="16510"/>
                    <a:pt x="38100" y="20320"/>
                    <a:pt x="34290" y="21590"/>
                  </a:cubicBezTo>
                  <a:lnTo>
                    <a:pt x="34290" y="21590"/>
                  </a:lnTo>
                  <a:cubicBezTo>
                    <a:pt x="39370" y="22860"/>
                    <a:pt x="43180" y="27940"/>
                    <a:pt x="43180" y="33020"/>
                  </a:cubicBezTo>
                  <a:cubicBezTo>
                    <a:pt x="43180" y="40640"/>
                    <a:pt x="36830" y="46990"/>
                    <a:pt x="29210" y="46990"/>
                  </a:cubicBezTo>
                  <a:lnTo>
                    <a:pt x="27940" y="46990"/>
                  </a:ln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BEFC31B9-06DF-4EFC-AB3A-F3915D5D71EB}"/>
                </a:ext>
              </a:extLst>
            </p:cNvPr>
            <p:cNvSpPr/>
            <p:nvPr/>
          </p:nvSpPr>
          <p:spPr>
            <a:xfrm>
              <a:off x="85725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127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12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B0414BE8-034A-47C8-A12B-E2AFAE1D0419}"/>
                </a:ext>
              </a:extLst>
            </p:cNvPr>
            <p:cNvSpPr/>
            <p:nvPr/>
          </p:nvSpPr>
          <p:spPr>
            <a:xfrm>
              <a:off x="905510" y="6605269"/>
              <a:ext cx="50800" cy="38100"/>
            </a:xfrm>
            <a:custGeom>
              <a:avLst/>
              <a:gdLst>
                <a:gd name="connsiteX0" fmla="*/ 25400 w 50800"/>
                <a:gd name="connsiteY0" fmla="*/ 6350 h 38100"/>
                <a:gd name="connsiteX1" fmla="*/ 16510 w 50800"/>
                <a:gd name="connsiteY1" fmla="*/ 26670 h 38100"/>
                <a:gd name="connsiteX2" fmla="*/ 34290 w 50800"/>
                <a:gd name="connsiteY2" fmla="*/ 26670 h 38100"/>
                <a:gd name="connsiteX3" fmla="*/ 2540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5400" y="6350"/>
                  </a:moveTo>
                  <a:lnTo>
                    <a:pt x="16510" y="26670"/>
                  </a:lnTo>
                  <a:lnTo>
                    <a:pt x="34290" y="26670"/>
                  </a:lnTo>
                  <a:lnTo>
                    <a:pt x="2540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7759930-22A4-44F6-899E-B3DC0078EDC5}"/>
                </a:ext>
              </a:extLst>
            </p:cNvPr>
            <p:cNvSpPr/>
            <p:nvPr/>
          </p:nvSpPr>
          <p:spPr>
            <a:xfrm>
              <a:off x="962660" y="6605269"/>
              <a:ext cx="38100" cy="38100"/>
            </a:xfrm>
            <a:custGeom>
              <a:avLst/>
              <a:gdLst>
                <a:gd name="connsiteX0" fmla="*/ 6350 w 38100"/>
                <a:gd name="connsiteY0" fmla="*/ 8890 h 38100"/>
                <a:gd name="connsiteX1" fmla="*/ 6350 w 38100"/>
                <a:gd name="connsiteY1" fmla="*/ 8890 h 38100"/>
                <a:gd name="connsiteX2" fmla="*/ 6350 w 38100"/>
                <a:gd name="connsiteY2" fmla="*/ 46990 h 38100"/>
                <a:gd name="connsiteX3" fmla="*/ 0 w 38100"/>
                <a:gd name="connsiteY3" fmla="*/ 46990 h 38100"/>
                <a:gd name="connsiteX4" fmla="*/ 0 w 38100"/>
                <a:gd name="connsiteY4" fmla="*/ 0 h 38100"/>
                <a:gd name="connsiteX5" fmla="*/ 7620 w 38100"/>
                <a:gd name="connsiteY5" fmla="*/ 0 h 38100"/>
                <a:gd name="connsiteX6" fmla="*/ 38100 w 38100"/>
                <a:gd name="connsiteY6" fmla="*/ 36830 h 38100"/>
                <a:gd name="connsiteX7" fmla="*/ 38100 w 38100"/>
                <a:gd name="connsiteY7" fmla="*/ 36830 h 38100"/>
                <a:gd name="connsiteX8" fmla="*/ 38100 w 38100"/>
                <a:gd name="connsiteY8" fmla="*/ 0 h 38100"/>
                <a:gd name="connsiteX9" fmla="*/ 45720 w 38100"/>
                <a:gd name="connsiteY9" fmla="*/ 0 h 38100"/>
                <a:gd name="connsiteX10" fmla="*/ 45720 w 38100"/>
                <a:gd name="connsiteY10" fmla="*/ 46990 h 38100"/>
                <a:gd name="connsiteX11" fmla="*/ 3683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6350" y="8890"/>
                  </a:moveTo>
                  <a:lnTo>
                    <a:pt x="6350" y="8890"/>
                  </a:lnTo>
                  <a:lnTo>
                    <a:pt x="6350" y="46990"/>
                  </a:lnTo>
                  <a:lnTo>
                    <a:pt x="0" y="46990"/>
                  </a:lnTo>
                  <a:lnTo>
                    <a:pt x="0" y="0"/>
                  </a:lnTo>
                  <a:lnTo>
                    <a:pt x="7620" y="0"/>
                  </a:lnTo>
                  <a:lnTo>
                    <a:pt x="38100" y="36830"/>
                  </a:lnTo>
                  <a:lnTo>
                    <a:pt x="38100" y="36830"/>
                  </a:lnTo>
                  <a:lnTo>
                    <a:pt x="38100" y="0"/>
                  </a:lnTo>
                  <a:lnTo>
                    <a:pt x="45720" y="0"/>
                  </a:lnTo>
                  <a:lnTo>
                    <a:pt x="45720" y="46990"/>
                  </a:lnTo>
                  <a:lnTo>
                    <a:pt x="3683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71DD630-3A31-4F67-8BA3-3385C85FA37C}"/>
                </a:ext>
              </a:extLst>
            </p:cNvPr>
            <p:cNvSpPr/>
            <p:nvPr/>
          </p:nvSpPr>
          <p:spPr>
            <a:xfrm>
              <a:off x="1022350" y="6605269"/>
              <a:ext cx="38100" cy="38100"/>
            </a:xfrm>
            <a:custGeom>
              <a:avLst/>
              <a:gdLst>
                <a:gd name="connsiteX0" fmla="*/ 24130 w 38100"/>
                <a:gd name="connsiteY0" fmla="*/ 40640 h 38100"/>
                <a:gd name="connsiteX1" fmla="*/ 38100 w 38100"/>
                <a:gd name="connsiteY1" fmla="*/ 22860 h 38100"/>
                <a:gd name="connsiteX2" fmla="*/ 2286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40640 h 38100"/>
                <a:gd name="connsiteX5" fmla="*/ 24130 w 38100"/>
                <a:gd name="connsiteY5" fmla="*/ 40640 h 38100"/>
                <a:gd name="connsiteX6" fmla="*/ 0 w 38100"/>
                <a:gd name="connsiteY6" fmla="*/ 0 h 38100"/>
                <a:gd name="connsiteX7" fmla="*/ 24130 w 38100"/>
                <a:gd name="connsiteY7" fmla="*/ 0 h 38100"/>
                <a:gd name="connsiteX8" fmla="*/ 44450 w 38100"/>
                <a:gd name="connsiteY8" fmla="*/ 22860 h 38100"/>
                <a:gd name="connsiteX9" fmla="*/ 24130 w 38100"/>
                <a:gd name="connsiteY9" fmla="*/ 46990 h 38100"/>
                <a:gd name="connsiteX10" fmla="*/ 0 w 38100"/>
                <a:gd name="connsiteY10" fmla="*/ 46990 h 38100"/>
                <a:gd name="connsiteX11" fmla="*/ 0 w 38100"/>
                <a:gd name="connsiteY1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24130" y="40640"/>
                  </a:moveTo>
                  <a:cubicBezTo>
                    <a:pt x="35560" y="40640"/>
                    <a:pt x="38100" y="31750"/>
                    <a:pt x="38100" y="22860"/>
                  </a:cubicBezTo>
                  <a:cubicBezTo>
                    <a:pt x="38100" y="13970"/>
                    <a:pt x="35560" y="6350"/>
                    <a:pt x="22860" y="6350"/>
                  </a:cubicBezTo>
                  <a:lnTo>
                    <a:pt x="6350" y="6350"/>
                  </a:lnTo>
                  <a:lnTo>
                    <a:pt x="6350" y="40640"/>
                  </a:lnTo>
                  <a:lnTo>
                    <a:pt x="24130" y="40640"/>
                  </a:lnTo>
                  <a:close/>
                  <a:moveTo>
                    <a:pt x="0" y="0"/>
                  </a:moveTo>
                  <a:lnTo>
                    <a:pt x="24130" y="0"/>
                  </a:lnTo>
                  <a:cubicBezTo>
                    <a:pt x="38100" y="0"/>
                    <a:pt x="44450" y="8890"/>
                    <a:pt x="44450" y="22860"/>
                  </a:cubicBezTo>
                  <a:cubicBezTo>
                    <a:pt x="44450" y="36830"/>
                    <a:pt x="38100" y="46990"/>
                    <a:pt x="24130" y="46990"/>
                  </a:cubicBez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9889C90-AA52-401E-8BFA-886C70ABE67D}"/>
              </a:ext>
            </a:extLst>
          </p:cNvPr>
          <p:cNvGrpSpPr/>
          <p:nvPr userDrawn="1"/>
        </p:nvGrpSpPr>
        <p:grpSpPr>
          <a:xfrm>
            <a:off x="384695" y="6287769"/>
            <a:ext cx="927100" cy="267970"/>
            <a:chOff x="10826750" y="6287769"/>
            <a:chExt cx="927100" cy="267970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ABB384D-3E3A-4C50-BAE1-43CC13E73E37}"/>
                </a:ext>
              </a:extLst>
            </p:cNvPr>
            <p:cNvSpPr/>
            <p:nvPr/>
          </p:nvSpPr>
          <p:spPr>
            <a:xfrm>
              <a:off x="10955020" y="6487159"/>
              <a:ext cx="38100" cy="63500"/>
            </a:xfrm>
            <a:custGeom>
              <a:avLst/>
              <a:gdLst>
                <a:gd name="connsiteX0" fmla="*/ 35561 w 38100"/>
                <a:gd name="connsiteY0" fmla="*/ 0 h 63500"/>
                <a:gd name="connsiteX1" fmla="*/ 24130 w 38100"/>
                <a:gd name="connsiteY1" fmla="*/ 29210 h 63500"/>
                <a:gd name="connsiteX2" fmla="*/ 12700 w 38100"/>
                <a:gd name="connsiteY2" fmla="*/ 0 h 63500"/>
                <a:gd name="connsiteX3" fmla="*/ 0 w 38100"/>
                <a:gd name="connsiteY3" fmla="*/ 0 h 63500"/>
                <a:gd name="connsiteX4" fmla="*/ 17780 w 38100"/>
                <a:gd name="connsiteY4" fmla="*/ 41910 h 63500"/>
                <a:gd name="connsiteX5" fmla="*/ 17780 w 38100"/>
                <a:gd name="connsiteY5" fmla="*/ 68580 h 63500"/>
                <a:gd name="connsiteX6" fmla="*/ 29211 w 38100"/>
                <a:gd name="connsiteY6" fmla="*/ 68580 h 63500"/>
                <a:gd name="connsiteX7" fmla="*/ 29211 w 38100"/>
                <a:gd name="connsiteY7" fmla="*/ 41910 h 63500"/>
                <a:gd name="connsiteX8" fmla="*/ 48261 w 38100"/>
                <a:gd name="connsiteY8" fmla="*/ 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100" h="63500">
                  <a:moveTo>
                    <a:pt x="35561" y="0"/>
                  </a:moveTo>
                  <a:lnTo>
                    <a:pt x="24130" y="29210"/>
                  </a:lnTo>
                  <a:lnTo>
                    <a:pt x="12700" y="0"/>
                  </a:lnTo>
                  <a:lnTo>
                    <a:pt x="0" y="0"/>
                  </a:lnTo>
                  <a:lnTo>
                    <a:pt x="17780" y="41910"/>
                  </a:lnTo>
                  <a:lnTo>
                    <a:pt x="17780" y="68580"/>
                  </a:lnTo>
                  <a:lnTo>
                    <a:pt x="29211" y="68580"/>
                  </a:lnTo>
                  <a:lnTo>
                    <a:pt x="29211" y="41910"/>
                  </a:lnTo>
                  <a:lnTo>
                    <a:pt x="48261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938BEFCF-103B-46C5-8535-1266658212AF}"/>
                </a:ext>
              </a:extLst>
            </p:cNvPr>
            <p:cNvSpPr/>
            <p:nvPr/>
          </p:nvSpPr>
          <p:spPr>
            <a:xfrm>
              <a:off x="10999470" y="6485889"/>
              <a:ext cx="38100" cy="63500"/>
            </a:xfrm>
            <a:custGeom>
              <a:avLst/>
              <a:gdLst>
                <a:gd name="connsiteX0" fmla="*/ 0 w 38100"/>
                <a:gd name="connsiteY0" fmla="*/ 35560 h 63500"/>
                <a:gd name="connsiteX1" fmla="*/ 22861 w 38100"/>
                <a:gd name="connsiteY1" fmla="*/ 0 h 63500"/>
                <a:gd name="connsiteX2" fmla="*/ 45720 w 38100"/>
                <a:gd name="connsiteY2" fmla="*/ 35560 h 63500"/>
                <a:gd name="connsiteX3" fmla="*/ 22861 w 38100"/>
                <a:gd name="connsiteY3" fmla="*/ 71120 h 63500"/>
                <a:gd name="connsiteX4" fmla="*/ 0 w 38100"/>
                <a:gd name="connsiteY4" fmla="*/ 35560 h 63500"/>
                <a:gd name="connsiteX5" fmla="*/ 35561 w 38100"/>
                <a:gd name="connsiteY5" fmla="*/ 35560 h 63500"/>
                <a:gd name="connsiteX6" fmla="*/ 24130 w 38100"/>
                <a:gd name="connsiteY6" fmla="*/ 8890 h 63500"/>
                <a:gd name="connsiteX7" fmla="*/ 12700 w 38100"/>
                <a:gd name="connsiteY7" fmla="*/ 35560 h 63500"/>
                <a:gd name="connsiteX8" fmla="*/ 24130 w 38100"/>
                <a:gd name="connsiteY8" fmla="*/ 63500 h 63500"/>
                <a:gd name="connsiteX9" fmla="*/ 35561 w 38100"/>
                <a:gd name="connsiteY9" fmla="*/ 3556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100" h="63500">
                  <a:moveTo>
                    <a:pt x="0" y="35560"/>
                  </a:moveTo>
                  <a:cubicBezTo>
                    <a:pt x="0" y="11430"/>
                    <a:pt x="7620" y="0"/>
                    <a:pt x="22861" y="0"/>
                  </a:cubicBezTo>
                  <a:cubicBezTo>
                    <a:pt x="38100" y="0"/>
                    <a:pt x="45720" y="11430"/>
                    <a:pt x="45720" y="35560"/>
                  </a:cubicBezTo>
                  <a:cubicBezTo>
                    <a:pt x="45720" y="59690"/>
                    <a:pt x="39370" y="71120"/>
                    <a:pt x="22861" y="71120"/>
                  </a:cubicBezTo>
                  <a:cubicBezTo>
                    <a:pt x="6350" y="71120"/>
                    <a:pt x="0" y="59690"/>
                    <a:pt x="0" y="35560"/>
                  </a:cubicBezTo>
                  <a:moveTo>
                    <a:pt x="35561" y="35560"/>
                  </a:moveTo>
                  <a:cubicBezTo>
                    <a:pt x="35561" y="12700"/>
                    <a:pt x="30480" y="8890"/>
                    <a:pt x="24130" y="8890"/>
                  </a:cubicBezTo>
                  <a:cubicBezTo>
                    <a:pt x="17780" y="8890"/>
                    <a:pt x="12700" y="12700"/>
                    <a:pt x="12700" y="35560"/>
                  </a:cubicBezTo>
                  <a:cubicBezTo>
                    <a:pt x="12700" y="58420"/>
                    <a:pt x="17780" y="63500"/>
                    <a:pt x="24130" y="63500"/>
                  </a:cubicBezTo>
                  <a:cubicBezTo>
                    <a:pt x="30480" y="63500"/>
                    <a:pt x="35561" y="58420"/>
                    <a:pt x="35561" y="3556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A95677F-0601-43CF-9D6B-00A89CF30C48}"/>
                </a:ext>
              </a:extLst>
            </p:cNvPr>
            <p:cNvSpPr/>
            <p:nvPr/>
          </p:nvSpPr>
          <p:spPr>
            <a:xfrm>
              <a:off x="11052810" y="6487159"/>
              <a:ext cx="38100" cy="63500"/>
            </a:xfrm>
            <a:custGeom>
              <a:avLst/>
              <a:gdLst>
                <a:gd name="connsiteX0" fmla="*/ 11430 w 38100"/>
                <a:gd name="connsiteY0" fmla="*/ 0 h 63500"/>
                <a:gd name="connsiteX1" fmla="*/ 11430 w 38100"/>
                <a:gd name="connsiteY1" fmla="*/ 49530 h 63500"/>
                <a:gd name="connsiteX2" fmla="*/ 21590 w 38100"/>
                <a:gd name="connsiteY2" fmla="*/ 62230 h 63500"/>
                <a:gd name="connsiteX3" fmla="*/ 31750 w 38100"/>
                <a:gd name="connsiteY3" fmla="*/ 49530 h 63500"/>
                <a:gd name="connsiteX4" fmla="*/ 31750 w 38100"/>
                <a:gd name="connsiteY4" fmla="*/ 0 h 63500"/>
                <a:gd name="connsiteX5" fmla="*/ 43180 w 38100"/>
                <a:gd name="connsiteY5" fmla="*/ 0 h 63500"/>
                <a:gd name="connsiteX6" fmla="*/ 43180 w 38100"/>
                <a:gd name="connsiteY6" fmla="*/ 48260 h 63500"/>
                <a:gd name="connsiteX7" fmla="*/ 21590 w 38100"/>
                <a:gd name="connsiteY7" fmla="*/ 69850 h 63500"/>
                <a:gd name="connsiteX8" fmla="*/ 0 w 38100"/>
                <a:gd name="connsiteY8" fmla="*/ 48260 h 63500"/>
                <a:gd name="connsiteX9" fmla="*/ 0 w 38100"/>
                <a:gd name="connsiteY9" fmla="*/ 0 h 63500"/>
                <a:gd name="connsiteX10" fmla="*/ 11430 w 38100"/>
                <a:gd name="connsiteY10" fmla="*/ 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100" h="63500">
                  <a:moveTo>
                    <a:pt x="11430" y="0"/>
                  </a:moveTo>
                  <a:lnTo>
                    <a:pt x="11430" y="49530"/>
                  </a:lnTo>
                  <a:cubicBezTo>
                    <a:pt x="11430" y="58420"/>
                    <a:pt x="15240" y="62230"/>
                    <a:pt x="21590" y="62230"/>
                  </a:cubicBezTo>
                  <a:cubicBezTo>
                    <a:pt x="27940" y="62230"/>
                    <a:pt x="31750" y="58420"/>
                    <a:pt x="31750" y="49530"/>
                  </a:cubicBezTo>
                  <a:lnTo>
                    <a:pt x="31750" y="0"/>
                  </a:lnTo>
                  <a:lnTo>
                    <a:pt x="43180" y="0"/>
                  </a:lnTo>
                  <a:lnTo>
                    <a:pt x="43180" y="48260"/>
                  </a:lnTo>
                  <a:cubicBezTo>
                    <a:pt x="43180" y="64770"/>
                    <a:pt x="35560" y="69850"/>
                    <a:pt x="21590" y="69850"/>
                  </a:cubicBezTo>
                  <a:cubicBezTo>
                    <a:pt x="8890" y="69850"/>
                    <a:pt x="0" y="63500"/>
                    <a:pt x="0" y="48260"/>
                  </a:cubicBezTo>
                  <a:lnTo>
                    <a:pt x="0" y="0"/>
                  </a:lnTo>
                  <a:lnTo>
                    <a:pt x="1143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E6025-A98C-46E0-820C-83B86DACFEC1}"/>
                </a:ext>
              </a:extLst>
            </p:cNvPr>
            <p:cNvSpPr/>
            <p:nvPr/>
          </p:nvSpPr>
          <p:spPr>
            <a:xfrm>
              <a:off x="10826750" y="6403339"/>
              <a:ext cx="38100" cy="63500"/>
            </a:xfrm>
            <a:custGeom>
              <a:avLst/>
              <a:gdLst>
                <a:gd name="connsiteX0" fmla="*/ 0 w 38100"/>
                <a:gd name="connsiteY0" fmla="*/ 0 h 63500"/>
                <a:gd name="connsiteX1" fmla="*/ 0 w 38100"/>
                <a:gd name="connsiteY1" fmla="*/ 10160 h 63500"/>
                <a:gd name="connsiteX2" fmla="*/ 16510 w 38100"/>
                <a:gd name="connsiteY2" fmla="*/ 10160 h 63500"/>
                <a:gd name="connsiteX3" fmla="*/ 16510 w 38100"/>
                <a:gd name="connsiteY3" fmla="*/ 69850 h 63500"/>
                <a:gd name="connsiteX4" fmla="*/ 27940 w 38100"/>
                <a:gd name="connsiteY4" fmla="*/ 69850 h 63500"/>
                <a:gd name="connsiteX5" fmla="*/ 27940 w 38100"/>
                <a:gd name="connsiteY5" fmla="*/ 10160 h 63500"/>
                <a:gd name="connsiteX6" fmla="*/ 44450 w 38100"/>
                <a:gd name="connsiteY6" fmla="*/ 10160 h 63500"/>
                <a:gd name="connsiteX7" fmla="*/ 44450 w 38100"/>
                <a:gd name="connsiteY7" fmla="*/ 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" h="63500">
                  <a:moveTo>
                    <a:pt x="0" y="0"/>
                  </a:moveTo>
                  <a:lnTo>
                    <a:pt x="0" y="10160"/>
                  </a:lnTo>
                  <a:lnTo>
                    <a:pt x="16510" y="10160"/>
                  </a:lnTo>
                  <a:lnTo>
                    <a:pt x="16510" y="69850"/>
                  </a:lnTo>
                  <a:lnTo>
                    <a:pt x="27940" y="69850"/>
                  </a:lnTo>
                  <a:lnTo>
                    <a:pt x="27940" y="10160"/>
                  </a:lnTo>
                  <a:lnTo>
                    <a:pt x="44450" y="10160"/>
                  </a:lnTo>
                  <a:lnTo>
                    <a:pt x="4445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AC6B0111-7A10-4D29-BD77-3B30D5088F8B}"/>
                </a:ext>
              </a:extLst>
            </p:cNvPr>
            <p:cNvSpPr/>
            <p:nvPr/>
          </p:nvSpPr>
          <p:spPr>
            <a:xfrm>
              <a:off x="10867390" y="6403339"/>
              <a:ext cx="50800" cy="63500"/>
            </a:xfrm>
            <a:custGeom>
              <a:avLst/>
              <a:gdLst>
                <a:gd name="connsiteX0" fmla="*/ 19050 w 50800"/>
                <a:gd name="connsiteY0" fmla="*/ 0 h 63500"/>
                <a:gd name="connsiteX1" fmla="*/ 33020 w 50800"/>
                <a:gd name="connsiteY1" fmla="*/ 0 h 63500"/>
                <a:gd name="connsiteX2" fmla="*/ 52070 w 50800"/>
                <a:gd name="connsiteY2" fmla="*/ 69850 h 63500"/>
                <a:gd name="connsiteX3" fmla="*/ 40640 w 50800"/>
                <a:gd name="connsiteY3" fmla="*/ 69850 h 63500"/>
                <a:gd name="connsiteX4" fmla="*/ 36830 w 50800"/>
                <a:gd name="connsiteY4" fmla="*/ 52070 h 63500"/>
                <a:gd name="connsiteX5" fmla="*/ 16510 w 50800"/>
                <a:gd name="connsiteY5" fmla="*/ 52070 h 63500"/>
                <a:gd name="connsiteX6" fmla="*/ 11430 w 50800"/>
                <a:gd name="connsiteY6" fmla="*/ 69850 h 63500"/>
                <a:gd name="connsiteX7" fmla="*/ 0 w 50800"/>
                <a:gd name="connsiteY7" fmla="*/ 69850 h 63500"/>
                <a:gd name="connsiteX8" fmla="*/ 19050 w 50800"/>
                <a:gd name="connsiteY8" fmla="*/ 0 h 63500"/>
                <a:gd name="connsiteX9" fmla="*/ 33020 w 50800"/>
                <a:gd name="connsiteY9" fmla="*/ 44450 h 63500"/>
                <a:gd name="connsiteX10" fmla="*/ 25400 w 50800"/>
                <a:gd name="connsiteY10" fmla="*/ 10160 h 63500"/>
                <a:gd name="connsiteX11" fmla="*/ 25400 w 50800"/>
                <a:gd name="connsiteY11" fmla="*/ 10160 h 63500"/>
                <a:gd name="connsiteX12" fmla="*/ 17780 w 50800"/>
                <a:gd name="connsiteY12" fmla="*/ 44450 h 63500"/>
                <a:gd name="connsiteX13" fmla="*/ 33020 w 50800"/>
                <a:gd name="connsiteY13" fmla="*/ 4445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800" h="63500">
                  <a:moveTo>
                    <a:pt x="19050" y="0"/>
                  </a:moveTo>
                  <a:lnTo>
                    <a:pt x="33020" y="0"/>
                  </a:lnTo>
                  <a:lnTo>
                    <a:pt x="52070" y="69850"/>
                  </a:lnTo>
                  <a:lnTo>
                    <a:pt x="40640" y="69850"/>
                  </a:lnTo>
                  <a:lnTo>
                    <a:pt x="36830" y="52070"/>
                  </a:lnTo>
                  <a:lnTo>
                    <a:pt x="16510" y="52070"/>
                  </a:lnTo>
                  <a:lnTo>
                    <a:pt x="11430" y="69850"/>
                  </a:lnTo>
                  <a:lnTo>
                    <a:pt x="0" y="69850"/>
                  </a:lnTo>
                  <a:lnTo>
                    <a:pt x="19050" y="0"/>
                  </a:lnTo>
                  <a:close/>
                  <a:moveTo>
                    <a:pt x="33020" y="44450"/>
                  </a:moveTo>
                  <a:lnTo>
                    <a:pt x="25400" y="10160"/>
                  </a:lnTo>
                  <a:lnTo>
                    <a:pt x="25400" y="10160"/>
                  </a:lnTo>
                  <a:lnTo>
                    <a:pt x="17780" y="44450"/>
                  </a:lnTo>
                  <a:lnTo>
                    <a:pt x="33020" y="4445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544E0BC-AE9B-4A07-80A4-58587FABDB7B}"/>
                </a:ext>
              </a:extLst>
            </p:cNvPr>
            <p:cNvSpPr/>
            <p:nvPr/>
          </p:nvSpPr>
          <p:spPr>
            <a:xfrm>
              <a:off x="10923270" y="6403339"/>
              <a:ext cx="38100" cy="63500"/>
            </a:xfrm>
            <a:custGeom>
              <a:avLst/>
              <a:gdLst>
                <a:gd name="connsiteX0" fmla="*/ 0 w 38100"/>
                <a:gd name="connsiteY0" fmla="*/ 0 h 63500"/>
                <a:gd name="connsiteX1" fmla="*/ 11430 w 38100"/>
                <a:gd name="connsiteY1" fmla="*/ 0 h 63500"/>
                <a:gd name="connsiteX2" fmla="*/ 11430 w 38100"/>
                <a:gd name="connsiteY2" fmla="*/ 30480 h 63500"/>
                <a:gd name="connsiteX3" fmla="*/ 11430 w 38100"/>
                <a:gd name="connsiteY3" fmla="*/ 30480 h 63500"/>
                <a:gd name="connsiteX4" fmla="*/ 33020 w 38100"/>
                <a:gd name="connsiteY4" fmla="*/ 0 h 63500"/>
                <a:gd name="connsiteX5" fmla="*/ 45720 w 38100"/>
                <a:gd name="connsiteY5" fmla="*/ 0 h 63500"/>
                <a:gd name="connsiteX6" fmla="*/ 25400 w 38100"/>
                <a:gd name="connsiteY6" fmla="*/ 29210 h 63500"/>
                <a:gd name="connsiteX7" fmla="*/ 48261 w 38100"/>
                <a:gd name="connsiteY7" fmla="*/ 69850 h 63500"/>
                <a:gd name="connsiteX8" fmla="*/ 34290 w 38100"/>
                <a:gd name="connsiteY8" fmla="*/ 69850 h 63500"/>
                <a:gd name="connsiteX9" fmla="*/ 17780 w 38100"/>
                <a:gd name="connsiteY9" fmla="*/ 38100 h 63500"/>
                <a:gd name="connsiteX10" fmla="*/ 11430 w 38100"/>
                <a:gd name="connsiteY10" fmla="*/ 46990 h 63500"/>
                <a:gd name="connsiteX11" fmla="*/ 11430 w 38100"/>
                <a:gd name="connsiteY11" fmla="*/ 69850 h 63500"/>
                <a:gd name="connsiteX12" fmla="*/ 0 w 38100"/>
                <a:gd name="connsiteY12" fmla="*/ 6985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100" h="63500">
                  <a:moveTo>
                    <a:pt x="0" y="0"/>
                  </a:moveTo>
                  <a:lnTo>
                    <a:pt x="11430" y="0"/>
                  </a:lnTo>
                  <a:lnTo>
                    <a:pt x="11430" y="30480"/>
                  </a:lnTo>
                  <a:lnTo>
                    <a:pt x="11430" y="30480"/>
                  </a:lnTo>
                  <a:lnTo>
                    <a:pt x="33020" y="0"/>
                  </a:lnTo>
                  <a:lnTo>
                    <a:pt x="45720" y="0"/>
                  </a:lnTo>
                  <a:lnTo>
                    <a:pt x="25400" y="29210"/>
                  </a:lnTo>
                  <a:lnTo>
                    <a:pt x="48261" y="69850"/>
                  </a:lnTo>
                  <a:lnTo>
                    <a:pt x="34290" y="69850"/>
                  </a:lnTo>
                  <a:lnTo>
                    <a:pt x="17780" y="38100"/>
                  </a:lnTo>
                  <a:lnTo>
                    <a:pt x="11430" y="46990"/>
                  </a:lnTo>
                  <a:lnTo>
                    <a:pt x="11430" y="69850"/>
                  </a:lnTo>
                  <a:lnTo>
                    <a:pt x="0" y="6985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64868E7-68A1-4D46-8816-CED996942E45}"/>
                </a:ext>
              </a:extLst>
            </p:cNvPr>
            <p:cNvSpPr/>
            <p:nvPr/>
          </p:nvSpPr>
          <p:spPr>
            <a:xfrm>
              <a:off x="10974070" y="6403339"/>
              <a:ext cx="12700" cy="63500"/>
            </a:xfrm>
            <a:custGeom>
              <a:avLst/>
              <a:gdLst>
                <a:gd name="connsiteX0" fmla="*/ 0 w 0"/>
                <a:gd name="connsiteY0" fmla="*/ 0 h 63500"/>
                <a:gd name="connsiteX1" fmla="*/ 11430 w 0"/>
                <a:gd name="connsiteY1" fmla="*/ 0 h 63500"/>
                <a:gd name="connsiteX2" fmla="*/ 11430 w 0"/>
                <a:gd name="connsiteY2" fmla="*/ 69850 h 63500"/>
                <a:gd name="connsiteX3" fmla="*/ 0 w 0"/>
                <a:gd name="connsiteY3" fmla="*/ 6985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3500">
                  <a:moveTo>
                    <a:pt x="0" y="0"/>
                  </a:moveTo>
                  <a:lnTo>
                    <a:pt x="11430" y="0"/>
                  </a:lnTo>
                  <a:lnTo>
                    <a:pt x="11430" y="69850"/>
                  </a:lnTo>
                  <a:lnTo>
                    <a:pt x="0" y="6985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CE75943-AC63-45E6-B6B9-9646ACC12DDC}"/>
                </a:ext>
              </a:extLst>
            </p:cNvPr>
            <p:cNvSpPr/>
            <p:nvPr/>
          </p:nvSpPr>
          <p:spPr>
            <a:xfrm>
              <a:off x="10996930" y="6403339"/>
              <a:ext cx="38100" cy="63500"/>
            </a:xfrm>
            <a:custGeom>
              <a:avLst/>
              <a:gdLst>
                <a:gd name="connsiteX0" fmla="*/ 0 w 38100"/>
                <a:gd name="connsiteY0" fmla="*/ 0 h 63500"/>
                <a:gd name="connsiteX1" fmla="*/ 13970 w 38100"/>
                <a:gd name="connsiteY1" fmla="*/ 0 h 63500"/>
                <a:gd name="connsiteX2" fmla="*/ 34289 w 38100"/>
                <a:gd name="connsiteY2" fmla="*/ 52070 h 63500"/>
                <a:gd name="connsiteX3" fmla="*/ 34289 w 38100"/>
                <a:gd name="connsiteY3" fmla="*/ 52070 h 63500"/>
                <a:gd name="connsiteX4" fmla="*/ 34289 w 38100"/>
                <a:gd name="connsiteY4" fmla="*/ 0 h 63500"/>
                <a:gd name="connsiteX5" fmla="*/ 44450 w 38100"/>
                <a:gd name="connsiteY5" fmla="*/ 0 h 63500"/>
                <a:gd name="connsiteX6" fmla="*/ 44450 w 38100"/>
                <a:gd name="connsiteY6" fmla="*/ 69850 h 63500"/>
                <a:gd name="connsiteX7" fmla="*/ 30480 w 38100"/>
                <a:gd name="connsiteY7" fmla="*/ 69850 h 63500"/>
                <a:gd name="connsiteX8" fmla="*/ 10160 w 38100"/>
                <a:gd name="connsiteY8" fmla="*/ 16510 h 63500"/>
                <a:gd name="connsiteX9" fmla="*/ 10160 w 38100"/>
                <a:gd name="connsiteY9" fmla="*/ 16510 h 63500"/>
                <a:gd name="connsiteX10" fmla="*/ 10160 w 38100"/>
                <a:gd name="connsiteY10" fmla="*/ 69850 h 63500"/>
                <a:gd name="connsiteX11" fmla="*/ 0 w 38100"/>
                <a:gd name="connsiteY11" fmla="*/ 6985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63500">
                  <a:moveTo>
                    <a:pt x="0" y="0"/>
                  </a:moveTo>
                  <a:lnTo>
                    <a:pt x="13970" y="0"/>
                  </a:lnTo>
                  <a:lnTo>
                    <a:pt x="34289" y="52070"/>
                  </a:lnTo>
                  <a:lnTo>
                    <a:pt x="34289" y="52070"/>
                  </a:lnTo>
                  <a:lnTo>
                    <a:pt x="34289" y="0"/>
                  </a:lnTo>
                  <a:lnTo>
                    <a:pt x="44450" y="0"/>
                  </a:lnTo>
                  <a:lnTo>
                    <a:pt x="44450" y="69850"/>
                  </a:lnTo>
                  <a:lnTo>
                    <a:pt x="30480" y="69850"/>
                  </a:lnTo>
                  <a:lnTo>
                    <a:pt x="10160" y="16510"/>
                  </a:lnTo>
                  <a:lnTo>
                    <a:pt x="10160" y="16510"/>
                  </a:lnTo>
                  <a:lnTo>
                    <a:pt x="10160" y="69850"/>
                  </a:lnTo>
                  <a:lnTo>
                    <a:pt x="0" y="6985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DF5E5E0D-EF7F-4C24-AC5F-19F5D3CF309A}"/>
                </a:ext>
              </a:extLst>
            </p:cNvPr>
            <p:cNvSpPr/>
            <p:nvPr/>
          </p:nvSpPr>
          <p:spPr>
            <a:xfrm>
              <a:off x="11052810" y="6400661"/>
              <a:ext cx="38100" cy="63500"/>
            </a:xfrm>
            <a:custGeom>
              <a:avLst/>
              <a:gdLst>
                <a:gd name="connsiteX0" fmla="*/ 35560 w 38100"/>
                <a:gd name="connsiteY0" fmla="*/ 64908 h 63500"/>
                <a:gd name="connsiteX1" fmla="*/ 35560 w 38100"/>
                <a:gd name="connsiteY1" fmla="*/ 64908 h 63500"/>
                <a:gd name="connsiteX2" fmla="*/ 20320 w 38100"/>
                <a:gd name="connsiteY2" fmla="*/ 73798 h 63500"/>
                <a:gd name="connsiteX3" fmla="*/ 0 w 38100"/>
                <a:gd name="connsiteY3" fmla="*/ 36968 h 63500"/>
                <a:gd name="connsiteX4" fmla="*/ 22860 w 38100"/>
                <a:gd name="connsiteY4" fmla="*/ 138 h 63500"/>
                <a:gd name="connsiteX5" fmla="*/ 43180 w 38100"/>
                <a:gd name="connsiteY5" fmla="*/ 17918 h 63500"/>
                <a:gd name="connsiteX6" fmla="*/ 43180 w 38100"/>
                <a:gd name="connsiteY6" fmla="*/ 20458 h 63500"/>
                <a:gd name="connsiteX7" fmla="*/ 43180 w 38100"/>
                <a:gd name="connsiteY7" fmla="*/ 21728 h 63500"/>
                <a:gd name="connsiteX8" fmla="*/ 33020 w 38100"/>
                <a:gd name="connsiteY8" fmla="*/ 21728 h 63500"/>
                <a:gd name="connsiteX9" fmla="*/ 33020 w 38100"/>
                <a:gd name="connsiteY9" fmla="*/ 20458 h 63500"/>
                <a:gd name="connsiteX10" fmla="*/ 22860 w 38100"/>
                <a:gd name="connsiteY10" fmla="*/ 9028 h 63500"/>
                <a:gd name="connsiteX11" fmla="*/ 10160 w 38100"/>
                <a:gd name="connsiteY11" fmla="*/ 36968 h 63500"/>
                <a:gd name="connsiteX12" fmla="*/ 21590 w 38100"/>
                <a:gd name="connsiteY12" fmla="*/ 64908 h 63500"/>
                <a:gd name="connsiteX13" fmla="*/ 33020 w 38100"/>
                <a:gd name="connsiteY13" fmla="*/ 43318 h 63500"/>
                <a:gd name="connsiteX14" fmla="*/ 21590 w 38100"/>
                <a:gd name="connsiteY14" fmla="*/ 43318 h 63500"/>
                <a:gd name="connsiteX15" fmla="*/ 21590 w 38100"/>
                <a:gd name="connsiteY15" fmla="*/ 34428 h 63500"/>
                <a:gd name="connsiteX16" fmla="*/ 44450 w 38100"/>
                <a:gd name="connsiteY16" fmla="*/ 34428 h 63500"/>
                <a:gd name="connsiteX17" fmla="*/ 44450 w 38100"/>
                <a:gd name="connsiteY17" fmla="*/ 71258 h 63500"/>
                <a:gd name="connsiteX18" fmla="*/ 35560 w 38100"/>
                <a:gd name="connsiteY18" fmla="*/ 71258 h 63500"/>
                <a:gd name="connsiteX19" fmla="*/ 35560 w 38100"/>
                <a:gd name="connsiteY19" fmla="*/ 64908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8100" h="63500">
                  <a:moveTo>
                    <a:pt x="35560" y="64908"/>
                  </a:moveTo>
                  <a:lnTo>
                    <a:pt x="35560" y="64908"/>
                  </a:lnTo>
                  <a:cubicBezTo>
                    <a:pt x="33020" y="71258"/>
                    <a:pt x="26670" y="75068"/>
                    <a:pt x="20320" y="73798"/>
                  </a:cubicBezTo>
                  <a:cubicBezTo>
                    <a:pt x="5080" y="73798"/>
                    <a:pt x="0" y="62368"/>
                    <a:pt x="0" y="36968"/>
                  </a:cubicBezTo>
                  <a:cubicBezTo>
                    <a:pt x="0" y="11568"/>
                    <a:pt x="7620" y="138"/>
                    <a:pt x="22860" y="138"/>
                  </a:cubicBezTo>
                  <a:cubicBezTo>
                    <a:pt x="33020" y="-1132"/>
                    <a:pt x="43180" y="6488"/>
                    <a:pt x="43180" y="17918"/>
                  </a:cubicBezTo>
                  <a:cubicBezTo>
                    <a:pt x="43180" y="19188"/>
                    <a:pt x="43180" y="19188"/>
                    <a:pt x="43180" y="20458"/>
                  </a:cubicBezTo>
                  <a:lnTo>
                    <a:pt x="43180" y="21728"/>
                  </a:lnTo>
                  <a:lnTo>
                    <a:pt x="33020" y="21728"/>
                  </a:lnTo>
                  <a:lnTo>
                    <a:pt x="33020" y="20458"/>
                  </a:lnTo>
                  <a:cubicBezTo>
                    <a:pt x="33020" y="15378"/>
                    <a:pt x="30480" y="9028"/>
                    <a:pt x="22860" y="9028"/>
                  </a:cubicBezTo>
                  <a:cubicBezTo>
                    <a:pt x="15240" y="9028"/>
                    <a:pt x="10160" y="14108"/>
                    <a:pt x="10160" y="36968"/>
                  </a:cubicBezTo>
                  <a:cubicBezTo>
                    <a:pt x="10160" y="59828"/>
                    <a:pt x="13970" y="64908"/>
                    <a:pt x="21590" y="64908"/>
                  </a:cubicBezTo>
                  <a:cubicBezTo>
                    <a:pt x="29210" y="64908"/>
                    <a:pt x="33020" y="58558"/>
                    <a:pt x="33020" y="43318"/>
                  </a:cubicBezTo>
                  <a:lnTo>
                    <a:pt x="21590" y="43318"/>
                  </a:lnTo>
                  <a:lnTo>
                    <a:pt x="21590" y="34428"/>
                  </a:lnTo>
                  <a:lnTo>
                    <a:pt x="44450" y="34428"/>
                  </a:lnTo>
                  <a:lnTo>
                    <a:pt x="44450" y="71258"/>
                  </a:lnTo>
                  <a:lnTo>
                    <a:pt x="35560" y="71258"/>
                  </a:lnTo>
                  <a:lnTo>
                    <a:pt x="35560" y="6490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5BB5C662-8D2B-4780-A2AA-71F53B897D0A}"/>
                </a:ext>
              </a:extLst>
            </p:cNvPr>
            <p:cNvSpPr/>
            <p:nvPr/>
          </p:nvSpPr>
          <p:spPr>
            <a:xfrm>
              <a:off x="11404600" y="6287769"/>
              <a:ext cx="88900" cy="101600"/>
            </a:xfrm>
            <a:custGeom>
              <a:avLst/>
              <a:gdLst>
                <a:gd name="connsiteX0" fmla="*/ 48260 w 88900"/>
                <a:gd name="connsiteY0" fmla="*/ 0 h 101600"/>
                <a:gd name="connsiteX1" fmla="*/ 0 w 88900"/>
                <a:gd name="connsiteY1" fmla="*/ 62230 h 101600"/>
                <a:gd name="connsiteX2" fmla="*/ 0 w 88900"/>
                <a:gd name="connsiteY2" fmla="*/ 104140 h 101600"/>
                <a:gd name="connsiteX3" fmla="*/ 48260 w 88900"/>
                <a:gd name="connsiteY3" fmla="*/ 40640 h 101600"/>
                <a:gd name="connsiteX4" fmla="*/ 99060 w 88900"/>
                <a:gd name="connsiteY4" fmla="*/ 104140 h 101600"/>
                <a:gd name="connsiteX5" fmla="*/ 99060 w 88900"/>
                <a:gd name="connsiteY5" fmla="*/ 6477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8900" h="101600">
                  <a:moveTo>
                    <a:pt x="48260" y="0"/>
                  </a:moveTo>
                  <a:lnTo>
                    <a:pt x="0" y="62230"/>
                  </a:lnTo>
                  <a:lnTo>
                    <a:pt x="0" y="104140"/>
                  </a:lnTo>
                  <a:lnTo>
                    <a:pt x="48260" y="40640"/>
                  </a:lnTo>
                  <a:lnTo>
                    <a:pt x="99060" y="104140"/>
                  </a:lnTo>
                  <a:lnTo>
                    <a:pt x="99060" y="6477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D2435C9A-629D-4DA6-8F0C-A3C939250C20}"/>
                </a:ext>
              </a:extLst>
            </p:cNvPr>
            <p:cNvSpPr/>
            <p:nvPr/>
          </p:nvSpPr>
          <p:spPr>
            <a:xfrm>
              <a:off x="11121390" y="6403339"/>
              <a:ext cx="88900" cy="152400"/>
            </a:xfrm>
            <a:custGeom>
              <a:avLst/>
              <a:gdLst>
                <a:gd name="connsiteX0" fmla="*/ 67310 w 88900"/>
                <a:gd name="connsiteY0" fmla="*/ 0 h 152400"/>
                <a:gd name="connsiteX1" fmla="*/ 67310 w 88900"/>
                <a:gd name="connsiteY1" fmla="*/ 58420 h 152400"/>
                <a:gd name="connsiteX2" fmla="*/ 31750 w 88900"/>
                <a:gd name="connsiteY2" fmla="*/ 58420 h 152400"/>
                <a:gd name="connsiteX3" fmla="*/ 31750 w 88900"/>
                <a:gd name="connsiteY3" fmla="*/ 0 h 152400"/>
                <a:gd name="connsiteX4" fmla="*/ 0 w 88900"/>
                <a:gd name="connsiteY4" fmla="*/ 0 h 152400"/>
                <a:gd name="connsiteX5" fmla="*/ 0 w 88900"/>
                <a:gd name="connsiteY5" fmla="*/ 152400 h 152400"/>
                <a:gd name="connsiteX6" fmla="*/ 31750 w 88900"/>
                <a:gd name="connsiteY6" fmla="*/ 152400 h 152400"/>
                <a:gd name="connsiteX7" fmla="*/ 31750 w 88900"/>
                <a:gd name="connsiteY7" fmla="*/ 85090 h 152400"/>
                <a:gd name="connsiteX8" fmla="*/ 67310 w 88900"/>
                <a:gd name="connsiteY8" fmla="*/ 85090 h 152400"/>
                <a:gd name="connsiteX9" fmla="*/ 67310 w 88900"/>
                <a:gd name="connsiteY9" fmla="*/ 152400 h 152400"/>
                <a:gd name="connsiteX10" fmla="*/ 99060 w 88900"/>
                <a:gd name="connsiteY10" fmla="*/ 152400 h 152400"/>
                <a:gd name="connsiteX11" fmla="*/ 99060 w 88900"/>
                <a:gd name="connsiteY11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900" h="152400">
                  <a:moveTo>
                    <a:pt x="67310" y="0"/>
                  </a:moveTo>
                  <a:lnTo>
                    <a:pt x="67310" y="58420"/>
                  </a:lnTo>
                  <a:lnTo>
                    <a:pt x="31750" y="58420"/>
                  </a:lnTo>
                  <a:lnTo>
                    <a:pt x="31750" y="0"/>
                  </a:lnTo>
                  <a:lnTo>
                    <a:pt x="0" y="0"/>
                  </a:lnTo>
                  <a:lnTo>
                    <a:pt x="0" y="152400"/>
                  </a:lnTo>
                  <a:lnTo>
                    <a:pt x="31750" y="152400"/>
                  </a:lnTo>
                  <a:lnTo>
                    <a:pt x="31750" y="85090"/>
                  </a:lnTo>
                  <a:lnTo>
                    <a:pt x="67310" y="85090"/>
                  </a:lnTo>
                  <a:lnTo>
                    <a:pt x="67310" y="152400"/>
                  </a:lnTo>
                  <a:lnTo>
                    <a:pt x="99060" y="152400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A2C634F6-0CAE-4CCC-99A3-C63EFDA1E2DA}"/>
                </a:ext>
              </a:extLst>
            </p:cNvPr>
            <p:cNvSpPr/>
            <p:nvPr/>
          </p:nvSpPr>
          <p:spPr>
            <a:xfrm>
              <a:off x="11239500" y="6403339"/>
              <a:ext cx="25400" cy="152400"/>
            </a:xfrm>
            <a:custGeom>
              <a:avLst/>
              <a:gdLst>
                <a:gd name="connsiteX0" fmla="*/ 0 w 25400"/>
                <a:gd name="connsiteY0" fmla="*/ 0 h 152400"/>
                <a:gd name="connsiteX1" fmla="*/ 30480 w 25400"/>
                <a:gd name="connsiteY1" fmla="*/ 0 h 152400"/>
                <a:gd name="connsiteX2" fmla="*/ 30480 w 25400"/>
                <a:gd name="connsiteY2" fmla="*/ 153670 h 152400"/>
                <a:gd name="connsiteX3" fmla="*/ 0 w 25400"/>
                <a:gd name="connsiteY3" fmla="*/ 15367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00" h="152400">
                  <a:moveTo>
                    <a:pt x="0" y="0"/>
                  </a:moveTo>
                  <a:lnTo>
                    <a:pt x="30480" y="0"/>
                  </a:lnTo>
                  <a:lnTo>
                    <a:pt x="30480" y="153670"/>
                  </a:lnTo>
                  <a:lnTo>
                    <a:pt x="0" y="15367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BF8F380-CA0F-4B83-BBBD-FB56D107A111}"/>
                </a:ext>
              </a:extLst>
            </p:cNvPr>
            <p:cNvSpPr/>
            <p:nvPr/>
          </p:nvSpPr>
          <p:spPr>
            <a:xfrm>
              <a:off x="11289030" y="6399529"/>
              <a:ext cx="88900" cy="152400"/>
            </a:xfrm>
            <a:custGeom>
              <a:avLst/>
              <a:gdLst>
                <a:gd name="connsiteX0" fmla="*/ 68580 w 88900"/>
                <a:gd name="connsiteY0" fmla="*/ 48260 h 152400"/>
                <a:gd name="connsiteX1" fmla="*/ 50800 w 88900"/>
                <a:gd name="connsiteY1" fmla="*/ 22860 h 152400"/>
                <a:gd name="connsiteX2" fmla="*/ 29210 w 88900"/>
                <a:gd name="connsiteY2" fmla="*/ 76200 h 152400"/>
                <a:gd name="connsiteX3" fmla="*/ 50800 w 88900"/>
                <a:gd name="connsiteY3" fmla="*/ 135890 h 152400"/>
                <a:gd name="connsiteX4" fmla="*/ 69850 w 88900"/>
                <a:gd name="connsiteY4" fmla="*/ 111760 h 152400"/>
                <a:gd name="connsiteX5" fmla="*/ 69850 w 88900"/>
                <a:gd name="connsiteY5" fmla="*/ 95250 h 152400"/>
                <a:gd name="connsiteX6" fmla="*/ 49530 w 88900"/>
                <a:gd name="connsiteY6" fmla="*/ 95250 h 152400"/>
                <a:gd name="connsiteX7" fmla="*/ 49530 w 88900"/>
                <a:gd name="connsiteY7" fmla="*/ 72390 h 152400"/>
                <a:gd name="connsiteX8" fmla="*/ 100330 w 88900"/>
                <a:gd name="connsiteY8" fmla="*/ 72390 h 152400"/>
                <a:gd name="connsiteX9" fmla="*/ 100330 w 88900"/>
                <a:gd name="connsiteY9" fmla="*/ 154940 h 152400"/>
                <a:gd name="connsiteX10" fmla="*/ 77470 w 88900"/>
                <a:gd name="connsiteY10" fmla="*/ 154940 h 152400"/>
                <a:gd name="connsiteX11" fmla="*/ 77470 w 88900"/>
                <a:gd name="connsiteY11" fmla="*/ 140970 h 152400"/>
                <a:gd name="connsiteX12" fmla="*/ 77470 w 88900"/>
                <a:gd name="connsiteY12" fmla="*/ 140970 h 152400"/>
                <a:gd name="connsiteX13" fmla="*/ 45720 w 88900"/>
                <a:gd name="connsiteY13" fmla="*/ 158750 h 152400"/>
                <a:gd name="connsiteX14" fmla="*/ 0 w 88900"/>
                <a:gd name="connsiteY14" fmla="*/ 77470 h 152400"/>
                <a:gd name="connsiteX15" fmla="*/ 52070 w 88900"/>
                <a:gd name="connsiteY15" fmla="*/ 0 h 152400"/>
                <a:gd name="connsiteX16" fmla="*/ 100330 w 88900"/>
                <a:gd name="connsiteY16" fmla="*/ 48260 h 152400"/>
                <a:gd name="connsiteX17" fmla="*/ 68580 w 88900"/>
                <a:gd name="connsiteY17" fmla="*/ 4826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8900" h="152400">
                  <a:moveTo>
                    <a:pt x="68580" y="48260"/>
                  </a:moveTo>
                  <a:cubicBezTo>
                    <a:pt x="68580" y="36830"/>
                    <a:pt x="63500" y="22860"/>
                    <a:pt x="50800" y="22860"/>
                  </a:cubicBezTo>
                  <a:cubicBezTo>
                    <a:pt x="35560" y="22860"/>
                    <a:pt x="29210" y="38100"/>
                    <a:pt x="29210" y="76200"/>
                  </a:cubicBezTo>
                  <a:cubicBezTo>
                    <a:pt x="29210" y="113030"/>
                    <a:pt x="33020" y="135890"/>
                    <a:pt x="50800" y="135890"/>
                  </a:cubicBezTo>
                  <a:cubicBezTo>
                    <a:pt x="62230" y="134620"/>
                    <a:pt x="71120" y="123190"/>
                    <a:pt x="69850" y="111760"/>
                  </a:cubicBezTo>
                  <a:lnTo>
                    <a:pt x="69850" y="95250"/>
                  </a:lnTo>
                  <a:lnTo>
                    <a:pt x="49530" y="95250"/>
                  </a:lnTo>
                  <a:lnTo>
                    <a:pt x="49530" y="72390"/>
                  </a:lnTo>
                  <a:lnTo>
                    <a:pt x="100330" y="72390"/>
                  </a:lnTo>
                  <a:lnTo>
                    <a:pt x="100330" y="154940"/>
                  </a:lnTo>
                  <a:lnTo>
                    <a:pt x="77470" y="154940"/>
                  </a:lnTo>
                  <a:lnTo>
                    <a:pt x="77470" y="140970"/>
                  </a:lnTo>
                  <a:lnTo>
                    <a:pt x="77470" y="140970"/>
                  </a:lnTo>
                  <a:cubicBezTo>
                    <a:pt x="71120" y="152400"/>
                    <a:pt x="58420" y="158750"/>
                    <a:pt x="45720" y="158750"/>
                  </a:cubicBezTo>
                  <a:cubicBezTo>
                    <a:pt x="7620" y="158750"/>
                    <a:pt x="0" y="130810"/>
                    <a:pt x="0" y="77470"/>
                  </a:cubicBezTo>
                  <a:cubicBezTo>
                    <a:pt x="0" y="25400"/>
                    <a:pt x="12700" y="0"/>
                    <a:pt x="52070" y="0"/>
                  </a:cubicBezTo>
                  <a:cubicBezTo>
                    <a:pt x="86360" y="0"/>
                    <a:pt x="100330" y="17780"/>
                    <a:pt x="100330" y="48260"/>
                  </a:cubicBezTo>
                  <a:lnTo>
                    <a:pt x="68580" y="4826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1D57E31B-1D06-4772-8DB0-7B073AB350B6}"/>
                </a:ext>
              </a:extLst>
            </p:cNvPr>
            <p:cNvSpPr/>
            <p:nvPr/>
          </p:nvSpPr>
          <p:spPr>
            <a:xfrm>
              <a:off x="11404600" y="6403339"/>
              <a:ext cx="88900" cy="152400"/>
            </a:xfrm>
            <a:custGeom>
              <a:avLst/>
              <a:gdLst>
                <a:gd name="connsiteX0" fmla="*/ 67310 w 88900"/>
                <a:gd name="connsiteY0" fmla="*/ 0 h 152400"/>
                <a:gd name="connsiteX1" fmla="*/ 67310 w 88900"/>
                <a:gd name="connsiteY1" fmla="*/ 58420 h 152400"/>
                <a:gd name="connsiteX2" fmla="*/ 31750 w 88900"/>
                <a:gd name="connsiteY2" fmla="*/ 58420 h 152400"/>
                <a:gd name="connsiteX3" fmla="*/ 31750 w 88900"/>
                <a:gd name="connsiteY3" fmla="*/ 0 h 152400"/>
                <a:gd name="connsiteX4" fmla="*/ 0 w 88900"/>
                <a:gd name="connsiteY4" fmla="*/ 0 h 152400"/>
                <a:gd name="connsiteX5" fmla="*/ 0 w 88900"/>
                <a:gd name="connsiteY5" fmla="*/ 152400 h 152400"/>
                <a:gd name="connsiteX6" fmla="*/ 31750 w 88900"/>
                <a:gd name="connsiteY6" fmla="*/ 152400 h 152400"/>
                <a:gd name="connsiteX7" fmla="*/ 31750 w 88900"/>
                <a:gd name="connsiteY7" fmla="*/ 85090 h 152400"/>
                <a:gd name="connsiteX8" fmla="*/ 67310 w 88900"/>
                <a:gd name="connsiteY8" fmla="*/ 85090 h 152400"/>
                <a:gd name="connsiteX9" fmla="*/ 67310 w 88900"/>
                <a:gd name="connsiteY9" fmla="*/ 152400 h 152400"/>
                <a:gd name="connsiteX10" fmla="*/ 99060 w 88900"/>
                <a:gd name="connsiteY10" fmla="*/ 152400 h 152400"/>
                <a:gd name="connsiteX11" fmla="*/ 99060 w 88900"/>
                <a:gd name="connsiteY11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900" h="152400">
                  <a:moveTo>
                    <a:pt x="67310" y="0"/>
                  </a:moveTo>
                  <a:lnTo>
                    <a:pt x="67310" y="58420"/>
                  </a:lnTo>
                  <a:lnTo>
                    <a:pt x="31750" y="58420"/>
                  </a:lnTo>
                  <a:lnTo>
                    <a:pt x="31750" y="0"/>
                  </a:lnTo>
                  <a:lnTo>
                    <a:pt x="0" y="0"/>
                  </a:lnTo>
                  <a:lnTo>
                    <a:pt x="0" y="152400"/>
                  </a:lnTo>
                  <a:lnTo>
                    <a:pt x="31750" y="152400"/>
                  </a:lnTo>
                  <a:lnTo>
                    <a:pt x="31750" y="85090"/>
                  </a:lnTo>
                  <a:lnTo>
                    <a:pt x="67310" y="85090"/>
                  </a:lnTo>
                  <a:lnTo>
                    <a:pt x="67310" y="152400"/>
                  </a:lnTo>
                  <a:lnTo>
                    <a:pt x="99060" y="152400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D873A4C6-72CB-4840-A983-B48433D003D4}"/>
                </a:ext>
              </a:extLst>
            </p:cNvPr>
            <p:cNvSpPr/>
            <p:nvPr/>
          </p:nvSpPr>
          <p:spPr>
            <a:xfrm>
              <a:off x="11520170" y="6403339"/>
              <a:ext cx="88900" cy="152400"/>
            </a:xfrm>
            <a:custGeom>
              <a:avLst/>
              <a:gdLst>
                <a:gd name="connsiteX0" fmla="*/ 0 w 88900"/>
                <a:gd name="connsiteY0" fmla="*/ 0 h 152400"/>
                <a:gd name="connsiteX1" fmla="*/ 0 w 88900"/>
                <a:gd name="connsiteY1" fmla="*/ 152400 h 152400"/>
                <a:gd name="connsiteX2" fmla="*/ 88900 w 88900"/>
                <a:gd name="connsiteY2" fmla="*/ 152400 h 152400"/>
                <a:gd name="connsiteX3" fmla="*/ 88900 w 88900"/>
                <a:gd name="connsiteY3" fmla="*/ 127000 h 152400"/>
                <a:gd name="connsiteX4" fmla="*/ 31750 w 88900"/>
                <a:gd name="connsiteY4" fmla="*/ 127000 h 152400"/>
                <a:gd name="connsiteX5" fmla="*/ 31750 w 88900"/>
                <a:gd name="connsiteY5" fmla="*/ 86360 h 152400"/>
                <a:gd name="connsiteX6" fmla="*/ 83820 w 88900"/>
                <a:gd name="connsiteY6" fmla="*/ 86360 h 152400"/>
                <a:gd name="connsiteX7" fmla="*/ 83820 w 88900"/>
                <a:gd name="connsiteY7" fmla="*/ 60960 h 152400"/>
                <a:gd name="connsiteX8" fmla="*/ 31750 w 88900"/>
                <a:gd name="connsiteY8" fmla="*/ 60960 h 152400"/>
                <a:gd name="connsiteX9" fmla="*/ 31750 w 88900"/>
                <a:gd name="connsiteY9" fmla="*/ 25400 h 152400"/>
                <a:gd name="connsiteX10" fmla="*/ 86361 w 88900"/>
                <a:gd name="connsiteY10" fmla="*/ 25400 h 152400"/>
                <a:gd name="connsiteX11" fmla="*/ 86361 w 88900"/>
                <a:gd name="connsiteY11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900" h="152400">
                  <a:moveTo>
                    <a:pt x="0" y="0"/>
                  </a:moveTo>
                  <a:lnTo>
                    <a:pt x="0" y="152400"/>
                  </a:lnTo>
                  <a:lnTo>
                    <a:pt x="88900" y="152400"/>
                  </a:lnTo>
                  <a:lnTo>
                    <a:pt x="88900" y="127000"/>
                  </a:lnTo>
                  <a:lnTo>
                    <a:pt x="31750" y="127000"/>
                  </a:lnTo>
                  <a:lnTo>
                    <a:pt x="31750" y="86360"/>
                  </a:lnTo>
                  <a:lnTo>
                    <a:pt x="83820" y="86360"/>
                  </a:lnTo>
                  <a:lnTo>
                    <a:pt x="83820" y="60960"/>
                  </a:lnTo>
                  <a:lnTo>
                    <a:pt x="31750" y="60960"/>
                  </a:lnTo>
                  <a:lnTo>
                    <a:pt x="31750" y="25400"/>
                  </a:lnTo>
                  <a:lnTo>
                    <a:pt x="86361" y="25400"/>
                  </a:lnTo>
                  <a:lnTo>
                    <a:pt x="86361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0D7E364E-D675-4E32-8919-122F75F8678C}"/>
                </a:ext>
              </a:extLst>
            </p:cNvPr>
            <p:cNvSpPr/>
            <p:nvPr/>
          </p:nvSpPr>
          <p:spPr>
            <a:xfrm>
              <a:off x="11620500" y="6403339"/>
              <a:ext cx="101600" cy="152400"/>
            </a:xfrm>
            <a:custGeom>
              <a:avLst/>
              <a:gdLst>
                <a:gd name="connsiteX0" fmla="*/ 0 w 101600"/>
                <a:gd name="connsiteY0" fmla="*/ 0 h 152400"/>
                <a:gd name="connsiteX1" fmla="*/ 57150 w 101600"/>
                <a:gd name="connsiteY1" fmla="*/ 0 h 152400"/>
                <a:gd name="connsiteX2" fmla="*/ 97790 w 101600"/>
                <a:gd name="connsiteY2" fmla="*/ 39370 h 152400"/>
                <a:gd name="connsiteX3" fmla="*/ 72390 w 101600"/>
                <a:gd name="connsiteY3" fmla="*/ 77470 h 152400"/>
                <a:gd name="connsiteX4" fmla="*/ 72390 w 101600"/>
                <a:gd name="connsiteY4" fmla="*/ 77470 h 152400"/>
                <a:gd name="connsiteX5" fmla="*/ 97790 w 101600"/>
                <a:gd name="connsiteY5" fmla="*/ 124460 h 152400"/>
                <a:gd name="connsiteX6" fmla="*/ 104140 w 101600"/>
                <a:gd name="connsiteY6" fmla="*/ 152400 h 152400"/>
                <a:gd name="connsiteX7" fmla="*/ 104140 w 101600"/>
                <a:gd name="connsiteY7" fmla="*/ 153670 h 152400"/>
                <a:gd name="connsiteX8" fmla="*/ 69850 w 101600"/>
                <a:gd name="connsiteY8" fmla="*/ 153670 h 152400"/>
                <a:gd name="connsiteX9" fmla="*/ 66040 w 101600"/>
                <a:gd name="connsiteY9" fmla="*/ 137160 h 152400"/>
                <a:gd name="connsiteX10" fmla="*/ 64770 w 101600"/>
                <a:gd name="connsiteY10" fmla="*/ 107950 h 152400"/>
                <a:gd name="connsiteX11" fmla="*/ 46990 w 101600"/>
                <a:gd name="connsiteY11" fmla="*/ 88900 h 152400"/>
                <a:gd name="connsiteX12" fmla="*/ 30480 w 101600"/>
                <a:gd name="connsiteY12" fmla="*/ 88900 h 152400"/>
                <a:gd name="connsiteX13" fmla="*/ 30480 w 101600"/>
                <a:gd name="connsiteY13" fmla="*/ 153670 h 152400"/>
                <a:gd name="connsiteX14" fmla="*/ 0 w 101600"/>
                <a:gd name="connsiteY14" fmla="*/ 153670 h 152400"/>
                <a:gd name="connsiteX15" fmla="*/ 0 w 101600"/>
                <a:gd name="connsiteY15" fmla="*/ 0 h 152400"/>
                <a:gd name="connsiteX16" fmla="*/ 30480 w 101600"/>
                <a:gd name="connsiteY16" fmla="*/ 66040 h 152400"/>
                <a:gd name="connsiteX17" fmla="*/ 43180 w 101600"/>
                <a:gd name="connsiteY17" fmla="*/ 66040 h 152400"/>
                <a:gd name="connsiteX18" fmla="*/ 66040 w 101600"/>
                <a:gd name="connsiteY18" fmla="*/ 43180 h 152400"/>
                <a:gd name="connsiteX19" fmla="*/ 49530 w 101600"/>
                <a:gd name="connsiteY19" fmla="*/ 21590 h 152400"/>
                <a:gd name="connsiteX20" fmla="*/ 44450 w 101600"/>
                <a:gd name="connsiteY20" fmla="*/ 21590 h 152400"/>
                <a:gd name="connsiteX21" fmla="*/ 29210 w 101600"/>
                <a:gd name="connsiteY21" fmla="*/ 21590 h 152400"/>
                <a:gd name="connsiteX22" fmla="*/ 30480 w 101600"/>
                <a:gd name="connsiteY22" fmla="*/ 6604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1600" h="152400">
                  <a:moveTo>
                    <a:pt x="0" y="0"/>
                  </a:moveTo>
                  <a:lnTo>
                    <a:pt x="57150" y="0"/>
                  </a:lnTo>
                  <a:cubicBezTo>
                    <a:pt x="82550" y="0"/>
                    <a:pt x="97790" y="12700"/>
                    <a:pt x="97790" y="39370"/>
                  </a:cubicBezTo>
                  <a:cubicBezTo>
                    <a:pt x="97790" y="59690"/>
                    <a:pt x="90170" y="73660"/>
                    <a:pt x="72390" y="77470"/>
                  </a:cubicBezTo>
                  <a:lnTo>
                    <a:pt x="72390" y="77470"/>
                  </a:lnTo>
                  <a:cubicBezTo>
                    <a:pt x="93980" y="80010"/>
                    <a:pt x="96520" y="91440"/>
                    <a:pt x="97790" y="124460"/>
                  </a:cubicBezTo>
                  <a:cubicBezTo>
                    <a:pt x="97790" y="140970"/>
                    <a:pt x="99060" y="148590"/>
                    <a:pt x="104140" y="152400"/>
                  </a:cubicBezTo>
                  <a:lnTo>
                    <a:pt x="104140" y="153670"/>
                  </a:lnTo>
                  <a:lnTo>
                    <a:pt x="69850" y="153670"/>
                  </a:lnTo>
                  <a:cubicBezTo>
                    <a:pt x="67310" y="148590"/>
                    <a:pt x="66040" y="143510"/>
                    <a:pt x="66040" y="137160"/>
                  </a:cubicBezTo>
                  <a:lnTo>
                    <a:pt x="64770" y="107950"/>
                  </a:lnTo>
                  <a:cubicBezTo>
                    <a:pt x="64770" y="96520"/>
                    <a:pt x="58420" y="88900"/>
                    <a:pt x="46990" y="88900"/>
                  </a:cubicBezTo>
                  <a:lnTo>
                    <a:pt x="30480" y="88900"/>
                  </a:lnTo>
                  <a:lnTo>
                    <a:pt x="30480" y="153670"/>
                  </a:lnTo>
                  <a:lnTo>
                    <a:pt x="0" y="153670"/>
                  </a:lnTo>
                  <a:lnTo>
                    <a:pt x="0" y="0"/>
                  </a:lnTo>
                  <a:close/>
                  <a:moveTo>
                    <a:pt x="30480" y="66040"/>
                  </a:moveTo>
                  <a:lnTo>
                    <a:pt x="43180" y="66040"/>
                  </a:lnTo>
                  <a:cubicBezTo>
                    <a:pt x="58420" y="66040"/>
                    <a:pt x="66040" y="59690"/>
                    <a:pt x="66040" y="43180"/>
                  </a:cubicBezTo>
                  <a:cubicBezTo>
                    <a:pt x="67310" y="33020"/>
                    <a:pt x="59690" y="22860"/>
                    <a:pt x="49530" y="21590"/>
                  </a:cubicBezTo>
                  <a:cubicBezTo>
                    <a:pt x="48260" y="21590"/>
                    <a:pt x="45720" y="21590"/>
                    <a:pt x="44450" y="21590"/>
                  </a:cubicBezTo>
                  <a:lnTo>
                    <a:pt x="29210" y="21590"/>
                  </a:lnTo>
                  <a:lnTo>
                    <a:pt x="30480" y="6604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163087D-92E1-463F-BE7D-F435B3455650}"/>
                </a:ext>
              </a:extLst>
            </p:cNvPr>
            <p:cNvSpPr/>
            <p:nvPr/>
          </p:nvSpPr>
          <p:spPr>
            <a:xfrm>
              <a:off x="11728450" y="6527637"/>
              <a:ext cx="25400" cy="25400"/>
            </a:xfrm>
            <a:custGeom>
              <a:avLst/>
              <a:gdLst>
                <a:gd name="connsiteX0" fmla="*/ 29210 w 25400"/>
                <a:gd name="connsiteY0" fmla="*/ 14132 h 25400"/>
                <a:gd name="connsiteX1" fmla="*/ 15240 w 25400"/>
                <a:gd name="connsiteY1" fmla="*/ 29372 h 25400"/>
                <a:gd name="connsiteX2" fmla="*/ 0 w 25400"/>
                <a:gd name="connsiteY2" fmla="*/ 15402 h 25400"/>
                <a:gd name="connsiteX3" fmla="*/ 13970 w 25400"/>
                <a:gd name="connsiteY3" fmla="*/ 162 h 25400"/>
                <a:gd name="connsiteX4" fmla="*/ 13970 w 25400"/>
                <a:gd name="connsiteY4" fmla="*/ 162 h 25400"/>
                <a:gd name="connsiteX5" fmla="*/ 29210 w 25400"/>
                <a:gd name="connsiteY5" fmla="*/ 14132 h 25400"/>
                <a:gd name="connsiteX6" fmla="*/ 29210 w 25400"/>
                <a:gd name="connsiteY6" fmla="*/ 14132 h 25400"/>
                <a:gd name="connsiteX7" fmla="*/ 3810 w 25400"/>
                <a:gd name="connsiteY7" fmla="*/ 14132 h 25400"/>
                <a:gd name="connsiteX8" fmla="*/ 15240 w 25400"/>
                <a:gd name="connsiteY8" fmla="*/ 25562 h 25400"/>
                <a:gd name="connsiteX9" fmla="*/ 15240 w 25400"/>
                <a:gd name="connsiteY9" fmla="*/ 25562 h 25400"/>
                <a:gd name="connsiteX10" fmla="*/ 26670 w 25400"/>
                <a:gd name="connsiteY10" fmla="*/ 14132 h 25400"/>
                <a:gd name="connsiteX11" fmla="*/ 26670 w 25400"/>
                <a:gd name="connsiteY11" fmla="*/ 14132 h 25400"/>
                <a:gd name="connsiteX12" fmla="*/ 15240 w 25400"/>
                <a:gd name="connsiteY12" fmla="*/ 2702 h 25400"/>
                <a:gd name="connsiteX13" fmla="*/ 3810 w 25400"/>
                <a:gd name="connsiteY13" fmla="*/ 14132 h 25400"/>
                <a:gd name="connsiteX14" fmla="*/ 3810 w 25400"/>
                <a:gd name="connsiteY14" fmla="*/ 14132 h 25400"/>
                <a:gd name="connsiteX15" fmla="*/ 3810 w 25400"/>
                <a:gd name="connsiteY15" fmla="*/ 14132 h 25400"/>
                <a:gd name="connsiteX16" fmla="*/ 12700 w 25400"/>
                <a:gd name="connsiteY16" fmla="*/ 21752 h 25400"/>
                <a:gd name="connsiteX17" fmla="*/ 8890 w 25400"/>
                <a:gd name="connsiteY17" fmla="*/ 21752 h 25400"/>
                <a:gd name="connsiteX18" fmla="*/ 8890 w 25400"/>
                <a:gd name="connsiteY18" fmla="*/ 7782 h 25400"/>
                <a:gd name="connsiteX19" fmla="*/ 13970 w 25400"/>
                <a:gd name="connsiteY19" fmla="*/ 7782 h 25400"/>
                <a:gd name="connsiteX20" fmla="*/ 19050 w 25400"/>
                <a:gd name="connsiteY20" fmla="*/ 9052 h 25400"/>
                <a:gd name="connsiteX21" fmla="*/ 20320 w 25400"/>
                <a:gd name="connsiteY21" fmla="*/ 11592 h 25400"/>
                <a:gd name="connsiteX22" fmla="*/ 17780 w 25400"/>
                <a:gd name="connsiteY22" fmla="*/ 15402 h 25400"/>
                <a:gd name="connsiteX23" fmla="*/ 17780 w 25400"/>
                <a:gd name="connsiteY23" fmla="*/ 15402 h 25400"/>
                <a:gd name="connsiteX24" fmla="*/ 20320 w 25400"/>
                <a:gd name="connsiteY24" fmla="*/ 19212 h 25400"/>
                <a:gd name="connsiteX25" fmla="*/ 21590 w 25400"/>
                <a:gd name="connsiteY25" fmla="*/ 23022 h 25400"/>
                <a:gd name="connsiteX26" fmla="*/ 17780 w 25400"/>
                <a:gd name="connsiteY26" fmla="*/ 23022 h 25400"/>
                <a:gd name="connsiteX27" fmla="*/ 16510 w 25400"/>
                <a:gd name="connsiteY27" fmla="*/ 19212 h 25400"/>
                <a:gd name="connsiteX28" fmla="*/ 13970 w 25400"/>
                <a:gd name="connsiteY28" fmla="*/ 16672 h 25400"/>
                <a:gd name="connsiteX29" fmla="*/ 12700 w 25400"/>
                <a:gd name="connsiteY29" fmla="*/ 16672 h 25400"/>
                <a:gd name="connsiteX30" fmla="*/ 12700 w 25400"/>
                <a:gd name="connsiteY30" fmla="*/ 21752 h 25400"/>
                <a:gd name="connsiteX31" fmla="*/ 12700 w 25400"/>
                <a:gd name="connsiteY31" fmla="*/ 12862 h 25400"/>
                <a:gd name="connsiteX32" fmla="*/ 12700 w 25400"/>
                <a:gd name="connsiteY32" fmla="*/ 12862 h 25400"/>
                <a:gd name="connsiteX33" fmla="*/ 17780 w 25400"/>
                <a:gd name="connsiteY33" fmla="*/ 10322 h 25400"/>
                <a:gd name="connsiteX34" fmla="*/ 15240 w 25400"/>
                <a:gd name="connsiteY34" fmla="*/ 7782 h 25400"/>
                <a:gd name="connsiteX35" fmla="*/ 13970 w 25400"/>
                <a:gd name="connsiteY35" fmla="*/ 7782 h 25400"/>
                <a:gd name="connsiteX36" fmla="*/ 12700 w 25400"/>
                <a:gd name="connsiteY36" fmla="*/ 12862 h 25400"/>
                <a:gd name="connsiteX37" fmla="*/ 12700 w 25400"/>
                <a:gd name="connsiteY37" fmla="*/ 12862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5400" h="25400">
                  <a:moveTo>
                    <a:pt x="29210" y="14132"/>
                  </a:moveTo>
                  <a:cubicBezTo>
                    <a:pt x="29210" y="21752"/>
                    <a:pt x="22860" y="29372"/>
                    <a:pt x="15240" y="29372"/>
                  </a:cubicBezTo>
                  <a:cubicBezTo>
                    <a:pt x="7620" y="29372"/>
                    <a:pt x="0" y="23022"/>
                    <a:pt x="0" y="15402"/>
                  </a:cubicBezTo>
                  <a:cubicBezTo>
                    <a:pt x="0" y="7782"/>
                    <a:pt x="6350" y="162"/>
                    <a:pt x="13970" y="162"/>
                  </a:cubicBezTo>
                  <a:lnTo>
                    <a:pt x="13970" y="162"/>
                  </a:lnTo>
                  <a:cubicBezTo>
                    <a:pt x="22860" y="-1108"/>
                    <a:pt x="29210" y="5242"/>
                    <a:pt x="29210" y="14132"/>
                  </a:cubicBezTo>
                  <a:lnTo>
                    <a:pt x="29210" y="14132"/>
                  </a:lnTo>
                  <a:close/>
                  <a:moveTo>
                    <a:pt x="3810" y="14132"/>
                  </a:moveTo>
                  <a:cubicBezTo>
                    <a:pt x="3810" y="20482"/>
                    <a:pt x="8890" y="25562"/>
                    <a:pt x="15240" y="25562"/>
                  </a:cubicBezTo>
                  <a:lnTo>
                    <a:pt x="15240" y="25562"/>
                  </a:lnTo>
                  <a:cubicBezTo>
                    <a:pt x="21590" y="25562"/>
                    <a:pt x="26670" y="20482"/>
                    <a:pt x="26670" y="14132"/>
                  </a:cubicBezTo>
                  <a:lnTo>
                    <a:pt x="26670" y="14132"/>
                  </a:lnTo>
                  <a:cubicBezTo>
                    <a:pt x="26670" y="7782"/>
                    <a:pt x="21590" y="2702"/>
                    <a:pt x="15240" y="2702"/>
                  </a:cubicBezTo>
                  <a:cubicBezTo>
                    <a:pt x="8890" y="2702"/>
                    <a:pt x="3810" y="7782"/>
                    <a:pt x="3810" y="14132"/>
                  </a:cubicBezTo>
                  <a:lnTo>
                    <a:pt x="3810" y="14132"/>
                  </a:lnTo>
                  <a:lnTo>
                    <a:pt x="3810" y="14132"/>
                  </a:lnTo>
                  <a:close/>
                  <a:moveTo>
                    <a:pt x="12700" y="21752"/>
                  </a:moveTo>
                  <a:lnTo>
                    <a:pt x="8890" y="21752"/>
                  </a:lnTo>
                  <a:lnTo>
                    <a:pt x="8890" y="7782"/>
                  </a:lnTo>
                  <a:cubicBezTo>
                    <a:pt x="10160" y="7782"/>
                    <a:pt x="12700" y="7782"/>
                    <a:pt x="13970" y="7782"/>
                  </a:cubicBezTo>
                  <a:cubicBezTo>
                    <a:pt x="15240" y="7782"/>
                    <a:pt x="17780" y="7782"/>
                    <a:pt x="19050" y="9052"/>
                  </a:cubicBezTo>
                  <a:cubicBezTo>
                    <a:pt x="20320" y="10322"/>
                    <a:pt x="20320" y="10322"/>
                    <a:pt x="20320" y="11592"/>
                  </a:cubicBezTo>
                  <a:cubicBezTo>
                    <a:pt x="20320" y="12862"/>
                    <a:pt x="19050" y="14132"/>
                    <a:pt x="17780" y="15402"/>
                  </a:cubicBezTo>
                  <a:lnTo>
                    <a:pt x="17780" y="15402"/>
                  </a:lnTo>
                  <a:cubicBezTo>
                    <a:pt x="19050" y="15402"/>
                    <a:pt x="20320" y="16672"/>
                    <a:pt x="20320" y="19212"/>
                  </a:cubicBezTo>
                  <a:cubicBezTo>
                    <a:pt x="20320" y="20482"/>
                    <a:pt x="20320" y="21752"/>
                    <a:pt x="21590" y="23022"/>
                  </a:cubicBezTo>
                  <a:lnTo>
                    <a:pt x="17780" y="23022"/>
                  </a:lnTo>
                  <a:cubicBezTo>
                    <a:pt x="17780" y="21752"/>
                    <a:pt x="16510" y="20482"/>
                    <a:pt x="16510" y="19212"/>
                  </a:cubicBezTo>
                  <a:cubicBezTo>
                    <a:pt x="16510" y="17942"/>
                    <a:pt x="15240" y="16672"/>
                    <a:pt x="13970" y="16672"/>
                  </a:cubicBezTo>
                  <a:lnTo>
                    <a:pt x="12700" y="16672"/>
                  </a:lnTo>
                  <a:lnTo>
                    <a:pt x="12700" y="21752"/>
                  </a:lnTo>
                  <a:close/>
                  <a:moveTo>
                    <a:pt x="12700" y="12862"/>
                  </a:moveTo>
                  <a:lnTo>
                    <a:pt x="12700" y="12862"/>
                  </a:lnTo>
                  <a:cubicBezTo>
                    <a:pt x="15240" y="12862"/>
                    <a:pt x="17780" y="11592"/>
                    <a:pt x="17780" y="10322"/>
                  </a:cubicBezTo>
                  <a:cubicBezTo>
                    <a:pt x="17780" y="9052"/>
                    <a:pt x="16510" y="7782"/>
                    <a:pt x="15240" y="7782"/>
                  </a:cubicBezTo>
                  <a:lnTo>
                    <a:pt x="13970" y="7782"/>
                  </a:lnTo>
                  <a:lnTo>
                    <a:pt x="12700" y="12862"/>
                  </a:lnTo>
                  <a:lnTo>
                    <a:pt x="12700" y="12862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83435572-35B2-4E79-A039-61636889C9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25442" y="3429000"/>
            <a:ext cx="9838154" cy="1123950"/>
          </a:xfrm>
        </p:spPr>
        <p:txBody>
          <a:bodyPr>
            <a:normAutofit/>
          </a:bodyPr>
          <a:lstStyle>
            <a:lvl1pPr marL="0" indent="0" algn="ctr">
              <a:buNone/>
              <a:defRPr sz="3200" b="1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Slide Number Placeholder 5">
            <a:extLst>
              <a:ext uri="{FF2B5EF4-FFF2-40B4-BE49-F238E27FC236}">
                <a16:creationId xmlns:a16="http://schemas.microsoft.com/office/drawing/2014/main" id="{3235AFA1-6A26-4918-A1B8-7207F40A0F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9640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88773F2C-9B9D-4172-8BC1-D99D4D5C384C}"/>
              </a:ext>
            </a:extLst>
          </p:cNvPr>
          <p:cNvSpPr/>
          <p:nvPr userDrawn="1"/>
        </p:nvSpPr>
        <p:spPr>
          <a:xfrm>
            <a:off x="0" y="0"/>
            <a:ext cx="1696490" cy="6858000"/>
          </a:xfrm>
          <a:custGeom>
            <a:avLst/>
            <a:gdLst>
              <a:gd name="connsiteX0" fmla="*/ 0 w 12179300"/>
              <a:gd name="connsiteY0" fmla="*/ 0 h 800100"/>
              <a:gd name="connsiteX1" fmla="*/ 12189460 w 12179300"/>
              <a:gd name="connsiteY1" fmla="*/ 0 h 800100"/>
              <a:gd name="connsiteX2" fmla="*/ 12189460 w 12179300"/>
              <a:gd name="connsiteY2" fmla="*/ 800100 h 800100"/>
              <a:gd name="connsiteX3" fmla="*/ 0 w 12179300"/>
              <a:gd name="connsiteY3" fmla="*/ 800100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79300" h="800100">
                <a:moveTo>
                  <a:pt x="0" y="0"/>
                </a:moveTo>
                <a:lnTo>
                  <a:pt x="12189460" y="0"/>
                </a:lnTo>
                <a:lnTo>
                  <a:pt x="12189460" y="800100"/>
                </a:lnTo>
                <a:lnTo>
                  <a:pt x="0" y="80010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5400000" scaled="0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D08855F-6AA8-4387-B9DD-CA75E551C02A}"/>
              </a:ext>
            </a:extLst>
          </p:cNvPr>
          <p:cNvGrpSpPr/>
          <p:nvPr userDrawn="1"/>
        </p:nvGrpSpPr>
        <p:grpSpPr>
          <a:xfrm>
            <a:off x="329368" y="297898"/>
            <a:ext cx="1037754" cy="375165"/>
            <a:chOff x="430366" y="6268204"/>
            <a:chExt cx="1037754" cy="375165"/>
          </a:xfrm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14334EB3-DACB-4518-A5B7-C53643DAB149}"/>
                </a:ext>
              </a:extLst>
            </p:cNvPr>
            <p:cNvSpPr/>
            <p:nvPr/>
          </p:nvSpPr>
          <p:spPr>
            <a:xfrm>
              <a:off x="430366" y="6268204"/>
              <a:ext cx="241300" cy="292100"/>
            </a:xfrm>
            <a:custGeom>
              <a:avLst/>
              <a:gdLst>
                <a:gd name="connsiteX0" fmla="*/ 245274 w 241300"/>
                <a:gd name="connsiteY0" fmla="*/ 257055 h 292100"/>
                <a:gd name="connsiteX1" fmla="*/ 245274 w 241300"/>
                <a:gd name="connsiteY1" fmla="*/ 88145 h 292100"/>
                <a:gd name="connsiteX2" fmla="*/ 156374 w 241300"/>
                <a:gd name="connsiteY2" fmla="*/ 179585 h 292100"/>
                <a:gd name="connsiteX3" fmla="*/ 179234 w 241300"/>
                <a:gd name="connsiteY3" fmla="*/ 206255 h 292100"/>
                <a:gd name="connsiteX4" fmla="*/ 144944 w 241300"/>
                <a:gd name="connsiteY4" fmla="*/ 226575 h 292100"/>
                <a:gd name="connsiteX5" fmla="*/ 64934 w 241300"/>
                <a:gd name="connsiteY5" fmla="*/ 146565 h 292100"/>
                <a:gd name="connsiteX6" fmla="*/ 144944 w 241300"/>
                <a:gd name="connsiteY6" fmla="*/ 66555 h 292100"/>
                <a:gd name="connsiteX7" fmla="*/ 183044 w 241300"/>
                <a:gd name="connsiteY7" fmla="*/ 76715 h 292100"/>
                <a:gd name="connsiteX8" fmla="*/ 231304 w 241300"/>
                <a:gd name="connsiteY8" fmla="*/ 27185 h 292100"/>
                <a:gd name="connsiteX9" fmla="*/ 26834 w 241300"/>
                <a:gd name="connsiteY9" fmla="*/ 62745 h 292100"/>
                <a:gd name="connsiteX10" fmla="*/ 62394 w 241300"/>
                <a:gd name="connsiteY10" fmla="*/ 267215 h 292100"/>
                <a:gd name="connsiteX11" fmla="*/ 245274 w 241300"/>
                <a:gd name="connsiteY11" fmla="*/ 257055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300" h="292100">
                  <a:moveTo>
                    <a:pt x="245274" y="257055"/>
                  </a:moveTo>
                  <a:lnTo>
                    <a:pt x="245274" y="88145"/>
                  </a:lnTo>
                  <a:lnTo>
                    <a:pt x="156374" y="179585"/>
                  </a:lnTo>
                  <a:cubicBezTo>
                    <a:pt x="156374" y="179585"/>
                    <a:pt x="179234" y="178315"/>
                    <a:pt x="179234" y="206255"/>
                  </a:cubicBezTo>
                  <a:cubicBezTo>
                    <a:pt x="179234" y="206255"/>
                    <a:pt x="177964" y="226575"/>
                    <a:pt x="144944" y="226575"/>
                  </a:cubicBezTo>
                  <a:cubicBezTo>
                    <a:pt x="100494" y="226575"/>
                    <a:pt x="64934" y="189745"/>
                    <a:pt x="64934" y="146565"/>
                  </a:cubicBezTo>
                  <a:cubicBezTo>
                    <a:pt x="64934" y="103385"/>
                    <a:pt x="101764" y="66555"/>
                    <a:pt x="144944" y="66555"/>
                  </a:cubicBezTo>
                  <a:cubicBezTo>
                    <a:pt x="157644" y="66555"/>
                    <a:pt x="170344" y="70365"/>
                    <a:pt x="183044" y="76715"/>
                  </a:cubicBezTo>
                  <a:lnTo>
                    <a:pt x="231304" y="27185"/>
                  </a:lnTo>
                  <a:cubicBezTo>
                    <a:pt x="166534" y="-19805"/>
                    <a:pt x="73824" y="-4565"/>
                    <a:pt x="26834" y="62745"/>
                  </a:cubicBezTo>
                  <a:cubicBezTo>
                    <a:pt x="-20156" y="128785"/>
                    <a:pt x="-3646" y="220225"/>
                    <a:pt x="62394" y="267215"/>
                  </a:cubicBezTo>
                  <a:cubicBezTo>
                    <a:pt x="118274" y="306585"/>
                    <a:pt x="194474" y="302775"/>
                    <a:pt x="245274" y="257055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D0FEAD4D-450F-4A7A-BB51-DDA4BFFCC9C6}"/>
                </a:ext>
              </a:extLst>
            </p:cNvPr>
            <p:cNvSpPr/>
            <p:nvPr/>
          </p:nvSpPr>
          <p:spPr>
            <a:xfrm>
              <a:off x="689628" y="6344937"/>
              <a:ext cx="419100" cy="203200"/>
            </a:xfrm>
            <a:custGeom>
              <a:avLst/>
              <a:gdLst>
                <a:gd name="connsiteX0" fmla="*/ 314942 w 419100"/>
                <a:gd name="connsiteY0" fmla="*/ 2522 h 203200"/>
                <a:gd name="connsiteX1" fmla="*/ 314942 w 419100"/>
                <a:gd name="connsiteY1" fmla="*/ 2522 h 203200"/>
                <a:gd name="connsiteX2" fmla="*/ 210802 w 419100"/>
                <a:gd name="connsiteY2" fmla="*/ 90152 h 203200"/>
                <a:gd name="connsiteX3" fmla="*/ 210802 w 419100"/>
                <a:gd name="connsiteY3" fmla="*/ 90152 h 203200"/>
                <a:gd name="connsiteX4" fmla="*/ 90152 w 419100"/>
                <a:gd name="connsiteY4" fmla="*/ 1252 h 203200"/>
                <a:gd name="connsiteX5" fmla="*/ 1252 w 419100"/>
                <a:gd name="connsiteY5" fmla="*/ 121902 h 203200"/>
                <a:gd name="connsiteX6" fmla="*/ 106662 w 419100"/>
                <a:gd name="connsiteY6" fmla="*/ 212072 h 203200"/>
                <a:gd name="connsiteX7" fmla="*/ 128252 w 419100"/>
                <a:gd name="connsiteY7" fmla="*/ 212072 h 203200"/>
                <a:gd name="connsiteX8" fmla="*/ 274302 w 419100"/>
                <a:gd name="connsiteY8" fmla="*/ 212072 h 203200"/>
                <a:gd name="connsiteX9" fmla="*/ 274302 w 419100"/>
                <a:gd name="connsiteY9" fmla="*/ 106662 h 203200"/>
                <a:gd name="connsiteX10" fmla="*/ 318752 w 419100"/>
                <a:gd name="connsiteY10" fmla="*/ 66022 h 203200"/>
                <a:gd name="connsiteX11" fmla="*/ 359392 w 419100"/>
                <a:gd name="connsiteY11" fmla="*/ 106662 h 203200"/>
                <a:gd name="connsiteX12" fmla="*/ 359392 w 419100"/>
                <a:gd name="connsiteY12" fmla="*/ 212072 h 203200"/>
                <a:gd name="connsiteX13" fmla="*/ 422892 w 419100"/>
                <a:gd name="connsiteY13" fmla="*/ 212072 h 203200"/>
                <a:gd name="connsiteX14" fmla="*/ 422892 w 419100"/>
                <a:gd name="connsiteY14" fmla="*/ 106662 h 203200"/>
                <a:gd name="connsiteX15" fmla="*/ 314942 w 419100"/>
                <a:gd name="connsiteY15" fmla="*/ 2522 h 203200"/>
                <a:gd name="connsiteX16" fmla="*/ 77452 w 419100"/>
                <a:gd name="connsiteY16" fmla="*/ 138412 h 203200"/>
                <a:gd name="connsiteX17" fmla="*/ 63482 w 419100"/>
                <a:gd name="connsiteY17" fmla="*/ 107932 h 203200"/>
                <a:gd name="connsiteX18" fmla="*/ 106662 w 419100"/>
                <a:gd name="connsiteY18" fmla="*/ 66022 h 203200"/>
                <a:gd name="connsiteX19" fmla="*/ 106662 w 419100"/>
                <a:gd name="connsiteY19" fmla="*/ 66022 h 203200"/>
                <a:gd name="connsiteX20" fmla="*/ 137142 w 419100"/>
                <a:gd name="connsiteY20" fmla="*/ 78722 h 203200"/>
                <a:gd name="connsiteX21" fmla="*/ 77452 w 419100"/>
                <a:gd name="connsiteY21" fmla="*/ 138412 h 203200"/>
                <a:gd name="connsiteX22" fmla="*/ 154922 w 419100"/>
                <a:gd name="connsiteY22" fmla="*/ 151112 h 203200"/>
                <a:gd name="connsiteX23" fmla="*/ 212072 w 419100"/>
                <a:gd name="connsiteY23" fmla="*/ 93962 h 203200"/>
                <a:gd name="connsiteX24" fmla="*/ 269222 w 419100"/>
                <a:gd name="connsiteY24" fmla="*/ 151112 h 203200"/>
                <a:gd name="connsiteX25" fmla="*/ 154922 w 419100"/>
                <a:gd name="connsiteY25" fmla="*/ 1511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19100" h="203200">
                  <a:moveTo>
                    <a:pt x="314942" y="2522"/>
                  </a:moveTo>
                  <a:lnTo>
                    <a:pt x="314942" y="2522"/>
                  </a:lnTo>
                  <a:cubicBezTo>
                    <a:pt x="262872" y="2522"/>
                    <a:pt x="218422" y="39352"/>
                    <a:pt x="210802" y="90152"/>
                  </a:cubicBez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74302" y="212072"/>
                  </a:lnTo>
                  <a:lnTo>
                    <a:pt x="274302" y="106662"/>
                  </a:lnTo>
                  <a:cubicBezTo>
                    <a:pt x="275572" y="82532"/>
                    <a:pt x="294622" y="64752"/>
                    <a:pt x="318752" y="66022"/>
                  </a:cubicBezTo>
                  <a:cubicBezTo>
                    <a:pt x="340342" y="67292"/>
                    <a:pt x="358122" y="85072"/>
                    <a:pt x="359392" y="106662"/>
                  </a:cubicBezTo>
                  <a:lnTo>
                    <a:pt x="359392" y="212072"/>
                  </a:lnTo>
                  <a:lnTo>
                    <a:pt x="422892" y="212072"/>
                  </a:lnTo>
                  <a:lnTo>
                    <a:pt x="422892" y="106662"/>
                  </a:lnTo>
                  <a:cubicBezTo>
                    <a:pt x="421622" y="49512"/>
                    <a:pt x="373362" y="2522"/>
                    <a:pt x="314942" y="2522"/>
                  </a:cubicBezTo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7932"/>
                  </a:cubicBezTo>
                  <a:cubicBezTo>
                    <a:pt x="63482" y="83802"/>
                    <a:pt x="82532" y="64752"/>
                    <a:pt x="106662" y="66022"/>
                  </a:cubicBezTo>
                  <a:lnTo>
                    <a:pt x="106662" y="66022"/>
                  </a:lnTo>
                  <a:cubicBezTo>
                    <a:pt x="118092" y="66022"/>
                    <a:pt x="128252" y="69832"/>
                    <a:pt x="137142" y="78722"/>
                  </a:cubicBezTo>
                  <a:lnTo>
                    <a:pt x="77452" y="138412"/>
                  </a:lnTo>
                  <a:close/>
                  <a:moveTo>
                    <a:pt x="154922" y="151112"/>
                  </a:moveTo>
                  <a:lnTo>
                    <a:pt x="212072" y="93962"/>
                  </a:lnTo>
                  <a:lnTo>
                    <a:pt x="269222" y="151112"/>
                  </a:lnTo>
                  <a:lnTo>
                    <a:pt x="154922" y="151112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5240D870-C1D0-436D-B476-21244E1C4D6A}"/>
                </a:ext>
              </a:extLst>
            </p:cNvPr>
            <p:cNvSpPr/>
            <p:nvPr/>
          </p:nvSpPr>
          <p:spPr>
            <a:xfrm>
              <a:off x="1104900" y="6278879"/>
              <a:ext cx="114300" cy="279400"/>
            </a:xfrm>
            <a:custGeom>
              <a:avLst/>
              <a:gdLst>
                <a:gd name="connsiteX0" fmla="*/ 114300 w 114300"/>
                <a:gd name="connsiteY0" fmla="*/ 57150 h 279400"/>
                <a:gd name="connsiteX1" fmla="*/ 0 w 114300"/>
                <a:gd name="connsiteY1" fmla="*/ 57150 h 279400"/>
                <a:gd name="connsiteX2" fmla="*/ 57150 w 114300"/>
                <a:gd name="connsiteY2" fmla="*/ 0 h 279400"/>
                <a:gd name="connsiteX3" fmla="*/ 114300 w 114300"/>
                <a:gd name="connsiteY3" fmla="*/ 57150 h 279400"/>
                <a:gd name="connsiteX4" fmla="*/ 88900 w 114300"/>
                <a:gd name="connsiteY4" fmla="*/ 78740 h 279400"/>
                <a:gd name="connsiteX5" fmla="*/ 25400 w 114300"/>
                <a:gd name="connsiteY5" fmla="*/ 78740 h 279400"/>
                <a:gd name="connsiteX6" fmla="*/ 25400 w 114300"/>
                <a:gd name="connsiteY6" fmla="*/ 279400 h 279400"/>
                <a:gd name="connsiteX7" fmla="*/ 88900 w 114300"/>
                <a:gd name="connsiteY7" fmla="*/ 279400 h 279400"/>
                <a:gd name="connsiteX8" fmla="*/ 88900 w 114300"/>
                <a:gd name="connsiteY8" fmla="*/ 7874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279400">
                  <a:moveTo>
                    <a:pt x="114300" y="57150"/>
                  </a:moveTo>
                  <a:lnTo>
                    <a:pt x="0" y="57150"/>
                  </a:lnTo>
                  <a:lnTo>
                    <a:pt x="57150" y="0"/>
                  </a:lnTo>
                  <a:lnTo>
                    <a:pt x="114300" y="57150"/>
                  </a:lnTo>
                  <a:close/>
                  <a:moveTo>
                    <a:pt x="88900" y="78740"/>
                  </a:moveTo>
                  <a:lnTo>
                    <a:pt x="25400" y="78740"/>
                  </a:lnTo>
                  <a:lnTo>
                    <a:pt x="25400" y="279400"/>
                  </a:lnTo>
                  <a:lnTo>
                    <a:pt x="88900" y="279400"/>
                  </a:lnTo>
                  <a:lnTo>
                    <a:pt x="88900" y="7874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186AA2B1-C0C0-439C-AA0B-92979EE81BB2}"/>
                </a:ext>
              </a:extLst>
            </p:cNvPr>
            <p:cNvSpPr/>
            <p:nvPr/>
          </p:nvSpPr>
          <p:spPr>
            <a:xfrm>
              <a:off x="1207788" y="6344937"/>
              <a:ext cx="203200" cy="203200"/>
            </a:xfrm>
            <a:custGeom>
              <a:avLst/>
              <a:gdLst>
                <a:gd name="connsiteX0" fmla="*/ 212072 w 203200"/>
                <a:gd name="connsiteY0" fmla="*/ 93962 h 203200"/>
                <a:gd name="connsiteX1" fmla="*/ 210802 w 203200"/>
                <a:gd name="connsiteY1" fmla="*/ 90152 h 203200"/>
                <a:gd name="connsiteX2" fmla="*/ 210802 w 203200"/>
                <a:gd name="connsiteY2" fmla="*/ 90152 h 203200"/>
                <a:gd name="connsiteX3" fmla="*/ 90152 w 203200"/>
                <a:gd name="connsiteY3" fmla="*/ 1252 h 203200"/>
                <a:gd name="connsiteX4" fmla="*/ 1252 w 203200"/>
                <a:gd name="connsiteY4" fmla="*/ 121902 h 203200"/>
                <a:gd name="connsiteX5" fmla="*/ 106662 w 203200"/>
                <a:gd name="connsiteY5" fmla="*/ 212072 h 203200"/>
                <a:gd name="connsiteX6" fmla="*/ 128252 w 203200"/>
                <a:gd name="connsiteY6" fmla="*/ 212072 h 203200"/>
                <a:gd name="connsiteX7" fmla="*/ 212072 w 203200"/>
                <a:gd name="connsiteY7" fmla="*/ 212072 h 203200"/>
                <a:gd name="connsiteX8" fmla="*/ 212072 w 203200"/>
                <a:gd name="connsiteY8" fmla="*/ 149842 h 203200"/>
                <a:gd name="connsiteX9" fmla="*/ 154922 w 203200"/>
                <a:gd name="connsiteY9" fmla="*/ 149842 h 203200"/>
                <a:gd name="connsiteX10" fmla="*/ 212072 w 203200"/>
                <a:gd name="connsiteY10" fmla="*/ 93962 h 203200"/>
                <a:gd name="connsiteX11" fmla="*/ 77452 w 203200"/>
                <a:gd name="connsiteY11" fmla="*/ 138412 h 203200"/>
                <a:gd name="connsiteX12" fmla="*/ 63482 w 203200"/>
                <a:gd name="connsiteY12" fmla="*/ 106662 h 203200"/>
                <a:gd name="connsiteX13" fmla="*/ 106662 w 203200"/>
                <a:gd name="connsiteY13" fmla="*/ 64752 h 203200"/>
                <a:gd name="connsiteX14" fmla="*/ 106662 w 203200"/>
                <a:gd name="connsiteY14" fmla="*/ 64752 h 203200"/>
                <a:gd name="connsiteX15" fmla="*/ 137142 w 203200"/>
                <a:gd name="connsiteY15" fmla="*/ 77452 h 203200"/>
                <a:gd name="connsiteX16" fmla="*/ 77452 w 203200"/>
                <a:gd name="connsiteY16" fmla="*/ 1384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200" h="203200">
                  <a:moveTo>
                    <a:pt x="212072" y="93962"/>
                  </a:moveTo>
                  <a:lnTo>
                    <a:pt x="210802" y="90152"/>
                  </a:ln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12072" y="212072"/>
                  </a:lnTo>
                  <a:lnTo>
                    <a:pt x="212072" y="149842"/>
                  </a:lnTo>
                  <a:lnTo>
                    <a:pt x="154922" y="149842"/>
                  </a:lnTo>
                  <a:lnTo>
                    <a:pt x="212072" y="93962"/>
                  </a:lnTo>
                  <a:close/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6662"/>
                  </a:cubicBezTo>
                  <a:cubicBezTo>
                    <a:pt x="63482" y="82532"/>
                    <a:pt x="82532" y="63482"/>
                    <a:pt x="106662" y="64752"/>
                  </a:cubicBezTo>
                  <a:lnTo>
                    <a:pt x="106662" y="64752"/>
                  </a:lnTo>
                  <a:cubicBezTo>
                    <a:pt x="118092" y="64752"/>
                    <a:pt x="128252" y="68562"/>
                    <a:pt x="137142" y="77452"/>
                  </a:cubicBezTo>
                  <a:lnTo>
                    <a:pt x="77452" y="138412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8B80059-AC71-4799-A6FB-C8ACFA8D08DC}"/>
                </a:ext>
              </a:extLst>
            </p:cNvPr>
            <p:cNvSpPr/>
            <p:nvPr/>
          </p:nvSpPr>
          <p:spPr>
            <a:xfrm>
              <a:off x="1430020" y="6518909"/>
              <a:ext cx="38100" cy="38100"/>
            </a:xfrm>
            <a:custGeom>
              <a:avLst/>
              <a:gdLst>
                <a:gd name="connsiteX0" fmla="*/ 19050 w 38100"/>
                <a:gd name="connsiteY0" fmla="*/ 0 h 38100"/>
                <a:gd name="connsiteX1" fmla="*/ 0 w 38100"/>
                <a:gd name="connsiteY1" fmla="*/ 19050 h 38100"/>
                <a:gd name="connsiteX2" fmla="*/ 19050 w 38100"/>
                <a:gd name="connsiteY2" fmla="*/ 38100 h 38100"/>
                <a:gd name="connsiteX3" fmla="*/ 38100 w 38100"/>
                <a:gd name="connsiteY3" fmla="*/ 19050 h 38100"/>
                <a:gd name="connsiteX4" fmla="*/ 19050 w 38100"/>
                <a:gd name="connsiteY4" fmla="*/ 0 h 38100"/>
                <a:gd name="connsiteX5" fmla="*/ 19050 w 38100"/>
                <a:gd name="connsiteY5" fmla="*/ 0 h 38100"/>
                <a:gd name="connsiteX6" fmla="*/ 19050 w 38100"/>
                <a:gd name="connsiteY6" fmla="*/ 35560 h 38100"/>
                <a:gd name="connsiteX7" fmla="*/ 2540 w 38100"/>
                <a:gd name="connsiteY7" fmla="*/ 19050 h 38100"/>
                <a:gd name="connsiteX8" fmla="*/ 19050 w 38100"/>
                <a:gd name="connsiteY8" fmla="*/ 2540 h 38100"/>
                <a:gd name="connsiteX9" fmla="*/ 35560 w 38100"/>
                <a:gd name="connsiteY9" fmla="*/ 19050 h 38100"/>
                <a:gd name="connsiteX10" fmla="*/ 21590 w 38100"/>
                <a:gd name="connsiteY10" fmla="*/ 35560 h 38100"/>
                <a:gd name="connsiteX11" fmla="*/ 19050 w 38100"/>
                <a:gd name="connsiteY11" fmla="*/ 3556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19050" y="0"/>
                  </a:moveTo>
                  <a:cubicBezTo>
                    <a:pt x="8890" y="0"/>
                    <a:pt x="0" y="8890"/>
                    <a:pt x="0" y="19050"/>
                  </a:cubicBezTo>
                  <a:cubicBezTo>
                    <a:pt x="0" y="29210"/>
                    <a:pt x="8890" y="38100"/>
                    <a:pt x="19050" y="38100"/>
                  </a:cubicBezTo>
                  <a:cubicBezTo>
                    <a:pt x="29210" y="38100"/>
                    <a:pt x="38100" y="29210"/>
                    <a:pt x="38100" y="19050"/>
                  </a:cubicBezTo>
                  <a:cubicBezTo>
                    <a:pt x="38100" y="8890"/>
                    <a:pt x="29210" y="0"/>
                    <a:pt x="19050" y="0"/>
                  </a:cubicBezTo>
                  <a:lnTo>
                    <a:pt x="19050" y="0"/>
                  </a:lnTo>
                  <a:moveTo>
                    <a:pt x="19050" y="35560"/>
                  </a:moveTo>
                  <a:cubicBezTo>
                    <a:pt x="10160" y="35560"/>
                    <a:pt x="2540" y="27940"/>
                    <a:pt x="2540" y="19050"/>
                  </a:cubicBezTo>
                  <a:cubicBezTo>
                    <a:pt x="2540" y="10160"/>
                    <a:pt x="10160" y="2540"/>
                    <a:pt x="19050" y="2540"/>
                  </a:cubicBezTo>
                  <a:cubicBezTo>
                    <a:pt x="27940" y="2540"/>
                    <a:pt x="35560" y="10160"/>
                    <a:pt x="35560" y="19050"/>
                  </a:cubicBezTo>
                  <a:cubicBezTo>
                    <a:pt x="35560" y="27940"/>
                    <a:pt x="29210" y="34290"/>
                    <a:pt x="21590" y="35560"/>
                  </a:cubicBezTo>
                  <a:cubicBezTo>
                    <a:pt x="19050" y="35560"/>
                    <a:pt x="19050" y="35560"/>
                    <a:pt x="19050" y="3556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6778C102-2E46-40D7-A5B5-2C4ECAB5FF79}"/>
                </a:ext>
              </a:extLst>
            </p:cNvPr>
            <p:cNvSpPr/>
            <p:nvPr/>
          </p:nvSpPr>
          <p:spPr>
            <a:xfrm>
              <a:off x="1440180" y="6530339"/>
              <a:ext cx="12700" cy="12700"/>
            </a:xfrm>
            <a:custGeom>
              <a:avLst/>
              <a:gdLst>
                <a:gd name="connsiteX0" fmla="*/ 16510 w 12700"/>
                <a:gd name="connsiteY0" fmla="*/ 5080 h 12700"/>
                <a:gd name="connsiteX1" fmla="*/ 10160 w 12700"/>
                <a:gd name="connsiteY1" fmla="*/ 0 h 12700"/>
                <a:gd name="connsiteX2" fmla="*/ 0 w 12700"/>
                <a:gd name="connsiteY2" fmla="*/ 0 h 12700"/>
                <a:gd name="connsiteX3" fmla="*/ 0 w 12700"/>
                <a:gd name="connsiteY3" fmla="*/ 17780 h 12700"/>
                <a:gd name="connsiteX4" fmla="*/ 3810 w 12700"/>
                <a:gd name="connsiteY4" fmla="*/ 17780 h 12700"/>
                <a:gd name="connsiteX5" fmla="*/ 3810 w 12700"/>
                <a:gd name="connsiteY5" fmla="*/ 10160 h 12700"/>
                <a:gd name="connsiteX6" fmla="*/ 7620 w 12700"/>
                <a:gd name="connsiteY6" fmla="*/ 10160 h 12700"/>
                <a:gd name="connsiteX7" fmla="*/ 12700 w 12700"/>
                <a:gd name="connsiteY7" fmla="*/ 17780 h 12700"/>
                <a:gd name="connsiteX8" fmla="*/ 17780 w 12700"/>
                <a:gd name="connsiteY8" fmla="*/ 17780 h 12700"/>
                <a:gd name="connsiteX9" fmla="*/ 12700 w 12700"/>
                <a:gd name="connsiteY9" fmla="*/ 10160 h 12700"/>
                <a:gd name="connsiteX10" fmla="*/ 16510 w 12700"/>
                <a:gd name="connsiteY10" fmla="*/ 5080 h 12700"/>
                <a:gd name="connsiteX11" fmla="*/ 16510 w 12700"/>
                <a:gd name="connsiteY11" fmla="*/ 5080 h 12700"/>
                <a:gd name="connsiteX12" fmla="*/ 8890 w 12700"/>
                <a:gd name="connsiteY12" fmla="*/ 6350 h 12700"/>
                <a:gd name="connsiteX13" fmla="*/ 3810 w 12700"/>
                <a:gd name="connsiteY13" fmla="*/ 6350 h 12700"/>
                <a:gd name="connsiteX14" fmla="*/ 3810 w 12700"/>
                <a:gd name="connsiteY14" fmla="*/ 2540 h 12700"/>
                <a:gd name="connsiteX15" fmla="*/ 8890 w 12700"/>
                <a:gd name="connsiteY15" fmla="*/ 2540 h 12700"/>
                <a:gd name="connsiteX16" fmla="*/ 12700 w 12700"/>
                <a:gd name="connsiteY16" fmla="*/ 3810 h 12700"/>
                <a:gd name="connsiteX17" fmla="*/ 8890 w 12700"/>
                <a:gd name="connsiteY17" fmla="*/ 6350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700" h="12700">
                  <a:moveTo>
                    <a:pt x="16510" y="5080"/>
                  </a:moveTo>
                  <a:cubicBezTo>
                    <a:pt x="16510" y="1270"/>
                    <a:pt x="13970" y="0"/>
                    <a:pt x="10160" y="0"/>
                  </a:cubicBezTo>
                  <a:lnTo>
                    <a:pt x="0" y="0"/>
                  </a:lnTo>
                  <a:lnTo>
                    <a:pt x="0" y="17780"/>
                  </a:lnTo>
                  <a:lnTo>
                    <a:pt x="3810" y="17780"/>
                  </a:lnTo>
                  <a:lnTo>
                    <a:pt x="3810" y="10160"/>
                  </a:lnTo>
                  <a:lnTo>
                    <a:pt x="7620" y="10160"/>
                  </a:lnTo>
                  <a:lnTo>
                    <a:pt x="12700" y="17780"/>
                  </a:lnTo>
                  <a:lnTo>
                    <a:pt x="17780" y="17780"/>
                  </a:lnTo>
                  <a:lnTo>
                    <a:pt x="12700" y="10160"/>
                  </a:lnTo>
                  <a:cubicBezTo>
                    <a:pt x="15240" y="8890"/>
                    <a:pt x="16510" y="7620"/>
                    <a:pt x="16510" y="5080"/>
                  </a:cubicBezTo>
                  <a:lnTo>
                    <a:pt x="16510" y="5080"/>
                  </a:lnTo>
                  <a:moveTo>
                    <a:pt x="8890" y="6350"/>
                  </a:moveTo>
                  <a:lnTo>
                    <a:pt x="3810" y="6350"/>
                  </a:lnTo>
                  <a:lnTo>
                    <a:pt x="3810" y="2540"/>
                  </a:lnTo>
                  <a:lnTo>
                    <a:pt x="8890" y="2540"/>
                  </a:lnTo>
                  <a:cubicBezTo>
                    <a:pt x="11430" y="2540"/>
                    <a:pt x="12700" y="2540"/>
                    <a:pt x="12700" y="3810"/>
                  </a:cubicBezTo>
                  <a:cubicBezTo>
                    <a:pt x="12700" y="6350"/>
                    <a:pt x="11430" y="6350"/>
                    <a:pt x="8890" y="635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F7B839E8-C0F3-4A44-91F2-C487C1FB9994}"/>
                </a:ext>
              </a:extLst>
            </p:cNvPr>
            <p:cNvSpPr/>
            <p:nvPr/>
          </p:nvSpPr>
          <p:spPr>
            <a:xfrm>
              <a:off x="445770" y="6605269"/>
              <a:ext cx="50800" cy="38100"/>
            </a:xfrm>
            <a:custGeom>
              <a:avLst/>
              <a:gdLst>
                <a:gd name="connsiteX0" fmla="*/ 24130 w 50800"/>
                <a:gd name="connsiteY0" fmla="*/ 6350 h 38100"/>
                <a:gd name="connsiteX1" fmla="*/ 15240 w 50800"/>
                <a:gd name="connsiteY1" fmla="*/ 26670 h 38100"/>
                <a:gd name="connsiteX2" fmla="*/ 33020 w 50800"/>
                <a:gd name="connsiteY2" fmla="*/ 26670 h 38100"/>
                <a:gd name="connsiteX3" fmla="*/ 2413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4130" y="6350"/>
                  </a:moveTo>
                  <a:lnTo>
                    <a:pt x="15240" y="26670"/>
                  </a:lnTo>
                  <a:lnTo>
                    <a:pt x="33020" y="26670"/>
                  </a:lnTo>
                  <a:lnTo>
                    <a:pt x="2413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2674AA81-2B83-486F-BC4E-98D74F4E195C}"/>
                </a:ext>
              </a:extLst>
            </p:cNvPr>
            <p:cNvSpPr/>
            <p:nvPr/>
          </p:nvSpPr>
          <p:spPr>
            <a:xfrm>
              <a:off x="524510" y="6605269"/>
              <a:ext cx="38100" cy="38100"/>
            </a:xfrm>
            <a:custGeom>
              <a:avLst/>
              <a:gdLst>
                <a:gd name="connsiteX0" fmla="*/ 17780 w 38100"/>
                <a:gd name="connsiteY0" fmla="*/ 6350 h 38100"/>
                <a:gd name="connsiteX1" fmla="*/ 0 w 38100"/>
                <a:gd name="connsiteY1" fmla="*/ 6350 h 38100"/>
                <a:gd name="connsiteX2" fmla="*/ 0 w 38100"/>
                <a:gd name="connsiteY2" fmla="*/ 0 h 38100"/>
                <a:gd name="connsiteX3" fmla="*/ 41910 w 38100"/>
                <a:gd name="connsiteY3" fmla="*/ 0 h 38100"/>
                <a:gd name="connsiteX4" fmla="*/ 41910 w 38100"/>
                <a:gd name="connsiteY4" fmla="*/ 6350 h 38100"/>
                <a:gd name="connsiteX5" fmla="*/ 24130 w 38100"/>
                <a:gd name="connsiteY5" fmla="*/ 6350 h 38100"/>
                <a:gd name="connsiteX6" fmla="*/ 24130 w 38100"/>
                <a:gd name="connsiteY6" fmla="*/ 46990 h 38100"/>
                <a:gd name="connsiteX7" fmla="*/ 17780 w 38100"/>
                <a:gd name="connsiteY7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" h="38100">
                  <a:moveTo>
                    <a:pt x="17780" y="6350"/>
                  </a:moveTo>
                  <a:lnTo>
                    <a:pt x="0" y="6350"/>
                  </a:lnTo>
                  <a:lnTo>
                    <a:pt x="0" y="0"/>
                  </a:lnTo>
                  <a:lnTo>
                    <a:pt x="41910" y="0"/>
                  </a:lnTo>
                  <a:lnTo>
                    <a:pt x="41910" y="6350"/>
                  </a:lnTo>
                  <a:lnTo>
                    <a:pt x="24130" y="6350"/>
                  </a:lnTo>
                  <a:lnTo>
                    <a:pt x="24130" y="46990"/>
                  </a:lnTo>
                  <a:lnTo>
                    <a:pt x="1778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37E2C395-6F2F-45BE-989F-75BCB8116456}"/>
                </a:ext>
              </a:extLst>
            </p:cNvPr>
            <p:cNvSpPr/>
            <p:nvPr/>
          </p:nvSpPr>
          <p:spPr>
            <a:xfrm>
              <a:off x="5753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6830 w 38100"/>
                <a:gd name="connsiteY1" fmla="*/ 0 h 38100"/>
                <a:gd name="connsiteX2" fmla="*/ 3683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6350 w 38100"/>
                <a:gd name="connsiteY7" fmla="*/ 25400 h 38100"/>
                <a:gd name="connsiteX8" fmla="*/ 6350 w 38100"/>
                <a:gd name="connsiteY8" fmla="*/ 40640 h 38100"/>
                <a:gd name="connsiteX9" fmla="*/ 38100 w 38100"/>
                <a:gd name="connsiteY9" fmla="*/ 40640 h 38100"/>
                <a:gd name="connsiteX10" fmla="*/ 3810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6830" y="0"/>
                  </a:lnTo>
                  <a:lnTo>
                    <a:pt x="36830" y="6350"/>
                  </a:lnTo>
                  <a:lnTo>
                    <a:pt x="6350" y="6350"/>
                  </a:lnTo>
                  <a:lnTo>
                    <a:pt x="635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6350" y="25400"/>
                  </a:lnTo>
                  <a:lnTo>
                    <a:pt x="6350" y="40640"/>
                  </a:lnTo>
                  <a:lnTo>
                    <a:pt x="38100" y="40640"/>
                  </a:lnTo>
                  <a:lnTo>
                    <a:pt x="38100" y="46990"/>
                  </a:lnTo>
                  <a:lnTo>
                    <a:pt x="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16DE066C-B60C-4FA1-81BF-631109FA668A}"/>
                </a:ext>
              </a:extLst>
            </p:cNvPr>
            <p:cNvSpPr/>
            <p:nvPr/>
          </p:nvSpPr>
          <p:spPr>
            <a:xfrm>
              <a:off x="62484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6C003296-529D-4935-B7A1-21C7AE1E1E5C}"/>
                </a:ext>
              </a:extLst>
            </p:cNvPr>
            <p:cNvSpPr/>
            <p:nvPr/>
          </p:nvSpPr>
          <p:spPr>
            <a:xfrm>
              <a:off x="6769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8100 w 38100"/>
                <a:gd name="connsiteY1" fmla="*/ 0 h 38100"/>
                <a:gd name="connsiteX2" fmla="*/ 38100 w 38100"/>
                <a:gd name="connsiteY2" fmla="*/ 6350 h 38100"/>
                <a:gd name="connsiteX3" fmla="*/ 7620 w 38100"/>
                <a:gd name="connsiteY3" fmla="*/ 6350 h 38100"/>
                <a:gd name="connsiteX4" fmla="*/ 762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7620 w 38100"/>
                <a:gd name="connsiteY7" fmla="*/ 25400 h 38100"/>
                <a:gd name="connsiteX8" fmla="*/ 7620 w 38100"/>
                <a:gd name="connsiteY8" fmla="*/ 40640 h 38100"/>
                <a:gd name="connsiteX9" fmla="*/ 39370 w 38100"/>
                <a:gd name="connsiteY9" fmla="*/ 40640 h 38100"/>
                <a:gd name="connsiteX10" fmla="*/ 3937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8100" y="0"/>
                  </a:lnTo>
                  <a:lnTo>
                    <a:pt x="38100" y="6350"/>
                  </a:lnTo>
                  <a:lnTo>
                    <a:pt x="7620" y="6350"/>
                  </a:lnTo>
                  <a:lnTo>
                    <a:pt x="762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7620" y="25400"/>
                  </a:lnTo>
                  <a:lnTo>
                    <a:pt x="7620" y="40640"/>
                  </a:lnTo>
                  <a:lnTo>
                    <a:pt x="39370" y="40640"/>
                  </a:lnTo>
                  <a:lnTo>
                    <a:pt x="39370" y="46990"/>
                  </a:lnTo>
                  <a:lnTo>
                    <a:pt x="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BAB00C8B-A7B4-4553-A69B-3B4D7B9AD85D}"/>
                </a:ext>
              </a:extLst>
            </p:cNvPr>
            <p:cNvSpPr/>
            <p:nvPr/>
          </p:nvSpPr>
          <p:spPr>
            <a:xfrm>
              <a:off x="722630" y="6605269"/>
              <a:ext cx="38100" cy="38100"/>
            </a:xfrm>
            <a:custGeom>
              <a:avLst/>
              <a:gdLst>
                <a:gd name="connsiteX0" fmla="*/ 36830 w 38100"/>
                <a:gd name="connsiteY0" fmla="*/ 0 h 38100"/>
                <a:gd name="connsiteX1" fmla="*/ 45720 w 38100"/>
                <a:gd name="connsiteY1" fmla="*/ 0 h 38100"/>
                <a:gd name="connsiteX2" fmla="*/ 26670 w 38100"/>
                <a:gd name="connsiteY2" fmla="*/ 22860 h 38100"/>
                <a:gd name="connsiteX3" fmla="*/ 45720 w 38100"/>
                <a:gd name="connsiteY3" fmla="*/ 46990 h 38100"/>
                <a:gd name="connsiteX4" fmla="*/ 36830 w 38100"/>
                <a:gd name="connsiteY4" fmla="*/ 46990 h 38100"/>
                <a:gd name="connsiteX5" fmla="*/ 22860 w 38100"/>
                <a:gd name="connsiteY5" fmla="*/ 27940 h 38100"/>
                <a:gd name="connsiteX6" fmla="*/ 7620 w 38100"/>
                <a:gd name="connsiteY6" fmla="*/ 46990 h 38100"/>
                <a:gd name="connsiteX7" fmla="*/ 0 w 38100"/>
                <a:gd name="connsiteY7" fmla="*/ 46990 h 38100"/>
                <a:gd name="connsiteX8" fmla="*/ 17780 w 38100"/>
                <a:gd name="connsiteY8" fmla="*/ 22860 h 38100"/>
                <a:gd name="connsiteX9" fmla="*/ 0 w 38100"/>
                <a:gd name="connsiteY9" fmla="*/ 0 h 38100"/>
                <a:gd name="connsiteX10" fmla="*/ 8890 w 38100"/>
                <a:gd name="connsiteY10" fmla="*/ 0 h 38100"/>
                <a:gd name="connsiteX11" fmla="*/ 22860 w 38100"/>
                <a:gd name="connsiteY11" fmla="*/ 1778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36830" y="0"/>
                  </a:moveTo>
                  <a:lnTo>
                    <a:pt x="45720" y="0"/>
                  </a:lnTo>
                  <a:lnTo>
                    <a:pt x="26670" y="22860"/>
                  </a:lnTo>
                  <a:lnTo>
                    <a:pt x="45720" y="46990"/>
                  </a:lnTo>
                  <a:lnTo>
                    <a:pt x="36830" y="46990"/>
                  </a:lnTo>
                  <a:lnTo>
                    <a:pt x="22860" y="2794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17780" y="22860"/>
                  </a:lnTo>
                  <a:lnTo>
                    <a:pt x="0" y="0"/>
                  </a:lnTo>
                  <a:lnTo>
                    <a:pt x="8890" y="0"/>
                  </a:lnTo>
                  <a:lnTo>
                    <a:pt x="22860" y="1778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47A8FE44-2BB3-41EE-9711-006C3C659370}"/>
                </a:ext>
              </a:extLst>
            </p:cNvPr>
            <p:cNvSpPr/>
            <p:nvPr/>
          </p:nvSpPr>
          <p:spPr>
            <a:xfrm>
              <a:off x="802640" y="6605269"/>
              <a:ext cx="38100" cy="38100"/>
            </a:xfrm>
            <a:custGeom>
              <a:avLst/>
              <a:gdLst>
                <a:gd name="connsiteX0" fmla="*/ 26670 w 38100"/>
                <a:gd name="connsiteY0" fmla="*/ 40640 h 38100"/>
                <a:gd name="connsiteX1" fmla="*/ 36830 w 38100"/>
                <a:gd name="connsiteY1" fmla="*/ 33020 h 38100"/>
                <a:gd name="connsiteX2" fmla="*/ 27940 w 38100"/>
                <a:gd name="connsiteY2" fmla="*/ 25400 h 38100"/>
                <a:gd name="connsiteX3" fmla="*/ 8890 w 38100"/>
                <a:gd name="connsiteY3" fmla="*/ 25400 h 38100"/>
                <a:gd name="connsiteX4" fmla="*/ 8890 w 38100"/>
                <a:gd name="connsiteY4" fmla="*/ 40640 h 38100"/>
                <a:gd name="connsiteX5" fmla="*/ 26670 w 38100"/>
                <a:gd name="connsiteY5" fmla="*/ 40640 h 38100"/>
                <a:gd name="connsiteX6" fmla="*/ 26670 w 38100"/>
                <a:gd name="connsiteY6" fmla="*/ 19050 h 38100"/>
                <a:gd name="connsiteX7" fmla="*/ 34290 w 38100"/>
                <a:gd name="connsiteY7" fmla="*/ 12700 h 38100"/>
                <a:gd name="connsiteX8" fmla="*/ 26670 w 38100"/>
                <a:gd name="connsiteY8" fmla="*/ 6350 h 38100"/>
                <a:gd name="connsiteX9" fmla="*/ 7620 w 38100"/>
                <a:gd name="connsiteY9" fmla="*/ 6350 h 38100"/>
                <a:gd name="connsiteX10" fmla="*/ 7620 w 38100"/>
                <a:gd name="connsiteY10" fmla="*/ 19050 h 38100"/>
                <a:gd name="connsiteX11" fmla="*/ 26670 w 38100"/>
                <a:gd name="connsiteY11" fmla="*/ 19050 h 38100"/>
                <a:gd name="connsiteX12" fmla="*/ 0 w 38100"/>
                <a:gd name="connsiteY12" fmla="*/ 0 h 38100"/>
                <a:gd name="connsiteX13" fmla="*/ 26670 w 38100"/>
                <a:gd name="connsiteY13" fmla="*/ 0 h 38100"/>
                <a:gd name="connsiteX14" fmla="*/ 40640 w 38100"/>
                <a:gd name="connsiteY14" fmla="*/ 11430 h 38100"/>
                <a:gd name="connsiteX15" fmla="*/ 34290 w 38100"/>
                <a:gd name="connsiteY15" fmla="*/ 21590 h 38100"/>
                <a:gd name="connsiteX16" fmla="*/ 34290 w 38100"/>
                <a:gd name="connsiteY16" fmla="*/ 21590 h 38100"/>
                <a:gd name="connsiteX17" fmla="*/ 43180 w 38100"/>
                <a:gd name="connsiteY17" fmla="*/ 33020 h 38100"/>
                <a:gd name="connsiteX18" fmla="*/ 29210 w 38100"/>
                <a:gd name="connsiteY18" fmla="*/ 46990 h 38100"/>
                <a:gd name="connsiteX19" fmla="*/ 27940 w 38100"/>
                <a:gd name="connsiteY19" fmla="*/ 46990 h 38100"/>
                <a:gd name="connsiteX20" fmla="*/ 0 w 38100"/>
                <a:gd name="connsiteY20" fmla="*/ 4699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40640"/>
                  </a:moveTo>
                  <a:cubicBezTo>
                    <a:pt x="34290" y="40640"/>
                    <a:pt x="36830" y="36830"/>
                    <a:pt x="36830" y="33020"/>
                  </a:cubicBezTo>
                  <a:cubicBezTo>
                    <a:pt x="36830" y="29210"/>
                    <a:pt x="34290" y="25400"/>
                    <a:pt x="27940" y="25400"/>
                  </a:cubicBezTo>
                  <a:lnTo>
                    <a:pt x="8890" y="25400"/>
                  </a:lnTo>
                  <a:lnTo>
                    <a:pt x="8890" y="40640"/>
                  </a:lnTo>
                  <a:lnTo>
                    <a:pt x="26670" y="40640"/>
                  </a:lnTo>
                  <a:close/>
                  <a:moveTo>
                    <a:pt x="26670" y="19050"/>
                  </a:moveTo>
                  <a:cubicBezTo>
                    <a:pt x="31750" y="19050"/>
                    <a:pt x="34290" y="16510"/>
                    <a:pt x="34290" y="12700"/>
                  </a:cubicBezTo>
                  <a:cubicBezTo>
                    <a:pt x="34290" y="8890"/>
                    <a:pt x="31750" y="6350"/>
                    <a:pt x="26670" y="6350"/>
                  </a:cubicBezTo>
                  <a:lnTo>
                    <a:pt x="7620" y="6350"/>
                  </a:lnTo>
                  <a:lnTo>
                    <a:pt x="7620" y="19050"/>
                  </a:lnTo>
                  <a:lnTo>
                    <a:pt x="26670" y="19050"/>
                  </a:lnTo>
                  <a:close/>
                  <a:moveTo>
                    <a:pt x="0" y="0"/>
                  </a:moveTo>
                  <a:lnTo>
                    <a:pt x="26670" y="0"/>
                  </a:lnTo>
                  <a:cubicBezTo>
                    <a:pt x="36830" y="0"/>
                    <a:pt x="40640" y="3810"/>
                    <a:pt x="40640" y="11430"/>
                  </a:cubicBezTo>
                  <a:cubicBezTo>
                    <a:pt x="40640" y="16510"/>
                    <a:pt x="38100" y="20320"/>
                    <a:pt x="34290" y="21590"/>
                  </a:cubicBezTo>
                  <a:lnTo>
                    <a:pt x="34290" y="21590"/>
                  </a:lnTo>
                  <a:cubicBezTo>
                    <a:pt x="39370" y="22860"/>
                    <a:pt x="43180" y="27940"/>
                    <a:pt x="43180" y="33020"/>
                  </a:cubicBezTo>
                  <a:cubicBezTo>
                    <a:pt x="43180" y="40640"/>
                    <a:pt x="36830" y="46990"/>
                    <a:pt x="29210" y="46990"/>
                  </a:cubicBezTo>
                  <a:lnTo>
                    <a:pt x="27940" y="46990"/>
                  </a:ln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D5AD6F66-332D-4CA4-BA73-358C3EFC2503}"/>
                </a:ext>
              </a:extLst>
            </p:cNvPr>
            <p:cNvSpPr/>
            <p:nvPr/>
          </p:nvSpPr>
          <p:spPr>
            <a:xfrm>
              <a:off x="85725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127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12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38686AAD-221A-4872-B10D-D8221882AC2D}"/>
                </a:ext>
              </a:extLst>
            </p:cNvPr>
            <p:cNvSpPr/>
            <p:nvPr/>
          </p:nvSpPr>
          <p:spPr>
            <a:xfrm>
              <a:off x="905510" y="6605269"/>
              <a:ext cx="50800" cy="38100"/>
            </a:xfrm>
            <a:custGeom>
              <a:avLst/>
              <a:gdLst>
                <a:gd name="connsiteX0" fmla="*/ 25400 w 50800"/>
                <a:gd name="connsiteY0" fmla="*/ 6350 h 38100"/>
                <a:gd name="connsiteX1" fmla="*/ 16510 w 50800"/>
                <a:gd name="connsiteY1" fmla="*/ 26670 h 38100"/>
                <a:gd name="connsiteX2" fmla="*/ 34290 w 50800"/>
                <a:gd name="connsiteY2" fmla="*/ 26670 h 38100"/>
                <a:gd name="connsiteX3" fmla="*/ 2540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5400" y="6350"/>
                  </a:moveTo>
                  <a:lnTo>
                    <a:pt x="16510" y="26670"/>
                  </a:lnTo>
                  <a:lnTo>
                    <a:pt x="34290" y="26670"/>
                  </a:lnTo>
                  <a:lnTo>
                    <a:pt x="2540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A552335C-78DC-4AA1-88C4-7329768C3C59}"/>
                </a:ext>
              </a:extLst>
            </p:cNvPr>
            <p:cNvSpPr/>
            <p:nvPr/>
          </p:nvSpPr>
          <p:spPr>
            <a:xfrm>
              <a:off x="962660" y="6605269"/>
              <a:ext cx="38100" cy="38100"/>
            </a:xfrm>
            <a:custGeom>
              <a:avLst/>
              <a:gdLst>
                <a:gd name="connsiteX0" fmla="*/ 6350 w 38100"/>
                <a:gd name="connsiteY0" fmla="*/ 8890 h 38100"/>
                <a:gd name="connsiteX1" fmla="*/ 6350 w 38100"/>
                <a:gd name="connsiteY1" fmla="*/ 8890 h 38100"/>
                <a:gd name="connsiteX2" fmla="*/ 6350 w 38100"/>
                <a:gd name="connsiteY2" fmla="*/ 46990 h 38100"/>
                <a:gd name="connsiteX3" fmla="*/ 0 w 38100"/>
                <a:gd name="connsiteY3" fmla="*/ 46990 h 38100"/>
                <a:gd name="connsiteX4" fmla="*/ 0 w 38100"/>
                <a:gd name="connsiteY4" fmla="*/ 0 h 38100"/>
                <a:gd name="connsiteX5" fmla="*/ 7620 w 38100"/>
                <a:gd name="connsiteY5" fmla="*/ 0 h 38100"/>
                <a:gd name="connsiteX6" fmla="*/ 38100 w 38100"/>
                <a:gd name="connsiteY6" fmla="*/ 36830 h 38100"/>
                <a:gd name="connsiteX7" fmla="*/ 38100 w 38100"/>
                <a:gd name="connsiteY7" fmla="*/ 36830 h 38100"/>
                <a:gd name="connsiteX8" fmla="*/ 38100 w 38100"/>
                <a:gd name="connsiteY8" fmla="*/ 0 h 38100"/>
                <a:gd name="connsiteX9" fmla="*/ 45720 w 38100"/>
                <a:gd name="connsiteY9" fmla="*/ 0 h 38100"/>
                <a:gd name="connsiteX10" fmla="*/ 45720 w 38100"/>
                <a:gd name="connsiteY10" fmla="*/ 46990 h 38100"/>
                <a:gd name="connsiteX11" fmla="*/ 3683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6350" y="8890"/>
                  </a:moveTo>
                  <a:lnTo>
                    <a:pt x="6350" y="8890"/>
                  </a:lnTo>
                  <a:lnTo>
                    <a:pt x="6350" y="46990"/>
                  </a:lnTo>
                  <a:lnTo>
                    <a:pt x="0" y="46990"/>
                  </a:lnTo>
                  <a:lnTo>
                    <a:pt x="0" y="0"/>
                  </a:lnTo>
                  <a:lnTo>
                    <a:pt x="7620" y="0"/>
                  </a:lnTo>
                  <a:lnTo>
                    <a:pt x="38100" y="36830"/>
                  </a:lnTo>
                  <a:lnTo>
                    <a:pt x="38100" y="36830"/>
                  </a:lnTo>
                  <a:lnTo>
                    <a:pt x="38100" y="0"/>
                  </a:lnTo>
                  <a:lnTo>
                    <a:pt x="45720" y="0"/>
                  </a:lnTo>
                  <a:lnTo>
                    <a:pt x="45720" y="46990"/>
                  </a:lnTo>
                  <a:lnTo>
                    <a:pt x="3683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51651CCD-EDDA-4D1F-94CF-0B109ED9EC6E}"/>
                </a:ext>
              </a:extLst>
            </p:cNvPr>
            <p:cNvSpPr/>
            <p:nvPr/>
          </p:nvSpPr>
          <p:spPr>
            <a:xfrm>
              <a:off x="1022350" y="6605269"/>
              <a:ext cx="38100" cy="38100"/>
            </a:xfrm>
            <a:custGeom>
              <a:avLst/>
              <a:gdLst>
                <a:gd name="connsiteX0" fmla="*/ 24130 w 38100"/>
                <a:gd name="connsiteY0" fmla="*/ 40640 h 38100"/>
                <a:gd name="connsiteX1" fmla="*/ 38100 w 38100"/>
                <a:gd name="connsiteY1" fmla="*/ 22860 h 38100"/>
                <a:gd name="connsiteX2" fmla="*/ 2286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40640 h 38100"/>
                <a:gd name="connsiteX5" fmla="*/ 24130 w 38100"/>
                <a:gd name="connsiteY5" fmla="*/ 40640 h 38100"/>
                <a:gd name="connsiteX6" fmla="*/ 0 w 38100"/>
                <a:gd name="connsiteY6" fmla="*/ 0 h 38100"/>
                <a:gd name="connsiteX7" fmla="*/ 24130 w 38100"/>
                <a:gd name="connsiteY7" fmla="*/ 0 h 38100"/>
                <a:gd name="connsiteX8" fmla="*/ 44450 w 38100"/>
                <a:gd name="connsiteY8" fmla="*/ 22860 h 38100"/>
                <a:gd name="connsiteX9" fmla="*/ 24130 w 38100"/>
                <a:gd name="connsiteY9" fmla="*/ 46990 h 38100"/>
                <a:gd name="connsiteX10" fmla="*/ 0 w 38100"/>
                <a:gd name="connsiteY10" fmla="*/ 46990 h 38100"/>
                <a:gd name="connsiteX11" fmla="*/ 0 w 38100"/>
                <a:gd name="connsiteY1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24130" y="40640"/>
                  </a:moveTo>
                  <a:cubicBezTo>
                    <a:pt x="35560" y="40640"/>
                    <a:pt x="38100" y="31750"/>
                    <a:pt x="38100" y="22860"/>
                  </a:cubicBezTo>
                  <a:cubicBezTo>
                    <a:pt x="38100" y="13970"/>
                    <a:pt x="35560" y="6350"/>
                    <a:pt x="22860" y="6350"/>
                  </a:cubicBezTo>
                  <a:lnTo>
                    <a:pt x="6350" y="6350"/>
                  </a:lnTo>
                  <a:lnTo>
                    <a:pt x="6350" y="40640"/>
                  </a:lnTo>
                  <a:lnTo>
                    <a:pt x="24130" y="40640"/>
                  </a:lnTo>
                  <a:close/>
                  <a:moveTo>
                    <a:pt x="0" y="0"/>
                  </a:moveTo>
                  <a:lnTo>
                    <a:pt x="24130" y="0"/>
                  </a:lnTo>
                  <a:cubicBezTo>
                    <a:pt x="38100" y="0"/>
                    <a:pt x="44450" y="8890"/>
                    <a:pt x="44450" y="22860"/>
                  </a:cubicBezTo>
                  <a:cubicBezTo>
                    <a:pt x="44450" y="36830"/>
                    <a:pt x="38100" y="46990"/>
                    <a:pt x="24130" y="46990"/>
                  </a:cubicBez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62" name="Picture 61" descr="A close up of a sign&#10;&#10;Description automatically generated">
            <a:extLst>
              <a:ext uri="{FF2B5EF4-FFF2-40B4-BE49-F238E27FC236}">
                <a16:creationId xmlns:a16="http://schemas.microsoft.com/office/drawing/2014/main" id="{A9766F90-2ED2-4653-BAA0-D9F5770409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4772" y="6363046"/>
            <a:ext cx="1050007" cy="217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12423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 Add Equip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9FF0F-C145-49E6-9DB7-9029FE014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1758" y="981095"/>
            <a:ext cx="6430886" cy="2708255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89688F33-4BC4-47A9-B6D8-2BCCCAE87316}"/>
              </a:ext>
            </a:extLst>
          </p:cNvPr>
          <p:cNvSpPr/>
          <p:nvPr userDrawn="1"/>
        </p:nvSpPr>
        <p:spPr>
          <a:xfrm>
            <a:off x="0" y="0"/>
            <a:ext cx="1696490" cy="6858000"/>
          </a:xfrm>
          <a:custGeom>
            <a:avLst/>
            <a:gdLst>
              <a:gd name="connsiteX0" fmla="*/ 0 w 12179300"/>
              <a:gd name="connsiteY0" fmla="*/ 0 h 800100"/>
              <a:gd name="connsiteX1" fmla="*/ 12189460 w 12179300"/>
              <a:gd name="connsiteY1" fmla="*/ 0 h 800100"/>
              <a:gd name="connsiteX2" fmla="*/ 12189460 w 12179300"/>
              <a:gd name="connsiteY2" fmla="*/ 800100 h 800100"/>
              <a:gd name="connsiteX3" fmla="*/ 0 w 12179300"/>
              <a:gd name="connsiteY3" fmla="*/ 800100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79300" h="800100">
                <a:moveTo>
                  <a:pt x="0" y="0"/>
                </a:moveTo>
                <a:lnTo>
                  <a:pt x="12189460" y="0"/>
                </a:lnTo>
                <a:lnTo>
                  <a:pt x="12189460" y="800100"/>
                </a:lnTo>
                <a:lnTo>
                  <a:pt x="0" y="80010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5400000" scaled="0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3856BD6-E7D4-4763-B3C8-D86F0126EFEC}"/>
              </a:ext>
            </a:extLst>
          </p:cNvPr>
          <p:cNvGrpSpPr/>
          <p:nvPr userDrawn="1"/>
        </p:nvGrpSpPr>
        <p:grpSpPr>
          <a:xfrm>
            <a:off x="329368" y="297898"/>
            <a:ext cx="1037754" cy="375165"/>
            <a:chOff x="430366" y="6268204"/>
            <a:chExt cx="1037754" cy="375165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55CC7B28-9616-47E8-B327-A452B335D53D}"/>
                </a:ext>
              </a:extLst>
            </p:cNvPr>
            <p:cNvSpPr/>
            <p:nvPr/>
          </p:nvSpPr>
          <p:spPr>
            <a:xfrm>
              <a:off x="430366" y="6268204"/>
              <a:ext cx="241300" cy="292100"/>
            </a:xfrm>
            <a:custGeom>
              <a:avLst/>
              <a:gdLst>
                <a:gd name="connsiteX0" fmla="*/ 245274 w 241300"/>
                <a:gd name="connsiteY0" fmla="*/ 257055 h 292100"/>
                <a:gd name="connsiteX1" fmla="*/ 245274 w 241300"/>
                <a:gd name="connsiteY1" fmla="*/ 88145 h 292100"/>
                <a:gd name="connsiteX2" fmla="*/ 156374 w 241300"/>
                <a:gd name="connsiteY2" fmla="*/ 179585 h 292100"/>
                <a:gd name="connsiteX3" fmla="*/ 179234 w 241300"/>
                <a:gd name="connsiteY3" fmla="*/ 206255 h 292100"/>
                <a:gd name="connsiteX4" fmla="*/ 144944 w 241300"/>
                <a:gd name="connsiteY4" fmla="*/ 226575 h 292100"/>
                <a:gd name="connsiteX5" fmla="*/ 64934 w 241300"/>
                <a:gd name="connsiteY5" fmla="*/ 146565 h 292100"/>
                <a:gd name="connsiteX6" fmla="*/ 144944 w 241300"/>
                <a:gd name="connsiteY6" fmla="*/ 66555 h 292100"/>
                <a:gd name="connsiteX7" fmla="*/ 183044 w 241300"/>
                <a:gd name="connsiteY7" fmla="*/ 76715 h 292100"/>
                <a:gd name="connsiteX8" fmla="*/ 231304 w 241300"/>
                <a:gd name="connsiteY8" fmla="*/ 27185 h 292100"/>
                <a:gd name="connsiteX9" fmla="*/ 26834 w 241300"/>
                <a:gd name="connsiteY9" fmla="*/ 62745 h 292100"/>
                <a:gd name="connsiteX10" fmla="*/ 62394 w 241300"/>
                <a:gd name="connsiteY10" fmla="*/ 267215 h 292100"/>
                <a:gd name="connsiteX11" fmla="*/ 245274 w 241300"/>
                <a:gd name="connsiteY11" fmla="*/ 257055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300" h="292100">
                  <a:moveTo>
                    <a:pt x="245274" y="257055"/>
                  </a:moveTo>
                  <a:lnTo>
                    <a:pt x="245274" y="88145"/>
                  </a:lnTo>
                  <a:lnTo>
                    <a:pt x="156374" y="179585"/>
                  </a:lnTo>
                  <a:cubicBezTo>
                    <a:pt x="156374" y="179585"/>
                    <a:pt x="179234" y="178315"/>
                    <a:pt x="179234" y="206255"/>
                  </a:cubicBezTo>
                  <a:cubicBezTo>
                    <a:pt x="179234" y="206255"/>
                    <a:pt x="177964" y="226575"/>
                    <a:pt x="144944" y="226575"/>
                  </a:cubicBezTo>
                  <a:cubicBezTo>
                    <a:pt x="100494" y="226575"/>
                    <a:pt x="64934" y="189745"/>
                    <a:pt x="64934" y="146565"/>
                  </a:cubicBezTo>
                  <a:cubicBezTo>
                    <a:pt x="64934" y="103385"/>
                    <a:pt x="101764" y="66555"/>
                    <a:pt x="144944" y="66555"/>
                  </a:cubicBezTo>
                  <a:cubicBezTo>
                    <a:pt x="157644" y="66555"/>
                    <a:pt x="170344" y="70365"/>
                    <a:pt x="183044" y="76715"/>
                  </a:cubicBezTo>
                  <a:lnTo>
                    <a:pt x="231304" y="27185"/>
                  </a:lnTo>
                  <a:cubicBezTo>
                    <a:pt x="166534" y="-19805"/>
                    <a:pt x="73824" y="-4565"/>
                    <a:pt x="26834" y="62745"/>
                  </a:cubicBezTo>
                  <a:cubicBezTo>
                    <a:pt x="-20156" y="128785"/>
                    <a:pt x="-3646" y="220225"/>
                    <a:pt x="62394" y="267215"/>
                  </a:cubicBezTo>
                  <a:cubicBezTo>
                    <a:pt x="118274" y="306585"/>
                    <a:pt x="194474" y="302775"/>
                    <a:pt x="245274" y="257055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010AB485-15B0-4B36-BDD0-6750D3AA888F}"/>
                </a:ext>
              </a:extLst>
            </p:cNvPr>
            <p:cNvSpPr/>
            <p:nvPr/>
          </p:nvSpPr>
          <p:spPr>
            <a:xfrm>
              <a:off x="689628" y="6344937"/>
              <a:ext cx="419100" cy="203200"/>
            </a:xfrm>
            <a:custGeom>
              <a:avLst/>
              <a:gdLst>
                <a:gd name="connsiteX0" fmla="*/ 314942 w 419100"/>
                <a:gd name="connsiteY0" fmla="*/ 2522 h 203200"/>
                <a:gd name="connsiteX1" fmla="*/ 314942 w 419100"/>
                <a:gd name="connsiteY1" fmla="*/ 2522 h 203200"/>
                <a:gd name="connsiteX2" fmla="*/ 210802 w 419100"/>
                <a:gd name="connsiteY2" fmla="*/ 90152 h 203200"/>
                <a:gd name="connsiteX3" fmla="*/ 210802 w 419100"/>
                <a:gd name="connsiteY3" fmla="*/ 90152 h 203200"/>
                <a:gd name="connsiteX4" fmla="*/ 90152 w 419100"/>
                <a:gd name="connsiteY4" fmla="*/ 1252 h 203200"/>
                <a:gd name="connsiteX5" fmla="*/ 1252 w 419100"/>
                <a:gd name="connsiteY5" fmla="*/ 121902 h 203200"/>
                <a:gd name="connsiteX6" fmla="*/ 106662 w 419100"/>
                <a:gd name="connsiteY6" fmla="*/ 212072 h 203200"/>
                <a:gd name="connsiteX7" fmla="*/ 128252 w 419100"/>
                <a:gd name="connsiteY7" fmla="*/ 212072 h 203200"/>
                <a:gd name="connsiteX8" fmla="*/ 274302 w 419100"/>
                <a:gd name="connsiteY8" fmla="*/ 212072 h 203200"/>
                <a:gd name="connsiteX9" fmla="*/ 274302 w 419100"/>
                <a:gd name="connsiteY9" fmla="*/ 106662 h 203200"/>
                <a:gd name="connsiteX10" fmla="*/ 318752 w 419100"/>
                <a:gd name="connsiteY10" fmla="*/ 66022 h 203200"/>
                <a:gd name="connsiteX11" fmla="*/ 359392 w 419100"/>
                <a:gd name="connsiteY11" fmla="*/ 106662 h 203200"/>
                <a:gd name="connsiteX12" fmla="*/ 359392 w 419100"/>
                <a:gd name="connsiteY12" fmla="*/ 212072 h 203200"/>
                <a:gd name="connsiteX13" fmla="*/ 422892 w 419100"/>
                <a:gd name="connsiteY13" fmla="*/ 212072 h 203200"/>
                <a:gd name="connsiteX14" fmla="*/ 422892 w 419100"/>
                <a:gd name="connsiteY14" fmla="*/ 106662 h 203200"/>
                <a:gd name="connsiteX15" fmla="*/ 314942 w 419100"/>
                <a:gd name="connsiteY15" fmla="*/ 2522 h 203200"/>
                <a:gd name="connsiteX16" fmla="*/ 77452 w 419100"/>
                <a:gd name="connsiteY16" fmla="*/ 138412 h 203200"/>
                <a:gd name="connsiteX17" fmla="*/ 63482 w 419100"/>
                <a:gd name="connsiteY17" fmla="*/ 107932 h 203200"/>
                <a:gd name="connsiteX18" fmla="*/ 106662 w 419100"/>
                <a:gd name="connsiteY18" fmla="*/ 66022 h 203200"/>
                <a:gd name="connsiteX19" fmla="*/ 106662 w 419100"/>
                <a:gd name="connsiteY19" fmla="*/ 66022 h 203200"/>
                <a:gd name="connsiteX20" fmla="*/ 137142 w 419100"/>
                <a:gd name="connsiteY20" fmla="*/ 78722 h 203200"/>
                <a:gd name="connsiteX21" fmla="*/ 77452 w 419100"/>
                <a:gd name="connsiteY21" fmla="*/ 138412 h 203200"/>
                <a:gd name="connsiteX22" fmla="*/ 154922 w 419100"/>
                <a:gd name="connsiteY22" fmla="*/ 151112 h 203200"/>
                <a:gd name="connsiteX23" fmla="*/ 212072 w 419100"/>
                <a:gd name="connsiteY23" fmla="*/ 93962 h 203200"/>
                <a:gd name="connsiteX24" fmla="*/ 269222 w 419100"/>
                <a:gd name="connsiteY24" fmla="*/ 151112 h 203200"/>
                <a:gd name="connsiteX25" fmla="*/ 154922 w 419100"/>
                <a:gd name="connsiteY25" fmla="*/ 1511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19100" h="203200">
                  <a:moveTo>
                    <a:pt x="314942" y="2522"/>
                  </a:moveTo>
                  <a:lnTo>
                    <a:pt x="314942" y="2522"/>
                  </a:lnTo>
                  <a:cubicBezTo>
                    <a:pt x="262872" y="2522"/>
                    <a:pt x="218422" y="39352"/>
                    <a:pt x="210802" y="90152"/>
                  </a:cubicBez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74302" y="212072"/>
                  </a:lnTo>
                  <a:lnTo>
                    <a:pt x="274302" y="106662"/>
                  </a:lnTo>
                  <a:cubicBezTo>
                    <a:pt x="275572" y="82532"/>
                    <a:pt x="294622" y="64752"/>
                    <a:pt x="318752" y="66022"/>
                  </a:cubicBezTo>
                  <a:cubicBezTo>
                    <a:pt x="340342" y="67292"/>
                    <a:pt x="358122" y="85072"/>
                    <a:pt x="359392" y="106662"/>
                  </a:cubicBezTo>
                  <a:lnTo>
                    <a:pt x="359392" y="212072"/>
                  </a:lnTo>
                  <a:lnTo>
                    <a:pt x="422892" y="212072"/>
                  </a:lnTo>
                  <a:lnTo>
                    <a:pt x="422892" y="106662"/>
                  </a:lnTo>
                  <a:cubicBezTo>
                    <a:pt x="421622" y="49512"/>
                    <a:pt x="373362" y="2522"/>
                    <a:pt x="314942" y="2522"/>
                  </a:cubicBezTo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7932"/>
                  </a:cubicBezTo>
                  <a:cubicBezTo>
                    <a:pt x="63482" y="83802"/>
                    <a:pt x="82532" y="64752"/>
                    <a:pt x="106662" y="66022"/>
                  </a:cubicBezTo>
                  <a:lnTo>
                    <a:pt x="106662" y="66022"/>
                  </a:lnTo>
                  <a:cubicBezTo>
                    <a:pt x="118092" y="66022"/>
                    <a:pt x="128252" y="69832"/>
                    <a:pt x="137142" y="78722"/>
                  </a:cubicBezTo>
                  <a:lnTo>
                    <a:pt x="77452" y="138412"/>
                  </a:lnTo>
                  <a:close/>
                  <a:moveTo>
                    <a:pt x="154922" y="151112"/>
                  </a:moveTo>
                  <a:lnTo>
                    <a:pt x="212072" y="93962"/>
                  </a:lnTo>
                  <a:lnTo>
                    <a:pt x="269222" y="151112"/>
                  </a:lnTo>
                  <a:lnTo>
                    <a:pt x="154922" y="151112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F113914-5C54-4A9E-81D8-B93EB60E3EAF}"/>
                </a:ext>
              </a:extLst>
            </p:cNvPr>
            <p:cNvSpPr/>
            <p:nvPr/>
          </p:nvSpPr>
          <p:spPr>
            <a:xfrm>
              <a:off x="1104900" y="6278879"/>
              <a:ext cx="114300" cy="279400"/>
            </a:xfrm>
            <a:custGeom>
              <a:avLst/>
              <a:gdLst>
                <a:gd name="connsiteX0" fmla="*/ 114300 w 114300"/>
                <a:gd name="connsiteY0" fmla="*/ 57150 h 279400"/>
                <a:gd name="connsiteX1" fmla="*/ 0 w 114300"/>
                <a:gd name="connsiteY1" fmla="*/ 57150 h 279400"/>
                <a:gd name="connsiteX2" fmla="*/ 57150 w 114300"/>
                <a:gd name="connsiteY2" fmla="*/ 0 h 279400"/>
                <a:gd name="connsiteX3" fmla="*/ 114300 w 114300"/>
                <a:gd name="connsiteY3" fmla="*/ 57150 h 279400"/>
                <a:gd name="connsiteX4" fmla="*/ 88900 w 114300"/>
                <a:gd name="connsiteY4" fmla="*/ 78740 h 279400"/>
                <a:gd name="connsiteX5" fmla="*/ 25400 w 114300"/>
                <a:gd name="connsiteY5" fmla="*/ 78740 h 279400"/>
                <a:gd name="connsiteX6" fmla="*/ 25400 w 114300"/>
                <a:gd name="connsiteY6" fmla="*/ 279400 h 279400"/>
                <a:gd name="connsiteX7" fmla="*/ 88900 w 114300"/>
                <a:gd name="connsiteY7" fmla="*/ 279400 h 279400"/>
                <a:gd name="connsiteX8" fmla="*/ 88900 w 114300"/>
                <a:gd name="connsiteY8" fmla="*/ 7874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279400">
                  <a:moveTo>
                    <a:pt x="114300" y="57150"/>
                  </a:moveTo>
                  <a:lnTo>
                    <a:pt x="0" y="57150"/>
                  </a:lnTo>
                  <a:lnTo>
                    <a:pt x="57150" y="0"/>
                  </a:lnTo>
                  <a:lnTo>
                    <a:pt x="114300" y="57150"/>
                  </a:lnTo>
                  <a:close/>
                  <a:moveTo>
                    <a:pt x="88900" y="78740"/>
                  </a:moveTo>
                  <a:lnTo>
                    <a:pt x="25400" y="78740"/>
                  </a:lnTo>
                  <a:lnTo>
                    <a:pt x="25400" y="279400"/>
                  </a:lnTo>
                  <a:lnTo>
                    <a:pt x="88900" y="279400"/>
                  </a:lnTo>
                  <a:lnTo>
                    <a:pt x="88900" y="7874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B88A3B19-173A-4E26-9890-6A7A76F82CF9}"/>
                </a:ext>
              </a:extLst>
            </p:cNvPr>
            <p:cNvSpPr/>
            <p:nvPr/>
          </p:nvSpPr>
          <p:spPr>
            <a:xfrm>
              <a:off x="1207788" y="6344937"/>
              <a:ext cx="203200" cy="203200"/>
            </a:xfrm>
            <a:custGeom>
              <a:avLst/>
              <a:gdLst>
                <a:gd name="connsiteX0" fmla="*/ 212072 w 203200"/>
                <a:gd name="connsiteY0" fmla="*/ 93962 h 203200"/>
                <a:gd name="connsiteX1" fmla="*/ 210802 w 203200"/>
                <a:gd name="connsiteY1" fmla="*/ 90152 h 203200"/>
                <a:gd name="connsiteX2" fmla="*/ 210802 w 203200"/>
                <a:gd name="connsiteY2" fmla="*/ 90152 h 203200"/>
                <a:gd name="connsiteX3" fmla="*/ 90152 w 203200"/>
                <a:gd name="connsiteY3" fmla="*/ 1252 h 203200"/>
                <a:gd name="connsiteX4" fmla="*/ 1252 w 203200"/>
                <a:gd name="connsiteY4" fmla="*/ 121902 h 203200"/>
                <a:gd name="connsiteX5" fmla="*/ 106662 w 203200"/>
                <a:gd name="connsiteY5" fmla="*/ 212072 h 203200"/>
                <a:gd name="connsiteX6" fmla="*/ 128252 w 203200"/>
                <a:gd name="connsiteY6" fmla="*/ 212072 h 203200"/>
                <a:gd name="connsiteX7" fmla="*/ 212072 w 203200"/>
                <a:gd name="connsiteY7" fmla="*/ 212072 h 203200"/>
                <a:gd name="connsiteX8" fmla="*/ 212072 w 203200"/>
                <a:gd name="connsiteY8" fmla="*/ 149842 h 203200"/>
                <a:gd name="connsiteX9" fmla="*/ 154922 w 203200"/>
                <a:gd name="connsiteY9" fmla="*/ 149842 h 203200"/>
                <a:gd name="connsiteX10" fmla="*/ 212072 w 203200"/>
                <a:gd name="connsiteY10" fmla="*/ 93962 h 203200"/>
                <a:gd name="connsiteX11" fmla="*/ 77452 w 203200"/>
                <a:gd name="connsiteY11" fmla="*/ 138412 h 203200"/>
                <a:gd name="connsiteX12" fmla="*/ 63482 w 203200"/>
                <a:gd name="connsiteY12" fmla="*/ 106662 h 203200"/>
                <a:gd name="connsiteX13" fmla="*/ 106662 w 203200"/>
                <a:gd name="connsiteY13" fmla="*/ 64752 h 203200"/>
                <a:gd name="connsiteX14" fmla="*/ 106662 w 203200"/>
                <a:gd name="connsiteY14" fmla="*/ 64752 h 203200"/>
                <a:gd name="connsiteX15" fmla="*/ 137142 w 203200"/>
                <a:gd name="connsiteY15" fmla="*/ 77452 h 203200"/>
                <a:gd name="connsiteX16" fmla="*/ 77452 w 203200"/>
                <a:gd name="connsiteY16" fmla="*/ 1384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200" h="203200">
                  <a:moveTo>
                    <a:pt x="212072" y="93962"/>
                  </a:moveTo>
                  <a:lnTo>
                    <a:pt x="210802" y="90152"/>
                  </a:ln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12072" y="212072"/>
                  </a:lnTo>
                  <a:lnTo>
                    <a:pt x="212072" y="149842"/>
                  </a:lnTo>
                  <a:lnTo>
                    <a:pt x="154922" y="149842"/>
                  </a:lnTo>
                  <a:lnTo>
                    <a:pt x="212072" y="93962"/>
                  </a:lnTo>
                  <a:close/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6662"/>
                  </a:cubicBezTo>
                  <a:cubicBezTo>
                    <a:pt x="63482" y="82532"/>
                    <a:pt x="82532" y="63482"/>
                    <a:pt x="106662" y="64752"/>
                  </a:cubicBezTo>
                  <a:lnTo>
                    <a:pt x="106662" y="64752"/>
                  </a:lnTo>
                  <a:cubicBezTo>
                    <a:pt x="118092" y="64752"/>
                    <a:pt x="128252" y="68562"/>
                    <a:pt x="137142" y="77452"/>
                  </a:cubicBezTo>
                  <a:lnTo>
                    <a:pt x="77452" y="138412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9D79B5B-4D53-4056-BE5B-E7E441B35B46}"/>
                </a:ext>
              </a:extLst>
            </p:cNvPr>
            <p:cNvSpPr/>
            <p:nvPr/>
          </p:nvSpPr>
          <p:spPr>
            <a:xfrm>
              <a:off x="1430020" y="6518909"/>
              <a:ext cx="38100" cy="38100"/>
            </a:xfrm>
            <a:custGeom>
              <a:avLst/>
              <a:gdLst>
                <a:gd name="connsiteX0" fmla="*/ 19050 w 38100"/>
                <a:gd name="connsiteY0" fmla="*/ 0 h 38100"/>
                <a:gd name="connsiteX1" fmla="*/ 0 w 38100"/>
                <a:gd name="connsiteY1" fmla="*/ 19050 h 38100"/>
                <a:gd name="connsiteX2" fmla="*/ 19050 w 38100"/>
                <a:gd name="connsiteY2" fmla="*/ 38100 h 38100"/>
                <a:gd name="connsiteX3" fmla="*/ 38100 w 38100"/>
                <a:gd name="connsiteY3" fmla="*/ 19050 h 38100"/>
                <a:gd name="connsiteX4" fmla="*/ 19050 w 38100"/>
                <a:gd name="connsiteY4" fmla="*/ 0 h 38100"/>
                <a:gd name="connsiteX5" fmla="*/ 19050 w 38100"/>
                <a:gd name="connsiteY5" fmla="*/ 0 h 38100"/>
                <a:gd name="connsiteX6" fmla="*/ 19050 w 38100"/>
                <a:gd name="connsiteY6" fmla="*/ 35560 h 38100"/>
                <a:gd name="connsiteX7" fmla="*/ 2540 w 38100"/>
                <a:gd name="connsiteY7" fmla="*/ 19050 h 38100"/>
                <a:gd name="connsiteX8" fmla="*/ 19050 w 38100"/>
                <a:gd name="connsiteY8" fmla="*/ 2540 h 38100"/>
                <a:gd name="connsiteX9" fmla="*/ 35560 w 38100"/>
                <a:gd name="connsiteY9" fmla="*/ 19050 h 38100"/>
                <a:gd name="connsiteX10" fmla="*/ 21590 w 38100"/>
                <a:gd name="connsiteY10" fmla="*/ 35560 h 38100"/>
                <a:gd name="connsiteX11" fmla="*/ 19050 w 38100"/>
                <a:gd name="connsiteY11" fmla="*/ 3556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19050" y="0"/>
                  </a:moveTo>
                  <a:cubicBezTo>
                    <a:pt x="8890" y="0"/>
                    <a:pt x="0" y="8890"/>
                    <a:pt x="0" y="19050"/>
                  </a:cubicBezTo>
                  <a:cubicBezTo>
                    <a:pt x="0" y="29210"/>
                    <a:pt x="8890" y="38100"/>
                    <a:pt x="19050" y="38100"/>
                  </a:cubicBezTo>
                  <a:cubicBezTo>
                    <a:pt x="29210" y="38100"/>
                    <a:pt x="38100" y="29210"/>
                    <a:pt x="38100" y="19050"/>
                  </a:cubicBezTo>
                  <a:cubicBezTo>
                    <a:pt x="38100" y="8890"/>
                    <a:pt x="29210" y="0"/>
                    <a:pt x="19050" y="0"/>
                  </a:cubicBezTo>
                  <a:lnTo>
                    <a:pt x="19050" y="0"/>
                  </a:lnTo>
                  <a:moveTo>
                    <a:pt x="19050" y="35560"/>
                  </a:moveTo>
                  <a:cubicBezTo>
                    <a:pt x="10160" y="35560"/>
                    <a:pt x="2540" y="27940"/>
                    <a:pt x="2540" y="19050"/>
                  </a:cubicBezTo>
                  <a:cubicBezTo>
                    <a:pt x="2540" y="10160"/>
                    <a:pt x="10160" y="2540"/>
                    <a:pt x="19050" y="2540"/>
                  </a:cubicBezTo>
                  <a:cubicBezTo>
                    <a:pt x="27940" y="2540"/>
                    <a:pt x="35560" y="10160"/>
                    <a:pt x="35560" y="19050"/>
                  </a:cubicBezTo>
                  <a:cubicBezTo>
                    <a:pt x="35560" y="27940"/>
                    <a:pt x="29210" y="34290"/>
                    <a:pt x="21590" y="35560"/>
                  </a:cubicBezTo>
                  <a:cubicBezTo>
                    <a:pt x="19050" y="35560"/>
                    <a:pt x="19050" y="35560"/>
                    <a:pt x="19050" y="3556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72CC64A-7CE1-4B0A-80DE-29DE51DA6057}"/>
                </a:ext>
              </a:extLst>
            </p:cNvPr>
            <p:cNvSpPr/>
            <p:nvPr/>
          </p:nvSpPr>
          <p:spPr>
            <a:xfrm>
              <a:off x="1440180" y="6530339"/>
              <a:ext cx="12700" cy="12700"/>
            </a:xfrm>
            <a:custGeom>
              <a:avLst/>
              <a:gdLst>
                <a:gd name="connsiteX0" fmla="*/ 16510 w 12700"/>
                <a:gd name="connsiteY0" fmla="*/ 5080 h 12700"/>
                <a:gd name="connsiteX1" fmla="*/ 10160 w 12700"/>
                <a:gd name="connsiteY1" fmla="*/ 0 h 12700"/>
                <a:gd name="connsiteX2" fmla="*/ 0 w 12700"/>
                <a:gd name="connsiteY2" fmla="*/ 0 h 12700"/>
                <a:gd name="connsiteX3" fmla="*/ 0 w 12700"/>
                <a:gd name="connsiteY3" fmla="*/ 17780 h 12700"/>
                <a:gd name="connsiteX4" fmla="*/ 3810 w 12700"/>
                <a:gd name="connsiteY4" fmla="*/ 17780 h 12700"/>
                <a:gd name="connsiteX5" fmla="*/ 3810 w 12700"/>
                <a:gd name="connsiteY5" fmla="*/ 10160 h 12700"/>
                <a:gd name="connsiteX6" fmla="*/ 7620 w 12700"/>
                <a:gd name="connsiteY6" fmla="*/ 10160 h 12700"/>
                <a:gd name="connsiteX7" fmla="*/ 12700 w 12700"/>
                <a:gd name="connsiteY7" fmla="*/ 17780 h 12700"/>
                <a:gd name="connsiteX8" fmla="*/ 17780 w 12700"/>
                <a:gd name="connsiteY8" fmla="*/ 17780 h 12700"/>
                <a:gd name="connsiteX9" fmla="*/ 12700 w 12700"/>
                <a:gd name="connsiteY9" fmla="*/ 10160 h 12700"/>
                <a:gd name="connsiteX10" fmla="*/ 16510 w 12700"/>
                <a:gd name="connsiteY10" fmla="*/ 5080 h 12700"/>
                <a:gd name="connsiteX11" fmla="*/ 16510 w 12700"/>
                <a:gd name="connsiteY11" fmla="*/ 5080 h 12700"/>
                <a:gd name="connsiteX12" fmla="*/ 8890 w 12700"/>
                <a:gd name="connsiteY12" fmla="*/ 6350 h 12700"/>
                <a:gd name="connsiteX13" fmla="*/ 3810 w 12700"/>
                <a:gd name="connsiteY13" fmla="*/ 6350 h 12700"/>
                <a:gd name="connsiteX14" fmla="*/ 3810 w 12700"/>
                <a:gd name="connsiteY14" fmla="*/ 2540 h 12700"/>
                <a:gd name="connsiteX15" fmla="*/ 8890 w 12700"/>
                <a:gd name="connsiteY15" fmla="*/ 2540 h 12700"/>
                <a:gd name="connsiteX16" fmla="*/ 12700 w 12700"/>
                <a:gd name="connsiteY16" fmla="*/ 3810 h 12700"/>
                <a:gd name="connsiteX17" fmla="*/ 8890 w 12700"/>
                <a:gd name="connsiteY17" fmla="*/ 6350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700" h="12700">
                  <a:moveTo>
                    <a:pt x="16510" y="5080"/>
                  </a:moveTo>
                  <a:cubicBezTo>
                    <a:pt x="16510" y="1270"/>
                    <a:pt x="13970" y="0"/>
                    <a:pt x="10160" y="0"/>
                  </a:cubicBezTo>
                  <a:lnTo>
                    <a:pt x="0" y="0"/>
                  </a:lnTo>
                  <a:lnTo>
                    <a:pt x="0" y="17780"/>
                  </a:lnTo>
                  <a:lnTo>
                    <a:pt x="3810" y="17780"/>
                  </a:lnTo>
                  <a:lnTo>
                    <a:pt x="3810" y="10160"/>
                  </a:lnTo>
                  <a:lnTo>
                    <a:pt x="7620" y="10160"/>
                  </a:lnTo>
                  <a:lnTo>
                    <a:pt x="12700" y="17780"/>
                  </a:lnTo>
                  <a:lnTo>
                    <a:pt x="17780" y="17780"/>
                  </a:lnTo>
                  <a:lnTo>
                    <a:pt x="12700" y="10160"/>
                  </a:lnTo>
                  <a:cubicBezTo>
                    <a:pt x="15240" y="8890"/>
                    <a:pt x="16510" y="7620"/>
                    <a:pt x="16510" y="5080"/>
                  </a:cubicBezTo>
                  <a:lnTo>
                    <a:pt x="16510" y="5080"/>
                  </a:lnTo>
                  <a:moveTo>
                    <a:pt x="8890" y="6350"/>
                  </a:moveTo>
                  <a:lnTo>
                    <a:pt x="3810" y="6350"/>
                  </a:lnTo>
                  <a:lnTo>
                    <a:pt x="3810" y="2540"/>
                  </a:lnTo>
                  <a:lnTo>
                    <a:pt x="8890" y="2540"/>
                  </a:lnTo>
                  <a:cubicBezTo>
                    <a:pt x="11430" y="2540"/>
                    <a:pt x="12700" y="2540"/>
                    <a:pt x="12700" y="3810"/>
                  </a:cubicBezTo>
                  <a:cubicBezTo>
                    <a:pt x="12700" y="6350"/>
                    <a:pt x="11430" y="6350"/>
                    <a:pt x="8890" y="635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022ECF4-5E5B-4BB0-AC77-D6DD786B8216}"/>
                </a:ext>
              </a:extLst>
            </p:cNvPr>
            <p:cNvSpPr/>
            <p:nvPr/>
          </p:nvSpPr>
          <p:spPr>
            <a:xfrm>
              <a:off x="445770" y="6605269"/>
              <a:ext cx="50800" cy="38100"/>
            </a:xfrm>
            <a:custGeom>
              <a:avLst/>
              <a:gdLst>
                <a:gd name="connsiteX0" fmla="*/ 24130 w 50800"/>
                <a:gd name="connsiteY0" fmla="*/ 6350 h 38100"/>
                <a:gd name="connsiteX1" fmla="*/ 15240 w 50800"/>
                <a:gd name="connsiteY1" fmla="*/ 26670 h 38100"/>
                <a:gd name="connsiteX2" fmla="*/ 33020 w 50800"/>
                <a:gd name="connsiteY2" fmla="*/ 26670 h 38100"/>
                <a:gd name="connsiteX3" fmla="*/ 2413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4130" y="6350"/>
                  </a:moveTo>
                  <a:lnTo>
                    <a:pt x="15240" y="26670"/>
                  </a:lnTo>
                  <a:lnTo>
                    <a:pt x="33020" y="26670"/>
                  </a:lnTo>
                  <a:lnTo>
                    <a:pt x="2413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8B91CE8-CBD5-4F02-BB81-F0A118AA154F}"/>
                </a:ext>
              </a:extLst>
            </p:cNvPr>
            <p:cNvSpPr/>
            <p:nvPr/>
          </p:nvSpPr>
          <p:spPr>
            <a:xfrm>
              <a:off x="524510" y="6605269"/>
              <a:ext cx="38100" cy="38100"/>
            </a:xfrm>
            <a:custGeom>
              <a:avLst/>
              <a:gdLst>
                <a:gd name="connsiteX0" fmla="*/ 17780 w 38100"/>
                <a:gd name="connsiteY0" fmla="*/ 6350 h 38100"/>
                <a:gd name="connsiteX1" fmla="*/ 0 w 38100"/>
                <a:gd name="connsiteY1" fmla="*/ 6350 h 38100"/>
                <a:gd name="connsiteX2" fmla="*/ 0 w 38100"/>
                <a:gd name="connsiteY2" fmla="*/ 0 h 38100"/>
                <a:gd name="connsiteX3" fmla="*/ 41910 w 38100"/>
                <a:gd name="connsiteY3" fmla="*/ 0 h 38100"/>
                <a:gd name="connsiteX4" fmla="*/ 41910 w 38100"/>
                <a:gd name="connsiteY4" fmla="*/ 6350 h 38100"/>
                <a:gd name="connsiteX5" fmla="*/ 24130 w 38100"/>
                <a:gd name="connsiteY5" fmla="*/ 6350 h 38100"/>
                <a:gd name="connsiteX6" fmla="*/ 24130 w 38100"/>
                <a:gd name="connsiteY6" fmla="*/ 46990 h 38100"/>
                <a:gd name="connsiteX7" fmla="*/ 17780 w 38100"/>
                <a:gd name="connsiteY7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" h="38100">
                  <a:moveTo>
                    <a:pt x="17780" y="6350"/>
                  </a:moveTo>
                  <a:lnTo>
                    <a:pt x="0" y="6350"/>
                  </a:lnTo>
                  <a:lnTo>
                    <a:pt x="0" y="0"/>
                  </a:lnTo>
                  <a:lnTo>
                    <a:pt x="41910" y="0"/>
                  </a:lnTo>
                  <a:lnTo>
                    <a:pt x="41910" y="6350"/>
                  </a:lnTo>
                  <a:lnTo>
                    <a:pt x="24130" y="6350"/>
                  </a:lnTo>
                  <a:lnTo>
                    <a:pt x="24130" y="46990"/>
                  </a:lnTo>
                  <a:lnTo>
                    <a:pt x="1778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8E1ADC1-3FBD-4342-A5BC-E970C5233D5A}"/>
                </a:ext>
              </a:extLst>
            </p:cNvPr>
            <p:cNvSpPr/>
            <p:nvPr/>
          </p:nvSpPr>
          <p:spPr>
            <a:xfrm>
              <a:off x="5753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6830 w 38100"/>
                <a:gd name="connsiteY1" fmla="*/ 0 h 38100"/>
                <a:gd name="connsiteX2" fmla="*/ 3683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6350 w 38100"/>
                <a:gd name="connsiteY7" fmla="*/ 25400 h 38100"/>
                <a:gd name="connsiteX8" fmla="*/ 6350 w 38100"/>
                <a:gd name="connsiteY8" fmla="*/ 40640 h 38100"/>
                <a:gd name="connsiteX9" fmla="*/ 38100 w 38100"/>
                <a:gd name="connsiteY9" fmla="*/ 40640 h 38100"/>
                <a:gd name="connsiteX10" fmla="*/ 3810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6830" y="0"/>
                  </a:lnTo>
                  <a:lnTo>
                    <a:pt x="36830" y="6350"/>
                  </a:lnTo>
                  <a:lnTo>
                    <a:pt x="6350" y="6350"/>
                  </a:lnTo>
                  <a:lnTo>
                    <a:pt x="635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6350" y="25400"/>
                  </a:lnTo>
                  <a:lnTo>
                    <a:pt x="6350" y="40640"/>
                  </a:lnTo>
                  <a:lnTo>
                    <a:pt x="38100" y="40640"/>
                  </a:lnTo>
                  <a:lnTo>
                    <a:pt x="38100" y="46990"/>
                  </a:lnTo>
                  <a:lnTo>
                    <a:pt x="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90170C-FEF1-45E6-B68E-D59F50B1C50B}"/>
                </a:ext>
              </a:extLst>
            </p:cNvPr>
            <p:cNvSpPr/>
            <p:nvPr/>
          </p:nvSpPr>
          <p:spPr>
            <a:xfrm>
              <a:off x="62484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CEF9E98-1D21-437D-82A4-6E0A40FC2F4E}"/>
                </a:ext>
              </a:extLst>
            </p:cNvPr>
            <p:cNvSpPr/>
            <p:nvPr/>
          </p:nvSpPr>
          <p:spPr>
            <a:xfrm>
              <a:off x="6769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8100 w 38100"/>
                <a:gd name="connsiteY1" fmla="*/ 0 h 38100"/>
                <a:gd name="connsiteX2" fmla="*/ 38100 w 38100"/>
                <a:gd name="connsiteY2" fmla="*/ 6350 h 38100"/>
                <a:gd name="connsiteX3" fmla="*/ 7620 w 38100"/>
                <a:gd name="connsiteY3" fmla="*/ 6350 h 38100"/>
                <a:gd name="connsiteX4" fmla="*/ 762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7620 w 38100"/>
                <a:gd name="connsiteY7" fmla="*/ 25400 h 38100"/>
                <a:gd name="connsiteX8" fmla="*/ 7620 w 38100"/>
                <a:gd name="connsiteY8" fmla="*/ 40640 h 38100"/>
                <a:gd name="connsiteX9" fmla="*/ 39370 w 38100"/>
                <a:gd name="connsiteY9" fmla="*/ 40640 h 38100"/>
                <a:gd name="connsiteX10" fmla="*/ 3937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8100" y="0"/>
                  </a:lnTo>
                  <a:lnTo>
                    <a:pt x="38100" y="6350"/>
                  </a:lnTo>
                  <a:lnTo>
                    <a:pt x="7620" y="6350"/>
                  </a:lnTo>
                  <a:lnTo>
                    <a:pt x="762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7620" y="25400"/>
                  </a:lnTo>
                  <a:lnTo>
                    <a:pt x="7620" y="40640"/>
                  </a:lnTo>
                  <a:lnTo>
                    <a:pt x="39370" y="40640"/>
                  </a:lnTo>
                  <a:lnTo>
                    <a:pt x="39370" y="46990"/>
                  </a:lnTo>
                  <a:lnTo>
                    <a:pt x="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35EE9F1-0ABA-4120-BEA1-638A8D9B89E7}"/>
                </a:ext>
              </a:extLst>
            </p:cNvPr>
            <p:cNvSpPr/>
            <p:nvPr/>
          </p:nvSpPr>
          <p:spPr>
            <a:xfrm>
              <a:off x="722630" y="6605269"/>
              <a:ext cx="38100" cy="38100"/>
            </a:xfrm>
            <a:custGeom>
              <a:avLst/>
              <a:gdLst>
                <a:gd name="connsiteX0" fmla="*/ 36830 w 38100"/>
                <a:gd name="connsiteY0" fmla="*/ 0 h 38100"/>
                <a:gd name="connsiteX1" fmla="*/ 45720 w 38100"/>
                <a:gd name="connsiteY1" fmla="*/ 0 h 38100"/>
                <a:gd name="connsiteX2" fmla="*/ 26670 w 38100"/>
                <a:gd name="connsiteY2" fmla="*/ 22860 h 38100"/>
                <a:gd name="connsiteX3" fmla="*/ 45720 w 38100"/>
                <a:gd name="connsiteY3" fmla="*/ 46990 h 38100"/>
                <a:gd name="connsiteX4" fmla="*/ 36830 w 38100"/>
                <a:gd name="connsiteY4" fmla="*/ 46990 h 38100"/>
                <a:gd name="connsiteX5" fmla="*/ 22860 w 38100"/>
                <a:gd name="connsiteY5" fmla="*/ 27940 h 38100"/>
                <a:gd name="connsiteX6" fmla="*/ 7620 w 38100"/>
                <a:gd name="connsiteY6" fmla="*/ 46990 h 38100"/>
                <a:gd name="connsiteX7" fmla="*/ 0 w 38100"/>
                <a:gd name="connsiteY7" fmla="*/ 46990 h 38100"/>
                <a:gd name="connsiteX8" fmla="*/ 17780 w 38100"/>
                <a:gd name="connsiteY8" fmla="*/ 22860 h 38100"/>
                <a:gd name="connsiteX9" fmla="*/ 0 w 38100"/>
                <a:gd name="connsiteY9" fmla="*/ 0 h 38100"/>
                <a:gd name="connsiteX10" fmla="*/ 8890 w 38100"/>
                <a:gd name="connsiteY10" fmla="*/ 0 h 38100"/>
                <a:gd name="connsiteX11" fmla="*/ 22860 w 38100"/>
                <a:gd name="connsiteY11" fmla="*/ 1778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36830" y="0"/>
                  </a:moveTo>
                  <a:lnTo>
                    <a:pt x="45720" y="0"/>
                  </a:lnTo>
                  <a:lnTo>
                    <a:pt x="26670" y="22860"/>
                  </a:lnTo>
                  <a:lnTo>
                    <a:pt x="45720" y="46990"/>
                  </a:lnTo>
                  <a:lnTo>
                    <a:pt x="36830" y="46990"/>
                  </a:lnTo>
                  <a:lnTo>
                    <a:pt x="22860" y="2794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17780" y="22860"/>
                  </a:lnTo>
                  <a:lnTo>
                    <a:pt x="0" y="0"/>
                  </a:lnTo>
                  <a:lnTo>
                    <a:pt x="8890" y="0"/>
                  </a:lnTo>
                  <a:lnTo>
                    <a:pt x="22860" y="1778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90107AB-CF97-4837-BAA4-091E31C7D0BB}"/>
                </a:ext>
              </a:extLst>
            </p:cNvPr>
            <p:cNvSpPr/>
            <p:nvPr/>
          </p:nvSpPr>
          <p:spPr>
            <a:xfrm>
              <a:off x="802640" y="6605269"/>
              <a:ext cx="38100" cy="38100"/>
            </a:xfrm>
            <a:custGeom>
              <a:avLst/>
              <a:gdLst>
                <a:gd name="connsiteX0" fmla="*/ 26670 w 38100"/>
                <a:gd name="connsiteY0" fmla="*/ 40640 h 38100"/>
                <a:gd name="connsiteX1" fmla="*/ 36830 w 38100"/>
                <a:gd name="connsiteY1" fmla="*/ 33020 h 38100"/>
                <a:gd name="connsiteX2" fmla="*/ 27940 w 38100"/>
                <a:gd name="connsiteY2" fmla="*/ 25400 h 38100"/>
                <a:gd name="connsiteX3" fmla="*/ 8890 w 38100"/>
                <a:gd name="connsiteY3" fmla="*/ 25400 h 38100"/>
                <a:gd name="connsiteX4" fmla="*/ 8890 w 38100"/>
                <a:gd name="connsiteY4" fmla="*/ 40640 h 38100"/>
                <a:gd name="connsiteX5" fmla="*/ 26670 w 38100"/>
                <a:gd name="connsiteY5" fmla="*/ 40640 h 38100"/>
                <a:gd name="connsiteX6" fmla="*/ 26670 w 38100"/>
                <a:gd name="connsiteY6" fmla="*/ 19050 h 38100"/>
                <a:gd name="connsiteX7" fmla="*/ 34290 w 38100"/>
                <a:gd name="connsiteY7" fmla="*/ 12700 h 38100"/>
                <a:gd name="connsiteX8" fmla="*/ 26670 w 38100"/>
                <a:gd name="connsiteY8" fmla="*/ 6350 h 38100"/>
                <a:gd name="connsiteX9" fmla="*/ 7620 w 38100"/>
                <a:gd name="connsiteY9" fmla="*/ 6350 h 38100"/>
                <a:gd name="connsiteX10" fmla="*/ 7620 w 38100"/>
                <a:gd name="connsiteY10" fmla="*/ 19050 h 38100"/>
                <a:gd name="connsiteX11" fmla="*/ 26670 w 38100"/>
                <a:gd name="connsiteY11" fmla="*/ 19050 h 38100"/>
                <a:gd name="connsiteX12" fmla="*/ 0 w 38100"/>
                <a:gd name="connsiteY12" fmla="*/ 0 h 38100"/>
                <a:gd name="connsiteX13" fmla="*/ 26670 w 38100"/>
                <a:gd name="connsiteY13" fmla="*/ 0 h 38100"/>
                <a:gd name="connsiteX14" fmla="*/ 40640 w 38100"/>
                <a:gd name="connsiteY14" fmla="*/ 11430 h 38100"/>
                <a:gd name="connsiteX15" fmla="*/ 34290 w 38100"/>
                <a:gd name="connsiteY15" fmla="*/ 21590 h 38100"/>
                <a:gd name="connsiteX16" fmla="*/ 34290 w 38100"/>
                <a:gd name="connsiteY16" fmla="*/ 21590 h 38100"/>
                <a:gd name="connsiteX17" fmla="*/ 43180 w 38100"/>
                <a:gd name="connsiteY17" fmla="*/ 33020 h 38100"/>
                <a:gd name="connsiteX18" fmla="*/ 29210 w 38100"/>
                <a:gd name="connsiteY18" fmla="*/ 46990 h 38100"/>
                <a:gd name="connsiteX19" fmla="*/ 27940 w 38100"/>
                <a:gd name="connsiteY19" fmla="*/ 46990 h 38100"/>
                <a:gd name="connsiteX20" fmla="*/ 0 w 38100"/>
                <a:gd name="connsiteY20" fmla="*/ 4699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40640"/>
                  </a:moveTo>
                  <a:cubicBezTo>
                    <a:pt x="34290" y="40640"/>
                    <a:pt x="36830" y="36830"/>
                    <a:pt x="36830" y="33020"/>
                  </a:cubicBezTo>
                  <a:cubicBezTo>
                    <a:pt x="36830" y="29210"/>
                    <a:pt x="34290" y="25400"/>
                    <a:pt x="27940" y="25400"/>
                  </a:cubicBezTo>
                  <a:lnTo>
                    <a:pt x="8890" y="25400"/>
                  </a:lnTo>
                  <a:lnTo>
                    <a:pt x="8890" y="40640"/>
                  </a:lnTo>
                  <a:lnTo>
                    <a:pt x="26670" y="40640"/>
                  </a:lnTo>
                  <a:close/>
                  <a:moveTo>
                    <a:pt x="26670" y="19050"/>
                  </a:moveTo>
                  <a:cubicBezTo>
                    <a:pt x="31750" y="19050"/>
                    <a:pt x="34290" y="16510"/>
                    <a:pt x="34290" y="12700"/>
                  </a:cubicBezTo>
                  <a:cubicBezTo>
                    <a:pt x="34290" y="8890"/>
                    <a:pt x="31750" y="6350"/>
                    <a:pt x="26670" y="6350"/>
                  </a:cubicBezTo>
                  <a:lnTo>
                    <a:pt x="7620" y="6350"/>
                  </a:lnTo>
                  <a:lnTo>
                    <a:pt x="7620" y="19050"/>
                  </a:lnTo>
                  <a:lnTo>
                    <a:pt x="26670" y="19050"/>
                  </a:lnTo>
                  <a:close/>
                  <a:moveTo>
                    <a:pt x="0" y="0"/>
                  </a:moveTo>
                  <a:lnTo>
                    <a:pt x="26670" y="0"/>
                  </a:lnTo>
                  <a:cubicBezTo>
                    <a:pt x="36830" y="0"/>
                    <a:pt x="40640" y="3810"/>
                    <a:pt x="40640" y="11430"/>
                  </a:cubicBezTo>
                  <a:cubicBezTo>
                    <a:pt x="40640" y="16510"/>
                    <a:pt x="38100" y="20320"/>
                    <a:pt x="34290" y="21590"/>
                  </a:cubicBezTo>
                  <a:lnTo>
                    <a:pt x="34290" y="21590"/>
                  </a:lnTo>
                  <a:cubicBezTo>
                    <a:pt x="39370" y="22860"/>
                    <a:pt x="43180" y="27940"/>
                    <a:pt x="43180" y="33020"/>
                  </a:cubicBezTo>
                  <a:cubicBezTo>
                    <a:pt x="43180" y="40640"/>
                    <a:pt x="36830" y="46990"/>
                    <a:pt x="29210" y="46990"/>
                  </a:cubicBezTo>
                  <a:lnTo>
                    <a:pt x="27940" y="46990"/>
                  </a:ln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8F92A2F-ECFE-4655-A1E6-99F239E3C705}"/>
                </a:ext>
              </a:extLst>
            </p:cNvPr>
            <p:cNvSpPr/>
            <p:nvPr/>
          </p:nvSpPr>
          <p:spPr>
            <a:xfrm>
              <a:off x="85725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127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12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B170154-7D9E-4055-AB69-3837D6BBEC39}"/>
                </a:ext>
              </a:extLst>
            </p:cNvPr>
            <p:cNvSpPr/>
            <p:nvPr/>
          </p:nvSpPr>
          <p:spPr>
            <a:xfrm>
              <a:off x="905510" y="6605269"/>
              <a:ext cx="50800" cy="38100"/>
            </a:xfrm>
            <a:custGeom>
              <a:avLst/>
              <a:gdLst>
                <a:gd name="connsiteX0" fmla="*/ 25400 w 50800"/>
                <a:gd name="connsiteY0" fmla="*/ 6350 h 38100"/>
                <a:gd name="connsiteX1" fmla="*/ 16510 w 50800"/>
                <a:gd name="connsiteY1" fmla="*/ 26670 h 38100"/>
                <a:gd name="connsiteX2" fmla="*/ 34290 w 50800"/>
                <a:gd name="connsiteY2" fmla="*/ 26670 h 38100"/>
                <a:gd name="connsiteX3" fmla="*/ 2540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5400" y="6350"/>
                  </a:moveTo>
                  <a:lnTo>
                    <a:pt x="16510" y="26670"/>
                  </a:lnTo>
                  <a:lnTo>
                    <a:pt x="34290" y="26670"/>
                  </a:lnTo>
                  <a:lnTo>
                    <a:pt x="2540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E082DCE-5BEC-4A08-ABBF-F42BAC562539}"/>
                </a:ext>
              </a:extLst>
            </p:cNvPr>
            <p:cNvSpPr/>
            <p:nvPr/>
          </p:nvSpPr>
          <p:spPr>
            <a:xfrm>
              <a:off x="962660" y="6605269"/>
              <a:ext cx="38100" cy="38100"/>
            </a:xfrm>
            <a:custGeom>
              <a:avLst/>
              <a:gdLst>
                <a:gd name="connsiteX0" fmla="*/ 6350 w 38100"/>
                <a:gd name="connsiteY0" fmla="*/ 8890 h 38100"/>
                <a:gd name="connsiteX1" fmla="*/ 6350 w 38100"/>
                <a:gd name="connsiteY1" fmla="*/ 8890 h 38100"/>
                <a:gd name="connsiteX2" fmla="*/ 6350 w 38100"/>
                <a:gd name="connsiteY2" fmla="*/ 46990 h 38100"/>
                <a:gd name="connsiteX3" fmla="*/ 0 w 38100"/>
                <a:gd name="connsiteY3" fmla="*/ 46990 h 38100"/>
                <a:gd name="connsiteX4" fmla="*/ 0 w 38100"/>
                <a:gd name="connsiteY4" fmla="*/ 0 h 38100"/>
                <a:gd name="connsiteX5" fmla="*/ 7620 w 38100"/>
                <a:gd name="connsiteY5" fmla="*/ 0 h 38100"/>
                <a:gd name="connsiteX6" fmla="*/ 38100 w 38100"/>
                <a:gd name="connsiteY6" fmla="*/ 36830 h 38100"/>
                <a:gd name="connsiteX7" fmla="*/ 38100 w 38100"/>
                <a:gd name="connsiteY7" fmla="*/ 36830 h 38100"/>
                <a:gd name="connsiteX8" fmla="*/ 38100 w 38100"/>
                <a:gd name="connsiteY8" fmla="*/ 0 h 38100"/>
                <a:gd name="connsiteX9" fmla="*/ 45720 w 38100"/>
                <a:gd name="connsiteY9" fmla="*/ 0 h 38100"/>
                <a:gd name="connsiteX10" fmla="*/ 45720 w 38100"/>
                <a:gd name="connsiteY10" fmla="*/ 46990 h 38100"/>
                <a:gd name="connsiteX11" fmla="*/ 3683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6350" y="8890"/>
                  </a:moveTo>
                  <a:lnTo>
                    <a:pt x="6350" y="8890"/>
                  </a:lnTo>
                  <a:lnTo>
                    <a:pt x="6350" y="46990"/>
                  </a:lnTo>
                  <a:lnTo>
                    <a:pt x="0" y="46990"/>
                  </a:lnTo>
                  <a:lnTo>
                    <a:pt x="0" y="0"/>
                  </a:lnTo>
                  <a:lnTo>
                    <a:pt x="7620" y="0"/>
                  </a:lnTo>
                  <a:lnTo>
                    <a:pt x="38100" y="36830"/>
                  </a:lnTo>
                  <a:lnTo>
                    <a:pt x="38100" y="36830"/>
                  </a:lnTo>
                  <a:lnTo>
                    <a:pt x="38100" y="0"/>
                  </a:lnTo>
                  <a:lnTo>
                    <a:pt x="45720" y="0"/>
                  </a:lnTo>
                  <a:lnTo>
                    <a:pt x="45720" y="46990"/>
                  </a:lnTo>
                  <a:lnTo>
                    <a:pt x="3683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AAFC28E-E76F-443B-9F54-591026A96DD2}"/>
                </a:ext>
              </a:extLst>
            </p:cNvPr>
            <p:cNvSpPr/>
            <p:nvPr/>
          </p:nvSpPr>
          <p:spPr>
            <a:xfrm>
              <a:off x="1022350" y="6605269"/>
              <a:ext cx="38100" cy="38100"/>
            </a:xfrm>
            <a:custGeom>
              <a:avLst/>
              <a:gdLst>
                <a:gd name="connsiteX0" fmla="*/ 24130 w 38100"/>
                <a:gd name="connsiteY0" fmla="*/ 40640 h 38100"/>
                <a:gd name="connsiteX1" fmla="*/ 38100 w 38100"/>
                <a:gd name="connsiteY1" fmla="*/ 22860 h 38100"/>
                <a:gd name="connsiteX2" fmla="*/ 2286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40640 h 38100"/>
                <a:gd name="connsiteX5" fmla="*/ 24130 w 38100"/>
                <a:gd name="connsiteY5" fmla="*/ 40640 h 38100"/>
                <a:gd name="connsiteX6" fmla="*/ 0 w 38100"/>
                <a:gd name="connsiteY6" fmla="*/ 0 h 38100"/>
                <a:gd name="connsiteX7" fmla="*/ 24130 w 38100"/>
                <a:gd name="connsiteY7" fmla="*/ 0 h 38100"/>
                <a:gd name="connsiteX8" fmla="*/ 44450 w 38100"/>
                <a:gd name="connsiteY8" fmla="*/ 22860 h 38100"/>
                <a:gd name="connsiteX9" fmla="*/ 24130 w 38100"/>
                <a:gd name="connsiteY9" fmla="*/ 46990 h 38100"/>
                <a:gd name="connsiteX10" fmla="*/ 0 w 38100"/>
                <a:gd name="connsiteY10" fmla="*/ 46990 h 38100"/>
                <a:gd name="connsiteX11" fmla="*/ 0 w 38100"/>
                <a:gd name="connsiteY1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24130" y="40640"/>
                  </a:moveTo>
                  <a:cubicBezTo>
                    <a:pt x="35560" y="40640"/>
                    <a:pt x="38100" y="31750"/>
                    <a:pt x="38100" y="22860"/>
                  </a:cubicBezTo>
                  <a:cubicBezTo>
                    <a:pt x="38100" y="13970"/>
                    <a:pt x="35560" y="6350"/>
                    <a:pt x="22860" y="6350"/>
                  </a:cubicBezTo>
                  <a:lnTo>
                    <a:pt x="6350" y="6350"/>
                  </a:lnTo>
                  <a:lnTo>
                    <a:pt x="6350" y="40640"/>
                  </a:lnTo>
                  <a:lnTo>
                    <a:pt x="24130" y="40640"/>
                  </a:lnTo>
                  <a:close/>
                  <a:moveTo>
                    <a:pt x="0" y="0"/>
                  </a:moveTo>
                  <a:lnTo>
                    <a:pt x="24130" y="0"/>
                  </a:lnTo>
                  <a:cubicBezTo>
                    <a:pt x="38100" y="0"/>
                    <a:pt x="44450" y="8890"/>
                    <a:pt x="44450" y="22860"/>
                  </a:cubicBezTo>
                  <a:cubicBezTo>
                    <a:pt x="44450" y="36830"/>
                    <a:pt x="38100" y="46990"/>
                    <a:pt x="24130" y="46990"/>
                  </a:cubicBez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436C2CF2-3450-4105-B197-F5726ABD44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41550" y="3644900"/>
            <a:ext cx="6430963" cy="1314450"/>
          </a:xfrm>
        </p:spPr>
        <p:txBody>
          <a:bodyPr>
            <a:norm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Slide Number Placeholder 5">
            <a:extLst>
              <a:ext uri="{FF2B5EF4-FFF2-40B4-BE49-F238E27FC236}">
                <a16:creationId xmlns:a16="http://schemas.microsoft.com/office/drawing/2014/main" id="{DF584902-B4AB-4BAA-BE27-D520994859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9640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43" name="Picture 42" descr="A close up of a sign&#10;&#10;Description automatically generated">
            <a:extLst>
              <a:ext uri="{FF2B5EF4-FFF2-40B4-BE49-F238E27FC236}">
                <a16:creationId xmlns:a16="http://schemas.microsoft.com/office/drawing/2014/main" id="{FF823807-2837-4957-8CE0-FD2F9EF18E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4772" y="6363046"/>
            <a:ext cx="1050007" cy="217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706714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 Revers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52B496D-CF03-42EB-8F77-73346B92C9DF}"/>
              </a:ext>
            </a:extLst>
          </p:cNvPr>
          <p:cNvSpPr/>
          <p:nvPr userDrawn="1"/>
        </p:nvSpPr>
        <p:spPr>
          <a:xfrm>
            <a:off x="1709190" y="0"/>
            <a:ext cx="10482810" cy="685800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C372AEC-7234-4B28-9629-F5A92BE6A4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1419" y="775970"/>
            <a:ext cx="6430886" cy="2913380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Divider Slide Text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5D50DB9-337D-4250-BC37-6023FDB0A4CD}"/>
              </a:ext>
            </a:extLst>
          </p:cNvPr>
          <p:cNvGrpSpPr/>
          <p:nvPr userDrawn="1"/>
        </p:nvGrpSpPr>
        <p:grpSpPr>
          <a:xfrm>
            <a:off x="329368" y="297898"/>
            <a:ext cx="1037754" cy="375165"/>
            <a:chOff x="430366" y="6268204"/>
            <a:chExt cx="1037754" cy="375165"/>
          </a:xfrm>
          <a:solidFill>
            <a:schemeClr val="accent1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22ADE465-1D10-401B-A934-DA3B9EB7D2B1}"/>
                </a:ext>
              </a:extLst>
            </p:cNvPr>
            <p:cNvSpPr/>
            <p:nvPr/>
          </p:nvSpPr>
          <p:spPr>
            <a:xfrm>
              <a:off x="430366" y="6268204"/>
              <a:ext cx="241300" cy="292100"/>
            </a:xfrm>
            <a:custGeom>
              <a:avLst/>
              <a:gdLst>
                <a:gd name="connsiteX0" fmla="*/ 245274 w 241300"/>
                <a:gd name="connsiteY0" fmla="*/ 257055 h 292100"/>
                <a:gd name="connsiteX1" fmla="*/ 245274 w 241300"/>
                <a:gd name="connsiteY1" fmla="*/ 88145 h 292100"/>
                <a:gd name="connsiteX2" fmla="*/ 156374 w 241300"/>
                <a:gd name="connsiteY2" fmla="*/ 179585 h 292100"/>
                <a:gd name="connsiteX3" fmla="*/ 179234 w 241300"/>
                <a:gd name="connsiteY3" fmla="*/ 206255 h 292100"/>
                <a:gd name="connsiteX4" fmla="*/ 144944 w 241300"/>
                <a:gd name="connsiteY4" fmla="*/ 226575 h 292100"/>
                <a:gd name="connsiteX5" fmla="*/ 64934 w 241300"/>
                <a:gd name="connsiteY5" fmla="*/ 146565 h 292100"/>
                <a:gd name="connsiteX6" fmla="*/ 144944 w 241300"/>
                <a:gd name="connsiteY6" fmla="*/ 66555 h 292100"/>
                <a:gd name="connsiteX7" fmla="*/ 183044 w 241300"/>
                <a:gd name="connsiteY7" fmla="*/ 76715 h 292100"/>
                <a:gd name="connsiteX8" fmla="*/ 231304 w 241300"/>
                <a:gd name="connsiteY8" fmla="*/ 27185 h 292100"/>
                <a:gd name="connsiteX9" fmla="*/ 26834 w 241300"/>
                <a:gd name="connsiteY9" fmla="*/ 62745 h 292100"/>
                <a:gd name="connsiteX10" fmla="*/ 62394 w 241300"/>
                <a:gd name="connsiteY10" fmla="*/ 267215 h 292100"/>
                <a:gd name="connsiteX11" fmla="*/ 245274 w 241300"/>
                <a:gd name="connsiteY11" fmla="*/ 257055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300" h="292100">
                  <a:moveTo>
                    <a:pt x="245274" y="257055"/>
                  </a:moveTo>
                  <a:lnTo>
                    <a:pt x="245274" y="88145"/>
                  </a:lnTo>
                  <a:lnTo>
                    <a:pt x="156374" y="179585"/>
                  </a:lnTo>
                  <a:cubicBezTo>
                    <a:pt x="156374" y="179585"/>
                    <a:pt x="179234" y="178315"/>
                    <a:pt x="179234" y="206255"/>
                  </a:cubicBezTo>
                  <a:cubicBezTo>
                    <a:pt x="179234" y="206255"/>
                    <a:pt x="177964" y="226575"/>
                    <a:pt x="144944" y="226575"/>
                  </a:cubicBezTo>
                  <a:cubicBezTo>
                    <a:pt x="100494" y="226575"/>
                    <a:pt x="64934" y="189745"/>
                    <a:pt x="64934" y="146565"/>
                  </a:cubicBezTo>
                  <a:cubicBezTo>
                    <a:pt x="64934" y="103385"/>
                    <a:pt x="101764" y="66555"/>
                    <a:pt x="144944" y="66555"/>
                  </a:cubicBezTo>
                  <a:cubicBezTo>
                    <a:pt x="157644" y="66555"/>
                    <a:pt x="170344" y="70365"/>
                    <a:pt x="183044" y="76715"/>
                  </a:cubicBezTo>
                  <a:lnTo>
                    <a:pt x="231304" y="27185"/>
                  </a:lnTo>
                  <a:cubicBezTo>
                    <a:pt x="166534" y="-19805"/>
                    <a:pt x="73824" y="-4565"/>
                    <a:pt x="26834" y="62745"/>
                  </a:cubicBezTo>
                  <a:cubicBezTo>
                    <a:pt x="-20156" y="128785"/>
                    <a:pt x="-3646" y="220225"/>
                    <a:pt x="62394" y="267215"/>
                  </a:cubicBezTo>
                  <a:cubicBezTo>
                    <a:pt x="118274" y="306585"/>
                    <a:pt x="194474" y="302775"/>
                    <a:pt x="245274" y="257055"/>
                  </a:cubicBezTo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D6923C7-4C33-4E33-8E76-710B1E2F94AA}"/>
                </a:ext>
              </a:extLst>
            </p:cNvPr>
            <p:cNvSpPr/>
            <p:nvPr/>
          </p:nvSpPr>
          <p:spPr>
            <a:xfrm>
              <a:off x="689628" y="6344937"/>
              <a:ext cx="419100" cy="203200"/>
            </a:xfrm>
            <a:custGeom>
              <a:avLst/>
              <a:gdLst>
                <a:gd name="connsiteX0" fmla="*/ 314942 w 419100"/>
                <a:gd name="connsiteY0" fmla="*/ 2522 h 203200"/>
                <a:gd name="connsiteX1" fmla="*/ 314942 w 419100"/>
                <a:gd name="connsiteY1" fmla="*/ 2522 h 203200"/>
                <a:gd name="connsiteX2" fmla="*/ 210802 w 419100"/>
                <a:gd name="connsiteY2" fmla="*/ 90152 h 203200"/>
                <a:gd name="connsiteX3" fmla="*/ 210802 w 419100"/>
                <a:gd name="connsiteY3" fmla="*/ 90152 h 203200"/>
                <a:gd name="connsiteX4" fmla="*/ 90152 w 419100"/>
                <a:gd name="connsiteY4" fmla="*/ 1252 h 203200"/>
                <a:gd name="connsiteX5" fmla="*/ 1252 w 419100"/>
                <a:gd name="connsiteY5" fmla="*/ 121902 h 203200"/>
                <a:gd name="connsiteX6" fmla="*/ 106662 w 419100"/>
                <a:gd name="connsiteY6" fmla="*/ 212072 h 203200"/>
                <a:gd name="connsiteX7" fmla="*/ 128252 w 419100"/>
                <a:gd name="connsiteY7" fmla="*/ 212072 h 203200"/>
                <a:gd name="connsiteX8" fmla="*/ 274302 w 419100"/>
                <a:gd name="connsiteY8" fmla="*/ 212072 h 203200"/>
                <a:gd name="connsiteX9" fmla="*/ 274302 w 419100"/>
                <a:gd name="connsiteY9" fmla="*/ 106662 h 203200"/>
                <a:gd name="connsiteX10" fmla="*/ 318752 w 419100"/>
                <a:gd name="connsiteY10" fmla="*/ 66022 h 203200"/>
                <a:gd name="connsiteX11" fmla="*/ 359392 w 419100"/>
                <a:gd name="connsiteY11" fmla="*/ 106662 h 203200"/>
                <a:gd name="connsiteX12" fmla="*/ 359392 w 419100"/>
                <a:gd name="connsiteY12" fmla="*/ 212072 h 203200"/>
                <a:gd name="connsiteX13" fmla="*/ 422892 w 419100"/>
                <a:gd name="connsiteY13" fmla="*/ 212072 h 203200"/>
                <a:gd name="connsiteX14" fmla="*/ 422892 w 419100"/>
                <a:gd name="connsiteY14" fmla="*/ 106662 h 203200"/>
                <a:gd name="connsiteX15" fmla="*/ 314942 w 419100"/>
                <a:gd name="connsiteY15" fmla="*/ 2522 h 203200"/>
                <a:gd name="connsiteX16" fmla="*/ 77452 w 419100"/>
                <a:gd name="connsiteY16" fmla="*/ 138412 h 203200"/>
                <a:gd name="connsiteX17" fmla="*/ 63482 w 419100"/>
                <a:gd name="connsiteY17" fmla="*/ 107932 h 203200"/>
                <a:gd name="connsiteX18" fmla="*/ 106662 w 419100"/>
                <a:gd name="connsiteY18" fmla="*/ 66022 h 203200"/>
                <a:gd name="connsiteX19" fmla="*/ 106662 w 419100"/>
                <a:gd name="connsiteY19" fmla="*/ 66022 h 203200"/>
                <a:gd name="connsiteX20" fmla="*/ 137142 w 419100"/>
                <a:gd name="connsiteY20" fmla="*/ 78722 h 203200"/>
                <a:gd name="connsiteX21" fmla="*/ 77452 w 419100"/>
                <a:gd name="connsiteY21" fmla="*/ 138412 h 203200"/>
                <a:gd name="connsiteX22" fmla="*/ 154922 w 419100"/>
                <a:gd name="connsiteY22" fmla="*/ 151112 h 203200"/>
                <a:gd name="connsiteX23" fmla="*/ 212072 w 419100"/>
                <a:gd name="connsiteY23" fmla="*/ 93962 h 203200"/>
                <a:gd name="connsiteX24" fmla="*/ 269222 w 419100"/>
                <a:gd name="connsiteY24" fmla="*/ 151112 h 203200"/>
                <a:gd name="connsiteX25" fmla="*/ 154922 w 419100"/>
                <a:gd name="connsiteY25" fmla="*/ 1511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19100" h="203200">
                  <a:moveTo>
                    <a:pt x="314942" y="2522"/>
                  </a:moveTo>
                  <a:lnTo>
                    <a:pt x="314942" y="2522"/>
                  </a:lnTo>
                  <a:cubicBezTo>
                    <a:pt x="262872" y="2522"/>
                    <a:pt x="218422" y="39352"/>
                    <a:pt x="210802" y="90152"/>
                  </a:cubicBez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74302" y="212072"/>
                  </a:lnTo>
                  <a:lnTo>
                    <a:pt x="274302" y="106662"/>
                  </a:lnTo>
                  <a:cubicBezTo>
                    <a:pt x="275572" y="82532"/>
                    <a:pt x="294622" y="64752"/>
                    <a:pt x="318752" y="66022"/>
                  </a:cubicBezTo>
                  <a:cubicBezTo>
                    <a:pt x="340342" y="67292"/>
                    <a:pt x="358122" y="85072"/>
                    <a:pt x="359392" y="106662"/>
                  </a:cubicBezTo>
                  <a:lnTo>
                    <a:pt x="359392" y="212072"/>
                  </a:lnTo>
                  <a:lnTo>
                    <a:pt x="422892" y="212072"/>
                  </a:lnTo>
                  <a:lnTo>
                    <a:pt x="422892" y="106662"/>
                  </a:lnTo>
                  <a:cubicBezTo>
                    <a:pt x="421622" y="49512"/>
                    <a:pt x="373362" y="2522"/>
                    <a:pt x="314942" y="2522"/>
                  </a:cubicBezTo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7932"/>
                  </a:cubicBezTo>
                  <a:cubicBezTo>
                    <a:pt x="63482" y="83802"/>
                    <a:pt x="82532" y="64752"/>
                    <a:pt x="106662" y="66022"/>
                  </a:cubicBezTo>
                  <a:lnTo>
                    <a:pt x="106662" y="66022"/>
                  </a:lnTo>
                  <a:cubicBezTo>
                    <a:pt x="118092" y="66022"/>
                    <a:pt x="128252" y="69832"/>
                    <a:pt x="137142" y="78722"/>
                  </a:cubicBezTo>
                  <a:lnTo>
                    <a:pt x="77452" y="138412"/>
                  </a:lnTo>
                  <a:close/>
                  <a:moveTo>
                    <a:pt x="154922" y="151112"/>
                  </a:moveTo>
                  <a:lnTo>
                    <a:pt x="212072" y="93962"/>
                  </a:lnTo>
                  <a:lnTo>
                    <a:pt x="269222" y="151112"/>
                  </a:lnTo>
                  <a:lnTo>
                    <a:pt x="154922" y="151112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BA8ADF1-EB37-487A-B018-B1DDFDDE0A10}"/>
                </a:ext>
              </a:extLst>
            </p:cNvPr>
            <p:cNvSpPr/>
            <p:nvPr/>
          </p:nvSpPr>
          <p:spPr>
            <a:xfrm>
              <a:off x="1104900" y="6278879"/>
              <a:ext cx="114300" cy="279400"/>
            </a:xfrm>
            <a:custGeom>
              <a:avLst/>
              <a:gdLst>
                <a:gd name="connsiteX0" fmla="*/ 114300 w 114300"/>
                <a:gd name="connsiteY0" fmla="*/ 57150 h 279400"/>
                <a:gd name="connsiteX1" fmla="*/ 0 w 114300"/>
                <a:gd name="connsiteY1" fmla="*/ 57150 h 279400"/>
                <a:gd name="connsiteX2" fmla="*/ 57150 w 114300"/>
                <a:gd name="connsiteY2" fmla="*/ 0 h 279400"/>
                <a:gd name="connsiteX3" fmla="*/ 114300 w 114300"/>
                <a:gd name="connsiteY3" fmla="*/ 57150 h 279400"/>
                <a:gd name="connsiteX4" fmla="*/ 88900 w 114300"/>
                <a:gd name="connsiteY4" fmla="*/ 78740 h 279400"/>
                <a:gd name="connsiteX5" fmla="*/ 25400 w 114300"/>
                <a:gd name="connsiteY5" fmla="*/ 78740 h 279400"/>
                <a:gd name="connsiteX6" fmla="*/ 25400 w 114300"/>
                <a:gd name="connsiteY6" fmla="*/ 279400 h 279400"/>
                <a:gd name="connsiteX7" fmla="*/ 88900 w 114300"/>
                <a:gd name="connsiteY7" fmla="*/ 279400 h 279400"/>
                <a:gd name="connsiteX8" fmla="*/ 88900 w 114300"/>
                <a:gd name="connsiteY8" fmla="*/ 7874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279400">
                  <a:moveTo>
                    <a:pt x="114300" y="57150"/>
                  </a:moveTo>
                  <a:lnTo>
                    <a:pt x="0" y="57150"/>
                  </a:lnTo>
                  <a:lnTo>
                    <a:pt x="57150" y="0"/>
                  </a:lnTo>
                  <a:lnTo>
                    <a:pt x="114300" y="57150"/>
                  </a:lnTo>
                  <a:close/>
                  <a:moveTo>
                    <a:pt x="88900" y="78740"/>
                  </a:moveTo>
                  <a:lnTo>
                    <a:pt x="25400" y="78740"/>
                  </a:lnTo>
                  <a:lnTo>
                    <a:pt x="25400" y="279400"/>
                  </a:lnTo>
                  <a:lnTo>
                    <a:pt x="88900" y="279400"/>
                  </a:lnTo>
                  <a:lnTo>
                    <a:pt x="88900" y="7874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77BDE3A-1E28-475C-8F49-4D0C3C74B4D0}"/>
                </a:ext>
              </a:extLst>
            </p:cNvPr>
            <p:cNvSpPr/>
            <p:nvPr/>
          </p:nvSpPr>
          <p:spPr>
            <a:xfrm>
              <a:off x="1207788" y="6344937"/>
              <a:ext cx="203200" cy="203200"/>
            </a:xfrm>
            <a:custGeom>
              <a:avLst/>
              <a:gdLst>
                <a:gd name="connsiteX0" fmla="*/ 212072 w 203200"/>
                <a:gd name="connsiteY0" fmla="*/ 93962 h 203200"/>
                <a:gd name="connsiteX1" fmla="*/ 210802 w 203200"/>
                <a:gd name="connsiteY1" fmla="*/ 90152 h 203200"/>
                <a:gd name="connsiteX2" fmla="*/ 210802 w 203200"/>
                <a:gd name="connsiteY2" fmla="*/ 90152 h 203200"/>
                <a:gd name="connsiteX3" fmla="*/ 90152 w 203200"/>
                <a:gd name="connsiteY3" fmla="*/ 1252 h 203200"/>
                <a:gd name="connsiteX4" fmla="*/ 1252 w 203200"/>
                <a:gd name="connsiteY4" fmla="*/ 121902 h 203200"/>
                <a:gd name="connsiteX5" fmla="*/ 106662 w 203200"/>
                <a:gd name="connsiteY5" fmla="*/ 212072 h 203200"/>
                <a:gd name="connsiteX6" fmla="*/ 128252 w 203200"/>
                <a:gd name="connsiteY6" fmla="*/ 212072 h 203200"/>
                <a:gd name="connsiteX7" fmla="*/ 212072 w 203200"/>
                <a:gd name="connsiteY7" fmla="*/ 212072 h 203200"/>
                <a:gd name="connsiteX8" fmla="*/ 212072 w 203200"/>
                <a:gd name="connsiteY8" fmla="*/ 149842 h 203200"/>
                <a:gd name="connsiteX9" fmla="*/ 154922 w 203200"/>
                <a:gd name="connsiteY9" fmla="*/ 149842 h 203200"/>
                <a:gd name="connsiteX10" fmla="*/ 212072 w 203200"/>
                <a:gd name="connsiteY10" fmla="*/ 93962 h 203200"/>
                <a:gd name="connsiteX11" fmla="*/ 77452 w 203200"/>
                <a:gd name="connsiteY11" fmla="*/ 138412 h 203200"/>
                <a:gd name="connsiteX12" fmla="*/ 63482 w 203200"/>
                <a:gd name="connsiteY12" fmla="*/ 106662 h 203200"/>
                <a:gd name="connsiteX13" fmla="*/ 106662 w 203200"/>
                <a:gd name="connsiteY13" fmla="*/ 64752 h 203200"/>
                <a:gd name="connsiteX14" fmla="*/ 106662 w 203200"/>
                <a:gd name="connsiteY14" fmla="*/ 64752 h 203200"/>
                <a:gd name="connsiteX15" fmla="*/ 137142 w 203200"/>
                <a:gd name="connsiteY15" fmla="*/ 77452 h 203200"/>
                <a:gd name="connsiteX16" fmla="*/ 77452 w 203200"/>
                <a:gd name="connsiteY16" fmla="*/ 1384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200" h="203200">
                  <a:moveTo>
                    <a:pt x="212072" y="93962"/>
                  </a:moveTo>
                  <a:lnTo>
                    <a:pt x="210802" y="90152"/>
                  </a:ln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12072" y="212072"/>
                  </a:lnTo>
                  <a:lnTo>
                    <a:pt x="212072" y="149842"/>
                  </a:lnTo>
                  <a:lnTo>
                    <a:pt x="154922" y="149842"/>
                  </a:lnTo>
                  <a:lnTo>
                    <a:pt x="212072" y="93962"/>
                  </a:lnTo>
                  <a:close/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6662"/>
                  </a:cubicBezTo>
                  <a:cubicBezTo>
                    <a:pt x="63482" y="82532"/>
                    <a:pt x="82532" y="63482"/>
                    <a:pt x="106662" y="64752"/>
                  </a:cubicBezTo>
                  <a:lnTo>
                    <a:pt x="106662" y="64752"/>
                  </a:lnTo>
                  <a:cubicBezTo>
                    <a:pt x="118092" y="64752"/>
                    <a:pt x="128252" y="68562"/>
                    <a:pt x="137142" y="77452"/>
                  </a:cubicBezTo>
                  <a:lnTo>
                    <a:pt x="77452" y="138412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8C69EDC-D8A1-4B7D-B422-FE8A31E7F598}"/>
                </a:ext>
              </a:extLst>
            </p:cNvPr>
            <p:cNvSpPr/>
            <p:nvPr/>
          </p:nvSpPr>
          <p:spPr>
            <a:xfrm>
              <a:off x="1430020" y="6518909"/>
              <a:ext cx="38100" cy="38100"/>
            </a:xfrm>
            <a:custGeom>
              <a:avLst/>
              <a:gdLst>
                <a:gd name="connsiteX0" fmla="*/ 19050 w 38100"/>
                <a:gd name="connsiteY0" fmla="*/ 0 h 38100"/>
                <a:gd name="connsiteX1" fmla="*/ 0 w 38100"/>
                <a:gd name="connsiteY1" fmla="*/ 19050 h 38100"/>
                <a:gd name="connsiteX2" fmla="*/ 19050 w 38100"/>
                <a:gd name="connsiteY2" fmla="*/ 38100 h 38100"/>
                <a:gd name="connsiteX3" fmla="*/ 38100 w 38100"/>
                <a:gd name="connsiteY3" fmla="*/ 19050 h 38100"/>
                <a:gd name="connsiteX4" fmla="*/ 19050 w 38100"/>
                <a:gd name="connsiteY4" fmla="*/ 0 h 38100"/>
                <a:gd name="connsiteX5" fmla="*/ 19050 w 38100"/>
                <a:gd name="connsiteY5" fmla="*/ 0 h 38100"/>
                <a:gd name="connsiteX6" fmla="*/ 19050 w 38100"/>
                <a:gd name="connsiteY6" fmla="*/ 35560 h 38100"/>
                <a:gd name="connsiteX7" fmla="*/ 2540 w 38100"/>
                <a:gd name="connsiteY7" fmla="*/ 19050 h 38100"/>
                <a:gd name="connsiteX8" fmla="*/ 19050 w 38100"/>
                <a:gd name="connsiteY8" fmla="*/ 2540 h 38100"/>
                <a:gd name="connsiteX9" fmla="*/ 35560 w 38100"/>
                <a:gd name="connsiteY9" fmla="*/ 19050 h 38100"/>
                <a:gd name="connsiteX10" fmla="*/ 21590 w 38100"/>
                <a:gd name="connsiteY10" fmla="*/ 35560 h 38100"/>
                <a:gd name="connsiteX11" fmla="*/ 19050 w 38100"/>
                <a:gd name="connsiteY11" fmla="*/ 3556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19050" y="0"/>
                  </a:moveTo>
                  <a:cubicBezTo>
                    <a:pt x="8890" y="0"/>
                    <a:pt x="0" y="8890"/>
                    <a:pt x="0" y="19050"/>
                  </a:cubicBezTo>
                  <a:cubicBezTo>
                    <a:pt x="0" y="29210"/>
                    <a:pt x="8890" y="38100"/>
                    <a:pt x="19050" y="38100"/>
                  </a:cubicBezTo>
                  <a:cubicBezTo>
                    <a:pt x="29210" y="38100"/>
                    <a:pt x="38100" y="29210"/>
                    <a:pt x="38100" y="19050"/>
                  </a:cubicBezTo>
                  <a:cubicBezTo>
                    <a:pt x="38100" y="8890"/>
                    <a:pt x="29210" y="0"/>
                    <a:pt x="19050" y="0"/>
                  </a:cubicBezTo>
                  <a:lnTo>
                    <a:pt x="19050" y="0"/>
                  </a:lnTo>
                  <a:moveTo>
                    <a:pt x="19050" y="35560"/>
                  </a:moveTo>
                  <a:cubicBezTo>
                    <a:pt x="10160" y="35560"/>
                    <a:pt x="2540" y="27940"/>
                    <a:pt x="2540" y="19050"/>
                  </a:cubicBezTo>
                  <a:cubicBezTo>
                    <a:pt x="2540" y="10160"/>
                    <a:pt x="10160" y="2540"/>
                    <a:pt x="19050" y="2540"/>
                  </a:cubicBezTo>
                  <a:cubicBezTo>
                    <a:pt x="27940" y="2540"/>
                    <a:pt x="35560" y="10160"/>
                    <a:pt x="35560" y="19050"/>
                  </a:cubicBezTo>
                  <a:cubicBezTo>
                    <a:pt x="35560" y="27940"/>
                    <a:pt x="29210" y="34290"/>
                    <a:pt x="21590" y="35560"/>
                  </a:cubicBezTo>
                  <a:cubicBezTo>
                    <a:pt x="19050" y="35560"/>
                    <a:pt x="19050" y="35560"/>
                    <a:pt x="19050" y="35560"/>
                  </a:cubicBezTo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ECC0758-9A66-4AF1-BCC0-35C9FC4E255D}"/>
                </a:ext>
              </a:extLst>
            </p:cNvPr>
            <p:cNvSpPr/>
            <p:nvPr/>
          </p:nvSpPr>
          <p:spPr>
            <a:xfrm>
              <a:off x="1440180" y="6530339"/>
              <a:ext cx="12700" cy="12700"/>
            </a:xfrm>
            <a:custGeom>
              <a:avLst/>
              <a:gdLst>
                <a:gd name="connsiteX0" fmla="*/ 16510 w 12700"/>
                <a:gd name="connsiteY0" fmla="*/ 5080 h 12700"/>
                <a:gd name="connsiteX1" fmla="*/ 10160 w 12700"/>
                <a:gd name="connsiteY1" fmla="*/ 0 h 12700"/>
                <a:gd name="connsiteX2" fmla="*/ 0 w 12700"/>
                <a:gd name="connsiteY2" fmla="*/ 0 h 12700"/>
                <a:gd name="connsiteX3" fmla="*/ 0 w 12700"/>
                <a:gd name="connsiteY3" fmla="*/ 17780 h 12700"/>
                <a:gd name="connsiteX4" fmla="*/ 3810 w 12700"/>
                <a:gd name="connsiteY4" fmla="*/ 17780 h 12700"/>
                <a:gd name="connsiteX5" fmla="*/ 3810 w 12700"/>
                <a:gd name="connsiteY5" fmla="*/ 10160 h 12700"/>
                <a:gd name="connsiteX6" fmla="*/ 7620 w 12700"/>
                <a:gd name="connsiteY6" fmla="*/ 10160 h 12700"/>
                <a:gd name="connsiteX7" fmla="*/ 12700 w 12700"/>
                <a:gd name="connsiteY7" fmla="*/ 17780 h 12700"/>
                <a:gd name="connsiteX8" fmla="*/ 17780 w 12700"/>
                <a:gd name="connsiteY8" fmla="*/ 17780 h 12700"/>
                <a:gd name="connsiteX9" fmla="*/ 12700 w 12700"/>
                <a:gd name="connsiteY9" fmla="*/ 10160 h 12700"/>
                <a:gd name="connsiteX10" fmla="*/ 16510 w 12700"/>
                <a:gd name="connsiteY10" fmla="*/ 5080 h 12700"/>
                <a:gd name="connsiteX11" fmla="*/ 16510 w 12700"/>
                <a:gd name="connsiteY11" fmla="*/ 5080 h 12700"/>
                <a:gd name="connsiteX12" fmla="*/ 8890 w 12700"/>
                <a:gd name="connsiteY12" fmla="*/ 6350 h 12700"/>
                <a:gd name="connsiteX13" fmla="*/ 3810 w 12700"/>
                <a:gd name="connsiteY13" fmla="*/ 6350 h 12700"/>
                <a:gd name="connsiteX14" fmla="*/ 3810 w 12700"/>
                <a:gd name="connsiteY14" fmla="*/ 2540 h 12700"/>
                <a:gd name="connsiteX15" fmla="*/ 8890 w 12700"/>
                <a:gd name="connsiteY15" fmla="*/ 2540 h 12700"/>
                <a:gd name="connsiteX16" fmla="*/ 12700 w 12700"/>
                <a:gd name="connsiteY16" fmla="*/ 3810 h 12700"/>
                <a:gd name="connsiteX17" fmla="*/ 8890 w 12700"/>
                <a:gd name="connsiteY17" fmla="*/ 6350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700" h="12700">
                  <a:moveTo>
                    <a:pt x="16510" y="5080"/>
                  </a:moveTo>
                  <a:cubicBezTo>
                    <a:pt x="16510" y="1270"/>
                    <a:pt x="13970" y="0"/>
                    <a:pt x="10160" y="0"/>
                  </a:cubicBezTo>
                  <a:lnTo>
                    <a:pt x="0" y="0"/>
                  </a:lnTo>
                  <a:lnTo>
                    <a:pt x="0" y="17780"/>
                  </a:lnTo>
                  <a:lnTo>
                    <a:pt x="3810" y="17780"/>
                  </a:lnTo>
                  <a:lnTo>
                    <a:pt x="3810" y="10160"/>
                  </a:lnTo>
                  <a:lnTo>
                    <a:pt x="7620" y="10160"/>
                  </a:lnTo>
                  <a:lnTo>
                    <a:pt x="12700" y="17780"/>
                  </a:lnTo>
                  <a:lnTo>
                    <a:pt x="17780" y="17780"/>
                  </a:lnTo>
                  <a:lnTo>
                    <a:pt x="12700" y="10160"/>
                  </a:lnTo>
                  <a:cubicBezTo>
                    <a:pt x="15240" y="8890"/>
                    <a:pt x="16510" y="7620"/>
                    <a:pt x="16510" y="5080"/>
                  </a:cubicBezTo>
                  <a:lnTo>
                    <a:pt x="16510" y="5080"/>
                  </a:lnTo>
                  <a:moveTo>
                    <a:pt x="8890" y="6350"/>
                  </a:moveTo>
                  <a:lnTo>
                    <a:pt x="3810" y="6350"/>
                  </a:lnTo>
                  <a:lnTo>
                    <a:pt x="3810" y="2540"/>
                  </a:lnTo>
                  <a:lnTo>
                    <a:pt x="8890" y="2540"/>
                  </a:lnTo>
                  <a:cubicBezTo>
                    <a:pt x="11430" y="2540"/>
                    <a:pt x="12700" y="2540"/>
                    <a:pt x="12700" y="3810"/>
                  </a:cubicBezTo>
                  <a:cubicBezTo>
                    <a:pt x="12700" y="6350"/>
                    <a:pt x="11430" y="6350"/>
                    <a:pt x="8890" y="6350"/>
                  </a:cubicBezTo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459504F-39A5-464D-8840-4D0AFF81C375}"/>
                </a:ext>
              </a:extLst>
            </p:cNvPr>
            <p:cNvSpPr/>
            <p:nvPr/>
          </p:nvSpPr>
          <p:spPr>
            <a:xfrm>
              <a:off x="445770" y="6605269"/>
              <a:ext cx="50800" cy="38100"/>
            </a:xfrm>
            <a:custGeom>
              <a:avLst/>
              <a:gdLst>
                <a:gd name="connsiteX0" fmla="*/ 24130 w 50800"/>
                <a:gd name="connsiteY0" fmla="*/ 6350 h 38100"/>
                <a:gd name="connsiteX1" fmla="*/ 15240 w 50800"/>
                <a:gd name="connsiteY1" fmla="*/ 26670 h 38100"/>
                <a:gd name="connsiteX2" fmla="*/ 33020 w 50800"/>
                <a:gd name="connsiteY2" fmla="*/ 26670 h 38100"/>
                <a:gd name="connsiteX3" fmla="*/ 2413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4130" y="6350"/>
                  </a:moveTo>
                  <a:lnTo>
                    <a:pt x="15240" y="26670"/>
                  </a:lnTo>
                  <a:lnTo>
                    <a:pt x="33020" y="26670"/>
                  </a:lnTo>
                  <a:lnTo>
                    <a:pt x="2413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86811FB-5043-452F-99D5-266E66C4283B}"/>
                </a:ext>
              </a:extLst>
            </p:cNvPr>
            <p:cNvSpPr/>
            <p:nvPr/>
          </p:nvSpPr>
          <p:spPr>
            <a:xfrm>
              <a:off x="524510" y="6605269"/>
              <a:ext cx="38100" cy="38100"/>
            </a:xfrm>
            <a:custGeom>
              <a:avLst/>
              <a:gdLst>
                <a:gd name="connsiteX0" fmla="*/ 17780 w 38100"/>
                <a:gd name="connsiteY0" fmla="*/ 6350 h 38100"/>
                <a:gd name="connsiteX1" fmla="*/ 0 w 38100"/>
                <a:gd name="connsiteY1" fmla="*/ 6350 h 38100"/>
                <a:gd name="connsiteX2" fmla="*/ 0 w 38100"/>
                <a:gd name="connsiteY2" fmla="*/ 0 h 38100"/>
                <a:gd name="connsiteX3" fmla="*/ 41910 w 38100"/>
                <a:gd name="connsiteY3" fmla="*/ 0 h 38100"/>
                <a:gd name="connsiteX4" fmla="*/ 41910 w 38100"/>
                <a:gd name="connsiteY4" fmla="*/ 6350 h 38100"/>
                <a:gd name="connsiteX5" fmla="*/ 24130 w 38100"/>
                <a:gd name="connsiteY5" fmla="*/ 6350 h 38100"/>
                <a:gd name="connsiteX6" fmla="*/ 24130 w 38100"/>
                <a:gd name="connsiteY6" fmla="*/ 46990 h 38100"/>
                <a:gd name="connsiteX7" fmla="*/ 17780 w 38100"/>
                <a:gd name="connsiteY7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" h="38100">
                  <a:moveTo>
                    <a:pt x="17780" y="6350"/>
                  </a:moveTo>
                  <a:lnTo>
                    <a:pt x="0" y="6350"/>
                  </a:lnTo>
                  <a:lnTo>
                    <a:pt x="0" y="0"/>
                  </a:lnTo>
                  <a:lnTo>
                    <a:pt x="41910" y="0"/>
                  </a:lnTo>
                  <a:lnTo>
                    <a:pt x="41910" y="6350"/>
                  </a:lnTo>
                  <a:lnTo>
                    <a:pt x="24130" y="6350"/>
                  </a:lnTo>
                  <a:lnTo>
                    <a:pt x="24130" y="46990"/>
                  </a:lnTo>
                  <a:lnTo>
                    <a:pt x="17780" y="4699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E687EB7-4844-44DD-B803-72BA3CDC4A66}"/>
                </a:ext>
              </a:extLst>
            </p:cNvPr>
            <p:cNvSpPr/>
            <p:nvPr/>
          </p:nvSpPr>
          <p:spPr>
            <a:xfrm>
              <a:off x="5753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6830 w 38100"/>
                <a:gd name="connsiteY1" fmla="*/ 0 h 38100"/>
                <a:gd name="connsiteX2" fmla="*/ 3683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6350 w 38100"/>
                <a:gd name="connsiteY7" fmla="*/ 25400 h 38100"/>
                <a:gd name="connsiteX8" fmla="*/ 6350 w 38100"/>
                <a:gd name="connsiteY8" fmla="*/ 40640 h 38100"/>
                <a:gd name="connsiteX9" fmla="*/ 38100 w 38100"/>
                <a:gd name="connsiteY9" fmla="*/ 40640 h 38100"/>
                <a:gd name="connsiteX10" fmla="*/ 3810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6830" y="0"/>
                  </a:lnTo>
                  <a:lnTo>
                    <a:pt x="36830" y="6350"/>
                  </a:lnTo>
                  <a:lnTo>
                    <a:pt x="6350" y="6350"/>
                  </a:lnTo>
                  <a:lnTo>
                    <a:pt x="635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6350" y="25400"/>
                  </a:lnTo>
                  <a:lnTo>
                    <a:pt x="6350" y="40640"/>
                  </a:lnTo>
                  <a:lnTo>
                    <a:pt x="38100" y="40640"/>
                  </a:lnTo>
                  <a:lnTo>
                    <a:pt x="38100" y="46990"/>
                  </a:lnTo>
                  <a:lnTo>
                    <a:pt x="0" y="4699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ECD0B8E9-0D5A-495D-B8C7-E511AA3BD13E}"/>
                </a:ext>
              </a:extLst>
            </p:cNvPr>
            <p:cNvSpPr/>
            <p:nvPr/>
          </p:nvSpPr>
          <p:spPr>
            <a:xfrm>
              <a:off x="62484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3C8FF17-7D6F-4E7C-9B22-7D0A8150CD6B}"/>
                </a:ext>
              </a:extLst>
            </p:cNvPr>
            <p:cNvSpPr/>
            <p:nvPr/>
          </p:nvSpPr>
          <p:spPr>
            <a:xfrm>
              <a:off x="6769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8100 w 38100"/>
                <a:gd name="connsiteY1" fmla="*/ 0 h 38100"/>
                <a:gd name="connsiteX2" fmla="*/ 38100 w 38100"/>
                <a:gd name="connsiteY2" fmla="*/ 6350 h 38100"/>
                <a:gd name="connsiteX3" fmla="*/ 7620 w 38100"/>
                <a:gd name="connsiteY3" fmla="*/ 6350 h 38100"/>
                <a:gd name="connsiteX4" fmla="*/ 762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7620 w 38100"/>
                <a:gd name="connsiteY7" fmla="*/ 25400 h 38100"/>
                <a:gd name="connsiteX8" fmla="*/ 7620 w 38100"/>
                <a:gd name="connsiteY8" fmla="*/ 40640 h 38100"/>
                <a:gd name="connsiteX9" fmla="*/ 39370 w 38100"/>
                <a:gd name="connsiteY9" fmla="*/ 40640 h 38100"/>
                <a:gd name="connsiteX10" fmla="*/ 3937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8100" y="0"/>
                  </a:lnTo>
                  <a:lnTo>
                    <a:pt x="38100" y="6350"/>
                  </a:lnTo>
                  <a:lnTo>
                    <a:pt x="7620" y="6350"/>
                  </a:lnTo>
                  <a:lnTo>
                    <a:pt x="762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7620" y="25400"/>
                  </a:lnTo>
                  <a:lnTo>
                    <a:pt x="7620" y="40640"/>
                  </a:lnTo>
                  <a:lnTo>
                    <a:pt x="39370" y="40640"/>
                  </a:lnTo>
                  <a:lnTo>
                    <a:pt x="39370" y="46990"/>
                  </a:lnTo>
                  <a:lnTo>
                    <a:pt x="0" y="4699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D2FA3A6-4020-483F-AE94-4C29D6822730}"/>
                </a:ext>
              </a:extLst>
            </p:cNvPr>
            <p:cNvSpPr/>
            <p:nvPr/>
          </p:nvSpPr>
          <p:spPr>
            <a:xfrm>
              <a:off x="722630" y="6605269"/>
              <a:ext cx="38100" cy="38100"/>
            </a:xfrm>
            <a:custGeom>
              <a:avLst/>
              <a:gdLst>
                <a:gd name="connsiteX0" fmla="*/ 36830 w 38100"/>
                <a:gd name="connsiteY0" fmla="*/ 0 h 38100"/>
                <a:gd name="connsiteX1" fmla="*/ 45720 w 38100"/>
                <a:gd name="connsiteY1" fmla="*/ 0 h 38100"/>
                <a:gd name="connsiteX2" fmla="*/ 26670 w 38100"/>
                <a:gd name="connsiteY2" fmla="*/ 22860 h 38100"/>
                <a:gd name="connsiteX3" fmla="*/ 45720 w 38100"/>
                <a:gd name="connsiteY3" fmla="*/ 46990 h 38100"/>
                <a:gd name="connsiteX4" fmla="*/ 36830 w 38100"/>
                <a:gd name="connsiteY4" fmla="*/ 46990 h 38100"/>
                <a:gd name="connsiteX5" fmla="*/ 22860 w 38100"/>
                <a:gd name="connsiteY5" fmla="*/ 27940 h 38100"/>
                <a:gd name="connsiteX6" fmla="*/ 7620 w 38100"/>
                <a:gd name="connsiteY6" fmla="*/ 46990 h 38100"/>
                <a:gd name="connsiteX7" fmla="*/ 0 w 38100"/>
                <a:gd name="connsiteY7" fmla="*/ 46990 h 38100"/>
                <a:gd name="connsiteX8" fmla="*/ 17780 w 38100"/>
                <a:gd name="connsiteY8" fmla="*/ 22860 h 38100"/>
                <a:gd name="connsiteX9" fmla="*/ 0 w 38100"/>
                <a:gd name="connsiteY9" fmla="*/ 0 h 38100"/>
                <a:gd name="connsiteX10" fmla="*/ 8890 w 38100"/>
                <a:gd name="connsiteY10" fmla="*/ 0 h 38100"/>
                <a:gd name="connsiteX11" fmla="*/ 22860 w 38100"/>
                <a:gd name="connsiteY11" fmla="*/ 1778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36830" y="0"/>
                  </a:moveTo>
                  <a:lnTo>
                    <a:pt x="45720" y="0"/>
                  </a:lnTo>
                  <a:lnTo>
                    <a:pt x="26670" y="22860"/>
                  </a:lnTo>
                  <a:lnTo>
                    <a:pt x="45720" y="46990"/>
                  </a:lnTo>
                  <a:lnTo>
                    <a:pt x="36830" y="46990"/>
                  </a:lnTo>
                  <a:lnTo>
                    <a:pt x="22860" y="2794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17780" y="22860"/>
                  </a:lnTo>
                  <a:lnTo>
                    <a:pt x="0" y="0"/>
                  </a:lnTo>
                  <a:lnTo>
                    <a:pt x="8890" y="0"/>
                  </a:lnTo>
                  <a:lnTo>
                    <a:pt x="22860" y="1778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3EEE413B-35A6-47BE-A223-B49AC8AA9531}"/>
                </a:ext>
              </a:extLst>
            </p:cNvPr>
            <p:cNvSpPr/>
            <p:nvPr/>
          </p:nvSpPr>
          <p:spPr>
            <a:xfrm>
              <a:off x="802640" y="6605269"/>
              <a:ext cx="38100" cy="38100"/>
            </a:xfrm>
            <a:custGeom>
              <a:avLst/>
              <a:gdLst>
                <a:gd name="connsiteX0" fmla="*/ 26670 w 38100"/>
                <a:gd name="connsiteY0" fmla="*/ 40640 h 38100"/>
                <a:gd name="connsiteX1" fmla="*/ 36830 w 38100"/>
                <a:gd name="connsiteY1" fmla="*/ 33020 h 38100"/>
                <a:gd name="connsiteX2" fmla="*/ 27940 w 38100"/>
                <a:gd name="connsiteY2" fmla="*/ 25400 h 38100"/>
                <a:gd name="connsiteX3" fmla="*/ 8890 w 38100"/>
                <a:gd name="connsiteY3" fmla="*/ 25400 h 38100"/>
                <a:gd name="connsiteX4" fmla="*/ 8890 w 38100"/>
                <a:gd name="connsiteY4" fmla="*/ 40640 h 38100"/>
                <a:gd name="connsiteX5" fmla="*/ 26670 w 38100"/>
                <a:gd name="connsiteY5" fmla="*/ 40640 h 38100"/>
                <a:gd name="connsiteX6" fmla="*/ 26670 w 38100"/>
                <a:gd name="connsiteY6" fmla="*/ 19050 h 38100"/>
                <a:gd name="connsiteX7" fmla="*/ 34290 w 38100"/>
                <a:gd name="connsiteY7" fmla="*/ 12700 h 38100"/>
                <a:gd name="connsiteX8" fmla="*/ 26670 w 38100"/>
                <a:gd name="connsiteY8" fmla="*/ 6350 h 38100"/>
                <a:gd name="connsiteX9" fmla="*/ 7620 w 38100"/>
                <a:gd name="connsiteY9" fmla="*/ 6350 h 38100"/>
                <a:gd name="connsiteX10" fmla="*/ 7620 w 38100"/>
                <a:gd name="connsiteY10" fmla="*/ 19050 h 38100"/>
                <a:gd name="connsiteX11" fmla="*/ 26670 w 38100"/>
                <a:gd name="connsiteY11" fmla="*/ 19050 h 38100"/>
                <a:gd name="connsiteX12" fmla="*/ 0 w 38100"/>
                <a:gd name="connsiteY12" fmla="*/ 0 h 38100"/>
                <a:gd name="connsiteX13" fmla="*/ 26670 w 38100"/>
                <a:gd name="connsiteY13" fmla="*/ 0 h 38100"/>
                <a:gd name="connsiteX14" fmla="*/ 40640 w 38100"/>
                <a:gd name="connsiteY14" fmla="*/ 11430 h 38100"/>
                <a:gd name="connsiteX15" fmla="*/ 34290 w 38100"/>
                <a:gd name="connsiteY15" fmla="*/ 21590 h 38100"/>
                <a:gd name="connsiteX16" fmla="*/ 34290 w 38100"/>
                <a:gd name="connsiteY16" fmla="*/ 21590 h 38100"/>
                <a:gd name="connsiteX17" fmla="*/ 43180 w 38100"/>
                <a:gd name="connsiteY17" fmla="*/ 33020 h 38100"/>
                <a:gd name="connsiteX18" fmla="*/ 29210 w 38100"/>
                <a:gd name="connsiteY18" fmla="*/ 46990 h 38100"/>
                <a:gd name="connsiteX19" fmla="*/ 27940 w 38100"/>
                <a:gd name="connsiteY19" fmla="*/ 46990 h 38100"/>
                <a:gd name="connsiteX20" fmla="*/ 0 w 38100"/>
                <a:gd name="connsiteY20" fmla="*/ 4699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40640"/>
                  </a:moveTo>
                  <a:cubicBezTo>
                    <a:pt x="34290" y="40640"/>
                    <a:pt x="36830" y="36830"/>
                    <a:pt x="36830" y="33020"/>
                  </a:cubicBezTo>
                  <a:cubicBezTo>
                    <a:pt x="36830" y="29210"/>
                    <a:pt x="34290" y="25400"/>
                    <a:pt x="27940" y="25400"/>
                  </a:cubicBezTo>
                  <a:lnTo>
                    <a:pt x="8890" y="25400"/>
                  </a:lnTo>
                  <a:lnTo>
                    <a:pt x="8890" y="40640"/>
                  </a:lnTo>
                  <a:lnTo>
                    <a:pt x="26670" y="40640"/>
                  </a:lnTo>
                  <a:close/>
                  <a:moveTo>
                    <a:pt x="26670" y="19050"/>
                  </a:moveTo>
                  <a:cubicBezTo>
                    <a:pt x="31750" y="19050"/>
                    <a:pt x="34290" y="16510"/>
                    <a:pt x="34290" y="12700"/>
                  </a:cubicBezTo>
                  <a:cubicBezTo>
                    <a:pt x="34290" y="8890"/>
                    <a:pt x="31750" y="6350"/>
                    <a:pt x="26670" y="6350"/>
                  </a:cubicBezTo>
                  <a:lnTo>
                    <a:pt x="7620" y="6350"/>
                  </a:lnTo>
                  <a:lnTo>
                    <a:pt x="7620" y="19050"/>
                  </a:lnTo>
                  <a:lnTo>
                    <a:pt x="26670" y="19050"/>
                  </a:lnTo>
                  <a:close/>
                  <a:moveTo>
                    <a:pt x="0" y="0"/>
                  </a:moveTo>
                  <a:lnTo>
                    <a:pt x="26670" y="0"/>
                  </a:lnTo>
                  <a:cubicBezTo>
                    <a:pt x="36830" y="0"/>
                    <a:pt x="40640" y="3810"/>
                    <a:pt x="40640" y="11430"/>
                  </a:cubicBezTo>
                  <a:cubicBezTo>
                    <a:pt x="40640" y="16510"/>
                    <a:pt x="38100" y="20320"/>
                    <a:pt x="34290" y="21590"/>
                  </a:cubicBezTo>
                  <a:lnTo>
                    <a:pt x="34290" y="21590"/>
                  </a:lnTo>
                  <a:cubicBezTo>
                    <a:pt x="39370" y="22860"/>
                    <a:pt x="43180" y="27940"/>
                    <a:pt x="43180" y="33020"/>
                  </a:cubicBezTo>
                  <a:cubicBezTo>
                    <a:pt x="43180" y="40640"/>
                    <a:pt x="36830" y="46990"/>
                    <a:pt x="29210" y="46990"/>
                  </a:cubicBezTo>
                  <a:lnTo>
                    <a:pt x="27940" y="46990"/>
                  </a:ln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5282F7D1-FE40-4D9C-912E-4507CE033513}"/>
                </a:ext>
              </a:extLst>
            </p:cNvPr>
            <p:cNvSpPr/>
            <p:nvPr/>
          </p:nvSpPr>
          <p:spPr>
            <a:xfrm>
              <a:off x="85725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127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127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255D822-F7B8-4D37-BCEE-0EBA552673AE}"/>
                </a:ext>
              </a:extLst>
            </p:cNvPr>
            <p:cNvSpPr/>
            <p:nvPr/>
          </p:nvSpPr>
          <p:spPr>
            <a:xfrm>
              <a:off x="905510" y="6605269"/>
              <a:ext cx="50800" cy="38100"/>
            </a:xfrm>
            <a:custGeom>
              <a:avLst/>
              <a:gdLst>
                <a:gd name="connsiteX0" fmla="*/ 25400 w 50800"/>
                <a:gd name="connsiteY0" fmla="*/ 6350 h 38100"/>
                <a:gd name="connsiteX1" fmla="*/ 16510 w 50800"/>
                <a:gd name="connsiteY1" fmla="*/ 26670 h 38100"/>
                <a:gd name="connsiteX2" fmla="*/ 34290 w 50800"/>
                <a:gd name="connsiteY2" fmla="*/ 26670 h 38100"/>
                <a:gd name="connsiteX3" fmla="*/ 2540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5400" y="6350"/>
                  </a:moveTo>
                  <a:lnTo>
                    <a:pt x="16510" y="26670"/>
                  </a:lnTo>
                  <a:lnTo>
                    <a:pt x="34290" y="26670"/>
                  </a:lnTo>
                  <a:lnTo>
                    <a:pt x="2540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199DE64-7477-4375-A850-03E85F0BA7CB}"/>
                </a:ext>
              </a:extLst>
            </p:cNvPr>
            <p:cNvSpPr/>
            <p:nvPr/>
          </p:nvSpPr>
          <p:spPr>
            <a:xfrm>
              <a:off x="962660" y="6605269"/>
              <a:ext cx="38100" cy="38100"/>
            </a:xfrm>
            <a:custGeom>
              <a:avLst/>
              <a:gdLst>
                <a:gd name="connsiteX0" fmla="*/ 6350 w 38100"/>
                <a:gd name="connsiteY0" fmla="*/ 8890 h 38100"/>
                <a:gd name="connsiteX1" fmla="*/ 6350 w 38100"/>
                <a:gd name="connsiteY1" fmla="*/ 8890 h 38100"/>
                <a:gd name="connsiteX2" fmla="*/ 6350 w 38100"/>
                <a:gd name="connsiteY2" fmla="*/ 46990 h 38100"/>
                <a:gd name="connsiteX3" fmla="*/ 0 w 38100"/>
                <a:gd name="connsiteY3" fmla="*/ 46990 h 38100"/>
                <a:gd name="connsiteX4" fmla="*/ 0 w 38100"/>
                <a:gd name="connsiteY4" fmla="*/ 0 h 38100"/>
                <a:gd name="connsiteX5" fmla="*/ 7620 w 38100"/>
                <a:gd name="connsiteY5" fmla="*/ 0 h 38100"/>
                <a:gd name="connsiteX6" fmla="*/ 38100 w 38100"/>
                <a:gd name="connsiteY6" fmla="*/ 36830 h 38100"/>
                <a:gd name="connsiteX7" fmla="*/ 38100 w 38100"/>
                <a:gd name="connsiteY7" fmla="*/ 36830 h 38100"/>
                <a:gd name="connsiteX8" fmla="*/ 38100 w 38100"/>
                <a:gd name="connsiteY8" fmla="*/ 0 h 38100"/>
                <a:gd name="connsiteX9" fmla="*/ 45720 w 38100"/>
                <a:gd name="connsiteY9" fmla="*/ 0 h 38100"/>
                <a:gd name="connsiteX10" fmla="*/ 45720 w 38100"/>
                <a:gd name="connsiteY10" fmla="*/ 46990 h 38100"/>
                <a:gd name="connsiteX11" fmla="*/ 3683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6350" y="8890"/>
                  </a:moveTo>
                  <a:lnTo>
                    <a:pt x="6350" y="8890"/>
                  </a:lnTo>
                  <a:lnTo>
                    <a:pt x="6350" y="46990"/>
                  </a:lnTo>
                  <a:lnTo>
                    <a:pt x="0" y="46990"/>
                  </a:lnTo>
                  <a:lnTo>
                    <a:pt x="0" y="0"/>
                  </a:lnTo>
                  <a:lnTo>
                    <a:pt x="7620" y="0"/>
                  </a:lnTo>
                  <a:lnTo>
                    <a:pt x="38100" y="36830"/>
                  </a:lnTo>
                  <a:lnTo>
                    <a:pt x="38100" y="36830"/>
                  </a:lnTo>
                  <a:lnTo>
                    <a:pt x="38100" y="0"/>
                  </a:lnTo>
                  <a:lnTo>
                    <a:pt x="45720" y="0"/>
                  </a:lnTo>
                  <a:lnTo>
                    <a:pt x="45720" y="46990"/>
                  </a:lnTo>
                  <a:lnTo>
                    <a:pt x="36830" y="4699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9162EE1C-A6D5-4915-B35C-908B45AF505F}"/>
                </a:ext>
              </a:extLst>
            </p:cNvPr>
            <p:cNvSpPr/>
            <p:nvPr/>
          </p:nvSpPr>
          <p:spPr>
            <a:xfrm>
              <a:off x="1022350" y="6605269"/>
              <a:ext cx="38100" cy="38100"/>
            </a:xfrm>
            <a:custGeom>
              <a:avLst/>
              <a:gdLst>
                <a:gd name="connsiteX0" fmla="*/ 24130 w 38100"/>
                <a:gd name="connsiteY0" fmla="*/ 40640 h 38100"/>
                <a:gd name="connsiteX1" fmla="*/ 38100 w 38100"/>
                <a:gd name="connsiteY1" fmla="*/ 22860 h 38100"/>
                <a:gd name="connsiteX2" fmla="*/ 2286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40640 h 38100"/>
                <a:gd name="connsiteX5" fmla="*/ 24130 w 38100"/>
                <a:gd name="connsiteY5" fmla="*/ 40640 h 38100"/>
                <a:gd name="connsiteX6" fmla="*/ 0 w 38100"/>
                <a:gd name="connsiteY6" fmla="*/ 0 h 38100"/>
                <a:gd name="connsiteX7" fmla="*/ 24130 w 38100"/>
                <a:gd name="connsiteY7" fmla="*/ 0 h 38100"/>
                <a:gd name="connsiteX8" fmla="*/ 44450 w 38100"/>
                <a:gd name="connsiteY8" fmla="*/ 22860 h 38100"/>
                <a:gd name="connsiteX9" fmla="*/ 24130 w 38100"/>
                <a:gd name="connsiteY9" fmla="*/ 46990 h 38100"/>
                <a:gd name="connsiteX10" fmla="*/ 0 w 38100"/>
                <a:gd name="connsiteY10" fmla="*/ 46990 h 38100"/>
                <a:gd name="connsiteX11" fmla="*/ 0 w 38100"/>
                <a:gd name="connsiteY1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24130" y="40640"/>
                  </a:moveTo>
                  <a:cubicBezTo>
                    <a:pt x="35560" y="40640"/>
                    <a:pt x="38100" y="31750"/>
                    <a:pt x="38100" y="22860"/>
                  </a:cubicBezTo>
                  <a:cubicBezTo>
                    <a:pt x="38100" y="13970"/>
                    <a:pt x="35560" y="6350"/>
                    <a:pt x="22860" y="6350"/>
                  </a:cubicBezTo>
                  <a:lnTo>
                    <a:pt x="6350" y="6350"/>
                  </a:lnTo>
                  <a:lnTo>
                    <a:pt x="6350" y="40640"/>
                  </a:lnTo>
                  <a:lnTo>
                    <a:pt x="24130" y="40640"/>
                  </a:lnTo>
                  <a:close/>
                  <a:moveTo>
                    <a:pt x="0" y="0"/>
                  </a:moveTo>
                  <a:lnTo>
                    <a:pt x="24130" y="0"/>
                  </a:lnTo>
                  <a:cubicBezTo>
                    <a:pt x="38100" y="0"/>
                    <a:pt x="44450" y="8890"/>
                    <a:pt x="44450" y="22860"/>
                  </a:cubicBezTo>
                  <a:cubicBezTo>
                    <a:pt x="44450" y="36830"/>
                    <a:pt x="38100" y="46990"/>
                    <a:pt x="24130" y="46990"/>
                  </a:cubicBez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6" name="Text Placeholder 41">
            <a:extLst>
              <a:ext uri="{FF2B5EF4-FFF2-40B4-BE49-F238E27FC236}">
                <a16:creationId xmlns:a16="http://schemas.microsoft.com/office/drawing/2014/main" id="{10FB7CAE-0346-4142-91E5-CD5222B19E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35200" y="3644900"/>
            <a:ext cx="6430963" cy="1314450"/>
          </a:xfrm>
        </p:spPr>
        <p:txBody>
          <a:bodyPr>
            <a:normAutofit/>
          </a:bodyPr>
          <a:lstStyle>
            <a:lvl1pPr marL="0" indent="0">
              <a:buNone/>
              <a:defRPr sz="2800" b="1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Slide Number Placeholder 5">
            <a:extLst>
              <a:ext uri="{FF2B5EF4-FFF2-40B4-BE49-F238E27FC236}">
                <a16:creationId xmlns:a16="http://schemas.microsoft.com/office/drawing/2014/main" id="{A54740C7-DC14-4415-B0A8-C4E6F2BC2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9640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3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47" name="Picture 46" descr="A close up of a sign&#10;&#10;Description automatically generated">
            <a:extLst>
              <a:ext uri="{FF2B5EF4-FFF2-40B4-BE49-F238E27FC236}">
                <a16:creationId xmlns:a16="http://schemas.microsoft.com/office/drawing/2014/main" id="{F4609067-9617-4E83-99A9-46405EC08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152" y="6367316"/>
            <a:ext cx="976724" cy="195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1646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ortrait Print Hand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A9DC0FF-F7CD-43C5-8CB6-9B8DF9B6022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1353800" y="195260"/>
            <a:ext cx="598488" cy="642382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AF28873-D3C1-43E3-8018-319B50F53D9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343025" y="195260"/>
            <a:ext cx="8943975" cy="642382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F4FD6B-8BB6-42B9-ABBD-DFE5E087921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5400000">
            <a:off x="486567" y="415132"/>
            <a:ext cx="804866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fld id="{68DF629A-FA29-48CC-BB18-3E535D6096F3}" type="datetimeFigureOut">
              <a:rPr lang="en-US" smtClean="0"/>
              <a:pPr/>
              <a:t>8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63D715-41D8-4FBB-9BEF-09A83A3D7A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5400000">
            <a:off x="-1539872" y="3246437"/>
            <a:ext cx="4857744" cy="365126"/>
          </a:xfrm>
        </p:spPr>
        <p:txBody>
          <a:bodyPr/>
          <a:lstStyle>
            <a:lvl1pPr>
              <a:defRPr sz="1100"/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09CAB-9482-429D-B86D-71C94EE803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rot="5400000">
            <a:off x="508397" y="6055914"/>
            <a:ext cx="761206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C1C3CED2-0084-4824-BF3B-077572D6069D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DECFFD6-C49A-4D66-A3C0-4FF41CE71A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 rot="5400000">
            <a:off x="7805340" y="3192860"/>
            <a:ext cx="6423820" cy="428625"/>
          </a:xfrm>
        </p:spPr>
        <p:txBody>
          <a:bodyPr/>
          <a:lstStyle>
            <a:lvl1pPr marL="0" indent="0">
              <a:buFontTx/>
              <a:buNone/>
              <a:defRPr b="1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85FA27-3204-42CA-B6F6-3C7E14E56A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635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59053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5551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1251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1251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854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542F301-65CE-4F08-B93A-0395ABC2A6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530F654-9F4F-5E41-BCB7-5BBAB6DA38E9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643418C-49D6-3947-9B54-BA245092151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4" name="Picture 13" descr="A close up of a sign&#10;&#10;Description automatically generated">
              <a:extLst>
                <a:ext uri="{FF2B5EF4-FFF2-40B4-BE49-F238E27FC236}">
                  <a16:creationId xmlns:a16="http://schemas.microsoft.com/office/drawing/2014/main" id="{0B63FD42-B681-B040-A93C-1B7FE59BC3D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5B2CF3F3-B000-5C4F-90AA-064B744820A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2585064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5551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1251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1251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854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542F301-65CE-4F08-B93A-0395ABC2A6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530F654-9F4F-5E41-BCB7-5BBAB6DA38E9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643418C-49D6-3947-9B54-BA245092151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4" name="Picture 13" descr="A close up of a sign&#10;&#10;Description automatically generated">
              <a:extLst>
                <a:ext uri="{FF2B5EF4-FFF2-40B4-BE49-F238E27FC236}">
                  <a16:creationId xmlns:a16="http://schemas.microsoft.com/office/drawing/2014/main" id="{0B63FD42-B681-B040-A93C-1B7FE59BC3D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5B2CF3F3-B000-5C4F-90AA-064B744820A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261337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XC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522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092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092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53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697B66E-4699-4ACA-8579-AF7B85F3AD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48BFE09-09E0-104C-ABD4-DB877020F74B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607B8B70-6281-CD43-BE46-3CF31CB6A08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F8EAFB70-B995-1846-91C6-6170D0B7A7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89059D7E-A870-024B-94B2-7A108937538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966416" y="6307884"/>
              <a:ext cx="918571" cy="2861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305020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F0799429-3D21-3349-B9D7-146EA633FBA4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AF5B498C-1A0E-A643-835E-C198D09B74E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355DFA53-A6D9-494B-A6DE-EBDEDE7FA7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645FAC9A-F5BE-9A4A-A981-E7F53EEEAF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474F6610-05C7-441A-A389-C8E21D0E3793}"/>
              </a:ext>
            </a:extLst>
          </p:cNvPr>
          <p:cNvSpPr/>
          <p:nvPr/>
        </p:nvSpPr>
        <p:spPr>
          <a:xfrm>
            <a:off x="350204" y="783982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8203480-C068-4D11-8FE0-2DA2AE147DB0}"/>
              </a:ext>
            </a:extLst>
          </p:cNvPr>
          <p:cNvSpPr/>
          <p:nvPr/>
        </p:nvSpPr>
        <p:spPr>
          <a:xfrm>
            <a:off x="350204" y="272210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9D86C1-4F90-4129-948C-8D9CB9390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4E4043-7A6B-4D4A-AC75-079EF30A2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BB6B182-6E84-4E5D-A735-AD709AA93C4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7662" y="787452"/>
            <a:ext cx="11844331" cy="452287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714F17F2-DDBC-4D23-9B7A-91131603866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nº›</a:t>
            </a:fld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EEC4826F-CC86-694B-8306-4A38C5644B5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46088" y="1488102"/>
            <a:ext cx="3590925" cy="230028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C6BFB572-5341-8747-86C8-85C3BE6F879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67159" y="1488102"/>
            <a:ext cx="3590925" cy="230028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F381A435-3210-F14A-B1AE-20259B864E6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280481" y="1488102"/>
            <a:ext cx="3590925" cy="230028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A9F88AD-631B-C741-9AB8-7ED5284EF9A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366841" y="3954967"/>
            <a:ext cx="3590926" cy="196211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F214DE40-9805-BD46-A5E8-D8EC1D425F2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272413" y="3954967"/>
            <a:ext cx="3590926" cy="196211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B3560D7C-69C9-AA4E-89D0-661CBB10C9B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38021" y="3954967"/>
            <a:ext cx="3590926" cy="196211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</p:spTree>
    <p:extLst>
      <p:ext uri="{BB962C8B-B14F-4D97-AF65-F5344CB8AC3E}">
        <p14:creationId xmlns:p14="http://schemas.microsoft.com/office/powerpoint/2010/main" val="93327736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522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092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092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53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D6D8741-5789-452E-A11E-6E99855B3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0111FCD-B60C-804C-83C0-8E6C9F129576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7A2674F0-CD24-B145-AB64-A991B956449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65BCD0DE-8024-3844-88AE-FE6648E1F7C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247359EA-783A-0740-BC1D-71B6FBAB059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1070500" y="6309755"/>
              <a:ext cx="830725" cy="2769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380836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522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092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092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53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27DFE71-20E4-4F86-81A3-71B5540073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1F17220-6C5A-1442-82C7-47811C45CAEA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C9F281B5-A554-6E4F-B2C3-CCC933E86F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F98BC79F-7EE9-CD42-9AE3-B0B86FC804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2BC9419D-5ACC-A44B-A7BF-389508B75A8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887662" y="6271499"/>
              <a:ext cx="1013563" cy="32249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4413843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-Green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903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473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473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5234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F597AF3-AB2B-47D0-BD9B-0A192FFDB0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6AFF2A1-E6D5-7B42-BA07-9B51F308A093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387E8A8-E426-274A-808B-339AAC89852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A3A07282-4FCC-AE4E-853A-63494FF932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847EEB97-AAF5-A443-BA71-0E0FA57283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1146171" y="6294914"/>
              <a:ext cx="722780" cy="29908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9149185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ft Connect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522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092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092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53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697B66E-4699-4ACA-8579-AF7B85F3AD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900975E-53F6-FB4F-B719-21A487ACFB30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031D149C-B669-AB41-8C00-153421C7B45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6AD4E4B9-8A61-BF4A-A077-037B2642BE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E5A53C7C-99F8-504F-94F5-6FD7B54E78A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256939" y="6322428"/>
              <a:ext cx="1671181" cy="27156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8365246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Footer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81A801EF-FD57-6746-88FB-A37598FBC0D0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1E32425-D66D-9D4C-B23F-1DB66A6DF1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5" name="Picture 14" descr="A close up of a sign&#10;&#10;Description automatically generated">
              <a:extLst>
                <a:ext uri="{FF2B5EF4-FFF2-40B4-BE49-F238E27FC236}">
                  <a16:creationId xmlns:a16="http://schemas.microsoft.com/office/drawing/2014/main" id="{7CA563C7-21AE-D44D-BAC7-542B2A7D9E0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A90FEB81-9C02-8843-8920-8818B001AE5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903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473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473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5234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EAB372FF-D6E3-4950-A2A9-6F8A8BA00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58950" y="6216650"/>
            <a:ext cx="8674100" cy="482600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5D25BD-133B-42B6-AB8B-55C7F8306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38990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742F602D-70BB-854A-9376-B190DD96469C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165E74AB-4636-1644-9FFF-843098D9BDB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5" name="Picture 14" descr="A close up of a sign&#10;&#10;Description automatically generated">
              <a:extLst>
                <a:ext uri="{FF2B5EF4-FFF2-40B4-BE49-F238E27FC236}">
                  <a16:creationId xmlns:a16="http://schemas.microsoft.com/office/drawing/2014/main" id="{81B8CA80-D4CB-7741-BEEB-57E3667A944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B42A73B6-762B-FE42-9160-383B278DA0E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2192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899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892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117892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1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615495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E06B389-FC8C-474A-97D1-4048DBEAA967}"/>
              </a:ext>
            </a:extLst>
          </p:cNvPr>
          <p:cNvCxnSpPr>
            <a:cxnSpLocks/>
          </p:cNvCxnSpPr>
          <p:nvPr userDrawn="1"/>
        </p:nvCxnSpPr>
        <p:spPr>
          <a:xfrm>
            <a:off x="426720" y="1225118"/>
            <a:ext cx="1133856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4AB9242-AA17-4511-9104-7B42B0420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797888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Footer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FE0D8CB-284B-C34B-AAE2-33E622212116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74BFFB4C-E4CC-C84F-9047-D0E8324FBB3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63CA69A6-C933-6E43-BAA4-BF25FDA2EB2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F57F6B82-8B22-4A4B-B513-9884E64805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11757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61518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EAB372FF-D6E3-4950-A2A9-6F8A8BA00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58950" y="6216650"/>
            <a:ext cx="8674100" cy="482600"/>
          </a:xfrm>
        </p:spPr>
        <p:txBody>
          <a:bodyPr/>
          <a:lstStyle/>
          <a:p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C70DB0C-9BAA-4FCC-9FD1-9814B3FAA810}"/>
              </a:ext>
            </a:extLst>
          </p:cNvPr>
          <p:cNvCxnSpPr>
            <a:cxnSpLocks/>
          </p:cNvCxnSpPr>
          <p:nvPr userDrawn="1"/>
        </p:nvCxnSpPr>
        <p:spPr>
          <a:xfrm>
            <a:off x="426720" y="1225118"/>
            <a:ext cx="1133856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473992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Row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0A63861B-90FD-E64C-B652-00D09A6DFF47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A569F598-26FE-1F46-BF5A-90543C0EC92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5B7382A6-B11D-9844-8C1F-7C365B7568A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A4800433-6587-8141-979E-43FBBE58A67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1328BD7A-4953-4A17-92F4-91363B0643B7}"/>
              </a:ext>
            </a:extLst>
          </p:cNvPr>
          <p:cNvSpPr/>
          <p:nvPr userDrawn="1"/>
        </p:nvSpPr>
        <p:spPr>
          <a:xfrm>
            <a:off x="4291963" y="3678078"/>
            <a:ext cx="3689990" cy="21712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CA250B1-44FF-4908-A97C-5A94C3FD77F7}"/>
              </a:ext>
            </a:extLst>
          </p:cNvPr>
          <p:cNvSpPr/>
          <p:nvPr userDrawn="1"/>
        </p:nvSpPr>
        <p:spPr>
          <a:xfrm>
            <a:off x="440055" y="3678078"/>
            <a:ext cx="3689990" cy="21712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92F8EDA-8514-4485-8DAE-DB541078A6A9}"/>
              </a:ext>
            </a:extLst>
          </p:cNvPr>
          <p:cNvSpPr/>
          <p:nvPr userDrawn="1"/>
        </p:nvSpPr>
        <p:spPr>
          <a:xfrm>
            <a:off x="8154345" y="3678078"/>
            <a:ext cx="3689990" cy="19892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D7AE687-04F8-453F-B01A-EF4E07AAB130}"/>
              </a:ext>
            </a:extLst>
          </p:cNvPr>
          <p:cNvSpPr/>
          <p:nvPr userDrawn="1"/>
        </p:nvSpPr>
        <p:spPr>
          <a:xfrm>
            <a:off x="4297200" y="1414145"/>
            <a:ext cx="368999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20CF236-C302-4870-B926-31A3DEBF4579}"/>
              </a:ext>
            </a:extLst>
          </p:cNvPr>
          <p:cNvSpPr/>
          <p:nvPr userDrawn="1"/>
        </p:nvSpPr>
        <p:spPr>
          <a:xfrm>
            <a:off x="440055" y="1414145"/>
            <a:ext cx="368999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5D30D6-723D-4F0C-A922-766E7C64BACC}"/>
              </a:ext>
            </a:extLst>
          </p:cNvPr>
          <p:cNvSpPr/>
          <p:nvPr userDrawn="1"/>
        </p:nvSpPr>
        <p:spPr>
          <a:xfrm>
            <a:off x="350204" y="766510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1F0A719-295C-4138-BAB3-723338DFCF12}"/>
              </a:ext>
            </a:extLst>
          </p:cNvPr>
          <p:cNvSpPr/>
          <p:nvPr userDrawn="1"/>
        </p:nvSpPr>
        <p:spPr>
          <a:xfrm>
            <a:off x="350204" y="272210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9D86C1-4F90-4129-948C-8D9CB9390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4E4043-7A6B-4D4A-AC75-079EF30A2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BB6B182-6E84-4E5D-A735-AD709AA93C4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7662" y="769980"/>
            <a:ext cx="11844331" cy="452286"/>
          </a:xfrm>
        </p:spPr>
        <p:txBody>
          <a:bodyPr anchor="ctr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3BA70509-90E9-4C1B-9BEB-EF4EA172E16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FE83CEA-2DC9-FF43-A744-0738D0894A40}"/>
              </a:ext>
            </a:extLst>
          </p:cNvPr>
          <p:cNvCxnSpPr/>
          <p:nvPr userDrawn="1"/>
        </p:nvCxnSpPr>
        <p:spPr>
          <a:xfrm>
            <a:off x="440055" y="3620870"/>
            <a:ext cx="11393806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28FD8A3-A5E4-DD41-8D3E-4DFA9EA4BD9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0055" y="1382713"/>
            <a:ext cx="3171825" cy="211613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en-US"/>
          </a:p>
        </p:txBody>
      </p:sp>
      <p:sp>
        <p:nvSpPr>
          <p:cNvPr id="30" name="Picture Placeholder 7">
            <a:extLst>
              <a:ext uri="{FF2B5EF4-FFF2-40B4-BE49-F238E27FC236}">
                <a16:creationId xmlns:a16="http://schemas.microsoft.com/office/drawing/2014/main" id="{79DCDC98-89DD-D049-88EE-60595F79EDE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40054" y="3761703"/>
            <a:ext cx="3171825" cy="211613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en-US"/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519A2488-7F75-7B48-B2A5-5EF5214C0CE1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895723" y="1393007"/>
            <a:ext cx="4086229" cy="2100110"/>
          </a:xfrm>
        </p:spPr>
        <p:txBody>
          <a:bodyPr lIns="0" tIns="0" rIns="0" bIns="0"/>
          <a:lstStyle>
            <a:lvl1pPr marL="0" indent="0">
              <a:buNone/>
              <a:defRPr sz="1600" b="0"/>
            </a:lvl1pPr>
            <a:lvl2pPr marL="457200" indent="0">
              <a:buNone/>
              <a:defRPr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sz="2400">
                <a:solidFill>
                  <a:schemeClr val="accent1"/>
                </a:solidFill>
              </a:rPr>
              <a:t>Click to add Title </a:t>
            </a:r>
          </a:p>
          <a:p>
            <a:pPr lvl="0"/>
            <a:r>
              <a:rPr lang="en-GB"/>
              <a:t>Second level</a:t>
            </a:r>
            <a:endParaRPr lang="en-US"/>
          </a:p>
        </p:txBody>
      </p:sp>
      <p:sp>
        <p:nvSpPr>
          <p:cNvPr id="34" name="Content Placeholder 30">
            <a:extLst>
              <a:ext uri="{FF2B5EF4-FFF2-40B4-BE49-F238E27FC236}">
                <a16:creationId xmlns:a16="http://schemas.microsoft.com/office/drawing/2014/main" id="{6A868EB0-3C1E-8248-8C95-5A6A2483DA8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895723" y="3771997"/>
            <a:ext cx="4086229" cy="2116136"/>
          </a:xfrm>
        </p:spPr>
        <p:txBody>
          <a:bodyPr lIns="0" tIns="0" rIns="0" bIns="0"/>
          <a:lstStyle>
            <a:lvl1pPr marL="0" indent="0">
              <a:buNone/>
              <a:defRPr sz="1600" b="0"/>
            </a:lvl1pPr>
            <a:lvl2pPr marL="457200" indent="0">
              <a:buNone/>
              <a:defRPr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sz="2400">
                <a:solidFill>
                  <a:schemeClr val="accent1"/>
                </a:solidFill>
              </a:rPr>
              <a:t>Click to add Title </a:t>
            </a:r>
          </a:p>
          <a:p>
            <a:pPr lvl="0"/>
            <a:r>
              <a:rPr lang="en-GB"/>
              <a:t>Second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18023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F0799429-3D21-3349-B9D7-146EA633FBA4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AF5B498C-1A0E-A643-835E-C198D09B74E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355DFA53-A6D9-494B-A6DE-EBDEDE7FA79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645FAC9A-F5BE-9A4A-A981-E7F53EEEAF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474F6610-05C7-441A-A389-C8E21D0E3793}"/>
              </a:ext>
            </a:extLst>
          </p:cNvPr>
          <p:cNvSpPr/>
          <p:nvPr userDrawn="1"/>
        </p:nvSpPr>
        <p:spPr>
          <a:xfrm>
            <a:off x="350204" y="783982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8203480-C068-4D11-8FE0-2DA2AE147DB0}"/>
              </a:ext>
            </a:extLst>
          </p:cNvPr>
          <p:cNvSpPr/>
          <p:nvPr userDrawn="1"/>
        </p:nvSpPr>
        <p:spPr>
          <a:xfrm>
            <a:off x="350204" y="272210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9D86C1-4F90-4129-948C-8D9CB9390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4E4043-7A6B-4D4A-AC75-079EF30A2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BB6B182-6E84-4E5D-A735-AD709AA93C4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7662" y="787452"/>
            <a:ext cx="11844331" cy="452287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714F17F2-DDBC-4D23-9B7A-91131603866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EEC4826F-CC86-694B-8306-4A38C5644B5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46088" y="1488102"/>
            <a:ext cx="3590925" cy="230028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C6BFB572-5341-8747-86C8-85C3BE6F879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67159" y="1488102"/>
            <a:ext cx="3590925" cy="230028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F381A435-3210-F14A-B1AE-20259B864E6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280481" y="1488102"/>
            <a:ext cx="3590925" cy="230028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A9F88AD-631B-C741-9AB8-7ED5284EF9A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366841" y="3954967"/>
            <a:ext cx="3590926" cy="196211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F214DE40-9805-BD46-A5E8-D8EC1D425F2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272413" y="3954967"/>
            <a:ext cx="3590926" cy="196211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B3560D7C-69C9-AA4E-89D0-661CBB10C9B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38021" y="3954967"/>
            <a:ext cx="3590926" cy="196211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</p:spTree>
    <p:extLst>
      <p:ext uri="{BB962C8B-B14F-4D97-AF65-F5344CB8AC3E}">
        <p14:creationId xmlns:p14="http://schemas.microsoft.com/office/powerpoint/2010/main" val="426970840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row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CA05964A-100D-374E-82DE-EAE748D34095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A843EDE5-E89B-F940-B62E-80EFC57EDD6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ED0D55FC-A50A-8948-8DDA-35A7B80FA1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D3210A1D-EB01-A641-81A6-D69A351C93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A9D86C1-4F90-4129-948C-8D9CB9390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4E4043-7A6B-4D4A-AC75-079EF30A2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BB6B182-6E84-4E5D-A735-AD709AA93C4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E03DBC3-EA46-499E-A0D2-886329EE9DF7}"/>
              </a:ext>
            </a:extLst>
          </p:cNvPr>
          <p:cNvSpPr/>
          <p:nvPr userDrawn="1"/>
        </p:nvSpPr>
        <p:spPr>
          <a:xfrm>
            <a:off x="6466520" y="1414145"/>
            <a:ext cx="256032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40F27D4-6339-4B42-AF32-F17D5350AA2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A2B57A4-7DDC-5149-8BCE-93103E8A4AAE}"/>
              </a:ext>
            </a:extLst>
          </p:cNvPr>
          <p:cNvCxnSpPr>
            <a:cxnSpLocks/>
          </p:cNvCxnSpPr>
          <p:nvPr userDrawn="1"/>
        </p:nvCxnSpPr>
        <p:spPr>
          <a:xfrm>
            <a:off x="440055" y="3573691"/>
            <a:ext cx="5495608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5E67AA8-E56E-2948-8D75-A5828653AB8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42877" y="1377950"/>
            <a:ext cx="1440000" cy="20748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36" name="Picture Placeholder 7">
            <a:extLst>
              <a:ext uri="{FF2B5EF4-FFF2-40B4-BE49-F238E27FC236}">
                <a16:creationId xmlns:a16="http://schemas.microsoft.com/office/drawing/2014/main" id="{603A774E-2959-2941-98CC-13E85520C96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291114" y="1377950"/>
            <a:ext cx="1440000" cy="20748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C187001D-FA6C-B748-8423-5556152F545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42877" y="3694947"/>
            <a:ext cx="1440000" cy="20748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C4DD307E-9D06-434B-B265-A93D78C3D91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303462" y="3694947"/>
            <a:ext cx="1440000" cy="20748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40A7AF5-4540-3846-B5CB-6D45D001CC74}"/>
              </a:ext>
            </a:extLst>
          </p:cNvPr>
          <p:cNvCxnSpPr>
            <a:cxnSpLocks/>
          </p:cNvCxnSpPr>
          <p:nvPr userDrawn="1"/>
        </p:nvCxnSpPr>
        <p:spPr>
          <a:xfrm>
            <a:off x="6279036" y="3573691"/>
            <a:ext cx="5495608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4C381F5B-EA5D-4B4A-847C-04DC826538E8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2140051" y="1377949"/>
            <a:ext cx="3795611" cy="2074481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2C18E9B4-F819-A848-9BCD-2FC783BC875A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7967414" y="1377949"/>
            <a:ext cx="3795611" cy="2074481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39B027BE-94FB-4D4F-95E0-69A16B68D0CF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2140051" y="3710444"/>
            <a:ext cx="3795611" cy="2074481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  <p:sp>
        <p:nvSpPr>
          <p:cNvPr id="43" name="Content Placeholder 2">
            <a:extLst>
              <a:ext uri="{FF2B5EF4-FFF2-40B4-BE49-F238E27FC236}">
                <a16:creationId xmlns:a16="http://schemas.microsoft.com/office/drawing/2014/main" id="{9C895AB0-13D7-E749-8749-B545D43CD88A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967414" y="3710444"/>
            <a:ext cx="3795611" cy="2074481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</p:spTree>
    <p:extLst>
      <p:ext uri="{BB962C8B-B14F-4D97-AF65-F5344CB8AC3E}">
        <p14:creationId xmlns:p14="http://schemas.microsoft.com/office/powerpoint/2010/main" val="19906078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row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CA05964A-100D-374E-82DE-EAE748D34095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A843EDE5-E89B-F940-B62E-80EFC57EDD6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ED0D55FC-A50A-8948-8DDA-35A7B80FA1F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D3210A1D-EB01-A641-81A6-D69A351C939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A9D86C1-4F90-4129-948C-8D9CB9390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4E4043-7A6B-4D4A-AC75-079EF30A2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BB6B182-6E84-4E5D-A735-AD709AA93C4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E03DBC3-EA46-499E-A0D2-886329EE9DF7}"/>
              </a:ext>
            </a:extLst>
          </p:cNvPr>
          <p:cNvSpPr/>
          <p:nvPr/>
        </p:nvSpPr>
        <p:spPr>
          <a:xfrm>
            <a:off x="6466520" y="1414145"/>
            <a:ext cx="256032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40F27D4-6339-4B42-AF32-F17D5350AA2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nº›</a:t>
            </a:fld>
            <a:endParaRPr lang="en-US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A2B57A4-7DDC-5149-8BCE-93103E8A4AAE}"/>
              </a:ext>
            </a:extLst>
          </p:cNvPr>
          <p:cNvCxnSpPr>
            <a:cxnSpLocks/>
          </p:cNvCxnSpPr>
          <p:nvPr/>
        </p:nvCxnSpPr>
        <p:spPr>
          <a:xfrm>
            <a:off x="440055" y="3573691"/>
            <a:ext cx="5495608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5E67AA8-E56E-2948-8D75-A5828653AB8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42877" y="1377950"/>
            <a:ext cx="1440000" cy="20748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Picture Placeholder 7">
            <a:extLst>
              <a:ext uri="{FF2B5EF4-FFF2-40B4-BE49-F238E27FC236}">
                <a16:creationId xmlns:a16="http://schemas.microsoft.com/office/drawing/2014/main" id="{603A774E-2959-2941-98CC-13E85520C96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291114" y="1377950"/>
            <a:ext cx="1440000" cy="20748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C187001D-FA6C-B748-8423-5556152F545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42877" y="3694947"/>
            <a:ext cx="1440000" cy="20748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C4DD307E-9D06-434B-B265-A93D78C3D91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303462" y="3694947"/>
            <a:ext cx="1440000" cy="20748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40A7AF5-4540-3846-B5CB-6D45D001CC74}"/>
              </a:ext>
            </a:extLst>
          </p:cNvPr>
          <p:cNvCxnSpPr>
            <a:cxnSpLocks/>
          </p:cNvCxnSpPr>
          <p:nvPr/>
        </p:nvCxnSpPr>
        <p:spPr>
          <a:xfrm>
            <a:off x="6279036" y="3573691"/>
            <a:ext cx="5495608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4C381F5B-EA5D-4B4A-847C-04DC826538E8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2140051" y="1377949"/>
            <a:ext cx="3795611" cy="2074481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2C18E9B4-F819-A848-9BCD-2FC783BC875A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7967414" y="1377949"/>
            <a:ext cx="3795611" cy="2074481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39B027BE-94FB-4D4F-95E0-69A16B68D0CF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2140051" y="3710444"/>
            <a:ext cx="3795611" cy="2074481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  <p:sp>
        <p:nvSpPr>
          <p:cNvPr id="43" name="Content Placeholder 2">
            <a:extLst>
              <a:ext uri="{FF2B5EF4-FFF2-40B4-BE49-F238E27FC236}">
                <a16:creationId xmlns:a16="http://schemas.microsoft.com/office/drawing/2014/main" id="{9C895AB0-13D7-E749-8749-B545D43CD88A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967414" y="3710444"/>
            <a:ext cx="3795611" cy="2074481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</p:spTree>
    <p:extLst>
      <p:ext uri="{BB962C8B-B14F-4D97-AF65-F5344CB8AC3E}">
        <p14:creationId xmlns:p14="http://schemas.microsoft.com/office/powerpoint/2010/main" val="259127942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ie World Regions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icture containing map, flying, person&#10;&#10;Description automatically generated">
            <a:extLst>
              <a:ext uri="{FF2B5EF4-FFF2-40B4-BE49-F238E27FC236}">
                <a16:creationId xmlns:a16="http://schemas.microsoft.com/office/drawing/2014/main" id="{E3F0912E-066D-2E42-B309-33E5878242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0189" y="596199"/>
            <a:ext cx="10721270" cy="5599523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1AFC37D6-1376-5547-A31D-6B834166DD49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4F1310A-8553-9741-948D-4F8ADB29EF8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3" name="Picture 12" descr="A close up of a sign&#10;&#10;Description automatically generated">
              <a:extLst>
                <a:ext uri="{FF2B5EF4-FFF2-40B4-BE49-F238E27FC236}">
                  <a16:creationId xmlns:a16="http://schemas.microsoft.com/office/drawing/2014/main" id="{34066220-8EAF-5C48-BCA7-7DF030DC293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8BD2216E-B561-9E4A-ACC5-4B7AFC2E2B0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11757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166662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i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BCAB3CDB-BA00-CC41-A497-2E8239B59FEB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A3025578-8F6C-B742-8158-6BEA70C679D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44" name="Picture 43" descr="A close up of a sign&#10;&#10;Description automatically generated">
              <a:extLst>
                <a:ext uri="{FF2B5EF4-FFF2-40B4-BE49-F238E27FC236}">
                  <a16:creationId xmlns:a16="http://schemas.microsoft.com/office/drawing/2014/main" id="{1D9764C4-4CBE-194D-8B66-0842F87346B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45" name="Graphic 44">
              <a:extLst>
                <a:ext uri="{FF2B5EF4-FFF2-40B4-BE49-F238E27FC236}">
                  <a16:creationId xmlns:a16="http://schemas.microsoft.com/office/drawing/2014/main" id="{0932F3C0-3D63-8E40-A689-E7FAE63B4D9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0A0F7E7-A8BB-E641-A79A-12F5D683E3E7}"/>
              </a:ext>
            </a:extLst>
          </p:cNvPr>
          <p:cNvSpPr/>
          <p:nvPr userDrawn="1"/>
        </p:nvSpPr>
        <p:spPr>
          <a:xfrm>
            <a:off x="467671" y="3770314"/>
            <a:ext cx="2520000" cy="19539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727A7549-AAEE-8E45-B9E7-4BFB2CF969A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67671" y="1249434"/>
            <a:ext cx="2519999" cy="25199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/>
            </a:lvl1pPr>
          </a:lstStyle>
          <a:p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1A16608-8490-9E41-93B4-093F1D03C3FD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67355" y="3955385"/>
            <a:ext cx="2519999" cy="361900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7053AD1-A40F-BE4E-8802-265AAD725BB0}"/>
              </a:ext>
            </a:extLst>
          </p:cNvPr>
          <p:cNvSpPr/>
          <p:nvPr userDrawn="1"/>
        </p:nvSpPr>
        <p:spPr>
          <a:xfrm>
            <a:off x="3372649" y="3770314"/>
            <a:ext cx="2520000" cy="19539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9861AC81-7D24-F642-8F5B-7F9FC14F047C}"/>
              </a:ext>
            </a:extLst>
          </p:cNvPr>
          <p:cNvSpPr>
            <a:spLocks noGrp="1"/>
          </p:cNvSpPr>
          <p:nvPr>
            <p:ph sz="half" idx="33" hasCustomPrompt="1"/>
          </p:nvPr>
        </p:nvSpPr>
        <p:spPr>
          <a:xfrm>
            <a:off x="467355" y="4227876"/>
            <a:ext cx="2519999" cy="240613"/>
          </a:xfrm>
        </p:spPr>
        <p:txBody>
          <a:bodyPr lIns="144000" tIns="0" rIns="144000" bIns="0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281F41EA-ACBD-FA40-9C49-3E29182CC8BC}"/>
              </a:ext>
            </a:extLst>
          </p:cNvPr>
          <p:cNvSpPr>
            <a:spLocks noGrp="1"/>
          </p:cNvSpPr>
          <p:nvPr>
            <p:ph sz="half" idx="34" hasCustomPrompt="1"/>
          </p:nvPr>
        </p:nvSpPr>
        <p:spPr>
          <a:xfrm>
            <a:off x="467355" y="4555908"/>
            <a:ext cx="2519999" cy="1111452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description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52C7D324-15B4-AE43-A1E8-BF2E8194D89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366959" y="1249434"/>
            <a:ext cx="2519999" cy="25199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en-US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12223CDF-3A7C-8F4C-810A-EE1D335FCD16}"/>
              </a:ext>
            </a:extLst>
          </p:cNvPr>
          <p:cNvSpPr>
            <a:spLocks noGrp="1"/>
          </p:cNvSpPr>
          <p:nvPr>
            <p:ph sz="half" idx="36" hasCustomPrompt="1"/>
          </p:nvPr>
        </p:nvSpPr>
        <p:spPr>
          <a:xfrm>
            <a:off x="3372650" y="3955385"/>
            <a:ext cx="2519999" cy="361900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A5558273-1FC7-E843-9866-A9497718B860}"/>
              </a:ext>
            </a:extLst>
          </p:cNvPr>
          <p:cNvSpPr>
            <a:spLocks noGrp="1"/>
          </p:cNvSpPr>
          <p:nvPr>
            <p:ph sz="half" idx="37" hasCustomPrompt="1"/>
          </p:nvPr>
        </p:nvSpPr>
        <p:spPr>
          <a:xfrm>
            <a:off x="3372650" y="4227876"/>
            <a:ext cx="2519999" cy="240613"/>
          </a:xfrm>
        </p:spPr>
        <p:txBody>
          <a:bodyPr lIns="144000" tIns="0" rIns="144000" bIns="0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BEB3C68D-6148-464A-8B82-37AC6B895F49}"/>
              </a:ext>
            </a:extLst>
          </p:cNvPr>
          <p:cNvSpPr>
            <a:spLocks noGrp="1"/>
          </p:cNvSpPr>
          <p:nvPr>
            <p:ph sz="half" idx="38" hasCustomPrompt="1"/>
          </p:nvPr>
        </p:nvSpPr>
        <p:spPr>
          <a:xfrm>
            <a:off x="3372650" y="4555908"/>
            <a:ext cx="2519999" cy="1111452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description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F39ADD2-9734-C54C-AA4E-FBBC41B3C144}"/>
              </a:ext>
            </a:extLst>
          </p:cNvPr>
          <p:cNvSpPr/>
          <p:nvPr userDrawn="1"/>
        </p:nvSpPr>
        <p:spPr>
          <a:xfrm>
            <a:off x="6269249" y="3770314"/>
            <a:ext cx="2520000" cy="19539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6880F02D-1C4A-CB45-9F8A-C543AEF6320C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6266247" y="1249434"/>
            <a:ext cx="2519999" cy="25199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en-US"/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2178722B-382A-6946-BC0E-7781CE45CADE}"/>
              </a:ext>
            </a:extLst>
          </p:cNvPr>
          <p:cNvSpPr>
            <a:spLocks noGrp="1"/>
          </p:cNvSpPr>
          <p:nvPr>
            <p:ph sz="half" idx="40" hasCustomPrompt="1"/>
          </p:nvPr>
        </p:nvSpPr>
        <p:spPr>
          <a:xfrm>
            <a:off x="6268933" y="3955385"/>
            <a:ext cx="2519999" cy="361900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D86451F-3630-6944-BB39-75F37D4464DB}"/>
              </a:ext>
            </a:extLst>
          </p:cNvPr>
          <p:cNvSpPr/>
          <p:nvPr userDrawn="1"/>
        </p:nvSpPr>
        <p:spPr>
          <a:xfrm>
            <a:off x="9159843" y="3770314"/>
            <a:ext cx="2520000" cy="19539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1AB61663-0D96-4642-A228-1A2D0714443D}"/>
              </a:ext>
            </a:extLst>
          </p:cNvPr>
          <p:cNvSpPr>
            <a:spLocks noGrp="1"/>
          </p:cNvSpPr>
          <p:nvPr>
            <p:ph sz="half" idx="41" hasCustomPrompt="1"/>
          </p:nvPr>
        </p:nvSpPr>
        <p:spPr>
          <a:xfrm>
            <a:off x="6268933" y="4227876"/>
            <a:ext cx="2519999" cy="240613"/>
          </a:xfrm>
        </p:spPr>
        <p:txBody>
          <a:bodyPr lIns="144000" tIns="0" rIns="144000" bIns="0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54E0C9B1-3A97-3040-9960-B35315CB5CD9}"/>
              </a:ext>
            </a:extLst>
          </p:cNvPr>
          <p:cNvSpPr>
            <a:spLocks noGrp="1"/>
          </p:cNvSpPr>
          <p:nvPr>
            <p:ph sz="half" idx="42" hasCustomPrompt="1"/>
          </p:nvPr>
        </p:nvSpPr>
        <p:spPr>
          <a:xfrm>
            <a:off x="6268933" y="4555908"/>
            <a:ext cx="2519999" cy="1111452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description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F3E0DEDE-4C50-F14E-A93D-9A2628F1D035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9165534" y="1249434"/>
            <a:ext cx="2519999" cy="25199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en-US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BC57ADCC-AC0B-FF45-8BE8-B47C28A09A9A}"/>
              </a:ext>
            </a:extLst>
          </p:cNvPr>
          <p:cNvSpPr>
            <a:spLocks noGrp="1"/>
          </p:cNvSpPr>
          <p:nvPr>
            <p:ph sz="half" idx="44" hasCustomPrompt="1"/>
          </p:nvPr>
        </p:nvSpPr>
        <p:spPr>
          <a:xfrm>
            <a:off x="9159844" y="3955385"/>
            <a:ext cx="2519999" cy="361900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CD95B24-F794-FE4D-B4FE-596D993891C2}"/>
              </a:ext>
            </a:extLst>
          </p:cNvPr>
          <p:cNvSpPr>
            <a:spLocks noGrp="1"/>
          </p:cNvSpPr>
          <p:nvPr>
            <p:ph sz="half" idx="45" hasCustomPrompt="1"/>
          </p:nvPr>
        </p:nvSpPr>
        <p:spPr>
          <a:xfrm>
            <a:off x="9159844" y="4227876"/>
            <a:ext cx="2519999" cy="240613"/>
          </a:xfrm>
        </p:spPr>
        <p:txBody>
          <a:bodyPr lIns="144000" tIns="0" rIns="144000" bIns="0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F9D13F3B-BFDD-E449-89A3-09899F69D853}"/>
              </a:ext>
            </a:extLst>
          </p:cNvPr>
          <p:cNvSpPr>
            <a:spLocks noGrp="1"/>
          </p:cNvSpPr>
          <p:nvPr>
            <p:ph sz="half" idx="46" hasCustomPrompt="1"/>
          </p:nvPr>
        </p:nvSpPr>
        <p:spPr>
          <a:xfrm>
            <a:off x="9159844" y="4555908"/>
            <a:ext cx="2519999" cy="1111452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description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A680D401-A4C4-654C-B8A3-7C3D4AFC58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11757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40" name="Text Placeholder 10">
            <a:extLst>
              <a:ext uri="{FF2B5EF4-FFF2-40B4-BE49-F238E27FC236}">
                <a16:creationId xmlns:a16="http://schemas.microsoft.com/office/drawing/2014/main" id="{F7D3E733-BCD6-4E4C-87FF-2A7D4A94F7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61518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</p:spTree>
    <p:extLst>
      <p:ext uri="{BB962C8B-B14F-4D97-AF65-F5344CB8AC3E}">
        <p14:creationId xmlns:p14="http://schemas.microsoft.com/office/powerpoint/2010/main" val="371662196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5FC9B372-1D18-CD44-9039-78177B97E9A9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9D47B99-EF27-5942-89BD-A5F5A7668E4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D92B0CB6-4DE6-3245-98A9-33F14156AFA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2BDBA186-C518-B541-BECB-08013D778C6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" name="Media Placeholder 4">
            <a:extLst>
              <a:ext uri="{FF2B5EF4-FFF2-40B4-BE49-F238E27FC236}">
                <a16:creationId xmlns:a16="http://schemas.microsoft.com/office/drawing/2014/main" id="{ECE55E35-3A4B-8E4A-B6E9-FD453FE99CF7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3851328" y="1445625"/>
            <a:ext cx="7656437" cy="4303877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B9B00F4-7E66-794E-A858-8786691C23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16F0B3CA-FFB9-694E-AF6A-96A29DA4C6C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EF4AB42C-FD44-8B41-8837-D43E80FBFF7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47470" y="1445612"/>
            <a:ext cx="3054407" cy="423539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36459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nn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F2C16CA3-6D0D-0E44-9EB1-5D794641373D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5A869E0D-CB02-2348-B6B1-9B8AAA03620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4EBADADB-011F-6945-8750-B443EF2EC9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97B4393A-4BC3-1147-9C23-A4B67C445D4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  <p:graphicFrame>
        <p:nvGraphicFramePr>
          <p:cNvPr id="9" name="Table 108">
            <a:extLst>
              <a:ext uri="{FF2B5EF4-FFF2-40B4-BE49-F238E27FC236}">
                <a16:creationId xmlns:a16="http://schemas.microsoft.com/office/drawing/2014/main" id="{8CDBE5F4-E3F7-174C-AA64-964A58D3795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820059526"/>
              </p:ext>
            </p:extLst>
          </p:nvPr>
        </p:nvGraphicFramePr>
        <p:xfrm>
          <a:off x="4217262" y="1515281"/>
          <a:ext cx="7336728" cy="41503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8104">
                  <a:extLst>
                    <a:ext uri="{9D8B030D-6E8A-4147-A177-3AD203B41FA5}">
                      <a16:colId xmlns:a16="http://schemas.microsoft.com/office/drawing/2014/main" val="1191107196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1553911626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417984971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961193746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3140321673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4248754166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2187549160"/>
                    </a:ext>
                  </a:extLst>
                </a:gridCol>
              </a:tblGrid>
              <a:tr h="460200"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SUN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MON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TUE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WED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THU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FRI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SAT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4118390"/>
                  </a:ext>
                </a:extLst>
              </a:tr>
              <a:tr h="3690130"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6932779"/>
                  </a:ext>
                </a:extLst>
              </a:tr>
            </a:tbl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0C9E8EC0-435B-314C-838A-28066CA8D2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2D3D03BA-7108-9D43-87E6-C40DDAD275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F892D86-0AB6-0C42-9726-0A172F40B83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7471" y="1515281"/>
            <a:ext cx="3279132" cy="415033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10556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nnt Chart - Ye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AD0FB67B-6B57-4B4E-9ED9-8282ECA5ED90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76594604-47B5-BD46-9A09-318BD2D73F6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8" name="Picture 17" descr="A close up of a sign&#10;&#10;Description automatically generated">
              <a:extLst>
                <a:ext uri="{FF2B5EF4-FFF2-40B4-BE49-F238E27FC236}">
                  <a16:creationId xmlns:a16="http://schemas.microsoft.com/office/drawing/2014/main" id="{7EC9E442-9AE2-AE44-B3FC-23AC03F0978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828156C3-C5C9-9D48-9425-8227FC0FFC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C9E8EC0-435B-314C-838A-28066CA8D2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2D3D03BA-7108-9D43-87E6-C40DDAD275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619C80D-39F7-1E4B-9E37-DB764123974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021623695"/>
              </p:ext>
            </p:extLst>
          </p:nvPr>
        </p:nvGraphicFramePr>
        <p:xfrm>
          <a:off x="455960" y="1427532"/>
          <a:ext cx="11222017" cy="403245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8934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3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4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5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6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7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8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9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30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31"/>
                    </a:ext>
                  </a:extLst>
                </a:gridCol>
              </a:tblGrid>
              <a:tr h="373789"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3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4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5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6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7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8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9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0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1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2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3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4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5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6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7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8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9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0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1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2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3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4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5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6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7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8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9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30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31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JANUARY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FEBRUARY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9395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MARCH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APRIL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MAY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JUNE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JULY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AUGUST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SEPTEMBER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OCTOBER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NOVEMBER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DECEMBER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93B0498-AFAE-B644-910E-6D28BBDBFB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5645" y="1453375"/>
            <a:ext cx="884958" cy="335166"/>
          </a:xfrm>
        </p:spPr>
        <p:txBody>
          <a:bodyPr wrap="none" lIns="0" tIns="0" rIns="0" bIns="0" anchor="ctr" anchorCtr="0">
            <a:noAutofit/>
          </a:bodyPr>
          <a:lstStyle>
            <a:lvl1pPr marL="0" indent="0" algn="ctr">
              <a:buNone/>
              <a:defRPr sz="16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1200">
                <a:solidFill>
                  <a:schemeClr val="accent1"/>
                </a:solidFill>
              </a:defRPr>
            </a:lvl2pPr>
            <a:lvl3pPr marL="914400" indent="0" algn="ctr">
              <a:buNone/>
              <a:defRPr sz="1200">
                <a:solidFill>
                  <a:schemeClr val="accent1"/>
                </a:solidFill>
              </a:defRPr>
            </a:lvl3pPr>
            <a:lvl4pPr marL="1371600" indent="0" algn="ctr">
              <a:buNone/>
              <a:defRPr sz="1200">
                <a:solidFill>
                  <a:schemeClr val="accent1"/>
                </a:solidFill>
              </a:defRPr>
            </a:lvl4pPr>
            <a:lvl5pPr marL="1828800" indent="0" algn="ctr"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202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089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nnt Chart - Year -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>
            <a:extLst>
              <a:ext uri="{FF2B5EF4-FFF2-40B4-BE49-F238E27FC236}">
                <a16:creationId xmlns:a16="http://schemas.microsoft.com/office/drawing/2014/main" id="{25BB3EEC-8A2D-6843-9FDD-9B7599DF121F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19303AEF-C28A-D048-9B11-13CE7BB807F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30" name="Picture 29" descr="A close up of a sign&#10;&#10;Description automatically generated">
              <a:extLst>
                <a:ext uri="{FF2B5EF4-FFF2-40B4-BE49-F238E27FC236}">
                  <a16:creationId xmlns:a16="http://schemas.microsoft.com/office/drawing/2014/main" id="{103A7AAC-1A49-3143-A5AF-B067C76E75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80DB3FB0-1016-EA4D-B2E3-DC30261626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C9E8EC0-435B-314C-838A-28066CA8D2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2D3D03BA-7108-9D43-87E6-C40DDAD275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619C80D-39F7-1E4B-9E37-DB764123974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220831176"/>
              </p:ext>
            </p:extLst>
          </p:nvPr>
        </p:nvGraphicFramePr>
        <p:xfrm>
          <a:off x="455959" y="1427532"/>
          <a:ext cx="11216095" cy="403245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3997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373789"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JANUARY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FEBRUARY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MARCH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APRIL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MAY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JUNE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JULY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AUGUST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SEPTEMBER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OCTOBER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NOVEMBER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DECEMBER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9395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93B0498-AFAE-B644-910E-6D28BBDBFB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5643" y="1448513"/>
            <a:ext cx="1373155" cy="335166"/>
          </a:xfrm>
        </p:spPr>
        <p:txBody>
          <a:bodyPr wrap="none" lIns="0" tIns="0" rIns="0" bIns="0" anchor="ctr" anchorCtr="0">
            <a:noAutofit/>
          </a:bodyPr>
          <a:lstStyle>
            <a:lvl1pPr marL="0" indent="0" algn="ctr">
              <a:buNone/>
              <a:defRPr sz="16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1200">
                <a:solidFill>
                  <a:schemeClr val="accent1"/>
                </a:solidFill>
              </a:defRPr>
            </a:lvl2pPr>
            <a:lvl3pPr marL="914400" indent="0" algn="ctr">
              <a:buNone/>
              <a:defRPr sz="1200">
                <a:solidFill>
                  <a:schemeClr val="accent1"/>
                </a:solidFill>
              </a:defRPr>
            </a:lvl3pPr>
            <a:lvl4pPr marL="1371600" indent="0" algn="ctr">
              <a:buNone/>
              <a:defRPr sz="1200">
                <a:solidFill>
                  <a:schemeClr val="accent1"/>
                </a:solidFill>
              </a:defRPr>
            </a:lvl4pPr>
            <a:lvl5pPr marL="1828800" indent="0" algn="ctr"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Edit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4D909D-73C3-CF49-82A5-0593885377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644" y="1827103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1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1663F3FB-91AB-C047-9C3B-99E0398576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5644" y="2131979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2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B796EA9-AEC0-2E48-8405-8944FA512FF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5644" y="2436855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3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60E4288-A1A9-BF49-A895-2EBF2556920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5644" y="2741731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4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1061843-1392-7840-8C35-7EA3EDEA6A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5644" y="3046607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5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8E5C289-C107-6045-8076-27281607D32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5644" y="3351483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6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75EA098-C2E2-3F48-A898-B9399C0EC68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5644" y="3656359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7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2812D88-A6FF-EB4E-B04D-71657498083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5644" y="3961235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8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11F50CD-16BD-4349-8AAE-7DD429AF218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5644" y="4266111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9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D54A555-C9C1-6240-85A6-CCE36FC814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55644" y="4570987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10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B5406876-6781-8549-B961-07B178D7B6C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5644" y="4875863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11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7CD7E9E-0872-984A-B80E-E5260FFD537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5644" y="5180744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12</a:t>
            </a:r>
          </a:p>
        </p:txBody>
      </p:sp>
    </p:spTree>
    <p:extLst>
      <p:ext uri="{BB962C8B-B14F-4D97-AF65-F5344CB8AC3E}">
        <p14:creationId xmlns:p14="http://schemas.microsoft.com/office/powerpoint/2010/main" val="27428074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Content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9038"/>
            <a:ext cx="9809972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39"/>
            <a:ext cx="9809972" cy="47397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4738"/>
            <a:ext cx="9809972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4738"/>
            <a:ext cx="980971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9809711" cy="473976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52341"/>
            <a:ext cx="9809972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CF3FD55-47AD-4A02-85A8-E493FEB975E0}"/>
              </a:ext>
            </a:extLst>
          </p:cNvPr>
          <p:cNvSpPr/>
          <p:nvPr/>
        </p:nvSpPr>
        <p:spPr>
          <a:xfrm>
            <a:off x="10495510" y="0"/>
            <a:ext cx="1696490" cy="6858000"/>
          </a:xfrm>
          <a:custGeom>
            <a:avLst/>
            <a:gdLst>
              <a:gd name="connsiteX0" fmla="*/ 0 w 12179300"/>
              <a:gd name="connsiteY0" fmla="*/ 0 h 800100"/>
              <a:gd name="connsiteX1" fmla="*/ 12189460 w 12179300"/>
              <a:gd name="connsiteY1" fmla="*/ 0 h 800100"/>
              <a:gd name="connsiteX2" fmla="*/ 12189460 w 12179300"/>
              <a:gd name="connsiteY2" fmla="*/ 800100 h 800100"/>
              <a:gd name="connsiteX3" fmla="*/ 0 w 12179300"/>
              <a:gd name="connsiteY3" fmla="*/ 800100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79300" h="800100">
                <a:moveTo>
                  <a:pt x="0" y="0"/>
                </a:moveTo>
                <a:lnTo>
                  <a:pt x="12189460" y="0"/>
                </a:lnTo>
                <a:lnTo>
                  <a:pt x="12189460" y="800100"/>
                </a:lnTo>
                <a:lnTo>
                  <a:pt x="0" y="80010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5400000" scaled="0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5" name="Slide Number Placeholder 5">
            <a:extLst>
              <a:ext uri="{FF2B5EF4-FFF2-40B4-BE49-F238E27FC236}">
                <a16:creationId xmlns:a16="http://schemas.microsoft.com/office/drawing/2014/main" id="{C979639F-38C0-4628-BAAF-5AA7B0D1F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5124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33" name="Picture 32" descr="A close up of a sign&#10;&#10;Description automatically generated">
            <a:extLst>
              <a:ext uri="{FF2B5EF4-FFF2-40B4-BE49-F238E27FC236}">
                <a16:creationId xmlns:a16="http://schemas.microsoft.com/office/drawing/2014/main" id="{C57C82E1-714E-D445-B51F-2BF253D1A49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51218" y="6363046"/>
            <a:ext cx="1050007" cy="217001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A1CF02B1-E9E8-A24E-8F95-584F5D7244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2897" y="290971"/>
            <a:ext cx="1075849" cy="30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6113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Blank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49986" y="745859"/>
            <a:ext cx="10132150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61634" y="1577339"/>
            <a:ext cx="10132150" cy="4978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49986" y="251559"/>
            <a:ext cx="10132150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301" y="251559"/>
            <a:ext cx="10131880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1950" y="1577339"/>
            <a:ext cx="10131880" cy="49783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9986" y="749162"/>
            <a:ext cx="10132150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C9C87841-CAC5-4E6D-807E-39663948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93784" y="6317107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7F90567-BB15-6B46-A462-5253B49809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2897" y="290971"/>
            <a:ext cx="1075849" cy="30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39840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1474" y="2578916"/>
            <a:ext cx="4652005" cy="2899733"/>
          </a:xfrm>
          <a:custGeom>
            <a:avLst/>
            <a:gdLst>
              <a:gd name="connsiteX0" fmla="*/ 0 w 4648517"/>
              <a:gd name="connsiteY0" fmla="*/ 2899733 h 2899733"/>
              <a:gd name="connsiteX1" fmla="*/ 724933 w 4648517"/>
              <a:gd name="connsiteY1" fmla="*/ 0 h 2899733"/>
              <a:gd name="connsiteX2" fmla="*/ 4648517 w 4648517"/>
              <a:gd name="connsiteY2" fmla="*/ 0 h 2899733"/>
              <a:gd name="connsiteX3" fmla="*/ 3923584 w 4648517"/>
              <a:gd name="connsiteY3" fmla="*/ 2899733 h 2899733"/>
              <a:gd name="connsiteX4" fmla="*/ 0 w 4648517"/>
              <a:gd name="connsiteY4" fmla="*/ 2899733 h 2899733"/>
              <a:gd name="connsiteX0" fmla="*/ 3488 w 4652005"/>
              <a:gd name="connsiteY0" fmla="*/ 2899733 h 2899733"/>
              <a:gd name="connsiteX1" fmla="*/ 0 w 4652005"/>
              <a:gd name="connsiteY1" fmla="*/ 0 h 2899733"/>
              <a:gd name="connsiteX2" fmla="*/ 4652005 w 4652005"/>
              <a:gd name="connsiteY2" fmla="*/ 0 h 2899733"/>
              <a:gd name="connsiteX3" fmla="*/ 3927072 w 4652005"/>
              <a:gd name="connsiteY3" fmla="*/ 2899733 h 2899733"/>
              <a:gd name="connsiteX4" fmla="*/ 3488 w 4652005"/>
              <a:gd name="connsiteY4" fmla="*/ 2899733 h 2899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2005" h="2899733">
                <a:moveTo>
                  <a:pt x="3488" y="2899733"/>
                </a:moveTo>
                <a:cubicBezTo>
                  <a:pt x="2325" y="1933155"/>
                  <a:pt x="1163" y="966578"/>
                  <a:pt x="0" y="0"/>
                </a:cubicBezTo>
                <a:lnTo>
                  <a:pt x="4652005" y="0"/>
                </a:lnTo>
                <a:lnTo>
                  <a:pt x="3927072" y="2899733"/>
                </a:lnTo>
                <a:lnTo>
                  <a:pt x="3488" y="2899733"/>
                </a:lnTo>
                <a:close/>
              </a:path>
            </a:pathLst>
          </a:cu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Welcome Messag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DABE094-B3B9-E94A-BEA8-66B78744DE5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261675" y="78832"/>
            <a:ext cx="6930325" cy="564961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14"/>
              <a:gd name="connsiteX1" fmla="*/ 2000 w 10000"/>
              <a:gd name="connsiteY1" fmla="*/ 0 h 10014"/>
              <a:gd name="connsiteX2" fmla="*/ 10000 w 10000"/>
              <a:gd name="connsiteY2" fmla="*/ 0 h 10014"/>
              <a:gd name="connsiteX3" fmla="*/ 9979 w 10000"/>
              <a:gd name="connsiteY3" fmla="*/ 10014 h 10014"/>
              <a:gd name="connsiteX4" fmla="*/ 0 w 10000"/>
              <a:gd name="connsiteY4" fmla="*/ 10000 h 10014"/>
              <a:gd name="connsiteX0" fmla="*/ 0 w 10000"/>
              <a:gd name="connsiteY0" fmla="*/ 10000 h 10028"/>
              <a:gd name="connsiteX1" fmla="*/ 2000 w 10000"/>
              <a:gd name="connsiteY1" fmla="*/ 0 h 10028"/>
              <a:gd name="connsiteX2" fmla="*/ 10000 w 10000"/>
              <a:gd name="connsiteY2" fmla="*/ 0 h 10028"/>
              <a:gd name="connsiteX3" fmla="*/ 9945 w 10000"/>
              <a:gd name="connsiteY3" fmla="*/ 10028 h 10028"/>
              <a:gd name="connsiteX4" fmla="*/ 0 w 10000"/>
              <a:gd name="connsiteY4" fmla="*/ 10000 h 10028"/>
              <a:gd name="connsiteX0" fmla="*/ 0 w 10000"/>
              <a:gd name="connsiteY0" fmla="*/ 10000 h 10028"/>
              <a:gd name="connsiteX1" fmla="*/ 2000 w 10000"/>
              <a:gd name="connsiteY1" fmla="*/ 0 h 10028"/>
              <a:gd name="connsiteX2" fmla="*/ 10000 w 10000"/>
              <a:gd name="connsiteY2" fmla="*/ 0 h 10028"/>
              <a:gd name="connsiteX3" fmla="*/ 9990 w 10000"/>
              <a:gd name="connsiteY3" fmla="*/ 10028 h 10028"/>
              <a:gd name="connsiteX4" fmla="*/ 0 w 10000"/>
              <a:gd name="connsiteY4" fmla="*/ 10000 h 10028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9987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82" y="3343"/>
                  <a:pt x="10008" y="6644"/>
                  <a:pt x="9990" y="9987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 wrap="none" anchor="t" anchorCtr="0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DCDAC54-66E5-7F44-9B5C-53BCA9301B9D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098F300E-CF72-6642-BD96-4AA363E6442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Picture 9" descr="A close up of a sign&#10;&#10;Description automatically generated">
              <a:extLst>
                <a:ext uri="{FF2B5EF4-FFF2-40B4-BE49-F238E27FC236}">
                  <a16:creationId xmlns:a16="http://schemas.microsoft.com/office/drawing/2014/main" id="{12C65011-197F-9C43-98F1-AD4031BD56D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81E43CB8-9FB1-A54B-AD7D-E2F895CDFF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7579777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Branded Cover (Clean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AD8623F-CF98-4400-9223-3E03750A45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35F2FB4-2275-CE4E-9F79-705815AA19B3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DA41912-3988-C34D-8179-3D5C0B2235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9" name="Picture 8" descr="A close up of a sign&#10;&#10;Description automatically generated">
              <a:extLst>
                <a:ext uri="{FF2B5EF4-FFF2-40B4-BE49-F238E27FC236}">
                  <a16:creationId xmlns:a16="http://schemas.microsoft.com/office/drawing/2014/main" id="{34D62FC2-C116-2F45-B365-5354FD569D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3042947B-03F2-5B45-AF7C-F92F88E2F2B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79755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enie World Regions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icture containing map, flying, person&#10;&#10;Description automatically generated">
            <a:extLst>
              <a:ext uri="{FF2B5EF4-FFF2-40B4-BE49-F238E27FC236}">
                <a16:creationId xmlns:a16="http://schemas.microsoft.com/office/drawing/2014/main" id="{E3F0912E-066D-2E42-B309-33E587824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189" y="596199"/>
            <a:ext cx="10721270" cy="5599523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1AFC37D6-1376-5547-A31D-6B834166DD49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4F1310A-8553-9741-948D-4F8ADB29EF8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3" name="Picture 12" descr="A close up of a sign&#10;&#10;Description automatically generated">
              <a:extLst>
                <a:ext uri="{FF2B5EF4-FFF2-40B4-BE49-F238E27FC236}">
                  <a16:creationId xmlns:a16="http://schemas.microsoft.com/office/drawing/2014/main" id="{34066220-8EAF-5C48-BCA7-7DF030DC293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8BD2216E-B561-9E4A-ACC5-4B7AFC2E2B0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11757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45682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Blue Blank Construc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69ACADD-ACDB-4D31-8F88-A2A090EDE4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04514EA-8457-B74B-8524-1D58392AFA01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79377C9-F45F-D14E-80E7-2E2182A6C4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Picture 9" descr="A close up of a sign&#10;&#10;Description automatically generated">
              <a:extLst>
                <a:ext uri="{FF2B5EF4-FFF2-40B4-BE49-F238E27FC236}">
                  <a16:creationId xmlns:a16="http://schemas.microsoft.com/office/drawing/2014/main" id="{753ACD95-593D-D348-A0A8-FE135729A8A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49834D50-F146-B746-AA9C-F028C7C3ECB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1509111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Blue Blank Indoor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69ACADD-ACDB-4D31-8F88-A2A090EDE4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2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425E926-5E30-D644-B9AA-448DE4D82584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28E3DA3F-BACF-C048-A05B-B1B79A393F1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Picture 9" descr="A close up of a sign&#10;&#10;Description automatically generated">
              <a:extLst>
                <a:ext uri="{FF2B5EF4-FFF2-40B4-BE49-F238E27FC236}">
                  <a16:creationId xmlns:a16="http://schemas.microsoft.com/office/drawing/2014/main" id="{8BE0455A-152F-8E47-A912-1E9AE758DCB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CD62B948-68E1-744E-B41A-5B5BA12F177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367871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Blue Blan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69ACADD-ACDB-4D31-8F88-A2A090EDE4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813CB0B-51A1-9342-95F9-56DDF044D677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E0656225-5782-B448-B908-F275554A9C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Picture 9" descr="A close up of a sign&#10;&#10;Description automatically generated">
              <a:extLst>
                <a:ext uri="{FF2B5EF4-FFF2-40B4-BE49-F238E27FC236}">
                  <a16:creationId xmlns:a16="http://schemas.microsoft.com/office/drawing/2014/main" id="{1E7C2D77-1310-FD4B-AA40-329EA3EDE87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261777FF-1480-2F4F-8900-7861E47FF5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7218827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Blue XC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E4AE7E0-8CBB-EC4E-9137-299127948F72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B4681A2-F408-0F4C-9F82-9FD55B00C58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83E52CDC-19E9-194A-9DFF-9ADB8CE15A5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7BF62887-19FA-8343-AA28-44792CD5CC3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449605" y="6014280"/>
              <a:ext cx="1324937" cy="4126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2663342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Blue FE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801A06E-8031-0A4E-B478-9D0284567B76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69245C7-26C9-DB49-B0B5-558CF3ECC07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62ECD9E3-C652-2147-9B41-7186C746BA2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4A4748B0-1033-D446-814D-874F1FECC31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580628" y="6014280"/>
              <a:ext cx="1213401" cy="4044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2477733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Blue J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50F2F29-B37E-BA4F-ACA5-E943AD5EE473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F4DA303A-DF96-FA4D-87FA-A421E8FEAFA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B73596A5-8DED-514A-B242-B8246D6F50F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2EFC68B7-1789-734E-9FB2-AE8B7D8554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305741" y="5943470"/>
              <a:ext cx="1513688" cy="48162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4975048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Blue Blue-Green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6A9B10C-9DDB-E24B-A46E-54316F76DCE0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D7F49DA2-2022-FD48-85EE-9DB390A11C2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2E2F76F9-4873-1F41-B41C-1F0488315C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3351A54D-B98C-394D-83AA-ACE7DDC3524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658689" y="5992493"/>
              <a:ext cx="1115853" cy="4617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6799030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ft Connect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71B2C6D-291E-D040-8E6E-5F254211921A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112DEC00-049E-7645-9181-D9F07F34F86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E690EFDB-407A-EB4F-9785-23D9399DADF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C5595953-E871-CA4E-9629-56274DA9494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471181" y="6047510"/>
              <a:ext cx="2335111" cy="37945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8394881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ft Guard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96D61DF-A8BC-9746-8B37-486FC57043BC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C3DE7A2-C9D8-C745-8CAA-20F08D9DCE2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47228FC-C0C4-A449-ACBF-EF5BE6D8BC8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BE4DB17C-07D7-4546-A818-C5346F56897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812392" y="6142706"/>
              <a:ext cx="1993900" cy="2906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1343605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ft Tools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AFA3D22-3CD8-E943-AFEE-9A5D5FB95364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CDE0523E-178E-8441-A98C-615CC41CEB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56984F00-1600-EE44-BAA9-7844CC3B43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6177314B-69BA-7147-AB14-68668CB6447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812392" y="6141469"/>
              <a:ext cx="1993900" cy="3004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06675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eni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BCAB3CDB-BA00-CC41-A497-2E8239B59FEB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A3025578-8F6C-B742-8158-6BEA70C679D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44" name="Picture 43" descr="A close up of a sign&#10;&#10;Description automatically generated">
              <a:extLst>
                <a:ext uri="{FF2B5EF4-FFF2-40B4-BE49-F238E27FC236}">
                  <a16:creationId xmlns:a16="http://schemas.microsoft.com/office/drawing/2014/main" id="{1D9764C4-4CBE-194D-8B66-0842F87346B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45" name="Graphic 44">
              <a:extLst>
                <a:ext uri="{FF2B5EF4-FFF2-40B4-BE49-F238E27FC236}">
                  <a16:creationId xmlns:a16="http://schemas.microsoft.com/office/drawing/2014/main" id="{0932F3C0-3D63-8E40-A689-E7FAE63B4D9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nº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0A0F7E7-A8BB-E641-A79A-12F5D683E3E7}"/>
              </a:ext>
            </a:extLst>
          </p:cNvPr>
          <p:cNvSpPr/>
          <p:nvPr/>
        </p:nvSpPr>
        <p:spPr>
          <a:xfrm>
            <a:off x="467671" y="3770314"/>
            <a:ext cx="2520000" cy="19539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727A7549-AAEE-8E45-B9E7-4BFB2CF969A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67671" y="1249434"/>
            <a:ext cx="2519999" cy="25199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1A16608-8490-9E41-93B4-093F1D03C3FD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67355" y="3955385"/>
            <a:ext cx="2519999" cy="361900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7053AD1-A40F-BE4E-8802-265AAD725BB0}"/>
              </a:ext>
            </a:extLst>
          </p:cNvPr>
          <p:cNvSpPr/>
          <p:nvPr/>
        </p:nvSpPr>
        <p:spPr>
          <a:xfrm>
            <a:off x="3372649" y="3770314"/>
            <a:ext cx="2520000" cy="19539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9861AC81-7D24-F642-8F5B-7F9FC14F047C}"/>
              </a:ext>
            </a:extLst>
          </p:cNvPr>
          <p:cNvSpPr>
            <a:spLocks noGrp="1"/>
          </p:cNvSpPr>
          <p:nvPr>
            <p:ph sz="half" idx="33" hasCustomPrompt="1"/>
          </p:nvPr>
        </p:nvSpPr>
        <p:spPr>
          <a:xfrm>
            <a:off x="467355" y="4227876"/>
            <a:ext cx="2519999" cy="240613"/>
          </a:xfrm>
        </p:spPr>
        <p:txBody>
          <a:bodyPr lIns="144000" tIns="0" rIns="144000" bIns="0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281F41EA-ACBD-FA40-9C49-3E29182CC8BC}"/>
              </a:ext>
            </a:extLst>
          </p:cNvPr>
          <p:cNvSpPr>
            <a:spLocks noGrp="1"/>
          </p:cNvSpPr>
          <p:nvPr>
            <p:ph sz="half" idx="34" hasCustomPrompt="1"/>
          </p:nvPr>
        </p:nvSpPr>
        <p:spPr>
          <a:xfrm>
            <a:off x="467355" y="4555908"/>
            <a:ext cx="2519999" cy="1111452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description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52C7D324-15B4-AE43-A1E8-BF2E8194D89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366959" y="1249434"/>
            <a:ext cx="2519999" cy="25199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12223CDF-3A7C-8F4C-810A-EE1D335FCD16}"/>
              </a:ext>
            </a:extLst>
          </p:cNvPr>
          <p:cNvSpPr>
            <a:spLocks noGrp="1"/>
          </p:cNvSpPr>
          <p:nvPr>
            <p:ph sz="half" idx="36" hasCustomPrompt="1"/>
          </p:nvPr>
        </p:nvSpPr>
        <p:spPr>
          <a:xfrm>
            <a:off x="3372650" y="3955385"/>
            <a:ext cx="2519999" cy="361900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A5558273-1FC7-E843-9866-A9497718B860}"/>
              </a:ext>
            </a:extLst>
          </p:cNvPr>
          <p:cNvSpPr>
            <a:spLocks noGrp="1"/>
          </p:cNvSpPr>
          <p:nvPr>
            <p:ph sz="half" idx="37" hasCustomPrompt="1"/>
          </p:nvPr>
        </p:nvSpPr>
        <p:spPr>
          <a:xfrm>
            <a:off x="3372650" y="4227876"/>
            <a:ext cx="2519999" cy="240613"/>
          </a:xfrm>
        </p:spPr>
        <p:txBody>
          <a:bodyPr lIns="144000" tIns="0" rIns="144000" bIns="0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BEB3C68D-6148-464A-8B82-37AC6B895F49}"/>
              </a:ext>
            </a:extLst>
          </p:cNvPr>
          <p:cNvSpPr>
            <a:spLocks noGrp="1"/>
          </p:cNvSpPr>
          <p:nvPr>
            <p:ph sz="half" idx="38" hasCustomPrompt="1"/>
          </p:nvPr>
        </p:nvSpPr>
        <p:spPr>
          <a:xfrm>
            <a:off x="3372650" y="4555908"/>
            <a:ext cx="2519999" cy="1111452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description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F39ADD2-9734-C54C-AA4E-FBBC41B3C144}"/>
              </a:ext>
            </a:extLst>
          </p:cNvPr>
          <p:cNvSpPr/>
          <p:nvPr/>
        </p:nvSpPr>
        <p:spPr>
          <a:xfrm>
            <a:off x="6269249" y="3770314"/>
            <a:ext cx="2520000" cy="19539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6880F02D-1C4A-CB45-9F8A-C543AEF6320C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6266247" y="1249434"/>
            <a:ext cx="2519999" cy="25199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2178722B-382A-6946-BC0E-7781CE45CADE}"/>
              </a:ext>
            </a:extLst>
          </p:cNvPr>
          <p:cNvSpPr>
            <a:spLocks noGrp="1"/>
          </p:cNvSpPr>
          <p:nvPr>
            <p:ph sz="half" idx="40" hasCustomPrompt="1"/>
          </p:nvPr>
        </p:nvSpPr>
        <p:spPr>
          <a:xfrm>
            <a:off x="6268933" y="3955385"/>
            <a:ext cx="2519999" cy="361900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D86451F-3630-6944-BB39-75F37D4464DB}"/>
              </a:ext>
            </a:extLst>
          </p:cNvPr>
          <p:cNvSpPr/>
          <p:nvPr/>
        </p:nvSpPr>
        <p:spPr>
          <a:xfrm>
            <a:off x="9159843" y="3770314"/>
            <a:ext cx="2520000" cy="19539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1AB61663-0D96-4642-A228-1A2D0714443D}"/>
              </a:ext>
            </a:extLst>
          </p:cNvPr>
          <p:cNvSpPr>
            <a:spLocks noGrp="1"/>
          </p:cNvSpPr>
          <p:nvPr>
            <p:ph sz="half" idx="41" hasCustomPrompt="1"/>
          </p:nvPr>
        </p:nvSpPr>
        <p:spPr>
          <a:xfrm>
            <a:off x="6268933" y="4227876"/>
            <a:ext cx="2519999" cy="240613"/>
          </a:xfrm>
        </p:spPr>
        <p:txBody>
          <a:bodyPr lIns="144000" tIns="0" rIns="144000" bIns="0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54E0C9B1-3A97-3040-9960-B35315CB5CD9}"/>
              </a:ext>
            </a:extLst>
          </p:cNvPr>
          <p:cNvSpPr>
            <a:spLocks noGrp="1"/>
          </p:cNvSpPr>
          <p:nvPr>
            <p:ph sz="half" idx="42" hasCustomPrompt="1"/>
          </p:nvPr>
        </p:nvSpPr>
        <p:spPr>
          <a:xfrm>
            <a:off x="6268933" y="4555908"/>
            <a:ext cx="2519999" cy="1111452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description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F3E0DEDE-4C50-F14E-A93D-9A2628F1D035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9165534" y="1249434"/>
            <a:ext cx="2519999" cy="25199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BC57ADCC-AC0B-FF45-8BE8-B47C28A09A9A}"/>
              </a:ext>
            </a:extLst>
          </p:cNvPr>
          <p:cNvSpPr>
            <a:spLocks noGrp="1"/>
          </p:cNvSpPr>
          <p:nvPr>
            <p:ph sz="half" idx="44" hasCustomPrompt="1"/>
          </p:nvPr>
        </p:nvSpPr>
        <p:spPr>
          <a:xfrm>
            <a:off x="9159844" y="3955385"/>
            <a:ext cx="2519999" cy="361900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CD95B24-F794-FE4D-B4FE-596D993891C2}"/>
              </a:ext>
            </a:extLst>
          </p:cNvPr>
          <p:cNvSpPr>
            <a:spLocks noGrp="1"/>
          </p:cNvSpPr>
          <p:nvPr>
            <p:ph sz="half" idx="45" hasCustomPrompt="1"/>
          </p:nvPr>
        </p:nvSpPr>
        <p:spPr>
          <a:xfrm>
            <a:off x="9159844" y="4227876"/>
            <a:ext cx="2519999" cy="240613"/>
          </a:xfrm>
        </p:spPr>
        <p:txBody>
          <a:bodyPr lIns="144000" tIns="0" rIns="144000" bIns="0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F9D13F3B-BFDD-E449-89A3-09899F69D853}"/>
              </a:ext>
            </a:extLst>
          </p:cNvPr>
          <p:cNvSpPr>
            <a:spLocks noGrp="1"/>
          </p:cNvSpPr>
          <p:nvPr>
            <p:ph sz="half" idx="46" hasCustomPrompt="1"/>
          </p:nvPr>
        </p:nvSpPr>
        <p:spPr>
          <a:xfrm>
            <a:off x="9159844" y="4555908"/>
            <a:ext cx="2519999" cy="1111452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description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A680D401-A4C4-654C-B8A3-7C3D4AFC58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11757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40" name="Text Placeholder 10">
            <a:extLst>
              <a:ext uri="{FF2B5EF4-FFF2-40B4-BE49-F238E27FC236}">
                <a16:creationId xmlns:a16="http://schemas.microsoft.com/office/drawing/2014/main" id="{F7D3E733-BCD6-4E4C-87FF-2A7D4A94F7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61518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</p:spTree>
    <p:extLst>
      <p:ext uri="{BB962C8B-B14F-4D97-AF65-F5344CB8AC3E}">
        <p14:creationId xmlns:p14="http://schemas.microsoft.com/office/powerpoint/2010/main" val="40853839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ft Pro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04574EF-1A30-0F43-B9D0-54D1FE4D38EE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BDB23E91-BFB1-364C-8518-244145C9E22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2957FDE3-1730-1142-A01E-50E8B91F297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F32C1452-0972-CC4C-AD55-4164AD540BE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185400" y="6140158"/>
              <a:ext cx="1682750" cy="30049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6642997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erial Pros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1E8E4D0-F0B2-154A-8137-5C2CBB590AF5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6D33947B-417D-1D41-991B-5A7EC9437B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761D4D7F-F1E4-7144-AAAD-AA2099AF452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C137808C-95F3-6C46-9BBE-7F7DF0B2BB5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461500" y="6143074"/>
              <a:ext cx="2400300" cy="304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4832318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ie Genuine Parts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E9F10A6-1715-8841-8DD9-F5B0A98AB9B5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452D29D-8384-7046-9EC5-65A2DCEA708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Picture 9" descr="A close up of a sign&#10;&#10;Description automatically generated">
              <a:extLst>
                <a:ext uri="{FF2B5EF4-FFF2-40B4-BE49-F238E27FC236}">
                  <a16:creationId xmlns:a16="http://schemas.microsoft.com/office/drawing/2014/main" id="{F3F992AA-7A78-544E-91E4-59992A4A64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6AC81AF8-6557-624E-98FD-63B8CBC6F72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7457" y="5990802"/>
              <a:ext cx="2613881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8616567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: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71A6CB-62E9-8F48-B623-9C56007C59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7472" y="2297350"/>
            <a:ext cx="4821024" cy="3429729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introduction</a:t>
            </a:r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DA9F4D4C-52C8-A04E-B64E-2A13E9EE5F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2" y="276712"/>
            <a:ext cx="4821214" cy="950986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59" name="Content Placeholder 8">
            <a:extLst>
              <a:ext uri="{FF2B5EF4-FFF2-40B4-BE49-F238E27FC236}">
                <a16:creationId xmlns:a16="http://schemas.microsoft.com/office/drawing/2014/main" id="{C9DA2990-03A6-4A4D-AA3D-65C130A09DE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47663" y="1227698"/>
            <a:ext cx="4821024" cy="772265"/>
          </a:xfrm>
        </p:spPr>
        <p:txBody>
          <a:bodyPr anchor="ctr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6641DC85-885A-814D-89F1-77905E98F7B8}"/>
              </a:ext>
            </a:extLst>
          </p:cNvPr>
          <p:cNvGrpSpPr/>
          <p:nvPr userDrawn="1"/>
        </p:nvGrpSpPr>
        <p:grpSpPr>
          <a:xfrm>
            <a:off x="5439067" y="338430"/>
            <a:ext cx="2581305" cy="5413942"/>
            <a:chOff x="6402545" y="1249931"/>
            <a:chExt cx="2592388" cy="5437187"/>
          </a:xfrm>
        </p:grpSpPr>
        <p:sp>
          <p:nvSpPr>
            <p:cNvPr id="63" name="Freeform 6">
              <a:extLst>
                <a:ext uri="{FF2B5EF4-FFF2-40B4-BE49-F238E27FC236}">
                  <a16:creationId xmlns:a16="http://schemas.microsoft.com/office/drawing/2014/main" id="{CD0D6DB1-FFB1-7341-9E7F-EEE50CB65D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45407" y="1295968"/>
              <a:ext cx="2524125" cy="5365750"/>
            </a:xfrm>
            <a:custGeom>
              <a:avLst/>
              <a:gdLst>
                <a:gd name="T0" fmla="*/ 155 w 1172"/>
                <a:gd name="T1" fmla="*/ 2494 h 2494"/>
                <a:gd name="T2" fmla="*/ 0 w 1172"/>
                <a:gd name="T3" fmla="*/ 2338 h 2494"/>
                <a:gd name="T4" fmla="*/ 0 w 1172"/>
                <a:gd name="T5" fmla="*/ 156 h 2494"/>
                <a:gd name="T6" fmla="*/ 155 w 1172"/>
                <a:gd name="T7" fmla="*/ 0 h 2494"/>
                <a:gd name="T8" fmla="*/ 1016 w 1172"/>
                <a:gd name="T9" fmla="*/ 0 h 2494"/>
                <a:gd name="T10" fmla="*/ 1172 w 1172"/>
                <a:gd name="T11" fmla="*/ 156 h 2494"/>
                <a:gd name="T12" fmla="*/ 1172 w 1172"/>
                <a:gd name="T13" fmla="*/ 2338 h 2494"/>
                <a:gd name="T14" fmla="*/ 1016 w 1172"/>
                <a:gd name="T15" fmla="*/ 2494 h 2494"/>
                <a:gd name="T16" fmla="*/ 155 w 1172"/>
                <a:gd name="T17" fmla="*/ 2494 h 2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2" h="2494">
                  <a:moveTo>
                    <a:pt x="155" y="2494"/>
                  </a:moveTo>
                  <a:cubicBezTo>
                    <a:pt x="69" y="2494"/>
                    <a:pt x="0" y="2424"/>
                    <a:pt x="0" y="2338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65"/>
                    <a:pt x="65" y="0"/>
                    <a:pt x="155" y="0"/>
                  </a:cubicBezTo>
                  <a:cubicBezTo>
                    <a:pt x="1016" y="0"/>
                    <a:pt x="1016" y="0"/>
                    <a:pt x="1016" y="0"/>
                  </a:cubicBezTo>
                  <a:cubicBezTo>
                    <a:pt x="1105" y="0"/>
                    <a:pt x="1172" y="67"/>
                    <a:pt x="1172" y="156"/>
                  </a:cubicBezTo>
                  <a:cubicBezTo>
                    <a:pt x="1172" y="2338"/>
                    <a:pt x="1172" y="2338"/>
                    <a:pt x="1172" y="2338"/>
                  </a:cubicBezTo>
                  <a:cubicBezTo>
                    <a:pt x="1172" y="2424"/>
                    <a:pt x="1102" y="2494"/>
                    <a:pt x="1016" y="2494"/>
                  </a:cubicBezTo>
                  <a:lnTo>
                    <a:pt x="155" y="249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4" name="Freeform 9">
              <a:extLst>
                <a:ext uri="{FF2B5EF4-FFF2-40B4-BE49-F238E27FC236}">
                  <a16:creationId xmlns:a16="http://schemas.microsoft.com/office/drawing/2014/main" id="{A6B3979C-E62E-AC41-ADCA-0280D5E50FB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02545" y="1249931"/>
              <a:ext cx="2592388" cy="5437187"/>
            </a:xfrm>
            <a:custGeom>
              <a:avLst/>
              <a:gdLst>
                <a:gd name="T0" fmla="*/ 1157 w 1204"/>
                <a:gd name="T1" fmla="*/ 59 h 2528"/>
                <a:gd name="T2" fmla="*/ 1036 w 1204"/>
                <a:gd name="T3" fmla="*/ 10 h 2528"/>
                <a:gd name="T4" fmla="*/ 1001 w 1204"/>
                <a:gd name="T5" fmla="*/ 10 h 2528"/>
                <a:gd name="T6" fmla="*/ 1001 w 1204"/>
                <a:gd name="T7" fmla="*/ 4 h 2528"/>
                <a:gd name="T8" fmla="*/ 995 w 1204"/>
                <a:gd name="T9" fmla="*/ 0 h 2528"/>
                <a:gd name="T10" fmla="*/ 812 w 1204"/>
                <a:gd name="T11" fmla="*/ 0 h 2528"/>
                <a:gd name="T12" fmla="*/ 806 w 1204"/>
                <a:gd name="T13" fmla="*/ 4 h 2528"/>
                <a:gd name="T14" fmla="*/ 806 w 1204"/>
                <a:gd name="T15" fmla="*/ 10 h 2528"/>
                <a:gd name="T16" fmla="*/ 175 w 1204"/>
                <a:gd name="T17" fmla="*/ 10 h 2528"/>
                <a:gd name="T18" fmla="*/ 8 w 1204"/>
                <a:gd name="T19" fmla="*/ 178 h 2528"/>
                <a:gd name="T20" fmla="*/ 8 w 1204"/>
                <a:gd name="T21" fmla="*/ 354 h 2528"/>
                <a:gd name="T22" fmla="*/ 6 w 1204"/>
                <a:gd name="T23" fmla="*/ 354 h 2528"/>
                <a:gd name="T24" fmla="*/ 0 w 1204"/>
                <a:gd name="T25" fmla="*/ 360 h 2528"/>
                <a:gd name="T26" fmla="*/ 0 w 1204"/>
                <a:gd name="T27" fmla="*/ 465 h 2528"/>
                <a:gd name="T28" fmla="*/ 6 w 1204"/>
                <a:gd name="T29" fmla="*/ 470 h 2528"/>
                <a:gd name="T30" fmla="*/ 8 w 1204"/>
                <a:gd name="T31" fmla="*/ 470 h 2528"/>
                <a:gd name="T32" fmla="*/ 8 w 1204"/>
                <a:gd name="T33" fmla="*/ 594 h 2528"/>
                <a:gd name="T34" fmla="*/ 6 w 1204"/>
                <a:gd name="T35" fmla="*/ 594 h 2528"/>
                <a:gd name="T36" fmla="*/ 0 w 1204"/>
                <a:gd name="T37" fmla="*/ 600 h 2528"/>
                <a:gd name="T38" fmla="*/ 0 w 1204"/>
                <a:gd name="T39" fmla="*/ 675 h 2528"/>
                <a:gd name="T40" fmla="*/ 6 w 1204"/>
                <a:gd name="T41" fmla="*/ 681 h 2528"/>
                <a:gd name="T42" fmla="*/ 8 w 1204"/>
                <a:gd name="T43" fmla="*/ 681 h 2528"/>
                <a:gd name="T44" fmla="*/ 8 w 1204"/>
                <a:gd name="T45" fmla="*/ 802 h 2528"/>
                <a:gd name="T46" fmla="*/ 6 w 1204"/>
                <a:gd name="T47" fmla="*/ 802 h 2528"/>
                <a:gd name="T48" fmla="*/ 0 w 1204"/>
                <a:gd name="T49" fmla="*/ 807 h 2528"/>
                <a:gd name="T50" fmla="*/ 0 w 1204"/>
                <a:gd name="T51" fmla="*/ 885 h 2528"/>
                <a:gd name="T52" fmla="*/ 6 w 1204"/>
                <a:gd name="T53" fmla="*/ 891 h 2528"/>
                <a:gd name="T54" fmla="*/ 8 w 1204"/>
                <a:gd name="T55" fmla="*/ 891 h 2528"/>
                <a:gd name="T56" fmla="*/ 8 w 1204"/>
                <a:gd name="T57" fmla="*/ 2360 h 2528"/>
                <a:gd name="T58" fmla="*/ 175 w 1204"/>
                <a:gd name="T59" fmla="*/ 2528 h 2528"/>
                <a:gd name="T60" fmla="*/ 1036 w 1204"/>
                <a:gd name="T61" fmla="*/ 2528 h 2528"/>
                <a:gd name="T62" fmla="*/ 1204 w 1204"/>
                <a:gd name="T63" fmla="*/ 2360 h 2528"/>
                <a:gd name="T64" fmla="*/ 1204 w 1204"/>
                <a:gd name="T65" fmla="*/ 178 h 2528"/>
                <a:gd name="T66" fmla="*/ 1157 w 1204"/>
                <a:gd name="T67" fmla="*/ 59 h 2528"/>
                <a:gd name="T68" fmla="*/ 1180 w 1204"/>
                <a:gd name="T69" fmla="*/ 2360 h 2528"/>
                <a:gd name="T70" fmla="*/ 1036 w 1204"/>
                <a:gd name="T71" fmla="*/ 2504 h 2528"/>
                <a:gd name="T72" fmla="*/ 175 w 1204"/>
                <a:gd name="T73" fmla="*/ 2504 h 2528"/>
                <a:gd name="T74" fmla="*/ 32 w 1204"/>
                <a:gd name="T75" fmla="*/ 2360 h 2528"/>
                <a:gd name="T76" fmla="*/ 32 w 1204"/>
                <a:gd name="T77" fmla="*/ 178 h 2528"/>
                <a:gd name="T78" fmla="*/ 175 w 1204"/>
                <a:gd name="T79" fmla="*/ 34 h 2528"/>
                <a:gd name="T80" fmla="*/ 1036 w 1204"/>
                <a:gd name="T81" fmla="*/ 34 h 2528"/>
                <a:gd name="T82" fmla="*/ 1180 w 1204"/>
                <a:gd name="T83" fmla="*/ 178 h 2528"/>
                <a:gd name="T84" fmla="*/ 1180 w 1204"/>
                <a:gd name="T85" fmla="*/ 2360 h 2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4" h="2528">
                  <a:moveTo>
                    <a:pt x="1157" y="59"/>
                  </a:moveTo>
                  <a:cubicBezTo>
                    <a:pt x="1126" y="28"/>
                    <a:pt x="1083" y="10"/>
                    <a:pt x="1036" y="10"/>
                  </a:cubicBezTo>
                  <a:cubicBezTo>
                    <a:pt x="1001" y="10"/>
                    <a:pt x="1001" y="10"/>
                    <a:pt x="1001" y="10"/>
                  </a:cubicBezTo>
                  <a:cubicBezTo>
                    <a:pt x="1001" y="4"/>
                    <a:pt x="1001" y="4"/>
                    <a:pt x="1001" y="4"/>
                  </a:cubicBezTo>
                  <a:cubicBezTo>
                    <a:pt x="1001" y="2"/>
                    <a:pt x="998" y="0"/>
                    <a:pt x="995" y="0"/>
                  </a:cubicBezTo>
                  <a:cubicBezTo>
                    <a:pt x="812" y="0"/>
                    <a:pt x="812" y="0"/>
                    <a:pt x="812" y="0"/>
                  </a:cubicBezTo>
                  <a:cubicBezTo>
                    <a:pt x="809" y="0"/>
                    <a:pt x="806" y="2"/>
                    <a:pt x="806" y="4"/>
                  </a:cubicBezTo>
                  <a:cubicBezTo>
                    <a:pt x="806" y="10"/>
                    <a:pt x="806" y="10"/>
                    <a:pt x="806" y="10"/>
                  </a:cubicBezTo>
                  <a:cubicBezTo>
                    <a:pt x="175" y="10"/>
                    <a:pt x="175" y="10"/>
                    <a:pt x="175" y="10"/>
                  </a:cubicBezTo>
                  <a:cubicBezTo>
                    <a:pt x="78" y="10"/>
                    <a:pt x="8" y="81"/>
                    <a:pt x="8" y="178"/>
                  </a:cubicBezTo>
                  <a:cubicBezTo>
                    <a:pt x="8" y="354"/>
                    <a:pt x="8" y="354"/>
                    <a:pt x="8" y="354"/>
                  </a:cubicBezTo>
                  <a:cubicBezTo>
                    <a:pt x="6" y="354"/>
                    <a:pt x="6" y="354"/>
                    <a:pt x="6" y="354"/>
                  </a:cubicBezTo>
                  <a:cubicBezTo>
                    <a:pt x="3" y="354"/>
                    <a:pt x="0" y="357"/>
                    <a:pt x="0" y="360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468"/>
                    <a:pt x="3" y="470"/>
                    <a:pt x="6" y="470"/>
                  </a:cubicBezTo>
                  <a:cubicBezTo>
                    <a:pt x="8" y="470"/>
                    <a:pt x="8" y="470"/>
                    <a:pt x="8" y="470"/>
                  </a:cubicBezTo>
                  <a:cubicBezTo>
                    <a:pt x="8" y="594"/>
                    <a:pt x="8" y="594"/>
                    <a:pt x="8" y="594"/>
                  </a:cubicBezTo>
                  <a:cubicBezTo>
                    <a:pt x="6" y="594"/>
                    <a:pt x="6" y="594"/>
                    <a:pt x="6" y="594"/>
                  </a:cubicBezTo>
                  <a:cubicBezTo>
                    <a:pt x="3" y="594"/>
                    <a:pt x="0" y="597"/>
                    <a:pt x="0" y="600"/>
                  </a:cubicBezTo>
                  <a:cubicBezTo>
                    <a:pt x="0" y="675"/>
                    <a:pt x="0" y="675"/>
                    <a:pt x="0" y="675"/>
                  </a:cubicBezTo>
                  <a:cubicBezTo>
                    <a:pt x="0" y="678"/>
                    <a:pt x="3" y="681"/>
                    <a:pt x="6" y="681"/>
                  </a:cubicBezTo>
                  <a:cubicBezTo>
                    <a:pt x="8" y="681"/>
                    <a:pt x="8" y="681"/>
                    <a:pt x="8" y="681"/>
                  </a:cubicBezTo>
                  <a:cubicBezTo>
                    <a:pt x="8" y="802"/>
                    <a:pt x="8" y="802"/>
                    <a:pt x="8" y="802"/>
                  </a:cubicBezTo>
                  <a:cubicBezTo>
                    <a:pt x="6" y="802"/>
                    <a:pt x="6" y="802"/>
                    <a:pt x="6" y="802"/>
                  </a:cubicBezTo>
                  <a:cubicBezTo>
                    <a:pt x="3" y="802"/>
                    <a:pt x="0" y="804"/>
                    <a:pt x="0" y="807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888"/>
                    <a:pt x="3" y="891"/>
                    <a:pt x="6" y="891"/>
                  </a:cubicBezTo>
                  <a:cubicBezTo>
                    <a:pt x="8" y="891"/>
                    <a:pt x="8" y="891"/>
                    <a:pt x="8" y="891"/>
                  </a:cubicBezTo>
                  <a:cubicBezTo>
                    <a:pt x="8" y="2360"/>
                    <a:pt x="8" y="2360"/>
                    <a:pt x="8" y="2360"/>
                  </a:cubicBezTo>
                  <a:cubicBezTo>
                    <a:pt x="8" y="2452"/>
                    <a:pt x="83" y="2528"/>
                    <a:pt x="175" y="2528"/>
                  </a:cubicBezTo>
                  <a:cubicBezTo>
                    <a:pt x="1036" y="2528"/>
                    <a:pt x="1036" y="2528"/>
                    <a:pt x="1036" y="2528"/>
                  </a:cubicBezTo>
                  <a:cubicBezTo>
                    <a:pt x="1129" y="2528"/>
                    <a:pt x="1204" y="2452"/>
                    <a:pt x="1204" y="2360"/>
                  </a:cubicBezTo>
                  <a:cubicBezTo>
                    <a:pt x="1204" y="178"/>
                    <a:pt x="1204" y="178"/>
                    <a:pt x="1204" y="178"/>
                  </a:cubicBezTo>
                  <a:cubicBezTo>
                    <a:pt x="1204" y="132"/>
                    <a:pt x="1187" y="90"/>
                    <a:pt x="1157" y="59"/>
                  </a:cubicBezTo>
                  <a:close/>
                  <a:moveTo>
                    <a:pt x="1180" y="2360"/>
                  </a:moveTo>
                  <a:cubicBezTo>
                    <a:pt x="1180" y="2439"/>
                    <a:pt x="1116" y="2504"/>
                    <a:pt x="1036" y="2504"/>
                  </a:cubicBezTo>
                  <a:cubicBezTo>
                    <a:pt x="175" y="2504"/>
                    <a:pt x="175" y="2504"/>
                    <a:pt x="175" y="2504"/>
                  </a:cubicBezTo>
                  <a:cubicBezTo>
                    <a:pt x="96" y="2504"/>
                    <a:pt x="32" y="2439"/>
                    <a:pt x="32" y="2360"/>
                  </a:cubicBezTo>
                  <a:cubicBezTo>
                    <a:pt x="32" y="178"/>
                    <a:pt x="32" y="178"/>
                    <a:pt x="32" y="178"/>
                  </a:cubicBezTo>
                  <a:cubicBezTo>
                    <a:pt x="32" y="94"/>
                    <a:pt x="91" y="34"/>
                    <a:pt x="175" y="34"/>
                  </a:cubicBezTo>
                  <a:cubicBezTo>
                    <a:pt x="1036" y="34"/>
                    <a:pt x="1036" y="34"/>
                    <a:pt x="1036" y="34"/>
                  </a:cubicBezTo>
                  <a:cubicBezTo>
                    <a:pt x="1121" y="34"/>
                    <a:pt x="1180" y="98"/>
                    <a:pt x="1180" y="178"/>
                  </a:cubicBezTo>
                  <a:lnTo>
                    <a:pt x="1180" y="23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65" name="Picture Placeholder 17">
            <a:extLst>
              <a:ext uri="{FF2B5EF4-FFF2-40B4-BE49-F238E27FC236}">
                <a16:creationId xmlns:a16="http://schemas.microsoft.com/office/drawing/2014/main" id="{7D7868EB-ED02-384A-BB89-42F228E0F827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607805" y="520376"/>
            <a:ext cx="2260794" cy="5067616"/>
          </a:xfrm>
          <a:prstGeom prst="roundRect">
            <a:avLst>
              <a:gd name="adj" fmla="val 10376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1600" baseline="-25000">
                <a:solidFill>
                  <a:schemeClr val="bg1"/>
                </a:solidFill>
              </a:defRPr>
            </a:lvl1pPr>
          </a:lstStyle>
          <a:p>
            <a:r>
              <a:rPr lang="en-AU"/>
              <a:t>Click to add pictur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7F2F698-835D-6C42-AE78-0D943ABB2B4C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E0FFF26-37AB-0E44-B223-216BE21BBD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4" name="Picture 13" descr="A close up of a sign&#10;&#10;Description automatically generated">
              <a:extLst>
                <a:ext uri="{FF2B5EF4-FFF2-40B4-BE49-F238E27FC236}">
                  <a16:creationId xmlns:a16="http://schemas.microsoft.com/office/drawing/2014/main" id="{0E89767C-0F18-CF41-B300-11BE2146ADD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316B86D4-F29E-7548-9EB5-1FC609BC6DB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739487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 animBg="1"/>
    </p:bld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: Two Ph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9611AF75-BF28-F342-BCD3-2B35229FB128}"/>
              </a:ext>
            </a:extLst>
          </p:cNvPr>
          <p:cNvGrpSpPr/>
          <p:nvPr userDrawn="1"/>
        </p:nvGrpSpPr>
        <p:grpSpPr>
          <a:xfrm>
            <a:off x="9059945" y="324743"/>
            <a:ext cx="2568950" cy="5388029"/>
            <a:chOff x="6402545" y="1249931"/>
            <a:chExt cx="2592388" cy="5437187"/>
          </a:xfrm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D41993E-E7BB-1349-A273-C795E290A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45407" y="1295968"/>
              <a:ext cx="2524125" cy="5365750"/>
            </a:xfrm>
            <a:custGeom>
              <a:avLst/>
              <a:gdLst>
                <a:gd name="T0" fmla="*/ 155 w 1172"/>
                <a:gd name="T1" fmla="*/ 2494 h 2494"/>
                <a:gd name="T2" fmla="*/ 0 w 1172"/>
                <a:gd name="T3" fmla="*/ 2338 h 2494"/>
                <a:gd name="T4" fmla="*/ 0 w 1172"/>
                <a:gd name="T5" fmla="*/ 156 h 2494"/>
                <a:gd name="T6" fmla="*/ 155 w 1172"/>
                <a:gd name="T7" fmla="*/ 0 h 2494"/>
                <a:gd name="T8" fmla="*/ 1016 w 1172"/>
                <a:gd name="T9" fmla="*/ 0 h 2494"/>
                <a:gd name="T10" fmla="*/ 1172 w 1172"/>
                <a:gd name="T11" fmla="*/ 156 h 2494"/>
                <a:gd name="T12" fmla="*/ 1172 w 1172"/>
                <a:gd name="T13" fmla="*/ 2338 h 2494"/>
                <a:gd name="T14" fmla="*/ 1016 w 1172"/>
                <a:gd name="T15" fmla="*/ 2494 h 2494"/>
                <a:gd name="T16" fmla="*/ 155 w 1172"/>
                <a:gd name="T17" fmla="*/ 2494 h 2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2" h="2494">
                  <a:moveTo>
                    <a:pt x="155" y="2494"/>
                  </a:moveTo>
                  <a:cubicBezTo>
                    <a:pt x="69" y="2494"/>
                    <a:pt x="0" y="2424"/>
                    <a:pt x="0" y="2338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65"/>
                    <a:pt x="65" y="0"/>
                    <a:pt x="155" y="0"/>
                  </a:cubicBezTo>
                  <a:cubicBezTo>
                    <a:pt x="1016" y="0"/>
                    <a:pt x="1016" y="0"/>
                    <a:pt x="1016" y="0"/>
                  </a:cubicBezTo>
                  <a:cubicBezTo>
                    <a:pt x="1105" y="0"/>
                    <a:pt x="1172" y="67"/>
                    <a:pt x="1172" y="156"/>
                  </a:cubicBezTo>
                  <a:cubicBezTo>
                    <a:pt x="1172" y="2338"/>
                    <a:pt x="1172" y="2338"/>
                    <a:pt x="1172" y="2338"/>
                  </a:cubicBezTo>
                  <a:cubicBezTo>
                    <a:pt x="1172" y="2424"/>
                    <a:pt x="1102" y="2494"/>
                    <a:pt x="1016" y="2494"/>
                  </a:cubicBezTo>
                  <a:lnTo>
                    <a:pt x="155" y="249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BF4460A6-AE20-A546-A06A-B5065892B44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02545" y="1249931"/>
              <a:ext cx="2592388" cy="5437187"/>
            </a:xfrm>
            <a:custGeom>
              <a:avLst/>
              <a:gdLst>
                <a:gd name="T0" fmla="*/ 1157 w 1204"/>
                <a:gd name="T1" fmla="*/ 59 h 2528"/>
                <a:gd name="T2" fmla="*/ 1036 w 1204"/>
                <a:gd name="T3" fmla="*/ 10 h 2528"/>
                <a:gd name="T4" fmla="*/ 1001 w 1204"/>
                <a:gd name="T5" fmla="*/ 10 h 2528"/>
                <a:gd name="T6" fmla="*/ 1001 w 1204"/>
                <a:gd name="T7" fmla="*/ 4 h 2528"/>
                <a:gd name="T8" fmla="*/ 995 w 1204"/>
                <a:gd name="T9" fmla="*/ 0 h 2528"/>
                <a:gd name="T10" fmla="*/ 812 w 1204"/>
                <a:gd name="T11" fmla="*/ 0 h 2528"/>
                <a:gd name="T12" fmla="*/ 806 w 1204"/>
                <a:gd name="T13" fmla="*/ 4 h 2528"/>
                <a:gd name="T14" fmla="*/ 806 w 1204"/>
                <a:gd name="T15" fmla="*/ 10 h 2528"/>
                <a:gd name="T16" fmla="*/ 175 w 1204"/>
                <a:gd name="T17" fmla="*/ 10 h 2528"/>
                <a:gd name="T18" fmla="*/ 8 w 1204"/>
                <a:gd name="T19" fmla="*/ 178 h 2528"/>
                <a:gd name="T20" fmla="*/ 8 w 1204"/>
                <a:gd name="T21" fmla="*/ 354 h 2528"/>
                <a:gd name="T22" fmla="*/ 6 w 1204"/>
                <a:gd name="T23" fmla="*/ 354 h 2528"/>
                <a:gd name="T24" fmla="*/ 0 w 1204"/>
                <a:gd name="T25" fmla="*/ 360 h 2528"/>
                <a:gd name="T26" fmla="*/ 0 w 1204"/>
                <a:gd name="T27" fmla="*/ 465 h 2528"/>
                <a:gd name="T28" fmla="*/ 6 w 1204"/>
                <a:gd name="T29" fmla="*/ 470 h 2528"/>
                <a:gd name="T30" fmla="*/ 8 w 1204"/>
                <a:gd name="T31" fmla="*/ 470 h 2528"/>
                <a:gd name="T32" fmla="*/ 8 w 1204"/>
                <a:gd name="T33" fmla="*/ 594 h 2528"/>
                <a:gd name="T34" fmla="*/ 6 w 1204"/>
                <a:gd name="T35" fmla="*/ 594 h 2528"/>
                <a:gd name="T36" fmla="*/ 0 w 1204"/>
                <a:gd name="T37" fmla="*/ 600 h 2528"/>
                <a:gd name="T38" fmla="*/ 0 w 1204"/>
                <a:gd name="T39" fmla="*/ 675 h 2528"/>
                <a:gd name="T40" fmla="*/ 6 w 1204"/>
                <a:gd name="T41" fmla="*/ 681 h 2528"/>
                <a:gd name="T42" fmla="*/ 8 w 1204"/>
                <a:gd name="T43" fmla="*/ 681 h 2528"/>
                <a:gd name="T44" fmla="*/ 8 w 1204"/>
                <a:gd name="T45" fmla="*/ 802 h 2528"/>
                <a:gd name="T46" fmla="*/ 6 w 1204"/>
                <a:gd name="T47" fmla="*/ 802 h 2528"/>
                <a:gd name="T48" fmla="*/ 0 w 1204"/>
                <a:gd name="T49" fmla="*/ 807 h 2528"/>
                <a:gd name="T50" fmla="*/ 0 w 1204"/>
                <a:gd name="T51" fmla="*/ 885 h 2528"/>
                <a:gd name="T52" fmla="*/ 6 w 1204"/>
                <a:gd name="T53" fmla="*/ 891 h 2528"/>
                <a:gd name="T54" fmla="*/ 8 w 1204"/>
                <a:gd name="T55" fmla="*/ 891 h 2528"/>
                <a:gd name="T56" fmla="*/ 8 w 1204"/>
                <a:gd name="T57" fmla="*/ 2360 h 2528"/>
                <a:gd name="T58" fmla="*/ 175 w 1204"/>
                <a:gd name="T59" fmla="*/ 2528 h 2528"/>
                <a:gd name="T60" fmla="*/ 1036 w 1204"/>
                <a:gd name="T61" fmla="*/ 2528 h 2528"/>
                <a:gd name="T62" fmla="*/ 1204 w 1204"/>
                <a:gd name="T63" fmla="*/ 2360 h 2528"/>
                <a:gd name="T64" fmla="*/ 1204 w 1204"/>
                <a:gd name="T65" fmla="*/ 178 h 2528"/>
                <a:gd name="T66" fmla="*/ 1157 w 1204"/>
                <a:gd name="T67" fmla="*/ 59 h 2528"/>
                <a:gd name="T68" fmla="*/ 1180 w 1204"/>
                <a:gd name="T69" fmla="*/ 2360 h 2528"/>
                <a:gd name="T70" fmla="*/ 1036 w 1204"/>
                <a:gd name="T71" fmla="*/ 2504 h 2528"/>
                <a:gd name="T72" fmla="*/ 175 w 1204"/>
                <a:gd name="T73" fmla="*/ 2504 h 2528"/>
                <a:gd name="T74" fmla="*/ 32 w 1204"/>
                <a:gd name="T75" fmla="*/ 2360 h 2528"/>
                <a:gd name="T76" fmla="*/ 32 w 1204"/>
                <a:gd name="T77" fmla="*/ 178 h 2528"/>
                <a:gd name="T78" fmla="*/ 175 w 1204"/>
                <a:gd name="T79" fmla="*/ 34 h 2528"/>
                <a:gd name="T80" fmla="*/ 1036 w 1204"/>
                <a:gd name="T81" fmla="*/ 34 h 2528"/>
                <a:gd name="T82" fmla="*/ 1180 w 1204"/>
                <a:gd name="T83" fmla="*/ 178 h 2528"/>
                <a:gd name="T84" fmla="*/ 1180 w 1204"/>
                <a:gd name="T85" fmla="*/ 2360 h 2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4" h="2528">
                  <a:moveTo>
                    <a:pt x="1157" y="59"/>
                  </a:moveTo>
                  <a:cubicBezTo>
                    <a:pt x="1126" y="28"/>
                    <a:pt x="1083" y="10"/>
                    <a:pt x="1036" y="10"/>
                  </a:cubicBezTo>
                  <a:cubicBezTo>
                    <a:pt x="1001" y="10"/>
                    <a:pt x="1001" y="10"/>
                    <a:pt x="1001" y="10"/>
                  </a:cubicBezTo>
                  <a:cubicBezTo>
                    <a:pt x="1001" y="4"/>
                    <a:pt x="1001" y="4"/>
                    <a:pt x="1001" y="4"/>
                  </a:cubicBezTo>
                  <a:cubicBezTo>
                    <a:pt x="1001" y="2"/>
                    <a:pt x="998" y="0"/>
                    <a:pt x="995" y="0"/>
                  </a:cubicBezTo>
                  <a:cubicBezTo>
                    <a:pt x="812" y="0"/>
                    <a:pt x="812" y="0"/>
                    <a:pt x="812" y="0"/>
                  </a:cubicBezTo>
                  <a:cubicBezTo>
                    <a:pt x="809" y="0"/>
                    <a:pt x="806" y="2"/>
                    <a:pt x="806" y="4"/>
                  </a:cubicBezTo>
                  <a:cubicBezTo>
                    <a:pt x="806" y="10"/>
                    <a:pt x="806" y="10"/>
                    <a:pt x="806" y="10"/>
                  </a:cubicBezTo>
                  <a:cubicBezTo>
                    <a:pt x="175" y="10"/>
                    <a:pt x="175" y="10"/>
                    <a:pt x="175" y="10"/>
                  </a:cubicBezTo>
                  <a:cubicBezTo>
                    <a:pt x="78" y="10"/>
                    <a:pt x="8" y="81"/>
                    <a:pt x="8" y="178"/>
                  </a:cubicBezTo>
                  <a:cubicBezTo>
                    <a:pt x="8" y="354"/>
                    <a:pt x="8" y="354"/>
                    <a:pt x="8" y="354"/>
                  </a:cubicBezTo>
                  <a:cubicBezTo>
                    <a:pt x="6" y="354"/>
                    <a:pt x="6" y="354"/>
                    <a:pt x="6" y="354"/>
                  </a:cubicBezTo>
                  <a:cubicBezTo>
                    <a:pt x="3" y="354"/>
                    <a:pt x="0" y="357"/>
                    <a:pt x="0" y="360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468"/>
                    <a:pt x="3" y="470"/>
                    <a:pt x="6" y="470"/>
                  </a:cubicBezTo>
                  <a:cubicBezTo>
                    <a:pt x="8" y="470"/>
                    <a:pt x="8" y="470"/>
                    <a:pt x="8" y="470"/>
                  </a:cubicBezTo>
                  <a:cubicBezTo>
                    <a:pt x="8" y="594"/>
                    <a:pt x="8" y="594"/>
                    <a:pt x="8" y="594"/>
                  </a:cubicBezTo>
                  <a:cubicBezTo>
                    <a:pt x="6" y="594"/>
                    <a:pt x="6" y="594"/>
                    <a:pt x="6" y="594"/>
                  </a:cubicBezTo>
                  <a:cubicBezTo>
                    <a:pt x="3" y="594"/>
                    <a:pt x="0" y="597"/>
                    <a:pt x="0" y="600"/>
                  </a:cubicBezTo>
                  <a:cubicBezTo>
                    <a:pt x="0" y="675"/>
                    <a:pt x="0" y="675"/>
                    <a:pt x="0" y="675"/>
                  </a:cubicBezTo>
                  <a:cubicBezTo>
                    <a:pt x="0" y="678"/>
                    <a:pt x="3" y="681"/>
                    <a:pt x="6" y="681"/>
                  </a:cubicBezTo>
                  <a:cubicBezTo>
                    <a:pt x="8" y="681"/>
                    <a:pt x="8" y="681"/>
                    <a:pt x="8" y="681"/>
                  </a:cubicBezTo>
                  <a:cubicBezTo>
                    <a:pt x="8" y="802"/>
                    <a:pt x="8" y="802"/>
                    <a:pt x="8" y="802"/>
                  </a:cubicBezTo>
                  <a:cubicBezTo>
                    <a:pt x="6" y="802"/>
                    <a:pt x="6" y="802"/>
                    <a:pt x="6" y="802"/>
                  </a:cubicBezTo>
                  <a:cubicBezTo>
                    <a:pt x="3" y="802"/>
                    <a:pt x="0" y="804"/>
                    <a:pt x="0" y="807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888"/>
                    <a:pt x="3" y="891"/>
                    <a:pt x="6" y="891"/>
                  </a:cubicBezTo>
                  <a:cubicBezTo>
                    <a:pt x="8" y="891"/>
                    <a:pt x="8" y="891"/>
                    <a:pt x="8" y="891"/>
                  </a:cubicBezTo>
                  <a:cubicBezTo>
                    <a:pt x="8" y="2360"/>
                    <a:pt x="8" y="2360"/>
                    <a:pt x="8" y="2360"/>
                  </a:cubicBezTo>
                  <a:cubicBezTo>
                    <a:pt x="8" y="2452"/>
                    <a:pt x="83" y="2528"/>
                    <a:pt x="175" y="2528"/>
                  </a:cubicBezTo>
                  <a:cubicBezTo>
                    <a:pt x="1036" y="2528"/>
                    <a:pt x="1036" y="2528"/>
                    <a:pt x="1036" y="2528"/>
                  </a:cubicBezTo>
                  <a:cubicBezTo>
                    <a:pt x="1129" y="2528"/>
                    <a:pt x="1204" y="2452"/>
                    <a:pt x="1204" y="2360"/>
                  </a:cubicBezTo>
                  <a:cubicBezTo>
                    <a:pt x="1204" y="178"/>
                    <a:pt x="1204" y="178"/>
                    <a:pt x="1204" y="178"/>
                  </a:cubicBezTo>
                  <a:cubicBezTo>
                    <a:pt x="1204" y="132"/>
                    <a:pt x="1187" y="90"/>
                    <a:pt x="1157" y="59"/>
                  </a:cubicBezTo>
                  <a:close/>
                  <a:moveTo>
                    <a:pt x="1180" y="2360"/>
                  </a:moveTo>
                  <a:cubicBezTo>
                    <a:pt x="1180" y="2439"/>
                    <a:pt x="1116" y="2504"/>
                    <a:pt x="1036" y="2504"/>
                  </a:cubicBezTo>
                  <a:cubicBezTo>
                    <a:pt x="175" y="2504"/>
                    <a:pt x="175" y="2504"/>
                    <a:pt x="175" y="2504"/>
                  </a:cubicBezTo>
                  <a:cubicBezTo>
                    <a:pt x="96" y="2504"/>
                    <a:pt x="32" y="2439"/>
                    <a:pt x="32" y="2360"/>
                  </a:cubicBezTo>
                  <a:cubicBezTo>
                    <a:pt x="32" y="178"/>
                    <a:pt x="32" y="178"/>
                    <a:pt x="32" y="178"/>
                  </a:cubicBezTo>
                  <a:cubicBezTo>
                    <a:pt x="32" y="94"/>
                    <a:pt x="91" y="34"/>
                    <a:pt x="175" y="34"/>
                  </a:cubicBezTo>
                  <a:cubicBezTo>
                    <a:pt x="1036" y="34"/>
                    <a:pt x="1036" y="34"/>
                    <a:pt x="1036" y="34"/>
                  </a:cubicBezTo>
                  <a:cubicBezTo>
                    <a:pt x="1121" y="34"/>
                    <a:pt x="1180" y="98"/>
                    <a:pt x="1180" y="178"/>
                  </a:cubicBezTo>
                  <a:lnTo>
                    <a:pt x="1180" y="23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25" name="Picture Placeholder 17">
            <a:extLst>
              <a:ext uri="{FF2B5EF4-FFF2-40B4-BE49-F238E27FC236}">
                <a16:creationId xmlns:a16="http://schemas.microsoft.com/office/drawing/2014/main" id="{76A75DB2-2979-D04E-B8F2-6DC1569D0BC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244788" y="505033"/>
            <a:ext cx="2249973" cy="5043360"/>
          </a:xfrm>
          <a:prstGeom prst="roundRect">
            <a:avLst>
              <a:gd name="adj" fmla="val 10376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-250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/>
              <a:t>Click to add picture</a:t>
            </a:r>
          </a:p>
          <a:p>
            <a:endParaRPr lang="en-AU"/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DA9F4D4C-52C8-A04E-B64E-2A13E9EE5F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2" y="276712"/>
            <a:ext cx="5642654" cy="950986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59" name="Content Placeholder 8">
            <a:extLst>
              <a:ext uri="{FF2B5EF4-FFF2-40B4-BE49-F238E27FC236}">
                <a16:creationId xmlns:a16="http://schemas.microsoft.com/office/drawing/2014/main" id="{C9DA2990-03A6-4A4D-AA3D-65C130A09DE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47663" y="1227698"/>
            <a:ext cx="5642432" cy="772265"/>
          </a:xfrm>
        </p:spPr>
        <p:txBody>
          <a:bodyPr anchor="t" anchorCtr="0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0ECBF2BE-15CF-FF46-B772-18B3AE2A48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7472" y="2107769"/>
            <a:ext cx="5642432" cy="1077133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introduction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11D4246-D20E-3941-B011-1B6269F44A52}"/>
              </a:ext>
            </a:extLst>
          </p:cNvPr>
          <p:cNvGrpSpPr/>
          <p:nvPr userDrawn="1"/>
        </p:nvGrpSpPr>
        <p:grpSpPr>
          <a:xfrm>
            <a:off x="6308996" y="324743"/>
            <a:ext cx="2568950" cy="5388029"/>
            <a:chOff x="6402545" y="1249931"/>
            <a:chExt cx="2592388" cy="5437187"/>
          </a:xfrm>
        </p:grpSpPr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CFC008EC-A8D7-9341-8159-BC1C936932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45407" y="1295968"/>
              <a:ext cx="2524125" cy="5365750"/>
            </a:xfrm>
            <a:custGeom>
              <a:avLst/>
              <a:gdLst>
                <a:gd name="T0" fmla="*/ 155 w 1172"/>
                <a:gd name="T1" fmla="*/ 2494 h 2494"/>
                <a:gd name="T2" fmla="*/ 0 w 1172"/>
                <a:gd name="T3" fmla="*/ 2338 h 2494"/>
                <a:gd name="T4" fmla="*/ 0 w 1172"/>
                <a:gd name="T5" fmla="*/ 156 h 2494"/>
                <a:gd name="T6" fmla="*/ 155 w 1172"/>
                <a:gd name="T7" fmla="*/ 0 h 2494"/>
                <a:gd name="T8" fmla="*/ 1016 w 1172"/>
                <a:gd name="T9" fmla="*/ 0 h 2494"/>
                <a:gd name="T10" fmla="*/ 1172 w 1172"/>
                <a:gd name="T11" fmla="*/ 156 h 2494"/>
                <a:gd name="T12" fmla="*/ 1172 w 1172"/>
                <a:gd name="T13" fmla="*/ 2338 h 2494"/>
                <a:gd name="T14" fmla="*/ 1016 w 1172"/>
                <a:gd name="T15" fmla="*/ 2494 h 2494"/>
                <a:gd name="T16" fmla="*/ 155 w 1172"/>
                <a:gd name="T17" fmla="*/ 2494 h 2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2" h="2494">
                  <a:moveTo>
                    <a:pt x="155" y="2494"/>
                  </a:moveTo>
                  <a:cubicBezTo>
                    <a:pt x="69" y="2494"/>
                    <a:pt x="0" y="2424"/>
                    <a:pt x="0" y="2338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65"/>
                    <a:pt x="65" y="0"/>
                    <a:pt x="155" y="0"/>
                  </a:cubicBezTo>
                  <a:cubicBezTo>
                    <a:pt x="1016" y="0"/>
                    <a:pt x="1016" y="0"/>
                    <a:pt x="1016" y="0"/>
                  </a:cubicBezTo>
                  <a:cubicBezTo>
                    <a:pt x="1105" y="0"/>
                    <a:pt x="1172" y="67"/>
                    <a:pt x="1172" y="156"/>
                  </a:cubicBezTo>
                  <a:cubicBezTo>
                    <a:pt x="1172" y="2338"/>
                    <a:pt x="1172" y="2338"/>
                    <a:pt x="1172" y="2338"/>
                  </a:cubicBezTo>
                  <a:cubicBezTo>
                    <a:pt x="1172" y="2424"/>
                    <a:pt x="1102" y="2494"/>
                    <a:pt x="1016" y="2494"/>
                  </a:cubicBezTo>
                  <a:lnTo>
                    <a:pt x="155" y="249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603180CF-34EF-1549-8B0B-9FBA25FC24D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02545" y="1249931"/>
              <a:ext cx="2592388" cy="5437187"/>
            </a:xfrm>
            <a:custGeom>
              <a:avLst/>
              <a:gdLst>
                <a:gd name="T0" fmla="*/ 1157 w 1204"/>
                <a:gd name="T1" fmla="*/ 59 h 2528"/>
                <a:gd name="T2" fmla="*/ 1036 w 1204"/>
                <a:gd name="T3" fmla="*/ 10 h 2528"/>
                <a:gd name="T4" fmla="*/ 1001 w 1204"/>
                <a:gd name="T5" fmla="*/ 10 h 2528"/>
                <a:gd name="T6" fmla="*/ 1001 w 1204"/>
                <a:gd name="T7" fmla="*/ 4 h 2528"/>
                <a:gd name="T8" fmla="*/ 995 w 1204"/>
                <a:gd name="T9" fmla="*/ 0 h 2528"/>
                <a:gd name="T10" fmla="*/ 812 w 1204"/>
                <a:gd name="T11" fmla="*/ 0 h 2528"/>
                <a:gd name="T12" fmla="*/ 806 w 1204"/>
                <a:gd name="T13" fmla="*/ 4 h 2528"/>
                <a:gd name="T14" fmla="*/ 806 w 1204"/>
                <a:gd name="T15" fmla="*/ 10 h 2528"/>
                <a:gd name="T16" fmla="*/ 175 w 1204"/>
                <a:gd name="T17" fmla="*/ 10 h 2528"/>
                <a:gd name="T18" fmla="*/ 8 w 1204"/>
                <a:gd name="T19" fmla="*/ 178 h 2528"/>
                <a:gd name="T20" fmla="*/ 8 w 1204"/>
                <a:gd name="T21" fmla="*/ 354 h 2528"/>
                <a:gd name="T22" fmla="*/ 6 w 1204"/>
                <a:gd name="T23" fmla="*/ 354 h 2528"/>
                <a:gd name="T24" fmla="*/ 0 w 1204"/>
                <a:gd name="T25" fmla="*/ 360 h 2528"/>
                <a:gd name="T26" fmla="*/ 0 w 1204"/>
                <a:gd name="T27" fmla="*/ 465 h 2528"/>
                <a:gd name="T28" fmla="*/ 6 w 1204"/>
                <a:gd name="T29" fmla="*/ 470 h 2528"/>
                <a:gd name="T30" fmla="*/ 8 w 1204"/>
                <a:gd name="T31" fmla="*/ 470 h 2528"/>
                <a:gd name="T32" fmla="*/ 8 w 1204"/>
                <a:gd name="T33" fmla="*/ 594 h 2528"/>
                <a:gd name="T34" fmla="*/ 6 w 1204"/>
                <a:gd name="T35" fmla="*/ 594 h 2528"/>
                <a:gd name="T36" fmla="*/ 0 w 1204"/>
                <a:gd name="T37" fmla="*/ 600 h 2528"/>
                <a:gd name="T38" fmla="*/ 0 w 1204"/>
                <a:gd name="T39" fmla="*/ 675 h 2528"/>
                <a:gd name="T40" fmla="*/ 6 w 1204"/>
                <a:gd name="T41" fmla="*/ 681 h 2528"/>
                <a:gd name="T42" fmla="*/ 8 w 1204"/>
                <a:gd name="T43" fmla="*/ 681 h 2528"/>
                <a:gd name="T44" fmla="*/ 8 w 1204"/>
                <a:gd name="T45" fmla="*/ 802 h 2528"/>
                <a:gd name="T46" fmla="*/ 6 w 1204"/>
                <a:gd name="T47" fmla="*/ 802 h 2528"/>
                <a:gd name="T48" fmla="*/ 0 w 1204"/>
                <a:gd name="T49" fmla="*/ 807 h 2528"/>
                <a:gd name="T50" fmla="*/ 0 w 1204"/>
                <a:gd name="T51" fmla="*/ 885 h 2528"/>
                <a:gd name="T52" fmla="*/ 6 w 1204"/>
                <a:gd name="T53" fmla="*/ 891 h 2528"/>
                <a:gd name="T54" fmla="*/ 8 w 1204"/>
                <a:gd name="T55" fmla="*/ 891 h 2528"/>
                <a:gd name="T56" fmla="*/ 8 w 1204"/>
                <a:gd name="T57" fmla="*/ 2360 h 2528"/>
                <a:gd name="T58" fmla="*/ 175 w 1204"/>
                <a:gd name="T59" fmla="*/ 2528 h 2528"/>
                <a:gd name="T60" fmla="*/ 1036 w 1204"/>
                <a:gd name="T61" fmla="*/ 2528 h 2528"/>
                <a:gd name="T62" fmla="*/ 1204 w 1204"/>
                <a:gd name="T63" fmla="*/ 2360 h 2528"/>
                <a:gd name="T64" fmla="*/ 1204 w 1204"/>
                <a:gd name="T65" fmla="*/ 178 h 2528"/>
                <a:gd name="T66" fmla="*/ 1157 w 1204"/>
                <a:gd name="T67" fmla="*/ 59 h 2528"/>
                <a:gd name="T68" fmla="*/ 1180 w 1204"/>
                <a:gd name="T69" fmla="*/ 2360 h 2528"/>
                <a:gd name="T70" fmla="*/ 1036 w 1204"/>
                <a:gd name="T71" fmla="*/ 2504 h 2528"/>
                <a:gd name="T72" fmla="*/ 175 w 1204"/>
                <a:gd name="T73" fmla="*/ 2504 h 2528"/>
                <a:gd name="T74" fmla="*/ 32 w 1204"/>
                <a:gd name="T75" fmla="*/ 2360 h 2528"/>
                <a:gd name="T76" fmla="*/ 32 w 1204"/>
                <a:gd name="T77" fmla="*/ 178 h 2528"/>
                <a:gd name="T78" fmla="*/ 175 w 1204"/>
                <a:gd name="T79" fmla="*/ 34 h 2528"/>
                <a:gd name="T80" fmla="*/ 1036 w 1204"/>
                <a:gd name="T81" fmla="*/ 34 h 2528"/>
                <a:gd name="T82" fmla="*/ 1180 w 1204"/>
                <a:gd name="T83" fmla="*/ 178 h 2528"/>
                <a:gd name="T84" fmla="*/ 1180 w 1204"/>
                <a:gd name="T85" fmla="*/ 2360 h 2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4" h="2528">
                  <a:moveTo>
                    <a:pt x="1157" y="59"/>
                  </a:moveTo>
                  <a:cubicBezTo>
                    <a:pt x="1126" y="28"/>
                    <a:pt x="1083" y="10"/>
                    <a:pt x="1036" y="10"/>
                  </a:cubicBezTo>
                  <a:cubicBezTo>
                    <a:pt x="1001" y="10"/>
                    <a:pt x="1001" y="10"/>
                    <a:pt x="1001" y="10"/>
                  </a:cubicBezTo>
                  <a:cubicBezTo>
                    <a:pt x="1001" y="4"/>
                    <a:pt x="1001" y="4"/>
                    <a:pt x="1001" y="4"/>
                  </a:cubicBezTo>
                  <a:cubicBezTo>
                    <a:pt x="1001" y="2"/>
                    <a:pt x="998" y="0"/>
                    <a:pt x="995" y="0"/>
                  </a:cubicBezTo>
                  <a:cubicBezTo>
                    <a:pt x="812" y="0"/>
                    <a:pt x="812" y="0"/>
                    <a:pt x="812" y="0"/>
                  </a:cubicBezTo>
                  <a:cubicBezTo>
                    <a:pt x="809" y="0"/>
                    <a:pt x="806" y="2"/>
                    <a:pt x="806" y="4"/>
                  </a:cubicBezTo>
                  <a:cubicBezTo>
                    <a:pt x="806" y="10"/>
                    <a:pt x="806" y="10"/>
                    <a:pt x="806" y="10"/>
                  </a:cubicBezTo>
                  <a:cubicBezTo>
                    <a:pt x="175" y="10"/>
                    <a:pt x="175" y="10"/>
                    <a:pt x="175" y="10"/>
                  </a:cubicBezTo>
                  <a:cubicBezTo>
                    <a:pt x="78" y="10"/>
                    <a:pt x="8" y="81"/>
                    <a:pt x="8" y="178"/>
                  </a:cubicBezTo>
                  <a:cubicBezTo>
                    <a:pt x="8" y="354"/>
                    <a:pt x="8" y="354"/>
                    <a:pt x="8" y="354"/>
                  </a:cubicBezTo>
                  <a:cubicBezTo>
                    <a:pt x="6" y="354"/>
                    <a:pt x="6" y="354"/>
                    <a:pt x="6" y="354"/>
                  </a:cubicBezTo>
                  <a:cubicBezTo>
                    <a:pt x="3" y="354"/>
                    <a:pt x="0" y="357"/>
                    <a:pt x="0" y="360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468"/>
                    <a:pt x="3" y="470"/>
                    <a:pt x="6" y="470"/>
                  </a:cubicBezTo>
                  <a:cubicBezTo>
                    <a:pt x="8" y="470"/>
                    <a:pt x="8" y="470"/>
                    <a:pt x="8" y="470"/>
                  </a:cubicBezTo>
                  <a:cubicBezTo>
                    <a:pt x="8" y="594"/>
                    <a:pt x="8" y="594"/>
                    <a:pt x="8" y="594"/>
                  </a:cubicBezTo>
                  <a:cubicBezTo>
                    <a:pt x="6" y="594"/>
                    <a:pt x="6" y="594"/>
                    <a:pt x="6" y="594"/>
                  </a:cubicBezTo>
                  <a:cubicBezTo>
                    <a:pt x="3" y="594"/>
                    <a:pt x="0" y="597"/>
                    <a:pt x="0" y="600"/>
                  </a:cubicBezTo>
                  <a:cubicBezTo>
                    <a:pt x="0" y="675"/>
                    <a:pt x="0" y="675"/>
                    <a:pt x="0" y="675"/>
                  </a:cubicBezTo>
                  <a:cubicBezTo>
                    <a:pt x="0" y="678"/>
                    <a:pt x="3" y="681"/>
                    <a:pt x="6" y="681"/>
                  </a:cubicBezTo>
                  <a:cubicBezTo>
                    <a:pt x="8" y="681"/>
                    <a:pt x="8" y="681"/>
                    <a:pt x="8" y="681"/>
                  </a:cubicBezTo>
                  <a:cubicBezTo>
                    <a:pt x="8" y="802"/>
                    <a:pt x="8" y="802"/>
                    <a:pt x="8" y="802"/>
                  </a:cubicBezTo>
                  <a:cubicBezTo>
                    <a:pt x="6" y="802"/>
                    <a:pt x="6" y="802"/>
                    <a:pt x="6" y="802"/>
                  </a:cubicBezTo>
                  <a:cubicBezTo>
                    <a:pt x="3" y="802"/>
                    <a:pt x="0" y="804"/>
                    <a:pt x="0" y="807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888"/>
                    <a:pt x="3" y="891"/>
                    <a:pt x="6" y="891"/>
                  </a:cubicBezTo>
                  <a:cubicBezTo>
                    <a:pt x="8" y="891"/>
                    <a:pt x="8" y="891"/>
                    <a:pt x="8" y="891"/>
                  </a:cubicBezTo>
                  <a:cubicBezTo>
                    <a:pt x="8" y="2360"/>
                    <a:pt x="8" y="2360"/>
                    <a:pt x="8" y="2360"/>
                  </a:cubicBezTo>
                  <a:cubicBezTo>
                    <a:pt x="8" y="2452"/>
                    <a:pt x="83" y="2528"/>
                    <a:pt x="175" y="2528"/>
                  </a:cubicBezTo>
                  <a:cubicBezTo>
                    <a:pt x="1036" y="2528"/>
                    <a:pt x="1036" y="2528"/>
                    <a:pt x="1036" y="2528"/>
                  </a:cubicBezTo>
                  <a:cubicBezTo>
                    <a:pt x="1129" y="2528"/>
                    <a:pt x="1204" y="2452"/>
                    <a:pt x="1204" y="2360"/>
                  </a:cubicBezTo>
                  <a:cubicBezTo>
                    <a:pt x="1204" y="178"/>
                    <a:pt x="1204" y="178"/>
                    <a:pt x="1204" y="178"/>
                  </a:cubicBezTo>
                  <a:cubicBezTo>
                    <a:pt x="1204" y="132"/>
                    <a:pt x="1187" y="90"/>
                    <a:pt x="1157" y="59"/>
                  </a:cubicBezTo>
                  <a:close/>
                  <a:moveTo>
                    <a:pt x="1180" y="2360"/>
                  </a:moveTo>
                  <a:cubicBezTo>
                    <a:pt x="1180" y="2439"/>
                    <a:pt x="1116" y="2504"/>
                    <a:pt x="1036" y="2504"/>
                  </a:cubicBezTo>
                  <a:cubicBezTo>
                    <a:pt x="175" y="2504"/>
                    <a:pt x="175" y="2504"/>
                    <a:pt x="175" y="2504"/>
                  </a:cubicBezTo>
                  <a:cubicBezTo>
                    <a:pt x="96" y="2504"/>
                    <a:pt x="32" y="2439"/>
                    <a:pt x="32" y="2360"/>
                  </a:cubicBezTo>
                  <a:cubicBezTo>
                    <a:pt x="32" y="178"/>
                    <a:pt x="32" y="178"/>
                    <a:pt x="32" y="178"/>
                  </a:cubicBezTo>
                  <a:cubicBezTo>
                    <a:pt x="32" y="94"/>
                    <a:pt x="91" y="34"/>
                    <a:pt x="175" y="34"/>
                  </a:cubicBezTo>
                  <a:cubicBezTo>
                    <a:pt x="1036" y="34"/>
                    <a:pt x="1036" y="34"/>
                    <a:pt x="1036" y="34"/>
                  </a:cubicBezTo>
                  <a:cubicBezTo>
                    <a:pt x="1121" y="34"/>
                    <a:pt x="1180" y="98"/>
                    <a:pt x="1180" y="178"/>
                  </a:cubicBezTo>
                  <a:lnTo>
                    <a:pt x="1180" y="23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33" name="Picture Placeholder 17">
            <a:extLst>
              <a:ext uri="{FF2B5EF4-FFF2-40B4-BE49-F238E27FC236}">
                <a16:creationId xmlns:a16="http://schemas.microsoft.com/office/drawing/2014/main" id="{41D11EAF-AF71-0D47-95D2-2385AF33733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493839" y="505033"/>
            <a:ext cx="2249973" cy="5043360"/>
          </a:xfrm>
          <a:prstGeom prst="roundRect">
            <a:avLst>
              <a:gd name="adj" fmla="val 10376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-250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/>
              <a:t>Click to add picture</a:t>
            </a:r>
          </a:p>
          <a:p>
            <a:endParaRPr lang="en-AU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DB347DE-F344-CF4C-B5E2-5FD67E40EF16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8EF94FB-04F8-044B-9500-34B81E9539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6D8730F3-9144-CF42-9CDC-FE5ED321DFF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4B9053C2-CAFF-444C-97F5-A35D320E697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282978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33" grpId="0" animBg="1"/>
    </p:bld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: Compu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FCDE05EF-0C1E-7542-96AF-FFC170CA871D}"/>
              </a:ext>
            </a:extLst>
          </p:cNvPr>
          <p:cNvGrpSpPr/>
          <p:nvPr userDrawn="1"/>
        </p:nvGrpSpPr>
        <p:grpSpPr>
          <a:xfrm>
            <a:off x="4977626" y="1622546"/>
            <a:ext cx="6870990" cy="3939887"/>
            <a:chOff x="2058988" y="2539102"/>
            <a:chExt cx="7558088" cy="4333876"/>
          </a:xfrm>
        </p:grpSpPr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id="{0C66CF27-1DA4-AD46-B455-6A98437D1F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95588" y="2539102"/>
              <a:ext cx="6113463" cy="4198938"/>
            </a:xfrm>
            <a:custGeom>
              <a:avLst/>
              <a:gdLst>
                <a:gd name="T0" fmla="*/ 6648 w 6648"/>
                <a:gd name="T1" fmla="*/ 4385 h 4566"/>
                <a:gd name="T2" fmla="*/ 6466 w 6648"/>
                <a:gd name="T3" fmla="*/ 4566 h 4566"/>
                <a:gd name="T4" fmla="*/ 182 w 6648"/>
                <a:gd name="T5" fmla="*/ 4566 h 4566"/>
                <a:gd name="T6" fmla="*/ 0 w 6648"/>
                <a:gd name="T7" fmla="*/ 4385 h 4566"/>
                <a:gd name="T8" fmla="*/ 0 w 6648"/>
                <a:gd name="T9" fmla="*/ 182 h 4566"/>
                <a:gd name="T10" fmla="*/ 182 w 6648"/>
                <a:gd name="T11" fmla="*/ 0 h 4566"/>
                <a:gd name="T12" fmla="*/ 6466 w 6648"/>
                <a:gd name="T13" fmla="*/ 0 h 4566"/>
                <a:gd name="T14" fmla="*/ 6648 w 6648"/>
                <a:gd name="T15" fmla="*/ 182 h 4566"/>
                <a:gd name="T16" fmla="*/ 6648 w 6648"/>
                <a:gd name="T17" fmla="*/ 4385 h 4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48" h="4566">
                  <a:moveTo>
                    <a:pt x="6648" y="4385"/>
                  </a:moveTo>
                  <a:cubicBezTo>
                    <a:pt x="6648" y="4485"/>
                    <a:pt x="6567" y="4566"/>
                    <a:pt x="6466" y="4566"/>
                  </a:cubicBezTo>
                  <a:cubicBezTo>
                    <a:pt x="182" y="4566"/>
                    <a:pt x="182" y="4566"/>
                    <a:pt x="182" y="4566"/>
                  </a:cubicBezTo>
                  <a:cubicBezTo>
                    <a:pt x="81" y="4566"/>
                    <a:pt x="0" y="4485"/>
                    <a:pt x="0" y="4385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82"/>
                    <a:pt x="81" y="0"/>
                    <a:pt x="182" y="0"/>
                  </a:cubicBezTo>
                  <a:cubicBezTo>
                    <a:pt x="6466" y="0"/>
                    <a:pt x="6466" y="0"/>
                    <a:pt x="6466" y="0"/>
                  </a:cubicBezTo>
                  <a:cubicBezTo>
                    <a:pt x="6567" y="0"/>
                    <a:pt x="6648" y="82"/>
                    <a:pt x="6648" y="182"/>
                  </a:cubicBezTo>
                  <a:lnTo>
                    <a:pt x="6648" y="438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id="{351129B8-1265-DC48-82BF-84355FAA9E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58988" y="6645965"/>
              <a:ext cx="7558088" cy="227013"/>
            </a:xfrm>
            <a:custGeom>
              <a:avLst/>
              <a:gdLst>
                <a:gd name="T0" fmla="*/ 8220 w 8220"/>
                <a:gd name="T1" fmla="*/ 150 h 247"/>
                <a:gd name="T2" fmla="*/ 7911 w 8220"/>
                <a:gd name="T3" fmla="*/ 247 h 247"/>
                <a:gd name="T4" fmla="*/ 321 w 8220"/>
                <a:gd name="T5" fmla="*/ 247 h 247"/>
                <a:gd name="T6" fmla="*/ 0 w 8220"/>
                <a:gd name="T7" fmla="*/ 150 h 247"/>
                <a:gd name="T8" fmla="*/ 0 w 8220"/>
                <a:gd name="T9" fmla="*/ 0 h 247"/>
                <a:gd name="T10" fmla="*/ 8220 w 8220"/>
                <a:gd name="T11" fmla="*/ 0 h 247"/>
                <a:gd name="T12" fmla="*/ 8220 w 8220"/>
                <a:gd name="T13" fmla="*/ 15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20" h="247">
                  <a:moveTo>
                    <a:pt x="8220" y="150"/>
                  </a:moveTo>
                  <a:cubicBezTo>
                    <a:pt x="8220" y="150"/>
                    <a:pt x="8088" y="247"/>
                    <a:pt x="7911" y="247"/>
                  </a:cubicBezTo>
                  <a:cubicBezTo>
                    <a:pt x="7733" y="247"/>
                    <a:pt x="472" y="247"/>
                    <a:pt x="321" y="247"/>
                  </a:cubicBezTo>
                  <a:cubicBezTo>
                    <a:pt x="171" y="247"/>
                    <a:pt x="0" y="150"/>
                    <a:pt x="0" y="15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220" y="0"/>
                    <a:pt x="8220" y="0"/>
                    <a:pt x="8220" y="0"/>
                  </a:cubicBezTo>
                  <a:lnTo>
                    <a:pt x="8220" y="15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DC8892B8-A890-6B40-BB4D-289AFB792E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58988" y="6784077"/>
              <a:ext cx="7558088" cy="88900"/>
            </a:xfrm>
            <a:custGeom>
              <a:avLst/>
              <a:gdLst>
                <a:gd name="T0" fmla="*/ 0 w 8220"/>
                <a:gd name="T1" fmla="*/ 0 h 97"/>
                <a:gd name="T2" fmla="*/ 321 w 8220"/>
                <a:gd name="T3" fmla="*/ 97 h 97"/>
                <a:gd name="T4" fmla="*/ 7911 w 8220"/>
                <a:gd name="T5" fmla="*/ 97 h 97"/>
                <a:gd name="T6" fmla="*/ 8220 w 8220"/>
                <a:gd name="T7" fmla="*/ 0 h 97"/>
                <a:gd name="T8" fmla="*/ 0 w 8220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20" h="97">
                  <a:moveTo>
                    <a:pt x="0" y="0"/>
                  </a:moveTo>
                  <a:cubicBezTo>
                    <a:pt x="0" y="0"/>
                    <a:pt x="171" y="97"/>
                    <a:pt x="321" y="97"/>
                  </a:cubicBezTo>
                  <a:cubicBezTo>
                    <a:pt x="472" y="97"/>
                    <a:pt x="7733" y="97"/>
                    <a:pt x="7911" y="97"/>
                  </a:cubicBezTo>
                  <a:cubicBezTo>
                    <a:pt x="8088" y="97"/>
                    <a:pt x="8220" y="0"/>
                    <a:pt x="822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  <a:alpha val="1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754E2B8E-893E-E945-B71F-92476FF077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00663" y="6645965"/>
              <a:ext cx="1077913" cy="85725"/>
            </a:xfrm>
            <a:custGeom>
              <a:avLst/>
              <a:gdLst>
                <a:gd name="T0" fmla="*/ 0 w 1171"/>
                <a:gd name="T1" fmla="*/ 0 h 93"/>
                <a:gd name="T2" fmla="*/ 129 w 1171"/>
                <a:gd name="T3" fmla="*/ 93 h 93"/>
                <a:gd name="T4" fmla="*/ 1042 w 1171"/>
                <a:gd name="T5" fmla="*/ 93 h 93"/>
                <a:gd name="T6" fmla="*/ 1171 w 1171"/>
                <a:gd name="T7" fmla="*/ 0 h 93"/>
                <a:gd name="T8" fmla="*/ 0 w 1171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1" h="93">
                  <a:moveTo>
                    <a:pt x="0" y="0"/>
                  </a:moveTo>
                  <a:cubicBezTo>
                    <a:pt x="18" y="54"/>
                    <a:pt x="69" y="93"/>
                    <a:pt x="129" y="93"/>
                  </a:cubicBezTo>
                  <a:cubicBezTo>
                    <a:pt x="1042" y="93"/>
                    <a:pt x="1042" y="93"/>
                    <a:pt x="1042" y="93"/>
                  </a:cubicBezTo>
                  <a:cubicBezTo>
                    <a:pt x="1102" y="93"/>
                    <a:pt x="1153" y="54"/>
                    <a:pt x="117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  <a:alpha val="1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CD42B419-2F25-464E-AEEB-331BFA8B77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01101" y="6701527"/>
              <a:ext cx="339725" cy="33338"/>
            </a:xfrm>
            <a:custGeom>
              <a:avLst/>
              <a:gdLst>
                <a:gd name="T0" fmla="*/ 368 w 368"/>
                <a:gd name="T1" fmla="*/ 18 h 36"/>
                <a:gd name="T2" fmla="*/ 350 w 368"/>
                <a:gd name="T3" fmla="*/ 36 h 36"/>
                <a:gd name="T4" fmla="*/ 18 w 368"/>
                <a:gd name="T5" fmla="*/ 36 h 36"/>
                <a:gd name="T6" fmla="*/ 0 w 368"/>
                <a:gd name="T7" fmla="*/ 18 h 36"/>
                <a:gd name="T8" fmla="*/ 0 w 368"/>
                <a:gd name="T9" fmla="*/ 18 h 36"/>
                <a:gd name="T10" fmla="*/ 18 w 368"/>
                <a:gd name="T11" fmla="*/ 0 h 36"/>
                <a:gd name="T12" fmla="*/ 350 w 368"/>
                <a:gd name="T13" fmla="*/ 0 h 36"/>
                <a:gd name="T14" fmla="*/ 368 w 368"/>
                <a:gd name="T15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8" h="36">
                  <a:moveTo>
                    <a:pt x="368" y="18"/>
                  </a:moveTo>
                  <a:cubicBezTo>
                    <a:pt x="368" y="28"/>
                    <a:pt x="360" y="36"/>
                    <a:pt x="350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350" y="0"/>
                    <a:pt x="350" y="0"/>
                    <a:pt x="350" y="0"/>
                  </a:cubicBezTo>
                  <a:cubicBezTo>
                    <a:pt x="360" y="0"/>
                    <a:pt x="368" y="8"/>
                    <a:pt x="368" y="18"/>
                  </a:cubicBezTo>
                  <a:close/>
                </a:path>
              </a:pathLst>
            </a:custGeom>
            <a:solidFill>
              <a:schemeClr val="tx1">
                <a:lumMod val="50000"/>
                <a:alpha val="1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8" name="Oval 19">
              <a:extLst>
                <a:ext uri="{FF2B5EF4-FFF2-40B4-BE49-F238E27FC236}">
                  <a16:creationId xmlns:a16="http://schemas.microsoft.com/office/drawing/2014/main" id="{3E1B1664-CC0B-6345-B76E-D821408799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861051" y="2628002"/>
              <a:ext cx="34925" cy="3492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29" name="Picture Placeholder 17">
            <a:extLst>
              <a:ext uri="{FF2B5EF4-FFF2-40B4-BE49-F238E27FC236}">
                <a16:creationId xmlns:a16="http://schemas.microsoft.com/office/drawing/2014/main" id="{BE1340A3-7B32-324F-93DF-F6E0D98F38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784080" y="1845936"/>
            <a:ext cx="5282502" cy="3341464"/>
          </a:xfrm>
          <a:noFill/>
        </p:spPr>
        <p:txBody>
          <a:bodyPr anchor="t">
            <a:normAutofit/>
          </a:bodyPr>
          <a:lstStyle>
            <a:lvl1pPr marL="0" indent="0" algn="ctr">
              <a:buNone/>
              <a:defRPr sz="2000" baseline="-25000">
                <a:solidFill>
                  <a:schemeClr val="bg1"/>
                </a:solidFill>
              </a:defRPr>
            </a:lvl1pPr>
          </a:lstStyle>
          <a:p>
            <a:r>
              <a:rPr lang="en-AU"/>
              <a:t>Click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755E2FB7-12B3-1045-8BEA-8CB3A912B3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43" name="Content Placeholder 8">
            <a:extLst>
              <a:ext uri="{FF2B5EF4-FFF2-40B4-BE49-F238E27FC236}">
                <a16:creationId xmlns:a16="http://schemas.microsoft.com/office/drawing/2014/main" id="{799ACB22-9CA1-4340-A10D-36668B7CBCD0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47662" y="769980"/>
            <a:ext cx="11844331" cy="452286"/>
          </a:xfrm>
        </p:spPr>
        <p:txBody>
          <a:bodyPr anchor="ctr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B6BCF342-C8C5-FF43-B9D9-DBEEA2913F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7472" y="1626968"/>
            <a:ext cx="4418257" cy="1201475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introduction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9ACE702-FF5A-A54A-AEB8-80D87653C87F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2CAEA392-30FC-DB48-B9E5-4577F2EE95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7987FA05-4FEC-344D-9A7B-3A0CC200A8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0A056A4A-31ED-2A42-949F-AC97CE30072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339649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: Computer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57501746-1BCC-F943-B9D5-EA21C353B101}"/>
              </a:ext>
            </a:extLst>
          </p:cNvPr>
          <p:cNvGrpSpPr/>
          <p:nvPr userDrawn="1"/>
        </p:nvGrpSpPr>
        <p:grpSpPr>
          <a:xfrm>
            <a:off x="3639301" y="1715534"/>
            <a:ext cx="4913398" cy="4115880"/>
            <a:chOff x="3639301" y="1715534"/>
            <a:chExt cx="4913398" cy="4115880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E6DB734C-B338-B740-A86C-A20CC67A7711}"/>
                </a:ext>
              </a:extLst>
            </p:cNvPr>
            <p:cNvGrpSpPr/>
            <p:nvPr userDrawn="1"/>
          </p:nvGrpSpPr>
          <p:grpSpPr>
            <a:xfrm>
              <a:off x="3639301" y="1715534"/>
              <a:ext cx="4913398" cy="4115880"/>
              <a:chOff x="5208056" y="1125763"/>
              <a:chExt cx="6539736" cy="5478238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CF4B68CD-07D7-8040-B17D-77A1DD3FD34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87972" y="5808648"/>
                <a:ext cx="2404518" cy="795353"/>
              </a:xfrm>
              <a:custGeom>
                <a:avLst/>
                <a:gdLst>
                  <a:gd name="T0" fmla="*/ 2246 w 2263"/>
                  <a:gd name="T1" fmla="*/ 694 h 749"/>
                  <a:gd name="T2" fmla="*/ 2027 w 2263"/>
                  <a:gd name="T3" fmla="*/ 647 h 749"/>
                  <a:gd name="T4" fmla="*/ 1958 w 2263"/>
                  <a:gd name="T5" fmla="*/ 554 h 749"/>
                  <a:gd name="T6" fmla="*/ 1913 w 2263"/>
                  <a:gd name="T7" fmla="*/ 0 h 749"/>
                  <a:gd name="T8" fmla="*/ 350 w 2263"/>
                  <a:gd name="T9" fmla="*/ 0 h 749"/>
                  <a:gd name="T10" fmla="*/ 306 w 2263"/>
                  <a:gd name="T11" fmla="*/ 554 h 749"/>
                  <a:gd name="T12" fmla="*/ 237 w 2263"/>
                  <a:gd name="T13" fmla="*/ 647 h 749"/>
                  <a:gd name="T14" fmla="*/ 12 w 2263"/>
                  <a:gd name="T15" fmla="*/ 695 h 749"/>
                  <a:gd name="T16" fmla="*/ 0 w 2263"/>
                  <a:gd name="T17" fmla="*/ 708 h 749"/>
                  <a:gd name="T18" fmla="*/ 0 w 2263"/>
                  <a:gd name="T19" fmla="*/ 749 h 749"/>
                  <a:gd name="T20" fmla="*/ 6 w 2263"/>
                  <a:gd name="T21" fmla="*/ 749 h 749"/>
                  <a:gd name="T22" fmla="*/ 2257 w 2263"/>
                  <a:gd name="T23" fmla="*/ 749 h 749"/>
                  <a:gd name="T24" fmla="*/ 2263 w 2263"/>
                  <a:gd name="T25" fmla="*/ 749 h 749"/>
                  <a:gd name="T26" fmla="*/ 2263 w 2263"/>
                  <a:gd name="T27" fmla="*/ 709 h 749"/>
                  <a:gd name="T28" fmla="*/ 2246 w 2263"/>
                  <a:gd name="T29" fmla="*/ 694 h 7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263" h="749">
                    <a:moveTo>
                      <a:pt x="2246" y="694"/>
                    </a:moveTo>
                    <a:cubicBezTo>
                      <a:pt x="2202" y="684"/>
                      <a:pt x="2089" y="661"/>
                      <a:pt x="2027" y="647"/>
                    </a:cubicBezTo>
                    <a:cubicBezTo>
                      <a:pt x="1949" y="629"/>
                      <a:pt x="1958" y="554"/>
                      <a:pt x="1958" y="554"/>
                    </a:cubicBezTo>
                    <a:cubicBezTo>
                      <a:pt x="1913" y="0"/>
                      <a:pt x="1913" y="0"/>
                      <a:pt x="1913" y="0"/>
                    </a:cubicBezTo>
                    <a:cubicBezTo>
                      <a:pt x="350" y="0"/>
                      <a:pt x="350" y="0"/>
                      <a:pt x="350" y="0"/>
                    </a:cubicBezTo>
                    <a:cubicBezTo>
                      <a:pt x="306" y="554"/>
                      <a:pt x="306" y="554"/>
                      <a:pt x="306" y="554"/>
                    </a:cubicBezTo>
                    <a:cubicBezTo>
                      <a:pt x="306" y="554"/>
                      <a:pt x="315" y="629"/>
                      <a:pt x="237" y="647"/>
                    </a:cubicBezTo>
                    <a:cubicBezTo>
                      <a:pt x="172" y="662"/>
                      <a:pt x="50" y="687"/>
                      <a:pt x="12" y="695"/>
                    </a:cubicBezTo>
                    <a:cubicBezTo>
                      <a:pt x="0" y="699"/>
                      <a:pt x="0" y="708"/>
                      <a:pt x="0" y="708"/>
                    </a:cubicBezTo>
                    <a:cubicBezTo>
                      <a:pt x="0" y="749"/>
                      <a:pt x="0" y="749"/>
                      <a:pt x="0" y="749"/>
                    </a:cubicBezTo>
                    <a:cubicBezTo>
                      <a:pt x="6" y="749"/>
                      <a:pt x="6" y="749"/>
                      <a:pt x="6" y="749"/>
                    </a:cubicBezTo>
                    <a:cubicBezTo>
                      <a:pt x="2257" y="749"/>
                      <a:pt x="2257" y="749"/>
                      <a:pt x="2257" y="749"/>
                    </a:cubicBezTo>
                    <a:cubicBezTo>
                      <a:pt x="2263" y="749"/>
                      <a:pt x="2263" y="749"/>
                      <a:pt x="2263" y="749"/>
                    </a:cubicBezTo>
                    <a:cubicBezTo>
                      <a:pt x="2263" y="709"/>
                      <a:pt x="2263" y="709"/>
                      <a:pt x="2263" y="709"/>
                    </a:cubicBezTo>
                    <a:cubicBezTo>
                      <a:pt x="2263" y="709"/>
                      <a:pt x="2263" y="698"/>
                      <a:pt x="2246" y="694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17" name="Freeform 6">
                <a:extLst>
                  <a:ext uri="{FF2B5EF4-FFF2-40B4-BE49-F238E27FC236}">
                    <a16:creationId xmlns:a16="http://schemas.microsoft.com/office/drawing/2014/main" id="{F4B02788-4F84-0B4A-8BCF-047F3778082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08056" y="1125763"/>
                <a:ext cx="6539736" cy="3958299"/>
              </a:xfrm>
              <a:custGeom>
                <a:avLst/>
                <a:gdLst>
                  <a:gd name="T0" fmla="*/ 6155 w 6155"/>
                  <a:gd name="T1" fmla="*/ 3725 h 3725"/>
                  <a:gd name="T2" fmla="*/ 6155 w 6155"/>
                  <a:gd name="T3" fmla="*/ 204 h 3725"/>
                  <a:gd name="T4" fmla="*/ 5952 w 6155"/>
                  <a:gd name="T5" fmla="*/ 0 h 3725"/>
                  <a:gd name="T6" fmla="*/ 204 w 6155"/>
                  <a:gd name="T7" fmla="*/ 0 h 3725"/>
                  <a:gd name="T8" fmla="*/ 0 w 6155"/>
                  <a:gd name="T9" fmla="*/ 204 h 3725"/>
                  <a:gd name="T10" fmla="*/ 0 w 6155"/>
                  <a:gd name="T11" fmla="*/ 3725 h 3725"/>
                  <a:gd name="T12" fmla="*/ 6155 w 6155"/>
                  <a:gd name="T13" fmla="*/ 3725 h 37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55" h="3725">
                    <a:moveTo>
                      <a:pt x="6155" y="3725"/>
                    </a:moveTo>
                    <a:cubicBezTo>
                      <a:pt x="6155" y="204"/>
                      <a:pt x="6155" y="204"/>
                      <a:pt x="6155" y="204"/>
                    </a:cubicBezTo>
                    <a:cubicBezTo>
                      <a:pt x="6155" y="92"/>
                      <a:pt x="6064" y="0"/>
                      <a:pt x="5952" y="0"/>
                    </a:cubicBezTo>
                    <a:cubicBezTo>
                      <a:pt x="204" y="0"/>
                      <a:pt x="204" y="0"/>
                      <a:pt x="204" y="0"/>
                    </a:cubicBezTo>
                    <a:cubicBezTo>
                      <a:pt x="92" y="0"/>
                      <a:pt x="0" y="92"/>
                      <a:pt x="0" y="204"/>
                    </a:cubicBezTo>
                    <a:cubicBezTo>
                      <a:pt x="0" y="3725"/>
                      <a:pt x="0" y="3725"/>
                      <a:pt x="0" y="3725"/>
                    </a:cubicBezTo>
                    <a:lnTo>
                      <a:pt x="6155" y="3725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18" name="Freeform 8">
                <a:extLst>
                  <a:ext uri="{FF2B5EF4-FFF2-40B4-BE49-F238E27FC236}">
                    <a16:creationId xmlns:a16="http://schemas.microsoft.com/office/drawing/2014/main" id="{C1CE6520-7A93-2E4D-9065-7C00D761E28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08056" y="5084061"/>
                <a:ext cx="6539736" cy="724586"/>
              </a:xfrm>
              <a:custGeom>
                <a:avLst/>
                <a:gdLst>
                  <a:gd name="T0" fmla="*/ 0 w 6155"/>
                  <a:gd name="T1" fmla="*/ 0 h 682"/>
                  <a:gd name="T2" fmla="*/ 0 w 6155"/>
                  <a:gd name="T3" fmla="*/ 478 h 682"/>
                  <a:gd name="T4" fmla="*/ 204 w 6155"/>
                  <a:gd name="T5" fmla="*/ 682 h 682"/>
                  <a:gd name="T6" fmla="*/ 5952 w 6155"/>
                  <a:gd name="T7" fmla="*/ 682 h 682"/>
                  <a:gd name="T8" fmla="*/ 6155 w 6155"/>
                  <a:gd name="T9" fmla="*/ 478 h 682"/>
                  <a:gd name="T10" fmla="*/ 6155 w 6155"/>
                  <a:gd name="T11" fmla="*/ 0 h 682"/>
                  <a:gd name="T12" fmla="*/ 0 w 6155"/>
                  <a:gd name="T13" fmla="*/ 0 h 6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55" h="682">
                    <a:moveTo>
                      <a:pt x="0" y="0"/>
                    </a:moveTo>
                    <a:cubicBezTo>
                      <a:pt x="0" y="478"/>
                      <a:pt x="0" y="478"/>
                      <a:pt x="0" y="478"/>
                    </a:cubicBezTo>
                    <a:cubicBezTo>
                      <a:pt x="0" y="591"/>
                      <a:pt x="92" y="682"/>
                      <a:pt x="204" y="682"/>
                    </a:cubicBezTo>
                    <a:cubicBezTo>
                      <a:pt x="5952" y="682"/>
                      <a:pt x="5952" y="682"/>
                      <a:pt x="5952" y="682"/>
                    </a:cubicBezTo>
                    <a:cubicBezTo>
                      <a:pt x="6064" y="682"/>
                      <a:pt x="6155" y="591"/>
                      <a:pt x="6155" y="478"/>
                    </a:cubicBezTo>
                    <a:cubicBezTo>
                      <a:pt x="6155" y="0"/>
                      <a:pt x="6155" y="0"/>
                      <a:pt x="6155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7FEFF40C-7AEF-1D40-AB79-C856AED0C81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644880" y="5808648"/>
                <a:ext cx="1690701" cy="184608"/>
              </a:xfrm>
              <a:custGeom>
                <a:avLst/>
                <a:gdLst>
                  <a:gd name="T0" fmla="*/ 1099 w 1099"/>
                  <a:gd name="T1" fmla="*/ 120 h 120"/>
                  <a:gd name="T2" fmla="*/ 1090 w 1099"/>
                  <a:gd name="T3" fmla="*/ 0 h 120"/>
                  <a:gd name="T4" fmla="*/ 10 w 1099"/>
                  <a:gd name="T5" fmla="*/ 0 h 120"/>
                  <a:gd name="T6" fmla="*/ 0 w 1099"/>
                  <a:gd name="T7" fmla="*/ 120 h 120"/>
                  <a:gd name="T8" fmla="*/ 1099 w 1099"/>
                  <a:gd name="T9" fmla="*/ 12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99" h="120">
                    <a:moveTo>
                      <a:pt x="1099" y="120"/>
                    </a:moveTo>
                    <a:lnTo>
                      <a:pt x="1090" y="0"/>
                    </a:lnTo>
                    <a:lnTo>
                      <a:pt x="10" y="0"/>
                    </a:lnTo>
                    <a:lnTo>
                      <a:pt x="0" y="120"/>
                    </a:lnTo>
                    <a:lnTo>
                      <a:pt x="1099" y="120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alpha val="1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23" name="Freeform 10">
                <a:extLst>
                  <a:ext uri="{FF2B5EF4-FFF2-40B4-BE49-F238E27FC236}">
                    <a16:creationId xmlns:a16="http://schemas.microsoft.com/office/drawing/2014/main" id="{09A3B097-23A7-3243-AB63-4D8BDAEA9F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87972" y="6548619"/>
                <a:ext cx="2404518" cy="55382"/>
              </a:xfrm>
              <a:custGeom>
                <a:avLst/>
                <a:gdLst>
                  <a:gd name="T0" fmla="*/ 2252 w 2263"/>
                  <a:gd name="T1" fmla="*/ 0 h 53"/>
                  <a:gd name="T2" fmla="*/ 10 w 2263"/>
                  <a:gd name="T3" fmla="*/ 0 h 53"/>
                  <a:gd name="T4" fmla="*/ 0 w 2263"/>
                  <a:gd name="T5" fmla="*/ 12 h 53"/>
                  <a:gd name="T6" fmla="*/ 0 w 2263"/>
                  <a:gd name="T7" fmla="*/ 53 h 53"/>
                  <a:gd name="T8" fmla="*/ 6 w 2263"/>
                  <a:gd name="T9" fmla="*/ 53 h 53"/>
                  <a:gd name="T10" fmla="*/ 2257 w 2263"/>
                  <a:gd name="T11" fmla="*/ 53 h 53"/>
                  <a:gd name="T12" fmla="*/ 2263 w 2263"/>
                  <a:gd name="T13" fmla="*/ 53 h 53"/>
                  <a:gd name="T14" fmla="*/ 2263 w 2263"/>
                  <a:gd name="T15" fmla="*/ 13 h 53"/>
                  <a:gd name="T16" fmla="*/ 2252 w 2263"/>
                  <a:gd name="T17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63" h="53">
                    <a:moveTo>
                      <a:pt x="2252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0" y="4"/>
                      <a:pt x="0" y="12"/>
                      <a:pt x="0" y="12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2257" y="53"/>
                      <a:pt x="2257" y="53"/>
                      <a:pt x="2257" y="53"/>
                    </a:cubicBezTo>
                    <a:cubicBezTo>
                      <a:pt x="2263" y="53"/>
                      <a:pt x="2263" y="53"/>
                      <a:pt x="2263" y="53"/>
                    </a:cubicBezTo>
                    <a:cubicBezTo>
                      <a:pt x="2263" y="13"/>
                      <a:pt x="2263" y="13"/>
                      <a:pt x="2263" y="13"/>
                    </a:cubicBezTo>
                    <a:cubicBezTo>
                      <a:pt x="2263" y="13"/>
                      <a:pt x="2263" y="5"/>
                      <a:pt x="2252" y="0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alpha val="1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30" name="Oval 19">
                <a:extLst>
                  <a:ext uri="{FF2B5EF4-FFF2-40B4-BE49-F238E27FC236}">
                    <a16:creationId xmlns:a16="http://schemas.microsoft.com/office/drawing/2014/main" id="{A2A9ED4A-8563-4B4E-99D1-29B7A781FA9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490717" y="1213380"/>
                <a:ext cx="38418" cy="38418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</p:grpSp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F1C6814B-5F3C-BB46-B7C3-BDC33318A5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004883" y="4811177"/>
              <a:ext cx="200725" cy="242635"/>
            </a:xfrm>
            <a:prstGeom prst="rect">
              <a:avLst/>
            </a:prstGeom>
          </p:spPr>
        </p:pic>
      </p:grpSp>
      <p:sp>
        <p:nvSpPr>
          <p:cNvPr id="42" name="Title 1">
            <a:extLst>
              <a:ext uri="{FF2B5EF4-FFF2-40B4-BE49-F238E27FC236}">
                <a16:creationId xmlns:a16="http://schemas.microsoft.com/office/drawing/2014/main" id="{755E2FB7-12B3-1045-8BEA-8CB3A912B3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43" name="Content Placeholder 8">
            <a:extLst>
              <a:ext uri="{FF2B5EF4-FFF2-40B4-BE49-F238E27FC236}">
                <a16:creationId xmlns:a16="http://schemas.microsoft.com/office/drawing/2014/main" id="{799ACB22-9CA1-4340-A10D-36668B7CBCD0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47662" y="769980"/>
            <a:ext cx="11844331" cy="452286"/>
          </a:xfrm>
        </p:spPr>
        <p:txBody>
          <a:bodyPr anchor="ctr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29" name="Picture Placeholder 17">
            <a:extLst>
              <a:ext uri="{FF2B5EF4-FFF2-40B4-BE49-F238E27FC236}">
                <a16:creationId xmlns:a16="http://schemas.microsoft.com/office/drawing/2014/main" id="{BE1340A3-7B32-324F-93DF-F6E0D98F38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753802" y="1931941"/>
            <a:ext cx="4677276" cy="2642192"/>
          </a:xfrm>
          <a:noFill/>
        </p:spPr>
        <p:txBody>
          <a:bodyPr anchor="t">
            <a:normAutofit/>
          </a:bodyPr>
          <a:lstStyle>
            <a:lvl1pPr marL="0" indent="0" algn="ctr">
              <a:buNone/>
              <a:defRPr sz="2000" baseline="-25000">
                <a:solidFill>
                  <a:schemeClr val="bg1"/>
                </a:solidFill>
              </a:defRPr>
            </a:lvl1pPr>
          </a:lstStyle>
          <a:p>
            <a:r>
              <a:rPr lang="en-AU"/>
              <a:t>Click to add pictur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54B8EFD-20E7-A343-A4D1-CC658CA82C69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B534FD23-28DC-544F-8366-7A30D7D001D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09C01DE1-A4D6-8149-9626-6B3A018CD93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3C519DE2-2422-7A4B-8D2F-3AC0C556A48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862809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er Slide 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457390-8C62-4465-A819-B8E149E0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5650" y="443948"/>
            <a:ext cx="9837190" cy="3022995"/>
          </a:xfrm>
        </p:spPr>
        <p:txBody>
          <a:bodyPr anchor="b"/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7A193181-11E3-4AE3-8ACA-7673F334742F}"/>
              </a:ext>
            </a:extLst>
          </p:cNvPr>
          <p:cNvSpPr/>
          <p:nvPr userDrawn="1"/>
        </p:nvSpPr>
        <p:spPr>
          <a:xfrm>
            <a:off x="0" y="0"/>
            <a:ext cx="1696490" cy="6858000"/>
          </a:xfrm>
          <a:custGeom>
            <a:avLst/>
            <a:gdLst>
              <a:gd name="connsiteX0" fmla="*/ 0 w 12179300"/>
              <a:gd name="connsiteY0" fmla="*/ 0 h 800100"/>
              <a:gd name="connsiteX1" fmla="*/ 12189460 w 12179300"/>
              <a:gd name="connsiteY1" fmla="*/ 0 h 800100"/>
              <a:gd name="connsiteX2" fmla="*/ 12189460 w 12179300"/>
              <a:gd name="connsiteY2" fmla="*/ 800100 h 800100"/>
              <a:gd name="connsiteX3" fmla="*/ 0 w 12179300"/>
              <a:gd name="connsiteY3" fmla="*/ 800100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79300" h="800100">
                <a:moveTo>
                  <a:pt x="0" y="0"/>
                </a:moveTo>
                <a:lnTo>
                  <a:pt x="12189460" y="0"/>
                </a:lnTo>
                <a:lnTo>
                  <a:pt x="12189460" y="800100"/>
                </a:lnTo>
                <a:lnTo>
                  <a:pt x="0" y="80010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5400000" scaled="0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83435572-35B2-4E79-A039-61636889C9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25442" y="3429000"/>
            <a:ext cx="9838154" cy="1123950"/>
          </a:xfrm>
        </p:spPr>
        <p:txBody>
          <a:bodyPr>
            <a:normAutofit/>
          </a:bodyPr>
          <a:lstStyle>
            <a:lvl1pPr marL="0" indent="0" algn="ctr">
              <a:buNone/>
              <a:defRPr sz="3200" b="1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Slide Number Placeholder 5">
            <a:extLst>
              <a:ext uri="{FF2B5EF4-FFF2-40B4-BE49-F238E27FC236}">
                <a16:creationId xmlns:a16="http://schemas.microsoft.com/office/drawing/2014/main" id="{3235AFA1-6A26-4918-A1B8-7207F40A0F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9640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26" name="Picture 25" descr="A close up of a sign&#10;&#10;Description automatically generated">
            <a:extLst>
              <a:ext uri="{FF2B5EF4-FFF2-40B4-BE49-F238E27FC236}">
                <a16:creationId xmlns:a16="http://schemas.microsoft.com/office/drawing/2014/main" id="{4A7C0497-9B4E-824D-A7D6-120F202714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4772" y="6363046"/>
            <a:ext cx="1050007" cy="217001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131DAAC4-29B5-1C4F-8DFB-CFBF0E807A5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9160" y="290971"/>
            <a:ext cx="1075849" cy="30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125569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Add Equip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9FF0F-C145-49E6-9DB7-9029FE014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1758" y="981095"/>
            <a:ext cx="6430886" cy="2708255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89688F33-4BC4-47A9-B6D8-2BCCCAE87316}"/>
              </a:ext>
            </a:extLst>
          </p:cNvPr>
          <p:cNvSpPr/>
          <p:nvPr userDrawn="1"/>
        </p:nvSpPr>
        <p:spPr>
          <a:xfrm>
            <a:off x="0" y="0"/>
            <a:ext cx="1696490" cy="6858000"/>
          </a:xfrm>
          <a:custGeom>
            <a:avLst/>
            <a:gdLst>
              <a:gd name="connsiteX0" fmla="*/ 0 w 12179300"/>
              <a:gd name="connsiteY0" fmla="*/ 0 h 800100"/>
              <a:gd name="connsiteX1" fmla="*/ 12189460 w 12179300"/>
              <a:gd name="connsiteY1" fmla="*/ 0 h 800100"/>
              <a:gd name="connsiteX2" fmla="*/ 12189460 w 12179300"/>
              <a:gd name="connsiteY2" fmla="*/ 800100 h 800100"/>
              <a:gd name="connsiteX3" fmla="*/ 0 w 12179300"/>
              <a:gd name="connsiteY3" fmla="*/ 800100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79300" h="800100">
                <a:moveTo>
                  <a:pt x="0" y="0"/>
                </a:moveTo>
                <a:lnTo>
                  <a:pt x="12189460" y="0"/>
                </a:lnTo>
                <a:lnTo>
                  <a:pt x="12189460" y="800100"/>
                </a:lnTo>
                <a:lnTo>
                  <a:pt x="0" y="80010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5400000" scaled="0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436C2CF2-3450-4105-B197-F5726ABD44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41550" y="3644900"/>
            <a:ext cx="6430963" cy="1314450"/>
          </a:xfrm>
        </p:spPr>
        <p:txBody>
          <a:bodyPr>
            <a:norm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Slide Number Placeholder 5">
            <a:extLst>
              <a:ext uri="{FF2B5EF4-FFF2-40B4-BE49-F238E27FC236}">
                <a16:creationId xmlns:a16="http://schemas.microsoft.com/office/drawing/2014/main" id="{DF584902-B4AB-4BAA-BE27-D520994859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9640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25" name="Picture 24" descr="A close up of a sign&#10;&#10;Description automatically generated">
            <a:extLst>
              <a:ext uri="{FF2B5EF4-FFF2-40B4-BE49-F238E27FC236}">
                <a16:creationId xmlns:a16="http://schemas.microsoft.com/office/drawing/2014/main" id="{6A913F3B-2815-1B45-98A5-9BF0F59AC7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4772" y="6363046"/>
            <a:ext cx="1050007" cy="217001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7BF9AEC9-2937-9645-9E31-FA97E4EA6CE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9160" y="290971"/>
            <a:ext cx="1075849" cy="30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50721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Revers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52B496D-CF03-42EB-8F77-73346B92C9DF}"/>
              </a:ext>
            </a:extLst>
          </p:cNvPr>
          <p:cNvSpPr/>
          <p:nvPr userDrawn="1"/>
        </p:nvSpPr>
        <p:spPr>
          <a:xfrm>
            <a:off x="1709190" y="0"/>
            <a:ext cx="10482810" cy="685800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C372AEC-7234-4B28-9629-F5A92BE6A4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1419" y="775970"/>
            <a:ext cx="6430886" cy="2913380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Divider Slide Text</a:t>
            </a:r>
          </a:p>
        </p:txBody>
      </p:sp>
      <p:sp>
        <p:nvSpPr>
          <p:cNvPr id="46" name="Text Placeholder 41">
            <a:extLst>
              <a:ext uri="{FF2B5EF4-FFF2-40B4-BE49-F238E27FC236}">
                <a16:creationId xmlns:a16="http://schemas.microsoft.com/office/drawing/2014/main" id="{10FB7CAE-0346-4142-91E5-CD5222B19E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35200" y="3644900"/>
            <a:ext cx="6430963" cy="1314450"/>
          </a:xfrm>
        </p:spPr>
        <p:txBody>
          <a:bodyPr>
            <a:normAutofit/>
          </a:bodyPr>
          <a:lstStyle>
            <a:lvl1pPr marL="0" indent="0">
              <a:buNone/>
              <a:defRPr sz="2800" b="1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Slide Number Placeholder 5">
            <a:extLst>
              <a:ext uri="{FF2B5EF4-FFF2-40B4-BE49-F238E27FC236}">
                <a16:creationId xmlns:a16="http://schemas.microsoft.com/office/drawing/2014/main" id="{A54740C7-DC14-4415-B0A8-C4E6F2BC2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9640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3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2063D68E-0E29-9146-BB54-0729DD118D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37152" y="6367316"/>
            <a:ext cx="976724" cy="19534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E8247B45-C09F-D54B-A370-C396335E6D4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9160" y="290971"/>
            <a:ext cx="1075849" cy="30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155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9.xml"/><Relationship Id="rId18" Type="http://schemas.openxmlformats.org/officeDocument/2006/relationships/slideLayout" Target="../slideLayouts/slideLayout74.xml"/><Relationship Id="rId26" Type="http://schemas.openxmlformats.org/officeDocument/2006/relationships/slideLayout" Target="../slideLayouts/slideLayout82.xml"/><Relationship Id="rId39" Type="http://schemas.openxmlformats.org/officeDocument/2006/relationships/slideLayout" Target="../slideLayouts/slideLayout95.xml"/><Relationship Id="rId21" Type="http://schemas.openxmlformats.org/officeDocument/2006/relationships/slideLayout" Target="../slideLayouts/slideLayout77.xml"/><Relationship Id="rId34" Type="http://schemas.openxmlformats.org/officeDocument/2006/relationships/slideLayout" Target="../slideLayouts/slideLayout90.xml"/><Relationship Id="rId42" Type="http://schemas.openxmlformats.org/officeDocument/2006/relationships/slideLayout" Target="../slideLayouts/slideLayout98.xml"/><Relationship Id="rId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29" Type="http://schemas.openxmlformats.org/officeDocument/2006/relationships/slideLayout" Target="../slideLayouts/slideLayout85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24" Type="http://schemas.openxmlformats.org/officeDocument/2006/relationships/slideLayout" Target="../slideLayouts/slideLayout80.xml"/><Relationship Id="rId32" Type="http://schemas.openxmlformats.org/officeDocument/2006/relationships/slideLayout" Target="../slideLayouts/slideLayout88.xml"/><Relationship Id="rId37" Type="http://schemas.openxmlformats.org/officeDocument/2006/relationships/slideLayout" Target="../slideLayouts/slideLayout93.xml"/><Relationship Id="rId40" Type="http://schemas.openxmlformats.org/officeDocument/2006/relationships/slideLayout" Target="../slideLayouts/slideLayout96.xml"/><Relationship Id="rId45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23" Type="http://schemas.openxmlformats.org/officeDocument/2006/relationships/slideLayout" Target="../slideLayouts/slideLayout79.xml"/><Relationship Id="rId28" Type="http://schemas.openxmlformats.org/officeDocument/2006/relationships/slideLayout" Target="../slideLayouts/slideLayout84.xml"/><Relationship Id="rId36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66.xml"/><Relationship Id="rId19" Type="http://schemas.openxmlformats.org/officeDocument/2006/relationships/slideLayout" Target="../slideLayouts/slideLayout75.xml"/><Relationship Id="rId31" Type="http://schemas.openxmlformats.org/officeDocument/2006/relationships/slideLayout" Target="../slideLayouts/slideLayout87.xml"/><Relationship Id="rId44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Relationship Id="rId22" Type="http://schemas.openxmlformats.org/officeDocument/2006/relationships/slideLayout" Target="../slideLayouts/slideLayout78.xml"/><Relationship Id="rId27" Type="http://schemas.openxmlformats.org/officeDocument/2006/relationships/slideLayout" Target="../slideLayouts/slideLayout83.xml"/><Relationship Id="rId30" Type="http://schemas.openxmlformats.org/officeDocument/2006/relationships/slideLayout" Target="../slideLayouts/slideLayout86.xml"/><Relationship Id="rId35" Type="http://schemas.openxmlformats.org/officeDocument/2006/relationships/slideLayout" Target="../slideLayouts/slideLayout91.xml"/><Relationship Id="rId43" Type="http://schemas.openxmlformats.org/officeDocument/2006/relationships/slideLayout" Target="../slideLayouts/slideLayout99.xml"/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8.xml"/><Relationship Id="rId17" Type="http://schemas.openxmlformats.org/officeDocument/2006/relationships/slideLayout" Target="../slideLayouts/slideLayout73.xml"/><Relationship Id="rId25" Type="http://schemas.openxmlformats.org/officeDocument/2006/relationships/slideLayout" Target="../slideLayouts/slideLayout81.xml"/><Relationship Id="rId33" Type="http://schemas.openxmlformats.org/officeDocument/2006/relationships/slideLayout" Target="../slideLayouts/slideLayout89.xml"/><Relationship Id="rId38" Type="http://schemas.openxmlformats.org/officeDocument/2006/relationships/slideLayout" Target="../slideLayouts/slideLayout94.xml"/><Relationship Id="rId46" Type="http://schemas.openxmlformats.org/officeDocument/2006/relationships/theme" Target="../theme/theme2.xml"/><Relationship Id="rId20" Type="http://schemas.openxmlformats.org/officeDocument/2006/relationships/slideLayout" Target="../slideLayouts/slideLayout76.xml"/><Relationship Id="rId41" Type="http://schemas.openxmlformats.org/officeDocument/2006/relationships/slideLayout" Target="../slideLayouts/slideLayout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33AF578-B443-4FA8-9211-EA573C22C925}"/>
              </a:ext>
            </a:extLst>
          </p:cNvPr>
          <p:cNvSpPr/>
          <p:nvPr/>
        </p:nvSpPr>
        <p:spPr>
          <a:xfrm>
            <a:off x="347472" y="256032"/>
            <a:ext cx="11844528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70B0A12-B8A5-4E71-8539-436DDD821B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472" y="256032"/>
            <a:ext cx="11844528" cy="6400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9C7DCD-08D8-4D06-8167-E9C0FDA6C7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7472" y="1544635"/>
            <a:ext cx="1100632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C788E8-614F-4841-A5EF-505C4B345C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58950" y="6216650"/>
            <a:ext cx="8674100" cy="482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 b="1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DE6868-57DB-4820-95EB-F7D4AF2080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93784" y="6275387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935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  <p:sldLayoutId id="2147483703" r:id="rId15"/>
    <p:sldLayoutId id="2147483704" r:id="rId16"/>
    <p:sldLayoutId id="2147483705" r:id="rId17"/>
    <p:sldLayoutId id="2147483706" r:id="rId18"/>
    <p:sldLayoutId id="2147483707" r:id="rId19"/>
    <p:sldLayoutId id="2147483708" r:id="rId20"/>
    <p:sldLayoutId id="2147483709" r:id="rId21"/>
    <p:sldLayoutId id="2147483710" r:id="rId22"/>
    <p:sldLayoutId id="2147483711" r:id="rId23"/>
    <p:sldLayoutId id="2147483712" r:id="rId24"/>
    <p:sldLayoutId id="2147483713" r:id="rId25"/>
    <p:sldLayoutId id="2147483714" r:id="rId26"/>
    <p:sldLayoutId id="2147483715" r:id="rId27"/>
    <p:sldLayoutId id="2147483716" r:id="rId28"/>
    <p:sldLayoutId id="2147483717" r:id="rId29"/>
    <p:sldLayoutId id="2147483718" r:id="rId30"/>
    <p:sldLayoutId id="2147483661" r:id="rId31"/>
    <p:sldLayoutId id="2147483663" r:id="rId32"/>
    <p:sldLayoutId id="2147483664" r:id="rId33"/>
    <p:sldLayoutId id="2147483665" r:id="rId34"/>
    <p:sldLayoutId id="2147483666" r:id="rId35"/>
    <p:sldLayoutId id="2147483667" r:id="rId36"/>
    <p:sldLayoutId id="2147483668" r:id="rId37"/>
    <p:sldLayoutId id="2147483669" r:id="rId38"/>
    <p:sldLayoutId id="2147483670" r:id="rId39"/>
    <p:sldLayoutId id="2147483767" r:id="rId40"/>
    <p:sldLayoutId id="2147483672" r:id="rId41"/>
    <p:sldLayoutId id="2147483673" r:id="rId42"/>
    <p:sldLayoutId id="2147483674" r:id="rId43"/>
    <p:sldLayoutId id="2147483675" r:id="rId44"/>
    <p:sldLayoutId id="2147483676" r:id="rId45"/>
    <p:sldLayoutId id="2147483677" r:id="rId46"/>
    <p:sldLayoutId id="2147483678" r:id="rId47"/>
    <p:sldLayoutId id="2147483679" r:id="rId48"/>
    <p:sldLayoutId id="2147483680" r:id="rId49"/>
    <p:sldLayoutId id="2147483681" r:id="rId50"/>
    <p:sldLayoutId id="2147483682" r:id="rId51"/>
    <p:sldLayoutId id="2147483683" r:id="rId52"/>
    <p:sldLayoutId id="2147483684" r:id="rId53"/>
    <p:sldLayoutId id="2147483685" r:id="rId54"/>
    <p:sldLayoutId id="2147483686" r:id="rId55"/>
    <p:sldLayoutId id="2147483687" r:id="rId5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33AF578-B443-4FA8-9211-EA573C22C925}"/>
              </a:ext>
            </a:extLst>
          </p:cNvPr>
          <p:cNvSpPr/>
          <p:nvPr userDrawn="1"/>
        </p:nvSpPr>
        <p:spPr>
          <a:xfrm>
            <a:off x="347472" y="256032"/>
            <a:ext cx="11844528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70B0A12-B8A5-4E71-8539-436DDD821B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472" y="256032"/>
            <a:ext cx="11844528" cy="6400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9C7DCD-08D8-4D06-8167-E9C0FDA6C7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7472" y="1544635"/>
            <a:ext cx="1100632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C788E8-614F-4841-A5EF-505C4B345C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58950" y="6216650"/>
            <a:ext cx="8674100" cy="482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 b="1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DE6868-57DB-4820-95EB-F7D4AF2080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93784" y="6275387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1490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37" r:id="rId16"/>
    <p:sldLayoutId id="2147483738" r:id="rId17"/>
    <p:sldLayoutId id="2147483739" r:id="rId18"/>
    <p:sldLayoutId id="2147483740" r:id="rId19"/>
    <p:sldLayoutId id="2147483741" r:id="rId20"/>
    <p:sldLayoutId id="2147483742" r:id="rId21"/>
    <p:sldLayoutId id="2147483743" r:id="rId22"/>
    <p:sldLayoutId id="2147483744" r:id="rId23"/>
    <p:sldLayoutId id="2147483745" r:id="rId24"/>
    <p:sldLayoutId id="2147483746" r:id="rId25"/>
    <p:sldLayoutId id="2147483747" r:id="rId26"/>
    <p:sldLayoutId id="2147483748" r:id="rId27"/>
    <p:sldLayoutId id="2147483749" r:id="rId28"/>
    <p:sldLayoutId id="2147483750" r:id="rId29"/>
    <p:sldLayoutId id="2147483751" r:id="rId30"/>
    <p:sldLayoutId id="2147483752" r:id="rId31"/>
    <p:sldLayoutId id="2147483753" r:id="rId32"/>
    <p:sldLayoutId id="2147483754" r:id="rId33"/>
    <p:sldLayoutId id="2147483755" r:id="rId34"/>
    <p:sldLayoutId id="2147483756" r:id="rId35"/>
    <p:sldLayoutId id="2147483757" r:id="rId36"/>
    <p:sldLayoutId id="2147483758" r:id="rId37"/>
    <p:sldLayoutId id="2147483759" r:id="rId38"/>
    <p:sldLayoutId id="2147483760" r:id="rId39"/>
    <p:sldLayoutId id="2147483761" r:id="rId40"/>
    <p:sldLayoutId id="2147483762" r:id="rId41"/>
    <p:sldLayoutId id="2147483763" r:id="rId42"/>
    <p:sldLayoutId id="2147483764" r:id="rId43"/>
    <p:sldLayoutId id="2147483765" r:id="rId44"/>
    <p:sldLayoutId id="2147483766" r:id="rId4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7" Type="http://schemas.openxmlformats.org/officeDocument/2006/relationships/image" Target="../media/image125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4.png"/><Relationship Id="rId5" Type="http://schemas.openxmlformats.org/officeDocument/2006/relationships/image" Target="../media/image123.svg"/><Relationship Id="rId4" Type="http://schemas.openxmlformats.org/officeDocument/2006/relationships/image" Target="../media/image12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orconstructionpros.com/equipment/article/21591063/2021-contractors-top-50-new-products-50-ways-to-build-the-future-of-your-business" TargetMode="External"/><Relationship Id="rId13" Type="http://schemas.openxmlformats.org/officeDocument/2006/relationships/image" Target="../media/image130.png"/><Relationship Id="rId18" Type="http://schemas.openxmlformats.org/officeDocument/2006/relationships/image" Target="../media/image135.png"/><Relationship Id="rId3" Type="http://schemas.openxmlformats.org/officeDocument/2006/relationships/image" Target="../media/image127.png"/><Relationship Id="rId7" Type="http://schemas.openxmlformats.org/officeDocument/2006/relationships/hyperlink" Target="https://www.forconstructionpros.com/rental/article/21563131/rental-announces-the-2021-editors-choice-awards" TargetMode="External"/><Relationship Id="rId12" Type="http://schemas.openxmlformats.org/officeDocument/2006/relationships/image" Target="../media/image129.jpeg"/><Relationship Id="rId17" Type="http://schemas.openxmlformats.org/officeDocument/2006/relationships/image" Target="../media/image134.jpeg"/><Relationship Id="rId2" Type="http://schemas.openxmlformats.org/officeDocument/2006/relationships/image" Target="../media/image126.jpeg"/><Relationship Id="rId16" Type="http://schemas.openxmlformats.org/officeDocument/2006/relationships/image" Target="../media/image133.jpe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constructionequipment.com/products/top-100/2021#Lifting&amp;MaterialHandling" TargetMode="External"/><Relationship Id="rId11" Type="http://schemas.openxmlformats.org/officeDocument/2006/relationships/hyperlink" Target="https://equipmentwatch.com/awards/lowest-cost-of-ownership-awards/" TargetMode="External"/><Relationship Id="rId5" Type="http://schemas.openxmlformats.org/officeDocument/2006/relationships/hyperlink" Target="https://www.mydigitalpublication.com/publication/?m=59309&amp;i=727062&amp;view=articleBrowser&amp;article_id=4149636&amp;ver=html5" TargetMode="External"/><Relationship Id="rId15" Type="http://schemas.openxmlformats.org/officeDocument/2006/relationships/image" Target="../media/image132.jpeg"/><Relationship Id="rId10" Type="http://schemas.openxmlformats.org/officeDocument/2006/relationships/hyperlink" Target="https://equipmentwatch.com/awards/highest-retained-value-awards/" TargetMode="External"/><Relationship Id="rId4" Type="http://schemas.openxmlformats.org/officeDocument/2006/relationships/image" Target="../media/image128.svg"/><Relationship Id="rId9" Type="http://schemas.openxmlformats.org/officeDocument/2006/relationships/hyperlink" Target="https://mydigitalpublication.com/publication/?m=13259&amp;i=730597&amp;p=1&amp;ver=html5" TargetMode="External"/><Relationship Id="rId14" Type="http://schemas.openxmlformats.org/officeDocument/2006/relationships/image" Target="../media/image13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1.svg"/><Relationship Id="rId13" Type="http://schemas.openxmlformats.org/officeDocument/2006/relationships/image" Target="../media/image146.png"/><Relationship Id="rId18" Type="http://schemas.openxmlformats.org/officeDocument/2006/relationships/image" Target="../media/image151.svg"/><Relationship Id="rId3" Type="http://schemas.openxmlformats.org/officeDocument/2006/relationships/image" Target="../media/image136.png"/><Relationship Id="rId7" Type="http://schemas.openxmlformats.org/officeDocument/2006/relationships/image" Target="../media/image140.png"/><Relationship Id="rId12" Type="http://schemas.openxmlformats.org/officeDocument/2006/relationships/image" Target="../media/image145.svg"/><Relationship Id="rId17" Type="http://schemas.openxmlformats.org/officeDocument/2006/relationships/image" Target="../media/image150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149.svg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139.svg"/><Relationship Id="rId11" Type="http://schemas.openxmlformats.org/officeDocument/2006/relationships/image" Target="../media/image144.png"/><Relationship Id="rId5" Type="http://schemas.openxmlformats.org/officeDocument/2006/relationships/image" Target="../media/image138.png"/><Relationship Id="rId15" Type="http://schemas.openxmlformats.org/officeDocument/2006/relationships/image" Target="../media/image148.png"/><Relationship Id="rId10" Type="http://schemas.openxmlformats.org/officeDocument/2006/relationships/image" Target="../media/image143.svg"/><Relationship Id="rId4" Type="http://schemas.openxmlformats.org/officeDocument/2006/relationships/image" Target="../media/image137.svg"/><Relationship Id="rId9" Type="http://schemas.openxmlformats.org/officeDocument/2006/relationships/image" Target="../media/image142.png"/><Relationship Id="rId14" Type="http://schemas.openxmlformats.org/officeDocument/2006/relationships/image" Target="../media/image147.sv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152.jpe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60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3.svg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62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60.emf"/><Relationship Id="rId11" Type="http://schemas.openxmlformats.org/officeDocument/2006/relationships/image" Target="../media/image156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55.emf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154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3.svg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62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60.emf"/><Relationship Id="rId11" Type="http://schemas.openxmlformats.org/officeDocument/2006/relationships/image" Target="../media/image156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55.emf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154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3.svg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62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60.emf"/><Relationship Id="rId11" Type="http://schemas.openxmlformats.org/officeDocument/2006/relationships/image" Target="../media/image156.pn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55.emf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154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3.svg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62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60.emf"/><Relationship Id="rId11" Type="http://schemas.openxmlformats.org/officeDocument/2006/relationships/image" Target="../media/image156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55.emf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154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3.svg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62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60.emf"/><Relationship Id="rId11" Type="http://schemas.openxmlformats.org/officeDocument/2006/relationships/image" Target="../media/image156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55.emf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154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3.svg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62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60.emf"/><Relationship Id="rId11" Type="http://schemas.openxmlformats.org/officeDocument/2006/relationships/image" Target="../media/image156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55.emf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154.emf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6.png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155.emf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54.emf"/><Relationship Id="rId5" Type="http://schemas.openxmlformats.org/officeDocument/2006/relationships/image" Target="../media/image157.png"/><Relationship Id="rId10" Type="http://schemas.openxmlformats.org/officeDocument/2006/relationships/image" Target="../media/image60.emf"/><Relationship Id="rId4" Type="http://schemas.openxmlformats.org/officeDocument/2006/relationships/notesSlide" Target="../notesSlides/notesSlide17.xml"/><Relationship Id="rId9" Type="http://schemas.openxmlformats.org/officeDocument/2006/relationships/oleObject" Target="../embeddings/oleObject9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6.png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60.emf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157.png"/><Relationship Id="rId4" Type="http://schemas.openxmlformats.org/officeDocument/2006/relationships/notesSlide" Target="../notesSlides/notesSlide18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9.png"/><Relationship Id="rId13" Type="http://schemas.openxmlformats.org/officeDocument/2006/relationships/image" Target="../media/image164.svg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60.emf"/><Relationship Id="rId12" Type="http://schemas.openxmlformats.org/officeDocument/2006/relationships/image" Target="../media/image163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oleObject" Target="../embeddings/oleObject11.bin"/><Relationship Id="rId11" Type="http://schemas.openxmlformats.org/officeDocument/2006/relationships/image" Target="../media/image162.svg"/><Relationship Id="rId5" Type="http://schemas.openxmlformats.org/officeDocument/2006/relationships/image" Target="../media/image158.jpg"/><Relationship Id="rId10" Type="http://schemas.openxmlformats.org/officeDocument/2006/relationships/image" Target="../media/image161.png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160.svg"/><Relationship Id="rId14" Type="http://schemas.openxmlformats.org/officeDocument/2006/relationships/image" Target="../media/image156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emf"/><Relationship Id="rId3" Type="http://schemas.openxmlformats.org/officeDocument/2006/relationships/slideLayout" Target="../slideLayouts/slideLayout57.xml"/><Relationship Id="rId7" Type="http://schemas.openxmlformats.org/officeDocument/2006/relationships/oleObject" Target="../embeddings/oleObject12.bin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166.svg"/><Relationship Id="rId5" Type="http://schemas.openxmlformats.org/officeDocument/2006/relationships/image" Target="../media/image165.png"/><Relationship Id="rId10" Type="http://schemas.openxmlformats.org/officeDocument/2006/relationships/image" Target="../media/image167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156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9.svg"/><Relationship Id="rId13" Type="http://schemas.openxmlformats.org/officeDocument/2006/relationships/image" Target="../media/image174.png"/><Relationship Id="rId18" Type="http://schemas.openxmlformats.org/officeDocument/2006/relationships/image" Target="../media/image179.svg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168.png"/><Relationship Id="rId12" Type="http://schemas.openxmlformats.org/officeDocument/2006/relationships/image" Target="../media/image173.svg"/><Relationship Id="rId17" Type="http://schemas.openxmlformats.org/officeDocument/2006/relationships/image" Target="../media/image178.png"/><Relationship Id="rId2" Type="http://schemas.openxmlformats.org/officeDocument/2006/relationships/tags" Target="../tags/tag30.xml"/><Relationship Id="rId16" Type="http://schemas.openxmlformats.org/officeDocument/2006/relationships/image" Target="../media/image177.svg"/><Relationship Id="rId1" Type="http://schemas.openxmlformats.org/officeDocument/2006/relationships/tags" Target="../tags/tag29.xml"/><Relationship Id="rId6" Type="http://schemas.openxmlformats.org/officeDocument/2006/relationships/image" Target="../media/image60.emf"/><Relationship Id="rId11" Type="http://schemas.openxmlformats.org/officeDocument/2006/relationships/image" Target="../media/image172.png"/><Relationship Id="rId5" Type="http://schemas.openxmlformats.org/officeDocument/2006/relationships/oleObject" Target="../embeddings/oleObject13.bin"/><Relationship Id="rId15" Type="http://schemas.openxmlformats.org/officeDocument/2006/relationships/image" Target="../media/image176.png"/><Relationship Id="rId10" Type="http://schemas.openxmlformats.org/officeDocument/2006/relationships/image" Target="../media/image171.svg"/><Relationship Id="rId4" Type="http://schemas.openxmlformats.org/officeDocument/2006/relationships/notesSlide" Target="../notesSlides/notesSlide21.xml"/><Relationship Id="rId9" Type="http://schemas.openxmlformats.org/officeDocument/2006/relationships/image" Target="../media/image170.png"/><Relationship Id="rId14" Type="http://schemas.openxmlformats.org/officeDocument/2006/relationships/image" Target="../media/image175.sv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3.svg"/><Relationship Id="rId13" Type="http://schemas.openxmlformats.org/officeDocument/2006/relationships/oleObject" Target="../embeddings/oleObject14.bin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182.png"/><Relationship Id="rId12" Type="http://schemas.openxmlformats.org/officeDocument/2006/relationships/image" Target="../media/image187.sv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81.svg"/><Relationship Id="rId11" Type="http://schemas.openxmlformats.org/officeDocument/2006/relationships/image" Target="../media/image186.png"/><Relationship Id="rId5" Type="http://schemas.openxmlformats.org/officeDocument/2006/relationships/image" Target="../media/image180.png"/><Relationship Id="rId15" Type="http://schemas.openxmlformats.org/officeDocument/2006/relationships/image" Target="../media/image188.jpg"/><Relationship Id="rId10" Type="http://schemas.openxmlformats.org/officeDocument/2006/relationships/image" Target="../media/image185.svg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184.png"/><Relationship Id="rId14" Type="http://schemas.openxmlformats.org/officeDocument/2006/relationships/image" Target="../media/image60.emf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0.svg"/><Relationship Id="rId13" Type="http://schemas.openxmlformats.org/officeDocument/2006/relationships/image" Target="../media/image195.png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189.png"/><Relationship Id="rId12" Type="http://schemas.openxmlformats.org/officeDocument/2006/relationships/image" Target="../media/image194.sv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60.emf"/><Relationship Id="rId11" Type="http://schemas.openxmlformats.org/officeDocument/2006/relationships/image" Target="../media/image193.png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192.svg"/><Relationship Id="rId4" Type="http://schemas.openxmlformats.org/officeDocument/2006/relationships/notesSlide" Target="../notesSlides/notesSlide23.xml"/><Relationship Id="rId9" Type="http://schemas.openxmlformats.org/officeDocument/2006/relationships/image" Target="../media/image191.png"/><Relationship Id="rId14" Type="http://schemas.openxmlformats.org/officeDocument/2006/relationships/image" Target="../media/image196.sv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2.svg"/><Relationship Id="rId3" Type="http://schemas.openxmlformats.org/officeDocument/2006/relationships/image" Target="../media/image197.png"/><Relationship Id="rId7" Type="http://schemas.openxmlformats.org/officeDocument/2006/relationships/image" Target="../media/image201.png"/><Relationship Id="rId12" Type="http://schemas.openxmlformats.org/officeDocument/2006/relationships/image" Target="../media/image206.sv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0.svg"/><Relationship Id="rId11" Type="http://schemas.openxmlformats.org/officeDocument/2006/relationships/image" Target="../media/image205.png"/><Relationship Id="rId5" Type="http://schemas.openxmlformats.org/officeDocument/2006/relationships/image" Target="../media/image199.png"/><Relationship Id="rId10" Type="http://schemas.openxmlformats.org/officeDocument/2006/relationships/image" Target="../media/image204.svg"/><Relationship Id="rId4" Type="http://schemas.openxmlformats.org/officeDocument/2006/relationships/image" Target="../media/image198.svg"/><Relationship Id="rId9" Type="http://schemas.openxmlformats.org/officeDocument/2006/relationships/image" Target="../media/image203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0.svg"/><Relationship Id="rId5" Type="http://schemas.openxmlformats.org/officeDocument/2006/relationships/image" Target="../media/image209.png"/><Relationship Id="rId4" Type="http://schemas.openxmlformats.org/officeDocument/2006/relationships/image" Target="../media/image208.sv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4.png"/><Relationship Id="rId3" Type="http://schemas.openxmlformats.org/officeDocument/2006/relationships/image" Target="../media/image211.png"/><Relationship Id="rId7" Type="http://schemas.openxmlformats.org/officeDocument/2006/relationships/image" Target="../media/image21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2.png"/><Relationship Id="rId5" Type="http://schemas.openxmlformats.org/officeDocument/2006/relationships/image" Target="../media/image128.svg"/><Relationship Id="rId4" Type="http://schemas.openxmlformats.org/officeDocument/2006/relationships/image" Target="../media/image127.png"/><Relationship Id="rId9" Type="http://schemas.openxmlformats.org/officeDocument/2006/relationships/image" Target="../media/image21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6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8.svg"/><Relationship Id="rId4" Type="http://schemas.openxmlformats.org/officeDocument/2006/relationships/image" Target="../media/image127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0.png"/><Relationship Id="rId3" Type="http://schemas.openxmlformats.org/officeDocument/2006/relationships/image" Target="../media/image217.png"/><Relationship Id="rId7" Type="http://schemas.openxmlformats.org/officeDocument/2006/relationships/image" Target="../media/image219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8.png"/><Relationship Id="rId5" Type="http://schemas.openxmlformats.org/officeDocument/2006/relationships/image" Target="../media/image128.svg"/><Relationship Id="rId4" Type="http://schemas.openxmlformats.org/officeDocument/2006/relationships/image" Target="../media/image127.png"/><Relationship Id="rId9" Type="http://schemas.openxmlformats.org/officeDocument/2006/relationships/image" Target="../media/image221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8.svg"/><Relationship Id="rId3" Type="http://schemas.openxmlformats.org/officeDocument/2006/relationships/image" Target="../media/image222.png"/><Relationship Id="rId7" Type="http://schemas.openxmlformats.org/officeDocument/2006/relationships/image" Target="../media/image127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24.png"/><Relationship Id="rId5" Type="http://schemas.openxmlformats.org/officeDocument/2006/relationships/image" Target="../media/image223.png"/><Relationship Id="rId4" Type="http://schemas.openxmlformats.org/officeDocument/2006/relationships/image" Target="../media/image212.png"/><Relationship Id="rId9" Type="http://schemas.openxmlformats.org/officeDocument/2006/relationships/image" Target="../media/image225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9.png"/><Relationship Id="rId3" Type="http://schemas.openxmlformats.org/officeDocument/2006/relationships/image" Target="../media/image226.png"/><Relationship Id="rId7" Type="http://schemas.openxmlformats.org/officeDocument/2006/relationships/image" Target="../media/image228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27.png"/><Relationship Id="rId5" Type="http://schemas.openxmlformats.org/officeDocument/2006/relationships/image" Target="../media/image128.svg"/><Relationship Id="rId4" Type="http://schemas.openxmlformats.org/officeDocument/2006/relationships/image" Target="../media/image127.png"/><Relationship Id="rId9" Type="http://schemas.openxmlformats.org/officeDocument/2006/relationships/image" Target="../media/image230.png"/></Relationships>
</file>

<file path=ppt/slides/_rels/slide3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41.png"/><Relationship Id="rId18" Type="http://schemas.openxmlformats.org/officeDocument/2006/relationships/image" Target="../media/image246.png"/><Relationship Id="rId26" Type="http://schemas.openxmlformats.org/officeDocument/2006/relationships/image" Target="../media/image252.png"/><Relationship Id="rId3" Type="http://schemas.openxmlformats.org/officeDocument/2006/relationships/image" Target="../media/image231.png"/><Relationship Id="rId21" Type="http://schemas.openxmlformats.org/officeDocument/2006/relationships/image" Target="../media/image249.png"/><Relationship Id="rId7" Type="http://schemas.openxmlformats.org/officeDocument/2006/relationships/image" Target="../media/image235.png"/><Relationship Id="rId12" Type="http://schemas.openxmlformats.org/officeDocument/2006/relationships/image" Target="../media/image240.svg"/><Relationship Id="rId17" Type="http://schemas.openxmlformats.org/officeDocument/2006/relationships/image" Target="../media/image245.svg"/><Relationship Id="rId25" Type="http://schemas.openxmlformats.org/officeDocument/2006/relationships/image" Target="../media/image4.svg"/><Relationship Id="rId33" Type="http://schemas.openxmlformats.org/officeDocument/2006/relationships/image" Target="../media/image259.svg"/><Relationship Id="rId2" Type="http://schemas.openxmlformats.org/officeDocument/2006/relationships/notesSlide" Target="../notesSlides/notesSlide32.xml"/><Relationship Id="rId16" Type="http://schemas.openxmlformats.org/officeDocument/2006/relationships/image" Target="../media/image244.png"/><Relationship Id="rId20" Type="http://schemas.openxmlformats.org/officeDocument/2006/relationships/image" Target="../media/image248.svg"/><Relationship Id="rId29" Type="http://schemas.openxmlformats.org/officeDocument/2006/relationships/image" Target="../media/image255.sv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234.svg"/><Relationship Id="rId11" Type="http://schemas.openxmlformats.org/officeDocument/2006/relationships/image" Target="../media/image239.png"/><Relationship Id="rId24" Type="http://schemas.openxmlformats.org/officeDocument/2006/relationships/image" Target="../media/image3.png"/><Relationship Id="rId32" Type="http://schemas.openxmlformats.org/officeDocument/2006/relationships/image" Target="../media/image258.png"/><Relationship Id="rId5" Type="http://schemas.openxmlformats.org/officeDocument/2006/relationships/image" Target="../media/image233.png"/><Relationship Id="rId15" Type="http://schemas.openxmlformats.org/officeDocument/2006/relationships/image" Target="../media/image243.png"/><Relationship Id="rId23" Type="http://schemas.openxmlformats.org/officeDocument/2006/relationships/image" Target="../media/image251.svg"/><Relationship Id="rId28" Type="http://schemas.openxmlformats.org/officeDocument/2006/relationships/image" Target="../media/image254.png"/><Relationship Id="rId10" Type="http://schemas.openxmlformats.org/officeDocument/2006/relationships/image" Target="../media/image238.svg"/><Relationship Id="rId19" Type="http://schemas.openxmlformats.org/officeDocument/2006/relationships/image" Target="../media/image247.png"/><Relationship Id="rId31" Type="http://schemas.openxmlformats.org/officeDocument/2006/relationships/image" Target="../media/image257.svg"/><Relationship Id="rId4" Type="http://schemas.openxmlformats.org/officeDocument/2006/relationships/image" Target="../media/image232.svg"/><Relationship Id="rId9" Type="http://schemas.openxmlformats.org/officeDocument/2006/relationships/image" Target="../media/image237.png"/><Relationship Id="rId14" Type="http://schemas.openxmlformats.org/officeDocument/2006/relationships/image" Target="../media/image242.svg"/><Relationship Id="rId22" Type="http://schemas.openxmlformats.org/officeDocument/2006/relationships/image" Target="../media/image250.png"/><Relationship Id="rId27" Type="http://schemas.openxmlformats.org/officeDocument/2006/relationships/image" Target="../media/image253.svg"/><Relationship Id="rId30" Type="http://schemas.openxmlformats.org/officeDocument/2006/relationships/image" Target="../media/image256.png"/><Relationship Id="rId8" Type="http://schemas.openxmlformats.org/officeDocument/2006/relationships/image" Target="../media/image236.sv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7" Type="http://schemas.openxmlformats.org/officeDocument/2006/relationships/image" Target="../media/image59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e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7" Type="http://schemas.openxmlformats.org/officeDocument/2006/relationships/image" Target="../media/image94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6.png"/><Relationship Id="rId3" Type="http://schemas.openxmlformats.org/officeDocument/2006/relationships/image" Target="../media/image261.png"/><Relationship Id="rId7" Type="http://schemas.openxmlformats.org/officeDocument/2006/relationships/image" Target="../media/image265.png"/><Relationship Id="rId2" Type="http://schemas.openxmlformats.org/officeDocument/2006/relationships/image" Target="../media/image26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64.png"/><Relationship Id="rId5" Type="http://schemas.openxmlformats.org/officeDocument/2006/relationships/image" Target="../media/image263.png"/><Relationship Id="rId4" Type="http://schemas.openxmlformats.org/officeDocument/2006/relationships/image" Target="../media/image262.png"/><Relationship Id="rId9" Type="http://schemas.openxmlformats.org/officeDocument/2006/relationships/image" Target="../media/image267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4.png"/><Relationship Id="rId3" Type="http://schemas.openxmlformats.org/officeDocument/2006/relationships/image" Target="../media/image269.png"/><Relationship Id="rId7" Type="http://schemas.openxmlformats.org/officeDocument/2006/relationships/image" Target="../media/image273.png"/><Relationship Id="rId2" Type="http://schemas.openxmlformats.org/officeDocument/2006/relationships/image" Target="../media/image26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2.png"/><Relationship Id="rId5" Type="http://schemas.openxmlformats.org/officeDocument/2006/relationships/image" Target="../media/image271.png"/><Relationship Id="rId10" Type="http://schemas.openxmlformats.org/officeDocument/2006/relationships/image" Target="../media/image276.png"/><Relationship Id="rId4" Type="http://schemas.openxmlformats.org/officeDocument/2006/relationships/image" Target="../media/image270.png"/><Relationship Id="rId9" Type="http://schemas.openxmlformats.org/officeDocument/2006/relationships/image" Target="../media/image275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8.png"/><Relationship Id="rId7" Type="http://schemas.openxmlformats.org/officeDocument/2006/relationships/image" Target="../media/image282.png"/><Relationship Id="rId2" Type="http://schemas.openxmlformats.org/officeDocument/2006/relationships/image" Target="../media/image27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81.png"/><Relationship Id="rId5" Type="http://schemas.openxmlformats.org/officeDocument/2006/relationships/image" Target="../media/image280.png"/><Relationship Id="rId4" Type="http://schemas.openxmlformats.org/officeDocument/2006/relationships/image" Target="../media/image279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9.png"/><Relationship Id="rId3" Type="http://schemas.openxmlformats.org/officeDocument/2006/relationships/image" Target="../media/image284.png"/><Relationship Id="rId7" Type="http://schemas.openxmlformats.org/officeDocument/2006/relationships/image" Target="../media/image288.png"/><Relationship Id="rId2" Type="http://schemas.openxmlformats.org/officeDocument/2006/relationships/image" Target="../media/image28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87.png"/><Relationship Id="rId5" Type="http://schemas.openxmlformats.org/officeDocument/2006/relationships/image" Target="../media/image286.png"/><Relationship Id="rId10" Type="http://schemas.openxmlformats.org/officeDocument/2006/relationships/image" Target="../media/image291.png"/><Relationship Id="rId4" Type="http://schemas.openxmlformats.org/officeDocument/2006/relationships/image" Target="../media/image285.png"/><Relationship Id="rId9" Type="http://schemas.openxmlformats.org/officeDocument/2006/relationships/image" Target="../media/image290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3.png"/><Relationship Id="rId7" Type="http://schemas.openxmlformats.org/officeDocument/2006/relationships/image" Target="../media/image297.png"/><Relationship Id="rId2" Type="http://schemas.openxmlformats.org/officeDocument/2006/relationships/image" Target="../media/image29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96.png"/><Relationship Id="rId5" Type="http://schemas.openxmlformats.org/officeDocument/2006/relationships/image" Target="../media/image295.png"/><Relationship Id="rId4" Type="http://schemas.openxmlformats.org/officeDocument/2006/relationships/image" Target="../media/image294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1.jpeg"/><Relationship Id="rId3" Type="http://schemas.openxmlformats.org/officeDocument/2006/relationships/image" Target="../media/image127.png"/><Relationship Id="rId7" Type="http://schemas.openxmlformats.org/officeDocument/2006/relationships/image" Target="../media/image300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99.png"/><Relationship Id="rId5" Type="http://schemas.openxmlformats.org/officeDocument/2006/relationships/image" Target="../media/image298.jpeg"/><Relationship Id="rId4" Type="http://schemas.openxmlformats.org/officeDocument/2006/relationships/image" Target="../media/image128.sv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7" Type="http://schemas.openxmlformats.org/officeDocument/2006/relationships/image" Target="../media/image304.jpe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03.jpeg"/><Relationship Id="rId5" Type="http://schemas.openxmlformats.org/officeDocument/2006/relationships/image" Target="../media/image302.png"/><Relationship Id="rId4" Type="http://schemas.openxmlformats.org/officeDocument/2006/relationships/image" Target="../media/image128.sv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8.jpeg"/><Relationship Id="rId3" Type="http://schemas.openxmlformats.org/officeDocument/2006/relationships/image" Target="../media/image127.png"/><Relationship Id="rId7" Type="http://schemas.openxmlformats.org/officeDocument/2006/relationships/image" Target="../media/image307.jpe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06.jpeg"/><Relationship Id="rId5" Type="http://schemas.openxmlformats.org/officeDocument/2006/relationships/image" Target="../media/image305.png"/><Relationship Id="rId4" Type="http://schemas.openxmlformats.org/officeDocument/2006/relationships/image" Target="../media/image128.svg"/><Relationship Id="rId9" Type="http://schemas.openxmlformats.org/officeDocument/2006/relationships/image" Target="../media/image309.jpe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7" Type="http://schemas.openxmlformats.org/officeDocument/2006/relationships/image" Target="../media/image312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11.jpeg"/><Relationship Id="rId5" Type="http://schemas.openxmlformats.org/officeDocument/2006/relationships/image" Target="../media/image310.jpeg"/><Relationship Id="rId4" Type="http://schemas.openxmlformats.org/officeDocument/2006/relationships/image" Target="../media/image128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1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60.emf"/><Relationship Id="rId11" Type="http://schemas.openxmlformats.org/officeDocument/2006/relationships/image" Target="../media/image65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64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63.svg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6.jpeg"/><Relationship Id="rId3" Type="http://schemas.openxmlformats.org/officeDocument/2006/relationships/image" Target="../media/image127.png"/><Relationship Id="rId7" Type="http://schemas.openxmlformats.org/officeDocument/2006/relationships/image" Target="../media/image315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14.jpeg"/><Relationship Id="rId5" Type="http://schemas.openxmlformats.org/officeDocument/2006/relationships/image" Target="../media/image313.jpeg"/><Relationship Id="rId4" Type="http://schemas.openxmlformats.org/officeDocument/2006/relationships/image" Target="../media/image128.sv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0.png"/><Relationship Id="rId3" Type="http://schemas.openxmlformats.org/officeDocument/2006/relationships/image" Target="../media/image127.png"/><Relationship Id="rId7" Type="http://schemas.openxmlformats.org/officeDocument/2006/relationships/image" Target="../media/image319.jpe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18.jpeg"/><Relationship Id="rId5" Type="http://schemas.openxmlformats.org/officeDocument/2006/relationships/image" Target="../media/image317.jpeg"/><Relationship Id="rId4" Type="http://schemas.openxmlformats.org/officeDocument/2006/relationships/image" Target="../media/image128.svg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9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6.svg"/><Relationship Id="rId3" Type="http://schemas.openxmlformats.org/officeDocument/2006/relationships/image" Target="../media/image321.jpeg"/><Relationship Id="rId7" Type="http://schemas.openxmlformats.org/officeDocument/2006/relationships/image" Target="../media/image325.png"/><Relationship Id="rId12" Type="http://schemas.openxmlformats.org/officeDocument/2006/relationships/image" Target="../media/image330.sv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4.svg"/><Relationship Id="rId11" Type="http://schemas.openxmlformats.org/officeDocument/2006/relationships/image" Target="../media/image329.png"/><Relationship Id="rId5" Type="http://schemas.openxmlformats.org/officeDocument/2006/relationships/image" Target="../media/image323.png"/><Relationship Id="rId10" Type="http://schemas.openxmlformats.org/officeDocument/2006/relationships/image" Target="../media/image328.svg"/><Relationship Id="rId4" Type="http://schemas.openxmlformats.org/officeDocument/2006/relationships/image" Target="../media/image322.png"/><Relationship Id="rId9" Type="http://schemas.openxmlformats.org/officeDocument/2006/relationships/image" Target="../media/image327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7.png"/><Relationship Id="rId13" Type="http://schemas.openxmlformats.org/officeDocument/2006/relationships/image" Target="../media/image342.svg"/><Relationship Id="rId3" Type="http://schemas.openxmlformats.org/officeDocument/2006/relationships/image" Target="../media/image332.svg"/><Relationship Id="rId7" Type="http://schemas.openxmlformats.org/officeDocument/2006/relationships/image" Target="../media/image336.svg"/><Relationship Id="rId12" Type="http://schemas.openxmlformats.org/officeDocument/2006/relationships/image" Target="../media/image341.png"/><Relationship Id="rId17" Type="http://schemas.openxmlformats.org/officeDocument/2006/relationships/image" Target="../media/image346.svg"/><Relationship Id="rId2" Type="http://schemas.openxmlformats.org/officeDocument/2006/relationships/image" Target="../media/image331.png"/><Relationship Id="rId16" Type="http://schemas.openxmlformats.org/officeDocument/2006/relationships/image" Target="../media/image34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35.png"/><Relationship Id="rId11" Type="http://schemas.openxmlformats.org/officeDocument/2006/relationships/image" Target="../media/image340.svg"/><Relationship Id="rId5" Type="http://schemas.openxmlformats.org/officeDocument/2006/relationships/image" Target="../media/image334.svg"/><Relationship Id="rId15" Type="http://schemas.openxmlformats.org/officeDocument/2006/relationships/image" Target="../media/image344.svg"/><Relationship Id="rId10" Type="http://schemas.openxmlformats.org/officeDocument/2006/relationships/image" Target="../media/image339.png"/><Relationship Id="rId4" Type="http://schemas.openxmlformats.org/officeDocument/2006/relationships/image" Target="../media/image333.png"/><Relationship Id="rId9" Type="http://schemas.openxmlformats.org/officeDocument/2006/relationships/image" Target="../media/image338.svg"/><Relationship Id="rId14" Type="http://schemas.openxmlformats.org/officeDocument/2006/relationships/image" Target="../media/image343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7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8.svg"/><Relationship Id="rId4" Type="http://schemas.openxmlformats.org/officeDocument/2006/relationships/image" Target="../media/image12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svg"/><Relationship Id="rId13" Type="http://schemas.openxmlformats.org/officeDocument/2006/relationships/image" Target="../media/image70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2.png"/><Relationship Id="rId12" Type="http://schemas.openxmlformats.org/officeDocument/2006/relationships/image" Target="../media/image69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60.emf"/><Relationship Id="rId11" Type="http://schemas.openxmlformats.org/officeDocument/2006/relationships/image" Target="../media/image68.sv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67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66.png"/><Relationship Id="rId14" Type="http://schemas.openxmlformats.org/officeDocument/2006/relationships/image" Target="../media/image71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13" Type="http://schemas.openxmlformats.org/officeDocument/2006/relationships/image" Target="../media/image80.svg"/><Relationship Id="rId18" Type="http://schemas.openxmlformats.org/officeDocument/2006/relationships/image" Target="../media/image85.png"/><Relationship Id="rId26" Type="http://schemas.openxmlformats.org/officeDocument/2006/relationships/image" Target="../media/image69.jpeg"/><Relationship Id="rId3" Type="http://schemas.openxmlformats.org/officeDocument/2006/relationships/slideLayout" Target="../slideLayouts/slideLayout1.xml"/><Relationship Id="rId21" Type="http://schemas.openxmlformats.org/officeDocument/2006/relationships/image" Target="../media/image88.svg"/><Relationship Id="rId7" Type="http://schemas.openxmlformats.org/officeDocument/2006/relationships/image" Target="../media/image74.svg"/><Relationship Id="rId12" Type="http://schemas.openxmlformats.org/officeDocument/2006/relationships/image" Target="../media/image79.png"/><Relationship Id="rId17" Type="http://schemas.openxmlformats.org/officeDocument/2006/relationships/image" Target="../media/image84.svg"/><Relationship Id="rId25" Type="http://schemas.openxmlformats.org/officeDocument/2006/relationships/image" Target="../media/image68.svg"/><Relationship Id="rId2" Type="http://schemas.openxmlformats.org/officeDocument/2006/relationships/tags" Target="../tags/tag6.xml"/><Relationship Id="rId16" Type="http://schemas.openxmlformats.org/officeDocument/2006/relationships/image" Target="../media/image83.png"/><Relationship Id="rId20" Type="http://schemas.openxmlformats.org/officeDocument/2006/relationships/image" Target="../media/image87.png"/><Relationship Id="rId1" Type="http://schemas.openxmlformats.org/officeDocument/2006/relationships/tags" Target="../tags/tag5.xml"/><Relationship Id="rId6" Type="http://schemas.openxmlformats.org/officeDocument/2006/relationships/image" Target="../media/image73.png"/><Relationship Id="rId11" Type="http://schemas.openxmlformats.org/officeDocument/2006/relationships/image" Target="../media/image78.svg"/><Relationship Id="rId24" Type="http://schemas.openxmlformats.org/officeDocument/2006/relationships/image" Target="../media/image67.png"/><Relationship Id="rId5" Type="http://schemas.openxmlformats.org/officeDocument/2006/relationships/image" Target="../media/image72.png"/><Relationship Id="rId15" Type="http://schemas.openxmlformats.org/officeDocument/2006/relationships/image" Target="../media/image82.svg"/><Relationship Id="rId23" Type="http://schemas.openxmlformats.org/officeDocument/2006/relationships/image" Target="../media/image60.emf"/><Relationship Id="rId10" Type="http://schemas.openxmlformats.org/officeDocument/2006/relationships/image" Target="../media/image77.png"/><Relationship Id="rId19" Type="http://schemas.openxmlformats.org/officeDocument/2006/relationships/image" Target="../media/image86.sv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76.svg"/><Relationship Id="rId14" Type="http://schemas.openxmlformats.org/officeDocument/2006/relationships/image" Target="../media/image81.png"/><Relationship Id="rId22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7" Type="http://schemas.openxmlformats.org/officeDocument/2006/relationships/image" Target="../media/image94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13" Type="http://schemas.openxmlformats.org/officeDocument/2006/relationships/image" Target="../media/image105.svg"/><Relationship Id="rId18" Type="http://schemas.openxmlformats.org/officeDocument/2006/relationships/image" Target="../media/image110.png"/><Relationship Id="rId26" Type="http://schemas.openxmlformats.org/officeDocument/2006/relationships/image" Target="../media/image118.svg"/><Relationship Id="rId3" Type="http://schemas.openxmlformats.org/officeDocument/2006/relationships/image" Target="../media/image95.png"/><Relationship Id="rId21" Type="http://schemas.openxmlformats.org/officeDocument/2006/relationships/image" Target="../media/image113.png"/><Relationship Id="rId7" Type="http://schemas.openxmlformats.org/officeDocument/2006/relationships/image" Target="../media/image99.svg"/><Relationship Id="rId12" Type="http://schemas.openxmlformats.org/officeDocument/2006/relationships/image" Target="../media/image104.png"/><Relationship Id="rId17" Type="http://schemas.openxmlformats.org/officeDocument/2006/relationships/image" Target="../media/image109.svg"/><Relationship Id="rId25" Type="http://schemas.openxmlformats.org/officeDocument/2006/relationships/image" Target="../media/image117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108.png"/><Relationship Id="rId20" Type="http://schemas.openxmlformats.org/officeDocument/2006/relationships/image" Target="../media/image11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8.png"/><Relationship Id="rId11" Type="http://schemas.openxmlformats.org/officeDocument/2006/relationships/image" Target="../media/image103.svg"/><Relationship Id="rId24" Type="http://schemas.openxmlformats.org/officeDocument/2006/relationships/image" Target="../media/image116.svg"/><Relationship Id="rId5" Type="http://schemas.openxmlformats.org/officeDocument/2006/relationships/image" Target="../media/image97.png"/><Relationship Id="rId15" Type="http://schemas.openxmlformats.org/officeDocument/2006/relationships/image" Target="../media/image107.svg"/><Relationship Id="rId23" Type="http://schemas.openxmlformats.org/officeDocument/2006/relationships/image" Target="../media/image115.png"/><Relationship Id="rId28" Type="http://schemas.openxmlformats.org/officeDocument/2006/relationships/image" Target="../media/image120.svg"/><Relationship Id="rId10" Type="http://schemas.openxmlformats.org/officeDocument/2006/relationships/image" Target="../media/image102.png"/><Relationship Id="rId19" Type="http://schemas.openxmlformats.org/officeDocument/2006/relationships/image" Target="../media/image111.svg"/><Relationship Id="rId4" Type="http://schemas.openxmlformats.org/officeDocument/2006/relationships/image" Target="../media/image96.png"/><Relationship Id="rId9" Type="http://schemas.openxmlformats.org/officeDocument/2006/relationships/image" Target="../media/image101.svg"/><Relationship Id="rId14" Type="http://schemas.openxmlformats.org/officeDocument/2006/relationships/image" Target="../media/image106.png"/><Relationship Id="rId22" Type="http://schemas.openxmlformats.org/officeDocument/2006/relationships/image" Target="../media/image114.svg"/><Relationship Id="rId27" Type="http://schemas.openxmlformats.org/officeDocument/2006/relationships/image" Target="../media/image1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E3B7304-5AA3-4143-90F7-15292CF400D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124" r="8107" b="18058"/>
          <a:stretch/>
        </p:blipFill>
        <p:spPr>
          <a:xfrm>
            <a:off x="7208522" y="0"/>
            <a:ext cx="3995097" cy="5619565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5EE9306-4B1A-492F-8FD5-0FE621930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79" y="803489"/>
            <a:ext cx="7195581" cy="1913255"/>
          </a:xfrm>
        </p:spPr>
        <p:txBody>
          <a:bodyPr anchor="b"/>
          <a:lstStyle/>
          <a:p>
            <a:pPr algn="l" rtl="0"/>
            <a:r>
              <a:rPr lang="pt-BR" b="1" i="0" u="none" baseline="0" dirty="0"/>
              <a:t>História de Genie</a:t>
            </a:r>
            <a:endParaRPr lang="x-es-XL" b="1" i="0" u="none" baseline="0" dirty="0"/>
          </a:p>
        </p:txBody>
      </p:sp>
    </p:spTree>
    <p:extLst>
      <p:ext uri="{BB962C8B-B14F-4D97-AF65-F5344CB8AC3E}">
        <p14:creationId xmlns:p14="http://schemas.microsoft.com/office/powerpoint/2010/main" val="17358854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E38654-585D-4806-95B7-AA2D7DC4EA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8" y="191290"/>
            <a:ext cx="11841481" cy="640080"/>
          </a:xfrm>
        </p:spPr>
        <p:txBody>
          <a:bodyPr lIns="0" tIns="0" rIns="0" bIns="0">
            <a:noAutofit/>
          </a:bodyPr>
          <a:lstStyle/>
          <a:p>
            <a:pPr algn="l" rtl="0"/>
            <a:r>
              <a:rPr lang="x-es-XL" b="1" i="0" u="none" baseline="0"/>
              <a:t>Genie - Una marca Terex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4808D92-E60E-4033-8B3D-9680CBE3CFA5}"/>
              </a:ext>
            </a:extLst>
          </p:cNvPr>
          <p:cNvSpPr/>
          <p:nvPr/>
        </p:nvSpPr>
        <p:spPr>
          <a:xfrm>
            <a:off x="356335" y="1038968"/>
            <a:ext cx="11384277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/>
            <a:r>
              <a:rPr lang="x-es-XL" b="1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Terex Corporation es un fabricante global de plataformas elevadoras y equipos de manipulación de materiales.  Diseñamos, fabricamos y brindamos soporte a productos utilizados en aplicaciones de construcción, mantenimiento, fabricación, energía, minerales y gestión de materiales.  oductos.</a:t>
            </a:r>
            <a:endParaRPr lang="x-es-XL" b="1" dirty="0">
              <a:solidFill>
                <a:schemeClr val="accent3">
                  <a:lumMod val="50000"/>
                </a:schemeClr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B4693EB-CF1C-42CA-9FBC-C561DA235300}"/>
              </a:ext>
            </a:extLst>
          </p:cNvPr>
          <p:cNvSpPr/>
          <p:nvPr/>
        </p:nvSpPr>
        <p:spPr>
          <a:xfrm>
            <a:off x="350518" y="2721502"/>
            <a:ext cx="2550079" cy="89768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>
              <a:spcAft>
                <a:spcPts val="1000"/>
              </a:spcAft>
            </a:pPr>
            <a:r>
              <a:rPr lang="x-es-XL" b="1" i="0" u="none" baseline="0">
                <a:solidFill>
                  <a:schemeClr val="bg2"/>
                </a:solidFill>
              </a:rPr>
              <a:t>Nuestro objetivo</a:t>
            </a:r>
            <a:endParaRPr lang="x-es-XL">
              <a:solidFill>
                <a:schemeClr val="bg2"/>
              </a:solidFill>
            </a:endParaRPr>
          </a:p>
          <a:p>
            <a:pPr algn="l" rtl="0"/>
            <a:r>
              <a:rPr lang="x-es-XL" sz="1600" b="0" i="0" u="none" baseline="0">
                <a:solidFill>
                  <a:schemeClr val="accent3">
                    <a:lumMod val="50000"/>
                  </a:schemeClr>
                </a:solidFill>
              </a:rPr>
              <a:t>Ayudar a mejorar la vida </a:t>
            </a:r>
            <a:br>
              <a:rPr lang="x-es-XL" sz="1600">
                <a:solidFill>
                  <a:schemeClr val="accent3">
                    <a:lumMod val="50000"/>
                  </a:schemeClr>
                </a:solidFill>
              </a:rPr>
            </a:br>
            <a:r>
              <a:rPr lang="x-es-XL" sz="1600" b="0" i="0" u="none" baseline="0">
                <a:solidFill>
                  <a:schemeClr val="accent3">
                    <a:lumMod val="50000"/>
                  </a:schemeClr>
                </a:solidFill>
              </a:rPr>
              <a:t>de las personas de todo el mundo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2B985F-ECEE-4824-ACB2-1F75B786EA1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935" b="59"/>
          <a:stretch/>
        </p:blipFill>
        <p:spPr>
          <a:xfrm>
            <a:off x="7596719" y="2998501"/>
            <a:ext cx="4046192" cy="2751523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E2252873-ADEE-C84D-930A-885C0706533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88762" y="352269"/>
            <a:ext cx="2351850" cy="3919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531A0BCA-01E3-E040-ADDF-EF65138F36C3}"/>
              </a:ext>
            </a:extLst>
          </p:cNvPr>
          <p:cNvSpPr/>
          <p:nvPr/>
        </p:nvSpPr>
        <p:spPr>
          <a:xfrm>
            <a:off x="350518" y="3944763"/>
            <a:ext cx="2683567" cy="21287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>
              <a:spcAft>
                <a:spcPts val="1000"/>
              </a:spcAft>
            </a:pPr>
            <a:r>
              <a:rPr lang="x-es-XL" b="1" i="0" u="none" baseline="0">
                <a:solidFill>
                  <a:schemeClr val="bg2"/>
                </a:solidFill>
              </a:rPr>
              <a:t>Nuestra misión</a:t>
            </a:r>
            <a:endParaRPr lang="x-es-XL">
              <a:solidFill>
                <a:schemeClr val="bg2"/>
              </a:solidFill>
            </a:endParaRPr>
          </a:p>
          <a:p>
            <a:pPr algn="l" rtl="0"/>
            <a:r>
              <a:rPr lang="x-es-XL" sz="1600" b="0" i="0" u="none" baseline="0">
                <a:solidFill>
                  <a:schemeClr val="accent3">
                    <a:lumMod val="50000"/>
                  </a:schemeClr>
                </a:solidFill>
              </a:rPr>
              <a:t>Proporcionar soluciones para nuestros clientes de maquinaria y productos industriales que generen una productividad superior y un mayor retorno de la</a:t>
            </a:r>
            <a:r>
              <a:rPr lang="fr-FR" sz="1600" b="0" i="0" u="none" baseline="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x-es-XL" sz="1600" b="0" i="0" u="none" baseline="0">
                <a:solidFill>
                  <a:schemeClr val="accent3">
                    <a:lumMod val="50000"/>
                  </a:schemeClr>
                </a:solidFill>
              </a:rPr>
              <a:t>inversión. 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CEE9677-D98D-E34C-807F-EB7B60640D3D}"/>
              </a:ext>
            </a:extLst>
          </p:cNvPr>
          <p:cNvSpPr txBox="1">
            <a:spLocks/>
          </p:cNvSpPr>
          <p:nvPr/>
        </p:nvSpPr>
        <p:spPr>
          <a:xfrm>
            <a:off x="3207175" y="2717952"/>
            <a:ext cx="4226778" cy="32008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98438" indent="-19843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110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 sz="1452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3724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47449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21174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94899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350" indent="0" algn="l" rtl="0">
              <a:buNone/>
              <a:defRPr/>
            </a:pPr>
            <a:r>
              <a:rPr lang="x-es-XL" sz="1800" b="1" i="0" u="none" baseline="0">
                <a:solidFill>
                  <a:schemeClr val="bg2"/>
                </a:solidFill>
              </a:rPr>
              <a:t>Nuestra visión</a:t>
            </a: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srgbClr val="C1C6C8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71463" lvl="0" indent="-265113" algn="l" rtl="0">
              <a:defRPr/>
            </a:pPr>
            <a:r>
              <a:rPr lang="x-es-XL" sz="1600" b="1" i="0" u="none" baseline="0"/>
              <a:t>Cliente</a:t>
            </a:r>
            <a:r>
              <a:rPr lang="x-es-XL" sz="1600" b="0" i="0" u="none" baseline="0"/>
              <a:t> – ser el referente del sector con la mejor atención y el mejor soporte según la opinión de nuestros clientes</a:t>
            </a:r>
          </a:p>
          <a:p>
            <a:pPr marL="271463" lvl="0" indent="-265113" algn="l" rtl="0">
              <a:spcBef>
                <a:spcPts val="1600"/>
              </a:spcBef>
              <a:defRPr/>
            </a:pPr>
            <a:r>
              <a:rPr lang="x-es-XL" sz="1600" b="1" i="0" u="none" baseline="0"/>
              <a:t>Financiera</a:t>
            </a:r>
            <a:r>
              <a:rPr lang="x-es-XL" sz="1600" b="0" i="0" u="none" baseline="0"/>
              <a:t> – ser la empresa más rentable con el mejor ROIC del mercado</a:t>
            </a:r>
          </a:p>
          <a:p>
            <a:pPr marL="271463" lvl="0" indent="-265113" algn="l" rtl="0">
              <a:spcBef>
                <a:spcPts val="1600"/>
              </a:spcBef>
              <a:defRPr/>
            </a:pPr>
            <a:r>
              <a:rPr lang="x-es-XL" sz="1600" b="1" i="0" u="none" baseline="0"/>
              <a:t>Miembro de equipo</a:t>
            </a:r>
            <a:r>
              <a:rPr lang="x-es-XL" sz="1600" b="0" i="0" u="none" baseline="0"/>
              <a:t> – ser el mejor lugar de trabajo del sector según los propios miembros de equipos </a:t>
            </a:r>
            <a:r>
              <a:rPr kumimoji="0" lang="x-es-XL" sz="1600" b="0" i="0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 por nuestra fiabilidad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ECF127-6E16-0048-81CB-ED622F2C140D}"/>
              </a:ext>
            </a:extLst>
          </p:cNvPr>
          <p:cNvSpPr/>
          <p:nvPr/>
        </p:nvSpPr>
        <p:spPr>
          <a:xfrm>
            <a:off x="7607043" y="2717952"/>
            <a:ext cx="3353882" cy="280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>
              <a:spcAft>
                <a:spcPts val="1000"/>
              </a:spcAft>
            </a:pPr>
            <a:r>
              <a:rPr lang="x-es-XL" b="1" i="0" u="none" baseline="0">
                <a:solidFill>
                  <a:schemeClr val="bg2"/>
                </a:solidFill>
              </a:rPr>
              <a:t>Valores de El Estilo Terex</a:t>
            </a:r>
            <a:endParaRPr lang="x-es-XL" sz="160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345BB50-353E-5441-B682-BDA1C2F7F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x-es-XL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0811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4C60D7E8-E377-E24E-B6B5-209BBDD4AD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8" y="156440"/>
            <a:ext cx="11841481" cy="640080"/>
          </a:xfrm>
        </p:spPr>
        <p:txBody>
          <a:bodyPr/>
          <a:lstStyle/>
          <a:p>
            <a:pPr algn="l" rtl="0"/>
            <a:r>
              <a:rPr lang="x-es-XL" b="1" i="0" u="none" baseline="0"/>
              <a:t>Distinciones de Genie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5EA6F47-5B2E-5244-85CA-CC1C2B60998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204" y="654043"/>
            <a:ext cx="11841796" cy="452454"/>
          </a:xfrm>
        </p:spPr>
        <p:txBody>
          <a:bodyPr/>
          <a:lstStyle/>
          <a:p>
            <a:pPr algn="l" rtl="0"/>
            <a:r>
              <a:rPr lang="x-es-XL" b="1" i="0" u="none" baseline="0"/>
              <a:t>2021</a:t>
            </a:r>
          </a:p>
        </p:txBody>
      </p:sp>
      <p:sp>
        <p:nvSpPr>
          <p:cNvPr id="13" name="Content Placeholder 21">
            <a:extLst>
              <a:ext uri="{FF2B5EF4-FFF2-40B4-BE49-F238E27FC236}">
                <a16:creationId xmlns:a16="http://schemas.microsoft.com/office/drawing/2014/main" id="{97DC2613-3CD6-3748-9BF0-38BEF6EBD944}"/>
              </a:ext>
            </a:extLst>
          </p:cNvPr>
          <p:cNvSpPr txBox="1">
            <a:spLocks/>
          </p:cNvSpPr>
          <p:nvPr/>
        </p:nvSpPr>
        <p:spPr>
          <a:xfrm>
            <a:off x="428976" y="1245215"/>
            <a:ext cx="2700000" cy="952295"/>
          </a:xfrm>
          <a:prstGeom prst="round2SameRect">
            <a:avLst>
              <a:gd name="adj1" fmla="val 8149"/>
              <a:gd name="adj2" fmla="val 0"/>
            </a:avLst>
          </a:prstGeom>
          <a:solidFill>
            <a:schemeClr val="bg2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5350" algn="l" rtl="0">
              <a:spcBef>
                <a:spcPts val="0"/>
              </a:spcBef>
            </a:pPr>
            <a:r>
              <a:rPr lang="x-es-XL" b="1" i="0" u="none" baseline="0">
                <a:solidFill>
                  <a:schemeClr val="bg1"/>
                </a:solidFill>
              </a:rPr>
              <a:t>Micro plataformas</a:t>
            </a:r>
            <a:br>
              <a:rPr lang="x-es-XL" b="1">
                <a:solidFill>
                  <a:schemeClr val="bg1"/>
                </a:solidFill>
              </a:rPr>
            </a:br>
            <a:r>
              <a:rPr lang="x-es-XL" b="1" i="0" u="none" baseline="0">
                <a:solidFill>
                  <a:schemeClr val="bg1"/>
                </a:solidFill>
              </a:rPr>
              <a:t>de tijera Genie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1CBA1C74-97A0-B548-B4DF-263FBEED35C2}"/>
              </a:ext>
            </a:extLst>
          </p:cNvPr>
          <p:cNvGrpSpPr/>
          <p:nvPr/>
        </p:nvGrpSpPr>
        <p:grpSpPr>
          <a:xfrm>
            <a:off x="507993" y="1312096"/>
            <a:ext cx="774291" cy="804300"/>
            <a:chOff x="507993" y="1312096"/>
            <a:chExt cx="774291" cy="804300"/>
          </a:xfrm>
        </p:grpSpPr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76419674-FD3C-D04D-8CB9-CDF303EB9281}"/>
                </a:ext>
              </a:extLst>
            </p:cNvPr>
            <p:cNvSpPr/>
            <p:nvPr/>
          </p:nvSpPr>
          <p:spPr>
            <a:xfrm>
              <a:off x="507993" y="1312096"/>
              <a:ext cx="774291" cy="804299"/>
            </a:xfrm>
            <a:prstGeom prst="roundRect">
              <a:avLst>
                <a:gd name="adj" fmla="val 4835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x-es-XL"/>
            </a:p>
          </p:txBody>
        </p:sp>
        <p:pic>
          <p:nvPicPr>
            <p:cNvPr id="15" name="Picture Placeholder 6" descr="A picture containing blue&#10;&#10;Description automatically generated">
              <a:extLst>
                <a:ext uri="{FF2B5EF4-FFF2-40B4-BE49-F238E27FC236}">
                  <a16:creationId xmlns:a16="http://schemas.microsoft.com/office/drawing/2014/main" id="{BD0422A0-BF5C-5442-A6D4-26F6338C678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6573" r="6573"/>
            <a:stretch>
              <a:fillRect/>
            </a:stretch>
          </p:blipFill>
          <p:spPr>
            <a:xfrm>
              <a:off x="630884" y="1354880"/>
              <a:ext cx="528508" cy="761516"/>
            </a:xfrm>
            <a:prstGeom prst="rect">
              <a:avLst/>
            </a:prstGeom>
          </p:spPr>
        </p:pic>
      </p:grpSp>
      <p:sp>
        <p:nvSpPr>
          <p:cNvPr id="16" name="Rectangle: Top Corners Rounded 7">
            <a:extLst>
              <a:ext uri="{FF2B5EF4-FFF2-40B4-BE49-F238E27FC236}">
                <a16:creationId xmlns:a16="http://schemas.microsoft.com/office/drawing/2014/main" id="{EE16666F-1236-A249-84D4-11F038F07522}"/>
              </a:ext>
            </a:extLst>
          </p:cNvPr>
          <p:cNvSpPr/>
          <p:nvPr/>
        </p:nvSpPr>
        <p:spPr>
          <a:xfrm>
            <a:off x="428976" y="2197510"/>
            <a:ext cx="2700000" cy="1268362"/>
          </a:xfrm>
          <a:prstGeom prst="round2SameRect">
            <a:avLst>
              <a:gd name="adj1" fmla="val 0"/>
              <a:gd name="adj2" fmla="val 6370"/>
            </a:avLst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accent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tlCol="0" anchor="t"/>
          <a:lstStyle/>
          <a:p>
            <a:pPr marL="171450" indent="-171450" algn="l" rtl="0">
              <a:spcBef>
                <a:spcPts val="0"/>
              </a:spcBef>
              <a:spcAft>
                <a:spcPts val="600"/>
              </a:spcAft>
              <a:buSzPct val="120000"/>
              <a:buFont typeface="Arial" panose="020B0604020202020204" pitchFamily="34" charset="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x-es-XL" sz="1100" b="0" i="0" u="none" baseline="0">
                <a:solidFill>
                  <a:schemeClr val="accent3">
                    <a:lumMod val="50000"/>
                  </a:schemeClr>
                </a:solidFill>
              </a:rPr>
              <a:t>Innovative Iron Award </a:t>
            </a:r>
            <a:br>
              <a:rPr lang="x-es-XL" sz="1100">
                <a:solidFill>
                  <a:schemeClr val="accent3">
                    <a:lumMod val="50000"/>
                  </a:schemeClr>
                </a:solidFill>
              </a:rPr>
            </a:br>
            <a:r>
              <a:rPr lang="x-es-XL" sz="1100" b="0" i="0" u="none" baseline="0">
                <a:solidFill>
                  <a:schemeClr val="accent3">
                    <a:lumMod val="50000"/>
                  </a:schemeClr>
                </a:solidFill>
              </a:rPr>
              <a:t>de </a:t>
            </a:r>
            <a:r>
              <a:rPr lang="x-es-XL" sz="1100" b="0" i="0" u="none" baseline="0">
                <a:solidFill>
                  <a:schemeClr val="bg2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pact Equipment</a:t>
            </a:r>
            <a:r>
              <a:rPr lang="x-es-XL" sz="1100" b="0" i="0" u="none" baseline="0">
                <a:solidFill>
                  <a:schemeClr val="accent3">
                    <a:lumMod val="50000"/>
                  </a:schemeClr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endParaRPr lang="x-es-XL" sz="1100">
              <a:solidFill>
                <a:schemeClr val="accent3">
                  <a:lumMod val="50000"/>
                </a:schemeClr>
              </a:solidFill>
            </a:endParaRPr>
          </a:p>
          <a:p>
            <a:pPr marL="171450" indent="-171450" algn="l" rtl="0">
              <a:spcBef>
                <a:spcPts val="0"/>
              </a:spcBef>
              <a:spcAft>
                <a:spcPts val="600"/>
              </a:spcAft>
              <a:buSzPct val="120000"/>
              <a:buFont typeface="Arial" panose="020B0604020202020204" pitchFamily="34" charset="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x-es-XL" sz="1100" b="0" i="0" u="none" baseline="0">
                <a:solidFill>
                  <a:schemeClr val="accent3">
                    <a:lumMod val="50000"/>
                  </a:schemeClr>
                </a:solidFill>
              </a:rPr>
              <a:t>Top 100 nuevos productos de 2021 </a:t>
            </a:r>
            <a:br>
              <a:rPr lang="x-es-XL" sz="1100">
                <a:solidFill>
                  <a:schemeClr val="accent3">
                    <a:lumMod val="50000"/>
                  </a:schemeClr>
                </a:solidFill>
              </a:rPr>
            </a:br>
            <a:r>
              <a:rPr lang="x-es-XL" sz="1100" b="0" i="0" u="none" baseline="0">
                <a:solidFill>
                  <a:schemeClr val="accent3">
                    <a:lumMod val="50000"/>
                  </a:schemeClr>
                </a:solidFill>
              </a:rPr>
              <a:t>de </a:t>
            </a:r>
            <a:r>
              <a:rPr lang="x-es-XL" sz="1100" b="0" i="0" u="none" baseline="0">
                <a:solidFill>
                  <a:schemeClr val="bg2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nstruction Equipment </a:t>
            </a:r>
            <a:endParaRPr lang="x-es-XL" sz="1100">
              <a:solidFill>
                <a:schemeClr val="bg2"/>
              </a:solidFill>
            </a:endParaRPr>
          </a:p>
          <a:p>
            <a:pPr marL="171450" indent="-171450" algn="l" rtl="0">
              <a:spcBef>
                <a:spcPts val="0"/>
              </a:spcBef>
              <a:spcAft>
                <a:spcPts val="600"/>
              </a:spcAft>
              <a:buSzPct val="120000"/>
              <a:buFont typeface="Arial" panose="020B0604020202020204" pitchFamily="34" charset="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x-es-XL" sz="1100" b="0" i="0" u="none" baseline="0">
                <a:solidFill>
                  <a:schemeClr val="accent3">
                    <a:lumMod val="50000"/>
                  </a:schemeClr>
                </a:solidFill>
              </a:rPr>
              <a:t>Elección del Editor de </a:t>
            </a:r>
            <a:r>
              <a:rPr lang="x-es-XL" sz="1100" b="0" i="0" u="none" baseline="0">
                <a:solidFill>
                  <a:schemeClr val="bg2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ntal</a:t>
            </a:r>
            <a:r>
              <a:rPr lang="fr-FR" sz="1100" b="0" i="0" u="none" baseline="0" dirty="0">
                <a:solidFill>
                  <a:schemeClr val="bg2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x-es-XL" sz="1100" b="0" i="0" u="none" baseline="0">
                <a:solidFill>
                  <a:schemeClr val="bg2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gazine </a:t>
            </a:r>
            <a:endParaRPr lang="x-es-XL" sz="1100">
              <a:solidFill>
                <a:schemeClr val="bg2"/>
              </a:solidFill>
            </a:endParaRPr>
          </a:p>
        </p:txBody>
      </p:sp>
      <p:sp>
        <p:nvSpPr>
          <p:cNvPr id="17" name="Content Placeholder 21">
            <a:extLst>
              <a:ext uri="{FF2B5EF4-FFF2-40B4-BE49-F238E27FC236}">
                <a16:creationId xmlns:a16="http://schemas.microsoft.com/office/drawing/2014/main" id="{47953FFE-1D6E-C24F-84C0-5E4D105A337E}"/>
              </a:ext>
            </a:extLst>
          </p:cNvPr>
          <p:cNvSpPr txBox="1">
            <a:spLocks/>
          </p:cNvSpPr>
          <p:nvPr/>
        </p:nvSpPr>
        <p:spPr>
          <a:xfrm>
            <a:off x="3293850" y="1256200"/>
            <a:ext cx="2700000" cy="952295"/>
          </a:xfrm>
          <a:prstGeom prst="round2SameRect">
            <a:avLst>
              <a:gd name="adj1" fmla="val 8149"/>
              <a:gd name="adj2" fmla="val 0"/>
            </a:avLst>
          </a:prstGeom>
          <a:solidFill>
            <a:schemeClr val="bg2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5350" algn="l" rtl="0">
              <a:spcBef>
                <a:spcPts val="0"/>
              </a:spcBef>
            </a:pPr>
            <a:r>
              <a:rPr lang="x-es-XL" b="1" i="0" u="none" baseline="0">
                <a:solidFill>
                  <a:schemeClr val="bg1"/>
                </a:solidFill>
              </a:rPr>
              <a:t>Genie S-60 J </a:t>
            </a:r>
            <a:br>
              <a:rPr lang="x-es-XL" b="1">
                <a:solidFill>
                  <a:schemeClr val="bg1"/>
                </a:solidFill>
              </a:rPr>
            </a:br>
            <a:r>
              <a:rPr lang="x-es-XL" b="1" i="0" u="none" baseline="0">
                <a:solidFill>
                  <a:schemeClr val="bg1"/>
                </a:solidFill>
              </a:rPr>
              <a:t>y S-65 HF </a:t>
            </a:r>
          </a:p>
        </p:txBody>
      </p:sp>
      <p:sp>
        <p:nvSpPr>
          <p:cNvPr id="19" name="Rectangle: Top Corners Rounded 7">
            <a:extLst>
              <a:ext uri="{FF2B5EF4-FFF2-40B4-BE49-F238E27FC236}">
                <a16:creationId xmlns:a16="http://schemas.microsoft.com/office/drawing/2014/main" id="{461B46DE-072C-CE4D-986C-6743665A418D}"/>
              </a:ext>
            </a:extLst>
          </p:cNvPr>
          <p:cNvSpPr/>
          <p:nvPr/>
        </p:nvSpPr>
        <p:spPr>
          <a:xfrm>
            <a:off x="3293850" y="2208495"/>
            <a:ext cx="2700000" cy="1268362"/>
          </a:xfrm>
          <a:prstGeom prst="round2SameRect">
            <a:avLst>
              <a:gd name="adj1" fmla="val 0"/>
              <a:gd name="adj2" fmla="val 6370"/>
            </a:avLst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accent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tlCol="0" anchor="t"/>
          <a:lstStyle/>
          <a:p>
            <a:pPr marL="171450" indent="-171450" algn="l" rtl="0">
              <a:spcBef>
                <a:spcPts val="0"/>
              </a:spcBef>
              <a:spcAft>
                <a:spcPts val="0"/>
              </a:spcAft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x-es-XL" sz="1100" b="0" i="0" u="none" baseline="0">
                <a:solidFill>
                  <a:schemeClr val="accent3">
                    <a:lumMod val="50000"/>
                  </a:schemeClr>
                </a:solidFill>
              </a:rPr>
              <a:t>Top 50 nuevos productos de 2021 </a:t>
            </a:r>
            <a:br>
              <a:rPr lang="x-es-XL" sz="1100">
                <a:solidFill>
                  <a:schemeClr val="accent3">
                    <a:lumMod val="50000"/>
                  </a:schemeClr>
                </a:solidFill>
              </a:rPr>
            </a:br>
            <a:r>
              <a:rPr lang="x-es-XL" sz="1100" b="0" i="0" u="none" baseline="0">
                <a:solidFill>
                  <a:schemeClr val="accent3">
                    <a:lumMod val="50000"/>
                  </a:schemeClr>
                </a:solidFill>
              </a:rPr>
              <a:t>de </a:t>
            </a:r>
            <a:r>
              <a:rPr lang="x-es-XL" sz="1100" b="0" i="0" u="none" baseline="0">
                <a:solidFill>
                  <a:schemeClr val="bg2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quipment Today </a:t>
            </a:r>
            <a:endParaRPr lang="x-es-XL" sz="1100">
              <a:solidFill>
                <a:schemeClr val="bg2"/>
              </a:solidFill>
            </a:endParaRPr>
          </a:p>
          <a:p>
            <a:pPr marL="171450" indent="-171450" algn="l" rtl="0">
              <a:spcBef>
                <a:spcPts val="0"/>
              </a:spcBef>
              <a:spcAft>
                <a:spcPts val="0"/>
              </a:spcAft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x-es-XL" sz="1100" b="0" i="0" u="none" baseline="0">
                <a:solidFill>
                  <a:schemeClr val="accent3">
                    <a:lumMod val="50000"/>
                  </a:schemeClr>
                </a:solidFill>
              </a:rPr>
              <a:t>Premio a Elección del Contratista </a:t>
            </a:r>
            <a:br>
              <a:rPr lang="x-es-XL" sz="1100">
                <a:solidFill>
                  <a:schemeClr val="accent3">
                    <a:lumMod val="50000"/>
                  </a:schemeClr>
                </a:solidFill>
              </a:rPr>
            </a:br>
            <a:r>
              <a:rPr lang="x-es-XL" sz="1100" b="0" i="0" u="none" baseline="0">
                <a:solidFill>
                  <a:schemeClr val="accent3">
                    <a:lumMod val="50000"/>
                  </a:schemeClr>
                </a:solidFill>
              </a:rPr>
              <a:t>de </a:t>
            </a:r>
            <a:r>
              <a:rPr lang="x-es-XL" sz="1100" b="0" i="0" u="none" baseline="0">
                <a:solidFill>
                  <a:schemeClr val="bg2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oads &amp; Bridges Magazine </a:t>
            </a:r>
            <a:endParaRPr lang="x-es-XL" sz="1100">
              <a:solidFill>
                <a:schemeClr val="bg2"/>
              </a:solidFill>
            </a:endParaRP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A43CDBC3-C104-104F-8DEA-27B0AE17BB92}"/>
              </a:ext>
            </a:extLst>
          </p:cNvPr>
          <p:cNvSpPr txBox="1">
            <a:spLocks/>
          </p:cNvSpPr>
          <p:nvPr/>
        </p:nvSpPr>
        <p:spPr>
          <a:xfrm>
            <a:off x="6195758" y="1256200"/>
            <a:ext cx="2700000" cy="952295"/>
          </a:xfrm>
          <a:prstGeom prst="round2SameRect">
            <a:avLst>
              <a:gd name="adj1" fmla="val 8149"/>
              <a:gd name="adj2" fmla="val 0"/>
            </a:avLst>
          </a:prstGeom>
          <a:solidFill>
            <a:schemeClr val="bg2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5350" algn="l" rtl="0">
              <a:spcBef>
                <a:spcPts val="0"/>
              </a:spcBef>
            </a:pPr>
            <a:r>
              <a:rPr lang="x-es-XL" b="1" i="0" u="none" baseline="0">
                <a:solidFill>
                  <a:schemeClr val="bg1"/>
                </a:solidFill>
              </a:rPr>
              <a:t>Premio a la Mayor Retención de Valor 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1D22047E-8E6E-5D46-A05A-58DD7C1DBE15}"/>
              </a:ext>
            </a:extLst>
          </p:cNvPr>
          <p:cNvSpPr/>
          <p:nvPr/>
        </p:nvSpPr>
        <p:spPr>
          <a:xfrm>
            <a:off x="6274775" y="1323081"/>
            <a:ext cx="774291" cy="804299"/>
          </a:xfrm>
          <a:prstGeom prst="roundRect">
            <a:avLst>
              <a:gd name="adj" fmla="val 483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x-es-XL"/>
          </a:p>
        </p:txBody>
      </p:sp>
      <p:sp>
        <p:nvSpPr>
          <p:cNvPr id="22" name="Rectangle: Top Corners Rounded 7">
            <a:extLst>
              <a:ext uri="{FF2B5EF4-FFF2-40B4-BE49-F238E27FC236}">
                <a16:creationId xmlns:a16="http://schemas.microsoft.com/office/drawing/2014/main" id="{26746061-2CA8-3249-B75E-DAC927B6DB9B}"/>
              </a:ext>
            </a:extLst>
          </p:cNvPr>
          <p:cNvSpPr/>
          <p:nvPr/>
        </p:nvSpPr>
        <p:spPr>
          <a:xfrm>
            <a:off x="6195758" y="2208495"/>
            <a:ext cx="2700000" cy="1268362"/>
          </a:xfrm>
          <a:prstGeom prst="round2SameRect">
            <a:avLst>
              <a:gd name="adj1" fmla="val 0"/>
              <a:gd name="adj2" fmla="val 6370"/>
            </a:avLst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accent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tlCol="0" anchor="t"/>
          <a:lstStyle/>
          <a:p>
            <a:pPr marL="171450" indent="-171450" algn="l" rtl="0">
              <a:spcBef>
                <a:spcPts val="0"/>
              </a:spcBef>
              <a:spcAft>
                <a:spcPts val="0"/>
              </a:spcAft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x-es-XL" sz="1100" b="0" i="0" u="none" baseline="0">
                <a:solidFill>
                  <a:schemeClr val="accent3">
                    <a:lumMod val="50000"/>
                  </a:schemeClr>
                </a:solidFill>
              </a:rPr>
              <a:t>Plataformas articuladas Genie </a:t>
            </a:r>
            <a:br>
              <a:rPr lang="x-es-XL" sz="1100">
                <a:solidFill>
                  <a:schemeClr val="accent3">
                    <a:lumMod val="50000"/>
                  </a:schemeClr>
                </a:solidFill>
              </a:rPr>
            </a:br>
            <a:r>
              <a:rPr lang="x-es-XL" sz="1100" b="0" i="0" u="none" baseline="0">
                <a:solidFill>
                  <a:schemeClr val="accent3">
                    <a:lumMod val="50000"/>
                  </a:schemeClr>
                </a:solidFill>
              </a:rPr>
              <a:t>de </a:t>
            </a:r>
            <a:r>
              <a:rPr lang="x-es-XL" sz="1100" b="0" i="0" u="none" baseline="0">
                <a:solidFill>
                  <a:schemeClr val="bg2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quipment Watch </a:t>
            </a:r>
            <a:endParaRPr lang="x-es-XL" sz="1100">
              <a:solidFill>
                <a:schemeClr val="bg2"/>
              </a:solidFill>
            </a:endParaRPr>
          </a:p>
          <a:p>
            <a:pPr marL="171450" indent="-171450" algn="l" rtl="0">
              <a:spcBef>
                <a:spcPts val="0"/>
              </a:spcBef>
              <a:spcAft>
                <a:spcPts val="0"/>
              </a:spcAft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x-es-XL" sz="1100" b="0" i="0" u="none" baseline="0">
                <a:solidFill>
                  <a:schemeClr val="accent3">
                    <a:lumMod val="50000"/>
                  </a:schemeClr>
                </a:solidFill>
              </a:rPr>
              <a:t>Plataformas telescópicas Genie </a:t>
            </a:r>
            <a:br>
              <a:rPr lang="x-es-XL" sz="1100">
                <a:solidFill>
                  <a:schemeClr val="accent3">
                    <a:lumMod val="50000"/>
                  </a:schemeClr>
                </a:solidFill>
              </a:rPr>
            </a:br>
            <a:r>
              <a:rPr lang="x-es-XL" sz="1100" b="0" i="0" u="none" baseline="0">
                <a:solidFill>
                  <a:schemeClr val="accent3">
                    <a:lumMod val="50000"/>
                  </a:schemeClr>
                </a:solidFill>
              </a:rPr>
              <a:t>de </a:t>
            </a:r>
            <a:r>
              <a:rPr lang="x-es-XL" sz="1100" b="0" i="0" u="none" baseline="0">
                <a:solidFill>
                  <a:schemeClr val="bg2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quipment Watch </a:t>
            </a:r>
            <a:endParaRPr lang="x-es-XL" sz="1100">
              <a:solidFill>
                <a:schemeClr val="bg2"/>
              </a:solidFill>
            </a:endParaRPr>
          </a:p>
          <a:p>
            <a:pPr marL="171450" indent="-171450" algn="l" rtl="0">
              <a:spcBef>
                <a:spcPts val="0"/>
              </a:spcBef>
              <a:spcAft>
                <a:spcPts val="0"/>
              </a:spcAft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x-es-XL" sz="1100" b="0" i="0" u="none" baseline="0">
                <a:solidFill>
                  <a:schemeClr val="accent3">
                    <a:lumMod val="50000"/>
                  </a:schemeClr>
                </a:solidFill>
              </a:rPr>
              <a:t>Plataformas de tijera Genie </a:t>
            </a:r>
            <a:br>
              <a:rPr lang="x-es-XL" sz="1100">
                <a:solidFill>
                  <a:schemeClr val="accent3">
                    <a:lumMod val="50000"/>
                  </a:schemeClr>
                </a:solidFill>
              </a:rPr>
            </a:br>
            <a:r>
              <a:rPr lang="x-es-XL" sz="1100" b="0" i="0" u="none" baseline="0">
                <a:solidFill>
                  <a:schemeClr val="accent3">
                    <a:lumMod val="50000"/>
                  </a:schemeClr>
                </a:solidFill>
              </a:rPr>
              <a:t>de</a:t>
            </a:r>
            <a:r>
              <a:rPr lang="x-es-XL" sz="1100" b="0" i="0" u="none" baseline="0">
                <a:solidFill>
                  <a:schemeClr val="bg2"/>
                </a:solidFill>
              </a:rPr>
              <a:t> </a:t>
            </a:r>
            <a:r>
              <a:rPr lang="x-es-XL" sz="1100" b="0" i="0" u="none" baseline="0">
                <a:solidFill>
                  <a:schemeClr val="bg2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quipment Watch </a:t>
            </a:r>
            <a:endParaRPr lang="x-es-XL" sz="1100">
              <a:solidFill>
                <a:schemeClr val="bg2"/>
              </a:solidFill>
            </a:endParaRPr>
          </a:p>
        </p:txBody>
      </p:sp>
      <p:sp>
        <p:nvSpPr>
          <p:cNvPr id="23" name="Content Placeholder 21">
            <a:extLst>
              <a:ext uri="{FF2B5EF4-FFF2-40B4-BE49-F238E27FC236}">
                <a16:creationId xmlns:a16="http://schemas.microsoft.com/office/drawing/2014/main" id="{36DF520D-FFA4-3442-8573-78244B9CBC71}"/>
              </a:ext>
            </a:extLst>
          </p:cNvPr>
          <p:cNvSpPr txBox="1">
            <a:spLocks/>
          </p:cNvSpPr>
          <p:nvPr/>
        </p:nvSpPr>
        <p:spPr>
          <a:xfrm>
            <a:off x="9060632" y="1256200"/>
            <a:ext cx="2700000" cy="952295"/>
          </a:xfrm>
          <a:prstGeom prst="round2SameRect">
            <a:avLst>
              <a:gd name="adj1" fmla="val 8149"/>
              <a:gd name="adj2" fmla="val 0"/>
            </a:avLst>
          </a:prstGeom>
          <a:solidFill>
            <a:schemeClr val="bg2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5350" algn="l" rtl="0">
              <a:spcBef>
                <a:spcPts val="0"/>
              </a:spcBef>
            </a:pPr>
            <a:r>
              <a:rPr lang="x-es-XL" b="1" i="0" u="none" baseline="0">
                <a:solidFill>
                  <a:schemeClr val="bg1"/>
                </a:solidFill>
              </a:rPr>
              <a:t>Premio al Coste de Propiedad Más Bajo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570F8073-2914-7744-9E0D-5857C0F65744}"/>
              </a:ext>
            </a:extLst>
          </p:cNvPr>
          <p:cNvSpPr/>
          <p:nvPr/>
        </p:nvSpPr>
        <p:spPr>
          <a:xfrm>
            <a:off x="9139649" y="1323081"/>
            <a:ext cx="774291" cy="804299"/>
          </a:xfrm>
          <a:prstGeom prst="roundRect">
            <a:avLst>
              <a:gd name="adj" fmla="val 483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x-es-XL"/>
          </a:p>
        </p:txBody>
      </p:sp>
      <p:sp>
        <p:nvSpPr>
          <p:cNvPr id="25" name="Rectangle: Top Corners Rounded 7">
            <a:extLst>
              <a:ext uri="{FF2B5EF4-FFF2-40B4-BE49-F238E27FC236}">
                <a16:creationId xmlns:a16="http://schemas.microsoft.com/office/drawing/2014/main" id="{8E6252C2-A296-7240-9677-AD6516C3EEE5}"/>
              </a:ext>
            </a:extLst>
          </p:cNvPr>
          <p:cNvSpPr/>
          <p:nvPr/>
        </p:nvSpPr>
        <p:spPr>
          <a:xfrm>
            <a:off x="9060632" y="2208495"/>
            <a:ext cx="2700000" cy="1268362"/>
          </a:xfrm>
          <a:prstGeom prst="round2SameRect">
            <a:avLst>
              <a:gd name="adj1" fmla="val 0"/>
              <a:gd name="adj2" fmla="val 6370"/>
            </a:avLst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accent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tlCol="0" anchor="t"/>
          <a:lstStyle/>
          <a:p>
            <a:pPr marL="171450" indent="-171450" algn="l" rtl="0">
              <a:spcBef>
                <a:spcPts val="0"/>
              </a:spcBef>
              <a:spcAft>
                <a:spcPts val="0"/>
              </a:spcAft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x-es-XL" sz="1100" b="0" i="0" u="none" baseline="0">
                <a:solidFill>
                  <a:schemeClr val="accent3">
                    <a:lumMod val="50000"/>
                  </a:schemeClr>
                </a:solidFill>
              </a:rPr>
              <a:t>Plataformas articuladas Genie </a:t>
            </a:r>
            <a:br>
              <a:rPr lang="x-es-XL" sz="1100">
                <a:solidFill>
                  <a:schemeClr val="accent3">
                    <a:lumMod val="50000"/>
                  </a:schemeClr>
                </a:solidFill>
              </a:rPr>
            </a:br>
            <a:r>
              <a:rPr lang="x-es-XL" sz="1100" b="0" i="0" u="none" baseline="0">
                <a:solidFill>
                  <a:schemeClr val="accent3">
                    <a:lumMod val="50000"/>
                  </a:schemeClr>
                </a:solidFill>
              </a:rPr>
              <a:t>de </a:t>
            </a:r>
            <a:r>
              <a:rPr lang="x-es-XL" sz="1100" b="0" i="0" u="none" baseline="0">
                <a:solidFill>
                  <a:schemeClr val="bg2"/>
                </a:solidFill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quipment Watch </a:t>
            </a:r>
            <a:endParaRPr lang="x-es-XL" sz="1100">
              <a:solidFill>
                <a:schemeClr val="bg2"/>
              </a:solidFill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62D21D7-913B-474B-9846-54A33F7E0B30}"/>
              </a:ext>
            </a:extLst>
          </p:cNvPr>
          <p:cNvGrpSpPr/>
          <p:nvPr/>
        </p:nvGrpSpPr>
        <p:grpSpPr>
          <a:xfrm>
            <a:off x="3372867" y="1323081"/>
            <a:ext cx="774291" cy="804299"/>
            <a:chOff x="3372867" y="1323081"/>
            <a:chExt cx="774291" cy="804299"/>
          </a:xfrm>
        </p:grpSpPr>
        <p:sp>
          <p:nvSpPr>
            <p:cNvPr id="18" name="Rounded Rectangle 17">
              <a:extLst>
                <a:ext uri="{FF2B5EF4-FFF2-40B4-BE49-F238E27FC236}">
                  <a16:creationId xmlns:a16="http://schemas.microsoft.com/office/drawing/2014/main" id="{9281CA32-AB7A-8446-B6B1-DD053C7C3487}"/>
                </a:ext>
              </a:extLst>
            </p:cNvPr>
            <p:cNvSpPr/>
            <p:nvPr/>
          </p:nvSpPr>
          <p:spPr>
            <a:xfrm>
              <a:off x="3372867" y="1323081"/>
              <a:ext cx="774291" cy="804299"/>
            </a:xfrm>
            <a:prstGeom prst="roundRect">
              <a:avLst>
                <a:gd name="adj" fmla="val 4835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x-es-XL"/>
            </a:p>
          </p:txBody>
        </p:sp>
        <p:pic>
          <p:nvPicPr>
            <p:cNvPr id="26" name="Picture Placeholder 8" descr="A picture containing transport, lawn mower, handcart&#10;&#10;Description automatically generated">
              <a:extLst>
                <a:ext uri="{FF2B5EF4-FFF2-40B4-BE49-F238E27FC236}">
                  <a16:creationId xmlns:a16="http://schemas.microsoft.com/office/drawing/2014/main" id="{DC18D980-A333-A448-9054-ED30570B8D6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rcRect l="7143" r="7143"/>
            <a:stretch>
              <a:fillRect/>
            </a:stretch>
          </p:blipFill>
          <p:spPr>
            <a:xfrm>
              <a:off x="3495725" y="1358903"/>
              <a:ext cx="508461" cy="732630"/>
            </a:xfrm>
            <a:prstGeom prst="rect">
              <a:avLst/>
            </a:prstGeom>
          </p:spPr>
        </p:pic>
      </p:grpSp>
      <p:pic>
        <p:nvPicPr>
          <p:cNvPr id="27" name="Picture Placeholder 10">
            <a:extLst>
              <a:ext uri="{FF2B5EF4-FFF2-40B4-BE49-F238E27FC236}">
                <a16:creationId xmlns:a16="http://schemas.microsoft.com/office/drawing/2014/main" id="{41EC378F-9FAA-5D4B-9B46-0EF4EE426DC1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t="-3523" b="-914"/>
          <a:stretch/>
        </p:blipFill>
        <p:spPr>
          <a:xfrm>
            <a:off x="6337920" y="1386892"/>
            <a:ext cx="648000" cy="648000"/>
          </a:xfrm>
          <a:prstGeom prst="rect">
            <a:avLst/>
          </a:prstGeom>
        </p:spPr>
      </p:pic>
      <p:pic>
        <p:nvPicPr>
          <p:cNvPr id="28" name="Picture Placeholder 12">
            <a:extLst>
              <a:ext uri="{FF2B5EF4-FFF2-40B4-BE49-F238E27FC236}">
                <a16:creationId xmlns:a16="http://schemas.microsoft.com/office/drawing/2014/main" id="{62A96C2C-FCEA-5F48-B889-6110972059EF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-911" b="-3524"/>
          <a:stretch/>
        </p:blipFill>
        <p:spPr>
          <a:xfrm>
            <a:off x="9202794" y="1397362"/>
            <a:ext cx="648000" cy="648000"/>
          </a:xfrm>
          <a:prstGeom prst="rect">
            <a:avLst/>
          </a:prstGeom>
        </p:spPr>
      </p:pic>
      <p:sp>
        <p:nvSpPr>
          <p:cNvPr id="29" name="Content Placeholder 21">
            <a:extLst>
              <a:ext uri="{FF2B5EF4-FFF2-40B4-BE49-F238E27FC236}">
                <a16:creationId xmlns:a16="http://schemas.microsoft.com/office/drawing/2014/main" id="{094B552C-AB3E-3144-AE41-0F8C52D0357D}"/>
              </a:ext>
            </a:extLst>
          </p:cNvPr>
          <p:cNvSpPr txBox="1">
            <a:spLocks/>
          </p:cNvSpPr>
          <p:nvPr/>
        </p:nvSpPr>
        <p:spPr>
          <a:xfrm>
            <a:off x="428976" y="3590207"/>
            <a:ext cx="2700000" cy="952295"/>
          </a:xfrm>
          <a:prstGeom prst="round2SameRect">
            <a:avLst>
              <a:gd name="adj1" fmla="val 8149"/>
              <a:gd name="adj2" fmla="val 0"/>
            </a:avLst>
          </a:prstGeom>
          <a:solidFill>
            <a:schemeClr val="bg2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5350" algn="l" rtl="0">
              <a:spcBef>
                <a:spcPts val="0"/>
              </a:spcBef>
            </a:pPr>
            <a:r>
              <a:rPr lang="x-es-XL" b="1" i="0" u="none" baseline="0">
                <a:solidFill>
                  <a:schemeClr val="bg1"/>
                </a:solidFill>
              </a:rPr>
              <a:t>Premio del Comité Técnico   </a:t>
            </a:r>
          </a:p>
        </p:txBody>
      </p:sp>
      <p:sp>
        <p:nvSpPr>
          <p:cNvPr id="30" name="Rectangle: Top Corners Rounded 7">
            <a:extLst>
              <a:ext uri="{FF2B5EF4-FFF2-40B4-BE49-F238E27FC236}">
                <a16:creationId xmlns:a16="http://schemas.microsoft.com/office/drawing/2014/main" id="{99069360-B450-D741-A92B-96278F4D0E2F}"/>
              </a:ext>
            </a:extLst>
          </p:cNvPr>
          <p:cNvSpPr/>
          <p:nvPr/>
        </p:nvSpPr>
        <p:spPr>
          <a:xfrm>
            <a:off x="428976" y="4542502"/>
            <a:ext cx="2700000" cy="1268362"/>
          </a:xfrm>
          <a:prstGeom prst="round2SameRect">
            <a:avLst>
              <a:gd name="adj1" fmla="val 0"/>
              <a:gd name="adj2" fmla="val 6370"/>
            </a:avLst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accent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tlCol="0" anchor="t"/>
          <a:lstStyle/>
          <a:p>
            <a:pPr marL="6350" algn="l" rtl="0">
              <a:spcBef>
                <a:spcPts val="0"/>
              </a:spcBef>
              <a:spcAft>
                <a:spcPts val="0"/>
              </a:spcAft>
            </a:pPr>
            <a:r>
              <a:rPr lang="x-es-XL" sz="1100" b="0" i="0" u="none" baseline="0">
                <a:solidFill>
                  <a:schemeClr val="accent3">
                    <a:lumMod val="50000"/>
                  </a:schemeClr>
                </a:solidFill>
              </a:rPr>
              <a:t>Otorgado por la European Rental Association para destacar el gran trabajo de Genie para satisfacer las necesidades de las empresas de alquiler en materia de digitalización </a:t>
            </a:r>
          </a:p>
        </p:txBody>
      </p:sp>
      <p:sp>
        <p:nvSpPr>
          <p:cNvPr id="31" name="Content Placeholder 21">
            <a:extLst>
              <a:ext uri="{FF2B5EF4-FFF2-40B4-BE49-F238E27FC236}">
                <a16:creationId xmlns:a16="http://schemas.microsoft.com/office/drawing/2014/main" id="{4F464F2B-3C60-BC45-8622-4C9F826491F7}"/>
              </a:ext>
            </a:extLst>
          </p:cNvPr>
          <p:cNvSpPr txBox="1">
            <a:spLocks/>
          </p:cNvSpPr>
          <p:nvPr/>
        </p:nvSpPr>
        <p:spPr>
          <a:xfrm>
            <a:off x="3293850" y="3601192"/>
            <a:ext cx="2700000" cy="952295"/>
          </a:xfrm>
          <a:prstGeom prst="round2SameRect">
            <a:avLst>
              <a:gd name="adj1" fmla="val 8149"/>
              <a:gd name="adj2" fmla="val 0"/>
            </a:avLst>
          </a:prstGeom>
          <a:solidFill>
            <a:schemeClr val="bg2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5350" algn="l" rtl="0">
              <a:spcBef>
                <a:spcPts val="0"/>
              </a:spcBef>
            </a:pPr>
            <a:r>
              <a:rPr lang="x-es-XL" b="1" i="0" u="none" baseline="0">
                <a:solidFill>
                  <a:schemeClr val="bg1"/>
                </a:solidFill>
              </a:rPr>
              <a:t>Miembro Asociado </a:t>
            </a:r>
            <a:br>
              <a:rPr lang="x-es-XL" b="1">
                <a:solidFill>
                  <a:schemeClr val="bg1"/>
                </a:solidFill>
              </a:rPr>
            </a:br>
            <a:r>
              <a:rPr lang="x-es-XL" b="1" i="0" u="none" baseline="0">
                <a:solidFill>
                  <a:schemeClr val="bg1"/>
                </a:solidFill>
              </a:rPr>
              <a:t>del año </a:t>
            </a:r>
          </a:p>
        </p:txBody>
      </p:sp>
      <p:sp>
        <p:nvSpPr>
          <p:cNvPr id="33" name="Content Placeholder 21">
            <a:extLst>
              <a:ext uri="{FF2B5EF4-FFF2-40B4-BE49-F238E27FC236}">
                <a16:creationId xmlns:a16="http://schemas.microsoft.com/office/drawing/2014/main" id="{F21F3C99-D8FF-E243-9070-09343A555639}"/>
              </a:ext>
            </a:extLst>
          </p:cNvPr>
          <p:cNvSpPr txBox="1">
            <a:spLocks/>
          </p:cNvSpPr>
          <p:nvPr/>
        </p:nvSpPr>
        <p:spPr>
          <a:xfrm>
            <a:off x="6195758" y="3601192"/>
            <a:ext cx="2700000" cy="952295"/>
          </a:xfrm>
          <a:prstGeom prst="round2SameRect">
            <a:avLst>
              <a:gd name="adj1" fmla="val 8149"/>
              <a:gd name="adj2" fmla="val 0"/>
            </a:avLst>
          </a:prstGeom>
          <a:solidFill>
            <a:schemeClr val="bg2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5350" algn="l" rtl="0">
              <a:spcBef>
                <a:spcPts val="0"/>
              </a:spcBef>
            </a:pPr>
            <a:r>
              <a:rPr lang="x-es-XL" b="1" i="0" u="none" baseline="0">
                <a:solidFill>
                  <a:schemeClr val="bg1"/>
                </a:solidFill>
              </a:rPr>
              <a:t>Genie </a:t>
            </a:r>
            <a:br>
              <a:rPr lang="x-es-XL" b="1">
                <a:solidFill>
                  <a:schemeClr val="bg1"/>
                </a:solidFill>
              </a:rPr>
            </a:br>
            <a:r>
              <a:rPr lang="x-es-XL" b="1" i="0" u="none" baseline="0">
                <a:solidFill>
                  <a:schemeClr val="bg1"/>
                </a:solidFill>
              </a:rPr>
              <a:t>SX-135 XC  </a:t>
            </a:r>
          </a:p>
        </p:txBody>
      </p:sp>
      <p:sp>
        <p:nvSpPr>
          <p:cNvPr id="38" name="Rectangle: Top Corners Rounded 7">
            <a:extLst>
              <a:ext uri="{FF2B5EF4-FFF2-40B4-BE49-F238E27FC236}">
                <a16:creationId xmlns:a16="http://schemas.microsoft.com/office/drawing/2014/main" id="{8AF01F95-5469-FE46-9005-6251FCE3128C}"/>
              </a:ext>
            </a:extLst>
          </p:cNvPr>
          <p:cNvSpPr/>
          <p:nvPr/>
        </p:nvSpPr>
        <p:spPr>
          <a:xfrm>
            <a:off x="3293850" y="4542502"/>
            <a:ext cx="2700000" cy="1268362"/>
          </a:xfrm>
          <a:prstGeom prst="round2SameRect">
            <a:avLst>
              <a:gd name="adj1" fmla="val 0"/>
              <a:gd name="adj2" fmla="val 6370"/>
            </a:avLst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accent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tlCol="0" anchor="t"/>
          <a:lstStyle/>
          <a:p>
            <a:pPr marL="6350" algn="l" rtl="0">
              <a:spcBef>
                <a:spcPts val="0"/>
              </a:spcBef>
              <a:spcAft>
                <a:spcPts val="0"/>
              </a:spcAft>
            </a:pPr>
            <a:r>
              <a:rPr lang="x-es-XL" sz="1100" b="0" i="0" u="none" baseline="0">
                <a:solidFill>
                  <a:schemeClr val="accent3">
                    <a:lumMod val="50000"/>
                  </a:schemeClr>
                </a:solidFill>
              </a:rPr>
              <a:t>Otorgado por la Texas Rental Association a miembros de la asociación que han hecho contribuciones extraordinarias para el éxito continuado de la Asociación </a:t>
            </a:r>
          </a:p>
        </p:txBody>
      </p:sp>
      <p:sp>
        <p:nvSpPr>
          <p:cNvPr id="39" name="Rectangle: Top Corners Rounded 7">
            <a:extLst>
              <a:ext uri="{FF2B5EF4-FFF2-40B4-BE49-F238E27FC236}">
                <a16:creationId xmlns:a16="http://schemas.microsoft.com/office/drawing/2014/main" id="{E5CCD934-497A-9F4C-8FCF-FEF9E2D0CAB8}"/>
              </a:ext>
            </a:extLst>
          </p:cNvPr>
          <p:cNvSpPr/>
          <p:nvPr/>
        </p:nvSpPr>
        <p:spPr>
          <a:xfrm>
            <a:off x="6195758" y="4542502"/>
            <a:ext cx="2700000" cy="1268362"/>
          </a:xfrm>
          <a:prstGeom prst="round2SameRect">
            <a:avLst>
              <a:gd name="adj1" fmla="val 0"/>
              <a:gd name="adj2" fmla="val 6370"/>
            </a:avLst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accent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tlCol="0" anchor="t"/>
          <a:lstStyle/>
          <a:p>
            <a:pPr marL="6350" algn="l" rtl="0">
              <a:spcBef>
                <a:spcPts val="0"/>
              </a:spcBef>
              <a:spcAft>
                <a:spcPts val="0"/>
              </a:spcAft>
            </a:pPr>
            <a:r>
              <a:rPr lang="x-es-XL" sz="1100" b="0" i="0" u="none" baseline="0">
                <a:solidFill>
                  <a:schemeClr val="accent3">
                    <a:lumMod val="50000"/>
                  </a:schemeClr>
                </a:solidFill>
              </a:rPr>
              <a:t>Recibió un Premio de Producto Inteligente por parte de la Conferencia de Internet de la Industria de la Maquinaria de China, organizada por Huicong Publications y la Asociación de la Industria de la Maquinaria de Construcción de China </a:t>
            </a:r>
          </a:p>
          <a:p>
            <a:pPr marL="6350" algn="l" rtl="0">
              <a:spcBef>
                <a:spcPts val="0"/>
              </a:spcBef>
              <a:spcAft>
                <a:spcPts val="0"/>
              </a:spcAft>
            </a:pPr>
            <a:endParaRPr lang="x-es-XL" sz="1100">
              <a:solidFill>
                <a:schemeClr val="accent3">
                  <a:lumMod val="50000"/>
                </a:schemeClr>
              </a:solidFill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AB0008F9-E5E1-F240-9A8E-C6D9CA7457C9}"/>
              </a:ext>
            </a:extLst>
          </p:cNvPr>
          <p:cNvGrpSpPr/>
          <p:nvPr/>
        </p:nvGrpSpPr>
        <p:grpSpPr>
          <a:xfrm>
            <a:off x="6274775" y="3677728"/>
            <a:ext cx="774291" cy="809393"/>
            <a:chOff x="6274775" y="3677728"/>
            <a:chExt cx="774291" cy="809393"/>
          </a:xfrm>
        </p:grpSpPr>
        <p:sp>
          <p:nvSpPr>
            <p:cNvPr id="37" name="Rounded Rectangle 36">
              <a:extLst>
                <a:ext uri="{FF2B5EF4-FFF2-40B4-BE49-F238E27FC236}">
                  <a16:creationId xmlns:a16="http://schemas.microsoft.com/office/drawing/2014/main" id="{217C47E8-800A-1D4A-95DB-307E3930B959}"/>
                </a:ext>
              </a:extLst>
            </p:cNvPr>
            <p:cNvSpPr/>
            <p:nvPr/>
          </p:nvSpPr>
          <p:spPr>
            <a:xfrm>
              <a:off x="6274775" y="3682822"/>
              <a:ext cx="774291" cy="804299"/>
            </a:xfrm>
            <a:prstGeom prst="roundRect">
              <a:avLst>
                <a:gd name="adj" fmla="val 4835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x-es-XL"/>
            </a:p>
          </p:txBody>
        </p:sp>
        <p:pic>
          <p:nvPicPr>
            <p:cNvPr id="40" name="Picture Placeholder 26" descr="A picture containing transport, lawn mower&#10;&#10;Description automatically generated">
              <a:extLst>
                <a:ext uri="{FF2B5EF4-FFF2-40B4-BE49-F238E27FC236}">
                  <a16:creationId xmlns:a16="http://schemas.microsoft.com/office/drawing/2014/main" id="{55391AB6-2EDF-A044-AD46-6A3E45E4EA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rcRect t="1966" b="1966"/>
            <a:stretch>
              <a:fillRect/>
            </a:stretch>
          </p:blipFill>
          <p:spPr>
            <a:xfrm>
              <a:off x="6328760" y="3677728"/>
              <a:ext cx="549665" cy="792000"/>
            </a:xfrm>
            <a:prstGeom prst="rect">
              <a:avLst/>
            </a:prstGeom>
          </p:spPr>
        </p:pic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418B2E75-8604-ED40-A3F2-9EE69319BD71}"/>
              </a:ext>
            </a:extLst>
          </p:cNvPr>
          <p:cNvGrpSpPr/>
          <p:nvPr/>
        </p:nvGrpSpPr>
        <p:grpSpPr>
          <a:xfrm>
            <a:off x="3372866" y="3682822"/>
            <a:ext cx="774292" cy="804299"/>
            <a:chOff x="3372866" y="3682822"/>
            <a:chExt cx="774292" cy="804299"/>
          </a:xfrm>
        </p:grpSpPr>
        <p:sp>
          <p:nvSpPr>
            <p:cNvPr id="36" name="Rounded Rectangle 35">
              <a:extLst>
                <a:ext uri="{FF2B5EF4-FFF2-40B4-BE49-F238E27FC236}">
                  <a16:creationId xmlns:a16="http://schemas.microsoft.com/office/drawing/2014/main" id="{49882A24-7835-4F4E-BDAB-4EB1B60A2C67}"/>
                </a:ext>
              </a:extLst>
            </p:cNvPr>
            <p:cNvSpPr/>
            <p:nvPr/>
          </p:nvSpPr>
          <p:spPr>
            <a:xfrm>
              <a:off x="3372867" y="3682822"/>
              <a:ext cx="774291" cy="804299"/>
            </a:xfrm>
            <a:prstGeom prst="roundRect">
              <a:avLst>
                <a:gd name="adj" fmla="val 4835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x-es-XL"/>
            </a:p>
          </p:txBody>
        </p:sp>
        <p:pic>
          <p:nvPicPr>
            <p:cNvPr id="41" name="Picture Placeholder 24" descr="A picture containing logo&#10;&#10;Description automatically generated">
              <a:extLst>
                <a:ext uri="{FF2B5EF4-FFF2-40B4-BE49-F238E27FC236}">
                  <a16:creationId xmlns:a16="http://schemas.microsoft.com/office/drawing/2014/main" id="{2B0F1917-FC54-5A44-AA52-8C6B6CB012C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/>
            <a:srcRect t="1556" b="13354"/>
            <a:stretch/>
          </p:blipFill>
          <p:spPr>
            <a:xfrm>
              <a:off x="3372866" y="3882460"/>
              <a:ext cx="774291" cy="367788"/>
            </a:xfrm>
            <a:prstGeom prst="rect">
              <a:avLst/>
            </a:prstGeom>
            <a:noFill/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0CB681E0-CC12-7447-B19C-940713A9423B}"/>
              </a:ext>
            </a:extLst>
          </p:cNvPr>
          <p:cNvGrpSpPr/>
          <p:nvPr/>
        </p:nvGrpSpPr>
        <p:grpSpPr>
          <a:xfrm>
            <a:off x="507993" y="3671837"/>
            <a:ext cx="774291" cy="804299"/>
            <a:chOff x="507993" y="3671837"/>
            <a:chExt cx="774291" cy="804299"/>
          </a:xfrm>
        </p:grpSpPr>
        <p:sp>
          <p:nvSpPr>
            <p:cNvPr id="35" name="Rounded Rectangle 34">
              <a:extLst>
                <a:ext uri="{FF2B5EF4-FFF2-40B4-BE49-F238E27FC236}">
                  <a16:creationId xmlns:a16="http://schemas.microsoft.com/office/drawing/2014/main" id="{38BE2715-4CB7-EF44-9796-74900BD7DBAB}"/>
                </a:ext>
              </a:extLst>
            </p:cNvPr>
            <p:cNvSpPr/>
            <p:nvPr/>
          </p:nvSpPr>
          <p:spPr>
            <a:xfrm>
              <a:off x="507993" y="3671837"/>
              <a:ext cx="774291" cy="804299"/>
            </a:xfrm>
            <a:prstGeom prst="roundRect">
              <a:avLst>
                <a:gd name="adj" fmla="val 4835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x-es-XL"/>
            </a:p>
          </p:txBody>
        </p:sp>
        <p:pic>
          <p:nvPicPr>
            <p:cNvPr id="46" name="Picture Placeholder 19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F0EC7D45-5271-E44B-B58C-6F718F665E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/>
            <a:srcRect t="457" b="2041"/>
            <a:stretch/>
          </p:blipFill>
          <p:spPr>
            <a:xfrm>
              <a:off x="572161" y="3770068"/>
              <a:ext cx="645954" cy="629805"/>
            </a:xfrm>
            <a:prstGeom prst="rect">
              <a:avLst/>
            </a:prstGeom>
            <a:noFill/>
          </p:spPr>
        </p:pic>
      </p:grpSp>
      <p:sp>
        <p:nvSpPr>
          <p:cNvPr id="48" name="Content Placeholder 21">
            <a:extLst>
              <a:ext uri="{FF2B5EF4-FFF2-40B4-BE49-F238E27FC236}">
                <a16:creationId xmlns:a16="http://schemas.microsoft.com/office/drawing/2014/main" id="{4F08B037-AD5B-C640-942D-1A2DC41BAB89}"/>
              </a:ext>
            </a:extLst>
          </p:cNvPr>
          <p:cNvSpPr txBox="1">
            <a:spLocks/>
          </p:cNvSpPr>
          <p:nvPr/>
        </p:nvSpPr>
        <p:spPr>
          <a:xfrm>
            <a:off x="9058701" y="3601192"/>
            <a:ext cx="2700000" cy="952295"/>
          </a:xfrm>
          <a:prstGeom prst="round2SameRect">
            <a:avLst>
              <a:gd name="adj1" fmla="val 8149"/>
              <a:gd name="adj2" fmla="val 0"/>
            </a:avLst>
          </a:prstGeom>
          <a:solidFill>
            <a:schemeClr val="bg2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95350" algn="l" rtl="0">
              <a:spcBef>
                <a:spcPts val="0"/>
              </a:spcBef>
            </a:pPr>
            <a:r>
              <a:rPr lang="x-es-XL" b="1" i="0" u="none" baseline="0">
                <a:solidFill>
                  <a:schemeClr val="bg1"/>
                </a:solidFill>
              </a:rPr>
              <a:t>Producto destacado en ALH Q1</a:t>
            </a:r>
          </a:p>
        </p:txBody>
      </p:sp>
      <p:sp>
        <p:nvSpPr>
          <p:cNvPr id="50" name="Rectangle: Top Corners Rounded 7">
            <a:extLst>
              <a:ext uri="{FF2B5EF4-FFF2-40B4-BE49-F238E27FC236}">
                <a16:creationId xmlns:a16="http://schemas.microsoft.com/office/drawing/2014/main" id="{7C37B426-5CB7-4A4B-9A9C-D4353DB1E541}"/>
              </a:ext>
            </a:extLst>
          </p:cNvPr>
          <p:cNvSpPr/>
          <p:nvPr/>
        </p:nvSpPr>
        <p:spPr>
          <a:xfrm>
            <a:off x="9058701" y="4542502"/>
            <a:ext cx="2700000" cy="1268362"/>
          </a:xfrm>
          <a:prstGeom prst="round2SameRect">
            <a:avLst>
              <a:gd name="adj1" fmla="val 0"/>
              <a:gd name="adj2" fmla="val 6370"/>
            </a:avLst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accent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tlCol="0" anchor="t"/>
          <a:lstStyle/>
          <a:p>
            <a:pPr marL="6350" algn="l" rtl="0">
              <a:spcBef>
                <a:spcPts val="0"/>
              </a:spcBef>
              <a:spcAft>
                <a:spcPts val="0"/>
              </a:spcAft>
            </a:pPr>
            <a:r>
              <a:rPr lang="x-es-XL" sz="1100" b="0" i="0" u="none" baseline="0">
                <a:solidFill>
                  <a:schemeClr val="accent3">
                    <a:lumMod val="50000"/>
                  </a:schemeClr>
                </a:solidFill>
              </a:rPr>
              <a:t>La Genie S80J presentada en la portada de Access Lift and Handler de abril de 2022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DDFA91F-7B9D-7B43-84BB-6EED496E8041}"/>
              </a:ext>
            </a:extLst>
          </p:cNvPr>
          <p:cNvGrpSpPr/>
          <p:nvPr/>
        </p:nvGrpSpPr>
        <p:grpSpPr>
          <a:xfrm>
            <a:off x="9153147" y="3682822"/>
            <a:ext cx="774291" cy="804299"/>
            <a:chOff x="9153147" y="3682822"/>
            <a:chExt cx="774291" cy="804299"/>
          </a:xfrm>
        </p:grpSpPr>
        <p:sp>
          <p:nvSpPr>
            <p:cNvPr id="53" name="Rounded Rectangle 52">
              <a:extLst>
                <a:ext uri="{FF2B5EF4-FFF2-40B4-BE49-F238E27FC236}">
                  <a16:creationId xmlns:a16="http://schemas.microsoft.com/office/drawing/2014/main" id="{300A53D7-0730-3B47-9F77-BCF606FA4713}"/>
                </a:ext>
              </a:extLst>
            </p:cNvPr>
            <p:cNvSpPr/>
            <p:nvPr/>
          </p:nvSpPr>
          <p:spPr>
            <a:xfrm>
              <a:off x="9153147" y="3682822"/>
              <a:ext cx="774291" cy="804299"/>
            </a:xfrm>
            <a:prstGeom prst="roundRect">
              <a:avLst>
                <a:gd name="adj" fmla="val 4835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x-es-XL"/>
            </a:p>
          </p:txBody>
        </p:sp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C5E192B9-673B-5749-911A-59EE320337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9288312" y="3744140"/>
              <a:ext cx="493440" cy="681659"/>
            </a:xfrm>
            <a:prstGeom prst="rect">
              <a:avLst/>
            </a:prstGeom>
          </p:spPr>
        </p:pic>
      </p:grpSp>
      <p:sp>
        <p:nvSpPr>
          <p:cNvPr id="49" name="Slide Number Placeholder 5">
            <a:extLst>
              <a:ext uri="{FF2B5EF4-FFF2-40B4-BE49-F238E27FC236}">
                <a16:creationId xmlns:a16="http://schemas.microsoft.com/office/drawing/2014/main" id="{A1F9A259-FD5B-5E49-8C9C-4D4B9E69D0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x-es-XL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53381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4CF02A1-42FC-4EE0-A34C-33472B1D3C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252000"/>
            <a:ext cx="11841481" cy="640080"/>
          </a:xfrm>
        </p:spPr>
        <p:txBody>
          <a:bodyPr vert="horz" lIns="0" tIns="0" rIns="0" bIns="0" rtlCol="0" anchor="t" anchorCtr="0">
            <a:noAutofit/>
          </a:bodyPr>
          <a:lstStyle/>
          <a:p>
            <a:pPr algn="l" rtl="0">
              <a:lnSpc>
                <a:spcPct val="90000"/>
              </a:lnSpc>
            </a:pPr>
            <a:r>
              <a:rPr lang="x-es-XL" b="1" i="0" u="none" baseline="0">
                <a:solidFill>
                  <a:schemeClr val="accent1"/>
                </a:solidFill>
                <a:latin typeface="+mj-lt"/>
                <a:ea typeface="+mj-ea"/>
                <a:cs typeface="Arial"/>
              </a:rPr>
              <a:t>El Sistema Operativo de Geni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71DDDAF-153E-354A-A51E-DD1793D952C2}"/>
              </a:ext>
            </a:extLst>
          </p:cNvPr>
          <p:cNvGrpSpPr/>
          <p:nvPr/>
        </p:nvGrpSpPr>
        <p:grpSpPr>
          <a:xfrm>
            <a:off x="360000" y="924742"/>
            <a:ext cx="4971773" cy="4791566"/>
            <a:chOff x="493773" y="924742"/>
            <a:chExt cx="4971773" cy="4791566"/>
          </a:xfrm>
        </p:grpSpPr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7393CFAE-A9DC-8847-A933-CF2AD3FE82E3}"/>
                </a:ext>
              </a:extLst>
            </p:cNvPr>
            <p:cNvSpPr/>
            <p:nvPr/>
          </p:nvSpPr>
          <p:spPr>
            <a:xfrm>
              <a:off x="776421" y="1269560"/>
              <a:ext cx="4400010" cy="4400010"/>
            </a:xfrm>
            <a:prstGeom prst="ellipse">
              <a:avLst/>
            </a:prstGeom>
            <a:noFill/>
            <a:ln w="508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005ABF"/>
                </a:highlight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A9CA4676-8D5F-2042-9358-AD2CBC85EBB0}"/>
                </a:ext>
              </a:extLst>
            </p:cNvPr>
            <p:cNvSpPr/>
            <p:nvPr/>
          </p:nvSpPr>
          <p:spPr>
            <a:xfrm>
              <a:off x="1177327" y="1670466"/>
              <a:ext cx="3598199" cy="3598199"/>
            </a:xfrm>
            <a:prstGeom prst="ellipse">
              <a:avLst/>
            </a:prstGeom>
            <a:noFill/>
            <a:ln w="542925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2" name="Oval 161">
              <a:extLst>
                <a:ext uri="{FF2B5EF4-FFF2-40B4-BE49-F238E27FC236}">
                  <a16:creationId xmlns:a16="http://schemas.microsoft.com/office/drawing/2014/main" id="{A9B07945-EA05-7B4A-BF89-B2DFFCDF35AA}"/>
                </a:ext>
              </a:extLst>
            </p:cNvPr>
            <p:cNvSpPr/>
            <p:nvPr/>
          </p:nvSpPr>
          <p:spPr>
            <a:xfrm>
              <a:off x="1590198" y="2083337"/>
              <a:ext cx="2772457" cy="2772457"/>
            </a:xfrm>
            <a:prstGeom prst="ellipse">
              <a:avLst/>
            </a:prstGeom>
            <a:noFill/>
            <a:ln w="508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673698FB-7439-FB48-9EA8-3D614C00E7F5}"/>
                </a:ext>
              </a:extLst>
            </p:cNvPr>
            <p:cNvGrpSpPr/>
            <p:nvPr/>
          </p:nvGrpSpPr>
          <p:grpSpPr>
            <a:xfrm>
              <a:off x="1951645" y="2442413"/>
              <a:ext cx="2049561" cy="2054301"/>
              <a:chOff x="5197373" y="2528295"/>
              <a:chExt cx="1797252" cy="1801410"/>
            </a:xfrm>
          </p:grpSpPr>
          <p:grpSp>
            <p:nvGrpSpPr>
              <p:cNvPr id="96" name="Group 95">
                <a:extLst>
                  <a:ext uri="{FF2B5EF4-FFF2-40B4-BE49-F238E27FC236}">
                    <a16:creationId xmlns:a16="http://schemas.microsoft.com/office/drawing/2014/main" id="{7728F266-8FF8-B249-9F95-305F19EF510C}"/>
                  </a:ext>
                </a:extLst>
              </p:cNvPr>
              <p:cNvGrpSpPr/>
              <p:nvPr/>
            </p:nvGrpSpPr>
            <p:grpSpPr>
              <a:xfrm rot="3625433">
                <a:off x="5195294" y="2530374"/>
                <a:ext cx="1801410" cy="1797252"/>
                <a:chOff x="2320440" y="1693620"/>
                <a:chExt cx="2610711" cy="2604684"/>
              </a:xfrm>
            </p:grpSpPr>
            <p:pic>
              <p:nvPicPr>
                <p:cNvPr id="100" name="Graphic 99">
                  <a:extLst>
                    <a:ext uri="{FF2B5EF4-FFF2-40B4-BE49-F238E27FC236}">
                      <a16:creationId xmlns:a16="http://schemas.microsoft.com/office/drawing/2014/main" id="{9E2B6548-8228-0F4B-A461-F4A320C1A26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553937" y="3396604"/>
                  <a:ext cx="2209800" cy="901700"/>
                </a:xfrm>
                <a:prstGeom prst="rect">
                  <a:avLst/>
                </a:prstGeom>
              </p:spPr>
            </p:pic>
            <p:pic>
              <p:nvPicPr>
                <p:cNvPr id="101" name="Graphic 100">
                  <a:extLst>
                    <a:ext uri="{FF2B5EF4-FFF2-40B4-BE49-F238E27FC236}">
                      <a16:creationId xmlns:a16="http://schemas.microsoft.com/office/drawing/2014/main" id="{11D7EB0D-012D-4644-82C5-1F09509B660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72251" y="1693620"/>
                  <a:ext cx="1358900" cy="1866900"/>
                </a:xfrm>
                <a:prstGeom prst="rect">
                  <a:avLst/>
                </a:prstGeom>
              </p:spPr>
            </p:pic>
            <p:pic>
              <p:nvPicPr>
                <p:cNvPr id="102" name="Graphic 101">
                  <a:extLst>
                    <a:ext uri="{FF2B5EF4-FFF2-40B4-BE49-F238E27FC236}">
                      <a16:creationId xmlns:a16="http://schemas.microsoft.com/office/drawing/2014/main" id="{A0229018-CABD-3B45-B25A-44A3BA154A1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320440" y="1694785"/>
                  <a:ext cx="1320800" cy="1993900"/>
                </a:xfrm>
                <a:prstGeom prst="rect">
                  <a:avLst/>
                </a:prstGeom>
              </p:spPr>
            </p:pic>
          </p:grpSp>
          <p:pic>
            <p:nvPicPr>
              <p:cNvPr id="97" name="Graphic 96">
                <a:extLst>
                  <a:ext uri="{FF2B5EF4-FFF2-40B4-BE49-F238E27FC236}">
                    <a16:creationId xmlns:a16="http://schemas.microsoft.com/office/drawing/2014/main" id="{D0E209AE-4674-3546-806E-3F2D011AA1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5774767" y="2632627"/>
                <a:ext cx="700801" cy="208346"/>
              </a:xfrm>
              <a:prstGeom prst="rect">
                <a:avLst/>
              </a:prstGeom>
            </p:spPr>
          </p:pic>
          <p:pic>
            <p:nvPicPr>
              <p:cNvPr id="98" name="Graphic 97">
                <a:extLst>
                  <a:ext uri="{FF2B5EF4-FFF2-40B4-BE49-F238E27FC236}">
                    <a16:creationId xmlns:a16="http://schemas.microsoft.com/office/drawing/2014/main" id="{27B66843-7B55-F944-94A2-27EADA3EA1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6418424" y="3441640"/>
                <a:ext cx="482984" cy="672390"/>
              </a:xfrm>
              <a:prstGeom prst="rect">
                <a:avLst/>
              </a:prstGeom>
            </p:spPr>
          </p:pic>
          <p:pic>
            <p:nvPicPr>
              <p:cNvPr id="99" name="Graphic 98">
                <a:extLst>
                  <a:ext uri="{FF2B5EF4-FFF2-40B4-BE49-F238E27FC236}">
                    <a16:creationId xmlns:a16="http://schemas.microsoft.com/office/drawing/2014/main" id="{7D8CF05F-F747-DF45-8E5A-16491C8CB4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5315814" y="3553576"/>
                <a:ext cx="303049" cy="426163"/>
              </a:xfrm>
              <a:prstGeom prst="rect">
                <a:avLst/>
              </a:prstGeom>
            </p:spPr>
          </p:pic>
        </p:grpSp>
        <p:pic>
          <p:nvPicPr>
            <p:cNvPr id="89" name="Graphic 88">
              <a:extLst>
                <a:ext uri="{FF2B5EF4-FFF2-40B4-BE49-F238E27FC236}">
                  <a16:creationId xmlns:a16="http://schemas.microsoft.com/office/drawing/2014/main" id="{1E6F9FAE-71BD-234B-AAC0-39B21FA9DBC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2413636" y="3213561"/>
              <a:ext cx="1143372" cy="484480"/>
            </a:xfrm>
            <a:prstGeom prst="rect">
              <a:avLst/>
            </a:prstGeom>
          </p:spPr>
        </p:pic>
        <p:sp>
          <p:nvSpPr>
            <p:cNvPr id="156" name="Rectangle 155">
              <a:extLst>
                <a:ext uri="{FF2B5EF4-FFF2-40B4-BE49-F238E27FC236}">
                  <a16:creationId xmlns:a16="http://schemas.microsoft.com/office/drawing/2014/main" id="{5B0A162E-E30E-5748-9D2C-E0F2E9023371}"/>
                </a:ext>
              </a:extLst>
            </p:cNvPr>
            <p:cNvSpPr/>
            <p:nvPr/>
          </p:nvSpPr>
          <p:spPr>
            <a:xfrm rot="19384705">
              <a:off x="1648094" y="2314503"/>
              <a:ext cx="1264811" cy="389231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prstTxWarp prst="textArchUp">
                <a:avLst>
                  <a:gd name="adj" fmla="val 10674330"/>
                </a:avLst>
              </a:prstTxWarp>
              <a:spAutoFit/>
            </a:bodyPr>
            <a:lstStyle/>
            <a:p>
              <a:pPr marL="7938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x-es-XL" sz="1100" b="1" i="0" u="none" strike="noStrike" kern="0" cap="none" spc="0" normalizeH="0" baseline="0">
                  <a:ln>
                    <a:noFill/>
                  </a:ln>
                  <a:solidFill>
                    <a:srgbClr val="7C878E">
                      <a:lumMod val="50000"/>
                    </a:srgbClr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APRENDIZAJE</a:t>
              </a:r>
              <a:endParaRPr kumimoji="0" lang="x-es-XL" sz="1100" b="0" i="0" u="none" strike="noStrike" kern="0" cap="none" spc="0" normalizeH="0" baseline="0" noProof="0">
                <a:ln>
                  <a:noFill/>
                </a:ln>
                <a:solidFill>
                  <a:srgbClr val="7C878E">
                    <a:lumMod val="50000"/>
                  </a:srgbClr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endParaRPr>
            </a:p>
            <a:p>
              <a:pPr marL="7938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100" b="0" i="0" u="none" strike="noStrike" kern="0" cap="none" spc="0" normalizeH="0" baseline="0" noProof="0">
                <a:ln>
                  <a:noFill/>
                </a:ln>
                <a:solidFill>
                  <a:srgbClr val="7C878E">
                    <a:lumMod val="50000"/>
                  </a:srgbClr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endParaRP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9C6896EC-598F-3544-ADCE-9EA143335B8D}"/>
                </a:ext>
              </a:extLst>
            </p:cNvPr>
            <p:cNvSpPr/>
            <p:nvPr/>
          </p:nvSpPr>
          <p:spPr>
            <a:xfrm rot="2189173">
              <a:off x="3059955" y="2346830"/>
              <a:ext cx="1264811" cy="389231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prstTxWarp prst="textArchUp">
                <a:avLst>
                  <a:gd name="adj" fmla="val 10674330"/>
                </a:avLst>
              </a:prstTxWarp>
              <a:spAutoFit/>
            </a:bodyPr>
            <a:lstStyle/>
            <a:p>
              <a:pPr marL="7938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x-es-XL" sz="1100" b="1" i="0" u="none" strike="noStrike" kern="0" cap="none" spc="0" normalizeH="0" baseline="0">
                  <a:ln>
                    <a:noFill/>
                  </a:ln>
                  <a:solidFill>
                    <a:srgbClr val="7C878E">
                      <a:lumMod val="50000"/>
                    </a:srgbClr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OBJETIVOS</a:t>
              </a:r>
              <a:endParaRPr kumimoji="0" lang="x-es-XL" sz="1100" b="0" i="0" u="none" strike="noStrike" kern="0" cap="none" spc="0" normalizeH="0" baseline="0" noProof="0">
                <a:ln>
                  <a:noFill/>
                </a:ln>
                <a:solidFill>
                  <a:srgbClr val="7C878E">
                    <a:lumMod val="50000"/>
                  </a:srgbClr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endParaRPr>
            </a:p>
            <a:p>
              <a:pPr marL="7938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100" b="0" i="0" u="none" strike="noStrike" kern="0" cap="none" spc="0" normalizeH="0" baseline="0" noProof="0">
                <a:ln>
                  <a:noFill/>
                </a:ln>
                <a:solidFill>
                  <a:srgbClr val="7C878E">
                    <a:lumMod val="50000"/>
                  </a:srgbClr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endParaRPr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59CAB94C-A5E5-8643-800C-944DD881C317}"/>
                </a:ext>
              </a:extLst>
            </p:cNvPr>
            <p:cNvSpPr/>
            <p:nvPr/>
          </p:nvSpPr>
          <p:spPr>
            <a:xfrm rot="14797775">
              <a:off x="1181562" y="3616094"/>
              <a:ext cx="1264811" cy="389231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prstTxWarp prst="textArchUp">
                <a:avLst>
                  <a:gd name="adj" fmla="val 10674330"/>
                </a:avLst>
              </a:prstTxWarp>
              <a:spAutoFit/>
            </a:bodyPr>
            <a:lstStyle/>
            <a:p>
              <a:pPr marL="7938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x-es-XL" sz="1100" b="1" i="0" u="none" strike="noStrike" kern="0" cap="none" spc="0" normalizeH="0" baseline="0">
                  <a:ln>
                    <a:noFill/>
                  </a:ln>
                  <a:solidFill>
                    <a:srgbClr val="7C878E">
                      <a:lumMod val="50000"/>
                    </a:srgbClr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FEEDBACK</a:t>
              </a:r>
            </a:p>
            <a:p>
              <a:pPr marL="7938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100" b="0" i="0" u="none" strike="noStrike" kern="0" cap="none" spc="0" normalizeH="0" baseline="0" noProof="0">
                <a:ln>
                  <a:noFill/>
                </a:ln>
                <a:solidFill>
                  <a:srgbClr val="7C878E">
                    <a:lumMod val="50000"/>
                  </a:srgbClr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endParaRPr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C587761C-03DF-E44F-982D-74257C7620D3}"/>
                </a:ext>
              </a:extLst>
            </p:cNvPr>
            <p:cNvSpPr/>
            <p:nvPr/>
          </p:nvSpPr>
          <p:spPr>
            <a:xfrm>
              <a:off x="2349204" y="4852304"/>
              <a:ext cx="1264811" cy="389231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prstTxWarp prst="textArchDown">
                <a:avLst/>
              </a:prstTxWarp>
              <a:spAutoFit/>
            </a:bodyPr>
            <a:lstStyle/>
            <a:p>
              <a:pPr marL="7938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x-es-XL" sz="1100" b="1" i="0" u="none" strike="noStrike" kern="0" cap="none" spc="0" normalizeH="0" baseline="0">
                  <a:ln>
                    <a:noFill/>
                  </a:ln>
                  <a:solidFill>
                    <a:srgbClr val="7C878E">
                      <a:lumMod val="50000"/>
                    </a:srgbClr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RESULTADOS</a:t>
              </a:r>
              <a:endParaRPr kumimoji="0" lang="x-es-XL" sz="1100" b="0" i="0" u="none" strike="noStrike" kern="0" cap="none" spc="0" normalizeH="0" baseline="0" noProof="0">
                <a:ln>
                  <a:noFill/>
                </a:ln>
                <a:solidFill>
                  <a:srgbClr val="7C878E">
                    <a:lumMod val="50000"/>
                  </a:srgbClr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endParaRPr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625708BB-441C-174A-9996-A4C8D9D3E4D0}"/>
                </a:ext>
              </a:extLst>
            </p:cNvPr>
            <p:cNvSpPr/>
            <p:nvPr/>
          </p:nvSpPr>
          <p:spPr>
            <a:xfrm rot="6528534">
              <a:off x="3473894" y="3665014"/>
              <a:ext cx="1264811" cy="389231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prstTxWarp prst="textArchUp">
                <a:avLst>
                  <a:gd name="adj" fmla="val 10674330"/>
                </a:avLst>
              </a:prstTxWarp>
              <a:spAutoFit/>
            </a:bodyPr>
            <a:lstStyle/>
            <a:p>
              <a:pPr marL="7938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x-es-XL" sz="1100" b="1" i="0" u="none" strike="noStrike" kern="0" cap="none" spc="0" normalizeH="0" baseline="0">
                  <a:ln>
                    <a:noFill/>
                  </a:ln>
                  <a:solidFill>
                    <a:srgbClr val="7C878E">
                      <a:lumMod val="50000"/>
                    </a:srgbClr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PRIORIDADES</a:t>
              </a:r>
              <a:endParaRPr kumimoji="0" lang="x-es-XL" sz="1100" b="0" i="0" u="none" strike="noStrike" kern="0" cap="none" spc="0" normalizeH="0" baseline="0" noProof="0">
                <a:ln>
                  <a:noFill/>
                </a:ln>
                <a:solidFill>
                  <a:srgbClr val="7C878E">
                    <a:lumMod val="50000"/>
                  </a:srgbClr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endParaRPr>
            </a:p>
            <a:p>
              <a:pPr marL="7938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100" b="0" i="0" u="none" strike="noStrike" kern="0" cap="none" spc="0" normalizeH="0" baseline="0" noProof="0">
                <a:ln>
                  <a:noFill/>
                </a:ln>
                <a:solidFill>
                  <a:srgbClr val="7C878E">
                    <a:lumMod val="50000"/>
                  </a:srgbClr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endParaRPr>
            </a:p>
          </p:txBody>
        </p:sp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47CDB1A7-3751-1042-852F-540CC2924647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 rot="2226377">
              <a:off x="3987615" y="1851972"/>
              <a:ext cx="180000" cy="180000"/>
            </a:xfrm>
            <a:prstGeom prst="rect">
              <a:avLst/>
            </a:prstGeom>
          </p:spPr>
        </p:pic>
        <p:pic>
          <p:nvPicPr>
            <p:cNvPr id="170" name="Graphic 169">
              <a:extLst>
                <a:ext uri="{FF2B5EF4-FFF2-40B4-BE49-F238E27FC236}">
                  <a16:creationId xmlns:a16="http://schemas.microsoft.com/office/drawing/2014/main" id="{A044C825-3AAD-6A49-8010-557AE343B45B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 rot="19343990">
              <a:off x="1742131" y="1877591"/>
              <a:ext cx="180000" cy="180000"/>
            </a:xfrm>
            <a:prstGeom prst="rect">
              <a:avLst/>
            </a:prstGeom>
          </p:spPr>
        </p:pic>
        <p:pic>
          <p:nvPicPr>
            <p:cNvPr id="171" name="Graphic 170">
              <a:extLst>
                <a:ext uri="{FF2B5EF4-FFF2-40B4-BE49-F238E27FC236}">
                  <a16:creationId xmlns:a16="http://schemas.microsoft.com/office/drawing/2014/main" id="{4EDE2FB6-3E57-D046-A748-DED477A18B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 rot="15012148">
              <a:off x="1055669" y="3961004"/>
              <a:ext cx="180000" cy="180000"/>
            </a:xfrm>
            <a:prstGeom prst="rect">
              <a:avLst/>
            </a:prstGeom>
          </p:spPr>
        </p:pic>
        <p:pic>
          <p:nvPicPr>
            <p:cNvPr id="172" name="Graphic 171">
              <a:extLst>
                <a:ext uri="{FF2B5EF4-FFF2-40B4-BE49-F238E27FC236}">
                  <a16:creationId xmlns:a16="http://schemas.microsoft.com/office/drawing/2014/main" id="{3BBC09BB-7D1B-2647-A109-43A67DC6C790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 rot="10800000">
              <a:off x="2860377" y="5281110"/>
              <a:ext cx="180000" cy="180000"/>
            </a:xfrm>
            <a:prstGeom prst="rect">
              <a:avLst/>
            </a:prstGeom>
          </p:spPr>
        </p:pic>
        <p:pic>
          <p:nvPicPr>
            <p:cNvPr id="173" name="Graphic 172">
              <a:extLst>
                <a:ext uri="{FF2B5EF4-FFF2-40B4-BE49-F238E27FC236}">
                  <a16:creationId xmlns:a16="http://schemas.microsoft.com/office/drawing/2014/main" id="{F7ABD58F-0E36-1240-8C1D-02F22BD43ACC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 rot="6506927">
              <a:off x="4689069" y="3971847"/>
              <a:ext cx="180000" cy="180000"/>
            </a:xfrm>
            <a:prstGeom prst="rect">
              <a:avLst/>
            </a:prstGeom>
          </p:spPr>
        </p:pic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6204326A-9ADC-5242-9F14-58FADA2EBA2B}"/>
                </a:ext>
              </a:extLst>
            </p:cNvPr>
            <p:cNvSpPr/>
            <p:nvPr/>
          </p:nvSpPr>
          <p:spPr>
            <a:xfrm>
              <a:off x="493773" y="2244884"/>
              <a:ext cx="1440000" cy="14400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x-es-XL" sz="1200" b="1" i="0" u="none" strike="noStrike" kern="120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MEJORA CONTINUA</a:t>
              </a: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244A29D6-CB6F-C947-B672-6F3B28954B5F}"/>
                </a:ext>
              </a:extLst>
            </p:cNvPr>
            <p:cNvSpPr/>
            <p:nvPr/>
          </p:nvSpPr>
          <p:spPr>
            <a:xfrm>
              <a:off x="2296634" y="924742"/>
              <a:ext cx="1440000" cy="1440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x-es-XL" sz="1200" b="1" i="0" u="none" strike="noStrike" kern="120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PLANIFICACIÓN</a:t>
              </a: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2F0F3948-AA52-C045-B8B5-9EC2BB18C7FA}"/>
                </a:ext>
              </a:extLst>
            </p:cNvPr>
            <p:cNvSpPr/>
            <p:nvPr/>
          </p:nvSpPr>
          <p:spPr>
            <a:xfrm>
              <a:off x="3340835" y="4276308"/>
              <a:ext cx="1440000" cy="1440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x-es-XL" sz="1200" b="1" i="0" u="none" strike="noStrike" kern="120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IMPLEMENTACIÓ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x-es-XL" sz="1200" b="1" i="0" u="none" strike="noStrike" kern="120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ESTRATEGIA</a:t>
              </a: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2B619F0E-7110-7E4D-A47B-1E9CE6979425}"/>
                </a:ext>
              </a:extLst>
            </p:cNvPr>
            <p:cNvSpPr/>
            <p:nvPr/>
          </p:nvSpPr>
          <p:spPr>
            <a:xfrm>
              <a:off x="1170045" y="4268813"/>
              <a:ext cx="1440000" cy="144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x-es-XL" sz="1200" b="1" i="0" u="none" strike="noStrike" kern="120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EVALUACIÓN</a:t>
              </a:r>
              <a:endParaRPr kumimoji="0" lang="x-es-XL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AB666367-2EB0-3843-82ED-AFFD02183C2F}"/>
                </a:ext>
              </a:extLst>
            </p:cNvPr>
            <p:cNvSpPr/>
            <p:nvPr/>
          </p:nvSpPr>
          <p:spPr>
            <a:xfrm>
              <a:off x="4025546" y="2161804"/>
              <a:ext cx="1440000" cy="1440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x-es-XL" sz="1200" b="1" i="0" u="none" strike="noStrike" kern="120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DISEÑO SISTEMA OPERATIVO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25FC52D9-EECF-4885-A67E-E5883DF440B2}"/>
              </a:ext>
            </a:extLst>
          </p:cNvPr>
          <p:cNvSpPr txBox="1"/>
          <p:nvPr/>
        </p:nvSpPr>
        <p:spPr>
          <a:xfrm>
            <a:off x="5630077" y="1073614"/>
            <a:ext cx="6103193" cy="10464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x-es-XL" sz="17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l </a:t>
            </a:r>
            <a:r>
              <a:rPr kumimoji="0" lang="x-es-XL" sz="1700" b="1" i="0" u="none" strike="noStrike" kern="1200" cap="none" spc="0" normalizeH="0" baseline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stema Operativo de Genie </a:t>
            </a:r>
            <a:r>
              <a:rPr kumimoji="0" lang="x-es-XL" sz="17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mite llevar a la práctica nuestra estrategia a largo plazo mediante el despliegue de un marco común para aprovechar nuestros puntos fuertes únicos e identificar fácilmente las oportunidades de mejora.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5913541-B596-4940-8430-B4517D52B0A9}"/>
              </a:ext>
            </a:extLst>
          </p:cNvPr>
          <p:cNvSpPr txBox="1"/>
          <p:nvPr/>
        </p:nvSpPr>
        <p:spPr>
          <a:xfrm>
            <a:off x="5630077" y="2078112"/>
            <a:ext cx="2988000" cy="3706273"/>
          </a:xfrm>
          <a:prstGeom prst="roundRect">
            <a:avLst>
              <a:gd name="adj" fmla="val 3912"/>
            </a:avLst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 lIns="91440" tIns="972000" rIns="91440" bIns="45720" rtlCol="0" anchor="t">
            <a:noAutofit/>
          </a:bodyPr>
          <a:lstStyle/>
          <a:p>
            <a:pPr marL="152400" marR="0" lvl="0" indent="-152400" algn="l" defTabSz="7302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79C1"/>
              </a:buClr>
              <a:buSzTx/>
              <a:buFontTx/>
              <a:buChar char="•"/>
              <a:tabLst/>
              <a:defRPr/>
            </a:pPr>
            <a:r>
              <a:rPr kumimoji="0" lang="x-es-XL" sz="16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/>
                <a:cs typeface="+mn-cs"/>
              </a:rPr>
              <a:t>Asegura la ventaja competitiva sostenible de Genie</a:t>
            </a:r>
          </a:p>
          <a:p>
            <a:pPr marL="152400" marR="0" lvl="0" indent="-152400" algn="l" defTabSz="7302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79C1"/>
              </a:buClr>
              <a:buSzTx/>
              <a:buFontTx/>
              <a:buChar char="•"/>
              <a:tabLst/>
              <a:defRPr/>
            </a:pPr>
            <a:r>
              <a:rPr kumimoji="0" lang="x-es-XL" sz="16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/>
                <a:cs typeface="+mn-cs"/>
              </a:rPr>
              <a:t>Fomenta una cultura de aprendizaje e innovación</a:t>
            </a:r>
          </a:p>
          <a:p>
            <a:pPr marL="152400" marR="0" lvl="0" indent="-152400" algn="l" defTabSz="7302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79C1"/>
              </a:buClr>
              <a:buSzTx/>
              <a:buFontTx/>
              <a:buChar char="•"/>
              <a:tabLst/>
              <a:defRPr/>
            </a:pPr>
            <a:r>
              <a:rPr kumimoji="0" lang="x-es-XL" sz="16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/>
                <a:cs typeface="+mn-cs"/>
              </a:rPr>
              <a:t>Proporciona productos y servicios de calidad a los clientes</a:t>
            </a:r>
          </a:p>
          <a:p>
            <a:pPr marL="152400" marR="0" lvl="0" indent="-152400" algn="l" defTabSz="7302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79C1"/>
              </a:buClr>
              <a:buSzTx/>
              <a:buFontTx/>
              <a:buChar char="•"/>
              <a:tabLst/>
              <a:defRPr/>
            </a:pPr>
            <a:r>
              <a:rPr kumimoji="0" lang="x-es-XL" sz="16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/>
                <a:cs typeface="+mn-cs"/>
              </a:rPr>
              <a:t>Maximiza el valor para los accionista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4D991A4-134D-4AC7-A5D5-F24919B7191E}"/>
              </a:ext>
            </a:extLst>
          </p:cNvPr>
          <p:cNvSpPr txBox="1"/>
          <p:nvPr/>
        </p:nvSpPr>
        <p:spPr>
          <a:xfrm>
            <a:off x="5683867" y="2130551"/>
            <a:ext cx="2880000" cy="792309"/>
          </a:xfrm>
          <a:prstGeom prst="roundRect">
            <a:avLst>
              <a:gd name="adj" fmla="val 7597"/>
            </a:avLst>
          </a:prstGeom>
          <a:solidFill>
            <a:schemeClr val="bg2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x-es-XL" sz="2000" b="1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NEFICIO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29FD07C-7B9C-41A2-BEC1-7F9058D599AF}"/>
              </a:ext>
            </a:extLst>
          </p:cNvPr>
          <p:cNvSpPr txBox="1"/>
          <p:nvPr/>
        </p:nvSpPr>
        <p:spPr>
          <a:xfrm>
            <a:off x="8745270" y="2080193"/>
            <a:ext cx="2988000" cy="3704191"/>
          </a:xfrm>
          <a:prstGeom prst="roundRect">
            <a:avLst>
              <a:gd name="adj" fmla="val 3912"/>
            </a:avLst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 lIns="91440" tIns="972000" rIns="91440" bIns="45720" rtlCol="0" anchor="t">
            <a:noAutofit/>
          </a:bodyPr>
          <a:lstStyle/>
          <a:p>
            <a:pPr marL="152400" marR="0" lvl="0" indent="-152400" algn="l" defTabSz="7302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79C1"/>
              </a:buClr>
              <a:buSzTx/>
              <a:buFontTx/>
              <a:buChar char="•"/>
              <a:tabLst/>
              <a:defRPr/>
            </a:pPr>
            <a:r>
              <a:rPr kumimoji="0" lang="x-es-XL" sz="16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/>
                <a:cs typeface="+mn-cs"/>
              </a:rPr>
              <a:t>Liderazgo</a:t>
            </a:r>
          </a:p>
          <a:p>
            <a:pPr marL="152400" marR="0" lvl="0" indent="-152400" algn="l" defTabSz="7302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79C1"/>
              </a:buClr>
              <a:buSzTx/>
              <a:buFontTx/>
              <a:buChar char="•"/>
              <a:tabLst/>
              <a:defRPr/>
            </a:pPr>
            <a:r>
              <a:rPr kumimoji="0" lang="x-es-XL" sz="16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/>
                <a:cs typeface="+mn-cs"/>
              </a:rPr>
              <a:t>Estrategia</a:t>
            </a:r>
          </a:p>
          <a:p>
            <a:pPr marL="152400" marR="0" lvl="0" indent="-152400" algn="l" defTabSz="7302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79C1"/>
              </a:buClr>
              <a:buSzTx/>
              <a:buFontTx/>
              <a:buChar char="•"/>
              <a:tabLst/>
              <a:defRPr/>
            </a:pPr>
            <a:r>
              <a:rPr kumimoji="0" lang="x-es-XL" sz="16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/>
                <a:cs typeface="+mn-cs"/>
              </a:rPr>
              <a:t>Clientes</a:t>
            </a:r>
          </a:p>
          <a:p>
            <a:pPr marL="152400" marR="0" lvl="0" indent="-152400" algn="l" defTabSz="7302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79C1"/>
              </a:buClr>
              <a:buSzTx/>
              <a:buFontTx/>
              <a:buChar char="•"/>
              <a:tabLst/>
              <a:defRPr/>
            </a:pPr>
            <a:r>
              <a:rPr kumimoji="0" lang="x-es-XL" sz="16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/>
                <a:cs typeface="+mn-cs"/>
              </a:rPr>
              <a:t>Medición, análisis y gestión del conocimiento</a:t>
            </a:r>
          </a:p>
          <a:p>
            <a:pPr marL="152400" marR="0" lvl="0" indent="-152400" algn="l" defTabSz="7302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79C1"/>
              </a:buClr>
              <a:buSzTx/>
              <a:buFontTx/>
              <a:buChar char="•"/>
              <a:tabLst/>
              <a:defRPr/>
            </a:pPr>
            <a:r>
              <a:rPr kumimoji="0" lang="x-es-XL" sz="16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/>
                <a:cs typeface="+mn-cs"/>
              </a:rPr>
              <a:t>Personal</a:t>
            </a:r>
          </a:p>
          <a:p>
            <a:pPr marL="152400" marR="0" lvl="0" indent="-152400" algn="l" defTabSz="7302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79C1"/>
              </a:buClr>
              <a:buSzTx/>
              <a:buFontTx/>
              <a:buChar char="•"/>
              <a:tabLst/>
              <a:defRPr/>
            </a:pPr>
            <a:r>
              <a:rPr kumimoji="0" lang="x-es-XL" sz="16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/>
                <a:cs typeface="+mn-cs"/>
              </a:rPr>
              <a:t>Operaciones</a:t>
            </a:r>
          </a:p>
          <a:p>
            <a:pPr marL="152400" marR="0" lvl="0" indent="-152400" algn="l" defTabSz="7302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79C1"/>
              </a:buClr>
              <a:buSzTx/>
              <a:buFontTx/>
              <a:buChar char="•"/>
              <a:tabLst/>
              <a:defRPr/>
            </a:pPr>
            <a:r>
              <a:rPr kumimoji="0" lang="x-es-XL" sz="16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/>
                <a:cs typeface="+mn-cs"/>
              </a:rPr>
              <a:t>Resultado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9657468-9BB2-43DD-87CA-980A8B2E000B}"/>
              </a:ext>
            </a:extLst>
          </p:cNvPr>
          <p:cNvSpPr txBox="1"/>
          <p:nvPr/>
        </p:nvSpPr>
        <p:spPr>
          <a:xfrm>
            <a:off x="8799060" y="2132632"/>
            <a:ext cx="2880000" cy="792309"/>
          </a:xfrm>
          <a:prstGeom prst="roundRect">
            <a:avLst>
              <a:gd name="adj" fmla="val 7597"/>
            </a:avLst>
          </a:prstGeom>
          <a:solidFill>
            <a:schemeClr val="bg2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x-es-XL" sz="2000" b="1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RCO</a:t>
            </a:r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4A0CA46B-7253-124F-BB96-C08B5261E1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x-es-XL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71660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5EE9306-4B1A-492F-8FD5-0FE621930D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pPr algn="l" rtl="0"/>
            <a:r>
              <a:rPr lang="pt-br" b="1" i="0" u="none" baseline="0" dirty="0" err="1"/>
              <a:t>Quality</a:t>
            </a:r>
            <a:r>
              <a:rPr lang="pt-br" b="1" i="0" u="none" baseline="0" dirty="0"/>
              <a:t> </a:t>
            </a:r>
            <a:r>
              <a:rPr lang="pt-br" b="1" i="0" u="none" baseline="0" dirty="0" err="1"/>
              <a:t>by</a:t>
            </a:r>
            <a:r>
              <a:rPr lang="pt-br" b="1" i="0" u="none" baseline="0" dirty="0"/>
              <a:t> Design </a:t>
            </a:r>
          </a:p>
        </p:txBody>
      </p:sp>
    </p:spTree>
    <p:extLst>
      <p:ext uri="{BB962C8B-B14F-4D97-AF65-F5344CB8AC3E}">
        <p14:creationId xmlns:p14="http://schemas.microsoft.com/office/powerpoint/2010/main" val="16085322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1" name="Object 120" hidden="1">
            <a:extLst>
              <a:ext uri="{FF2B5EF4-FFF2-40B4-BE49-F238E27FC236}">
                <a16:creationId xmlns:a16="http://schemas.microsoft.com/office/drawing/2014/main" id="{119C96E5-F53F-4EDC-BE6A-BDD2050C07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21" name="Object 120" hidden="1">
                        <a:extLst>
                          <a:ext uri="{FF2B5EF4-FFF2-40B4-BE49-F238E27FC236}">
                            <a16:creationId xmlns:a16="http://schemas.microsoft.com/office/drawing/2014/main" id="{119C96E5-F53F-4EDC-BE6A-BDD2050C0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" name="Rectangle 119" hidden="1">
            <a:extLst>
              <a:ext uri="{FF2B5EF4-FFF2-40B4-BE49-F238E27FC236}">
                <a16:creationId xmlns:a16="http://schemas.microsoft.com/office/drawing/2014/main" id="{2D16991A-80DE-494B-9559-017381CD1DB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" sz="3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AB08B16-D3C0-9248-8C73-3D98DBBA77B8}"/>
              </a:ext>
            </a:extLst>
          </p:cNvPr>
          <p:cNvGrpSpPr>
            <a:grpSpLocks noChangeAspect="1"/>
          </p:cNvGrpSpPr>
          <p:nvPr/>
        </p:nvGrpSpPr>
        <p:grpSpPr>
          <a:xfrm>
            <a:off x="1626377" y="599166"/>
            <a:ext cx="8966919" cy="2157674"/>
            <a:chOff x="342900" y="2340454"/>
            <a:chExt cx="5859778" cy="1410015"/>
          </a:xfrm>
          <a:effectLst>
            <a:outerShdw blurRad="50800" dist="50800" dir="5400000" sx="1000" sy="1000" algn="ctr" rotWithShape="0">
              <a:srgbClr val="000000">
                <a:alpha val="43137"/>
              </a:srgbClr>
            </a:outerShdw>
          </a:effectLst>
        </p:grpSpPr>
        <p:pic>
          <p:nvPicPr>
            <p:cNvPr id="11" name="Picture 10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BA8E8C5E-7DD7-4468-BDC3-F8D91C6D0C0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8507" y="2483107"/>
              <a:ext cx="5108968" cy="1062379"/>
            </a:xfrm>
            <a:prstGeom prst="rect">
              <a:avLst/>
            </a:prstGeom>
          </p:spPr>
        </p:pic>
        <p:sp>
          <p:nvSpPr>
            <p:cNvPr id="6" name="Rounded Rectangle 5">
              <a:extLst>
                <a:ext uri="{FF2B5EF4-FFF2-40B4-BE49-F238E27FC236}">
                  <a16:creationId xmlns:a16="http://schemas.microsoft.com/office/drawing/2014/main" id="{E384D497-F4E5-0645-97D1-8CB0D3E64A32}"/>
                </a:ext>
              </a:extLst>
            </p:cNvPr>
            <p:cNvSpPr/>
            <p:nvPr/>
          </p:nvSpPr>
          <p:spPr>
            <a:xfrm>
              <a:off x="342900" y="2340454"/>
              <a:ext cx="5859778" cy="1410015"/>
            </a:xfrm>
            <a:prstGeom prst="round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50800" dir="5400000" sx="1000" sy="1000" algn="ctr" rotWithShape="0">
                <a:srgbClr val="000000">
                  <a:alpha val="43137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79DC04CB-CC56-DD4A-AB1A-862E3FBF6DFB}"/>
              </a:ext>
            </a:extLst>
          </p:cNvPr>
          <p:cNvGrpSpPr/>
          <p:nvPr/>
        </p:nvGrpSpPr>
        <p:grpSpPr>
          <a:xfrm>
            <a:off x="1626377" y="3182949"/>
            <a:ext cx="2822965" cy="2471134"/>
            <a:chOff x="1626377" y="3182949"/>
            <a:chExt cx="2822965" cy="2471134"/>
          </a:xfrm>
        </p:grpSpPr>
        <p:sp>
          <p:nvSpPr>
            <p:cNvPr id="4" name="Rounded Rectangle 3">
              <a:extLst>
                <a:ext uri="{FF2B5EF4-FFF2-40B4-BE49-F238E27FC236}">
                  <a16:creationId xmlns:a16="http://schemas.microsoft.com/office/drawing/2014/main" id="{FAA7D652-37C7-374A-A871-D6719FDA1166}"/>
                </a:ext>
              </a:extLst>
            </p:cNvPr>
            <p:cNvSpPr/>
            <p:nvPr/>
          </p:nvSpPr>
          <p:spPr>
            <a:xfrm rot="2700000">
              <a:off x="3304597" y="3846144"/>
              <a:ext cx="1144745" cy="1144745"/>
            </a:xfrm>
            <a:prstGeom prst="roundRect">
              <a:avLst>
                <a:gd name="adj" fmla="val 6911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s"/>
            </a:p>
          </p:txBody>
        </p:sp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C3B66627-9EA3-A24A-B3FA-5383185934C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626377" y="3182949"/>
              <a:ext cx="2553048" cy="2471134"/>
            </a:xfrm>
            <a:prstGeom prst="roundRect">
              <a:avLst>
                <a:gd name="adj" fmla="val 4537"/>
              </a:avLst>
            </a:prstGeom>
            <a:solidFill>
              <a:schemeClr val="accent2"/>
            </a:solidFill>
            <a:ln w="25400">
              <a:solidFill>
                <a:schemeClr val="accent2"/>
              </a:solidFill>
            </a:ln>
          </p:spPr>
          <p:txBody>
            <a:bodyPr wrap="square" anchor="ctr">
              <a:noAutofit/>
            </a:bodyPr>
            <a:lstStyle/>
            <a:p>
              <a:pPr algn="ctr" rtl="0"/>
              <a:r>
                <a:rPr lang="es" sz="2000" b="0" i="0" u="none" baseline="0">
                  <a:solidFill>
                    <a:schemeClr val="bg1"/>
                  </a:solidFill>
                </a:rPr>
                <a:t>Quality by Design armoniza el </a:t>
              </a:r>
              <a:r>
                <a:rPr lang="es" sz="2000" b="1" i="0" u="none" baseline="0">
                  <a:solidFill>
                    <a:schemeClr val="bg1"/>
                  </a:solidFill>
                </a:rPr>
                <a:t>beneficio intrínseco e histórico</a:t>
              </a:r>
              <a:r>
                <a:rPr lang="es" sz="2000" b="0" i="0" u="none" baseline="0">
                  <a:solidFill>
                    <a:schemeClr val="bg1"/>
                  </a:solidFill>
                </a:rPr>
                <a:t> de Genie con el valor del client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42B5F96-7B03-CB41-9E60-ACA603A7D564}"/>
              </a:ext>
            </a:extLst>
          </p:cNvPr>
          <p:cNvGrpSpPr/>
          <p:nvPr/>
        </p:nvGrpSpPr>
        <p:grpSpPr>
          <a:xfrm>
            <a:off x="4816307" y="3182949"/>
            <a:ext cx="2822965" cy="2471134"/>
            <a:chOff x="4816307" y="3182949"/>
            <a:chExt cx="2822965" cy="2471134"/>
          </a:xfrm>
        </p:grpSpPr>
        <p:sp>
          <p:nvSpPr>
            <p:cNvPr id="19" name="Rounded Rectangle 18">
              <a:extLst>
                <a:ext uri="{FF2B5EF4-FFF2-40B4-BE49-F238E27FC236}">
                  <a16:creationId xmlns:a16="http://schemas.microsoft.com/office/drawing/2014/main" id="{D012A01E-FC16-2C47-9E7E-CC31B94671A2}"/>
                </a:ext>
              </a:extLst>
            </p:cNvPr>
            <p:cNvSpPr/>
            <p:nvPr/>
          </p:nvSpPr>
          <p:spPr>
            <a:xfrm rot="2700000">
              <a:off x="6494527" y="3846144"/>
              <a:ext cx="1144745" cy="1144745"/>
            </a:xfrm>
            <a:prstGeom prst="roundRect">
              <a:avLst>
                <a:gd name="adj" fmla="val 6911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s"/>
            </a:p>
          </p:txBody>
        </p:sp>
        <p:sp>
          <p:nvSpPr>
            <p:cNvPr id="20" name="Rounded Rectangle 19">
              <a:extLst>
                <a:ext uri="{FF2B5EF4-FFF2-40B4-BE49-F238E27FC236}">
                  <a16:creationId xmlns:a16="http://schemas.microsoft.com/office/drawing/2014/main" id="{EA833659-F843-534A-B7A6-F4269FF96EF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16307" y="3182949"/>
              <a:ext cx="2553048" cy="2471134"/>
            </a:xfrm>
            <a:prstGeom prst="roundRect">
              <a:avLst>
                <a:gd name="adj" fmla="val 4537"/>
              </a:avLst>
            </a:prstGeom>
            <a:solidFill>
              <a:schemeClr val="accent5"/>
            </a:solidFill>
            <a:ln w="25400">
              <a:solidFill>
                <a:schemeClr val="accent5"/>
              </a:solidFill>
            </a:ln>
          </p:spPr>
          <p:txBody>
            <a:bodyPr wrap="square" anchor="ctr">
              <a:noAutofit/>
            </a:bodyPr>
            <a:lstStyle/>
            <a:p>
              <a:pPr algn="ctr" rtl="0"/>
              <a:r>
                <a:rPr lang="es" sz="2000" b="0" i="0" u="none" baseline="0">
                  <a:solidFill>
                    <a:schemeClr val="bg1"/>
                  </a:solidFill>
                </a:rPr>
                <a:t>Ese valor significa</a:t>
              </a:r>
              <a:br>
                <a:rPr lang="es" sz="2000">
                  <a:solidFill>
                    <a:schemeClr val="bg1"/>
                  </a:solidFill>
                </a:rPr>
              </a:br>
              <a:r>
                <a:rPr lang="es" sz="2000" b="1" i="0" u="none" baseline="0">
                  <a:solidFill>
                    <a:schemeClr val="bg1"/>
                  </a:solidFill>
                </a:rPr>
                <a:t>soluciones de alta calidad y</a:t>
              </a:r>
              <a:br>
                <a:rPr lang="es" sz="2000" b="1">
                  <a:solidFill>
                    <a:schemeClr val="bg1"/>
                  </a:solidFill>
                </a:rPr>
              </a:br>
              <a:r>
                <a:rPr lang="es" sz="2000" b="1" i="0" u="none" baseline="0">
                  <a:solidFill>
                    <a:schemeClr val="bg1"/>
                  </a:solidFill>
                </a:rPr>
                <a:t>bien diseñadas para brindar una mayor productividad </a:t>
              </a:r>
            </a:p>
          </p:txBody>
        </p:sp>
      </p:grp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EC4E6E4E-E17A-F045-9E4D-1AB7102C883A}"/>
              </a:ext>
            </a:extLst>
          </p:cNvPr>
          <p:cNvSpPr>
            <a:spLocks noChangeAspect="1"/>
          </p:cNvSpPr>
          <p:nvPr/>
        </p:nvSpPr>
        <p:spPr>
          <a:xfrm>
            <a:off x="8020198" y="3182949"/>
            <a:ext cx="2553048" cy="2471134"/>
          </a:xfrm>
          <a:prstGeom prst="roundRect">
            <a:avLst>
              <a:gd name="adj" fmla="val 4537"/>
            </a:avLst>
          </a:prstGeom>
          <a:solidFill>
            <a:schemeClr val="bg2"/>
          </a:solidFill>
          <a:ln w="25400">
            <a:solidFill>
              <a:schemeClr val="accent1"/>
            </a:solidFill>
          </a:ln>
        </p:spPr>
        <p:txBody>
          <a:bodyPr wrap="square" anchor="ctr">
            <a:noAutofit/>
          </a:bodyPr>
          <a:lstStyle/>
          <a:p>
            <a:pPr algn="ctr" rtl="0"/>
            <a:r>
              <a:rPr lang="es" sz="2000" b="0" i="0" u="none" baseline="0">
                <a:solidFill>
                  <a:schemeClr val="bg1"/>
                </a:solidFill>
              </a:rPr>
              <a:t>Quality by Design</a:t>
            </a:r>
            <a:br>
              <a:rPr lang="es" sz="2000">
                <a:solidFill>
                  <a:schemeClr val="bg1"/>
                </a:solidFill>
              </a:rPr>
            </a:br>
            <a:r>
              <a:rPr lang="es" sz="2000" b="0" i="0" u="none" baseline="0">
                <a:solidFill>
                  <a:schemeClr val="bg1"/>
                </a:solidFill>
              </a:rPr>
              <a:t>es un </a:t>
            </a:r>
            <a:r>
              <a:rPr lang="es" sz="2000" b="1" i="0" u="none" baseline="0">
                <a:solidFill>
                  <a:schemeClr val="bg1"/>
                </a:solidFill>
              </a:rPr>
              <a:t>valor sólido y defendible </a:t>
            </a:r>
            <a:r>
              <a:rPr lang="es" sz="2000" b="0" i="0" u="none" baseline="0">
                <a:solidFill>
                  <a:schemeClr val="bg1"/>
                </a:solidFill>
              </a:rPr>
              <a:t>que diferencia a Genie de la competencia </a:t>
            </a:r>
          </a:p>
        </p:txBody>
      </p:sp>
    </p:spTree>
    <p:extLst>
      <p:ext uri="{BB962C8B-B14F-4D97-AF65-F5344CB8AC3E}">
        <p14:creationId xmlns:p14="http://schemas.microsoft.com/office/powerpoint/2010/main" val="22479674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52079A7-A6CE-0846-A796-EC1D98D36C52}"/>
              </a:ext>
            </a:extLst>
          </p:cNvPr>
          <p:cNvSpPr txBox="1"/>
          <p:nvPr/>
        </p:nvSpPr>
        <p:spPr>
          <a:xfrm>
            <a:off x="3839046" y="2989088"/>
            <a:ext cx="7755075" cy="2419945"/>
          </a:xfrm>
          <a:prstGeom prst="roundRect">
            <a:avLst>
              <a:gd name="adj" fmla="val 9208"/>
            </a:avLst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574675" indent="-574675" algn="l" rtl="0">
              <a:buClr>
                <a:schemeClr val="bg2"/>
              </a:buClr>
              <a:buSzPct val="100000"/>
              <a:buFont typeface="+mj-lt"/>
              <a:buAutoNum type="arabicPeriod"/>
            </a:pPr>
            <a:r>
              <a:rPr lang="es" sz="3000" b="1" i="0" u="none" baseline="0" dirty="0">
                <a:solidFill>
                  <a:schemeClr val="bg2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Calidad</a:t>
            </a:r>
            <a:r>
              <a:rPr lang="es" sz="3000" b="1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 en la ingeniería</a:t>
            </a:r>
          </a:p>
          <a:p>
            <a:pPr marL="574675" indent="-574675" algn="l" rtl="0">
              <a:buClr>
                <a:schemeClr val="bg2"/>
              </a:buClr>
              <a:buSzPct val="100000"/>
              <a:buFont typeface="+mj-lt"/>
              <a:buAutoNum type="arabicPeriod"/>
            </a:pPr>
            <a:r>
              <a:rPr lang="es" sz="3000" b="1" i="0" u="none" baseline="0" dirty="0">
                <a:solidFill>
                  <a:schemeClr val="bg2"/>
                </a:solidFill>
              </a:rPr>
              <a:t>Calidad</a:t>
            </a:r>
            <a:r>
              <a:rPr lang="es" sz="3000" b="1" i="0" u="none" baseline="0" dirty="0">
                <a:solidFill>
                  <a:schemeClr val="accent3">
                    <a:lumMod val="50000"/>
                  </a:schemeClr>
                </a:solidFill>
              </a:rPr>
              <a:t> en la fabricación</a:t>
            </a:r>
          </a:p>
          <a:p>
            <a:pPr marL="574675" indent="-574675" algn="l" rtl="0">
              <a:buClr>
                <a:schemeClr val="bg2"/>
              </a:buClr>
              <a:buSzPct val="100000"/>
              <a:buFont typeface="+mj-lt"/>
              <a:buAutoNum type="arabicPeriod"/>
            </a:pPr>
            <a:r>
              <a:rPr lang="es" sz="3000" b="1" i="0" u="none" baseline="0" dirty="0">
                <a:solidFill>
                  <a:schemeClr val="bg2"/>
                </a:solidFill>
              </a:rPr>
              <a:t>Calidad</a:t>
            </a:r>
            <a:r>
              <a:rPr lang="es" sz="3000" b="1" i="0" u="none" baseline="0" dirty="0">
                <a:solidFill>
                  <a:schemeClr val="accent3">
                    <a:lumMod val="50000"/>
                  </a:schemeClr>
                </a:solidFill>
              </a:rPr>
              <a:t> en los productos</a:t>
            </a:r>
          </a:p>
          <a:p>
            <a:pPr marL="574675" indent="-574675" algn="l" rtl="0">
              <a:buClr>
                <a:schemeClr val="bg2"/>
              </a:buClr>
              <a:buSzPct val="100000"/>
              <a:buFont typeface="+mj-lt"/>
              <a:buAutoNum type="arabicPeriod"/>
            </a:pPr>
            <a:r>
              <a:rPr lang="es" sz="3000" b="1" i="0" u="none" baseline="0" dirty="0">
                <a:solidFill>
                  <a:schemeClr val="bg2"/>
                </a:solidFill>
              </a:rPr>
              <a:t>Calidad</a:t>
            </a:r>
            <a:r>
              <a:rPr lang="es" sz="3000" b="1" i="0" u="none" baseline="0" dirty="0">
                <a:solidFill>
                  <a:schemeClr val="accent3">
                    <a:lumMod val="50000"/>
                  </a:schemeClr>
                </a:solidFill>
              </a:rPr>
              <a:t> en RR.HH.</a:t>
            </a:r>
          </a:p>
          <a:p>
            <a:pPr marL="574675" indent="-574675" algn="l" rtl="0">
              <a:buClr>
                <a:schemeClr val="bg2"/>
              </a:buClr>
              <a:buSzPct val="100000"/>
              <a:buFont typeface="+mj-lt"/>
              <a:buAutoNum type="arabicPeriod"/>
            </a:pPr>
            <a:r>
              <a:rPr lang="es" sz="3000" b="1" i="0" u="none" baseline="0" dirty="0">
                <a:solidFill>
                  <a:schemeClr val="bg2"/>
                </a:solidFill>
              </a:rPr>
              <a:t>Calidad</a:t>
            </a:r>
            <a:r>
              <a:rPr lang="es" sz="3000" b="1" i="0" u="none" baseline="0" dirty="0">
                <a:solidFill>
                  <a:schemeClr val="accent3">
                    <a:lumMod val="50000"/>
                  </a:schemeClr>
                </a:solidFill>
              </a:rPr>
              <a:t> en el desarrollo talento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4AD1D2F-3719-4B1B-B819-9B24C12F82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9" y="260761"/>
            <a:ext cx="11841481" cy="640080"/>
          </a:xfrm>
        </p:spPr>
        <p:txBody>
          <a:bodyPr lIns="0" tIns="0" rIns="0" bIns="0">
            <a:normAutofit/>
          </a:bodyPr>
          <a:lstStyle/>
          <a:p>
            <a:pPr algn="l" rtl="0"/>
            <a:r>
              <a:rPr lang="es" b="1" i="0" u="none" baseline="0"/>
              <a:t>Quality By Design en todo lo que Genie hac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ED27597-0C0A-9E4B-BB92-CC9C8AA5A9EB}"/>
              </a:ext>
            </a:extLst>
          </p:cNvPr>
          <p:cNvGrpSpPr>
            <a:grpSpLocks noChangeAspect="1"/>
          </p:cNvGrpSpPr>
          <p:nvPr/>
        </p:nvGrpSpPr>
        <p:grpSpPr>
          <a:xfrm>
            <a:off x="350520" y="1270492"/>
            <a:ext cx="6663190" cy="1603337"/>
            <a:chOff x="342900" y="2340454"/>
            <a:chExt cx="5859778" cy="1410015"/>
          </a:xfrm>
          <a:effectLst>
            <a:outerShdw blurRad="50800" dist="50800" dir="5400000" sx="1000" sy="1000" algn="ctr" rotWithShape="0">
              <a:srgbClr val="000000">
                <a:alpha val="43137"/>
              </a:srgbClr>
            </a:outerShdw>
          </a:effectLst>
        </p:grpSpPr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D51EAF89-206F-B64F-A7D3-3E0E565ECBED}"/>
                </a:ext>
              </a:extLst>
            </p:cNvPr>
            <p:cNvSpPr/>
            <p:nvPr/>
          </p:nvSpPr>
          <p:spPr>
            <a:xfrm>
              <a:off x="342900" y="2340454"/>
              <a:ext cx="5859778" cy="141001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50800" dir="5400000" sx="1000" sy="1000" algn="ctr" rotWithShape="0">
                <a:srgbClr val="000000">
                  <a:alpha val="43137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3" name="Picture 12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BE6F11A2-01BB-DA49-B666-44600E98BC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8507" y="2483107"/>
              <a:ext cx="5108968" cy="1062379"/>
            </a:xfrm>
            <a:prstGeom prst="rect">
              <a:avLst/>
            </a:prstGeom>
          </p:spPr>
        </p:pic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E93E2FA-D967-E24A-A2D3-8A43F6A82480}"/>
              </a:ext>
            </a:extLst>
          </p:cNvPr>
          <p:cNvCxnSpPr/>
          <p:nvPr/>
        </p:nvCxnSpPr>
        <p:spPr>
          <a:xfrm flipH="1">
            <a:off x="2046514" y="3341914"/>
            <a:ext cx="157481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2C2CEEE-07AD-0E46-A715-B16029D1BAAC}"/>
              </a:ext>
            </a:extLst>
          </p:cNvPr>
          <p:cNvCxnSpPr/>
          <p:nvPr/>
        </p:nvCxnSpPr>
        <p:spPr>
          <a:xfrm flipH="1">
            <a:off x="2046514" y="3894364"/>
            <a:ext cx="157481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ECCFC14-73FC-0E4B-AB66-0BC4EB23CB42}"/>
              </a:ext>
            </a:extLst>
          </p:cNvPr>
          <p:cNvCxnSpPr/>
          <p:nvPr/>
        </p:nvCxnSpPr>
        <p:spPr>
          <a:xfrm flipH="1">
            <a:off x="2046514" y="5551715"/>
            <a:ext cx="157481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B15D68A-1F0C-814D-B6DA-DCB7DD81B36B}"/>
              </a:ext>
            </a:extLst>
          </p:cNvPr>
          <p:cNvCxnSpPr/>
          <p:nvPr/>
        </p:nvCxnSpPr>
        <p:spPr>
          <a:xfrm flipH="1">
            <a:off x="2046514" y="4999264"/>
            <a:ext cx="157481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7487FB4-9E1D-8640-914E-1B175124326B}"/>
              </a:ext>
            </a:extLst>
          </p:cNvPr>
          <p:cNvCxnSpPr/>
          <p:nvPr/>
        </p:nvCxnSpPr>
        <p:spPr>
          <a:xfrm flipH="1">
            <a:off x="2046514" y="4446814"/>
            <a:ext cx="157481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4FBA57B-809D-EA45-AA52-5CE7FBEF95AE}"/>
              </a:ext>
            </a:extLst>
          </p:cNvPr>
          <p:cNvCxnSpPr>
            <a:cxnSpLocks/>
          </p:cNvCxnSpPr>
          <p:nvPr/>
        </p:nvCxnSpPr>
        <p:spPr>
          <a:xfrm flipV="1">
            <a:off x="2046514" y="2873830"/>
            <a:ext cx="0" cy="267788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64346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es" sz="3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8CE5216-3858-2640-9B33-54A11CE5AEB5}"/>
              </a:ext>
            </a:extLst>
          </p:cNvPr>
          <p:cNvSpPr/>
          <p:nvPr/>
        </p:nvSpPr>
        <p:spPr>
          <a:xfrm>
            <a:off x="527796" y="306053"/>
            <a:ext cx="939499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l" rtl="0">
              <a:spcBef>
                <a:spcPts val="300"/>
              </a:spcBef>
              <a:defRPr/>
            </a:pPr>
            <a:r>
              <a:rPr lang="es" sz="3600" b="1" i="0" u="none" baseline="0">
                <a:solidFill>
                  <a:schemeClr val="bg2"/>
                </a:solidFill>
              </a:rPr>
              <a:t>CALIDAD EN LA INGENIERÍA</a:t>
            </a:r>
            <a:endParaRPr kumimoji="0" lang="es" sz="36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309F6C7-60D1-744B-815C-2744990A8DA9}"/>
              </a:ext>
            </a:extLst>
          </p:cNvPr>
          <p:cNvSpPr/>
          <p:nvPr/>
        </p:nvSpPr>
        <p:spPr>
          <a:xfrm>
            <a:off x="526481" y="976933"/>
            <a:ext cx="8278848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/>
            <a:r>
              <a:rPr lang="es" sz="2400" b="1" i="1" u="none" baseline="0">
                <a:solidFill>
                  <a:schemeClr val="accent2"/>
                </a:solidFill>
              </a:rPr>
              <a:t>Calidad en innovación, ingeniería y VAVE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6DB4F83C-5A01-5E48-8475-B99138EA87BC}"/>
              </a:ext>
            </a:extLst>
          </p:cNvPr>
          <p:cNvCxnSpPr>
            <a:cxnSpLocks/>
          </p:cNvCxnSpPr>
          <p:nvPr/>
        </p:nvCxnSpPr>
        <p:spPr>
          <a:xfrm>
            <a:off x="360833" y="0"/>
            <a:ext cx="0" cy="1267830"/>
          </a:xfrm>
          <a:prstGeom prst="line">
            <a:avLst/>
          </a:prstGeom>
          <a:ln w="152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64053ED2-7A7C-044C-8A3C-5F978552A2FE}"/>
              </a:ext>
            </a:extLst>
          </p:cNvPr>
          <p:cNvSpPr txBox="1">
            <a:spLocks/>
          </p:cNvSpPr>
          <p:nvPr/>
        </p:nvSpPr>
        <p:spPr>
          <a:xfrm>
            <a:off x="297775" y="3412902"/>
            <a:ext cx="5596788" cy="2625433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buClr>
                <a:schemeClr val="bg2"/>
              </a:buClr>
            </a:pPr>
            <a:r>
              <a:rPr lang="es" sz="2400" b="1" i="0" u="none" baseline="0">
                <a:solidFill>
                  <a:schemeClr val="bg2"/>
                </a:solidFill>
              </a:rPr>
              <a:t>Nuestras prioridades de ingeniería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es" sz="1600" b="1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Comprender las necesidades del cliente</a:t>
            </a:r>
            <a:r>
              <a:rPr lang="es" sz="1600" b="0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 para un diseño centrado en el usuario que resuelva problemas </a:t>
            </a:r>
            <a:r>
              <a:rPr lang="es" sz="1600" b="1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reales e importantes</a:t>
            </a:r>
            <a:r>
              <a:rPr lang="es" sz="1600" b="0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 del cliente.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es" sz="1600" b="0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Desarrollar productos y servicios que sean fundamentalmente de </a:t>
            </a:r>
            <a:r>
              <a:rPr lang="es" sz="1600" b="1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alto uso y, por tanto, de alto valor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es" sz="1600" b="0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Identificar áreas de costes y eliminarlas mediante la </a:t>
            </a:r>
            <a:r>
              <a:rPr lang="es" sz="1600" b="1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solución creativa de problemas y el razonamiento VAVE</a:t>
            </a:r>
            <a:r>
              <a:rPr lang="es" sz="1600" b="0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endParaRPr lang="e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F5A86563-2AB0-8A49-BDAE-C628FBD7E9B4}"/>
              </a:ext>
            </a:extLst>
          </p:cNvPr>
          <p:cNvGrpSpPr>
            <a:grpSpLocks noChangeAspect="1"/>
          </p:cNvGrpSpPr>
          <p:nvPr/>
        </p:nvGrpSpPr>
        <p:grpSpPr>
          <a:xfrm>
            <a:off x="6515111" y="458453"/>
            <a:ext cx="5400000" cy="5400000"/>
            <a:chOff x="6228319" y="306053"/>
            <a:chExt cx="5602848" cy="5602848"/>
          </a:xfrm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79C04F3A-855E-6849-8535-A00E2A40C542}"/>
                </a:ext>
              </a:extLst>
            </p:cNvPr>
            <p:cNvGrpSpPr/>
            <p:nvPr/>
          </p:nvGrpSpPr>
          <p:grpSpPr>
            <a:xfrm>
              <a:off x="6228319" y="306053"/>
              <a:ext cx="5602848" cy="5602848"/>
              <a:chOff x="2488831" y="448219"/>
              <a:chExt cx="6065659" cy="6065659"/>
            </a:xfrm>
          </p:grpSpPr>
          <p:pic>
            <p:nvPicPr>
              <p:cNvPr id="69" name="Picture 68">
                <a:extLst>
                  <a:ext uri="{FF2B5EF4-FFF2-40B4-BE49-F238E27FC236}">
                    <a16:creationId xmlns:a16="http://schemas.microsoft.com/office/drawing/2014/main" id="{29578984-7041-E64B-A47A-3EE5EA043D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 rot="3217091">
                <a:off x="2488831" y="448219"/>
                <a:ext cx="6065659" cy="6065659"/>
              </a:xfrm>
              <a:prstGeom prst="rect">
                <a:avLst/>
              </a:prstGeom>
            </p:spPr>
          </p:pic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60584B3C-93FF-4143-8237-631516FA81B0}"/>
                  </a:ext>
                </a:extLst>
              </p:cNvPr>
              <p:cNvGrpSpPr/>
              <p:nvPr/>
            </p:nvGrpSpPr>
            <p:grpSpPr>
              <a:xfrm>
                <a:off x="3894712" y="5305890"/>
                <a:ext cx="1296878" cy="690834"/>
                <a:chOff x="3894712" y="5305890"/>
                <a:chExt cx="1296878" cy="690834"/>
              </a:xfrm>
            </p:grpSpPr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7FBEA85D-4DF6-514C-B8B8-82E42C756C6E}"/>
                    </a:ext>
                  </a:extLst>
                </p:cNvPr>
                <p:cNvSpPr/>
                <p:nvPr/>
              </p:nvSpPr>
              <p:spPr>
                <a:xfrm>
                  <a:off x="3894712" y="5305890"/>
                  <a:ext cx="1296878" cy="317500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" sz="1800" b="1" i="0" u="none" strike="noStrike" kern="0" cap="none" spc="0" normalizeH="0" baseline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Arial" panose="020B0604020202020204" pitchFamily="34" charset="0"/>
                    </a:rPr>
                    <a:t>CRECER</a:t>
                  </a:r>
                </a:p>
              </p:txBody>
            </p:sp>
            <p:pic>
              <p:nvPicPr>
                <p:cNvPr id="82" name="Picture 81">
                  <a:extLst>
                    <a:ext uri="{FF2B5EF4-FFF2-40B4-BE49-F238E27FC236}">
                      <a16:creationId xmlns:a16="http://schemas.microsoft.com/office/drawing/2014/main" id="{43923866-8AAD-EC49-A308-C46F982FF06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 rot="5400000">
                  <a:off x="4624804" y="5653824"/>
                  <a:ext cx="317500" cy="368300"/>
                </a:xfrm>
                <a:prstGeom prst="rect">
                  <a:avLst/>
                </a:prstGeom>
              </p:spPr>
            </p:pic>
          </p:grp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E48AAD16-95F2-454F-9D86-0BD281EA1868}"/>
                  </a:ext>
                </a:extLst>
              </p:cNvPr>
              <p:cNvGrpSpPr/>
              <p:nvPr/>
            </p:nvGrpSpPr>
            <p:grpSpPr>
              <a:xfrm>
                <a:off x="3578058" y="763867"/>
                <a:ext cx="3957435" cy="1489524"/>
                <a:chOff x="3578058" y="763867"/>
                <a:chExt cx="3957435" cy="1489524"/>
              </a:xfrm>
            </p:grpSpPr>
            <p:pic>
              <p:nvPicPr>
                <p:cNvPr id="77" name="Picture 76">
                  <a:extLst>
                    <a:ext uri="{FF2B5EF4-FFF2-40B4-BE49-F238E27FC236}">
                      <a16:creationId xmlns:a16="http://schemas.microsoft.com/office/drawing/2014/main" id="{5B549BA4-2489-DB4A-AF67-935E41254D2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 rot="16200000">
                  <a:off x="3653090" y="1368357"/>
                  <a:ext cx="317500" cy="368300"/>
                </a:xfrm>
                <a:prstGeom prst="rect">
                  <a:avLst/>
                </a:prstGeom>
              </p:spPr>
            </p:pic>
            <p:sp>
              <p:nvSpPr>
                <p:cNvPr id="78" name="Rectangle 77">
                  <a:extLst>
                    <a:ext uri="{FF2B5EF4-FFF2-40B4-BE49-F238E27FC236}">
                      <a16:creationId xmlns:a16="http://schemas.microsoft.com/office/drawing/2014/main" id="{D1CB6B14-C30D-4B47-ACF3-067EBD853FBF}"/>
                    </a:ext>
                  </a:extLst>
                </p:cNvPr>
                <p:cNvSpPr/>
                <p:nvPr/>
              </p:nvSpPr>
              <p:spPr>
                <a:xfrm>
                  <a:off x="4599403" y="763867"/>
                  <a:ext cx="1635525" cy="1164283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s" sz="1600" b="1" i="0" u="none" kern="0" baseline="0">
                      <a:solidFill>
                        <a:prstClr val="white"/>
                      </a:solidFill>
                      <a:latin typeface="Arial Narrow" panose="020B0604020202020204" pitchFamily="34" charset="0"/>
                      <a:ea typeface="Arial Narrow" panose="020B0604020202020204" pitchFamily="34" charset="0"/>
                      <a:cs typeface="Arial Narrow" panose="020B0604020202020204" pitchFamily="34" charset="0"/>
                      <a:sym typeface="Arial Narrow" panose="020B0604020202020204" pitchFamily="34" charset="0"/>
                    </a:rPr>
                    <a:t>Mejora la productividad</a:t>
                  </a:r>
                  <a:endParaRPr kumimoji="0" lang="es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endParaRPr>
                </a:p>
                <a:p>
                  <a:pPr marL="7938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79" name="Rectangle 78">
                  <a:extLst>
                    <a:ext uri="{FF2B5EF4-FFF2-40B4-BE49-F238E27FC236}">
                      <a16:creationId xmlns:a16="http://schemas.microsoft.com/office/drawing/2014/main" id="{D5FB16EC-14D5-0A48-8CBD-AD8C0E8A8D8F}"/>
                    </a:ext>
                  </a:extLst>
                </p:cNvPr>
                <p:cNvSpPr/>
                <p:nvPr/>
              </p:nvSpPr>
              <p:spPr>
                <a:xfrm>
                  <a:off x="6110753" y="1488773"/>
                  <a:ext cx="1424740" cy="764618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s" sz="1600" b="1" i="0" u="none" kern="0" baseline="0">
                      <a:solidFill>
                        <a:prstClr val="white"/>
                      </a:solidFill>
                      <a:latin typeface="Arial Narrow" panose="020B0604020202020204" pitchFamily="34" charset="0"/>
                      <a:ea typeface="Arial Narrow" panose="020B0604020202020204" pitchFamily="34" charset="0"/>
                      <a:cs typeface="Arial Narrow" panose="020B0604020202020204" pitchFamily="34" charset="0"/>
                      <a:sym typeface="Arial Narrow" panose="020B0604020202020204" pitchFamily="34" charset="0"/>
                    </a:rPr>
                    <a:t>Mejora el proceso de NPD</a:t>
                  </a:r>
                  <a:endParaRPr kumimoji="0" lang="es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endParaRPr>
                </a:p>
                <a:p>
                  <a:pPr marL="7938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80" name="Rectangle 79">
                  <a:extLst>
                    <a:ext uri="{FF2B5EF4-FFF2-40B4-BE49-F238E27FC236}">
                      <a16:creationId xmlns:a16="http://schemas.microsoft.com/office/drawing/2014/main" id="{E741E628-DDEC-5649-A83B-01238E99BE7F}"/>
                    </a:ext>
                  </a:extLst>
                </p:cNvPr>
                <p:cNvSpPr/>
                <p:nvPr/>
              </p:nvSpPr>
              <p:spPr>
                <a:xfrm>
                  <a:off x="3578058" y="1725458"/>
                  <a:ext cx="1692539" cy="288096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l" defTabSz="914400" rtl="0" eaLnBrk="1" fontAlgn="auto" latinLnBrk="0" hangingPunct="1">
                    <a:lnSpc>
                      <a:spcPts val="2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" sz="1800" b="1" i="0" u="none" strike="noStrike" kern="0" cap="none" spc="0" normalizeH="0" baseline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EJECUTAR</a:t>
                  </a:r>
                </a:p>
              </p:txBody>
            </p:sp>
          </p:grp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6C5A2C21-0328-6C42-80AC-EAC84E4F08AB}"/>
                  </a:ext>
                </a:extLst>
              </p:cNvPr>
              <p:cNvGrpSpPr/>
              <p:nvPr/>
            </p:nvGrpSpPr>
            <p:grpSpPr>
              <a:xfrm>
                <a:off x="6894162" y="2323051"/>
                <a:ext cx="1573868" cy="2213893"/>
                <a:chOff x="6894162" y="2323051"/>
                <a:chExt cx="1573868" cy="2213893"/>
              </a:xfrm>
            </p:grpSpPr>
            <p:pic>
              <p:nvPicPr>
                <p:cNvPr id="73" name="Picture 72">
                  <a:extLst>
                    <a:ext uri="{FF2B5EF4-FFF2-40B4-BE49-F238E27FC236}">
                      <a16:creationId xmlns:a16="http://schemas.microsoft.com/office/drawing/2014/main" id="{99C7E5EB-BA13-2D43-BE66-98C64985F02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7875390" y="2323051"/>
                  <a:ext cx="317500" cy="368300"/>
                </a:xfrm>
                <a:prstGeom prst="rect">
                  <a:avLst/>
                </a:prstGeom>
              </p:spPr>
            </p:pic>
            <p:sp>
              <p:nvSpPr>
                <p:cNvPr id="74" name="Rectangle 73">
                  <a:extLst>
                    <a:ext uri="{FF2B5EF4-FFF2-40B4-BE49-F238E27FC236}">
                      <a16:creationId xmlns:a16="http://schemas.microsoft.com/office/drawing/2014/main" id="{902A6D8E-27F6-F24A-83F0-5D61013B30B8}"/>
                    </a:ext>
                  </a:extLst>
                </p:cNvPr>
                <p:cNvSpPr/>
                <p:nvPr/>
              </p:nvSpPr>
              <p:spPr>
                <a:xfrm>
                  <a:off x="7082609" y="3317926"/>
                  <a:ext cx="1385421" cy="1219018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s" sz="1600" b="1" i="0" u="none" kern="0" baseline="0">
                      <a:solidFill>
                        <a:prstClr val="white"/>
                      </a:solidFill>
                      <a:latin typeface="Arial Narrow" panose="020B0604020202020204" pitchFamily="34" charset="0"/>
                      <a:ea typeface="Arial Narrow" panose="020B0604020202020204" pitchFamily="34" charset="0"/>
                      <a:cs typeface="Arial Narrow" panose="020B0604020202020204" pitchFamily="34" charset="0"/>
                      <a:sym typeface="Arial Narrow" panose="020B0604020202020204" pitchFamily="34" charset="0"/>
                    </a:rPr>
                    <a:t>Menores costes y plazos de entrega</a:t>
                  </a:r>
                  <a:endParaRPr kumimoji="0" lang="es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76" name="Rectangle 75">
                  <a:extLst>
                    <a:ext uri="{FF2B5EF4-FFF2-40B4-BE49-F238E27FC236}">
                      <a16:creationId xmlns:a16="http://schemas.microsoft.com/office/drawing/2014/main" id="{39BFFD91-E757-7A48-95EB-9020A8F2B0B2}"/>
                    </a:ext>
                  </a:extLst>
                </p:cNvPr>
                <p:cNvSpPr/>
                <p:nvPr/>
              </p:nvSpPr>
              <p:spPr>
                <a:xfrm>
                  <a:off x="6894162" y="2799913"/>
                  <a:ext cx="1424740" cy="276999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" sz="1800" b="1" i="0" u="none" strike="noStrike" kern="0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Arial" panose="020B0604020202020204" pitchFamily="34" charset="0"/>
                    </a:rPr>
                    <a:t>INNOVAR</a:t>
                  </a:r>
                </a:p>
              </p:txBody>
            </p:sp>
          </p:grpSp>
        </p:grpSp>
        <p:pic>
          <p:nvPicPr>
            <p:cNvPr id="68" name="Picture 67" descr="A close up of a logo&#10;&#10;Description automatically generated">
              <a:extLst>
                <a:ext uri="{FF2B5EF4-FFF2-40B4-BE49-F238E27FC236}">
                  <a16:creationId xmlns:a16="http://schemas.microsoft.com/office/drawing/2014/main" id="{2B3A824F-748D-F843-A853-6E324A1A4B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938424" y="2552049"/>
              <a:ext cx="2182640" cy="1110858"/>
            </a:xfrm>
            <a:prstGeom prst="rect">
              <a:avLst/>
            </a:prstGeom>
          </p:spPr>
        </p:pic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172C3AB3-CCC5-46CC-89AE-08757C4B7C51}"/>
              </a:ext>
            </a:extLst>
          </p:cNvPr>
          <p:cNvSpPr/>
          <p:nvPr/>
        </p:nvSpPr>
        <p:spPr>
          <a:xfrm>
            <a:off x="9755186" y="4540935"/>
            <a:ext cx="1233382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s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Aumentar la diferenciación</a:t>
            </a:r>
            <a:endParaRPr kumimoji="0" lang="e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FA23F42-C60F-4D15-8950-D44C05848080}"/>
              </a:ext>
            </a:extLst>
          </p:cNvPr>
          <p:cNvSpPr/>
          <p:nvPr/>
        </p:nvSpPr>
        <p:spPr>
          <a:xfrm>
            <a:off x="7076239" y="3980450"/>
            <a:ext cx="1233382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s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Mejor calidad y margen</a:t>
            </a:r>
            <a:endParaRPr lang="es" sz="1000" b="1" kern="0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32AD1A6-313E-4FB6-B49A-3F7091B17107}"/>
              </a:ext>
            </a:extLst>
          </p:cNvPr>
          <p:cNvSpPr/>
          <p:nvPr/>
        </p:nvSpPr>
        <p:spPr>
          <a:xfrm>
            <a:off x="6876484" y="2675367"/>
            <a:ext cx="1233382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s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Más cuota de mercado</a:t>
            </a:r>
            <a:endParaRPr kumimoji="0" lang="e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651072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es" sz="3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F30278A-4DE1-8D46-8B1A-E178A2CC186B}"/>
              </a:ext>
            </a:extLst>
          </p:cNvPr>
          <p:cNvCxnSpPr>
            <a:cxnSpLocks/>
          </p:cNvCxnSpPr>
          <p:nvPr/>
        </p:nvCxnSpPr>
        <p:spPr>
          <a:xfrm>
            <a:off x="360833" y="0"/>
            <a:ext cx="0" cy="1631607"/>
          </a:xfrm>
          <a:prstGeom prst="line">
            <a:avLst/>
          </a:prstGeom>
          <a:ln w="152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46CCDCBB-37D9-FC4A-9859-80E40FC753D7}"/>
              </a:ext>
            </a:extLst>
          </p:cNvPr>
          <p:cNvSpPr/>
          <p:nvPr/>
        </p:nvSpPr>
        <p:spPr>
          <a:xfrm>
            <a:off x="527796" y="306053"/>
            <a:ext cx="939499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l" rtl="0">
              <a:spcBef>
                <a:spcPts val="300"/>
              </a:spcBef>
              <a:defRPr/>
            </a:pPr>
            <a:r>
              <a:rPr lang="es" sz="3600" b="1" i="0" u="none" baseline="0">
                <a:solidFill>
                  <a:schemeClr val="bg2"/>
                </a:solidFill>
              </a:rPr>
              <a:t>CALIDAD EN LA FABRICACIÓ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29FDA06-DC09-BF4F-8614-088DC28ADC5C}"/>
              </a:ext>
            </a:extLst>
          </p:cNvPr>
          <p:cNvSpPr/>
          <p:nvPr/>
        </p:nvSpPr>
        <p:spPr>
          <a:xfrm>
            <a:off x="526481" y="976933"/>
            <a:ext cx="8278848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/>
            <a:r>
              <a:rPr lang="es" sz="2400" b="1" i="1" u="none" baseline="0">
                <a:solidFill>
                  <a:schemeClr val="accent2"/>
                </a:solidFill>
              </a:rPr>
              <a:t>Calidad en la planificación, </a:t>
            </a:r>
            <a:br>
              <a:rPr lang="es" sz="2400" b="1" i="1">
                <a:solidFill>
                  <a:schemeClr val="accent2"/>
                </a:solidFill>
              </a:rPr>
            </a:br>
            <a:r>
              <a:rPr lang="es" sz="2400" b="1" i="1" u="none" baseline="0">
                <a:solidFill>
                  <a:schemeClr val="accent2"/>
                </a:solidFill>
              </a:rPr>
              <a:t>los procesos y las persona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DA3723D8-663D-5741-B7B3-BC665E67A455}"/>
              </a:ext>
            </a:extLst>
          </p:cNvPr>
          <p:cNvSpPr txBox="1">
            <a:spLocks/>
          </p:cNvSpPr>
          <p:nvPr/>
        </p:nvSpPr>
        <p:spPr>
          <a:xfrm>
            <a:off x="297775" y="3568013"/>
            <a:ext cx="5642486" cy="2625433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buClr>
                <a:schemeClr val="bg2"/>
              </a:buClr>
            </a:pPr>
            <a:r>
              <a:rPr lang="es" sz="2400" b="1" i="0" u="none" baseline="0">
                <a:solidFill>
                  <a:schemeClr val="bg2"/>
                </a:solidFill>
              </a:rPr>
              <a:t>Nuestras prioridades de fabricación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es" sz="1600" b="1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Mejora</a:t>
            </a:r>
            <a:r>
              <a:rPr lang="es" sz="1600" b="0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 de los sistemas de gestión de la calidad y SIOP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es" sz="1600" b="1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Mejora</a:t>
            </a:r>
            <a:r>
              <a:rPr lang="es" sz="1600" b="0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 de los informes financieros, las previsiones y la </a:t>
            </a:r>
            <a:r>
              <a:rPr lang="es" sz="1600" b="1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velocidad del ciclo operativo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es" sz="1600" b="0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Estandarización de líneas de producción y componentes; priorizar el </a:t>
            </a:r>
            <a:r>
              <a:rPr lang="es" sz="1600" b="1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trabajo inteligente y no más duro</a:t>
            </a:r>
            <a:r>
              <a:rPr lang="es" sz="1600" b="0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es" sz="1600" b="1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Funciones y responsabilidades claras</a:t>
            </a:r>
            <a:r>
              <a:rPr lang="es" sz="1600" b="0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 para obtener Calidad en cada etapa</a:t>
            </a:r>
            <a:endParaRPr lang="es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endParaRPr lang="e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FF7F5376-805E-46A5-A9D9-BDCA814B0610}"/>
              </a:ext>
            </a:extLst>
          </p:cNvPr>
          <p:cNvGrpSpPr>
            <a:grpSpLocks noChangeAspect="1"/>
          </p:cNvGrpSpPr>
          <p:nvPr/>
        </p:nvGrpSpPr>
        <p:grpSpPr>
          <a:xfrm>
            <a:off x="6515111" y="458453"/>
            <a:ext cx="5400000" cy="5400000"/>
            <a:chOff x="6228319" y="306053"/>
            <a:chExt cx="5602848" cy="5602848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CB16A6DE-11F3-4EF0-9752-7797A34A2B94}"/>
                </a:ext>
              </a:extLst>
            </p:cNvPr>
            <p:cNvGrpSpPr/>
            <p:nvPr/>
          </p:nvGrpSpPr>
          <p:grpSpPr>
            <a:xfrm>
              <a:off x="6228319" y="306053"/>
              <a:ext cx="5602848" cy="5602848"/>
              <a:chOff x="2488831" y="448219"/>
              <a:chExt cx="6065659" cy="6065659"/>
            </a:xfrm>
          </p:grpSpPr>
          <p:pic>
            <p:nvPicPr>
              <p:cNvPr id="31" name="Picture 30">
                <a:extLst>
                  <a:ext uri="{FF2B5EF4-FFF2-40B4-BE49-F238E27FC236}">
                    <a16:creationId xmlns:a16="http://schemas.microsoft.com/office/drawing/2014/main" id="{5F9D882C-BD5F-4934-BD1B-0F238C305A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 rot="3217091">
                <a:off x="2488831" y="448219"/>
                <a:ext cx="6065659" cy="6065659"/>
              </a:xfrm>
              <a:prstGeom prst="rect">
                <a:avLst/>
              </a:prstGeom>
            </p:spPr>
          </p:pic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893041E1-1809-4184-96EF-623B861C7771}"/>
                  </a:ext>
                </a:extLst>
              </p:cNvPr>
              <p:cNvGrpSpPr/>
              <p:nvPr/>
            </p:nvGrpSpPr>
            <p:grpSpPr>
              <a:xfrm>
                <a:off x="3973720" y="5336787"/>
                <a:ext cx="1244205" cy="659937"/>
                <a:chOff x="3973720" y="5336787"/>
                <a:chExt cx="1244205" cy="659937"/>
              </a:xfrm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240F6745-17CC-4495-B944-0253F61E4EAB}"/>
                    </a:ext>
                  </a:extLst>
                </p:cNvPr>
                <p:cNvSpPr/>
                <p:nvPr/>
              </p:nvSpPr>
              <p:spPr>
                <a:xfrm>
                  <a:off x="3973720" y="5336787"/>
                  <a:ext cx="1244205" cy="311145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" sz="1800" b="1" i="0" u="none" strike="noStrike" kern="0" cap="none" spc="0" normalizeH="0" baseline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Arial" panose="020B0604020202020204" pitchFamily="34" charset="0"/>
                    </a:rPr>
                    <a:t>CRECER</a:t>
                  </a:r>
                </a:p>
              </p:txBody>
            </p:sp>
            <p:pic>
              <p:nvPicPr>
                <p:cNvPr id="46" name="Picture 45">
                  <a:extLst>
                    <a:ext uri="{FF2B5EF4-FFF2-40B4-BE49-F238E27FC236}">
                      <a16:creationId xmlns:a16="http://schemas.microsoft.com/office/drawing/2014/main" id="{A41BE5B9-5A83-42AD-8A7F-396D65615B4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 rot="5400000">
                  <a:off x="4624804" y="5653824"/>
                  <a:ext cx="317500" cy="368300"/>
                </a:xfrm>
                <a:prstGeom prst="rect">
                  <a:avLst/>
                </a:prstGeom>
              </p:spPr>
            </p:pic>
          </p:grp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2EC3B278-7C10-474D-B1C3-493CC6BA230D}"/>
                  </a:ext>
                </a:extLst>
              </p:cNvPr>
              <p:cNvGrpSpPr/>
              <p:nvPr/>
            </p:nvGrpSpPr>
            <p:grpSpPr>
              <a:xfrm>
                <a:off x="3578057" y="763867"/>
                <a:ext cx="4366633" cy="1865124"/>
                <a:chOff x="3578057" y="763867"/>
                <a:chExt cx="4366633" cy="1865124"/>
              </a:xfrm>
            </p:grpSpPr>
            <p:pic>
              <p:nvPicPr>
                <p:cNvPr id="41" name="Picture 40">
                  <a:extLst>
                    <a:ext uri="{FF2B5EF4-FFF2-40B4-BE49-F238E27FC236}">
                      <a16:creationId xmlns:a16="http://schemas.microsoft.com/office/drawing/2014/main" id="{28CADF68-DB90-44A5-97D4-4CA87DCE81F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 rot="16200000">
                  <a:off x="3653090" y="1368357"/>
                  <a:ext cx="317500" cy="368300"/>
                </a:xfrm>
                <a:prstGeom prst="rect">
                  <a:avLst/>
                </a:prstGeom>
              </p:spPr>
            </p:pic>
            <p:sp>
              <p:nvSpPr>
                <p:cNvPr id="42" name="Rectangle 41">
                  <a:extLst>
                    <a:ext uri="{FF2B5EF4-FFF2-40B4-BE49-F238E27FC236}">
                      <a16:creationId xmlns:a16="http://schemas.microsoft.com/office/drawing/2014/main" id="{84741881-A8B4-4883-85E2-96348A7D289F}"/>
                    </a:ext>
                  </a:extLst>
                </p:cNvPr>
                <p:cNvSpPr/>
                <p:nvPr/>
              </p:nvSpPr>
              <p:spPr>
                <a:xfrm>
                  <a:off x="4927336" y="763867"/>
                  <a:ext cx="1307592" cy="1164283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s" sz="1600" b="1" i="0" u="none" kern="0" baseline="0">
                      <a:solidFill>
                        <a:prstClr val="white"/>
                      </a:solidFill>
                      <a:latin typeface="Arial Narrow" panose="020B0604020202020204" pitchFamily="34" charset="0"/>
                      <a:ea typeface="Arial Narrow" panose="020B0604020202020204" pitchFamily="34" charset="0"/>
                      <a:cs typeface="Arial Narrow" panose="020B0604020202020204" pitchFamily="34" charset="0"/>
                      <a:sym typeface="Arial Narrow" panose="020B0604020202020204" pitchFamily="34" charset="0"/>
                    </a:rPr>
                    <a:t>Mejora la productividad</a:t>
                  </a:r>
                  <a:endParaRPr kumimoji="0" lang="es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4D92344C-8B3F-4504-9E62-0BBCE6D48242}"/>
                    </a:ext>
                  </a:extLst>
                </p:cNvPr>
                <p:cNvSpPr/>
                <p:nvPr/>
              </p:nvSpPr>
              <p:spPr>
                <a:xfrm>
                  <a:off x="6519950" y="1296351"/>
                  <a:ext cx="1424740" cy="1332640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s" sz="1600" b="1" i="0" u="none" kern="0" baseline="0">
                      <a:solidFill>
                        <a:prstClr val="white"/>
                      </a:solidFill>
                      <a:latin typeface="Arial Narrow" panose="020B0604020202020204" pitchFamily="34" charset="0"/>
                      <a:ea typeface="Arial Narrow" panose="020B0604020202020204" pitchFamily="34" charset="0"/>
                      <a:cs typeface="Arial Narrow" panose="020B0604020202020204" pitchFamily="34" charset="0"/>
                      <a:sym typeface="Arial Narrow" panose="020B0604020202020204" pitchFamily="34" charset="0"/>
                    </a:rPr>
                    <a:t>Mayor flexibilidad</a:t>
                  </a:r>
                  <a:endParaRPr kumimoji="0" lang="es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endParaRPr>
                </a:p>
                <a:p>
                  <a:pPr marL="7938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7FA185D6-78CA-4104-A71C-C06B003045A5}"/>
                    </a:ext>
                  </a:extLst>
                </p:cNvPr>
                <p:cNvSpPr/>
                <p:nvPr/>
              </p:nvSpPr>
              <p:spPr>
                <a:xfrm>
                  <a:off x="3578057" y="1744700"/>
                  <a:ext cx="1483306" cy="288096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l" defTabSz="914400" rtl="0" eaLnBrk="1" fontAlgn="auto" latinLnBrk="0" hangingPunct="1">
                    <a:lnSpc>
                      <a:spcPts val="2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" sz="1800" b="1" i="0" u="none" strike="noStrike" kern="0" cap="none" spc="0" normalizeH="0" baseline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EJECUTAR</a:t>
                  </a:r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250C36ED-1206-4F74-84CF-C90235D12860}"/>
                  </a:ext>
                </a:extLst>
              </p:cNvPr>
              <p:cNvGrpSpPr/>
              <p:nvPr/>
            </p:nvGrpSpPr>
            <p:grpSpPr>
              <a:xfrm>
                <a:off x="6894162" y="2323051"/>
                <a:ext cx="1623334" cy="2573626"/>
                <a:chOff x="6894162" y="2323051"/>
                <a:chExt cx="1623334" cy="2573626"/>
              </a:xfrm>
            </p:grpSpPr>
            <p:pic>
              <p:nvPicPr>
                <p:cNvPr id="38" name="Picture 37">
                  <a:extLst>
                    <a:ext uri="{FF2B5EF4-FFF2-40B4-BE49-F238E27FC236}">
                      <a16:creationId xmlns:a16="http://schemas.microsoft.com/office/drawing/2014/main" id="{EA2C7C3A-CA63-4032-8AE8-478F5E0CEFA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7875390" y="2323051"/>
                  <a:ext cx="317500" cy="368300"/>
                </a:xfrm>
                <a:prstGeom prst="rect">
                  <a:avLst/>
                </a:prstGeom>
              </p:spPr>
            </p:pic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DEC0B279-3978-446F-95CB-5A74CF965510}"/>
                    </a:ext>
                  </a:extLst>
                </p:cNvPr>
                <p:cNvSpPr/>
                <p:nvPr/>
              </p:nvSpPr>
              <p:spPr>
                <a:xfrm>
                  <a:off x="7132075" y="3677659"/>
                  <a:ext cx="1385421" cy="1219018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s" sz="1600" b="1" i="0" u="none" kern="0" baseline="0">
                      <a:solidFill>
                        <a:prstClr val="white"/>
                      </a:solidFill>
                      <a:latin typeface="Arial Narrow" panose="020B0604020202020204" pitchFamily="34" charset="0"/>
                      <a:ea typeface="Arial Narrow" panose="020B0604020202020204" pitchFamily="34" charset="0"/>
                      <a:cs typeface="Arial Narrow" panose="020B0604020202020204" pitchFamily="34" charset="0"/>
                      <a:sym typeface="Arial Narrow" panose="020B0604020202020204" pitchFamily="34" charset="0"/>
                    </a:rPr>
                    <a:t>Menores costes y plazos de entrega</a:t>
                  </a:r>
                  <a:endParaRPr lang="es" sz="1000" b="1" kern="0" dirty="0">
                    <a:solidFill>
                      <a:prstClr val="white"/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40" name="Rectangle 39">
                  <a:extLst>
                    <a:ext uri="{FF2B5EF4-FFF2-40B4-BE49-F238E27FC236}">
                      <a16:creationId xmlns:a16="http://schemas.microsoft.com/office/drawing/2014/main" id="{9B31F6C9-016B-4E7A-8F56-9B59DB9F3558}"/>
                    </a:ext>
                  </a:extLst>
                </p:cNvPr>
                <p:cNvSpPr/>
                <p:nvPr/>
              </p:nvSpPr>
              <p:spPr>
                <a:xfrm>
                  <a:off x="6894162" y="2799913"/>
                  <a:ext cx="1424740" cy="276999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" sz="1800" b="1" i="0" u="none" strike="noStrike" kern="0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Arial" panose="020B0604020202020204" pitchFamily="34" charset="0"/>
                    </a:rPr>
                    <a:t>INNOVAR</a:t>
                  </a:r>
                </a:p>
              </p:txBody>
            </p:sp>
          </p:grpSp>
        </p:grpSp>
        <p:pic>
          <p:nvPicPr>
            <p:cNvPr id="30" name="Picture 29" descr="A close up of a logo&#10;&#10;Description automatically generated">
              <a:extLst>
                <a:ext uri="{FF2B5EF4-FFF2-40B4-BE49-F238E27FC236}">
                  <a16:creationId xmlns:a16="http://schemas.microsoft.com/office/drawing/2014/main" id="{7174406B-F970-4C7E-B21E-3DEFE0C5A83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938424" y="2552049"/>
              <a:ext cx="2182640" cy="1110858"/>
            </a:xfrm>
            <a:prstGeom prst="rect">
              <a:avLst/>
            </a:prstGeom>
          </p:spPr>
        </p:pic>
      </p:grpSp>
      <p:sp>
        <p:nvSpPr>
          <p:cNvPr id="47" name="Rectangle 46">
            <a:extLst>
              <a:ext uri="{FF2B5EF4-FFF2-40B4-BE49-F238E27FC236}">
                <a16:creationId xmlns:a16="http://schemas.microsoft.com/office/drawing/2014/main" id="{21EB479F-569F-4047-B327-F126E1FE5A0B}"/>
              </a:ext>
            </a:extLst>
          </p:cNvPr>
          <p:cNvSpPr/>
          <p:nvPr/>
        </p:nvSpPr>
        <p:spPr>
          <a:xfrm>
            <a:off x="9785893" y="4712483"/>
            <a:ext cx="1233382" cy="390138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s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Mayor calidad</a:t>
            </a:r>
            <a:endParaRPr lang="es" sz="1000" b="1" kern="0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56EA5F2-9A28-4D67-BB6C-549C40A1292B}"/>
              </a:ext>
            </a:extLst>
          </p:cNvPr>
          <p:cNvSpPr/>
          <p:nvPr/>
        </p:nvSpPr>
        <p:spPr>
          <a:xfrm>
            <a:off x="6685296" y="2808141"/>
            <a:ext cx="1233382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s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Mejora en beneficios y seguridad</a:t>
            </a:r>
            <a:endParaRPr kumimoji="0" lang="e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97406082-C53C-4E6D-BEE6-BA8B98C2F1D5}"/>
              </a:ext>
            </a:extLst>
          </p:cNvPr>
          <p:cNvSpPr/>
          <p:nvPr/>
        </p:nvSpPr>
        <p:spPr>
          <a:xfrm>
            <a:off x="7201807" y="4092987"/>
            <a:ext cx="1233382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s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Mejor rendimiento del ciclo</a:t>
            </a:r>
            <a:endParaRPr lang="es" sz="1000" b="1" kern="0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80142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es" sz="3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0D657DA-C498-7D48-ABBE-08EAF9DE2CB8}"/>
              </a:ext>
            </a:extLst>
          </p:cNvPr>
          <p:cNvCxnSpPr>
            <a:cxnSpLocks/>
          </p:cNvCxnSpPr>
          <p:nvPr/>
        </p:nvCxnSpPr>
        <p:spPr>
          <a:xfrm>
            <a:off x="360833" y="0"/>
            <a:ext cx="0" cy="1267830"/>
          </a:xfrm>
          <a:prstGeom prst="line">
            <a:avLst/>
          </a:prstGeom>
          <a:ln w="152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C37BD61B-5969-FE45-AD10-DD94D9F1496B}"/>
              </a:ext>
            </a:extLst>
          </p:cNvPr>
          <p:cNvSpPr/>
          <p:nvPr/>
        </p:nvSpPr>
        <p:spPr>
          <a:xfrm>
            <a:off x="527796" y="306053"/>
            <a:ext cx="939499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l" rtl="0">
              <a:spcBef>
                <a:spcPts val="300"/>
              </a:spcBef>
              <a:defRPr/>
            </a:pPr>
            <a:r>
              <a:rPr lang="es" sz="3600" b="1" i="0" u="none" baseline="0" dirty="0">
                <a:solidFill>
                  <a:schemeClr val="bg2"/>
                </a:solidFill>
              </a:rPr>
              <a:t>CALIDAD EN LOS PRODUCTO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B0DB6D3-9321-D342-80E4-611EB17984D8}"/>
              </a:ext>
            </a:extLst>
          </p:cNvPr>
          <p:cNvSpPr/>
          <p:nvPr/>
        </p:nvSpPr>
        <p:spPr>
          <a:xfrm>
            <a:off x="526481" y="976933"/>
            <a:ext cx="8278848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/>
            <a:r>
              <a:rPr lang="es" sz="2400" b="1" i="1" u="none" baseline="0" dirty="0">
                <a:solidFill>
                  <a:schemeClr val="accent2"/>
                </a:solidFill>
              </a:rPr>
              <a:t>Calidad en los productos, servicios y </a:t>
            </a:r>
          </a:p>
          <a:p>
            <a:pPr algn="l" rtl="0"/>
            <a:r>
              <a:rPr lang="es" sz="2400" b="1" i="1" u="none" baseline="0" dirty="0">
                <a:solidFill>
                  <a:schemeClr val="accent2"/>
                </a:solidFill>
              </a:rPr>
              <a:t>soluciones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2007D1FD-79C9-5946-A122-0B8CE1AFE99A}"/>
              </a:ext>
            </a:extLst>
          </p:cNvPr>
          <p:cNvSpPr txBox="1">
            <a:spLocks/>
          </p:cNvSpPr>
          <p:nvPr/>
        </p:nvSpPr>
        <p:spPr>
          <a:xfrm>
            <a:off x="297775" y="3412902"/>
            <a:ext cx="5642486" cy="2625433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buClr>
                <a:schemeClr val="bg2"/>
              </a:buClr>
            </a:pPr>
            <a:r>
              <a:rPr lang="es" sz="2400" b="1" i="0" u="none" baseline="0">
                <a:solidFill>
                  <a:schemeClr val="bg2"/>
                </a:solidFill>
              </a:rPr>
              <a:t>Nuestras prioridades en los productos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es" sz="1600" b="1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Respetar los detalles </a:t>
            </a:r>
            <a:r>
              <a:rPr lang="es" sz="1600" b="0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porque son elementos fundamentales de una calidad superior. 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es" sz="1600" b="0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Asegurar proveedores y materiales de calidad para </a:t>
            </a:r>
            <a:r>
              <a:rPr lang="es" sz="1600" b="1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equipos que funcionen y duren</a:t>
            </a:r>
            <a:r>
              <a:rPr lang="es" sz="1600" b="0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es" sz="1600" b="0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Ofrecer un excelente soporte al cliente de principio a fin para forjar colaboraciones a largo plazo con los clientes y </a:t>
            </a:r>
            <a:r>
              <a:rPr lang="es" sz="1600" b="1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maximizar el tiempo de actividad</a:t>
            </a:r>
            <a:r>
              <a:rPr lang="es" sz="1600" b="0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endParaRPr lang="e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F5F9D54-90E4-45E8-9E65-0559C03E9343}"/>
              </a:ext>
            </a:extLst>
          </p:cNvPr>
          <p:cNvGrpSpPr>
            <a:grpSpLocks noChangeAspect="1"/>
          </p:cNvGrpSpPr>
          <p:nvPr/>
        </p:nvGrpSpPr>
        <p:grpSpPr>
          <a:xfrm>
            <a:off x="6515111" y="458453"/>
            <a:ext cx="5400000" cy="5400000"/>
            <a:chOff x="6228319" y="306053"/>
            <a:chExt cx="5602848" cy="5602848"/>
          </a:xfrm>
        </p:grpSpPr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CE2A854E-506B-4A96-95B5-B5D71EAF033A}"/>
                </a:ext>
              </a:extLst>
            </p:cNvPr>
            <p:cNvGrpSpPr/>
            <p:nvPr/>
          </p:nvGrpSpPr>
          <p:grpSpPr>
            <a:xfrm>
              <a:off x="6228319" y="306053"/>
              <a:ext cx="5602848" cy="5602848"/>
              <a:chOff x="2488831" y="448219"/>
              <a:chExt cx="6065659" cy="6065659"/>
            </a:xfrm>
          </p:grpSpPr>
          <p:pic>
            <p:nvPicPr>
              <p:cNvPr id="51" name="Picture 50">
                <a:extLst>
                  <a:ext uri="{FF2B5EF4-FFF2-40B4-BE49-F238E27FC236}">
                    <a16:creationId xmlns:a16="http://schemas.microsoft.com/office/drawing/2014/main" id="{06327F8A-DF0A-4C4B-930A-EE9F66EC1E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 rot="3217091">
                <a:off x="2488831" y="448219"/>
                <a:ext cx="6065659" cy="6065659"/>
              </a:xfrm>
              <a:prstGeom prst="rect">
                <a:avLst/>
              </a:prstGeom>
            </p:spPr>
          </p:pic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F7BF2BC9-8586-4FFE-8A2E-7A02A8DC08E3}"/>
                  </a:ext>
                </a:extLst>
              </p:cNvPr>
              <p:cNvGrpSpPr/>
              <p:nvPr/>
            </p:nvGrpSpPr>
            <p:grpSpPr>
              <a:xfrm>
                <a:off x="3973720" y="5346391"/>
                <a:ext cx="1087644" cy="650333"/>
                <a:chOff x="3973720" y="5346391"/>
                <a:chExt cx="1087644" cy="650333"/>
              </a:xfrm>
            </p:grpSpPr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9FB011D8-ABCA-4618-A4D9-604F0E2DA177}"/>
                    </a:ext>
                  </a:extLst>
                </p:cNvPr>
                <p:cNvSpPr/>
                <p:nvPr/>
              </p:nvSpPr>
              <p:spPr>
                <a:xfrm>
                  <a:off x="3973720" y="5346391"/>
                  <a:ext cx="1087644" cy="317501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" sz="1800" b="1" i="0" u="none" strike="noStrike" kern="0" cap="none" spc="0" normalizeH="0" baseline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Arial" panose="020B0604020202020204" pitchFamily="34" charset="0"/>
                    </a:rPr>
                    <a:t>CRECER</a:t>
                  </a:r>
                </a:p>
              </p:txBody>
            </p:sp>
            <p:pic>
              <p:nvPicPr>
                <p:cNvPr id="82" name="Picture 81">
                  <a:extLst>
                    <a:ext uri="{FF2B5EF4-FFF2-40B4-BE49-F238E27FC236}">
                      <a16:creationId xmlns:a16="http://schemas.microsoft.com/office/drawing/2014/main" id="{1A4059F4-7910-4AB9-A1EF-8B78FAA4846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 rot="5400000">
                  <a:off x="4624804" y="5653824"/>
                  <a:ext cx="317500" cy="368300"/>
                </a:xfrm>
                <a:prstGeom prst="rect">
                  <a:avLst/>
                </a:prstGeom>
              </p:spPr>
            </p:pic>
          </p:grp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0271E6D6-A226-4618-BC75-8834FF5339A0}"/>
                  </a:ext>
                </a:extLst>
              </p:cNvPr>
              <p:cNvGrpSpPr/>
              <p:nvPr/>
            </p:nvGrpSpPr>
            <p:grpSpPr>
              <a:xfrm>
                <a:off x="3578057" y="771664"/>
                <a:ext cx="4108634" cy="1485984"/>
                <a:chOff x="3578057" y="771664"/>
                <a:chExt cx="4108634" cy="1485984"/>
              </a:xfrm>
            </p:grpSpPr>
            <p:pic>
              <p:nvPicPr>
                <p:cNvPr id="58" name="Picture 57">
                  <a:extLst>
                    <a:ext uri="{FF2B5EF4-FFF2-40B4-BE49-F238E27FC236}">
                      <a16:creationId xmlns:a16="http://schemas.microsoft.com/office/drawing/2014/main" id="{E280B93E-BB2F-459E-991A-108B47ADF7F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 rot="16200000">
                  <a:off x="3653090" y="1368357"/>
                  <a:ext cx="317500" cy="368300"/>
                </a:xfrm>
                <a:prstGeom prst="rect">
                  <a:avLst/>
                </a:prstGeom>
              </p:spPr>
            </p:pic>
            <p:sp>
              <p:nvSpPr>
                <p:cNvPr id="59" name="Rectangle 58">
                  <a:extLst>
                    <a:ext uri="{FF2B5EF4-FFF2-40B4-BE49-F238E27FC236}">
                      <a16:creationId xmlns:a16="http://schemas.microsoft.com/office/drawing/2014/main" id="{7F844FB2-759F-4F1A-8344-319E8F7E1363}"/>
                    </a:ext>
                  </a:extLst>
                </p:cNvPr>
                <p:cNvSpPr/>
                <p:nvPr/>
              </p:nvSpPr>
              <p:spPr>
                <a:xfrm>
                  <a:off x="4689030" y="771664"/>
                  <a:ext cx="1307592" cy="1164283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s" sz="1600" b="1" i="0" u="none" kern="0" baseline="0">
                      <a:solidFill>
                        <a:prstClr val="white"/>
                      </a:solidFill>
                      <a:latin typeface="Arial Narrow" panose="020B0604020202020204" pitchFamily="34" charset="0"/>
                      <a:ea typeface="Arial Narrow" panose="020B0604020202020204" pitchFamily="34" charset="0"/>
                      <a:cs typeface="Arial Narrow" panose="020B0604020202020204" pitchFamily="34" charset="0"/>
                      <a:sym typeface="Arial Narrow" panose="020B0604020202020204" pitchFamily="34" charset="0"/>
                    </a:rPr>
                    <a:t>Gestión de productos y COV</a:t>
                  </a:r>
                  <a:endParaRPr kumimoji="0" lang="es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60" name="Rectangle 59">
                  <a:extLst>
                    <a:ext uri="{FF2B5EF4-FFF2-40B4-BE49-F238E27FC236}">
                      <a16:creationId xmlns:a16="http://schemas.microsoft.com/office/drawing/2014/main" id="{3A874404-AC4E-46FA-BEDE-C52E99F61AE1}"/>
                    </a:ext>
                  </a:extLst>
                </p:cNvPr>
                <p:cNvSpPr/>
                <p:nvPr/>
              </p:nvSpPr>
              <p:spPr>
                <a:xfrm>
                  <a:off x="6261951" y="1480501"/>
                  <a:ext cx="1424740" cy="777147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s" sz="1600" b="1" i="0" u="none" kern="0" baseline="0">
                      <a:solidFill>
                        <a:prstClr val="white"/>
                      </a:solidFill>
                      <a:latin typeface="Arial Narrow" panose="020B0604020202020204" pitchFamily="34" charset="0"/>
                      <a:ea typeface="Arial Narrow" panose="020B0604020202020204" pitchFamily="34" charset="0"/>
                      <a:cs typeface="Arial Narrow" panose="020B0604020202020204" pitchFamily="34" charset="0"/>
                      <a:sym typeface="Arial Narrow" panose="020B0604020202020204" pitchFamily="34" charset="0"/>
                    </a:rPr>
                    <a:t>Estrategia de NPD y de líneas de producción</a:t>
                  </a:r>
                  <a:endParaRPr kumimoji="0" lang="es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80" name="Rectangle 79">
                  <a:extLst>
                    <a:ext uri="{FF2B5EF4-FFF2-40B4-BE49-F238E27FC236}">
                      <a16:creationId xmlns:a16="http://schemas.microsoft.com/office/drawing/2014/main" id="{AF4D7701-BB84-4C95-A5E4-2ECD99721DD9}"/>
                    </a:ext>
                  </a:extLst>
                </p:cNvPr>
                <p:cNvSpPr/>
                <p:nvPr/>
              </p:nvSpPr>
              <p:spPr>
                <a:xfrm>
                  <a:off x="3578057" y="1729357"/>
                  <a:ext cx="1483306" cy="288096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l" defTabSz="914400" rtl="0" eaLnBrk="1" fontAlgn="auto" latinLnBrk="0" hangingPunct="1">
                    <a:lnSpc>
                      <a:spcPts val="2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" sz="1800" b="1" i="0" u="none" strike="noStrike" kern="0" cap="none" spc="0" normalizeH="0" baseline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EJECUTAR</a:t>
                  </a:r>
                </a:p>
              </p:txBody>
            </p:sp>
          </p:grp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7479ABDD-5703-4187-BBE3-E2253DDF86B4}"/>
                  </a:ext>
                </a:extLst>
              </p:cNvPr>
              <p:cNvGrpSpPr/>
              <p:nvPr/>
            </p:nvGrpSpPr>
            <p:grpSpPr>
              <a:xfrm>
                <a:off x="6894162" y="2323051"/>
                <a:ext cx="1519832" cy="2377016"/>
                <a:chOff x="6894162" y="2323051"/>
                <a:chExt cx="1519832" cy="2377016"/>
              </a:xfrm>
            </p:grpSpPr>
            <p:pic>
              <p:nvPicPr>
                <p:cNvPr id="55" name="Picture 54">
                  <a:extLst>
                    <a:ext uri="{FF2B5EF4-FFF2-40B4-BE49-F238E27FC236}">
                      <a16:creationId xmlns:a16="http://schemas.microsoft.com/office/drawing/2014/main" id="{F0DEA955-4A84-4987-8902-C9D85E3ECA0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7875390" y="2323051"/>
                  <a:ext cx="317500" cy="368300"/>
                </a:xfrm>
                <a:prstGeom prst="rect">
                  <a:avLst/>
                </a:prstGeom>
              </p:spPr>
            </p:pic>
            <p:sp>
              <p:nvSpPr>
                <p:cNvPr id="56" name="Rectangle 55">
                  <a:extLst>
                    <a:ext uri="{FF2B5EF4-FFF2-40B4-BE49-F238E27FC236}">
                      <a16:creationId xmlns:a16="http://schemas.microsoft.com/office/drawing/2014/main" id="{994623F8-9161-4C2E-B07D-D431EB192757}"/>
                    </a:ext>
                  </a:extLst>
                </p:cNvPr>
                <p:cNvSpPr/>
                <p:nvPr/>
              </p:nvSpPr>
              <p:spPr>
                <a:xfrm>
                  <a:off x="7028573" y="3481049"/>
                  <a:ext cx="1385421" cy="1219018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s" sz="1600" b="1" i="0" u="none" kern="0" baseline="0">
                      <a:solidFill>
                        <a:prstClr val="white"/>
                      </a:solidFill>
                      <a:latin typeface="Arial Narrow" panose="020B0604020202020204" pitchFamily="34" charset="0"/>
                      <a:ea typeface="Arial Narrow" panose="020B0604020202020204" pitchFamily="34" charset="0"/>
                      <a:cs typeface="Arial Narrow" panose="020B0604020202020204" pitchFamily="34" charset="0"/>
                      <a:sym typeface="Arial Narrow" panose="020B0604020202020204" pitchFamily="34" charset="0"/>
                    </a:rPr>
                    <a:t>Menos variaciones de fabricación y proveedores</a:t>
                  </a:r>
                  <a:endParaRPr lang="es" sz="1000" b="1" kern="0" dirty="0">
                    <a:solidFill>
                      <a:prstClr val="white"/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57" name="Rectangle 56">
                  <a:extLst>
                    <a:ext uri="{FF2B5EF4-FFF2-40B4-BE49-F238E27FC236}">
                      <a16:creationId xmlns:a16="http://schemas.microsoft.com/office/drawing/2014/main" id="{A1EA0B21-351C-47DE-8EE4-8FD6454CE80F}"/>
                    </a:ext>
                  </a:extLst>
                </p:cNvPr>
                <p:cNvSpPr/>
                <p:nvPr/>
              </p:nvSpPr>
              <p:spPr>
                <a:xfrm>
                  <a:off x="6894162" y="2799913"/>
                  <a:ext cx="1424740" cy="276999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" sz="1800" b="1" i="0" u="none" strike="noStrike" kern="0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Arial" panose="020B0604020202020204" pitchFamily="34" charset="0"/>
                    </a:rPr>
                    <a:t>INNOVAR</a:t>
                  </a:r>
                </a:p>
              </p:txBody>
            </p:sp>
          </p:grpSp>
        </p:grpSp>
        <p:pic>
          <p:nvPicPr>
            <p:cNvPr id="50" name="Picture 49" descr="A close up of a logo&#10;&#10;Description automatically generated">
              <a:extLst>
                <a:ext uri="{FF2B5EF4-FFF2-40B4-BE49-F238E27FC236}">
                  <a16:creationId xmlns:a16="http://schemas.microsoft.com/office/drawing/2014/main" id="{4EB8F6C7-C03C-474C-9A26-4A9EF02E39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938424" y="2552049"/>
              <a:ext cx="2182640" cy="1110858"/>
            </a:xfrm>
            <a:prstGeom prst="rect">
              <a:avLst/>
            </a:prstGeom>
          </p:spPr>
        </p:pic>
      </p:grpSp>
      <p:sp>
        <p:nvSpPr>
          <p:cNvPr id="83" name="Rectangle 82">
            <a:extLst>
              <a:ext uri="{FF2B5EF4-FFF2-40B4-BE49-F238E27FC236}">
                <a16:creationId xmlns:a16="http://schemas.microsoft.com/office/drawing/2014/main" id="{261BC998-9C6B-42C1-A223-A40D93959240}"/>
              </a:ext>
            </a:extLst>
          </p:cNvPr>
          <p:cNvSpPr/>
          <p:nvPr/>
        </p:nvSpPr>
        <p:spPr>
          <a:xfrm>
            <a:off x="9848952" y="4496165"/>
            <a:ext cx="1233382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s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Menores costes y plazos de entrega</a:t>
            </a:r>
            <a:endParaRPr lang="es" sz="1000" b="1" kern="0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EFB5FC9C-8098-4DE5-80F9-243D618EB283}"/>
              </a:ext>
            </a:extLst>
          </p:cNvPr>
          <p:cNvSpPr/>
          <p:nvPr/>
        </p:nvSpPr>
        <p:spPr>
          <a:xfrm>
            <a:off x="6844887" y="2792016"/>
            <a:ext cx="1233382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s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Mayor vitalidad</a:t>
            </a:r>
            <a:endParaRPr lang="es" sz="1000" b="1" kern="0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BC991183-786A-4275-963A-65ACB78B26D2}"/>
              </a:ext>
            </a:extLst>
          </p:cNvPr>
          <p:cNvSpPr/>
          <p:nvPr/>
        </p:nvSpPr>
        <p:spPr>
          <a:xfrm>
            <a:off x="7085393" y="4092987"/>
            <a:ext cx="1233382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s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Mejor calidad y margen</a:t>
            </a:r>
            <a:endParaRPr lang="es" sz="1000" b="1" kern="0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219322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es" sz="3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2C5E7D1-650D-434D-9A1D-A928E996A197}"/>
              </a:ext>
            </a:extLst>
          </p:cNvPr>
          <p:cNvCxnSpPr>
            <a:cxnSpLocks/>
          </p:cNvCxnSpPr>
          <p:nvPr/>
        </p:nvCxnSpPr>
        <p:spPr>
          <a:xfrm>
            <a:off x="360833" y="0"/>
            <a:ext cx="0" cy="1267830"/>
          </a:xfrm>
          <a:prstGeom prst="line">
            <a:avLst/>
          </a:prstGeom>
          <a:ln w="152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2652E491-E390-7145-90A2-3B982B077A4B}"/>
              </a:ext>
            </a:extLst>
          </p:cNvPr>
          <p:cNvSpPr/>
          <p:nvPr/>
        </p:nvSpPr>
        <p:spPr>
          <a:xfrm>
            <a:off x="555505" y="287702"/>
            <a:ext cx="939499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l" rtl="0">
              <a:spcBef>
                <a:spcPts val="300"/>
              </a:spcBef>
              <a:defRPr/>
            </a:pPr>
            <a:r>
              <a:rPr lang="es" sz="3600" b="1" i="0" u="none" baseline="0">
                <a:solidFill>
                  <a:schemeClr val="bg2"/>
                </a:solidFill>
              </a:rPr>
              <a:t>CALIDAD EN RR.HH.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C49CDCC-D27A-5C40-8559-F86C6025E149}"/>
              </a:ext>
            </a:extLst>
          </p:cNvPr>
          <p:cNvSpPr/>
          <p:nvPr/>
        </p:nvSpPr>
        <p:spPr>
          <a:xfrm>
            <a:off x="608367" y="976933"/>
            <a:ext cx="5669602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/>
            <a:r>
              <a:rPr lang="es" sz="2400" b="1" i="1" u="none" baseline="0">
                <a:solidFill>
                  <a:schemeClr val="accent2"/>
                </a:solidFill>
              </a:rPr>
              <a:t>Calidad en las personas, procesos y cultura</a:t>
            </a:r>
          </a:p>
        </p:txBody>
      </p:sp>
      <p:sp>
        <p:nvSpPr>
          <p:cNvPr id="39" name="Content Placeholder 3">
            <a:extLst>
              <a:ext uri="{FF2B5EF4-FFF2-40B4-BE49-F238E27FC236}">
                <a16:creationId xmlns:a16="http://schemas.microsoft.com/office/drawing/2014/main" id="{6E2FF24D-0402-6A4F-8E64-98C715645DF8}"/>
              </a:ext>
            </a:extLst>
          </p:cNvPr>
          <p:cNvSpPr txBox="1">
            <a:spLocks/>
          </p:cNvSpPr>
          <p:nvPr/>
        </p:nvSpPr>
        <p:spPr>
          <a:xfrm>
            <a:off x="297775" y="3412902"/>
            <a:ext cx="5642486" cy="2625433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buClr>
                <a:schemeClr val="bg2"/>
              </a:buClr>
            </a:pPr>
            <a:r>
              <a:rPr lang="es" sz="2400" b="1" i="0" u="none" baseline="0">
                <a:solidFill>
                  <a:schemeClr val="bg2"/>
                </a:solidFill>
              </a:rPr>
              <a:t>Nuestras prioridades de RR.HH.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es" sz="1600" b="0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Promover la salud, la seguridad y el bienestar de los miembros del equipo durante la pandemia de </a:t>
            </a:r>
            <a:r>
              <a:rPr lang="es" sz="1600" b="1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COVID-19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es" sz="1600" b="0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Fomentar una cultura en la que todos los miembros del equipo se sientan incluidos, capacitados y apoyados, </a:t>
            </a:r>
            <a:r>
              <a:rPr lang="es" sz="1600" b="1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mejorando la moral y reduciendo la rotación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es" sz="1600" b="1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Demostrar</a:t>
            </a:r>
            <a:r>
              <a:rPr lang="es" sz="1600" b="0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 responsabilidad personal, buena gestión del tiempo y elevado ROI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endParaRPr lang="e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endParaRPr lang="e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2F595F5-BC4B-4CF2-A203-80BAD146CA30}"/>
              </a:ext>
            </a:extLst>
          </p:cNvPr>
          <p:cNvGrpSpPr>
            <a:grpSpLocks noChangeAspect="1"/>
          </p:cNvGrpSpPr>
          <p:nvPr/>
        </p:nvGrpSpPr>
        <p:grpSpPr>
          <a:xfrm>
            <a:off x="6515111" y="458453"/>
            <a:ext cx="5400000" cy="5400000"/>
            <a:chOff x="6228319" y="306053"/>
            <a:chExt cx="5602848" cy="5602848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5C8B2A55-B5FD-475B-BFA1-868F79903115}"/>
                </a:ext>
              </a:extLst>
            </p:cNvPr>
            <p:cNvGrpSpPr/>
            <p:nvPr/>
          </p:nvGrpSpPr>
          <p:grpSpPr>
            <a:xfrm>
              <a:off x="6228319" y="306053"/>
              <a:ext cx="5602848" cy="5602848"/>
              <a:chOff x="2488831" y="448219"/>
              <a:chExt cx="6065659" cy="6065659"/>
            </a:xfrm>
          </p:grpSpPr>
          <p:pic>
            <p:nvPicPr>
              <p:cNvPr id="31" name="Picture 30">
                <a:extLst>
                  <a:ext uri="{FF2B5EF4-FFF2-40B4-BE49-F238E27FC236}">
                    <a16:creationId xmlns:a16="http://schemas.microsoft.com/office/drawing/2014/main" id="{79132D6B-D1AC-45CB-AD7C-3CBD711440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 rot="3217091">
                <a:off x="2488831" y="448219"/>
                <a:ext cx="6065659" cy="6065659"/>
              </a:xfrm>
              <a:prstGeom prst="rect">
                <a:avLst/>
              </a:prstGeom>
            </p:spPr>
          </p:pic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04E55E98-F173-4B32-964E-29F308029891}"/>
                  </a:ext>
                </a:extLst>
              </p:cNvPr>
              <p:cNvGrpSpPr/>
              <p:nvPr/>
            </p:nvGrpSpPr>
            <p:grpSpPr>
              <a:xfrm>
                <a:off x="3973720" y="5349986"/>
                <a:ext cx="1217869" cy="646738"/>
                <a:chOff x="3973720" y="5349986"/>
                <a:chExt cx="1217869" cy="646738"/>
              </a:xfrm>
            </p:grpSpPr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21AC01B9-3C11-4A1F-993F-D446E9E4B992}"/>
                    </a:ext>
                  </a:extLst>
                </p:cNvPr>
                <p:cNvSpPr/>
                <p:nvPr/>
              </p:nvSpPr>
              <p:spPr>
                <a:xfrm>
                  <a:off x="3973720" y="5349986"/>
                  <a:ext cx="1217869" cy="311145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" sz="1800" b="1" i="0" u="none" strike="noStrike" kern="0" cap="none" spc="0" normalizeH="0" baseline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Arial" panose="020B0604020202020204" pitchFamily="34" charset="0"/>
                    </a:rPr>
                    <a:t>CRECER</a:t>
                  </a:r>
                </a:p>
              </p:txBody>
            </p:sp>
            <p:pic>
              <p:nvPicPr>
                <p:cNvPr id="45" name="Picture 44">
                  <a:extLst>
                    <a:ext uri="{FF2B5EF4-FFF2-40B4-BE49-F238E27FC236}">
                      <a16:creationId xmlns:a16="http://schemas.microsoft.com/office/drawing/2014/main" id="{B4D19631-CBDA-48FD-B065-662A1AA303F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 rot="5400000">
                  <a:off x="4624804" y="5653824"/>
                  <a:ext cx="317500" cy="368300"/>
                </a:xfrm>
                <a:prstGeom prst="rect">
                  <a:avLst/>
                </a:prstGeom>
              </p:spPr>
            </p:pic>
          </p:grp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3D01771E-5E53-42AA-8A68-0EA86B7C4D9C}"/>
                  </a:ext>
                </a:extLst>
              </p:cNvPr>
              <p:cNvGrpSpPr/>
              <p:nvPr/>
            </p:nvGrpSpPr>
            <p:grpSpPr>
              <a:xfrm>
                <a:off x="3578058" y="811177"/>
                <a:ext cx="4200335" cy="1689999"/>
                <a:chOff x="3578058" y="811177"/>
                <a:chExt cx="4200335" cy="1689999"/>
              </a:xfrm>
            </p:grpSpPr>
            <p:pic>
              <p:nvPicPr>
                <p:cNvPr id="40" name="Picture 39">
                  <a:extLst>
                    <a:ext uri="{FF2B5EF4-FFF2-40B4-BE49-F238E27FC236}">
                      <a16:creationId xmlns:a16="http://schemas.microsoft.com/office/drawing/2014/main" id="{B13BEEE1-4149-4791-9A81-7539BEEC27A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 rot="16200000">
                  <a:off x="3653090" y="1368357"/>
                  <a:ext cx="317500" cy="368300"/>
                </a:xfrm>
                <a:prstGeom prst="rect">
                  <a:avLst/>
                </a:prstGeom>
              </p:spPr>
            </p:pic>
            <p:sp>
              <p:nvSpPr>
                <p:cNvPr id="41" name="Rectangle 40">
                  <a:extLst>
                    <a:ext uri="{FF2B5EF4-FFF2-40B4-BE49-F238E27FC236}">
                      <a16:creationId xmlns:a16="http://schemas.microsoft.com/office/drawing/2014/main" id="{20EE0B33-DF25-4CB0-95F3-EC6F8D38091E}"/>
                    </a:ext>
                  </a:extLst>
                </p:cNvPr>
                <p:cNvSpPr/>
                <p:nvPr/>
              </p:nvSpPr>
              <p:spPr>
                <a:xfrm>
                  <a:off x="4450522" y="811177"/>
                  <a:ext cx="1307592" cy="1164283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" sz="1600" b="1" i="0" u="none" strike="noStrike" kern="0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 Narrow" panose="020B0604020202020204" pitchFamily="34" charset="0"/>
                      <a:ea typeface="+mn-ea"/>
                      <a:cs typeface="Arial Narrow" panose="020B0604020202020204" pitchFamily="34" charset="0"/>
                    </a:rPr>
                    <a:t>Fomentar el bienestar de los miembros del equipo</a:t>
                  </a:r>
                  <a:endParaRPr kumimoji="0" lang="es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42" name="Rectangle 41">
                  <a:extLst>
                    <a:ext uri="{FF2B5EF4-FFF2-40B4-BE49-F238E27FC236}">
                      <a16:creationId xmlns:a16="http://schemas.microsoft.com/office/drawing/2014/main" id="{D469AF26-695D-4132-B230-DCD6A7AE3072}"/>
                    </a:ext>
                  </a:extLst>
                </p:cNvPr>
                <p:cNvSpPr/>
                <p:nvPr/>
              </p:nvSpPr>
              <p:spPr>
                <a:xfrm>
                  <a:off x="6353653" y="1168536"/>
                  <a:ext cx="1424740" cy="1332640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s" sz="1600" b="1" i="0" u="none" kern="0" baseline="0">
                      <a:solidFill>
                        <a:prstClr val="white"/>
                      </a:solidFill>
                      <a:latin typeface="Arial Narrow" panose="020B0604020202020204" pitchFamily="34" charset="0"/>
                      <a:ea typeface="Arial Narrow" panose="020B0604020202020204" pitchFamily="34" charset="0"/>
                      <a:cs typeface="Arial Narrow" panose="020B0604020202020204" pitchFamily="34" charset="0"/>
                      <a:sym typeface="Arial Narrow" panose="020B0604020202020204" pitchFamily="34" charset="0"/>
                    </a:rPr>
                    <a:t>Fortalecer la cultura empresarial </a:t>
                  </a:r>
                  <a:endParaRPr lang="es" sz="1000" b="1" kern="0" dirty="0">
                    <a:solidFill>
                      <a:prstClr val="white"/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endParaRPr>
                </a:p>
                <a:p>
                  <a:pPr marL="7938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A7541161-A9E7-41D3-A241-EE46E58D8CEA}"/>
                    </a:ext>
                  </a:extLst>
                </p:cNvPr>
                <p:cNvSpPr/>
                <p:nvPr/>
              </p:nvSpPr>
              <p:spPr>
                <a:xfrm>
                  <a:off x="3578058" y="1749113"/>
                  <a:ext cx="1453262" cy="288096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l" defTabSz="914400" rtl="0" eaLnBrk="1" fontAlgn="auto" latinLnBrk="0" hangingPunct="1">
                    <a:lnSpc>
                      <a:spcPts val="2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" sz="1800" b="1" i="0" u="none" strike="noStrike" kern="0" cap="none" spc="0" normalizeH="0" baseline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EJECUTAR</a:t>
                  </a:r>
                </a:p>
              </p:txBody>
            </p:sp>
          </p:grp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80DCF014-2E96-4EE0-B4FB-1DC20E50BA47}"/>
                  </a:ext>
                </a:extLst>
              </p:cNvPr>
              <p:cNvGrpSpPr/>
              <p:nvPr/>
            </p:nvGrpSpPr>
            <p:grpSpPr>
              <a:xfrm>
                <a:off x="6894162" y="2323051"/>
                <a:ext cx="1519832" cy="2377016"/>
                <a:chOff x="6894162" y="2323051"/>
                <a:chExt cx="1519832" cy="2377016"/>
              </a:xfrm>
            </p:grpSpPr>
            <p:pic>
              <p:nvPicPr>
                <p:cNvPr id="35" name="Picture 34">
                  <a:extLst>
                    <a:ext uri="{FF2B5EF4-FFF2-40B4-BE49-F238E27FC236}">
                      <a16:creationId xmlns:a16="http://schemas.microsoft.com/office/drawing/2014/main" id="{D9E469D2-57D4-454E-8DED-DFD40286749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7875390" y="2323051"/>
                  <a:ext cx="317500" cy="368300"/>
                </a:xfrm>
                <a:prstGeom prst="rect">
                  <a:avLst/>
                </a:prstGeom>
              </p:spPr>
            </p:pic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BF9634DD-1673-415F-B5E7-72B2DAC45595}"/>
                    </a:ext>
                  </a:extLst>
                </p:cNvPr>
                <p:cNvSpPr/>
                <p:nvPr/>
              </p:nvSpPr>
              <p:spPr>
                <a:xfrm>
                  <a:off x="7028573" y="3481049"/>
                  <a:ext cx="1385421" cy="1219018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s" sz="1600" b="1" i="0" u="none" kern="0" baseline="0">
                      <a:solidFill>
                        <a:prstClr val="white"/>
                      </a:solidFill>
                      <a:latin typeface="Arial Narrow" panose="020B0604020202020204" pitchFamily="34" charset="0"/>
                      <a:ea typeface="Arial Narrow" panose="020B0604020202020204" pitchFamily="34" charset="0"/>
                      <a:cs typeface="Arial Narrow" panose="020B0604020202020204" pitchFamily="34" charset="0"/>
                      <a:sym typeface="Arial Narrow" panose="020B0604020202020204" pitchFamily="34" charset="0"/>
                    </a:rPr>
                    <a:t>Oportunidades de desarrollo profesional </a:t>
                  </a:r>
                  <a:endParaRPr lang="es" sz="1000" b="1" kern="0" dirty="0">
                    <a:solidFill>
                      <a:prstClr val="white"/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ABF70B9D-649A-4DCE-9009-359662960079}"/>
                    </a:ext>
                  </a:extLst>
                </p:cNvPr>
                <p:cNvSpPr/>
                <p:nvPr/>
              </p:nvSpPr>
              <p:spPr>
                <a:xfrm>
                  <a:off x="6894162" y="2799913"/>
                  <a:ext cx="1424740" cy="276999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" sz="1800" b="1" i="0" u="none" strike="noStrike" kern="0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Arial" panose="020B0604020202020204" pitchFamily="34" charset="0"/>
                    </a:rPr>
                    <a:t>INNOVAR</a:t>
                  </a:r>
                </a:p>
              </p:txBody>
            </p:sp>
          </p:grpSp>
        </p:grpSp>
        <p:pic>
          <p:nvPicPr>
            <p:cNvPr id="30" name="Picture 29" descr="A close up of a logo&#10;&#10;Description automatically generated">
              <a:extLst>
                <a:ext uri="{FF2B5EF4-FFF2-40B4-BE49-F238E27FC236}">
                  <a16:creationId xmlns:a16="http://schemas.microsoft.com/office/drawing/2014/main" id="{938592C7-8E04-4300-9E3C-278F42E93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938424" y="2552049"/>
              <a:ext cx="2182640" cy="1110858"/>
            </a:xfrm>
            <a:prstGeom prst="rect">
              <a:avLst/>
            </a:prstGeom>
          </p:spPr>
        </p:pic>
      </p:grpSp>
      <p:sp>
        <p:nvSpPr>
          <p:cNvPr id="46" name="Rectangle 45">
            <a:extLst>
              <a:ext uri="{FF2B5EF4-FFF2-40B4-BE49-F238E27FC236}">
                <a16:creationId xmlns:a16="http://schemas.microsoft.com/office/drawing/2014/main" id="{0DFE05D2-8A42-4B89-BA34-1FE161293AE8}"/>
              </a:ext>
            </a:extLst>
          </p:cNvPr>
          <p:cNvSpPr/>
          <p:nvPr/>
        </p:nvSpPr>
        <p:spPr>
          <a:xfrm>
            <a:off x="9999003" y="4211173"/>
            <a:ext cx="1233382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s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Impulsar el crecimiento y soporte</a:t>
            </a:r>
            <a:endParaRPr lang="es" sz="1000" b="1" kern="0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ECAE4CEA-7992-4F2F-96F5-29DF5D804035}"/>
              </a:ext>
            </a:extLst>
          </p:cNvPr>
          <p:cNvSpPr/>
          <p:nvPr/>
        </p:nvSpPr>
        <p:spPr>
          <a:xfrm>
            <a:off x="6844887" y="2792016"/>
            <a:ext cx="1233382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s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Atraer talentos de alto nivel</a:t>
            </a:r>
            <a:endParaRPr lang="es" sz="1000" b="1" kern="0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6D78C99-B9B6-4923-BE30-2772A9BE22C6}"/>
              </a:ext>
            </a:extLst>
          </p:cNvPr>
          <p:cNvSpPr/>
          <p:nvPr/>
        </p:nvSpPr>
        <p:spPr>
          <a:xfrm>
            <a:off x="7289300" y="4136764"/>
            <a:ext cx="1233382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s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Reducir índice de rotación</a:t>
            </a:r>
            <a:endParaRPr lang="es" sz="1000" b="1" kern="0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45469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F42B25D-F961-4FCE-A6A0-8C64A951A4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pPr algn="l" rtl="0"/>
            <a:r>
              <a:rPr lang="x-es-XL" b="1" i="0" u="none" baseline="0"/>
              <a:t>Índic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7311165-0E6A-416D-85AC-8DD9491C3D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algn="r" rtl="0"/>
            <a:fld id="{DB7EB4E9-B995-49CA-B9B8-29450609F452}" type="slidenum">
              <a:rPr/>
              <a:pPr/>
              <a:t>2</a:t>
            </a:fld>
            <a:endParaRPr lang="x-es-XL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3F95A0EC-30D7-9846-8DB8-E12E705A081F}"/>
              </a:ext>
            </a:extLst>
          </p:cNvPr>
          <p:cNvSpPr txBox="1">
            <a:spLocks/>
          </p:cNvSpPr>
          <p:nvPr/>
        </p:nvSpPr>
        <p:spPr>
          <a:xfrm>
            <a:off x="386986" y="1495675"/>
            <a:ext cx="4746718" cy="437606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spcBef>
                <a:spcPts val="0"/>
              </a:spcBef>
              <a:spcAft>
                <a:spcPts val="600"/>
              </a:spcAft>
              <a:tabLst>
                <a:tab pos="5641975" algn="r"/>
              </a:tabLst>
            </a:pPr>
            <a:r>
              <a:rPr lang="x-es-XL" sz="2000" b="1" i="0" u="none" baseline="0">
                <a:solidFill>
                  <a:schemeClr val="bg2"/>
                </a:solidFill>
              </a:rPr>
              <a:t>Diapositivas para uso externo</a:t>
            </a:r>
            <a:endParaRPr lang="x-es-XL" sz="200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E0ED7AC-33BB-B243-A573-0C8203AF79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9177" y="-3308"/>
            <a:ext cx="5712821" cy="6048869"/>
          </a:xfrm>
          <a:prstGeom prst="rect">
            <a:avLst/>
          </a:prstGeom>
        </p:spPr>
      </p:pic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9C4B2E5-EE12-6A43-9A84-53C86DEAB2E5}"/>
              </a:ext>
            </a:extLst>
          </p:cNvPr>
          <p:cNvSpPr txBox="1">
            <a:spLocks/>
          </p:cNvSpPr>
          <p:nvPr/>
        </p:nvSpPr>
        <p:spPr>
          <a:xfrm>
            <a:off x="350517" y="1985583"/>
            <a:ext cx="4783186" cy="43760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vert="horz" lIns="72000" tIns="0" rIns="72000" bIns="0" numCol="1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spcBef>
                <a:spcPts val="0"/>
              </a:spcBef>
              <a:spcAft>
                <a:spcPts val="0"/>
              </a:spcAft>
              <a:tabLst>
                <a:tab pos="5641975" algn="r"/>
              </a:tabLst>
            </a:pPr>
            <a:r>
              <a:rPr lang="x-es-XL" b="0" i="0" u="none" baseline="0"/>
              <a:t>Historia y distinciones de Genie</a:t>
            </a:r>
            <a:endParaRPr lang="x-es-XL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8D6B8A49-2A45-0E4B-BBB7-7CFC5861B72E}"/>
              </a:ext>
            </a:extLst>
          </p:cNvPr>
          <p:cNvSpPr txBox="1">
            <a:spLocks/>
          </p:cNvSpPr>
          <p:nvPr/>
        </p:nvSpPr>
        <p:spPr>
          <a:xfrm>
            <a:off x="350517" y="2501566"/>
            <a:ext cx="4783186" cy="43760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vert="horz" lIns="72000" tIns="0" rIns="72000" bIns="0" numCol="1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spcBef>
                <a:spcPts val="0"/>
              </a:spcBef>
              <a:spcAft>
                <a:spcPts val="0"/>
              </a:spcAft>
              <a:tabLst>
                <a:tab pos="5641975" algn="r"/>
              </a:tabLst>
            </a:pPr>
            <a:r>
              <a:rPr lang="x-es-XL" b="0" i="0" u="none" baseline="0"/>
              <a:t>Quality By Design</a:t>
            </a:r>
            <a:endParaRPr lang="x-es-XL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8F4F1664-1B64-9449-8D95-E71788C0BB0D}"/>
              </a:ext>
            </a:extLst>
          </p:cNvPr>
          <p:cNvSpPr txBox="1">
            <a:spLocks/>
          </p:cNvSpPr>
          <p:nvPr/>
        </p:nvSpPr>
        <p:spPr>
          <a:xfrm>
            <a:off x="350517" y="3017549"/>
            <a:ext cx="4783186" cy="43760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vert="horz" lIns="72000" tIns="0" rIns="72000" bIns="0" numCol="1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spcBef>
                <a:spcPts val="0"/>
              </a:spcBef>
              <a:spcAft>
                <a:spcPts val="0"/>
              </a:spcAft>
              <a:tabLst>
                <a:tab pos="5641975" algn="r"/>
              </a:tabLst>
            </a:pPr>
            <a:r>
              <a:rPr lang="x-es-XL" b="0" i="0" u="none" baseline="0"/>
              <a:t>Aliados</a:t>
            </a:r>
            <a:endParaRPr lang="x-es-XL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7F6DC398-469A-7C45-A5DA-DFC0918DEF1B}"/>
              </a:ext>
            </a:extLst>
          </p:cNvPr>
          <p:cNvSpPr txBox="1">
            <a:spLocks/>
          </p:cNvSpPr>
          <p:nvPr/>
        </p:nvSpPr>
        <p:spPr>
          <a:xfrm>
            <a:off x="350517" y="3533532"/>
            <a:ext cx="4783186" cy="43760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vert="horz" lIns="72000" tIns="0" rIns="72000" bIns="0" numCol="1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spcBef>
                <a:spcPts val="0"/>
              </a:spcBef>
              <a:spcAft>
                <a:spcPts val="0"/>
              </a:spcAft>
              <a:tabLst>
                <a:tab pos="5641975" algn="r"/>
              </a:tabLst>
            </a:pPr>
            <a:r>
              <a:rPr lang="x-es-XL" b="0" i="0" u="none" baseline="0"/>
              <a:t>Gama de productos</a:t>
            </a:r>
            <a:endParaRPr lang="x-es-XL"/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7923B592-CF45-5145-9012-79492B7C43D9}"/>
              </a:ext>
            </a:extLst>
          </p:cNvPr>
          <p:cNvSpPr txBox="1">
            <a:spLocks/>
          </p:cNvSpPr>
          <p:nvPr/>
        </p:nvSpPr>
        <p:spPr>
          <a:xfrm>
            <a:off x="350517" y="4049514"/>
            <a:ext cx="4783186" cy="43760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vert="horz" lIns="72000" tIns="0" rIns="72000" bIns="0" numCol="1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spcBef>
                <a:spcPts val="0"/>
              </a:spcBef>
              <a:spcAft>
                <a:spcPts val="0"/>
              </a:spcAft>
              <a:tabLst>
                <a:tab pos="5641975" algn="r"/>
              </a:tabLst>
            </a:pPr>
            <a:r>
              <a:rPr lang="x-es-XL" b="0" i="0" u="none" baseline="0"/>
              <a:t>Repuestos y servicios</a:t>
            </a:r>
            <a:endParaRPr lang="x-es-XL"/>
          </a:p>
        </p:txBody>
      </p:sp>
      <p:sp>
        <p:nvSpPr>
          <p:cNvPr id="22" name="Rounded Rectangle 3">
            <a:extLst>
              <a:ext uri="{FF2B5EF4-FFF2-40B4-BE49-F238E27FC236}">
                <a16:creationId xmlns:a16="http://schemas.microsoft.com/office/drawing/2014/main" id="{96ADB9F7-A2D7-4224-B750-5454CA926B85}"/>
              </a:ext>
            </a:extLst>
          </p:cNvPr>
          <p:cNvSpPr/>
          <p:nvPr/>
        </p:nvSpPr>
        <p:spPr>
          <a:xfrm>
            <a:off x="5227593" y="1985584"/>
            <a:ext cx="970462" cy="437606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br" b="0" i="0" u="none" baseline="0" dirty="0">
                <a:solidFill>
                  <a:schemeClr val="bg1"/>
                </a:solidFill>
              </a:rPr>
              <a:t>3-12</a:t>
            </a:r>
          </a:p>
        </p:txBody>
      </p:sp>
      <p:sp>
        <p:nvSpPr>
          <p:cNvPr id="23" name="Rounded Rectangle 14">
            <a:extLst>
              <a:ext uri="{FF2B5EF4-FFF2-40B4-BE49-F238E27FC236}">
                <a16:creationId xmlns:a16="http://schemas.microsoft.com/office/drawing/2014/main" id="{ABE93053-6AE3-4AC7-966F-24BDA1E10AB7}"/>
              </a:ext>
            </a:extLst>
          </p:cNvPr>
          <p:cNvSpPr/>
          <p:nvPr/>
        </p:nvSpPr>
        <p:spPr>
          <a:xfrm>
            <a:off x="5227593" y="2501566"/>
            <a:ext cx="970462" cy="437606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br" b="0" i="0" u="none" baseline="0" dirty="0">
                <a:solidFill>
                  <a:schemeClr val="bg1"/>
                </a:solidFill>
              </a:rPr>
              <a:t>13-28</a:t>
            </a:r>
          </a:p>
        </p:txBody>
      </p:sp>
      <p:sp>
        <p:nvSpPr>
          <p:cNvPr id="24" name="Rounded Rectangle 16">
            <a:extLst>
              <a:ext uri="{FF2B5EF4-FFF2-40B4-BE49-F238E27FC236}">
                <a16:creationId xmlns:a16="http://schemas.microsoft.com/office/drawing/2014/main" id="{5A852251-B61C-4AD1-AADF-5A3EFA227F26}"/>
              </a:ext>
            </a:extLst>
          </p:cNvPr>
          <p:cNvSpPr/>
          <p:nvPr/>
        </p:nvSpPr>
        <p:spPr>
          <a:xfrm>
            <a:off x="5227593" y="3017549"/>
            <a:ext cx="970462" cy="437606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br" dirty="0">
                <a:solidFill>
                  <a:schemeClr val="bg1"/>
                </a:solidFill>
              </a:rPr>
              <a:t>29</a:t>
            </a:r>
            <a:r>
              <a:rPr lang="pt-br" b="0" i="0" u="none" baseline="0" dirty="0">
                <a:solidFill>
                  <a:schemeClr val="bg1"/>
                </a:solidFill>
              </a:rPr>
              <a:t>-38</a:t>
            </a:r>
          </a:p>
        </p:txBody>
      </p:sp>
      <p:sp>
        <p:nvSpPr>
          <p:cNvPr id="25" name="Rounded Rectangle 18">
            <a:extLst>
              <a:ext uri="{FF2B5EF4-FFF2-40B4-BE49-F238E27FC236}">
                <a16:creationId xmlns:a16="http://schemas.microsoft.com/office/drawing/2014/main" id="{C825D471-F55C-4BD4-803C-E70DE59BAEA5}"/>
              </a:ext>
            </a:extLst>
          </p:cNvPr>
          <p:cNvSpPr/>
          <p:nvPr/>
        </p:nvSpPr>
        <p:spPr>
          <a:xfrm>
            <a:off x="5227593" y="3533532"/>
            <a:ext cx="970462" cy="437606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br" dirty="0">
                <a:solidFill>
                  <a:schemeClr val="bg1"/>
                </a:solidFill>
              </a:rPr>
              <a:t>39</a:t>
            </a:r>
            <a:r>
              <a:rPr lang="pt-br" b="0" i="0" u="none" baseline="0" dirty="0">
                <a:solidFill>
                  <a:schemeClr val="bg1"/>
                </a:solidFill>
              </a:rPr>
              <a:t>-51</a:t>
            </a:r>
          </a:p>
        </p:txBody>
      </p:sp>
      <p:sp>
        <p:nvSpPr>
          <p:cNvPr id="26" name="Rounded Rectangle 20">
            <a:extLst>
              <a:ext uri="{FF2B5EF4-FFF2-40B4-BE49-F238E27FC236}">
                <a16:creationId xmlns:a16="http://schemas.microsoft.com/office/drawing/2014/main" id="{37BE465B-FBC4-49EE-AD44-581254441B63}"/>
              </a:ext>
            </a:extLst>
          </p:cNvPr>
          <p:cNvSpPr/>
          <p:nvPr/>
        </p:nvSpPr>
        <p:spPr>
          <a:xfrm>
            <a:off x="5227593" y="4049514"/>
            <a:ext cx="970462" cy="437606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rtl="0"/>
            <a:r>
              <a:rPr lang="pt-br" b="0" i="0" u="none" baseline="0" dirty="0">
                <a:solidFill>
                  <a:schemeClr val="bg1"/>
                </a:solidFill>
              </a:rPr>
              <a:t>52-55</a:t>
            </a:r>
          </a:p>
        </p:txBody>
      </p:sp>
    </p:spTree>
    <p:extLst>
      <p:ext uri="{BB962C8B-B14F-4D97-AF65-F5344CB8AC3E}">
        <p14:creationId xmlns:p14="http://schemas.microsoft.com/office/powerpoint/2010/main" val="7182458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es" sz="3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BDC181C-6A7D-1846-9500-0F90F3110C7D}"/>
              </a:ext>
            </a:extLst>
          </p:cNvPr>
          <p:cNvCxnSpPr>
            <a:cxnSpLocks/>
          </p:cNvCxnSpPr>
          <p:nvPr/>
        </p:nvCxnSpPr>
        <p:spPr>
          <a:xfrm>
            <a:off x="360833" y="0"/>
            <a:ext cx="0" cy="1576316"/>
          </a:xfrm>
          <a:prstGeom prst="line">
            <a:avLst/>
          </a:prstGeom>
          <a:ln w="152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CB5B0F24-6B72-5D47-AC11-6A3690A6F2B3}"/>
              </a:ext>
            </a:extLst>
          </p:cNvPr>
          <p:cNvSpPr/>
          <p:nvPr/>
        </p:nvSpPr>
        <p:spPr>
          <a:xfrm>
            <a:off x="609682" y="306053"/>
            <a:ext cx="9394991" cy="114646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l" rtl="0">
              <a:spcBef>
                <a:spcPts val="300"/>
              </a:spcBef>
              <a:defRPr/>
            </a:pPr>
            <a:r>
              <a:rPr lang="es" sz="3600" b="1" i="0" u="none" spc="-100" baseline="0" dirty="0">
                <a:solidFill>
                  <a:schemeClr val="bg2"/>
                </a:solidFill>
              </a:rPr>
              <a:t>CALIDAD EN EL DESARROLLO </a:t>
            </a:r>
          </a:p>
          <a:p>
            <a:pPr lvl="0" algn="l" rtl="0">
              <a:spcBef>
                <a:spcPts val="300"/>
              </a:spcBef>
              <a:defRPr/>
            </a:pPr>
            <a:r>
              <a:rPr lang="es" sz="3600" b="1" i="0" u="none" spc="-100" baseline="0" dirty="0">
                <a:solidFill>
                  <a:schemeClr val="bg2"/>
                </a:solidFill>
              </a:rPr>
              <a:t>TALENTO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534B241-77AC-5C40-B8FD-2A1C20FF6D3D}"/>
              </a:ext>
            </a:extLst>
          </p:cNvPr>
          <p:cNvSpPr/>
          <p:nvPr/>
        </p:nvSpPr>
        <p:spPr>
          <a:xfrm>
            <a:off x="608367" y="1348274"/>
            <a:ext cx="5280943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/>
            <a:r>
              <a:rPr lang="es" sz="2400" b="1" i="1" u="none" baseline="0" dirty="0">
                <a:solidFill>
                  <a:schemeClr val="accent2"/>
                </a:solidFill>
              </a:rPr>
              <a:t>Calidad en la contratación, desarrollo y liderazgo de personas</a:t>
            </a:r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02A00226-4668-6C41-AF39-FC80D771B032}"/>
              </a:ext>
            </a:extLst>
          </p:cNvPr>
          <p:cNvSpPr txBox="1">
            <a:spLocks/>
          </p:cNvSpPr>
          <p:nvPr/>
        </p:nvSpPr>
        <p:spPr>
          <a:xfrm>
            <a:off x="276889" y="3505336"/>
            <a:ext cx="6567998" cy="2347818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buClr>
                <a:schemeClr val="bg2"/>
              </a:buClr>
            </a:pPr>
            <a:r>
              <a:rPr lang="es" sz="2400" b="1" i="0" u="none" baseline="0" dirty="0">
                <a:solidFill>
                  <a:schemeClr val="bg2"/>
                </a:solidFill>
              </a:rPr>
              <a:t>Nuestras prioridades de desarrollo del talento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es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sarrollar habilidades para </a:t>
            </a:r>
            <a:r>
              <a:rPr lang="es" sz="1600" b="1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scuchar, aprender y enseñar</a:t>
            </a:r>
            <a:r>
              <a:rPr lang="es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n todos los niveles de la organización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es" sz="1600" b="1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dministrar talentos</a:t>
            </a:r>
            <a:r>
              <a:rPr lang="es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proporcionando oportunidades de desarrollo que permitan a los miembros alcanzar sus objetivos profesionales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es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arantizar que los indicadores clave de rendimiento (KPI) fomenten un </a:t>
            </a:r>
            <a:r>
              <a:rPr lang="es" sz="1600" b="1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sarrollo ágil, flexible y rápido </a:t>
            </a:r>
            <a:endParaRPr lang="e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endParaRPr lang="e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endParaRPr lang="e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F9E1F23-1D17-4391-A42F-048C798AC59A}"/>
              </a:ext>
            </a:extLst>
          </p:cNvPr>
          <p:cNvGrpSpPr>
            <a:grpSpLocks noChangeAspect="1"/>
          </p:cNvGrpSpPr>
          <p:nvPr/>
        </p:nvGrpSpPr>
        <p:grpSpPr>
          <a:xfrm>
            <a:off x="6515111" y="458453"/>
            <a:ext cx="5400000" cy="5400000"/>
            <a:chOff x="6228319" y="306053"/>
            <a:chExt cx="5602848" cy="5602848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CCCA04A-D098-4B45-92A3-7FED8C3B3F6D}"/>
                </a:ext>
              </a:extLst>
            </p:cNvPr>
            <p:cNvGrpSpPr/>
            <p:nvPr/>
          </p:nvGrpSpPr>
          <p:grpSpPr>
            <a:xfrm>
              <a:off x="6228319" y="306053"/>
              <a:ext cx="5602848" cy="5602848"/>
              <a:chOff x="2488831" y="448219"/>
              <a:chExt cx="6065659" cy="6065659"/>
            </a:xfrm>
          </p:grpSpPr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0F0301B1-8954-48E0-BD83-46F4C5F39F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 rot="3217091">
                <a:off x="2488831" y="448219"/>
                <a:ext cx="6065659" cy="6065659"/>
              </a:xfrm>
              <a:prstGeom prst="rect">
                <a:avLst/>
              </a:prstGeom>
            </p:spPr>
          </p:pic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FE3CCBFD-741A-488F-B390-5E91BE5BDC54}"/>
                  </a:ext>
                </a:extLst>
              </p:cNvPr>
              <p:cNvGrpSpPr/>
              <p:nvPr/>
            </p:nvGrpSpPr>
            <p:grpSpPr>
              <a:xfrm>
                <a:off x="3973720" y="5318400"/>
                <a:ext cx="1204700" cy="678324"/>
                <a:chOff x="3973720" y="5318400"/>
                <a:chExt cx="1204700" cy="678324"/>
              </a:xfrm>
            </p:grpSpPr>
            <p:sp>
              <p:nvSpPr>
                <p:cNvPr id="65" name="Rectangle 64">
                  <a:extLst>
                    <a:ext uri="{FF2B5EF4-FFF2-40B4-BE49-F238E27FC236}">
                      <a16:creationId xmlns:a16="http://schemas.microsoft.com/office/drawing/2014/main" id="{A89B855C-8F48-4A5A-9780-EC075D431CFC}"/>
                    </a:ext>
                  </a:extLst>
                </p:cNvPr>
                <p:cNvSpPr/>
                <p:nvPr/>
              </p:nvSpPr>
              <p:spPr>
                <a:xfrm>
                  <a:off x="3973720" y="5318400"/>
                  <a:ext cx="1204700" cy="311145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" sz="1800" b="1" i="0" u="none" strike="noStrike" kern="0" cap="none" spc="0" normalizeH="0" baseline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Arial" panose="020B0604020202020204" pitchFamily="34" charset="0"/>
                    </a:rPr>
                    <a:t>CRECER</a:t>
                  </a:r>
                </a:p>
              </p:txBody>
            </p:sp>
            <p:pic>
              <p:nvPicPr>
                <p:cNvPr id="66" name="Picture 65">
                  <a:extLst>
                    <a:ext uri="{FF2B5EF4-FFF2-40B4-BE49-F238E27FC236}">
                      <a16:creationId xmlns:a16="http://schemas.microsoft.com/office/drawing/2014/main" id="{F6744563-FCAD-4870-ABE9-A0DC9A64D7E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 rot="5400000">
                  <a:off x="4624804" y="5653824"/>
                  <a:ext cx="317500" cy="368300"/>
                </a:xfrm>
                <a:prstGeom prst="rect">
                  <a:avLst/>
                </a:prstGeom>
              </p:spPr>
            </p:pic>
          </p:grp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6681329F-29C4-4421-87B0-3BC605782F43}"/>
                  </a:ext>
                </a:extLst>
              </p:cNvPr>
              <p:cNvGrpSpPr/>
              <p:nvPr/>
            </p:nvGrpSpPr>
            <p:grpSpPr>
              <a:xfrm>
                <a:off x="3578058" y="726270"/>
                <a:ext cx="4152662" cy="1974912"/>
                <a:chOff x="3578058" y="726270"/>
                <a:chExt cx="4152662" cy="1974912"/>
              </a:xfrm>
            </p:grpSpPr>
            <p:pic>
              <p:nvPicPr>
                <p:cNvPr id="48" name="Picture 47">
                  <a:extLst>
                    <a:ext uri="{FF2B5EF4-FFF2-40B4-BE49-F238E27FC236}">
                      <a16:creationId xmlns:a16="http://schemas.microsoft.com/office/drawing/2014/main" id="{E797CA9F-D910-4A44-96B3-1F43034ADFA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 rot="16200000">
                  <a:off x="3653090" y="1368357"/>
                  <a:ext cx="317500" cy="368300"/>
                </a:xfrm>
                <a:prstGeom prst="rect">
                  <a:avLst/>
                </a:prstGeom>
              </p:spPr>
            </p:pic>
            <p:sp>
              <p:nvSpPr>
                <p:cNvPr id="62" name="Rectangle 61">
                  <a:extLst>
                    <a:ext uri="{FF2B5EF4-FFF2-40B4-BE49-F238E27FC236}">
                      <a16:creationId xmlns:a16="http://schemas.microsoft.com/office/drawing/2014/main" id="{ED8F62F8-17EE-4BB4-8BD0-66DFC245A6DD}"/>
                    </a:ext>
                  </a:extLst>
                </p:cNvPr>
                <p:cNvSpPr/>
                <p:nvPr/>
              </p:nvSpPr>
              <p:spPr>
                <a:xfrm>
                  <a:off x="4572161" y="726270"/>
                  <a:ext cx="1307592" cy="1164283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" sz="1600" b="1" i="0" u="none" strike="noStrike" kern="0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 Narrow" panose="020B0604020202020204" pitchFamily="34" charset="0"/>
                      <a:ea typeface="+mn-ea"/>
                      <a:cs typeface="Arial Narrow" panose="020B0604020202020204" pitchFamily="34" charset="0"/>
                    </a:rPr>
                    <a:t>Programas de desarrollo de talento</a:t>
                  </a:r>
                  <a:endParaRPr kumimoji="0" lang="es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63" name="Rectangle 62">
                  <a:extLst>
                    <a:ext uri="{FF2B5EF4-FFF2-40B4-BE49-F238E27FC236}">
                      <a16:creationId xmlns:a16="http://schemas.microsoft.com/office/drawing/2014/main" id="{2E1552CA-4AD5-4293-880E-F8363321A6D1}"/>
                    </a:ext>
                  </a:extLst>
                </p:cNvPr>
                <p:cNvSpPr/>
                <p:nvPr/>
              </p:nvSpPr>
              <p:spPr>
                <a:xfrm>
                  <a:off x="6305980" y="1368542"/>
                  <a:ext cx="1424740" cy="1332640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s" sz="1600" b="1" i="0" u="none" kern="0" baseline="0">
                      <a:solidFill>
                        <a:prstClr val="white"/>
                      </a:solidFill>
                      <a:latin typeface="Arial Narrow" panose="020B0604020202020204" pitchFamily="34" charset="0"/>
                      <a:ea typeface="Arial Narrow" panose="020B0604020202020204" pitchFamily="34" charset="0"/>
                      <a:cs typeface="Arial Narrow" panose="020B0604020202020204" pitchFamily="34" charset="0"/>
                      <a:sym typeface="Arial Narrow" panose="020B0604020202020204" pitchFamily="34" charset="0"/>
                    </a:rPr>
                    <a:t>Diversidad e Integración</a:t>
                  </a:r>
                  <a:endParaRPr lang="es" sz="1000" b="1" kern="0" dirty="0">
                    <a:solidFill>
                      <a:prstClr val="white"/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endParaRPr>
                </a:p>
                <a:p>
                  <a:pPr marL="7938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C05E6C88-4FC6-4000-BEE2-61B6376D54BC}"/>
                    </a:ext>
                  </a:extLst>
                </p:cNvPr>
                <p:cNvSpPr/>
                <p:nvPr/>
              </p:nvSpPr>
              <p:spPr>
                <a:xfrm>
                  <a:off x="3578058" y="1745251"/>
                  <a:ext cx="1453262" cy="288096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l" defTabSz="914400" rtl="0" eaLnBrk="1" fontAlgn="auto" latinLnBrk="0" hangingPunct="1">
                    <a:lnSpc>
                      <a:spcPts val="2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" sz="1800" b="1" i="0" u="none" strike="noStrike" kern="0" cap="none" spc="0" normalizeH="0" baseline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EJECUTAR</a:t>
                  </a:r>
                </a:p>
              </p:txBody>
            </p:sp>
          </p:grpSp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B53ADFD7-A35E-4AD3-8898-90DD347DC51D}"/>
                  </a:ext>
                </a:extLst>
              </p:cNvPr>
              <p:cNvGrpSpPr/>
              <p:nvPr/>
            </p:nvGrpSpPr>
            <p:grpSpPr>
              <a:xfrm>
                <a:off x="6894162" y="2323051"/>
                <a:ext cx="1519832" cy="2377016"/>
                <a:chOff x="6894162" y="2323051"/>
                <a:chExt cx="1519832" cy="2377016"/>
              </a:xfrm>
            </p:grpSpPr>
            <p:pic>
              <p:nvPicPr>
                <p:cNvPr id="45" name="Picture 44">
                  <a:extLst>
                    <a:ext uri="{FF2B5EF4-FFF2-40B4-BE49-F238E27FC236}">
                      <a16:creationId xmlns:a16="http://schemas.microsoft.com/office/drawing/2014/main" id="{A3CF8E68-551D-4F4A-A2EF-44F8FE255DB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7875390" y="2323051"/>
                  <a:ext cx="317500" cy="368300"/>
                </a:xfrm>
                <a:prstGeom prst="rect">
                  <a:avLst/>
                </a:prstGeom>
              </p:spPr>
            </p:pic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9E7AA7BC-6A3E-4E32-B87D-DC4954F31450}"/>
                    </a:ext>
                  </a:extLst>
                </p:cNvPr>
                <p:cNvSpPr/>
                <p:nvPr/>
              </p:nvSpPr>
              <p:spPr>
                <a:xfrm>
                  <a:off x="7028573" y="3481049"/>
                  <a:ext cx="1385421" cy="1219018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s" sz="1600" b="1" i="0" u="none" kern="0" baseline="0">
                      <a:solidFill>
                        <a:prstClr val="white"/>
                      </a:solidFill>
                      <a:latin typeface="Arial Narrow" panose="020B0604020202020204" pitchFamily="34" charset="0"/>
                      <a:ea typeface="Arial Narrow" panose="020B0604020202020204" pitchFamily="34" charset="0"/>
                      <a:cs typeface="Arial Narrow" panose="020B0604020202020204" pitchFamily="34" charset="0"/>
                      <a:sym typeface="Arial Narrow" panose="020B0604020202020204" pitchFamily="34" charset="0"/>
                    </a:rPr>
                    <a:t>Planificación de carrera profesional</a:t>
                  </a:r>
                  <a:endParaRPr lang="es" sz="1000" b="1" kern="0" dirty="0">
                    <a:solidFill>
                      <a:prstClr val="white"/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E0C00602-4647-4201-B500-CCE6D7E909C6}"/>
                    </a:ext>
                  </a:extLst>
                </p:cNvPr>
                <p:cNvSpPr/>
                <p:nvPr/>
              </p:nvSpPr>
              <p:spPr>
                <a:xfrm>
                  <a:off x="6894162" y="2799913"/>
                  <a:ext cx="1424740" cy="276999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" sz="1800" b="1" i="0" u="none" strike="noStrike" kern="0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Arial" panose="020B0604020202020204" pitchFamily="34" charset="0"/>
                    </a:rPr>
                    <a:t>INNOVAR</a:t>
                  </a:r>
                </a:p>
              </p:txBody>
            </p:sp>
          </p:grpSp>
        </p:grpSp>
        <p:pic>
          <p:nvPicPr>
            <p:cNvPr id="34" name="Picture 33" descr="A close up of a logo&#10;&#10;Description automatically generated">
              <a:extLst>
                <a:ext uri="{FF2B5EF4-FFF2-40B4-BE49-F238E27FC236}">
                  <a16:creationId xmlns:a16="http://schemas.microsoft.com/office/drawing/2014/main" id="{CDAA5D35-7957-45FD-B021-9712002A9C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938424" y="2552049"/>
              <a:ext cx="2182640" cy="1110858"/>
            </a:xfrm>
            <a:prstGeom prst="rect">
              <a:avLst/>
            </a:prstGeom>
          </p:spPr>
        </p:pic>
      </p:grpSp>
      <p:sp>
        <p:nvSpPr>
          <p:cNvPr id="67" name="Rectangle 66">
            <a:extLst>
              <a:ext uri="{FF2B5EF4-FFF2-40B4-BE49-F238E27FC236}">
                <a16:creationId xmlns:a16="http://schemas.microsoft.com/office/drawing/2014/main" id="{488CB801-E89E-4954-BE2E-072D283B4570}"/>
              </a:ext>
            </a:extLst>
          </p:cNvPr>
          <p:cNvSpPr/>
          <p:nvPr/>
        </p:nvSpPr>
        <p:spPr>
          <a:xfrm>
            <a:off x="9848952" y="4500756"/>
            <a:ext cx="1233382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s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Funciones de desarrollo</a:t>
            </a:r>
            <a:endParaRPr lang="es" sz="1000" b="1" kern="0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D1A90AF2-DA1B-4BF2-BECC-2ED8DC0A9F89}"/>
              </a:ext>
            </a:extLst>
          </p:cNvPr>
          <p:cNvSpPr/>
          <p:nvPr/>
        </p:nvSpPr>
        <p:spPr>
          <a:xfrm>
            <a:off x="6844887" y="2792016"/>
            <a:ext cx="1233382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s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Ser más competitivo</a:t>
            </a:r>
            <a:endParaRPr lang="es" sz="1000" b="1" kern="0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94ABA605-AE1C-42C3-A626-66D85553EAD9}"/>
              </a:ext>
            </a:extLst>
          </p:cNvPr>
          <p:cNvSpPr/>
          <p:nvPr/>
        </p:nvSpPr>
        <p:spPr>
          <a:xfrm>
            <a:off x="7268128" y="4136764"/>
            <a:ext cx="1233382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s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Capacidades de liderazgo</a:t>
            </a:r>
            <a:endParaRPr lang="es" sz="1000" b="1" kern="0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461864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es" sz="3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BDC181C-6A7D-1846-9500-0F90F3110C7D}"/>
              </a:ext>
            </a:extLst>
          </p:cNvPr>
          <p:cNvCxnSpPr>
            <a:cxnSpLocks/>
          </p:cNvCxnSpPr>
          <p:nvPr/>
        </p:nvCxnSpPr>
        <p:spPr>
          <a:xfrm>
            <a:off x="360833" y="0"/>
            <a:ext cx="0" cy="1576316"/>
          </a:xfrm>
          <a:prstGeom prst="line">
            <a:avLst/>
          </a:prstGeom>
          <a:ln w="152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CB5B0F24-6B72-5D47-AC11-6A3690A6F2B3}"/>
              </a:ext>
            </a:extLst>
          </p:cNvPr>
          <p:cNvSpPr/>
          <p:nvPr/>
        </p:nvSpPr>
        <p:spPr>
          <a:xfrm>
            <a:off x="609682" y="306053"/>
            <a:ext cx="939499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l" rtl="0">
              <a:spcBef>
                <a:spcPts val="300"/>
              </a:spcBef>
              <a:defRPr/>
            </a:pPr>
            <a:r>
              <a:rPr lang="es" sz="3600" b="1" i="0" u="none" spc="-100" baseline="0">
                <a:solidFill>
                  <a:schemeClr val="bg2"/>
                </a:solidFill>
              </a:rPr>
              <a:t>CALIDAD EN LA COMUNICACIÓN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534B241-77AC-5C40-B8FD-2A1C20FF6D3D}"/>
              </a:ext>
            </a:extLst>
          </p:cNvPr>
          <p:cNvSpPr/>
          <p:nvPr/>
        </p:nvSpPr>
        <p:spPr>
          <a:xfrm>
            <a:off x="608367" y="914590"/>
            <a:ext cx="5280943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/>
            <a:r>
              <a:rPr lang="es" sz="2400" b="1" i="1" u="none" baseline="0">
                <a:solidFill>
                  <a:schemeClr val="accent2"/>
                </a:solidFill>
              </a:rPr>
              <a:t>Impulsando el valor del cliente mediante comunicación y calidad</a:t>
            </a:r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02A00226-4668-6C41-AF39-FC80D771B032}"/>
              </a:ext>
            </a:extLst>
          </p:cNvPr>
          <p:cNvSpPr txBox="1">
            <a:spLocks/>
          </p:cNvSpPr>
          <p:nvPr/>
        </p:nvSpPr>
        <p:spPr>
          <a:xfrm>
            <a:off x="276888" y="3540505"/>
            <a:ext cx="7207916" cy="2347818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buClr>
                <a:schemeClr val="bg2"/>
              </a:buClr>
            </a:pPr>
            <a:r>
              <a:rPr lang="es" sz="2400" b="1" i="0" u="none" baseline="0" dirty="0">
                <a:solidFill>
                  <a:schemeClr val="bg2"/>
                </a:solidFill>
              </a:rPr>
              <a:t>Nuestras prioridades de calidad en comunicaciones de marketing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es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talecer la salud de la marca a través de afirmaciones de calidad y liderazgo constantes. 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es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rear una demanda de nuevos productos y accesorios por parte de los clientes posicionando la calidad como una propuesta de valor fundamental.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es" sz="1600" b="0" i="0" u="none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poyar a los socios de ventas internos y externos con material de marketing específico y «puntos de prueba» convincentes de una calidad superior. 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endParaRPr lang="e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endParaRPr lang="e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F9E1F23-1D17-4391-A42F-048C798AC59A}"/>
              </a:ext>
            </a:extLst>
          </p:cNvPr>
          <p:cNvGrpSpPr>
            <a:grpSpLocks noChangeAspect="1"/>
          </p:cNvGrpSpPr>
          <p:nvPr/>
        </p:nvGrpSpPr>
        <p:grpSpPr>
          <a:xfrm>
            <a:off x="6515111" y="458453"/>
            <a:ext cx="5400000" cy="5400000"/>
            <a:chOff x="6228319" y="306053"/>
            <a:chExt cx="5602848" cy="5602848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CCCA04A-D098-4B45-92A3-7FED8C3B3F6D}"/>
                </a:ext>
              </a:extLst>
            </p:cNvPr>
            <p:cNvGrpSpPr/>
            <p:nvPr/>
          </p:nvGrpSpPr>
          <p:grpSpPr>
            <a:xfrm>
              <a:off x="6228319" y="306053"/>
              <a:ext cx="5602848" cy="5602848"/>
              <a:chOff x="2488831" y="448219"/>
              <a:chExt cx="6065659" cy="6065659"/>
            </a:xfrm>
          </p:grpSpPr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0F0301B1-8954-48E0-BD83-46F4C5F39F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 rot="3217091">
                <a:off x="2488831" y="448219"/>
                <a:ext cx="6065659" cy="6065659"/>
              </a:xfrm>
              <a:prstGeom prst="rect">
                <a:avLst/>
              </a:prstGeom>
            </p:spPr>
          </p:pic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FE3CCBFD-741A-488F-B390-5E91BE5BDC54}"/>
                  </a:ext>
                </a:extLst>
              </p:cNvPr>
              <p:cNvGrpSpPr/>
              <p:nvPr/>
            </p:nvGrpSpPr>
            <p:grpSpPr>
              <a:xfrm>
                <a:off x="3973720" y="5305890"/>
                <a:ext cx="1217869" cy="690834"/>
                <a:chOff x="3973720" y="5305890"/>
                <a:chExt cx="1217869" cy="690834"/>
              </a:xfrm>
            </p:grpSpPr>
            <p:sp>
              <p:nvSpPr>
                <p:cNvPr id="65" name="Rectangle 64">
                  <a:extLst>
                    <a:ext uri="{FF2B5EF4-FFF2-40B4-BE49-F238E27FC236}">
                      <a16:creationId xmlns:a16="http://schemas.microsoft.com/office/drawing/2014/main" id="{A89B855C-8F48-4A5A-9780-EC075D431CFC}"/>
                    </a:ext>
                  </a:extLst>
                </p:cNvPr>
                <p:cNvSpPr/>
                <p:nvPr/>
              </p:nvSpPr>
              <p:spPr>
                <a:xfrm>
                  <a:off x="3973720" y="5305890"/>
                  <a:ext cx="1217869" cy="317500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" sz="1800" b="1" i="0" u="none" strike="noStrike" kern="0" cap="none" spc="0" normalizeH="0" baseline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Arial" panose="020B0604020202020204" pitchFamily="34" charset="0"/>
                    </a:rPr>
                    <a:t>CRECER</a:t>
                  </a:r>
                </a:p>
              </p:txBody>
            </p:sp>
            <p:pic>
              <p:nvPicPr>
                <p:cNvPr id="66" name="Picture 65">
                  <a:extLst>
                    <a:ext uri="{FF2B5EF4-FFF2-40B4-BE49-F238E27FC236}">
                      <a16:creationId xmlns:a16="http://schemas.microsoft.com/office/drawing/2014/main" id="{F6744563-FCAD-4870-ABE9-A0DC9A64D7E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 rot="5400000">
                  <a:off x="4624804" y="5653824"/>
                  <a:ext cx="317500" cy="368300"/>
                </a:xfrm>
                <a:prstGeom prst="rect">
                  <a:avLst/>
                </a:prstGeom>
              </p:spPr>
            </p:pic>
          </p:grp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6681329F-29C4-4421-87B0-3BC605782F43}"/>
                  </a:ext>
                </a:extLst>
              </p:cNvPr>
              <p:cNvGrpSpPr/>
              <p:nvPr/>
            </p:nvGrpSpPr>
            <p:grpSpPr>
              <a:xfrm>
                <a:off x="3578058" y="773673"/>
                <a:ext cx="4247474" cy="1801093"/>
                <a:chOff x="3578058" y="773673"/>
                <a:chExt cx="4247474" cy="1801093"/>
              </a:xfrm>
            </p:grpSpPr>
            <p:pic>
              <p:nvPicPr>
                <p:cNvPr id="48" name="Picture 47">
                  <a:extLst>
                    <a:ext uri="{FF2B5EF4-FFF2-40B4-BE49-F238E27FC236}">
                      <a16:creationId xmlns:a16="http://schemas.microsoft.com/office/drawing/2014/main" id="{E797CA9F-D910-4A44-96B3-1F43034ADFA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 rot="16200000">
                  <a:off x="3653090" y="1368357"/>
                  <a:ext cx="317500" cy="368300"/>
                </a:xfrm>
                <a:prstGeom prst="rect">
                  <a:avLst/>
                </a:prstGeom>
              </p:spPr>
            </p:pic>
            <p:sp>
              <p:nvSpPr>
                <p:cNvPr id="62" name="Rectangle 61">
                  <a:extLst>
                    <a:ext uri="{FF2B5EF4-FFF2-40B4-BE49-F238E27FC236}">
                      <a16:creationId xmlns:a16="http://schemas.microsoft.com/office/drawing/2014/main" id="{ED8F62F8-17EE-4BB4-8BD0-66DFC245A6DD}"/>
                    </a:ext>
                  </a:extLst>
                </p:cNvPr>
                <p:cNvSpPr/>
                <p:nvPr/>
              </p:nvSpPr>
              <p:spPr>
                <a:xfrm>
                  <a:off x="4572161" y="773673"/>
                  <a:ext cx="1424740" cy="667486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" sz="1600" b="1" i="0" u="none" strike="noStrike" kern="0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 Narrow" panose="020B0604020202020204" pitchFamily="34" charset="0"/>
                      <a:ea typeface="+mn-ea"/>
                      <a:cs typeface="Arial Narrow" panose="020B0604020202020204" pitchFamily="34" charset="0"/>
                    </a:rPr>
                    <a:t>Mensajería de calidad de la marca </a:t>
                  </a:r>
                  <a:endParaRPr kumimoji="0" lang="es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63" name="Rectangle 62">
                  <a:extLst>
                    <a:ext uri="{FF2B5EF4-FFF2-40B4-BE49-F238E27FC236}">
                      <a16:creationId xmlns:a16="http://schemas.microsoft.com/office/drawing/2014/main" id="{2E1552CA-4AD5-4293-880E-F8363321A6D1}"/>
                    </a:ext>
                  </a:extLst>
                </p:cNvPr>
                <p:cNvSpPr/>
                <p:nvPr/>
              </p:nvSpPr>
              <p:spPr>
                <a:xfrm>
                  <a:off x="6400792" y="1242126"/>
                  <a:ext cx="1424740" cy="1332640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s" sz="1600" b="1" i="0" u="none" kern="0" baseline="0">
                      <a:solidFill>
                        <a:prstClr val="white"/>
                      </a:solidFill>
                      <a:latin typeface="Arial Narrow" panose="020B0604020202020204" pitchFamily="34" charset="0"/>
                      <a:ea typeface="Arial Narrow" panose="020B0604020202020204" pitchFamily="34" charset="0"/>
                      <a:cs typeface="Arial Narrow" panose="020B0604020202020204" pitchFamily="34" charset="0"/>
                      <a:sym typeface="Arial Narrow" panose="020B0604020202020204" pitchFamily="34" charset="0"/>
                    </a:rPr>
                    <a:t>Demandar creación de campañas de calidad</a:t>
                  </a:r>
                  <a:endParaRPr lang="es" sz="1000" b="1" kern="0" dirty="0">
                    <a:solidFill>
                      <a:prstClr val="white"/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endParaRPr>
                </a:p>
                <a:p>
                  <a:pPr marL="7938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C05E6C88-4FC6-4000-BEE2-61B6376D54BC}"/>
                    </a:ext>
                  </a:extLst>
                </p:cNvPr>
                <p:cNvSpPr/>
                <p:nvPr/>
              </p:nvSpPr>
              <p:spPr>
                <a:xfrm>
                  <a:off x="3578058" y="1726188"/>
                  <a:ext cx="1613530" cy="288096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l" defTabSz="914400" rtl="0" eaLnBrk="1" fontAlgn="auto" latinLnBrk="0" hangingPunct="1">
                    <a:lnSpc>
                      <a:spcPts val="2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" sz="1800" b="1" i="0" u="none" strike="noStrike" kern="0" cap="none" spc="0" normalizeH="0" baseline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EJECUTAR</a:t>
                  </a:r>
                </a:p>
              </p:txBody>
            </p:sp>
          </p:grpSp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B53ADFD7-A35E-4AD3-8898-90DD347DC51D}"/>
                  </a:ext>
                </a:extLst>
              </p:cNvPr>
              <p:cNvGrpSpPr/>
              <p:nvPr/>
            </p:nvGrpSpPr>
            <p:grpSpPr>
              <a:xfrm>
                <a:off x="6894162" y="2323051"/>
                <a:ext cx="1519832" cy="2377016"/>
                <a:chOff x="6894162" y="2323051"/>
                <a:chExt cx="1519832" cy="2377016"/>
              </a:xfrm>
            </p:grpSpPr>
            <p:pic>
              <p:nvPicPr>
                <p:cNvPr id="45" name="Picture 44">
                  <a:extLst>
                    <a:ext uri="{FF2B5EF4-FFF2-40B4-BE49-F238E27FC236}">
                      <a16:creationId xmlns:a16="http://schemas.microsoft.com/office/drawing/2014/main" id="{A3CF8E68-551D-4F4A-A2EF-44F8FE255DB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7875390" y="2323051"/>
                  <a:ext cx="317500" cy="368300"/>
                </a:xfrm>
                <a:prstGeom prst="rect">
                  <a:avLst/>
                </a:prstGeom>
              </p:spPr>
            </p:pic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9E7AA7BC-6A3E-4E32-B87D-DC4954F31450}"/>
                    </a:ext>
                  </a:extLst>
                </p:cNvPr>
                <p:cNvSpPr/>
                <p:nvPr/>
              </p:nvSpPr>
              <p:spPr>
                <a:xfrm>
                  <a:off x="7028573" y="3481049"/>
                  <a:ext cx="1385421" cy="1219018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7938" marR="0" lvl="0" indent="0" algn="l" defTabSz="914400" rtl="0" eaLnBrk="1" fontAlgn="auto" latinLnBrk="0" hangingPunct="1">
                    <a:lnSpc>
                      <a:spcPts val="172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s" sz="1600" b="1" i="0" u="none" kern="0" baseline="0">
                      <a:solidFill>
                        <a:prstClr val="white"/>
                      </a:solidFill>
                      <a:latin typeface="Arial Narrow" panose="020B0604020202020204" pitchFamily="34" charset="0"/>
                      <a:ea typeface="Arial Narrow" panose="020B0604020202020204" pitchFamily="34" charset="0"/>
                      <a:cs typeface="Arial Narrow" panose="020B0604020202020204" pitchFamily="34" charset="0"/>
                      <a:sym typeface="Arial Narrow" panose="020B0604020202020204" pitchFamily="34" charset="0"/>
                    </a:rPr>
                    <a:t>Liderazgo de calidad fundamentado</a:t>
                  </a:r>
                  <a:endParaRPr lang="es" sz="1000" b="1" kern="0" dirty="0">
                    <a:solidFill>
                      <a:prstClr val="white"/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endParaRPr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E0C00602-4647-4201-B500-CCE6D7E909C6}"/>
                    </a:ext>
                  </a:extLst>
                </p:cNvPr>
                <p:cNvSpPr/>
                <p:nvPr/>
              </p:nvSpPr>
              <p:spPr>
                <a:xfrm>
                  <a:off x="6894162" y="2799913"/>
                  <a:ext cx="1424740" cy="276999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-9144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" sz="1800" b="1" i="0" u="none" strike="noStrike" kern="0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Arial" panose="020B0604020202020204" pitchFamily="34" charset="0"/>
                    </a:rPr>
                    <a:t>INNOVAR</a:t>
                  </a:r>
                </a:p>
              </p:txBody>
            </p:sp>
          </p:grpSp>
        </p:grpSp>
        <p:pic>
          <p:nvPicPr>
            <p:cNvPr id="34" name="Picture 33" descr="A close up of a logo&#10;&#10;Description automatically generated">
              <a:extLst>
                <a:ext uri="{FF2B5EF4-FFF2-40B4-BE49-F238E27FC236}">
                  <a16:creationId xmlns:a16="http://schemas.microsoft.com/office/drawing/2014/main" id="{CDAA5D35-7957-45FD-B021-9712002A9C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938424" y="2552049"/>
              <a:ext cx="2182640" cy="1110858"/>
            </a:xfrm>
            <a:prstGeom prst="rect">
              <a:avLst/>
            </a:prstGeom>
          </p:spPr>
        </p:pic>
      </p:grpSp>
      <p:sp>
        <p:nvSpPr>
          <p:cNvPr id="67" name="Rectangle 66">
            <a:extLst>
              <a:ext uri="{FF2B5EF4-FFF2-40B4-BE49-F238E27FC236}">
                <a16:creationId xmlns:a16="http://schemas.microsoft.com/office/drawing/2014/main" id="{488CB801-E89E-4954-BE2E-072D283B4570}"/>
              </a:ext>
            </a:extLst>
          </p:cNvPr>
          <p:cNvSpPr/>
          <p:nvPr/>
        </p:nvSpPr>
        <p:spPr>
          <a:xfrm>
            <a:off x="9848952" y="4500756"/>
            <a:ext cx="1233382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s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Creación de propuestas de valor de calidad </a:t>
            </a:r>
            <a:endParaRPr lang="es" sz="1000" b="1" kern="0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D1A90AF2-DA1B-4BF2-BECC-2ED8DC0A9F89}"/>
              </a:ext>
            </a:extLst>
          </p:cNvPr>
          <p:cNvSpPr/>
          <p:nvPr/>
        </p:nvSpPr>
        <p:spPr>
          <a:xfrm>
            <a:off x="6746411" y="2566930"/>
            <a:ext cx="1233382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lvl="0" algn="l" rtl="0">
              <a:lnSpc>
                <a:spcPts val="1720"/>
              </a:lnSpc>
              <a:spcAft>
                <a:spcPts val="600"/>
              </a:spcAft>
              <a:defRPr/>
            </a:pPr>
            <a:r>
              <a:rPr lang="es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Formación exhaustiva en calidad para los equipos de ventas y socios</a:t>
            </a:r>
            <a:endParaRPr lang="es" sz="1000" b="1" kern="0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94ABA605-AE1C-42C3-A626-66D85553EAD9}"/>
              </a:ext>
            </a:extLst>
          </p:cNvPr>
          <p:cNvSpPr/>
          <p:nvPr/>
        </p:nvSpPr>
        <p:spPr>
          <a:xfrm>
            <a:off x="7137451" y="4080495"/>
            <a:ext cx="1584496" cy="108524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pPr marL="7938" marR="0" lvl="0" indent="0" algn="l" defTabSz="914400" rtl="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s" sz="1600" b="1" i="0" u="none" kern="0" baseline="0">
                <a:solidFill>
                  <a:prstClr val="white"/>
                </a:solidFill>
                <a:latin typeface="Arial Narrow" panose="020B0604020202020204" pitchFamily="34" charset="0"/>
                <a:ea typeface="Arial Narrow" panose="020B0604020202020204" pitchFamily="34" charset="0"/>
                <a:cs typeface="Arial Narrow" panose="020B0604020202020204" pitchFamily="34" charset="0"/>
                <a:sym typeface="Arial Narrow" panose="020B0604020202020204" pitchFamily="34" charset="0"/>
              </a:rPr>
              <a:t>Amplio soporte y material de marketing</a:t>
            </a:r>
            <a:endParaRPr lang="es" sz="1000" b="1" kern="0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811908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Text&#10;&#10;Description automatically generated">
            <a:extLst>
              <a:ext uri="{FF2B5EF4-FFF2-40B4-BE49-F238E27FC236}">
                <a16:creationId xmlns:a16="http://schemas.microsoft.com/office/drawing/2014/main" id="{73A93014-2492-9046-BDE0-776DB513492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alphaModFix amt="65000"/>
          </a:blip>
          <a:srcRect t="-2" b="11811"/>
          <a:stretch/>
        </p:blipFill>
        <p:spPr>
          <a:xfrm>
            <a:off x="0" y="0"/>
            <a:ext cx="12192000" cy="6048000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34783113-37B8-4E41-92EE-55C4F1339F80}"/>
              </a:ext>
            </a:extLst>
          </p:cNvPr>
          <p:cNvSpPr/>
          <p:nvPr/>
        </p:nvSpPr>
        <p:spPr>
          <a:xfrm>
            <a:off x="3172054" y="95508"/>
            <a:ext cx="5903366" cy="590336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252D234-A85A-4B41-BDBD-CD5662B5911F}"/>
              </a:ext>
            </a:extLst>
          </p:cNvPr>
          <p:cNvGrpSpPr/>
          <p:nvPr/>
        </p:nvGrpSpPr>
        <p:grpSpPr>
          <a:xfrm>
            <a:off x="3313999" y="254017"/>
            <a:ext cx="5602848" cy="5602848"/>
            <a:chOff x="2488831" y="448219"/>
            <a:chExt cx="6065659" cy="6065659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35F65EBD-E389-44F8-8C54-218985D9BF1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 rot="3217091">
              <a:off x="2488831" y="448219"/>
              <a:ext cx="6065659" cy="6065659"/>
            </a:xfrm>
            <a:prstGeom prst="rect">
              <a:avLst/>
            </a:prstGeom>
          </p:spPr>
        </p:pic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2F3D576D-E172-45EB-AAEC-6EC1F4661C2A}"/>
                </a:ext>
              </a:extLst>
            </p:cNvPr>
            <p:cNvGrpSpPr/>
            <p:nvPr/>
          </p:nvGrpSpPr>
          <p:grpSpPr>
            <a:xfrm>
              <a:off x="2749832" y="2799913"/>
              <a:ext cx="2560695" cy="3196811"/>
              <a:chOff x="2749832" y="2799913"/>
              <a:chExt cx="2560695" cy="319681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00DF82E2-BF30-4AEF-AC13-A3923B8D059C}"/>
                  </a:ext>
                </a:extLst>
              </p:cNvPr>
              <p:cNvSpPr/>
              <p:nvPr/>
            </p:nvSpPr>
            <p:spPr>
              <a:xfrm>
                <a:off x="4252926" y="5346390"/>
                <a:ext cx="1057601" cy="276999"/>
              </a:xfrm>
              <a:prstGeom prst="rect">
                <a:avLst/>
              </a:prstGeom>
              <a:noFill/>
              <a:ln w="6350" cap="flat" cmpd="sng" algn="ctr">
                <a:noFill/>
                <a:prstDash val="solid"/>
              </a:ln>
              <a:effec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-9144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" sz="1800" b="1" i="0" u="none" strike="noStrike" kern="0" cap="none" spc="0" normalizeH="0" baseline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 pitchFamily="34" charset="0"/>
                  </a:rPr>
                  <a:t>CRECER</a:t>
                </a:r>
              </a:p>
            </p:txBody>
          </p:sp>
          <p:pic>
            <p:nvPicPr>
              <p:cNvPr id="32" name="Picture 31">
                <a:extLst>
                  <a:ext uri="{FF2B5EF4-FFF2-40B4-BE49-F238E27FC236}">
                    <a16:creationId xmlns:a16="http://schemas.microsoft.com/office/drawing/2014/main" id="{B6E4824F-637C-431F-BBB2-9D1419E7F9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 rot="5400000">
                <a:off x="4624804" y="5653824"/>
                <a:ext cx="317500" cy="368300"/>
              </a:xfrm>
              <a:prstGeom prst="rect">
                <a:avLst/>
              </a:prstGeom>
            </p:spPr>
          </p:pic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7A0973F6-BBE9-4417-91B0-045606E7C396}"/>
                  </a:ext>
                </a:extLst>
              </p:cNvPr>
              <p:cNvSpPr/>
              <p:nvPr/>
            </p:nvSpPr>
            <p:spPr>
              <a:xfrm>
                <a:off x="3157201" y="4083000"/>
                <a:ext cx="1307593" cy="1332640"/>
              </a:xfrm>
              <a:prstGeom prst="rect">
                <a:avLst/>
              </a:prstGeom>
              <a:noFill/>
              <a:ln w="635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7938" marR="0" lvl="0" indent="0" algn="l" defTabSz="914400" rtl="0" eaLnBrk="1" fontAlgn="auto" latinLnBrk="0" hangingPunct="1">
                  <a:lnSpc>
                    <a:spcPts val="172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s" sz="1600" b="1" i="0" u="none" kern="0" baseline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Mercados emergentes</a:t>
                </a:r>
                <a:endParaRPr kumimoji="0" lang="e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endParaRP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es" sz="1000" b="1" i="0" u="none" kern="0" baseline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Ampliar China y la India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es" sz="1000" b="1" i="0" u="none" kern="0" baseline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Manipuladores telescópicos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es" sz="1000" b="1" i="0" u="none" kern="0" baseline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Canal de venta</a:t>
                </a:r>
              </a:p>
              <a:p>
                <a:pPr marL="7938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E4B535B-FF68-42A8-9C9E-8DFFF562D480}"/>
                  </a:ext>
                </a:extLst>
              </p:cNvPr>
              <p:cNvSpPr/>
              <p:nvPr/>
            </p:nvSpPr>
            <p:spPr>
              <a:xfrm>
                <a:off x="2749832" y="2799913"/>
                <a:ext cx="1307592" cy="1332639"/>
              </a:xfrm>
              <a:prstGeom prst="rect">
                <a:avLst/>
              </a:prstGeom>
              <a:noFill/>
              <a:ln w="635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7938" marR="0" lvl="0" indent="0" algn="l" defTabSz="914400" rtl="0" eaLnBrk="1" fontAlgn="auto" latinLnBrk="0" hangingPunct="1">
                  <a:lnSpc>
                    <a:spcPts val="172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" sz="1600" b="1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rPr>
                  <a:t>Soluciones para el ciclo de vida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es" sz="1000" b="1" i="0" u="none" kern="0" baseline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Ampliar piezas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es" sz="1000" b="1" i="0" u="none" kern="0" baseline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Sistema telemático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es" sz="1000" b="1" i="0" u="none" kern="0" baseline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Reacondicionamiento</a:t>
                </a:r>
              </a:p>
              <a:p>
                <a:pPr marL="7938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" sz="1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rPr>
                  <a:t> </a:t>
                </a:r>
                <a:endParaRPr kumimoji="0" lang="e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endParaRP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F4176DE4-36E3-4C65-8B11-999318EAECA1}"/>
                </a:ext>
              </a:extLst>
            </p:cNvPr>
            <p:cNvGrpSpPr/>
            <p:nvPr/>
          </p:nvGrpSpPr>
          <p:grpSpPr>
            <a:xfrm>
              <a:off x="3578058" y="763867"/>
              <a:ext cx="3962299" cy="1559183"/>
              <a:chOff x="3578058" y="763867"/>
              <a:chExt cx="3962299" cy="1559183"/>
            </a:xfrm>
          </p:grpSpPr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EE1C75BB-A508-4AF4-A77D-EA31F6C1D79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 rot="16200000">
                <a:off x="3653090" y="1368357"/>
                <a:ext cx="317500" cy="368300"/>
              </a:xfrm>
              <a:prstGeom prst="rect">
                <a:avLst/>
              </a:prstGeom>
            </p:spPr>
          </p:pic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03799BC4-1F7D-48FB-BA26-B18EACF5D722}"/>
                  </a:ext>
                </a:extLst>
              </p:cNvPr>
              <p:cNvSpPr/>
              <p:nvPr/>
            </p:nvSpPr>
            <p:spPr>
              <a:xfrm>
                <a:off x="4927336" y="763867"/>
                <a:ext cx="1307592" cy="1164283"/>
              </a:xfrm>
              <a:prstGeom prst="rect">
                <a:avLst/>
              </a:prstGeom>
              <a:noFill/>
              <a:ln w="635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7938" marR="0" lvl="0" indent="0" algn="l" defTabSz="914400" rtl="0" eaLnBrk="1" fontAlgn="auto" latinLnBrk="0" hangingPunct="1">
                  <a:lnSpc>
                    <a:spcPts val="172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" sz="1600" b="1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rPr>
                  <a:t>Procesos y</a:t>
                </a:r>
                <a:br>
                  <a:rPr kumimoji="0" lang="es" sz="1600" b="1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rPr>
                </a:br>
                <a:r>
                  <a:rPr kumimoji="0" lang="es" sz="1600" b="1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rPr>
                  <a:t>sistemas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es" sz="1000" b="1" i="0" u="none" kern="0" baseline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Informes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es" sz="1000" b="1" i="0" u="none" kern="0" baseline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QMS y SIOP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es" sz="1000" b="1" i="0" u="none" kern="0" baseline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Flexibilidad</a:t>
                </a:r>
              </a:p>
              <a:p>
                <a:pPr marL="7938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endParaRP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A7D8C60A-73C4-4757-9D41-9C5498E30DE1}"/>
                  </a:ext>
                </a:extLst>
              </p:cNvPr>
              <p:cNvSpPr/>
              <p:nvPr/>
            </p:nvSpPr>
            <p:spPr>
              <a:xfrm>
                <a:off x="6115617" y="990410"/>
                <a:ext cx="1424740" cy="1332640"/>
              </a:xfrm>
              <a:prstGeom prst="rect">
                <a:avLst/>
              </a:prstGeom>
              <a:noFill/>
              <a:ln w="635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7938" marR="0" lvl="0" indent="0" algn="l" defTabSz="914400" rtl="0" eaLnBrk="1" fontAlgn="auto" latinLnBrk="0" hangingPunct="1">
                  <a:lnSpc>
                    <a:spcPts val="172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" sz="1600" b="1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rPr>
                  <a:t>Cultura y responsabilidad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es" sz="1000" b="1" i="0" u="none" kern="0" baseline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Desarrollo de talento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es" sz="1000" b="1" i="0" u="none" kern="0" baseline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Mejora continua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es" sz="1000" b="1" i="0" u="none" kern="0" baseline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ROI</a:t>
                </a:r>
              </a:p>
              <a:p>
                <a:pPr marL="7938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endParaRP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3F9A1A5F-ECA3-4320-BDD6-ED8BB0F0525C}"/>
                  </a:ext>
                </a:extLst>
              </p:cNvPr>
              <p:cNvSpPr/>
              <p:nvPr/>
            </p:nvSpPr>
            <p:spPr>
              <a:xfrm>
                <a:off x="3578058" y="1730674"/>
                <a:ext cx="1453263" cy="277666"/>
              </a:xfrm>
              <a:prstGeom prst="rect">
                <a:avLst/>
              </a:prstGeom>
              <a:noFill/>
              <a:ln w="6350" cap="flat" cmpd="sng" algn="ctr">
                <a:noFill/>
                <a:prstDash val="solid"/>
              </a:ln>
              <a:effec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-91440" algn="l" defTabSz="914400" rtl="0" eaLnBrk="1" fontAlgn="auto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" sz="1800" b="1" i="0" u="none" strike="noStrike" kern="0" cap="none" spc="0" normalizeH="0" baseline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JECUTAR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E55AFA02-FFDA-42F7-95F0-8C2C002F33AC}"/>
                </a:ext>
              </a:extLst>
            </p:cNvPr>
            <p:cNvGrpSpPr/>
            <p:nvPr/>
          </p:nvGrpSpPr>
          <p:grpSpPr>
            <a:xfrm>
              <a:off x="6079729" y="2323051"/>
              <a:ext cx="2334265" cy="3657247"/>
              <a:chOff x="6079729" y="2323051"/>
              <a:chExt cx="2334265" cy="3657247"/>
            </a:xfrm>
          </p:grpSpPr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58D5C4A0-228E-4A21-A30B-B2DC66F4CC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875390" y="2323051"/>
                <a:ext cx="317500" cy="368300"/>
              </a:xfrm>
              <a:prstGeom prst="rect">
                <a:avLst/>
              </a:prstGeom>
            </p:spPr>
          </p:pic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CFD7D67-F5F4-4FA2-8674-1CC296D1B27D}"/>
                  </a:ext>
                </a:extLst>
              </p:cNvPr>
              <p:cNvSpPr/>
              <p:nvPr/>
            </p:nvSpPr>
            <p:spPr>
              <a:xfrm>
                <a:off x="7028573" y="3481049"/>
                <a:ext cx="1385421" cy="1219018"/>
              </a:xfrm>
              <a:prstGeom prst="rect">
                <a:avLst/>
              </a:prstGeom>
              <a:noFill/>
              <a:ln w="635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7938" marR="0" lvl="0" indent="0" algn="l" defTabSz="914400" rtl="0" eaLnBrk="1" fontAlgn="auto" latinLnBrk="0" hangingPunct="1">
                  <a:lnSpc>
                    <a:spcPts val="172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" sz="1600" b="1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rPr>
                  <a:t>Productos y </a:t>
                </a:r>
                <a:br>
                  <a:rPr kumimoji="0" lang="es" sz="1600" b="1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rPr>
                </a:br>
                <a:r>
                  <a:rPr kumimoji="0" lang="es" sz="1600" b="1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rPr>
                  <a:t>servicios adecuados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es" sz="1000" b="1" i="0" u="none" kern="0" baseline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Valor de la marca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es" sz="1000" b="1" i="0" u="none" kern="0" baseline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Centrado en TCO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es" sz="1000" b="1" i="0" u="none" kern="0" baseline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Sistema telemático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BACF1183-5336-43FD-9D31-F1A9EF426C50}"/>
                  </a:ext>
                </a:extLst>
              </p:cNvPr>
              <p:cNvSpPr/>
              <p:nvPr/>
            </p:nvSpPr>
            <p:spPr>
              <a:xfrm>
                <a:off x="6079729" y="4821257"/>
                <a:ext cx="1350476" cy="1159041"/>
              </a:xfrm>
              <a:prstGeom prst="rect">
                <a:avLst/>
              </a:prstGeom>
              <a:noFill/>
              <a:ln w="635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7938" marR="0" lvl="0" indent="0" algn="l" defTabSz="914400" rtl="0" eaLnBrk="1" fontAlgn="auto" latinLnBrk="0" hangingPunct="1">
                  <a:lnSpc>
                    <a:spcPts val="172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" sz="1600" b="1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rPr>
                  <a:t>Competitividad de costes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es" sz="1000" b="1" i="0" u="none" kern="0" baseline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Productividad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es" sz="1000" b="1" i="0" u="none" kern="0" baseline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Coste de salida</a:t>
                </a:r>
              </a:p>
              <a:p>
                <a:pPr marL="179388" lvl="0" indent="-171450" algn="l" rtl="0">
                  <a:buFont typeface="Arial" panose="020B0604020202020204" pitchFamily="34" charset="0"/>
                  <a:buChar char="•"/>
                  <a:defRPr/>
                </a:pPr>
                <a:r>
                  <a:rPr lang="es" sz="1000" b="1" i="0" u="none" kern="0" baseline="0">
                    <a:solidFill>
                      <a:prstClr val="white"/>
                    </a:solidFill>
                    <a:latin typeface="Arial Narrow" panose="020B0604020202020204" pitchFamily="34" charset="0"/>
                    <a:ea typeface="Arial Narrow" panose="020B0604020202020204" pitchFamily="34" charset="0"/>
                    <a:cs typeface="Arial Narrow" panose="020B0604020202020204" pitchFamily="34" charset="0"/>
                    <a:sym typeface="Arial Narrow" panose="020B0604020202020204" pitchFamily="34" charset="0"/>
                  </a:rPr>
                  <a:t>Huella</a:t>
                </a:r>
              </a:p>
              <a:p>
                <a:pPr marL="7938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endParaRPr>
              </a:p>
              <a:p>
                <a:pPr marL="293688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s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endParaRP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D48199CD-E299-4F37-AC4F-8046710ADBA5}"/>
                  </a:ext>
                </a:extLst>
              </p:cNvPr>
              <p:cNvSpPr/>
              <p:nvPr/>
            </p:nvSpPr>
            <p:spPr>
              <a:xfrm>
                <a:off x="6894162" y="2799913"/>
                <a:ext cx="1424740" cy="276999"/>
              </a:xfrm>
              <a:prstGeom prst="rect">
                <a:avLst/>
              </a:prstGeom>
              <a:noFill/>
              <a:ln w="6350" cap="flat" cmpd="sng" algn="ctr">
                <a:noFill/>
                <a:prstDash val="solid"/>
              </a:ln>
              <a:effec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-9144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" sz="1800" b="1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 pitchFamily="34" charset="0"/>
                  </a:rPr>
                  <a:t>INNOVAR</a:t>
                </a:r>
              </a:p>
            </p:txBody>
          </p:sp>
        </p:grpSp>
      </p:grpSp>
      <p:pic>
        <p:nvPicPr>
          <p:cNvPr id="36" name="Picture 35" descr="A close up of a logo&#10;&#10;Description automatically generated">
            <a:extLst>
              <a:ext uri="{FF2B5EF4-FFF2-40B4-BE49-F238E27FC236}">
                <a16:creationId xmlns:a16="http://schemas.microsoft.com/office/drawing/2014/main" id="{8139FF44-395A-42AC-A22D-85B6346A241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24104" y="2500013"/>
            <a:ext cx="2182640" cy="1110858"/>
          </a:xfrm>
          <a:prstGeom prst="rect">
            <a:avLst/>
          </a:prstGeom>
        </p:spPr>
      </p:pic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es" sz="3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3661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A437CE1F-C1AC-9445-A2BE-D1E891B6665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alphaModFix amt="65000"/>
          </a:blip>
          <a:srcRect t="-2" b="11811"/>
          <a:stretch/>
        </p:blipFill>
        <p:spPr>
          <a:xfrm>
            <a:off x="0" y="0"/>
            <a:ext cx="12192000" cy="6048000"/>
          </a:xfrm>
          <a:prstGeom prst="rect">
            <a:avLst/>
          </a:prstGeom>
        </p:spPr>
      </p:pic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es" sz="3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2D659BD-305D-40B0-A051-2B7072FE2896}"/>
              </a:ext>
            </a:extLst>
          </p:cNvPr>
          <p:cNvSpPr/>
          <p:nvPr/>
        </p:nvSpPr>
        <p:spPr>
          <a:xfrm>
            <a:off x="784861" y="596396"/>
            <a:ext cx="10728960" cy="4983918"/>
          </a:xfrm>
          <a:prstGeom prst="ellipse">
            <a:avLst/>
          </a:prstGeom>
          <a:solidFill>
            <a:schemeClr val="bg1"/>
          </a:solidFill>
          <a:ln w="38100">
            <a:solidFill>
              <a:srgbClr val="006F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140C767-51B3-4F8B-8EDE-9F1BEE17CAFB}"/>
              </a:ext>
            </a:extLst>
          </p:cNvPr>
          <p:cNvSpPr/>
          <p:nvPr/>
        </p:nvSpPr>
        <p:spPr>
          <a:xfrm>
            <a:off x="784861" y="1199894"/>
            <a:ext cx="7307579" cy="3776921"/>
          </a:xfrm>
          <a:prstGeom prst="ellipse">
            <a:avLst/>
          </a:prstGeom>
          <a:solidFill>
            <a:srgbClr val="006FB1">
              <a:alpha val="50196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68CFEACE-5171-457A-83DA-B7AEA5F1A21C}"/>
              </a:ext>
            </a:extLst>
          </p:cNvPr>
          <p:cNvSpPr/>
          <p:nvPr/>
        </p:nvSpPr>
        <p:spPr>
          <a:xfrm>
            <a:off x="784862" y="1752437"/>
            <a:ext cx="4952998" cy="2671838"/>
          </a:xfrm>
          <a:prstGeom prst="ellipse">
            <a:avLst/>
          </a:prstGeom>
          <a:solidFill>
            <a:schemeClr val="bg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CACA7BF-5776-46B8-A44F-714AB0F1798A}"/>
              </a:ext>
            </a:extLst>
          </p:cNvPr>
          <p:cNvSpPr/>
          <p:nvPr/>
        </p:nvSpPr>
        <p:spPr>
          <a:xfrm>
            <a:off x="784861" y="2230268"/>
            <a:ext cx="2819400" cy="1716174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E8DA8C4-E785-4916-8213-9E09333D9FAC}"/>
              </a:ext>
            </a:extLst>
          </p:cNvPr>
          <p:cNvSpPr txBox="1"/>
          <p:nvPr/>
        </p:nvSpPr>
        <p:spPr>
          <a:xfrm>
            <a:off x="5737861" y="2647965"/>
            <a:ext cx="2286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2400" b="1" i="0" u="none" baseline="0">
                <a:solidFill>
                  <a:schemeClr val="bg1"/>
                </a:solidFill>
              </a:rPr>
              <a:t>Planificación</a:t>
            </a:r>
          </a:p>
          <a:p>
            <a:pPr algn="ctr" rtl="0"/>
            <a:r>
              <a:rPr lang="es" sz="2400" b="1" i="0" u="none" baseline="0">
                <a:solidFill>
                  <a:schemeClr val="bg1"/>
                </a:solidFill>
              </a:rPr>
              <a:t>de la calidad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FD0845-585A-4597-AE90-AB8124ABEF77}"/>
              </a:ext>
            </a:extLst>
          </p:cNvPr>
          <p:cNvSpPr txBox="1"/>
          <p:nvPr/>
        </p:nvSpPr>
        <p:spPr>
          <a:xfrm>
            <a:off x="3467493" y="2647965"/>
            <a:ext cx="20650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2400" b="1" i="0" u="none" baseline="0" dirty="0">
                <a:solidFill>
                  <a:schemeClr val="bg1"/>
                </a:solidFill>
              </a:rPr>
              <a:t>Aseguramiento</a:t>
            </a:r>
            <a:br>
              <a:rPr lang="es" sz="2400" b="1" dirty="0">
                <a:solidFill>
                  <a:schemeClr val="bg1"/>
                </a:solidFill>
              </a:rPr>
            </a:br>
            <a:r>
              <a:rPr lang="es" sz="2400" b="1" i="0" u="none" baseline="0" dirty="0">
                <a:solidFill>
                  <a:schemeClr val="bg1"/>
                </a:solidFill>
              </a:rPr>
              <a:t>de la calidad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2C148BF-375E-4BE1-A65C-D7DEC83E2BF5}"/>
              </a:ext>
            </a:extLst>
          </p:cNvPr>
          <p:cNvSpPr txBox="1"/>
          <p:nvPr/>
        </p:nvSpPr>
        <p:spPr>
          <a:xfrm>
            <a:off x="784859" y="2647965"/>
            <a:ext cx="27432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2400" b="1" i="0" u="none" baseline="0">
                <a:solidFill>
                  <a:schemeClr val="bg1"/>
                </a:solidFill>
              </a:rPr>
              <a:t>Control de</a:t>
            </a:r>
            <a:br>
              <a:rPr lang="es" sz="2400" b="1">
                <a:solidFill>
                  <a:schemeClr val="bg1"/>
                </a:solidFill>
              </a:rPr>
            </a:br>
            <a:r>
              <a:rPr lang="es" sz="2400" b="1" i="0" u="none" baseline="0">
                <a:solidFill>
                  <a:schemeClr val="bg1"/>
                </a:solidFill>
              </a:rPr>
              <a:t>Calidad</a:t>
            </a:r>
          </a:p>
        </p:txBody>
      </p:sp>
      <p:pic>
        <p:nvPicPr>
          <p:cNvPr id="25" name="Picture 24" descr="A close up of a logo&#10;&#10;Description automatically generated">
            <a:extLst>
              <a:ext uri="{FF2B5EF4-FFF2-40B4-BE49-F238E27FC236}">
                <a16:creationId xmlns:a16="http://schemas.microsoft.com/office/drawing/2014/main" id="{A588A19F-CCC4-4775-9A15-F00904A93F4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85666" y="2387232"/>
            <a:ext cx="2587134" cy="1316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4204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40" descr="A picture containing text, person, person, indoor&#10;&#10;Description automatically generated">
            <a:extLst>
              <a:ext uri="{FF2B5EF4-FFF2-40B4-BE49-F238E27FC236}">
                <a16:creationId xmlns:a16="http://schemas.microsoft.com/office/drawing/2014/main" id="{62D6B78A-06DC-614E-82C0-146773F8580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-2" b="11811"/>
          <a:stretch/>
        </p:blipFill>
        <p:spPr>
          <a:xfrm>
            <a:off x="0" y="0"/>
            <a:ext cx="12192000" cy="6048000"/>
          </a:xfrm>
          <a:prstGeom prst="rect">
            <a:avLst/>
          </a:prstGeom>
        </p:spPr>
      </p:pic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es" sz="3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040717F-F61A-4940-AD5A-074559AA9C30}"/>
              </a:ext>
            </a:extLst>
          </p:cNvPr>
          <p:cNvGrpSpPr/>
          <p:nvPr/>
        </p:nvGrpSpPr>
        <p:grpSpPr>
          <a:xfrm>
            <a:off x="3166161" y="248165"/>
            <a:ext cx="5859677" cy="5627938"/>
            <a:chOff x="3166161" y="248165"/>
            <a:chExt cx="5859677" cy="5627938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9CB9A235-4F71-D742-9CB5-15C1FF59F0A1}"/>
                </a:ext>
              </a:extLst>
            </p:cNvPr>
            <p:cNvGrpSpPr/>
            <p:nvPr/>
          </p:nvGrpSpPr>
          <p:grpSpPr>
            <a:xfrm>
              <a:off x="3166161" y="248165"/>
              <a:ext cx="5859677" cy="5627938"/>
              <a:chOff x="3166161" y="248165"/>
              <a:chExt cx="5859677" cy="5627938"/>
            </a:xfrm>
          </p:grpSpPr>
          <p:pic>
            <p:nvPicPr>
              <p:cNvPr id="42" name="Graphic 41">
                <a:extLst>
                  <a:ext uri="{FF2B5EF4-FFF2-40B4-BE49-F238E27FC236}">
                    <a16:creationId xmlns:a16="http://schemas.microsoft.com/office/drawing/2014/main" id="{02C0396A-FC5B-3543-8A5E-C6D5115516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166161" y="248165"/>
                <a:ext cx="5859677" cy="5627938"/>
              </a:xfrm>
              <a:prstGeom prst="rect">
                <a:avLst/>
              </a:prstGeom>
            </p:spPr>
          </p:pic>
          <p:pic>
            <p:nvPicPr>
              <p:cNvPr id="10" name="Graphic 9">
                <a:extLst>
                  <a:ext uri="{FF2B5EF4-FFF2-40B4-BE49-F238E27FC236}">
                    <a16:creationId xmlns:a16="http://schemas.microsoft.com/office/drawing/2014/main" id="{C22A1230-5350-2845-920F-ACCEE57268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3166161" y="248165"/>
                <a:ext cx="5859677" cy="5627938"/>
              </a:xfrm>
              <a:prstGeom prst="rect">
                <a:avLst/>
              </a:prstGeom>
            </p:spPr>
          </p:pic>
          <p:pic>
            <p:nvPicPr>
              <p:cNvPr id="32" name="Graphic 31">
                <a:extLst>
                  <a:ext uri="{FF2B5EF4-FFF2-40B4-BE49-F238E27FC236}">
                    <a16:creationId xmlns:a16="http://schemas.microsoft.com/office/drawing/2014/main" id="{19EDB59A-0A89-674C-B723-50D06EB064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5009035" y="2084179"/>
                <a:ext cx="2173929" cy="2184964"/>
              </a:xfrm>
              <a:prstGeom prst="rect">
                <a:avLst/>
              </a:prstGeom>
            </p:spPr>
          </p:pic>
        </p:grpSp>
        <p:sp>
          <p:nvSpPr>
            <p:cNvPr id="16" name="Text Placeholder 3">
              <a:extLst>
                <a:ext uri="{FF2B5EF4-FFF2-40B4-BE49-F238E27FC236}">
                  <a16:creationId xmlns:a16="http://schemas.microsoft.com/office/drawing/2014/main" id="{95D14F16-71BF-443E-802B-97F70999E264}"/>
                </a:ext>
              </a:extLst>
            </p:cNvPr>
            <p:cNvSpPr txBox="1">
              <a:spLocks/>
            </p:cNvSpPr>
            <p:nvPr/>
          </p:nvSpPr>
          <p:spPr>
            <a:xfrm>
              <a:off x="3318604" y="4166203"/>
              <a:ext cx="1860485" cy="702209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Tx/>
                <a:buNone/>
                <a:defRPr sz="2400" b="1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sz="180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sz="180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sz="160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sz="140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lnSpc>
                  <a:spcPts val="2480"/>
                </a:lnSpc>
              </a:pPr>
              <a:r>
                <a:rPr lang="es" b="1" i="0" u="none" baseline="0" dirty="0">
                  <a:solidFill>
                    <a:schemeClr val="bg1"/>
                  </a:solidFill>
                </a:rPr>
                <a:t>Aseguramiento</a:t>
              </a:r>
              <a:br>
                <a:rPr lang="es" dirty="0">
                  <a:solidFill>
                    <a:schemeClr val="bg1"/>
                  </a:solidFill>
                </a:rPr>
              </a:br>
              <a:r>
                <a:rPr lang="es" b="1" i="0" u="none" baseline="0" dirty="0">
                  <a:solidFill>
                    <a:schemeClr val="bg1"/>
                  </a:solidFill>
                </a:rPr>
                <a:t>de la calidad</a:t>
              </a:r>
            </a:p>
          </p:txBody>
        </p:sp>
        <p:sp>
          <p:nvSpPr>
            <p:cNvPr id="18" name="Text Placeholder 3">
              <a:extLst>
                <a:ext uri="{FF2B5EF4-FFF2-40B4-BE49-F238E27FC236}">
                  <a16:creationId xmlns:a16="http://schemas.microsoft.com/office/drawing/2014/main" id="{FE288BAE-E37F-406C-9E35-78C2776A583B}"/>
                </a:ext>
              </a:extLst>
            </p:cNvPr>
            <p:cNvSpPr txBox="1">
              <a:spLocks/>
            </p:cNvSpPr>
            <p:nvPr/>
          </p:nvSpPr>
          <p:spPr>
            <a:xfrm>
              <a:off x="4619243" y="810545"/>
              <a:ext cx="2953512" cy="838349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Tx/>
                <a:buNone/>
                <a:defRPr sz="2400" b="1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sz="180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sz="180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sz="160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sz="140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lnSpc>
                  <a:spcPts val="2480"/>
                </a:lnSpc>
              </a:pPr>
              <a:r>
                <a:rPr lang="es" b="1" i="0" u="none" baseline="0">
                  <a:solidFill>
                    <a:schemeClr val="bg1"/>
                  </a:solidFill>
                </a:rPr>
                <a:t>Planificación</a:t>
              </a:r>
              <a:br>
                <a:rPr lang="es">
                  <a:solidFill>
                    <a:schemeClr val="bg1"/>
                  </a:solidFill>
                </a:rPr>
              </a:br>
              <a:r>
                <a:rPr lang="es" b="1" i="0" u="none" baseline="0">
                  <a:solidFill>
                    <a:schemeClr val="bg1"/>
                  </a:solidFill>
                </a:rPr>
                <a:t>de la calidad</a:t>
              </a:r>
            </a:p>
          </p:txBody>
        </p:sp>
        <p:sp>
          <p:nvSpPr>
            <p:cNvPr id="19" name="Text Placeholder 3">
              <a:extLst>
                <a:ext uri="{FF2B5EF4-FFF2-40B4-BE49-F238E27FC236}">
                  <a16:creationId xmlns:a16="http://schemas.microsoft.com/office/drawing/2014/main" id="{BB7097E8-07C8-48BC-9472-9ECF3CB3A34F}"/>
                </a:ext>
              </a:extLst>
            </p:cNvPr>
            <p:cNvSpPr txBox="1">
              <a:spLocks/>
            </p:cNvSpPr>
            <p:nvPr/>
          </p:nvSpPr>
          <p:spPr>
            <a:xfrm>
              <a:off x="7192017" y="3922304"/>
              <a:ext cx="1695674" cy="838349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Tx/>
                <a:buNone/>
                <a:defRPr sz="2400" b="1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sz="180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sz="180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sz="160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sz="140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lnSpc>
                  <a:spcPts val="2480"/>
                </a:lnSpc>
              </a:pPr>
              <a:r>
                <a:rPr lang="es" b="1" i="0" u="none" baseline="0">
                  <a:solidFill>
                    <a:schemeClr val="bg1"/>
                  </a:solidFill>
                </a:rPr>
                <a:t>Control de </a:t>
              </a:r>
              <a:br>
                <a:rPr lang="es">
                  <a:solidFill>
                    <a:schemeClr val="bg1"/>
                  </a:solidFill>
                </a:rPr>
              </a:br>
              <a:r>
                <a:rPr lang="es" b="1" i="0" u="none" baseline="0">
                  <a:solidFill>
                    <a:schemeClr val="bg1"/>
                  </a:solidFill>
                </a:rPr>
                <a:t>Calidad</a:t>
              </a:r>
            </a:p>
          </p:txBody>
        </p:sp>
        <p:pic>
          <p:nvPicPr>
            <p:cNvPr id="34" name="Picture 33" descr="A close up of a logo&#10;&#10;Description automatically generated">
              <a:extLst>
                <a:ext uri="{FF2B5EF4-FFF2-40B4-BE49-F238E27FC236}">
                  <a16:creationId xmlns:a16="http://schemas.microsoft.com/office/drawing/2014/main" id="{1B3FBB6F-E4FB-B448-B139-A793911CD94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5316925" y="2897083"/>
              <a:ext cx="1579279" cy="8037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6411721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B6B878B9-7588-C744-8FA5-6E263D6CCE0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3491" y="219363"/>
            <a:ext cx="5717309" cy="5717309"/>
          </a:xfrm>
          <a:prstGeom prst="rect">
            <a:avLst/>
          </a:prstGeom>
        </p:spPr>
      </p:pic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es" sz="3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1D578667-CF69-4B33-85B5-0849B414372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98271" y="2648526"/>
            <a:ext cx="1687748" cy="858982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EC368A5C-A74F-4598-9AC6-67963E93C1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0863" y="2473858"/>
            <a:ext cx="5167937" cy="640080"/>
          </a:xfrm>
        </p:spPr>
        <p:txBody>
          <a:bodyPr/>
          <a:lstStyle/>
          <a:p>
            <a:pPr algn="l" rtl="0"/>
            <a:r>
              <a:rPr lang="es" b="1" i="0" u="none" baseline="0">
                <a:solidFill>
                  <a:schemeClr val="tx1"/>
                </a:solidFill>
              </a:rPr>
              <a:t>Genie</a:t>
            </a:r>
            <a:endParaRPr lang="es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7E7A390-466B-43F2-B0E8-FCB406FCCF1B}"/>
              </a:ext>
            </a:extLst>
          </p:cNvPr>
          <p:cNvSpPr txBox="1">
            <a:spLocks/>
          </p:cNvSpPr>
          <p:nvPr/>
        </p:nvSpPr>
        <p:spPr>
          <a:xfrm>
            <a:off x="6820863" y="2996227"/>
            <a:ext cx="5167937" cy="6400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None/>
              <a:defRPr sz="30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0"/>
            <a:r>
              <a:rPr lang="es" b="1" i="0" u="none" baseline="0"/>
              <a:t>Rueda Quality By Design</a:t>
            </a:r>
          </a:p>
        </p:txBody>
      </p:sp>
      <p:pic>
        <p:nvPicPr>
          <p:cNvPr id="4" name="Picture 3" descr="A picture containing diagram&#10;&#10;Description automatically generated">
            <a:extLst>
              <a:ext uri="{FF2B5EF4-FFF2-40B4-BE49-F238E27FC236}">
                <a16:creationId xmlns:a16="http://schemas.microsoft.com/office/drawing/2014/main" id="{3EB04E3F-1D8D-EE44-ADEA-265B0A9A10A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05129" y="1951490"/>
            <a:ext cx="3181943" cy="1044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5182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220E1DB4-9875-0547-9C9F-E09169096B10}"/>
              </a:ext>
            </a:extLst>
          </p:cNvPr>
          <p:cNvSpPr/>
          <p:nvPr/>
        </p:nvSpPr>
        <p:spPr>
          <a:xfrm>
            <a:off x="488074" y="1683000"/>
            <a:ext cx="2112885" cy="3492000"/>
          </a:xfrm>
          <a:prstGeom prst="roundRect">
            <a:avLst>
              <a:gd name="adj" fmla="val 8264"/>
            </a:avLst>
          </a:prstGeom>
          <a:solidFill>
            <a:schemeClr val="tx1"/>
          </a:solidFill>
          <a:ln>
            <a:noFill/>
          </a:ln>
          <a:effectLst>
            <a:outerShdw blurRad="711200" dist="685800" dir="5400000" sx="87000" sy="87000" algn="ctr" rotWithShape="0">
              <a:srgbClr val="000000">
                <a:alpha val="1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72000" rtlCol="0" anchor="ctr"/>
          <a:lstStyle/>
          <a:p>
            <a:pPr algn="ctr" rtl="0"/>
            <a:r>
              <a:rPr lang="es" b="0" i="0" u="none" baseline="0">
                <a:solidFill>
                  <a:schemeClr val="bg1"/>
                </a:solidFill>
              </a:rPr>
              <a:t>Calidad del </a:t>
            </a:r>
            <a:r>
              <a:rPr lang="es" b="1" i="0" u="none" baseline="0">
                <a:solidFill>
                  <a:schemeClr val="bg1"/>
                </a:solidFill>
              </a:rPr>
              <a:t>DISEÑO</a:t>
            </a:r>
          </a:p>
        </p:txBody>
      </p:sp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es" sz="3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2398BBF-08A4-4B2B-B00D-DAC4B3CE248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812173" y="3405648"/>
            <a:ext cx="447980" cy="447980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1DFD669B-927F-486A-82EF-6001949E6E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16596" y="3405648"/>
            <a:ext cx="447980" cy="44798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FA2F5EDE-E7D7-4EED-9F97-88FB9B035C4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851005" y="3463528"/>
            <a:ext cx="416878" cy="303184"/>
          </a:xfrm>
          <a:prstGeom prst="rect">
            <a:avLst/>
          </a:prstGeom>
        </p:spPr>
      </p:pic>
      <p:sp>
        <p:nvSpPr>
          <p:cNvPr id="18" name="Title 3">
            <a:extLst>
              <a:ext uri="{FF2B5EF4-FFF2-40B4-BE49-F238E27FC236}">
                <a16:creationId xmlns:a16="http://schemas.microsoft.com/office/drawing/2014/main" id="{B5E12FDC-5AF3-3449-850F-6CE4EAE1F088}"/>
              </a:ext>
            </a:extLst>
          </p:cNvPr>
          <p:cNvSpPr txBox="1">
            <a:spLocks/>
          </p:cNvSpPr>
          <p:nvPr/>
        </p:nvSpPr>
        <p:spPr>
          <a:xfrm>
            <a:off x="488074" y="251251"/>
            <a:ext cx="11283715" cy="64008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None/>
              <a:defRPr sz="30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0"/>
            <a:r>
              <a:rPr lang="es" b="1" i="0" u="none" baseline="0">
                <a:solidFill>
                  <a:schemeClr val="accent2">
                    <a:lumMod val="50000"/>
                  </a:schemeClr>
                </a:solidFill>
              </a:rPr>
              <a:t>Quality By Design </a:t>
            </a:r>
            <a:r>
              <a:rPr lang="es" b="1" i="0" u="none" baseline="0"/>
              <a:t>en equipos Genie</a:t>
            </a: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E89D8643-3334-564A-B677-69BEC5BEDC79}"/>
              </a:ext>
            </a:extLst>
          </p:cNvPr>
          <p:cNvSpPr/>
          <p:nvPr/>
        </p:nvSpPr>
        <p:spPr>
          <a:xfrm>
            <a:off x="3494711" y="1683000"/>
            <a:ext cx="2112885" cy="3492000"/>
          </a:xfrm>
          <a:prstGeom prst="roundRect">
            <a:avLst>
              <a:gd name="adj" fmla="val 8264"/>
            </a:avLst>
          </a:prstGeom>
          <a:solidFill>
            <a:schemeClr val="accent5"/>
          </a:solidFill>
          <a:ln>
            <a:noFill/>
          </a:ln>
          <a:effectLst>
            <a:outerShdw blurRad="711200" dist="685800" dir="5400000" sx="87000" sy="87000" algn="ctr" rotWithShape="0">
              <a:srgbClr val="000000">
                <a:alpha val="1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72000" rtlCol="0" anchor="ctr"/>
          <a:lstStyle/>
          <a:p>
            <a:pPr algn="ctr" rtl="0"/>
            <a:r>
              <a:rPr lang="es" b="0" i="0" u="none" baseline="0">
                <a:solidFill>
                  <a:schemeClr val="bg1"/>
                </a:solidFill>
              </a:rPr>
              <a:t>Calidad de </a:t>
            </a:r>
            <a:r>
              <a:rPr lang="es" b="1" i="0" u="none" baseline="0">
                <a:solidFill>
                  <a:schemeClr val="bg1"/>
                </a:solidFill>
              </a:rPr>
              <a:t>COMPONENTES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C9A57F46-C983-FA4B-BD0A-A10D15EDCB53}"/>
              </a:ext>
            </a:extLst>
          </p:cNvPr>
          <p:cNvSpPr/>
          <p:nvPr/>
        </p:nvSpPr>
        <p:spPr>
          <a:xfrm>
            <a:off x="6501348" y="1683000"/>
            <a:ext cx="2112885" cy="3492000"/>
          </a:xfrm>
          <a:prstGeom prst="roundRect">
            <a:avLst>
              <a:gd name="adj" fmla="val 8264"/>
            </a:avLst>
          </a:prstGeom>
          <a:solidFill>
            <a:schemeClr val="accent2"/>
          </a:solidFill>
          <a:ln>
            <a:noFill/>
          </a:ln>
          <a:effectLst>
            <a:outerShdw blurRad="711200" dist="685800" dir="5400000" sx="87000" sy="87000" algn="ctr" rotWithShape="0">
              <a:srgbClr val="000000">
                <a:alpha val="1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72000" rtlCol="0" anchor="ctr"/>
          <a:lstStyle/>
          <a:p>
            <a:pPr algn="ctr" rtl="0"/>
            <a:r>
              <a:rPr lang="es" b="0" i="0" u="none" baseline="0">
                <a:solidFill>
                  <a:schemeClr val="bg1"/>
                </a:solidFill>
              </a:rPr>
              <a:t>Calidad de </a:t>
            </a:r>
            <a:r>
              <a:rPr lang="es" b="1" i="0" u="none" baseline="0">
                <a:solidFill>
                  <a:schemeClr val="bg1"/>
                </a:solidFill>
              </a:rPr>
              <a:t>PRODUCCIÓN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B9717722-4DD4-5746-8D2A-5BFDF0FCFC3B}"/>
              </a:ext>
            </a:extLst>
          </p:cNvPr>
          <p:cNvSpPr/>
          <p:nvPr/>
        </p:nvSpPr>
        <p:spPr>
          <a:xfrm>
            <a:off x="9507984" y="1683000"/>
            <a:ext cx="2112885" cy="3492000"/>
          </a:xfrm>
          <a:prstGeom prst="roundRect">
            <a:avLst>
              <a:gd name="adj" fmla="val 8264"/>
            </a:avLst>
          </a:prstGeom>
          <a:solidFill>
            <a:schemeClr val="bg2"/>
          </a:solidFill>
          <a:ln>
            <a:noFill/>
          </a:ln>
          <a:effectLst>
            <a:outerShdw blurRad="711200" dist="685800" dir="5400000" sx="87000" sy="87000" algn="ctr" rotWithShape="0">
              <a:srgbClr val="000000">
                <a:alpha val="1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72000" rtlCol="0" anchor="ctr"/>
          <a:lstStyle/>
          <a:p>
            <a:pPr algn="ctr" rtl="0"/>
            <a:r>
              <a:rPr lang="es" b="0" i="0" u="none" baseline="0">
                <a:solidFill>
                  <a:schemeClr val="bg1"/>
                </a:solidFill>
              </a:rPr>
              <a:t>Calidad de </a:t>
            </a:r>
            <a:r>
              <a:rPr lang="es" b="1" i="0" u="none" baseline="0">
                <a:solidFill>
                  <a:schemeClr val="bg1"/>
                </a:solidFill>
              </a:rPr>
              <a:t>PRODUCTO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6BAFDE41-F6B1-224F-A8A7-483B88EA387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103311" y="2496690"/>
            <a:ext cx="908957" cy="908957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579ED427-B8EE-2348-96DB-FCC7D78B8E4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109947" y="2496689"/>
            <a:ext cx="908957" cy="908957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2C011809-7EB9-9B4F-9709-22F64C25C2F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75713" y="2496688"/>
            <a:ext cx="908958" cy="908958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ED4935B2-D3C1-C24D-9F09-AA1E83CC0815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075583" y="2490027"/>
            <a:ext cx="973501" cy="973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88384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3">
            <a:extLst>
              <a:ext uri="{FF2B5EF4-FFF2-40B4-BE49-F238E27FC236}">
                <a16:creationId xmlns:a16="http://schemas.microsoft.com/office/drawing/2014/main" id="{3D18CCA7-F351-054A-A89B-A51789152DF5}"/>
              </a:ext>
            </a:extLst>
          </p:cNvPr>
          <p:cNvSpPr txBox="1">
            <a:spLocks/>
          </p:cNvSpPr>
          <p:nvPr/>
        </p:nvSpPr>
        <p:spPr>
          <a:xfrm>
            <a:off x="488074" y="251251"/>
            <a:ext cx="11283715" cy="64008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None/>
              <a:defRPr sz="30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0"/>
            <a:r>
              <a:rPr lang="es" b="1" i="0" u="none" baseline="0" dirty="0"/>
              <a:t>Implementando Quality By Design en Genie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F1F449F-E31A-4340-9CCE-D6906BB1C40C}"/>
              </a:ext>
            </a:extLst>
          </p:cNvPr>
          <p:cNvGrpSpPr/>
          <p:nvPr/>
        </p:nvGrpSpPr>
        <p:grpSpPr>
          <a:xfrm>
            <a:off x="488074" y="1396149"/>
            <a:ext cx="11253665" cy="4224306"/>
            <a:chOff x="488074" y="1396149"/>
            <a:chExt cx="11253665" cy="4224306"/>
          </a:xfrm>
        </p:grpSpPr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50BF1166-25F7-6042-B151-E14A623702D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88074" y="1398064"/>
              <a:ext cx="6175549" cy="2412000"/>
            </a:xfrm>
            <a:prstGeom prst="rect">
              <a:avLst/>
            </a:prstGeom>
          </p:spPr>
        </p:pic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19B84F43-2908-9145-B9CC-DCB13BCDEA1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065222" y="1396149"/>
              <a:ext cx="5676517" cy="2412000"/>
            </a:xfrm>
            <a:prstGeom prst="rect">
              <a:avLst/>
            </a:prstGeom>
          </p:spPr>
        </p:pic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EE4E33C1-889F-214F-8E63-1B4DF0EDC5E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flipH="1" flipV="1">
              <a:off x="5566190" y="3208455"/>
              <a:ext cx="6175549" cy="2412000"/>
            </a:xfrm>
            <a:prstGeom prst="rect">
              <a:avLst/>
            </a:prstGeom>
          </p:spPr>
        </p:pic>
        <p:pic>
          <p:nvPicPr>
            <p:cNvPr id="43" name="Graphic 42">
              <a:extLst>
                <a:ext uri="{FF2B5EF4-FFF2-40B4-BE49-F238E27FC236}">
                  <a16:creationId xmlns:a16="http://schemas.microsoft.com/office/drawing/2014/main" id="{B0BDA9F8-5235-CB4B-84AD-97DA99E89A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flipH="1" flipV="1">
              <a:off x="488074" y="3208455"/>
              <a:ext cx="5676517" cy="2412000"/>
            </a:xfrm>
            <a:prstGeom prst="rect">
              <a:avLst/>
            </a:prstGeom>
          </p:spPr>
        </p:pic>
      </p:grpSp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47" imgH="348" progId="TCLayout.ActiveDocument.1">
                  <p:embed/>
                </p:oleObj>
              </mc:Choice>
              <mc:Fallback>
                <p:oleObj name="think-cell Slide" r:id="rId13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es" sz="3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F74854E-8674-477B-8A77-EBDCF8DAE054}"/>
              </a:ext>
            </a:extLst>
          </p:cNvPr>
          <p:cNvSpPr txBox="1">
            <a:spLocks/>
          </p:cNvSpPr>
          <p:nvPr/>
        </p:nvSpPr>
        <p:spPr>
          <a:xfrm>
            <a:off x="1297551" y="1844317"/>
            <a:ext cx="2498109" cy="4189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" sz="2800" b="1" i="0" u="none" baseline="0" dirty="0">
                <a:solidFill>
                  <a:schemeClr val="bg1"/>
                </a:solidFill>
              </a:rPr>
              <a:t>PLANIFICAR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D1A087B-9601-4CB3-8E3B-93B0A4DEA578}"/>
              </a:ext>
            </a:extLst>
          </p:cNvPr>
          <p:cNvSpPr txBox="1">
            <a:spLocks/>
          </p:cNvSpPr>
          <p:nvPr/>
        </p:nvSpPr>
        <p:spPr>
          <a:xfrm>
            <a:off x="8108993" y="4755258"/>
            <a:ext cx="2635432" cy="4189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0"/>
            <a:r>
              <a:rPr lang="es" sz="2800" b="1" i="0" u="none" baseline="0" dirty="0">
                <a:solidFill>
                  <a:schemeClr val="bg1"/>
                </a:solidFill>
              </a:rPr>
              <a:t>VERIFICAR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3315E42-A903-4C8F-8FFE-63F57D9DF85D}"/>
              </a:ext>
            </a:extLst>
          </p:cNvPr>
          <p:cNvSpPr txBox="1">
            <a:spLocks/>
          </p:cNvSpPr>
          <p:nvPr/>
        </p:nvSpPr>
        <p:spPr>
          <a:xfrm>
            <a:off x="6813582" y="1837895"/>
            <a:ext cx="1539344" cy="4189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" sz="2800" b="1" i="0" u="none" baseline="0" dirty="0">
                <a:solidFill>
                  <a:schemeClr val="bg1"/>
                </a:solidFill>
              </a:rPr>
              <a:t>HACER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E6918DA-DE50-41CF-9A05-8B4DAF8A6FEF}"/>
              </a:ext>
            </a:extLst>
          </p:cNvPr>
          <p:cNvSpPr txBox="1">
            <a:spLocks/>
          </p:cNvSpPr>
          <p:nvPr/>
        </p:nvSpPr>
        <p:spPr>
          <a:xfrm>
            <a:off x="3402532" y="4755258"/>
            <a:ext cx="1740826" cy="4189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0"/>
            <a:r>
              <a:rPr lang="es" sz="2800" b="1" i="0" u="none" baseline="0" dirty="0">
                <a:solidFill>
                  <a:schemeClr val="bg1"/>
                </a:solidFill>
              </a:rPr>
              <a:t>ACTUAR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BB7B262-FBA4-4E24-AFBD-D9AB668A13A5}"/>
              </a:ext>
            </a:extLst>
          </p:cNvPr>
          <p:cNvSpPr txBox="1"/>
          <p:nvPr/>
        </p:nvSpPr>
        <p:spPr>
          <a:xfrm>
            <a:off x="3529442" y="1701558"/>
            <a:ext cx="224104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es" sz="1400" b="0" i="0" u="none" baseline="0">
                <a:solidFill>
                  <a:schemeClr val="bg1"/>
                </a:solidFill>
              </a:rPr>
              <a:t>Diseñar para la </a:t>
            </a:r>
            <a:r>
              <a:rPr lang="es" sz="1400" b="1" i="0" u="none" baseline="0">
                <a:solidFill>
                  <a:schemeClr val="bg1"/>
                </a:solidFill>
              </a:rPr>
              <a:t>calidad</a:t>
            </a:r>
            <a:r>
              <a:rPr lang="es" sz="1400" b="0" i="0" u="none" baseline="0">
                <a:solidFill>
                  <a:schemeClr val="bg1"/>
                </a:solidFill>
              </a:rPr>
              <a:t> desde el comienzo, centrándose en lo más importan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677FA9B-B68C-4E79-8444-12EDDED29C87}"/>
              </a:ext>
            </a:extLst>
          </p:cNvPr>
          <p:cNvSpPr txBox="1"/>
          <p:nvPr/>
        </p:nvSpPr>
        <p:spPr>
          <a:xfrm>
            <a:off x="8317257" y="1684457"/>
            <a:ext cx="237790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es" sz="1400" b="0" i="0" u="none" baseline="0">
                <a:solidFill>
                  <a:schemeClr val="bg1"/>
                </a:solidFill>
              </a:rPr>
              <a:t>Implantar la </a:t>
            </a:r>
            <a:r>
              <a:rPr lang="es" sz="1400" b="1" i="0" u="none" baseline="0">
                <a:solidFill>
                  <a:schemeClr val="bg1"/>
                </a:solidFill>
              </a:rPr>
              <a:t>calidad</a:t>
            </a:r>
            <a:r>
              <a:rPr lang="es" sz="1400" b="0" i="0" u="none" baseline="0">
                <a:solidFill>
                  <a:schemeClr val="bg1"/>
                </a:solidFill>
              </a:rPr>
              <a:t> en todos los niveles de la organización y en todas las fases de actividad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B3EE6CB-1A70-4460-9C75-649F2483C071}"/>
              </a:ext>
            </a:extLst>
          </p:cNvPr>
          <p:cNvSpPr txBox="1"/>
          <p:nvPr/>
        </p:nvSpPr>
        <p:spPr>
          <a:xfrm>
            <a:off x="1378423" y="4521250"/>
            <a:ext cx="194790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0"/>
            <a:r>
              <a:rPr lang="es" sz="1400" b="0" i="0" u="none" baseline="0">
                <a:solidFill>
                  <a:schemeClr val="bg1"/>
                </a:solidFill>
              </a:rPr>
              <a:t>Implementar sistemáticamente los nuevos conocimientos y las mejora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EFC8796-195B-45BC-8F04-0032A781CB5C}"/>
              </a:ext>
            </a:extLst>
          </p:cNvPr>
          <p:cNvSpPr txBox="1"/>
          <p:nvPr/>
        </p:nvSpPr>
        <p:spPr>
          <a:xfrm>
            <a:off x="6400799" y="4618543"/>
            <a:ext cx="191645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0"/>
            <a:r>
              <a:rPr lang="es" sz="1400" b="0" i="0" u="none" baseline="0" dirty="0">
                <a:solidFill>
                  <a:schemeClr val="bg1"/>
                </a:solidFill>
              </a:rPr>
              <a:t>Controlar los indicadores de calidad de productos y procesos</a:t>
            </a:r>
          </a:p>
        </p:txBody>
      </p:sp>
      <p:pic>
        <p:nvPicPr>
          <p:cNvPr id="6" name="Picture 5" descr="A picture containing skiing&#10;&#10;Description automatically generated">
            <a:extLst>
              <a:ext uri="{FF2B5EF4-FFF2-40B4-BE49-F238E27FC236}">
                <a16:creationId xmlns:a16="http://schemas.microsoft.com/office/drawing/2014/main" id="{29040C1C-C3C8-2741-AAF9-D2DC0006DAF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209919" y="2813379"/>
            <a:ext cx="7710605" cy="1393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12368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es" sz="3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5" name="Rectangle: Rounded Corners 2">
            <a:extLst>
              <a:ext uri="{FF2B5EF4-FFF2-40B4-BE49-F238E27FC236}">
                <a16:creationId xmlns:a16="http://schemas.microsoft.com/office/drawing/2014/main" id="{2A891BB6-FAB3-EF4D-BFBA-BFAECE7028AF}"/>
              </a:ext>
            </a:extLst>
          </p:cNvPr>
          <p:cNvSpPr/>
          <p:nvPr/>
        </p:nvSpPr>
        <p:spPr>
          <a:xfrm>
            <a:off x="488074" y="1683000"/>
            <a:ext cx="2520000" cy="3492000"/>
          </a:xfrm>
          <a:prstGeom prst="roundRect">
            <a:avLst>
              <a:gd name="adj" fmla="val 3010"/>
            </a:avLst>
          </a:prstGeom>
          <a:solidFill>
            <a:schemeClr val="bg2"/>
          </a:solidFill>
          <a:ln>
            <a:solidFill>
              <a:schemeClr val="bg2"/>
            </a:solidFill>
          </a:ln>
          <a:effectLst>
            <a:outerShdw blurRad="711200" dist="685800" dir="5400000" sx="87000" sy="87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68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Aft>
                <a:spcPts val="1200"/>
              </a:spcAft>
            </a:pPr>
            <a:r>
              <a:rPr lang="es" sz="2400" b="1" i="0" u="none" baseline="0">
                <a:solidFill>
                  <a:schemeClr val="bg1"/>
                </a:solidFill>
              </a:rPr>
              <a:t>PERSONAS</a:t>
            </a:r>
          </a:p>
          <a:p>
            <a:pPr algn="ctr" rtl="0"/>
            <a:r>
              <a:rPr lang="es" b="0" i="0" u="none" baseline="0">
                <a:solidFill>
                  <a:schemeClr val="bg1"/>
                </a:solidFill>
              </a:rPr>
              <a:t>Altos estándares del personal y compromiso</a:t>
            </a:r>
            <a:br>
              <a:rPr lang="es">
                <a:solidFill>
                  <a:schemeClr val="bg1"/>
                </a:solidFill>
              </a:rPr>
            </a:br>
            <a:r>
              <a:rPr lang="es" b="0" i="0" u="none" baseline="0">
                <a:solidFill>
                  <a:schemeClr val="bg1"/>
                </a:solidFill>
              </a:rPr>
              <a:t>con la calidad</a:t>
            </a:r>
          </a:p>
          <a:p>
            <a:pPr algn="ctr" rtl="0"/>
            <a:endParaRPr lang="es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9A9F032-6A2C-D747-AFF0-E735EB3319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074" y="251251"/>
            <a:ext cx="11283715" cy="640080"/>
          </a:xfrm>
        </p:spPr>
        <p:txBody>
          <a:bodyPr lIns="0" tIns="0" rIns="0" bIns="0">
            <a:normAutofit/>
          </a:bodyPr>
          <a:lstStyle/>
          <a:p>
            <a:pPr algn="l" rtl="0"/>
            <a:r>
              <a:rPr lang="es" b="1" i="0" u="none" baseline="0"/>
              <a:t>Quality by Design Implementación en Genie</a:t>
            </a:r>
          </a:p>
        </p:txBody>
      </p:sp>
      <p:sp>
        <p:nvSpPr>
          <p:cNvPr id="26" name="Rectangle: Rounded Corners 2">
            <a:extLst>
              <a:ext uri="{FF2B5EF4-FFF2-40B4-BE49-F238E27FC236}">
                <a16:creationId xmlns:a16="http://schemas.microsoft.com/office/drawing/2014/main" id="{0B635AC6-4D15-3E40-8817-A2663237F6CF}"/>
              </a:ext>
            </a:extLst>
          </p:cNvPr>
          <p:cNvSpPr/>
          <p:nvPr/>
        </p:nvSpPr>
        <p:spPr>
          <a:xfrm>
            <a:off x="3328987" y="1683000"/>
            <a:ext cx="2520000" cy="3492000"/>
          </a:xfrm>
          <a:prstGeom prst="roundRect">
            <a:avLst>
              <a:gd name="adj" fmla="val 3010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  <a:effectLst>
            <a:outerShdw blurRad="711200" dist="685800" dir="5400000" sx="87000" sy="87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68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Aft>
                <a:spcPts val="1200"/>
              </a:spcAft>
            </a:pPr>
            <a:r>
              <a:rPr lang="es" sz="2400" b="1" i="0" u="none" baseline="0">
                <a:solidFill>
                  <a:schemeClr val="bg1"/>
                </a:solidFill>
              </a:rPr>
              <a:t>PROCESO</a:t>
            </a:r>
          </a:p>
          <a:p>
            <a:pPr algn="ctr" rtl="0"/>
            <a:r>
              <a:rPr lang="es" b="0" i="0" u="none" baseline="0">
                <a:solidFill>
                  <a:schemeClr val="bg1"/>
                </a:solidFill>
              </a:rPr>
              <a:t>Proceso de principio</a:t>
            </a:r>
            <a:br>
              <a:rPr lang="es">
                <a:solidFill>
                  <a:schemeClr val="bg1"/>
                </a:solidFill>
              </a:rPr>
            </a:br>
            <a:r>
              <a:rPr lang="es" b="0" i="0" u="none" baseline="0">
                <a:solidFill>
                  <a:schemeClr val="bg1"/>
                </a:solidFill>
              </a:rPr>
              <a:t>a fin que</a:t>
            </a:r>
            <a:br>
              <a:rPr lang="es">
                <a:solidFill>
                  <a:schemeClr val="bg1"/>
                </a:solidFill>
              </a:rPr>
            </a:br>
            <a:r>
              <a:rPr lang="es" b="0" i="0" u="none" baseline="0">
                <a:solidFill>
                  <a:schemeClr val="bg1"/>
                </a:solidFill>
              </a:rPr>
              <a:t>conforma la calidad</a:t>
            </a:r>
          </a:p>
        </p:txBody>
      </p:sp>
      <p:sp>
        <p:nvSpPr>
          <p:cNvPr id="27" name="Rectangle: Rounded Corners 2">
            <a:extLst>
              <a:ext uri="{FF2B5EF4-FFF2-40B4-BE49-F238E27FC236}">
                <a16:creationId xmlns:a16="http://schemas.microsoft.com/office/drawing/2014/main" id="{D015F622-5403-7949-93B5-3713DF1DEE8F}"/>
              </a:ext>
            </a:extLst>
          </p:cNvPr>
          <p:cNvSpPr/>
          <p:nvPr/>
        </p:nvSpPr>
        <p:spPr>
          <a:xfrm>
            <a:off x="6169900" y="1683000"/>
            <a:ext cx="2520000" cy="3492000"/>
          </a:xfrm>
          <a:prstGeom prst="roundRect">
            <a:avLst>
              <a:gd name="adj" fmla="val 301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  <a:effectLst>
            <a:outerShdw blurRad="711200" dist="685800" dir="5400000" sx="87000" sy="87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68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Aft>
                <a:spcPts val="1200"/>
              </a:spcAft>
            </a:pPr>
            <a:r>
              <a:rPr lang="es" sz="2400" b="1" i="0" u="none" baseline="0">
                <a:solidFill>
                  <a:schemeClr val="bg1"/>
                </a:solidFill>
              </a:rPr>
              <a:t>HERRAMIENTAS</a:t>
            </a:r>
          </a:p>
          <a:p>
            <a:pPr algn="ctr" rtl="0"/>
            <a:r>
              <a:rPr lang="es" b="0" i="0" u="none" baseline="0">
                <a:solidFill>
                  <a:schemeClr val="bg1"/>
                </a:solidFill>
              </a:rPr>
              <a:t>Sistemas de calidad</a:t>
            </a:r>
            <a:br>
              <a:rPr lang="es">
                <a:solidFill>
                  <a:schemeClr val="bg1"/>
                </a:solidFill>
              </a:rPr>
            </a:br>
            <a:r>
              <a:rPr lang="es" b="0" i="0" u="none" baseline="0">
                <a:solidFill>
                  <a:schemeClr val="bg1"/>
                </a:solidFill>
              </a:rPr>
              <a:t>para asegurar</a:t>
            </a:r>
            <a:br>
              <a:rPr lang="es">
                <a:solidFill>
                  <a:schemeClr val="bg1"/>
                </a:solidFill>
              </a:rPr>
            </a:br>
            <a:r>
              <a:rPr lang="es" b="0" i="0" u="none" baseline="0">
                <a:solidFill>
                  <a:schemeClr val="bg1"/>
                </a:solidFill>
              </a:rPr>
              <a:t>coherencia</a:t>
            </a:r>
          </a:p>
        </p:txBody>
      </p:sp>
      <p:sp>
        <p:nvSpPr>
          <p:cNvPr id="28" name="Rectangle: Rounded Corners 2">
            <a:extLst>
              <a:ext uri="{FF2B5EF4-FFF2-40B4-BE49-F238E27FC236}">
                <a16:creationId xmlns:a16="http://schemas.microsoft.com/office/drawing/2014/main" id="{1FA9D710-A28A-5944-B125-32A8A804B100}"/>
              </a:ext>
            </a:extLst>
          </p:cNvPr>
          <p:cNvSpPr/>
          <p:nvPr/>
        </p:nvSpPr>
        <p:spPr>
          <a:xfrm>
            <a:off x="9010812" y="1683000"/>
            <a:ext cx="2520000" cy="3492000"/>
          </a:xfrm>
          <a:prstGeom prst="roundRect">
            <a:avLst>
              <a:gd name="adj" fmla="val 3010"/>
            </a:avLst>
          </a:prstGeom>
          <a:solidFill>
            <a:schemeClr val="tx2"/>
          </a:solidFill>
          <a:ln>
            <a:solidFill>
              <a:schemeClr val="tx2"/>
            </a:solidFill>
          </a:ln>
          <a:effectLst>
            <a:outerShdw blurRad="711200" dist="685800" dir="5400000" sx="87000" sy="87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68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Aft>
                <a:spcPts val="1200"/>
              </a:spcAft>
            </a:pPr>
            <a:r>
              <a:rPr lang="es" sz="2400" b="1" i="0" u="none" baseline="0">
                <a:solidFill>
                  <a:schemeClr val="bg1"/>
                </a:solidFill>
              </a:rPr>
              <a:t>CULTURA</a:t>
            </a:r>
          </a:p>
          <a:p>
            <a:pPr algn="ctr" rtl="0"/>
            <a:r>
              <a:rPr lang="es" b="0" i="0" u="none" baseline="0">
                <a:solidFill>
                  <a:schemeClr val="bg1"/>
                </a:solidFill>
              </a:rPr>
              <a:t>La calidad es una prioridad y es propiedad de </a:t>
            </a:r>
            <a:r>
              <a:rPr lang="es" b="1" i="0" u="none" baseline="0">
                <a:solidFill>
                  <a:schemeClr val="bg1"/>
                </a:solidFill>
              </a:rPr>
              <a:t>TODO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5B53761F-B08C-9A49-9ABC-A728AC27DD2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80074" y="1993719"/>
            <a:ext cx="936000" cy="9360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33D1AC17-773A-734F-BEFE-FE0D6E25C3C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120987" y="1993719"/>
            <a:ext cx="936000" cy="9360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E3C4A1EC-9896-A04B-B160-0835AE55D4C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960987" y="1993719"/>
            <a:ext cx="936000" cy="9360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52641EDE-2BEC-9A45-90E5-B5133E94519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802812" y="1993719"/>
            <a:ext cx="936000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87267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B20BF7-5FC5-4256-8C3C-7C53F4BB49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1419" y="775970"/>
            <a:ext cx="8429540" cy="2913380"/>
          </a:xfrm>
        </p:spPr>
        <p:txBody>
          <a:bodyPr/>
          <a:lstStyle/>
          <a:p>
            <a:pPr algn="l" rtl="0"/>
            <a:r>
              <a:rPr lang="x-es-XL" b="1" i="0" u="none" baseline="0"/>
              <a:t>Aliados Genie</a:t>
            </a:r>
            <a:r>
              <a:rPr lang="x-es-XL" sz="2800" b="1" i="0" u="none" baseline="65000"/>
              <a:t>®</a:t>
            </a:r>
          </a:p>
        </p:txBody>
      </p:sp>
    </p:spTree>
    <p:extLst>
      <p:ext uri="{BB962C8B-B14F-4D97-AF65-F5344CB8AC3E}">
        <p14:creationId xmlns:p14="http://schemas.microsoft.com/office/powerpoint/2010/main" val="39239570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70C8A2-94A7-49E9-9E40-952F7A6F7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1419" y="775970"/>
            <a:ext cx="8101066" cy="2913380"/>
          </a:xfrm>
        </p:spPr>
        <p:txBody>
          <a:bodyPr/>
          <a:lstStyle/>
          <a:p>
            <a:pPr algn="l" rtl="0"/>
            <a:r>
              <a:rPr lang="x-es-XL" b="1" i="0" u="none" baseline="0"/>
              <a:t>Genie</a:t>
            </a:r>
            <a:r>
              <a:rPr lang="x-es-XL" sz="2800" b="1" i="0" u="none" baseline="65000"/>
              <a:t>®</a:t>
            </a:r>
            <a:r>
              <a:rPr lang="x-es-XL" b="1" i="0" u="none" baseline="0"/>
              <a:t> 55 años de calidad </a:t>
            </a:r>
            <a:endParaRPr lang="x-es-XL"/>
          </a:p>
        </p:txBody>
      </p:sp>
    </p:spTree>
    <p:extLst>
      <p:ext uri="{BB962C8B-B14F-4D97-AF65-F5344CB8AC3E}">
        <p14:creationId xmlns:p14="http://schemas.microsoft.com/office/powerpoint/2010/main" val="126391437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1AE53-A9A4-4C94-90FE-9EFAD7EE7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8" y="167808"/>
            <a:ext cx="11509383" cy="640080"/>
          </a:xfrm>
        </p:spPr>
        <p:txBody>
          <a:bodyPr lIns="0" tIns="0" rIns="0" bIns="0"/>
          <a:lstStyle/>
          <a:p>
            <a:pPr algn="l" rtl="0"/>
            <a:r>
              <a:rPr lang="x-es-XL" b="1" i="0" u="none" baseline="0"/>
              <a:t>Filosofía de cooperació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E5BC01-409A-4D4F-B5B2-DF774BF261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204" y="708759"/>
            <a:ext cx="11509697" cy="452454"/>
          </a:xfrm>
        </p:spPr>
        <p:txBody>
          <a:bodyPr lIns="0" tIns="0" rIns="0" bIns="0"/>
          <a:lstStyle/>
          <a:p>
            <a:pPr algn="l" rtl="0"/>
            <a:r>
              <a:rPr lang="x-es-XL" b="1" i="0" u="none" baseline="0"/>
              <a:t>Trabajar juntos para lograr una mayor calidad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BBC6FD1-58BB-4F44-A111-DCC9AD9ECE92}"/>
              </a:ext>
            </a:extLst>
          </p:cNvPr>
          <p:cNvSpPr/>
          <p:nvPr/>
        </p:nvSpPr>
        <p:spPr>
          <a:xfrm>
            <a:off x="350204" y="1552140"/>
            <a:ext cx="11362365" cy="645375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1044000" rtlCol="0" anchor="ctr"/>
          <a:lstStyle/>
          <a:p>
            <a:pPr algn="l" rtl="0">
              <a:lnSpc>
                <a:spcPts val="2000"/>
              </a:lnSpc>
            </a:pPr>
            <a:r>
              <a:rPr lang="x-es-XL" sz="2000" b="1" i="0" u="none" spc="100" baseline="0">
                <a:solidFill>
                  <a:schemeClr val="bg1"/>
                </a:solidFill>
              </a:rPr>
              <a:t>Aprovechar las competencias y fortalezas únicas consiguiendo un</a:t>
            </a:r>
          </a:p>
          <a:p>
            <a:pPr algn="l" rtl="0">
              <a:lnSpc>
                <a:spcPts val="2000"/>
              </a:lnSpc>
            </a:pPr>
            <a:r>
              <a:rPr lang="x-es-XL" sz="2000" b="1" i="0" u="none" spc="100" baseline="0">
                <a:solidFill>
                  <a:schemeClr val="bg1"/>
                </a:solidFill>
              </a:rPr>
              <a:t>beneficio mutuo para lograr nuestras respectivas aspiraciones.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A07E61FF-7DC0-F546-AFBB-64C2E427FBA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9391" y="1530198"/>
            <a:ext cx="689802" cy="689802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97D88ED-4264-2645-94D5-2F9C4158CD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x-es-XL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ounded Rectangle 50">
            <a:extLst>
              <a:ext uri="{FF2B5EF4-FFF2-40B4-BE49-F238E27FC236}">
                <a16:creationId xmlns:a16="http://schemas.microsoft.com/office/drawing/2014/main" id="{E0533570-966D-CD43-863C-8A2D5775B1DD}"/>
              </a:ext>
            </a:extLst>
          </p:cNvPr>
          <p:cNvSpPr/>
          <p:nvPr/>
        </p:nvSpPr>
        <p:spPr>
          <a:xfrm>
            <a:off x="350866" y="2470502"/>
            <a:ext cx="2575214" cy="3325766"/>
          </a:xfrm>
          <a:prstGeom prst="roundRect">
            <a:avLst>
              <a:gd name="adj" fmla="val 3228"/>
            </a:avLst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07999" rtlCol="0" anchor="t" anchorCtr="0"/>
          <a:lstStyle/>
          <a:p>
            <a:pPr algn="ctr" rtl="0">
              <a:spcAft>
                <a:spcPts val="1200"/>
              </a:spcAft>
            </a:pPr>
            <a:r>
              <a:rPr lang="x-es-XL" sz="2400" b="1" i="0" u="none" baseline="0">
                <a:solidFill>
                  <a:schemeClr val="bg2"/>
                </a:solidFill>
              </a:rPr>
              <a:t>Objetivo</a:t>
            </a:r>
          </a:p>
          <a:p>
            <a:pPr algn="ctr" rtl="0"/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</a:rPr>
              <a:t>Acelerar la estrategia de electrificación de Genie mediante la experiencia en aplicaciones, la escala de fabricación y los canales globales de comercialización, junto con la experiencia en tecnología de baterías de litio de socios externos.</a:t>
            </a:r>
            <a:endParaRPr lang="x-es-XL" sz="1200" b="1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0" name="Rounded Rectangle 50">
            <a:extLst>
              <a:ext uri="{FF2B5EF4-FFF2-40B4-BE49-F238E27FC236}">
                <a16:creationId xmlns:a16="http://schemas.microsoft.com/office/drawing/2014/main" id="{D022C106-305A-E147-826D-AE9D6838E5C2}"/>
              </a:ext>
            </a:extLst>
          </p:cNvPr>
          <p:cNvSpPr/>
          <p:nvPr/>
        </p:nvSpPr>
        <p:spPr>
          <a:xfrm>
            <a:off x="9116043" y="2470502"/>
            <a:ext cx="2575214" cy="3325766"/>
          </a:xfrm>
          <a:prstGeom prst="roundRect">
            <a:avLst>
              <a:gd name="adj" fmla="val 3228"/>
            </a:avLst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07999" rtlCol="0" anchor="t" anchorCtr="0"/>
          <a:lstStyle/>
          <a:p>
            <a:pPr algn="ctr" rtl="0">
              <a:spcAft>
                <a:spcPts val="1200"/>
              </a:spcAft>
            </a:pPr>
            <a:r>
              <a:rPr lang="x-es-XL" sz="2400" b="1" i="0" u="none" baseline="0">
                <a:solidFill>
                  <a:schemeClr val="bg2"/>
                </a:solidFill>
              </a:rPr>
              <a:t>Cómo es el éxito</a:t>
            </a:r>
          </a:p>
          <a:p>
            <a:pPr algn="ctr" rtl="0"/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</a:rPr>
              <a:t>Oferta mutuamente beneficiosa de toda la gama de productos Genie a un coste competitivo que aprovecha la escala de fabricación y la rentabilidad.</a:t>
            </a:r>
          </a:p>
        </p:txBody>
      </p:sp>
      <p:sp>
        <p:nvSpPr>
          <p:cNvPr id="21" name="Rounded Rectangle 50">
            <a:extLst>
              <a:ext uri="{FF2B5EF4-FFF2-40B4-BE49-F238E27FC236}">
                <a16:creationId xmlns:a16="http://schemas.microsoft.com/office/drawing/2014/main" id="{A5B6D313-8101-7A43-9FF8-F865345D706D}"/>
              </a:ext>
            </a:extLst>
          </p:cNvPr>
          <p:cNvSpPr/>
          <p:nvPr/>
        </p:nvSpPr>
        <p:spPr>
          <a:xfrm>
            <a:off x="6194318" y="2470502"/>
            <a:ext cx="2575214" cy="3325766"/>
          </a:xfrm>
          <a:prstGeom prst="roundRect">
            <a:avLst>
              <a:gd name="adj" fmla="val 3228"/>
            </a:avLst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07999" rtlCol="0" anchor="t" anchorCtr="0"/>
          <a:lstStyle/>
          <a:p>
            <a:pPr algn="ctr" rtl="0">
              <a:spcAft>
                <a:spcPts val="1200"/>
              </a:spcAft>
            </a:pPr>
            <a:r>
              <a:rPr lang="x-es-XL" sz="2400" b="1" i="0" u="none" baseline="0">
                <a:solidFill>
                  <a:schemeClr val="bg2"/>
                </a:solidFill>
              </a:rPr>
              <a:t>Calendario</a:t>
            </a:r>
          </a:p>
          <a:p>
            <a:pPr algn="ctr" rtl="0"/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</a:rPr>
              <a:t>La producción a escala completa de la primera fase de productos electrificados comenzará en 2024, y la gama completa estará en producción en 2027.</a:t>
            </a:r>
          </a:p>
        </p:txBody>
      </p:sp>
      <p:sp>
        <p:nvSpPr>
          <p:cNvPr id="22" name="Rounded Rectangle 50">
            <a:extLst>
              <a:ext uri="{FF2B5EF4-FFF2-40B4-BE49-F238E27FC236}">
                <a16:creationId xmlns:a16="http://schemas.microsoft.com/office/drawing/2014/main" id="{F25DF729-F6A4-944B-B066-2C2AE5712C92}"/>
              </a:ext>
            </a:extLst>
          </p:cNvPr>
          <p:cNvSpPr/>
          <p:nvPr/>
        </p:nvSpPr>
        <p:spPr>
          <a:xfrm>
            <a:off x="3272592" y="2470502"/>
            <a:ext cx="2575214" cy="3325766"/>
          </a:xfrm>
          <a:prstGeom prst="roundRect">
            <a:avLst>
              <a:gd name="adj" fmla="val 3228"/>
            </a:avLst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07999" rtlCol="0" anchor="t" anchorCtr="0"/>
          <a:lstStyle/>
          <a:p>
            <a:pPr algn="ctr" rtl="0">
              <a:spcAft>
                <a:spcPts val="1200"/>
              </a:spcAft>
            </a:pPr>
            <a:r>
              <a:rPr lang="x-es-XL" sz="2400" b="1" i="0" u="none" baseline="0">
                <a:solidFill>
                  <a:schemeClr val="bg2"/>
                </a:solidFill>
              </a:rPr>
              <a:t>Ámbito</a:t>
            </a:r>
          </a:p>
          <a:p>
            <a:pPr algn="ctr" rtl="0"/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</a:rPr>
              <a:t>Toda la gama de productos Genie tendrá una solución totalmente eléctrica utilizando tecnología de baterías de litio.</a:t>
            </a:r>
          </a:p>
          <a:p>
            <a:pPr algn="ctr" rtl="0"/>
            <a:endParaRPr lang="x-es-XL" sz="1200">
              <a:solidFill>
                <a:schemeClr val="accent3">
                  <a:lumMod val="50000"/>
                </a:schemeClr>
              </a:solidFill>
            </a:endParaRPr>
          </a:p>
          <a:p>
            <a:pPr algn="ctr" rtl="0"/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</a:rPr>
              <a:t>Sistemas de litio de 24V - 300V</a:t>
            </a:r>
          </a:p>
          <a:p>
            <a:pPr algn="ctr" rtl="0"/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</a:rPr>
              <a:t>2 kWh -50 kWh</a:t>
            </a:r>
          </a:p>
          <a:p>
            <a:pPr algn="ctr" rtl="0"/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</a:rPr>
              <a:t>Hasta 450 MWh de volumen anual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33D1375-CAF9-4846-9522-F75E438974C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11728" y="2624546"/>
            <a:ext cx="804454" cy="804454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39125E0A-D8D5-D346-A308-B8AAD7AE5E3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006045" y="2629140"/>
            <a:ext cx="1047947" cy="838357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A0107D6C-7277-DD43-8D46-4807387ADEC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07863" y="2652531"/>
            <a:ext cx="791573" cy="791573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187303CD-2863-AC40-BFA9-DC12332D325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120960" y="2652531"/>
            <a:ext cx="823331" cy="823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78599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1FF12D-E294-407B-988C-12DCDFB89CD8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rtl="0"/>
            <a:r>
              <a:rPr lang="x-es-XL" b="1" i="0" u="none" baseline="0"/>
              <a:t>INSERTAR NOMB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D9E650-0440-42AE-A9C3-5BF411405F2D}"/>
              </a:ext>
            </a:extLst>
          </p:cNvPr>
          <p:cNvSpPr>
            <a:spLocks noGrp="1"/>
          </p:cNvSpPr>
          <p:nvPr>
            <p:ph sz="half" idx="33"/>
          </p:nvPr>
        </p:nvSpPr>
        <p:spPr/>
        <p:txBody>
          <a:bodyPr>
            <a:normAutofit/>
          </a:bodyPr>
          <a:lstStyle/>
          <a:p>
            <a:pPr rtl="0"/>
            <a:r>
              <a:rPr lang="x-es-XL" b="0" i="0" u="none" baseline="0"/>
              <a:t>Insertar título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169C035-9381-4BD3-9BC9-89DD6878766D}"/>
              </a:ext>
            </a:extLst>
          </p:cNvPr>
          <p:cNvSpPr>
            <a:spLocks noGrp="1"/>
          </p:cNvSpPr>
          <p:nvPr>
            <p:ph sz="half" idx="34"/>
          </p:nvPr>
        </p:nvSpPr>
        <p:spPr/>
        <p:txBody>
          <a:bodyPr/>
          <a:lstStyle/>
          <a:p>
            <a:pPr rtl="0"/>
            <a:r>
              <a:rPr lang="x-es-XL" b="0" i="0" u="none" baseline="0"/>
              <a:t>Insertar descripción brev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EF06E97-7B8B-40AD-AAD4-11056920F939}"/>
              </a:ext>
            </a:extLst>
          </p:cNvPr>
          <p:cNvSpPr>
            <a:spLocks noGrp="1"/>
          </p:cNvSpPr>
          <p:nvPr>
            <p:ph sz="half" idx="36"/>
          </p:nvPr>
        </p:nvSpPr>
        <p:spPr/>
        <p:txBody>
          <a:bodyPr/>
          <a:lstStyle/>
          <a:p>
            <a:pPr rtl="0"/>
            <a:r>
              <a:rPr lang="x-es-XL" b="1" i="0" u="none" baseline="0"/>
              <a:t>INSERTAR NOMB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908939E-599F-40C2-B566-F053FDEA39AF}"/>
              </a:ext>
            </a:extLst>
          </p:cNvPr>
          <p:cNvSpPr>
            <a:spLocks noGrp="1"/>
          </p:cNvSpPr>
          <p:nvPr>
            <p:ph sz="half" idx="37"/>
          </p:nvPr>
        </p:nvSpPr>
        <p:spPr/>
        <p:txBody>
          <a:bodyPr>
            <a:normAutofit/>
          </a:bodyPr>
          <a:lstStyle/>
          <a:p>
            <a:pPr rtl="0"/>
            <a:r>
              <a:rPr lang="x-es-XL" b="0" i="0" u="none" baseline="0"/>
              <a:t>Insertar título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A58FB6E1-72C8-43FD-A4CE-0CB600C760D9}"/>
              </a:ext>
            </a:extLst>
          </p:cNvPr>
          <p:cNvSpPr>
            <a:spLocks noGrp="1"/>
          </p:cNvSpPr>
          <p:nvPr>
            <p:ph sz="half" idx="38"/>
          </p:nvPr>
        </p:nvSpPr>
        <p:spPr/>
        <p:txBody>
          <a:bodyPr/>
          <a:lstStyle/>
          <a:p>
            <a:pPr rtl="0"/>
            <a:r>
              <a:rPr lang="x-es-XL" b="0" i="0" u="none" baseline="0"/>
              <a:t>Insertar descripción brev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FBDE093-3187-4E76-A160-7CA47C347261}"/>
              </a:ext>
            </a:extLst>
          </p:cNvPr>
          <p:cNvSpPr>
            <a:spLocks noGrp="1"/>
          </p:cNvSpPr>
          <p:nvPr>
            <p:ph sz="half" idx="40"/>
          </p:nvPr>
        </p:nvSpPr>
        <p:spPr/>
        <p:txBody>
          <a:bodyPr/>
          <a:lstStyle/>
          <a:p>
            <a:pPr rtl="0"/>
            <a:r>
              <a:rPr lang="x-es-XL" b="1" i="0" u="none" baseline="0"/>
              <a:t>INSERTAR NOMBR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BDF2508B-578B-4941-B10B-7FE4CC42AA35}"/>
              </a:ext>
            </a:extLst>
          </p:cNvPr>
          <p:cNvSpPr>
            <a:spLocks noGrp="1"/>
          </p:cNvSpPr>
          <p:nvPr>
            <p:ph sz="half" idx="41"/>
          </p:nvPr>
        </p:nvSpPr>
        <p:spPr/>
        <p:txBody>
          <a:bodyPr>
            <a:normAutofit/>
          </a:bodyPr>
          <a:lstStyle/>
          <a:p>
            <a:pPr rtl="0"/>
            <a:r>
              <a:rPr lang="x-es-XL" b="0" i="0" u="none" baseline="0"/>
              <a:t>Insertar título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E5D939A1-3F8C-4509-B65B-E149E067AA1E}"/>
              </a:ext>
            </a:extLst>
          </p:cNvPr>
          <p:cNvSpPr>
            <a:spLocks noGrp="1"/>
          </p:cNvSpPr>
          <p:nvPr>
            <p:ph sz="half" idx="42"/>
          </p:nvPr>
        </p:nvSpPr>
        <p:spPr/>
        <p:txBody>
          <a:bodyPr/>
          <a:lstStyle/>
          <a:p>
            <a:pPr rtl="0"/>
            <a:r>
              <a:rPr lang="x-es-XL" b="0" i="0" u="none" baseline="0"/>
              <a:t>Insertar descripción breve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E121DC86-B277-4AF2-B995-8E14D31D9948}"/>
              </a:ext>
            </a:extLst>
          </p:cNvPr>
          <p:cNvSpPr>
            <a:spLocks noGrp="1"/>
          </p:cNvSpPr>
          <p:nvPr>
            <p:ph sz="half" idx="44"/>
          </p:nvPr>
        </p:nvSpPr>
        <p:spPr/>
        <p:txBody>
          <a:bodyPr/>
          <a:lstStyle/>
          <a:p>
            <a:pPr rtl="0"/>
            <a:r>
              <a:rPr lang="x-es-XL" b="1" i="0" u="none" baseline="0"/>
              <a:t>INSERTAR NOMBRE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AEFC4C37-71FC-4900-9068-4DAC8A36A39C}"/>
              </a:ext>
            </a:extLst>
          </p:cNvPr>
          <p:cNvSpPr>
            <a:spLocks noGrp="1"/>
          </p:cNvSpPr>
          <p:nvPr>
            <p:ph sz="half" idx="45"/>
          </p:nvPr>
        </p:nvSpPr>
        <p:spPr/>
        <p:txBody>
          <a:bodyPr/>
          <a:lstStyle/>
          <a:p>
            <a:pPr rtl="0"/>
            <a:r>
              <a:rPr lang="x-es-XL" b="0" i="0" u="none" baseline="0"/>
              <a:t>Insertar título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2480926D-AC1A-4243-9355-75AF130BA21E}"/>
              </a:ext>
            </a:extLst>
          </p:cNvPr>
          <p:cNvSpPr>
            <a:spLocks noGrp="1"/>
          </p:cNvSpPr>
          <p:nvPr>
            <p:ph sz="half" idx="46"/>
          </p:nvPr>
        </p:nvSpPr>
        <p:spPr/>
        <p:txBody>
          <a:bodyPr/>
          <a:lstStyle/>
          <a:p>
            <a:pPr rtl="0"/>
            <a:r>
              <a:rPr lang="x-es-XL" b="0" i="0" u="none" baseline="0"/>
              <a:t>Insertar descripción breve</a:t>
            </a:r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9D585915-F728-4B97-A21C-2B5ACDD966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x-es-XL" b="1" i="0" u="none" baseline="0"/>
              <a:t>Equipo Geni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BF97AF9-E804-4DE8-834D-656EDDC774C3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/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9B1B2699-86A4-437F-BB27-2D4915C04CE1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/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D5D19A6-4690-4FAC-A145-04776690C83F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/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B70A979D-7FA9-4C23-825B-0D1DBB4F373B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/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E6C71E6A-F106-C042-8E86-3A8419118A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x-es-XL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269140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1FF71F5-5F70-4CDE-ABE8-1A73971117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9" y="251530"/>
            <a:ext cx="5745481" cy="640080"/>
          </a:xfrm>
        </p:spPr>
        <p:txBody>
          <a:bodyPr>
            <a:noAutofit/>
          </a:bodyPr>
          <a:lstStyle/>
          <a:p>
            <a:pPr algn="l" rtl="0"/>
            <a:r>
              <a:rPr lang="x-es-XL" b="1" i="0" u="none" baseline="0"/>
              <a:t>Centrado en usted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2489200" y="929236"/>
            <a:ext cx="4610099" cy="4610099"/>
            <a:chOff x="609603" y="0"/>
            <a:chExt cx="4267199" cy="4267199"/>
          </a:xfrm>
          <a:solidFill>
            <a:schemeClr val="bg2"/>
          </a:solidFill>
        </p:grpSpPr>
        <p:sp>
          <p:nvSpPr>
            <p:cNvPr id="29" name="Oval 28"/>
            <p:cNvSpPr/>
            <p:nvPr/>
          </p:nvSpPr>
          <p:spPr>
            <a:xfrm>
              <a:off x="609603" y="0"/>
              <a:ext cx="4267199" cy="4267199"/>
            </a:xfrm>
            <a:prstGeom prst="ellipse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</p:sp>
        <p:sp>
          <p:nvSpPr>
            <p:cNvPr id="34" name="Oval 4"/>
            <p:cNvSpPr/>
            <p:nvPr/>
          </p:nvSpPr>
          <p:spPr>
            <a:xfrm>
              <a:off x="1234520" y="624917"/>
              <a:ext cx="3017365" cy="301736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spcFirstLastPara="0" vert="horz" wrap="square" lIns="234838" tIns="25400" rIns="234838" bIns="25400" numCol="1" spcCol="1270" anchor="ctr" anchorCtr="0">
              <a:noAutofit/>
            </a:bodyPr>
            <a:lstStyle/>
            <a:p>
              <a:pPr lvl="0" algn="ctr" defTabSz="8890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endParaRPr lang="x-es-XL" sz="2000" kern="1200"/>
            </a:p>
          </p:txBody>
        </p:sp>
      </p:grpSp>
      <p:sp>
        <p:nvSpPr>
          <p:cNvPr id="27" name="Oval 26"/>
          <p:cNvSpPr/>
          <p:nvPr/>
        </p:nvSpPr>
        <p:spPr>
          <a:xfrm>
            <a:off x="4935258" y="929236"/>
            <a:ext cx="4610099" cy="4610099"/>
          </a:xfrm>
          <a:prstGeom prst="ellipse">
            <a:avLst/>
          </a:prstGeom>
          <a:solidFill>
            <a:schemeClr val="tx1">
              <a:alpha val="61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alpha val="50000"/>
              <a:hueOff val="-215671"/>
              <a:satOff val="-3879"/>
              <a:lumOff val="-22353"/>
              <a:alphaOff val="0"/>
            </a:schemeClr>
          </a:effectRef>
          <a:fontRef idx="minor">
            <a:schemeClr val="tx1"/>
          </a:fontRef>
        </p:style>
      </p:sp>
      <p:sp>
        <p:nvSpPr>
          <p:cNvPr id="35" name="Title 5">
            <a:extLst>
              <a:ext uri="{FF2B5EF4-FFF2-40B4-BE49-F238E27FC236}">
                <a16:creationId xmlns:a16="http://schemas.microsoft.com/office/drawing/2014/main" id="{413437D3-4D00-4677-A829-B116B872EDBF}"/>
              </a:ext>
            </a:extLst>
          </p:cNvPr>
          <p:cNvSpPr txBox="1">
            <a:spLocks/>
          </p:cNvSpPr>
          <p:nvPr/>
        </p:nvSpPr>
        <p:spPr>
          <a:xfrm>
            <a:off x="5161046" y="2914245"/>
            <a:ext cx="1802117" cy="6400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None/>
              <a:defRPr sz="30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rtl="0"/>
            <a:r>
              <a:rPr lang="x-es-XL" b="1" i="0" u="none" baseline="0">
                <a:solidFill>
                  <a:schemeClr val="bg1"/>
                </a:solidFill>
              </a:rPr>
              <a:t>Su </a:t>
            </a:r>
            <a:br>
              <a:rPr lang="x-es-XL">
                <a:solidFill>
                  <a:schemeClr val="bg1"/>
                </a:solidFill>
              </a:rPr>
            </a:br>
            <a:r>
              <a:rPr lang="x-es-XL" b="1" i="0" u="none" baseline="0">
                <a:solidFill>
                  <a:schemeClr val="bg1"/>
                </a:solidFill>
              </a:rPr>
              <a:t>éxito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E720772-32E9-4203-8E76-5A7B7DF77307}"/>
              </a:ext>
            </a:extLst>
          </p:cNvPr>
          <p:cNvSpPr/>
          <p:nvPr/>
        </p:nvSpPr>
        <p:spPr>
          <a:xfrm>
            <a:off x="2812155" y="3409009"/>
            <a:ext cx="1923132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 rtl="0"/>
            <a:r>
              <a:rPr lang="x-es-XL" b="1" i="0" u="none" baseline="0">
                <a:solidFill>
                  <a:schemeClr val="bg1"/>
                </a:solidFill>
              </a:rPr>
              <a:t>Cooperación con </a:t>
            </a:r>
            <a:br>
              <a:rPr lang="x-es-XL" b="1">
                <a:solidFill>
                  <a:schemeClr val="bg1"/>
                </a:solidFill>
              </a:rPr>
            </a:br>
            <a:r>
              <a:rPr lang="x-es-XL" b="1" i="0" u="none" baseline="0">
                <a:solidFill>
                  <a:schemeClr val="bg1"/>
                </a:solidFill>
              </a:rPr>
              <a:t>su empresa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E720772-32E9-4203-8E76-5A7B7DF77307}"/>
              </a:ext>
            </a:extLst>
          </p:cNvPr>
          <p:cNvSpPr/>
          <p:nvPr/>
        </p:nvSpPr>
        <p:spPr>
          <a:xfrm>
            <a:off x="7099299" y="3409009"/>
            <a:ext cx="2178423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 rtl="0"/>
            <a:r>
              <a:rPr lang="x-es-XL" b="1" i="0" u="none" baseline="0">
                <a:solidFill>
                  <a:schemeClr val="bg1"/>
                </a:solidFill>
              </a:rPr>
              <a:t>Ofrecer innovaciones que impulsan un alto rROIC</a:t>
            </a:r>
            <a:endParaRPr lang="x-es-XL" b="1">
              <a:solidFill>
                <a:schemeClr val="bg1"/>
              </a:solidFill>
            </a:endParaRPr>
          </a:p>
        </p:txBody>
      </p:sp>
      <p:pic>
        <p:nvPicPr>
          <p:cNvPr id="38" name="Graphic 17">
            <a:extLst>
              <a:ext uri="{FF2B5EF4-FFF2-40B4-BE49-F238E27FC236}">
                <a16:creationId xmlns:a16="http://schemas.microsoft.com/office/drawing/2014/main" id="{15EF67FC-23D6-4B2D-885E-F82B45F1468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74433" y="2318652"/>
            <a:ext cx="827446" cy="827446"/>
          </a:xfrm>
          <a:prstGeom prst="rect">
            <a:avLst/>
          </a:prstGeom>
        </p:spPr>
      </p:pic>
      <p:pic>
        <p:nvPicPr>
          <p:cNvPr id="39" name="Graphic 65">
            <a:extLst>
              <a:ext uri="{FF2B5EF4-FFF2-40B4-BE49-F238E27FC236}">
                <a16:creationId xmlns:a16="http://schemas.microsoft.com/office/drawing/2014/main" id="{7D9D273A-5634-415A-AB49-81E836355CD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98823" y="1971028"/>
            <a:ext cx="1522693" cy="1522693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EF000227-93AD-1D43-A25B-ABA04CB6E4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x-es-XL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869242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596FAE85-2820-4D45-BF68-A25DE2B489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35246" y="885734"/>
            <a:ext cx="7048500" cy="51689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193BBAC-3FFA-4F32-B6D4-E9CCBD5535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9" y="251250"/>
            <a:ext cx="5199381" cy="571710"/>
          </a:xfrm>
        </p:spPr>
        <p:txBody>
          <a:bodyPr anchor="t">
            <a:normAutofit/>
          </a:bodyPr>
          <a:lstStyle/>
          <a:p>
            <a:pPr algn="l" rtl="0"/>
            <a:r>
              <a:rPr lang="x-es-XL" b="1" i="0" u="none" baseline="0"/>
              <a:t>Le apoyamo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14DEFD2-D9F6-4503-A296-8409036D10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205" y="1385050"/>
            <a:ext cx="5199694" cy="2852294"/>
          </a:xfrm>
        </p:spPr>
        <p:txBody>
          <a:bodyPr lIns="0" tIns="0" rIns="0" bIns="0"/>
          <a:lstStyle/>
          <a:p>
            <a:pPr marL="342900" indent="-342900" algn="l" rtl="0">
              <a:spcAft>
                <a:spcPts val="600"/>
              </a:spcAft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x-es-XL" sz="2400" b="0" i="0" u="none" baseline="0"/>
              <a:t>Estamos siempre pensando en </a:t>
            </a:r>
            <a:r>
              <a:rPr lang="x-es-XL" sz="2400" b="1" i="0" u="none" baseline="0">
                <a:solidFill>
                  <a:srgbClr val="0070C0"/>
                </a:solidFill>
              </a:rPr>
              <a:t>cada aspecto</a:t>
            </a:r>
            <a:r>
              <a:rPr lang="x-es-XL" sz="2400" b="0" i="0" u="none" baseline="0"/>
              <a:t> de su empresa</a:t>
            </a:r>
          </a:p>
          <a:p>
            <a:pPr marL="342900" indent="-342900" algn="l" rtl="0">
              <a:spcAft>
                <a:spcPts val="600"/>
              </a:spcAft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x-es-XL" sz="2400" b="0" i="0" u="none" baseline="0"/>
              <a:t>Nos </a:t>
            </a:r>
            <a:r>
              <a:rPr lang="x-es-XL" sz="2400" b="1" i="0" u="none" baseline="0">
                <a:solidFill>
                  <a:srgbClr val="0070C0"/>
                </a:solidFill>
              </a:rPr>
              <a:t>centramos en soluciones </a:t>
            </a:r>
            <a:r>
              <a:rPr lang="x-es-XL" sz="2400" b="0" i="0" u="none" baseline="0"/>
              <a:t>para satisfacer las necesidades de su negocio</a:t>
            </a:r>
          </a:p>
          <a:p>
            <a:pPr marL="342900" indent="-342900" algn="l" rtl="0">
              <a:spcAft>
                <a:spcPts val="600"/>
              </a:spcAft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x-es-XL" sz="2400" b="0" i="0" u="none" baseline="0"/>
              <a:t>Vamos un </a:t>
            </a:r>
            <a:r>
              <a:rPr lang="x-es-XL" sz="2400" b="1" i="0" u="none" baseline="0">
                <a:solidFill>
                  <a:srgbClr val="0070C0"/>
                </a:solidFill>
              </a:rPr>
              <a:t>paso más allá </a:t>
            </a:r>
            <a:r>
              <a:rPr lang="x-es-XL" sz="2400" b="0" i="0" u="none" baseline="0"/>
              <a:t>por usted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71F7F50-0D0D-E744-9AAA-EBD2FB7EB718}"/>
              </a:ext>
            </a:extLst>
          </p:cNvPr>
          <p:cNvGrpSpPr/>
          <p:nvPr/>
        </p:nvGrpSpPr>
        <p:grpSpPr>
          <a:xfrm>
            <a:off x="448126" y="4366947"/>
            <a:ext cx="5101773" cy="1478377"/>
            <a:chOff x="448126" y="4366947"/>
            <a:chExt cx="5101773" cy="1478377"/>
          </a:xfrm>
        </p:grpSpPr>
        <p:sp>
          <p:nvSpPr>
            <p:cNvPr id="2" name="Rounded Rectangle 1">
              <a:extLst>
                <a:ext uri="{FF2B5EF4-FFF2-40B4-BE49-F238E27FC236}">
                  <a16:creationId xmlns:a16="http://schemas.microsoft.com/office/drawing/2014/main" id="{E16C9B2A-ECCA-5F45-B936-6C4919BB08A2}"/>
                </a:ext>
              </a:extLst>
            </p:cNvPr>
            <p:cNvSpPr/>
            <p:nvPr/>
          </p:nvSpPr>
          <p:spPr>
            <a:xfrm>
              <a:off x="448126" y="4366947"/>
              <a:ext cx="5101773" cy="1424237"/>
            </a:xfrm>
            <a:prstGeom prst="roundRect">
              <a:avLst>
                <a:gd name="adj" fmla="val 4824"/>
              </a:avLst>
            </a:prstGeom>
            <a:solidFill>
              <a:schemeClr val="bg1"/>
            </a:solidFill>
            <a:ln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x-es-XL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8A3D654-AE3C-4AA5-BA8B-F4AF09A67E3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8127" y="4421087"/>
              <a:ext cx="1261317" cy="1424237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6F9F8EA-1D2D-4BCA-B4B3-8737A7E0AE3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24203" y="4421087"/>
              <a:ext cx="1261316" cy="1424237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F102EC33-578A-4913-A4B4-97AD087C313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00278" y="4421087"/>
              <a:ext cx="1261316" cy="1424237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00C84EA8-3E4C-4E12-99BB-83F75FFEBC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3236" b="9687"/>
            <a:stretch/>
          </p:blipFill>
          <p:spPr>
            <a:xfrm>
              <a:off x="4261594" y="4458967"/>
              <a:ext cx="1261316" cy="1240196"/>
            </a:xfrm>
            <a:prstGeom prst="rect">
              <a:avLst/>
            </a:prstGeom>
          </p:spPr>
        </p:pic>
      </p:grp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D02FF08-17D3-7040-9857-BA3C50C970E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l" rtl="0"/>
            <a:r>
              <a:rPr lang="x-es-XL" b="1" i="0" u="none" baseline="0"/>
              <a:t>Nos apasiona ayudarle a tener éxito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051D719-8F81-F445-AFD3-F6C4108F5F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x-es-XL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857994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484A04F1-3E54-4AB8-A68A-261484A5D66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80587" y="1906517"/>
            <a:ext cx="5711413" cy="4139043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C3B4BB3-5CFB-4C50-AD1D-EA0FCB9D3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526" y="336543"/>
            <a:ext cx="11490960" cy="488958"/>
          </a:xfrm>
        </p:spPr>
        <p:txBody>
          <a:bodyPr>
            <a:noAutofit/>
          </a:bodyPr>
          <a:lstStyle/>
          <a:p>
            <a:pPr algn="l" rtl="0"/>
            <a:r>
              <a:rPr lang="x-es-XL" b="1" i="0" u="none" baseline="0"/>
              <a:t>Cómo le ayudamos a tener éxito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4F91F49-AAE3-4A30-A262-5B8FDD78BA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3327" y="1083449"/>
            <a:ext cx="6570616" cy="4949049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 algn="l" rtl="0">
              <a:spcBef>
                <a:spcPts val="400"/>
              </a:spcBef>
              <a:spcAft>
                <a:spcPts val="600"/>
              </a:spcAft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x-es-XL" sz="1600" b="1" i="0" u="none" baseline="0"/>
              <a:t>Calidad del producto:</a:t>
            </a:r>
            <a:r>
              <a:rPr lang="x-es-XL" sz="1600" b="0" i="0" u="none" baseline="0"/>
              <a:t> Ofrecemos soluciones de alta calidad y bien diseñadas para una mayor productividad en el lugar de trabajo.</a:t>
            </a:r>
          </a:p>
          <a:p>
            <a:pPr marL="285750" indent="-285750" algn="l" rtl="0">
              <a:spcBef>
                <a:spcPts val="400"/>
              </a:spcBef>
              <a:spcAft>
                <a:spcPts val="600"/>
              </a:spcAft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x-es-XL" sz="1600" b="1" i="0" u="none" baseline="0"/>
              <a:t>Calidad de fabricación:</a:t>
            </a:r>
            <a:r>
              <a:rPr lang="x-es-XL" sz="1600" b="0" i="0" u="none" baseline="0"/>
              <a:t> Fabricamos productos que son rentables y que, desde el punto de vista empresarial, valen la pena operar y tener en propiedad. </a:t>
            </a:r>
            <a:endParaRPr lang="x-es-XL" sz="1600"/>
          </a:p>
          <a:p>
            <a:pPr marL="285750" indent="-285750" algn="l" rtl="0">
              <a:spcBef>
                <a:spcPts val="400"/>
              </a:spcBef>
              <a:spcAft>
                <a:spcPts val="600"/>
              </a:spcAft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x-es-XL" sz="1600" b="1" i="0" u="none" baseline="0"/>
              <a:t>Calidad de servicio, distribución y soporte: </a:t>
            </a:r>
            <a:r>
              <a:rPr lang="x-es-XL" sz="1600" b="0" i="0" u="none" baseline="0"/>
              <a:t>Sabemos que </a:t>
            </a:r>
            <a:br>
              <a:rPr lang="x-es-XL" sz="1600"/>
            </a:br>
            <a:r>
              <a:rPr lang="x-es-XL" sz="1600" b="0" i="0" u="none" baseline="0"/>
              <a:t>cuando surgen problemas, tanto nuestros clientes como los operarios de los equipos confían en nuestra atención de calidad para resolver cualquier problema rápidamente y a la primera. </a:t>
            </a:r>
            <a:endParaRPr lang="x-es-XL" sz="1600"/>
          </a:p>
          <a:p>
            <a:pPr marL="285750" indent="-285750" algn="l" rtl="0">
              <a:spcBef>
                <a:spcPts val="400"/>
              </a:spcBef>
              <a:spcAft>
                <a:spcPts val="600"/>
              </a:spcAft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x-es-XL" sz="1600" b="1" i="0" u="none" baseline="0"/>
              <a:t>Proceso de desarrollo de nuevos productos: </a:t>
            </a:r>
            <a:r>
              <a:rPr lang="x-es-XL" sz="1600" b="0" i="0" u="none" baseline="0"/>
              <a:t>Los diseñadores e ingenieros de Genie se centran en crear equipos que sean </a:t>
            </a:r>
            <a:br>
              <a:rPr lang="x-es-XL" sz="1600"/>
            </a:br>
            <a:r>
              <a:rPr lang="x-es-XL" sz="1600" b="0" i="0" u="none" baseline="0"/>
              <a:t>fáciles de usar, sencillos de mantener, fiables, lo suficientemente robustos como para hacer frente a las condiciones de trabajo más duras.</a:t>
            </a:r>
            <a:endParaRPr lang="x-es-XL" sz="1600">
              <a:cs typeface="Arial"/>
            </a:endParaRPr>
          </a:p>
          <a:p>
            <a:pPr marL="285750" indent="-285750" algn="l" rtl="0">
              <a:spcBef>
                <a:spcPts val="400"/>
              </a:spcBef>
              <a:spcAft>
                <a:spcPts val="600"/>
              </a:spcAft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x-es-XL" sz="1600" b="1" i="0" u="none" baseline="0"/>
              <a:t>Procesos y sistemas internos modernos: </a:t>
            </a:r>
            <a:r>
              <a:rPr lang="x-es-XL" sz="1600" b="0" i="0" u="none" baseline="0"/>
              <a:t>Oportunidades </a:t>
            </a:r>
            <a:br>
              <a:rPr lang="x-es-XL" sz="1600"/>
            </a:br>
            <a:r>
              <a:rPr lang="x-es-XL" sz="1600" b="0" i="0" u="none" baseline="0"/>
              <a:t>de crecimiento y desarrollo de nuestros miembros de equipo para </a:t>
            </a:r>
            <a:br>
              <a:rPr lang="x-es-XL" sz="1600"/>
            </a:br>
            <a:r>
              <a:rPr lang="x-es-XL" sz="1600" b="0" i="0" u="none" baseline="0"/>
              <a:t>aumentar la productividad y el rendimiento</a:t>
            </a:r>
            <a:r>
              <a:rPr lang="x-es-XL" b="0" i="0" u="none" baseline="0"/>
              <a:t>.</a:t>
            </a:r>
            <a:endParaRPr lang="x-es-XL">
              <a:cs typeface="Arial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993145A-6610-2440-B63E-0AEA130FE5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x-es-XL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356919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484A04F1-3E54-4AB8-A68A-261484A5D6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62501" y="1093715"/>
            <a:ext cx="7429498" cy="4952999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193BBAC-3FFA-4F32-B6D4-E9CCBD5535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9" y="251250"/>
            <a:ext cx="5199381" cy="571710"/>
          </a:xfrm>
        </p:spPr>
        <p:txBody>
          <a:bodyPr anchor="t">
            <a:normAutofit/>
          </a:bodyPr>
          <a:lstStyle/>
          <a:p>
            <a:pPr algn="l" rtl="0"/>
            <a:r>
              <a:rPr lang="x-es-XL" b="1" i="0" u="none" baseline="0"/>
              <a:t>Innovadores en el sector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14DEFD2-D9F6-4503-A296-8409036D10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8127" y="1616185"/>
            <a:ext cx="5097738" cy="2609650"/>
          </a:xfrm>
        </p:spPr>
        <p:txBody>
          <a:bodyPr lIns="0" tIns="0" rIns="0" bIns="0"/>
          <a:lstStyle/>
          <a:p>
            <a:pPr marL="342900" indent="-342900" algn="l" rtl="0">
              <a:spcAft>
                <a:spcPts val="600"/>
              </a:spcAft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x-es-XL" sz="2200" b="0" i="0" u="none" baseline="0"/>
              <a:t>Los productos y soluciones Genie® están diseñados para mejorar </a:t>
            </a:r>
            <a:r>
              <a:rPr lang="x-es-XL" sz="2200" b="1" i="0" u="none" baseline="0">
                <a:solidFill>
                  <a:srgbClr val="0070C0"/>
                </a:solidFill>
              </a:rPr>
              <a:t>la productividad y el valor</a:t>
            </a:r>
            <a:r>
              <a:rPr lang="x-es-XL" sz="2200" b="0" i="0" u="none" baseline="0"/>
              <a:t> de su flota</a:t>
            </a:r>
          </a:p>
          <a:p>
            <a:pPr marL="342900" indent="-342900" algn="l" rtl="0">
              <a:spcAft>
                <a:spcPts val="600"/>
              </a:spcAft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x-es-XL" sz="2200" b="0" i="0" u="none" baseline="0"/>
              <a:t>Nuestras innovaciones pueden ayudar a su empresa a ser más </a:t>
            </a:r>
            <a:r>
              <a:rPr lang="x-es-XL" sz="2200" b="1" i="0" u="none" baseline="0">
                <a:solidFill>
                  <a:srgbClr val="0070C0"/>
                </a:solidFill>
              </a:rPr>
              <a:t>rápida y eficiente </a:t>
            </a:r>
            <a:r>
              <a:rPr lang="x-es-XL" sz="2200" b="0" i="0" u="none" baseline="0"/>
              <a:t>que nunca antes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1E1D1E08-613C-6B4A-95A9-015D6F87CC1D}"/>
              </a:ext>
            </a:extLst>
          </p:cNvPr>
          <p:cNvSpPr/>
          <p:nvPr/>
        </p:nvSpPr>
        <p:spPr>
          <a:xfrm>
            <a:off x="448128" y="4360515"/>
            <a:ext cx="5089543" cy="1430670"/>
          </a:xfrm>
          <a:prstGeom prst="roundRect">
            <a:avLst>
              <a:gd name="adj" fmla="val 4824"/>
            </a:avLst>
          </a:prstGeom>
          <a:solidFill>
            <a:schemeClr val="bg1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x-es-X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E6E3F3-4F38-E848-9005-FC163A5715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l" rtl="0"/>
            <a:r>
              <a:rPr lang="x-es-XL" b="1" i="0" u="none" baseline="0"/>
              <a:t>Desarrollamos innovaciones con sentido que impulsan el valor para uste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4E1C4EF-73C7-4F34-BB59-471CD05CB22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248" y="4374964"/>
            <a:ext cx="1260000" cy="142275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C8C1A92-30FA-410F-8751-DC03A8CD424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31454" y="4374964"/>
            <a:ext cx="1260000" cy="142275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2F57CCF-8B05-4A52-B166-E055A55EDD8F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08660" y="4374964"/>
            <a:ext cx="1260000" cy="142275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1125B37-7955-41E7-9245-17FD4B6CCF9A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5865" y="4374965"/>
            <a:ext cx="1260000" cy="1422750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F5DFCDD4-F2FA-6B4B-96DF-A46CE29D6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x-es-XL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456541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B33657F9-B8DE-D848-A1E8-33946DE3B51B}"/>
              </a:ext>
            </a:extLst>
          </p:cNvPr>
          <p:cNvSpPr/>
          <p:nvPr/>
        </p:nvSpPr>
        <p:spPr>
          <a:xfrm>
            <a:off x="448128" y="4368435"/>
            <a:ext cx="5089543" cy="1422750"/>
          </a:xfrm>
          <a:prstGeom prst="roundRect">
            <a:avLst>
              <a:gd name="adj" fmla="val 4824"/>
            </a:avLst>
          </a:prstGeom>
          <a:solidFill>
            <a:schemeClr val="bg1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x-es-XL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C07BC7D-3DB7-42E6-BAF7-8BB849CA32A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570" y="4387201"/>
            <a:ext cx="1260000" cy="14227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858CAF7-9C39-4E58-A755-DEFF8D79660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21244" y="4387201"/>
            <a:ext cx="1260000" cy="142275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BE901A1-51CE-4337-BD2C-E45BB68DAE5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95918" y="4387201"/>
            <a:ext cx="1260000" cy="142275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FAF2A27-B0E6-4D5F-B19E-3EFF1DD118F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0592" y="4387201"/>
            <a:ext cx="1260000" cy="1422751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193BBAC-3FFA-4F32-B6D4-E9CCBD5535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9" y="251250"/>
            <a:ext cx="5919652" cy="571710"/>
          </a:xfrm>
        </p:spPr>
        <p:txBody>
          <a:bodyPr anchor="t">
            <a:normAutofit fontScale="90000"/>
          </a:bodyPr>
          <a:lstStyle/>
          <a:p>
            <a:pPr algn="l" rtl="0"/>
            <a:r>
              <a:rPr lang="x-es-XL" b="1" i="0" u="none" baseline="0"/>
              <a:t>Esfuerzo para un éxito compartido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14DEFD2-D9F6-4503-A296-8409036D10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854" y="1375830"/>
            <a:ext cx="5208089" cy="2709201"/>
          </a:xfrm>
        </p:spPr>
        <p:txBody>
          <a:bodyPr lIns="0" tIns="0" rIns="0" bIns="0"/>
          <a:lstStyle/>
          <a:p>
            <a:pPr algn="l" rtl="0">
              <a:spcAft>
                <a:spcPts val="600"/>
              </a:spcAft>
            </a:pPr>
            <a:r>
              <a:rPr lang="x-es-XL" sz="2800" b="0" i="1" u="none" baseline="0"/>
              <a:t>«</a:t>
            </a:r>
            <a:r>
              <a:rPr lang="x-es-XL" sz="2400" b="0" i="1" u="none" baseline="0"/>
              <a:t>Creemos que el cliente </a:t>
            </a:r>
            <a:br>
              <a:rPr lang="x-es-XL" sz="2400" i="1"/>
            </a:br>
            <a:r>
              <a:rPr lang="x-es-XL" sz="2400" b="0" i="1" u="none" baseline="0"/>
              <a:t>es el centro de nuestro mundo»</a:t>
            </a:r>
          </a:p>
          <a:p>
            <a:pPr marL="342900" indent="-342900" algn="l" rtl="0"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x-es-XL" sz="2400" b="0" i="0" u="none" baseline="0"/>
              <a:t>Todo lo que hacemos, lo hacemos por </a:t>
            </a:r>
            <a:r>
              <a:rPr lang="x-es-XL" sz="2400" b="1" i="0" u="none" baseline="0">
                <a:solidFill>
                  <a:srgbClr val="0070C0"/>
                </a:solidFill>
              </a:rPr>
              <a:t>usted</a:t>
            </a:r>
          </a:p>
          <a:p>
            <a:pPr marL="342900" indent="-342900" algn="l" rtl="0"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x-es-XL" sz="2400" b="0" i="0" u="none" baseline="0"/>
              <a:t>Nosotros le escuchamos y </a:t>
            </a:r>
            <a:r>
              <a:rPr lang="x-es-XL" sz="2400" b="1" i="0" u="none" baseline="0">
                <a:solidFill>
                  <a:srgbClr val="0070C0"/>
                </a:solidFill>
              </a:rPr>
              <a:t>comprendemos </a:t>
            </a:r>
            <a:r>
              <a:rPr lang="x-es-XL" sz="2400" b="0" i="0" u="none" baseline="0"/>
              <a:t>las necesidades de su empresa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E6A71F9-AD81-B643-8778-ADEB3296D32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l" rtl="0"/>
            <a:r>
              <a:rPr lang="x-es-XL" b="1" i="0" u="none" baseline="0"/>
              <a:t>Logramos el éxito trabajando juntos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59C67307-F504-AB44-BFCC-5BE7ECC6D5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x-es-XL" sz="10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6">
            <a:extLst>
              <a:ext uri="{FF2B5EF4-FFF2-40B4-BE49-F238E27FC236}">
                <a16:creationId xmlns:a16="http://schemas.microsoft.com/office/drawing/2014/main" id="{9E61E723-4E8E-085C-0B3A-9D28E999A94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23187" y="997482"/>
            <a:ext cx="6911606" cy="4857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990846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84A04F1-3E54-4AB8-A68A-261484A5D66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99804" y="1050924"/>
            <a:ext cx="6642100" cy="4981575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193BBAC-3FFA-4F32-B6D4-E9CCBD5535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9" y="251250"/>
            <a:ext cx="5199381" cy="571710"/>
          </a:xfrm>
        </p:spPr>
        <p:txBody>
          <a:bodyPr anchor="t">
            <a:normAutofit/>
          </a:bodyPr>
          <a:lstStyle/>
          <a:p>
            <a:pPr algn="l" rtl="0"/>
            <a:r>
              <a:rPr lang="x-es-XL" b="1" i="0" u="none" baseline="0"/>
              <a:t>Demostrar fiabilidad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14DEFD2-D9F6-4503-A296-8409036D10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8128" y="1856521"/>
            <a:ext cx="5151676" cy="2213416"/>
          </a:xfrm>
        </p:spPr>
        <p:txBody>
          <a:bodyPr lIns="0" tIns="0" rIns="0" bIns="0"/>
          <a:lstStyle/>
          <a:p>
            <a:pPr marL="342900" indent="-342900" algn="l" rtl="0">
              <a:spcAft>
                <a:spcPts val="600"/>
              </a:spcAft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x-es-XL" sz="2400" b="0" i="0" u="none" baseline="0"/>
              <a:t>Innovamos para </a:t>
            </a:r>
            <a:r>
              <a:rPr lang="x-es-XL" sz="2400" b="1" i="0" u="none" baseline="0">
                <a:solidFill>
                  <a:srgbClr val="0070C0"/>
                </a:solidFill>
              </a:rPr>
              <a:t>añadir valor</a:t>
            </a:r>
            <a:r>
              <a:rPr lang="x-es-XL" sz="2400" b="0" i="0" u="none" baseline="0"/>
              <a:t> </a:t>
            </a:r>
            <a:br>
              <a:rPr lang="x-es-XL" sz="2400"/>
            </a:br>
            <a:r>
              <a:rPr lang="x-es-XL" sz="2400" b="0" i="0" u="none" baseline="0"/>
              <a:t>a su flota e impulsar el crecimiento de su empresa</a:t>
            </a:r>
          </a:p>
          <a:p>
            <a:pPr marL="342900" indent="-342900" algn="l" rtl="0">
              <a:spcAft>
                <a:spcPts val="600"/>
              </a:spcAft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x-es-XL" sz="2400" b="0" i="0" u="none" baseline="0"/>
              <a:t>Nos esforzamos por </a:t>
            </a:r>
            <a:br>
              <a:rPr lang="x-es-XL" sz="2400"/>
            </a:br>
            <a:r>
              <a:rPr lang="x-es-XL" sz="2400" b="1" i="0" u="none" baseline="0">
                <a:solidFill>
                  <a:srgbClr val="0070C0"/>
                </a:solidFill>
              </a:rPr>
              <a:t>proporcionar resultados</a:t>
            </a:r>
            <a:r>
              <a:rPr lang="x-es-XL" sz="2400" b="0" i="0" u="none" baseline="0">
                <a:solidFill>
                  <a:srgbClr val="0070C0"/>
                </a:solidFill>
              </a:rPr>
              <a:t> </a:t>
            </a:r>
            <a:r>
              <a:rPr lang="x-es-XL" sz="2400" b="0" i="0" u="none" baseline="0"/>
              <a:t>de forma sistemática para su empresa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B7B039EB-24D6-EE48-ACAC-DBA6DECDB8E0}"/>
              </a:ext>
            </a:extLst>
          </p:cNvPr>
          <p:cNvSpPr/>
          <p:nvPr/>
        </p:nvSpPr>
        <p:spPr>
          <a:xfrm>
            <a:off x="448128" y="4368433"/>
            <a:ext cx="5089543" cy="1422751"/>
          </a:xfrm>
          <a:prstGeom prst="roundRect">
            <a:avLst>
              <a:gd name="adj" fmla="val 4824"/>
            </a:avLst>
          </a:prstGeom>
          <a:solidFill>
            <a:schemeClr val="bg1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x-es-XL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B636DED-C8DC-48AE-9943-848A2F4AFBB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286" y="4368433"/>
            <a:ext cx="1260000" cy="142275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3D5C53B-F003-43B3-9113-980AFEC2A5B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765" y="4368433"/>
            <a:ext cx="1260000" cy="142275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418525E-0415-42DA-99C6-57C634BDB46D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78244" y="4368434"/>
            <a:ext cx="1260000" cy="142275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24C8397-91AE-4AFE-924D-9080BC1E2360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44722" y="4368433"/>
            <a:ext cx="1260000" cy="142275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58B07D-FDBF-9347-8735-83ED4191C1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204" y="748853"/>
            <a:ext cx="11841796" cy="1003107"/>
          </a:xfrm>
        </p:spPr>
        <p:txBody>
          <a:bodyPr/>
          <a:lstStyle/>
          <a:p>
            <a:pPr algn="l" rtl="0"/>
            <a:r>
              <a:rPr lang="x-es-XL" b="1" i="0" u="none" kern="800" baseline="0"/>
              <a:t>Nos comprometemos a ofrecer máximos niveles de calidad </a:t>
            </a:r>
            <a:br>
              <a:rPr lang="x-es-XL" kern="800"/>
            </a:br>
            <a:r>
              <a:rPr lang="x-es-XL" b="1" i="0" u="none" kern="800" baseline="0"/>
              <a:t>a través de la mejora continua y generando confiabilidad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086ECB7C-9417-324E-992C-07E3ADA8BA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x-es-XL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920478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38">
            <a:extLst>
              <a:ext uri="{FF2B5EF4-FFF2-40B4-BE49-F238E27FC236}">
                <a16:creationId xmlns:a16="http://schemas.microsoft.com/office/drawing/2014/main" id="{D145468D-AF3D-E745-BF9F-11AF4BBCEC51}"/>
              </a:ext>
            </a:extLst>
          </p:cNvPr>
          <p:cNvGrpSpPr/>
          <p:nvPr/>
        </p:nvGrpSpPr>
        <p:grpSpPr>
          <a:xfrm>
            <a:off x="3187555" y="486534"/>
            <a:ext cx="8935398" cy="5024005"/>
            <a:chOff x="1523898" y="379130"/>
            <a:chExt cx="9810580" cy="5516084"/>
          </a:xfrm>
        </p:grpSpPr>
        <p:pic>
          <p:nvPicPr>
            <p:cNvPr id="40" name="Graphic 39">
              <a:extLst>
                <a:ext uri="{FF2B5EF4-FFF2-40B4-BE49-F238E27FC236}">
                  <a16:creationId xmlns:a16="http://schemas.microsoft.com/office/drawing/2014/main" id="{9EE0CF4C-A064-E74F-967D-3893E6CD5A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523898" y="379130"/>
              <a:ext cx="4248000" cy="2950706"/>
            </a:xfrm>
            <a:prstGeom prst="rect">
              <a:avLst/>
            </a:prstGeom>
          </p:spPr>
        </p:pic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7B0F19D0-2B0E-0B45-988F-09A2B8E3BED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199957" y="458317"/>
              <a:ext cx="4592126" cy="4227255"/>
            </a:xfrm>
            <a:prstGeom prst="rect">
              <a:avLst/>
            </a:prstGeom>
          </p:spPr>
        </p:pic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B10AF0FC-A471-3E46-B5C2-8C995EE1AD1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264961" y="3157834"/>
              <a:ext cx="1989921" cy="2737380"/>
            </a:xfrm>
            <a:prstGeom prst="rect">
              <a:avLst/>
            </a:prstGeom>
          </p:spPr>
        </p:pic>
        <p:pic>
          <p:nvPicPr>
            <p:cNvPr id="43" name="Graphic 42">
              <a:extLst>
                <a:ext uri="{FF2B5EF4-FFF2-40B4-BE49-F238E27FC236}">
                  <a16:creationId xmlns:a16="http://schemas.microsoft.com/office/drawing/2014/main" id="{3FC892BF-2404-1E4B-8B77-735250EBFE0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526913" y="441997"/>
              <a:ext cx="5479937" cy="4859433"/>
            </a:xfrm>
            <a:prstGeom prst="rect">
              <a:avLst/>
            </a:prstGeom>
          </p:spPr>
        </p:pic>
        <p:pic>
          <p:nvPicPr>
            <p:cNvPr id="44" name="Graphic 43">
              <a:extLst>
                <a:ext uri="{FF2B5EF4-FFF2-40B4-BE49-F238E27FC236}">
                  <a16:creationId xmlns:a16="http://schemas.microsoft.com/office/drawing/2014/main" id="{98F20B30-F4B1-A845-8BB8-882FC106191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425402" y="1945163"/>
              <a:ext cx="1818992" cy="1276840"/>
            </a:xfrm>
            <a:prstGeom prst="rect">
              <a:avLst/>
            </a:prstGeom>
          </p:spPr>
        </p:pic>
        <p:pic>
          <p:nvPicPr>
            <p:cNvPr id="46" name="Graphic 45">
              <a:extLst>
                <a:ext uri="{FF2B5EF4-FFF2-40B4-BE49-F238E27FC236}">
                  <a16:creationId xmlns:a16="http://schemas.microsoft.com/office/drawing/2014/main" id="{8C5C3029-FF8A-B84E-84D8-3D09B3B4631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9650698" y="3764650"/>
              <a:ext cx="1683780" cy="1683614"/>
            </a:xfrm>
            <a:prstGeom prst="rect">
              <a:avLst/>
            </a:prstGeom>
          </p:spPr>
        </p:pic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5FCDAAEA-0078-7E49-8CAD-958AAC0AC14A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540713" y="1731175"/>
              <a:ext cx="0" cy="0"/>
            </a:xfrm>
            <a:prstGeom prst="rect">
              <a:avLst/>
            </a:prstGeom>
          </p:spPr>
        </p:pic>
        <p:pic>
          <p:nvPicPr>
            <p:cNvPr id="48" name="Graphic 47">
              <a:extLst>
                <a:ext uri="{FF2B5EF4-FFF2-40B4-BE49-F238E27FC236}">
                  <a16:creationId xmlns:a16="http://schemas.microsoft.com/office/drawing/2014/main" id="{1E46DF85-9590-E341-B0EB-6BEEDA8E35A7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8802500" y="2229094"/>
              <a:ext cx="1683780" cy="1812417"/>
            </a:xfrm>
            <a:prstGeom prst="rect">
              <a:avLst/>
            </a:prstGeom>
          </p:spPr>
        </p:pic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0DFC8362-0084-4098-9904-10D0758B816F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564367" y="3734745"/>
            <a:ext cx="4288936" cy="217074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FB85567-E32B-414D-82EB-09012EFEE94C}"/>
              </a:ext>
            </a:extLst>
          </p:cNvPr>
          <p:cNvSpPr txBox="1"/>
          <p:nvPr/>
        </p:nvSpPr>
        <p:spPr>
          <a:xfrm>
            <a:off x="869721" y="1474947"/>
            <a:ext cx="4315541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x-es-XL" sz="1200" b="1" i="0" u="none" baseline="0">
                <a:solidFill>
                  <a:schemeClr val="bg2"/>
                </a:solidFill>
              </a:rPr>
              <a:t>Soluciones de acceso en altura y de manipulación de materiales</a:t>
            </a:r>
            <a:br>
              <a:rPr lang="x-es-XL" sz="1200" i="1">
                <a:solidFill>
                  <a:schemeClr val="accent3">
                    <a:lumMod val="50000"/>
                  </a:schemeClr>
                </a:solidFill>
              </a:rPr>
            </a:br>
            <a:r>
              <a:rPr lang="x-es-XL" sz="1200" b="0" i="1" u="none" baseline="0">
                <a:solidFill>
                  <a:schemeClr val="accent3">
                    <a:lumMod val="50000"/>
                  </a:schemeClr>
                </a:solidFill>
              </a:rPr>
              <a:t>Fabricante mundial de manipuladores telescópicos y plataformas elevadoras</a:t>
            </a:r>
            <a:endParaRPr lang="x-es-XL" sz="1200">
              <a:solidFill>
                <a:schemeClr val="accent3">
                  <a:lumMod val="50000"/>
                </a:schemeClr>
              </a:solidFill>
            </a:endParaRPr>
          </a:p>
          <a:p>
            <a:endParaRPr lang="x-es-XL" sz="1200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x-es-XL" sz="1200" b="1" i="0" u="none" baseline="0">
                <a:solidFill>
                  <a:schemeClr val="bg2"/>
                </a:solidFill>
              </a:rPr>
              <a:t>Repuestos y servicio en todo el mundo         </a:t>
            </a:r>
          </a:p>
          <a:p>
            <a:pPr algn="l" rtl="0"/>
            <a:r>
              <a:rPr lang="x-es-XL" sz="1200" b="0" i="1" u="none" baseline="0">
                <a:solidFill>
                  <a:schemeClr val="accent3">
                    <a:lumMod val="50000"/>
                  </a:schemeClr>
                </a:solidFill>
              </a:rPr>
              <a:t>33 almacenes y más de 90.000 m</a:t>
            </a:r>
            <a:r>
              <a:rPr lang="x-es-XL" sz="1200" b="0" i="1" u="none" baseline="30000">
                <a:solidFill>
                  <a:schemeClr val="accent3">
                    <a:lumMod val="50000"/>
                  </a:schemeClr>
                </a:solidFill>
              </a:rPr>
              <a:t>2</a:t>
            </a:r>
          </a:p>
          <a:p>
            <a:endParaRPr lang="x-es-XL" sz="1200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x-es-XL" sz="1200" b="1" i="0" u="none" baseline="0">
                <a:solidFill>
                  <a:schemeClr val="bg2"/>
                </a:solidFill>
              </a:rPr>
              <a:t>Sistema Operativo de Genie y Valores de El Estilo Terex</a:t>
            </a:r>
          </a:p>
          <a:p>
            <a:pPr algn="l" rtl="0"/>
            <a:r>
              <a:rPr lang="x-es-XL" sz="1200" b="0" i="1" u="none" baseline="0">
                <a:solidFill>
                  <a:schemeClr val="accent3">
                    <a:lumMod val="50000"/>
                  </a:schemeClr>
                </a:solidFill>
              </a:rPr>
              <a:t>Excelencia de rendimiento en todas las áreas de nuestra actividad</a:t>
            </a:r>
          </a:p>
          <a:p>
            <a:endParaRPr lang="x-es-XL" sz="1200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x-es-XL" sz="1200" b="1" i="0" u="none" baseline="0">
                <a:solidFill>
                  <a:schemeClr val="bg2"/>
                </a:solidFill>
              </a:rPr>
              <a:t>Fabricación de clase mundial </a:t>
            </a:r>
          </a:p>
          <a:p>
            <a:pPr algn="l" rtl="0"/>
            <a:r>
              <a:rPr lang="x-es-XL" sz="1200" b="0" i="1" u="none" baseline="0">
                <a:solidFill>
                  <a:schemeClr val="accent3">
                    <a:lumMod val="50000"/>
                  </a:schemeClr>
                </a:solidFill>
              </a:rPr>
              <a:t>Estados Unidos, México, China, Italia</a:t>
            </a:r>
          </a:p>
          <a:p>
            <a:endParaRPr lang="x-es-XL" sz="1200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x-es-XL" sz="1200" b="1" i="0" u="none" baseline="0">
                <a:solidFill>
                  <a:schemeClr val="bg2"/>
                </a:solidFill>
              </a:rPr>
              <a:t>Base instalada de forma global</a:t>
            </a:r>
          </a:p>
          <a:p>
            <a:pPr algn="l" rtl="0"/>
            <a:r>
              <a:rPr lang="x-es-XL" sz="1200" b="0" i="1" u="none" baseline="0">
                <a:solidFill>
                  <a:schemeClr val="accent3">
                    <a:lumMod val="50000"/>
                  </a:schemeClr>
                </a:solidFill>
              </a:rPr>
              <a:t>Brindamos soporte a clientes en industrias y países de todo el mundo</a:t>
            </a:r>
            <a:endParaRPr lang="x-es-XL" sz="1200">
              <a:solidFill>
                <a:schemeClr val="accent3">
                  <a:lumMod val="50000"/>
                </a:schemeClr>
              </a:solidFill>
            </a:endParaRPr>
          </a:p>
          <a:p>
            <a:endParaRPr lang="x-es-XL" sz="1200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x-es-XL" sz="1200" b="1" i="0" u="none" baseline="0">
                <a:solidFill>
                  <a:schemeClr val="bg2"/>
                </a:solidFill>
              </a:rPr>
              <a:t>Miembros del equipo comprometidos</a:t>
            </a:r>
          </a:p>
          <a:p>
            <a:pPr algn="l" rtl="0"/>
            <a:r>
              <a:rPr lang="x-es-XL" sz="1200" b="0" i="1" u="none" baseline="0">
                <a:solidFill>
                  <a:schemeClr val="accent3">
                    <a:lumMod val="50000"/>
                  </a:schemeClr>
                </a:solidFill>
              </a:rPr>
              <a:t>Un equipo global y diverso de 5000 expertos en </a:t>
            </a:r>
            <a:br>
              <a:rPr lang="x-es-XL" sz="1200" i="1">
                <a:solidFill>
                  <a:schemeClr val="accent3">
                    <a:lumMod val="50000"/>
                  </a:schemeClr>
                </a:solidFill>
              </a:rPr>
            </a:br>
            <a:r>
              <a:rPr lang="x-es-XL" sz="1200" b="0" i="1" u="none" baseline="0">
                <a:solidFill>
                  <a:schemeClr val="accent3">
                    <a:lumMod val="50000"/>
                  </a:schemeClr>
                </a:solidFill>
              </a:rPr>
              <a:t>acceso en altura y manipulación de materiales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DC2EB4F2-35DA-41D6-A91A-B29C3EBC149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81822" y="3074307"/>
            <a:ext cx="467436" cy="484227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71B7FF1A-B987-4D4F-8EB4-DF3812459CF2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240597" y="1444708"/>
            <a:ext cx="549886" cy="533941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D8C084E3-6559-EF4E-9EC9-BBA804B5CDA0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940487" y="6339074"/>
            <a:ext cx="1626370" cy="27106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0354867-D673-9F4A-84EC-BB72325F3452}"/>
              </a:ext>
            </a:extLst>
          </p:cNvPr>
          <p:cNvSpPr/>
          <p:nvPr/>
        </p:nvSpPr>
        <p:spPr>
          <a:xfrm>
            <a:off x="262222" y="300131"/>
            <a:ext cx="11785522" cy="70788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/>
            <a:r>
              <a:rPr lang="x-es-XL" sz="2300" b="1" i="0" u="none" baseline="0">
                <a:solidFill>
                  <a:schemeClr val="bg2"/>
                </a:solidFill>
              </a:rPr>
              <a:t>Asociación estratégica para beneficiarnos mutuamente del mercado global de manipuladores telescópicos aprovechando los puntos fuertes complementarios y aportar valor añadido a los clientes. 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5D3861B9-2AC1-F841-9700-41D3F380383F}"/>
              </a:ext>
            </a:extLst>
          </p:cNvPr>
          <p:cNvSpPr/>
          <p:nvPr/>
        </p:nvSpPr>
        <p:spPr>
          <a:xfrm>
            <a:off x="5255638" y="2005342"/>
            <a:ext cx="166839" cy="16683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x-es-XL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AFA72EB-C623-E849-94FA-374209D2200F}"/>
              </a:ext>
            </a:extLst>
          </p:cNvPr>
          <p:cNvSpPr/>
          <p:nvPr/>
        </p:nvSpPr>
        <p:spPr>
          <a:xfrm>
            <a:off x="5560734" y="2644938"/>
            <a:ext cx="166839" cy="16683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x-es-XL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1C0A8CB1-7EE9-4840-82C7-AFC8ACCCC56F}"/>
              </a:ext>
            </a:extLst>
          </p:cNvPr>
          <p:cNvSpPr/>
          <p:nvPr/>
        </p:nvSpPr>
        <p:spPr>
          <a:xfrm>
            <a:off x="5841970" y="2221727"/>
            <a:ext cx="166839" cy="16683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x-es-XL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3E11081A-662D-8C4C-9A32-DEBB159BE6F2}"/>
              </a:ext>
            </a:extLst>
          </p:cNvPr>
          <p:cNvSpPr/>
          <p:nvPr/>
        </p:nvSpPr>
        <p:spPr>
          <a:xfrm>
            <a:off x="7007656" y="3980725"/>
            <a:ext cx="166839" cy="16683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x-es-XL"/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3CBB5D38-3462-0B49-9099-B6A029EB45C6}"/>
              </a:ext>
            </a:extLst>
          </p:cNvPr>
          <p:cNvSpPr/>
          <p:nvPr/>
        </p:nvSpPr>
        <p:spPr>
          <a:xfrm>
            <a:off x="8089580" y="2284548"/>
            <a:ext cx="166839" cy="16683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x-es-XL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1272AA2C-95B4-344D-A426-F642FB3B235E}"/>
              </a:ext>
            </a:extLst>
          </p:cNvPr>
          <p:cNvSpPr/>
          <p:nvPr/>
        </p:nvSpPr>
        <p:spPr>
          <a:xfrm>
            <a:off x="7956957" y="2061183"/>
            <a:ext cx="166839" cy="16683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x-es-XL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E72C4116-0EEF-0843-AA21-FCB6A47DC5D8}"/>
              </a:ext>
            </a:extLst>
          </p:cNvPr>
          <p:cNvSpPr/>
          <p:nvPr/>
        </p:nvSpPr>
        <p:spPr>
          <a:xfrm>
            <a:off x="10583634" y="2204008"/>
            <a:ext cx="166839" cy="16683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x-es-XL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31510F73-A4D5-5F48-89B1-3CA313D14252}"/>
              </a:ext>
            </a:extLst>
          </p:cNvPr>
          <p:cNvSpPr/>
          <p:nvPr/>
        </p:nvSpPr>
        <p:spPr>
          <a:xfrm>
            <a:off x="9757837" y="2898802"/>
            <a:ext cx="166839" cy="16683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x-es-XL"/>
          </a:p>
        </p:txBody>
      </p:sp>
      <p:pic>
        <p:nvPicPr>
          <p:cNvPr id="60" name="Graphic 59">
            <a:extLst>
              <a:ext uri="{FF2B5EF4-FFF2-40B4-BE49-F238E27FC236}">
                <a16:creationId xmlns:a16="http://schemas.microsoft.com/office/drawing/2014/main" id="{3642DB8B-6792-534A-B4F5-DAAE439759F2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8834729" y="3590580"/>
            <a:ext cx="1379957" cy="392436"/>
          </a:xfrm>
          <a:prstGeom prst="rect">
            <a:avLst/>
          </a:prstGeom>
        </p:spPr>
      </p:pic>
      <p:pic>
        <p:nvPicPr>
          <p:cNvPr id="65" name="Graphic 64">
            <a:extLst>
              <a:ext uri="{FF2B5EF4-FFF2-40B4-BE49-F238E27FC236}">
                <a16:creationId xmlns:a16="http://schemas.microsoft.com/office/drawing/2014/main" id="{AAE36F1E-A56B-6D4A-8997-CB04844F2BEC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99640" y="4314733"/>
            <a:ext cx="431800" cy="412750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74F416EB-52A6-6C44-96D1-67CB9251B06E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315515" y="2411727"/>
            <a:ext cx="400050" cy="400050"/>
          </a:xfrm>
          <a:prstGeom prst="rect">
            <a:avLst/>
          </a:prstGeom>
        </p:spPr>
      </p:pic>
      <p:pic>
        <p:nvPicPr>
          <p:cNvPr id="73" name="Graphic 72">
            <a:extLst>
              <a:ext uri="{FF2B5EF4-FFF2-40B4-BE49-F238E27FC236}">
                <a16:creationId xmlns:a16="http://schemas.microsoft.com/office/drawing/2014/main" id="{AE58E962-5007-0242-97FB-4489D21C8D6F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293259" y="3657650"/>
            <a:ext cx="444562" cy="444562"/>
          </a:xfrm>
          <a:prstGeom prst="rect">
            <a:avLst/>
          </a:prstGeom>
        </p:spPr>
      </p:pic>
      <p:pic>
        <p:nvPicPr>
          <p:cNvPr id="75" name="Graphic 74">
            <a:extLst>
              <a:ext uri="{FF2B5EF4-FFF2-40B4-BE49-F238E27FC236}">
                <a16:creationId xmlns:a16="http://schemas.microsoft.com/office/drawing/2014/main" id="{CEE2A119-0EF2-0B42-B40B-435CFDBD694D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264204" y="5007866"/>
            <a:ext cx="502673" cy="502673"/>
          </a:xfrm>
          <a:prstGeom prst="rect">
            <a:avLst/>
          </a:prstGeom>
        </p:spPr>
      </p:pic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2B74EF56-9844-4890-96C7-28F92EB617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5556310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76E52BE-0B77-479D-91CD-51F326AFC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1418" y="775970"/>
            <a:ext cx="8529501" cy="2913380"/>
          </a:xfrm>
        </p:spPr>
        <p:txBody>
          <a:bodyPr anchor="b"/>
          <a:lstStyle/>
          <a:p>
            <a:pPr algn="l" rtl="0"/>
            <a:r>
              <a:rPr lang="pt-BR" b="1" i="0" u="none" baseline="0" dirty="0"/>
              <a:t>P</a:t>
            </a:r>
            <a:r>
              <a:rPr lang="x-es-XL" b="1" i="0" u="none" baseline="0" dirty="0"/>
              <a:t>roductos Genie</a:t>
            </a:r>
            <a:r>
              <a:rPr lang="x-es-XL" sz="2800" b="1" i="0" u="none" baseline="65000" dirty="0"/>
              <a:t>®</a:t>
            </a:r>
            <a:endParaRPr lang="x-es-XL" dirty="0"/>
          </a:p>
        </p:txBody>
      </p:sp>
    </p:spTree>
    <p:extLst>
      <p:ext uri="{BB962C8B-B14F-4D97-AF65-F5344CB8AC3E}">
        <p14:creationId xmlns:p14="http://schemas.microsoft.com/office/powerpoint/2010/main" val="30741689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1E4A3B66-EB5F-FD4D-95F1-70FBD882E5D3}"/>
              </a:ext>
            </a:extLst>
          </p:cNvPr>
          <p:cNvCxnSpPr>
            <a:cxnSpLocks/>
          </p:cNvCxnSpPr>
          <p:nvPr/>
        </p:nvCxnSpPr>
        <p:spPr>
          <a:xfrm>
            <a:off x="7354294" y="1500141"/>
            <a:ext cx="0" cy="108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8BE20DB4-5C23-6C4D-A742-A3CCCE511102}"/>
              </a:ext>
            </a:extLst>
          </p:cNvPr>
          <p:cNvGrpSpPr/>
          <p:nvPr/>
        </p:nvGrpSpPr>
        <p:grpSpPr>
          <a:xfrm>
            <a:off x="9053667" y="1500141"/>
            <a:ext cx="568161" cy="1080000"/>
            <a:chOff x="539254" y="1874842"/>
            <a:chExt cx="568161" cy="1080000"/>
          </a:xfrm>
        </p:grpSpPr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5C83F868-948F-2944-9B48-77AD14060A0F}"/>
                </a:ext>
              </a:extLst>
            </p:cNvPr>
            <p:cNvCxnSpPr>
              <a:cxnSpLocks/>
            </p:cNvCxnSpPr>
            <p:nvPr/>
          </p:nvCxnSpPr>
          <p:spPr>
            <a:xfrm>
              <a:off x="1107415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729F1F37-CFE3-ED45-9686-7B550A52E955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4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A51B37EC-831E-054D-AE86-ADB7CB18054B}"/>
                </a:ext>
              </a:extLst>
            </p:cNvPr>
            <p:cNvCxnSpPr>
              <a:cxnSpLocks/>
            </p:cNvCxnSpPr>
            <p:nvPr/>
          </p:nvCxnSpPr>
          <p:spPr>
            <a:xfrm>
              <a:off x="728641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3EDFEE03-5BC7-5D45-9CE6-682FE7313477}"/>
                </a:ext>
              </a:extLst>
            </p:cNvPr>
            <p:cNvCxnSpPr>
              <a:cxnSpLocks/>
            </p:cNvCxnSpPr>
            <p:nvPr/>
          </p:nvCxnSpPr>
          <p:spPr>
            <a:xfrm>
              <a:off x="918028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431D1DAB-B2A5-1C4B-9A4A-C3226F3DA534}"/>
              </a:ext>
            </a:extLst>
          </p:cNvPr>
          <p:cNvSpPr/>
          <p:nvPr/>
        </p:nvSpPr>
        <p:spPr>
          <a:xfrm>
            <a:off x="7354294" y="1487717"/>
            <a:ext cx="1699373" cy="11000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x-es-X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E38654-585D-4806-95B7-AA2D7DC4EA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8" y="174821"/>
            <a:ext cx="11841481" cy="640080"/>
          </a:xfrm>
        </p:spPr>
        <p:txBody>
          <a:bodyPr lIns="0" tIns="0" rIns="0" bIns="0">
            <a:noAutofit/>
          </a:bodyPr>
          <a:lstStyle/>
          <a:p>
            <a:pPr algn="l" rtl="0"/>
            <a:r>
              <a:rPr lang="x-es-XL" b="1" i="0" u="none" baseline="0"/>
              <a:t>55 años de calidad: La Historia de Geni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E13EFBA-8694-0143-8602-4B1BE2878DBC}"/>
              </a:ext>
            </a:extLst>
          </p:cNvPr>
          <p:cNvCxnSpPr>
            <a:cxnSpLocks/>
          </p:cNvCxnSpPr>
          <p:nvPr/>
        </p:nvCxnSpPr>
        <p:spPr>
          <a:xfrm>
            <a:off x="350519" y="1483040"/>
            <a:ext cx="1137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B40F226B-5836-6845-992B-05FCE1765068}"/>
              </a:ext>
            </a:extLst>
          </p:cNvPr>
          <p:cNvSpPr txBox="1"/>
          <p:nvPr/>
        </p:nvSpPr>
        <p:spPr>
          <a:xfrm>
            <a:off x="7698804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x-es-XL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5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C1B49097-9305-7546-B032-7FD975E09383}"/>
              </a:ext>
            </a:extLst>
          </p:cNvPr>
          <p:cNvSpPr txBox="1"/>
          <p:nvPr/>
        </p:nvSpPr>
        <p:spPr>
          <a:xfrm>
            <a:off x="6762398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x-es-XL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0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F5CE683-8F4F-C249-A410-4F674234840B}"/>
              </a:ext>
            </a:extLst>
          </p:cNvPr>
          <p:cNvSpPr txBox="1"/>
          <p:nvPr/>
        </p:nvSpPr>
        <p:spPr>
          <a:xfrm>
            <a:off x="5800316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x-es-XL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95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9D4FD5A-DECD-A341-96DD-400E780CFD77}"/>
              </a:ext>
            </a:extLst>
          </p:cNvPr>
          <p:cNvSpPr txBox="1"/>
          <p:nvPr/>
        </p:nvSpPr>
        <p:spPr>
          <a:xfrm>
            <a:off x="4853383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x-es-XL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90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D184C00-53CB-0749-965A-B807F49FCC99}"/>
              </a:ext>
            </a:extLst>
          </p:cNvPr>
          <p:cNvSpPr txBox="1"/>
          <p:nvPr/>
        </p:nvSpPr>
        <p:spPr>
          <a:xfrm>
            <a:off x="3906450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x-es-XL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85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92E8768-DA17-4148-92D0-F042AC73ABEE}"/>
              </a:ext>
            </a:extLst>
          </p:cNvPr>
          <p:cNvSpPr txBox="1"/>
          <p:nvPr/>
        </p:nvSpPr>
        <p:spPr>
          <a:xfrm>
            <a:off x="2959517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x-es-XL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80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76E07414-36B7-B24A-A0DB-2361A52D59F6}"/>
              </a:ext>
            </a:extLst>
          </p:cNvPr>
          <p:cNvSpPr txBox="1"/>
          <p:nvPr/>
        </p:nvSpPr>
        <p:spPr>
          <a:xfrm>
            <a:off x="2012584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x-es-XL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75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240D7283-A208-6B4A-9080-7774877FB822}"/>
              </a:ext>
            </a:extLst>
          </p:cNvPr>
          <p:cNvSpPr txBox="1"/>
          <p:nvPr/>
        </p:nvSpPr>
        <p:spPr>
          <a:xfrm>
            <a:off x="1050502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x-es-XL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70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19112D93-074C-CB4F-8FA6-41EF5C306E3D}"/>
              </a:ext>
            </a:extLst>
          </p:cNvPr>
          <p:cNvSpPr txBox="1"/>
          <p:nvPr/>
        </p:nvSpPr>
        <p:spPr>
          <a:xfrm>
            <a:off x="8656264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x-es-XL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10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CBEB228-3760-BC4B-851F-48826A0F47FB}"/>
              </a:ext>
            </a:extLst>
          </p:cNvPr>
          <p:cNvSpPr txBox="1"/>
          <p:nvPr/>
        </p:nvSpPr>
        <p:spPr>
          <a:xfrm>
            <a:off x="9603197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x-es-XL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15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0F1AA80-E374-4347-AF5E-302D8E12FF71}"/>
              </a:ext>
            </a:extLst>
          </p:cNvPr>
          <p:cNvSpPr txBox="1"/>
          <p:nvPr/>
        </p:nvSpPr>
        <p:spPr>
          <a:xfrm>
            <a:off x="10550130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x-es-XL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0</a:t>
            </a:r>
            <a:endParaRPr kumimoji="0" lang="x-es-XL" sz="1400" b="1" i="0" u="none" strike="noStrike" kern="1200" cap="none" spc="0" normalizeH="0" baseline="0" noProof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95085BE0-FADE-7D4D-B7DC-04076727F207}"/>
              </a:ext>
            </a:extLst>
          </p:cNvPr>
          <p:cNvCxnSpPr>
            <a:cxnSpLocks/>
          </p:cNvCxnSpPr>
          <p:nvPr/>
        </p:nvCxnSpPr>
        <p:spPr>
          <a:xfrm>
            <a:off x="11713062" y="1327754"/>
            <a:ext cx="0" cy="1404000"/>
          </a:xfrm>
          <a:prstGeom prst="line">
            <a:avLst/>
          </a:prstGeom>
          <a:ln w="254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917F0460-5C39-C34C-9749-EC1FF4717D53}"/>
              </a:ext>
            </a:extLst>
          </p:cNvPr>
          <p:cNvCxnSpPr>
            <a:cxnSpLocks/>
          </p:cNvCxnSpPr>
          <p:nvPr/>
        </p:nvCxnSpPr>
        <p:spPr>
          <a:xfrm>
            <a:off x="4137599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CD1CFD83-0054-0B48-9CA5-CD90F69A59BA}"/>
              </a:ext>
            </a:extLst>
          </p:cNvPr>
          <p:cNvCxnSpPr>
            <a:cxnSpLocks/>
          </p:cNvCxnSpPr>
          <p:nvPr/>
        </p:nvCxnSpPr>
        <p:spPr>
          <a:xfrm>
            <a:off x="2243733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B23ADE89-132C-A447-BB51-99E588D31671}"/>
              </a:ext>
            </a:extLst>
          </p:cNvPr>
          <p:cNvCxnSpPr>
            <a:cxnSpLocks/>
          </p:cNvCxnSpPr>
          <p:nvPr/>
        </p:nvCxnSpPr>
        <p:spPr>
          <a:xfrm>
            <a:off x="6031465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38119B9D-2609-F049-86BE-DDE849193EA3}"/>
              </a:ext>
            </a:extLst>
          </p:cNvPr>
          <p:cNvCxnSpPr>
            <a:cxnSpLocks/>
          </p:cNvCxnSpPr>
          <p:nvPr/>
        </p:nvCxnSpPr>
        <p:spPr>
          <a:xfrm>
            <a:off x="7925331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651B917C-78C4-ED44-8C20-871DD4D54DBF}"/>
              </a:ext>
            </a:extLst>
          </p:cNvPr>
          <p:cNvCxnSpPr>
            <a:cxnSpLocks/>
          </p:cNvCxnSpPr>
          <p:nvPr/>
        </p:nvCxnSpPr>
        <p:spPr>
          <a:xfrm>
            <a:off x="9819197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F5060E08-0081-A54E-8203-B820DDC49259}"/>
              </a:ext>
            </a:extLst>
          </p:cNvPr>
          <p:cNvCxnSpPr>
            <a:cxnSpLocks/>
          </p:cNvCxnSpPr>
          <p:nvPr/>
        </p:nvCxnSpPr>
        <p:spPr>
          <a:xfrm>
            <a:off x="1296800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30963B88-3CBB-A54E-BAC4-9639429F288E}"/>
              </a:ext>
            </a:extLst>
          </p:cNvPr>
          <p:cNvCxnSpPr>
            <a:cxnSpLocks/>
          </p:cNvCxnSpPr>
          <p:nvPr/>
        </p:nvCxnSpPr>
        <p:spPr>
          <a:xfrm>
            <a:off x="3190666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54054F54-0BA6-9F47-843F-C8AD2CE692C3}"/>
              </a:ext>
            </a:extLst>
          </p:cNvPr>
          <p:cNvCxnSpPr>
            <a:cxnSpLocks/>
          </p:cNvCxnSpPr>
          <p:nvPr/>
        </p:nvCxnSpPr>
        <p:spPr>
          <a:xfrm>
            <a:off x="5084532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EE59254D-B61F-884C-AB63-86F537DD8C13}"/>
              </a:ext>
            </a:extLst>
          </p:cNvPr>
          <p:cNvCxnSpPr>
            <a:cxnSpLocks/>
          </p:cNvCxnSpPr>
          <p:nvPr/>
        </p:nvCxnSpPr>
        <p:spPr>
          <a:xfrm>
            <a:off x="6978398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6EBE8D29-15DE-8744-9FF0-4981E3C81652}"/>
              </a:ext>
            </a:extLst>
          </p:cNvPr>
          <p:cNvCxnSpPr>
            <a:cxnSpLocks/>
          </p:cNvCxnSpPr>
          <p:nvPr/>
        </p:nvCxnSpPr>
        <p:spPr>
          <a:xfrm>
            <a:off x="8872264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97E1D9E6-322F-AF49-BE63-4E4F99BC302A}"/>
              </a:ext>
            </a:extLst>
          </p:cNvPr>
          <p:cNvCxnSpPr>
            <a:cxnSpLocks/>
          </p:cNvCxnSpPr>
          <p:nvPr/>
        </p:nvCxnSpPr>
        <p:spPr>
          <a:xfrm>
            <a:off x="10766130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TextBox 109">
            <a:extLst>
              <a:ext uri="{FF2B5EF4-FFF2-40B4-BE49-F238E27FC236}">
                <a16:creationId xmlns:a16="http://schemas.microsoft.com/office/drawing/2014/main" id="{3CB710E8-FA54-C444-9A63-8E3358130C06}"/>
              </a:ext>
            </a:extLst>
          </p:cNvPr>
          <p:cNvSpPr txBox="1"/>
          <p:nvPr/>
        </p:nvSpPr>
        <p:spPr>
          <a:xfrm>
            <a:off x="120168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x-es-XL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65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C8B6596-2564-C042-89E6-E51CF96B5894}"/>
              </a:ext>
            </a:extLst>
          </p:cNvPr>
          <p:cNvGrpSpPr/>
          <p:nvPr/>
        </p:nvGrpSpPr>
        <p:grpSpPr>
          <a:xfrm>
            <a:off x="539254" y="1500141"/>
            <a:ext cx="568161" cy="1080000"/>
            <a:chOff x="539254" y="1874842"/>
            <a:chExt cx="568161" cy="10800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4A27DFD1-875C-DA44-9FFB-04D903BB6648}"/>
                </a:ext>
              </a:extLst>
            </p:cNvPr>
            <p:cNvCxnSpPr>
              <a:cxnSpLocks/>
            </p:cNvCxnSpPr>
            <p:nvPr/>
          </p:nvCxnSpPr>
          <p:spPr>
            <a:xfrm>
              <a:off x="1107415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075281D2-7984-1B4E-A50E-90D6CF425095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4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92AC342D-4162-2945-A477-C81785C9F3A8}"/>
                </a:ext>
              </a:extLst>
            </p:cNvPr>
            <p:cNvCxnSpPr>
              <a:cxnSpLocks/>
            </p:cNvCxnSpPr>
            <p:nvPr/>
          </p:nvCxnSpPr>
          <p:spPr>
            <a:xfrm>
              <a:off x="728641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EC1DA0E-5E59-694F-A755-E8518686FC60}"/>
                </a:ext>
              </a:extLst>
            </p:cNvPr>
            <p:cNvCxnSpPr>
              <a:cxnSpLocks/>
            </p:cNvCxnSpPr>
            <p:nvPr/>
          </p:nvCxnSpPr>
          <p:spPr>
            <a:xfrm>
              <a:off x="918028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683C59AB-17B6-424D-9628-84719B1A28AC}"/>
              </a:ext>
            </a:extLst>
          </p:cNvPr>
          <p:cNvGrpSpPr/>
          <p:nvPr/>
        </p:nvGrpSpPr>
        <p:grpSpPr>
          <a:xfrm>
            <a:off x="1491129" y="1500141"/>
            <a:ext cx="568161" cy="1080000"/>
            <a:chOff x="539254" y="1874842"/>
            <a:chExt cx="568161" cy="1080000"/>
          </a:xfrm>
        </p:grpSpPr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2BDB1DEB-EA1E-5E4D-A75E-2CC91C1D8899}"/>
                </a:ext>
              </a:extLst>
            </p:cNvPr>
            <p:cNvCxnSpPr>
              <a:cxnSpLocks/>
            </p:cNvCxnSpPr>
            <p:nvPr/>
          </p:nvCxnSpPr>
          <p:spPr>
            <a:xfrm>
              <a:off x="1107415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A4D6A35B-12B4-164B-AC01-0B4D242DA437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4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27B56B48-61F5-8E4E-8327-5C600FDCBAE2}"/>
                </a:ext>
              </a:extLst>
            </p:cNvPr>
            <p:cNvCxnSpPr>
              <a:cxnSpLocks/>
            </p:cNvCxnSpPr>
            <p:nvPr/>
          </p:nvCxnSpPr>
          <p:spPr>
            <a:xfrm>
              <a:off x="728641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C731BDD-CCD6-6B48-BCB4-384D91367EEB}"/>
                </a:ext>
              </a:extLst>
            </p:cNvPr>
            <p:cNvCxnSpPr>
              <a:cxnSpLocks/>
            </p:cNvCxnSpPr>
            <p:nvPr/>
          </p:nvCxnSpPr>
          <p:spPr>
            <a:xfrm>
              <a:off x="918028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73E7B3CD-424A-AD4A-96EF-CFED72E77A48}"/>
              </a:ext>
            </a:extLst>
          </p:cNvPr>
          <p:cNvGrpSpPr/>
          <p:nvPr/>
        </p:nvGrpSpPr>
        <p:grpSpPr>
          <a:xfrm>
            <a:off x="2428015" y="1500141"/>
            <a:ext cx="568161" cy="1080000"/>
            <a:chOff x="539254" y="1874842"/>
            <a:chExt cx="568161" cy="1080000"/>
          </a:xfrm>
        </p:grpSpPr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5E9258F-D8F5-4E4E-834C-C9EB8E2B8770}"/>
                </a:ext>
              </a:extLst>
            </p:cNvPr>
            <p:cNvCxnSpPr>
              <a:cxnSpLocks/>
            </p:cNvCxnSpPr>
            <p:nvPr/>
          </p:nvCxnSpPr>
          <p:spPr>
            <a:xfrm>
              <a:off x="1107415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E90B4A0A-5F11-9547-9BCC-F0D3C0849F35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4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E7DF72B0-F52A-4A49-9B73-ECA9B44ED0CD}"/>
                </a:ext>
              </a:extLst>
            </p:cNvPr>
            <p:cNvCxnSpPr>
              <a:cxnSpLocks/>
            </p:cNvCxnSpPr>
            <p:nvPr/>
          </p:nvCxnSpPr>
          <p:spPr>
            <a:xfrm>
              <a:off x="728641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7A9C9C19-CFE2-9A4F-AAE1-3E7B3BE2726D}"/>
                </a:ext>
              </a:extLst>
            </p:cNvPr>
            <p:cNvCxnSpPr>
              <a:cxnSpLocks/>
            </p:cNvCxnSpPr>
            <p:nvPr/>
          </p:nvCxnSpPr>
          <p:spPr>
            <a:xfrm>
              <a:off x="918028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74C3E5B3-B9F7-254F-86B8-96DA94B29EAD}"/>
              </a:ext>
            </a:extLst>
          </p:cNvPr>
          <p:cNvGrpSpPr/>
          <p:nvPr/>
        </p:nvGrpSpPr>
        <p:grpSpPr>
          <a:xfrm>
            <a:off x="3364900" y="1500141"/>
            <a:ext cx="568161" cy="1080000"/>
            <a:chOff x="539254" y="1874842"/>
            <a:chExt cx="568161" cy="1080000"/>
          </a:xfrm>
        </p:grpSpPr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0C6AF189-9483-CE46-9114-EA1EEFA4AA83}"/>
                </a:ext>
              </a:extLst>
            </p:cNvPr>
            <p:cNvCxnSpPr>
              <a:cxnSpLocks/>
            </p:cNvCxnSpPr>
            <p:nvPr/>
          </p:nvCxnSpPr>
          <p:spPr>
            <a:xfrm>
              <a:off x="1107415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DF413C85-5DF0-1543-BEC0-3A9528915411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4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0A5CBE15-934D-134B-91D6-F38FA7AE79FF}"/>
                </a:ext>
              </a:extLst>
            </p:cNvPr>
            <p:cNvCxnSpPr>
              <a:cxnSpLocks/>
            </p:cNvCxnSpPr>
            <p:nvPr/>
          </p:nvCxnSpPr>
          <p:spPr>
            <a:xfrm>
              <a:off x="728641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0DA75F1-5849-6546-A4CA-1816F4BC0547}"/>
                </a:ext>
              </a:extLst>
            </p:cNvPr>
            <p:cNvCxnSpPr>
              <a:cxnSpLocks/>
            </p:cNvCxnSpPr>
            <p:nvPr/>
          </p:nvCxnSpPr>
          <p:spPr>
            <a:xfrm>
              <a:off x="918028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9A7E0ED9-8D47-A147-B534-BD3AACDB9F54}"/>
              </a:ext>
            </a:extLst>
          </p:cNvPr>
          <p:cNvGrpSpPr/>
          <p:nvPr/>
        </p:nvGrpSpPr>
        <p:grpSpPr>
          <a:xfrm>
            <a:off x="4324271" y="1500141"/>
            <a:ext cx="568161" cy="1080000"/>
            <a:chOff x="539254" y="1874842"/>
            <a:chExt cx="568161" cy="1080000"/>
          </a:xfrm>
        </p:grpSpPr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F194D6D9-A1D9-EC4D-A7E3-83306F3349F9}"/>
                </a:ext>
              </a:extLst>
            </p:cNvPr>
            <p:cNvCxnSpPr>
              <a:cxnSpLocks/>
            </p:cNvCxnSpPr>
            <p:nvPr/>
          </p:nvCxnSpPr>
          <p:spPr>
            <a:xfrm>
              <a:off x="1107415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5DB8BD14-E873-FB48-AC0A-EE289360FEA2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4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CF2C8ED-4A20-DE48-A416-6D80E5530D1E}"/>
                </a:ext>
              </a:extLst>
            </p:cNvPr>
            <p:cNvCxnSpPr>
              <a:cxnSpLocks/>
            </p:cNvCxnSpPr>
            <p:nvPr/>
          </p:nvCxnSpPr>
          <p:spPr>
            <a:xfrm>
              <a:off x="728641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8ABEFCE7-E857-DC49-8BE0-F23EDD494247}"/>
                </a:ext>
              </a:extLst>
            </p:cNvPr>
            <p:cNvCxnSpPr>
              <a:cxnSpLocks/>
            </p:cNvCxnSpPr>
            <p:nvPr/>
          </p:nvCxnSpPr>
          <p:spPr>
            <a:xfrm>
              <a:off x="918028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1A912675-68B3-754C-A0F6-D9075B655977}"/>
              </a:ext>
            </a:extLst>
          </p:cNvPr>
          <p:cNvGrpSpPr/>
          <p:nvPr/>
        </p:nvGrpSpPr>
        <p:grpSpPr>
          <a:xfrm>
            <a:off x="5276146" y="1500141"/>
            <a:ext cx="568161" cy="1080000"/>
            <a:chOff x="539254" y="1874842"/>
            <a:chExt cx="568161" cy="1080000"/>
          </a:xfrm>
        </p:grpSpPr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54319F4-A742-B547-9E88-204ED53B81E9}"/>
                </a:ext>
              </a:extLst>
            </p:cNvPr>
            <p:cNvCxnSpPr>
              <a:cxnSpLocks/>
            </p:cNvCxnSpPr>
            <p:nvPr/>
          </p:nvCxnSpPr>
          <p:spPr>
            <a:xfrm>
              <a:off x="1107415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8DA9A783-B6AB-884C-9F99-3FF7D1958192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4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0EF0E360-7E71-F84E-84A9-D2D3DB7F18DD}"/>
                </a:ext>
              </a:extLst>
            </p:cNvPr>
            <p:cNvCxnSpPr>
              <a:cxnSpLocks/>
            </p:cNvCxnSpPr>
            <p:nvPr/>
          </p:nvCxnSpPr>
          <p:spPr>
            <a:xfrm>
              <a:off x="728641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975F6087-BC9E-044C-95E4-7994995D44BF}"/>
                </a:ext>
              </a:extLst>
            </p:cNvPr>
            <p:cNvCxnSpPr>
              <a:cxnSpLocks/>
            </p:cNvCxnSpPr>
            <p:nvPr/>
          </p:nvCxnSpPr>
          <p:spPr>
            <a:xfrm>
              <a:off x="918028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ED9294AD-408F-8148-8ABA-B20CD273CB71}"/>
              </a:ext>
            </a:extLst>
          </p:cNvPr>
          <p:cNvGrpSpPr/>
          <p:nvPr/>
        </p:nvGrpSpPr>
        <p:grpSpPr>
          <a:xfrm>
            <a:off x="6220526" y="1500141"/>
            <a:ext cx="568161" cy="1080000"/>
            <a:chOff x="539254" y="1874842"/>
            <a:chExt cx="568161" cy="1080000"/>
          </a:xfrm>
        </p:grpSpPr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E91E3AAF-0509-D941-9BD3-868FEDD082D2}"/>
                </a:ext>
              </a:extLst>
            </p:cNvPr>
            <p:cNvCxnSpPr>
              <a:cxnSpLocks/>
            </p:cNvCxnSpPr>
            <p:nvPr/>
          </p:nvCxnSpPr>
          <p:spPr>
            <a:xfrm>
              <a:off x="1107415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CEC9EB19-80D9-0746-9362-4BFD9F97378F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4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Connector 144">
              <a:extLst>
                <a:ext uri="{FF2B5EF4-FFF2-40B4-BE49-F238E27FC236}">
                  <a16:creationId xmlns:a16="http://schemas.microsoft.com/office/drawing/2014/main" id="{13377273-9FD4-0942-ADCB-4931962FCAAB}"/>
                </a:ext>
              </a:extLst>
            </p:cNvPr>
            <p:cNvCxnSpPr>
              <a:cxnSpLocks/>
            </p:cNvCxnSpPr>
            <p:nvPr/>
          </p:nvCxnSpPr>
          <p:spPr>
            <a:xfrm>
              <a:off x="728641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A7BCF2D3-8C4E-2649-9E67-59AAC92D7960}"/>
                </a:ext>
              </a:extLst>
            </p:cNvPr>
            <p:cNvCxnSpPr>
              <a:cxnSpLocks/>
            </p:cNvCxnSpPr>
            <p:nvPr/>
          </p:nvCxnSpPr>
          <p:spPr>
            <a:xfrm>
              <a:off x="918028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BA972299-B7A3-FC40-AF13-F5308A72E480}"/>
              </a:ext>
            </a:extLst>
          </p:cNvPr>
          <p:cNvCxnSpPr>
            <a:cxnSpLocks/>
          </p:cNvCxnSpPr>
          <p:nvPr/>
        </p:nvCxnSpPr>
        <p:spPr>
          <a:xfrm>
            <a:off x="7733068" y="1500141"/>
            <a:ext cx="0" cy="108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08B17331-F772-544F-9F3F-B54B6EFC7211}"/>
              </a:ext>
            </a:extLst>
          </p:cNvPr>
          <p:cNvCxnSpPr>
            <a:cxnSpLocks/>
          </p:cNvCxnSpPr>
          <p:nvPr/>
        </p:nvCxnSpPr>
        <p:spPr>
          <a:xfrm>
            <a:off x="7164907" y="1500141"/>
            <a:ext cx="0" cy="108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64C9C5B9-50F3-A843-A01C-5B588D356650}"/>
              </a:ext>
            </a:extLst>
          </p:cNvPr>
          <p:cNvCxnSpPr>
            <a:cxnSpLocks/>
          </p:cNvCxnSpPr>
          <p:nvPr/>
        </p:nvCxnSpPr>
        <p:spPr>
          <a:xfrm>
            <a:off x="7543681" y="1500141"/>
            <a:ext cx="0" cy="108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F75E1606-9C17-6A4F-9974-2D4AC1AF01B2}"/>
              </a:ext>
            </a:extLst>
          </p:cNvPr>
          <p:cNvCxnSpPr>
            <a:cxnSpLocks/>
          </p:cNvCxnSpPr>
          <p:nvPr/>
        </p:nvCxnSpPr>
        <p:spPr>
          <a:xfrm>
            <a:off x="8669953" y="1500141"/>
            <a:ext cx="0" cy="108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C11C0EF4-A727-9047-BB15-DF24C2B3814E}"/>
              </a:ext>
            </a:extLst>
          </p:cNvPr>
          <p:cNvCxnSpPr>
            <a:cxnSpLocks/>
          </p:cNvCxnSpPr>
          <p:nvPr/>
        </p:nvCxnSpPr>
        <p:spPr>
          <a:xfrm>
            <a:off x="8101792" y="1500141"/>
            <a:ext cx="0" cy="108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53A5B8CC-7128-5D43-9C59-0D780A80073B}"/>
              </a:ext>
            </a:extLst>
          </p:cNvPr>
          <p:cNvCxnSpPr>
            <a:cxnSpLocks/>
          </p:cNvCxnSpPr>
          <p:nvPr/>
        </p:nvCxnSpPr>
        <p:spPr>
          <a:xfrm>
            <a:off x="8291179" y="1500141"/>
            <a:ext cx="0" cy="108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A8CFFA7F-C9AC-624F-9992-EADAA924707E}"/>
              </a:ext>
            </a:extLst>
          </p:cNvPr>
          <p:cNvCxnSpPr>
            <a:cxnSpLocks/>
          </p:cNvCxnSpPr>
          <p:nvPr/>
        </p:nvCxnSpPr>
        <p:spPr>
          <a:xfrm>
            <a:off x="8480566" y="1500141"/>
            <a:ext cx="0" cy="108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83739475-14A7-7D48-B693-87AB981B9F24}"/>
              </a:ext>
            </a:extLst>
          </p:cNvPr>
          <p:cNvGrpSpPr/>
          <p:nvPr/>
        </p:nvGrpSpPr>
        <p:grpSpPr>
          <a:xfrm>
            <a:off x="10005543" y="1500141"/>
            <a:ext cx="568161" cy="1080000"/>
            <a:chOff x="539254" y="1874842"/>
            <a:chExt cx="568161" cy="1080000"/>
          </a:xfrm>
        </p:grpSpPr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D1F52B3A-F122-0044-A82F-55E9F2C3C545}"/>
                </a:ext>
              </a:extLst>
            </p:cNvPr>
            <p:cNvCxnSpPr>
              <a:cxnSpLocks/>
            </p:cNvCxnSpPr>
            <p:nvPr/>
          </p:nvCxnSpPr>
          <p:spPr>
            <a:xfrm>
              <a:off x="1107415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A4C9BC7B-3BA6-424E-A2E9-1BBC49E25073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4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C8ECA564-B0FD-004B-9D50-E3B09F3722B6}"/>
                </a:ext>
              </a:extLst>
            </p:cNvPr>
            <p:cNvCxnSpPr>
              <a:cxnSpLocks/>
            </p:cNvCxnSpPr>
            <p:nvPr/>
          </p:nvCxnSpPr>
          <p:spPr>
            <a:xfrm>
              <a:off x="728641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165">
              <a:extLst>
                <a:ext uri="{FF2B5EF4-FFF2-40B4-BE49-F238E27FC236}">
                  <a16:creationId xmlns:a16="http://schemas.microsoft.com/office/drawing/2014/main" id="{276DA607-72BD-914F-989E-A67AF5CC0B97}"/>
                </a:ext>
              </a:extLst>
            </p:cNvPr>
            <p:cNvCxnSpPr>
              <a:cxnSpLocks/>
            </p:cNvCxnSpPr>
            <p:nvPr/>
          </p:nvCxnSpPr>
          <p:spPr>
            <a:xfrm>
              <a:off x="918028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7" name="Group 166">
            <a:extLst>
              <a:ext uri="{FF2B5EF4-FFF2-40B4-BE49-F238E27FC236}">
                <a16:creationId xmlns:a16="http://schemas.microsoft.com/office/drawing/2014/main" id="{DD8596EC-E7A8-6C44-A998-CEEF799DA19F}"/>
              </a:ext>
            </a:extLst>
          </p:cNvPr>
          <p:cNvGrpSpPr/>
          <p:nvPr/>
        </p:nvGrpSpPr>
        <p:grpSpPr>
          <a:xfrm>
            <a:off x="10957418" y="1500141"/>
            <a:ext cx="568161" cy="1080000"/>
            <a:chOff x="539254" y="1874842"/>
            <a:chExt cx="568161" cy="1080000"/>
          </a:xfrm>
        </p:grpSpPr>
        <p:cxnSp>
          <p:nvCxnSpPr>
            <p:cNvPr id="168" name="Straight Connector 167">
              <a:extLst>
                <a:ext uri="{FF2B5EF4-FFF2-40B4-BE49-F238E27FC236}">
                  <a16:creationId xmlns:a16="http://schemas.microsoft.com/office/drawing/2014/main" id="{0ADA2C22-1C02-1C46-B6C7-CE4B2B856B46}"/>
                </a:ext>
              </a:extLst>
            </p:cNvPr>
            <p:cNvCxnSpPr>
              <a:cxnSpLocks/>
            </p:cNvCxnSpPr>
            <p:nvPr/>
          </p:nvCxnSpPr>
          <p:spPr>
            <a:xfrm>
              <a:off x="1107415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>
              <a:extLst>
                <a:ext uri="{FF2B5EF4-FFF2-40B4-BE49-F238E27FC236}">
                  <a16:creationId xmlns:a16="http://schemas.microsoft.com/office/drawing/2014/main" id="{92F34900-7B76-6F4F-8922-705D8DBA1383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4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B15FC868-2C7E-F643-B897-4DAFB388D575}"/>
                </a:ext>
              </a:extLst>
            </p:cNvPr>
            <p:cNvCxnSpPr>
              <a:cxnSpLocks/>
            </p:cNvCxnSpPr>
            <p:nvPr/>
          </p:nvCxnSpPr>
          <p:spPr>
            <a:xfrm>
              <a:off x="728641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7060DE05-379C-EF46-9F6B-FF5EF0A4B721}"/>
                </a:ext>
              </a:extLst>
            </p:cNvPr>
            <p:cNvCxnSpPr>
              <a:cxnSpLocks/>
            </p:cNvCxnSpPr>
            <p:nvPr/>
          </p:nvCxnSpPr>
          <p:spPr>
            <a:xfrm>
              <a:off x="918028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6F848E74-E0FD-4EEA-8CF6-6E3D0B99DCA5}"/>
              </a:ext>
            </a:extLst>
          </p:cNvPr>
          <p:cNvSpPr/>
          <p:nvPr/>
        </p:nvSpPr>
        <p:spPr>
          <a:xfrm>
            <a:off x="657299" y="3222050"/>
            <a:ext cx="1382723" cy="6754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x-es-XL" sz="12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Genie fue fundada </a:t>
            </a:r>
            <a:br>
              <a:rPr kumimoji="0" lang="x-es-XL" sz="1200" b="1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x-es-XL" sz="12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n un garaje de Seattle por Bud Bushnell</a:t>
            </a: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01E8253B-B28E-4D16-9E47-117A7D83552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7245" y="3984143"/>
            <a:ext cx="1259723" cy="1087611"/>
          </a:xfrm>
          <a:prstGeom prst="rect">
            <a:avLst/>
          </a:prstGeom>
          <a:ln w="25400">
            <a:noFill/>
            <a:miter lim="800000"/>
          </a:ln>
        </p:spPr>
      </p:pic>
      <p:sp>
        <p:nvSpPr>
          <p:cNvPr id="57" name="Title 3">
            <a:extLst>
              <a:ext uri="{FF2B5EF4-FFF2-40B4-BE49-F238E27FC236}">
                <a16:creationId xmlns:a16="http://schemas.microsoft.com/office/drawing/2014/main" id="{0D9760B1-6D15-904D-BFDC-A6577B34BAF0}"/>
              </a:ext>
            </a:extLst>
          </p:cNvPr>
          <p:cNvSpPr txBox="1">
            <a:spLocks/>
          </p:cNvSpPr>
          <p:nvPr/>
        </p:nvSpPr>
        <p:spPr>
          <a:xfrm>
            <a:off x="651183" y="2892387"/>
            <a:ext cx="908656" cy="288000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75000"/>
              </a:lnSpc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Bebas Neue" charset="0"/>
                <a:ea typeface="Bebas Neue" charset="0"/>
                <a:cs typeface="Bebas Neue" charset="0"/>
              </a:defRPr>
            </a:lvl1pPr>
          </a:lstStyle>
          <a:p>
            <a:pPr algn="l" rtl="0">
              <a:lnSpc>
                <a:spcPct val="80000"/>
              </a:lnSpc>
            </a:pPr>
            <a:r>
              <a:rPr lang="x-es-XL" sz="2400" b="1" i="0" u="none" baseline="0">
                <a:solidFill>
                  <a:schemeClr val="bg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1966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DAD65A18-6CF0-1543-A7B2-09082AAD64F7}"/>
              </a:ext>
            </a:extLst>
          </p:cNvPr>
          <p:cNvCxnSpPr>
            <a:cxnSpLocks/>
          </p:cNvCxnSpPr>
          <p:nvPr/>
        </p:nvCxnSpPr>
        <p:spPr>
          <a:xfrm>
            <a:off x="539254" y="1327754"/>
            <a:ext cx="0" cy="374400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8DE188DF-537D-724C-8CA3-07DED023CAE7}"/>
              </a:ext>
            </a:extLst>
          </p:cNvPr>
          <p:cNvCxnSpPr>
            <a:cxnSpLocks/>
          </p:cNvCxnSpPr>
          <p:nvPr/>
        </p:nvCxnSpPr>
        <p:spPr>
          <a:xfrm>
            <a:off x="3933097" y="1327754"/>
            <a:ext cx="0" cy="241200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itle 3">
            <a:extLst>
              <a:ext uri="{FF2B5EF4-FFF2-40B4-BE49-F238E27FC236}">
                <a16:creationId xmlns:a16="http://schemas.microsoft.com/office/drawing/2014/main" id="{C8422B6F-7BC7-BA4F-BD60-F8432BCF191D}"/>
              </a:ext>
            </a:extLst>
          </p:cNvPr>
          <p:cNvSpPr txBox="1">
            <a:spLocks/>
          </p:cNvSpPr>
          <p:nvPr/>
        </p:nvSpPr>
        <p:spPr>
          <a:xfrm>
            <a:off x="2913859" y="2892387"/>
            <a:ext cx="908656" cy="288000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75000"/>
              </a:lnSpc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Bebas Neue" charset="0"/>
                <a:ea typeface="Bebas Neue" charset="0"/>
                <a:cs typeface="Bebas Neue" charset="0"/>
              </a:defRPr>
            </a:lvl1pPr>
          </a:lstStyle>
          <a:p>
            <a:pPr algn="r" rtl="0">
              <a:lnSpc>
                <a:spcPct val="80000"/>
              </a:lnSpc>
            </a:pPr>
            <a:r>
              <a:rPr lang="x-es-XL" sz="2400" b="1" i="0" u="none" baseline="0">
                <a:solidFill>
                  <a:schemeClr val="bg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1984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3F0704D1-D6FB-1145-A908-54EAE60F0274}"/>
              </a:ext>
            </a:extLst>
          </p:cNvPr>
          <p:cNvSpPr/>
          <p:nvPr/>
        </p:nvSpPr>
        <p:spPr>
          <a:xfrm>
            <a:off x="2177347" y="3222050"/>
            <a:ext cx="1645168" cy="6754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pPr lvl="0" algn="r" rtl="0">
              <a:defRPr/>
            </a:pPr>
            <a:r>
              <a:rPr lang="x-es-XL" sz="1200" b="1" i="0" u="none" baseline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La primera plataforma articulada Z de Genie eleva el listón de </a:t>
            </a:r>
            <a:br>
              <a:rPr lang="x-es-XL" sz="1200" b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x-es-XL" sz="1200" b="1" i="0" u="none" baseline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la elevación por encima de obstáculos </a:t>
            </a:r>
            <a:endParaRPr kumimoji="0" lang="x-es-XL" sz="1200" b="1" u="none" strike="noStrike" kern="1200" cap="none" spc="0" normalizeH="0" baseline="0" noProof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2" name="Picture 91">
            <a:extLst>
              <a:ext uri="{FF2B5EF4-FFF2-40B4-BE49-F238E27FC236}">
                <a16:creationId xmlns:a16="http://schemas.microsoft.com/office/drawing/2014/main" id="{03ACF993-30F3-4644-9B95-7D1C16F84E4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708"/>
          <a:stretch/>
        </p:blipFill>
        <p:spPr>
          <a:xfrm>
            <a:off x="4974931" y="3839306"/>
            <a:ext cx="1350099" cy="738928"/>
          </a:xfrm>
          <a:prstGeom prst="roundRect">
            <a:avLst>
              <a:gd name="adj" fmla="val 5009"/>
            </a:avLst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contourClr>
              <a:srgbClr val="FFFFFF"/>
            </a:contourClr>
          </a:sp3d>
        </p:spPr>
      </p:pic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8CDA3E9D-B086-D640-A68E-D034364CE025}"/>
              </a:ext>
            </a:extLst>
          </p:cNvPr>
          <p:cNvCxnSpPr>
            <a:cxnSpLocks/>
          </p:cNvCxnSpPr>
          <p:nvPr/>
        </p:nvCxnSpPr>
        <p:spPr>
          <a:xfrm>
            <a:off x="7164774" y="1327750"/>
            <a:ext cx="0" cy="4536000"/>
          </a:xfrm>
          <a:prstGeom prst="line">
            <a:avLst/>
          </a:prstGeom>
          <a:ln w="25400">
            <a:solidFill>
              <a:srgbClr val="D217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itle 3">
            <a:extLst>
              <a:ext uri="{FF2B5EF4-FFF2-40B4-BE49-F238E27FC236}">
                <a16:creationId xmlns:a16="http://schemas.microsoft.com/office/drawing/2014/main" id="{4072F119-785C-354F-A4A5-5FF06AED19AF}"/>
              </a:ext>
            </a:extLst>
          </p:cNvPr>
          <p:cNvSpPr txBox="1">
            <a:spLocks/>
          </p:cNvSpPr>
          <p:nvPr/>
        </p:nvSpPr>
        <p:spPr>
          <a:xfrm>
            <a:off x="5493760" y="2892387"/>
            <a:ext cx="783270" cy="288000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75000"/>
              </a:lnSpc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Bebas Neue" charset="0"/>
                <a:ea typeface="Bebas Neue" charset="0"/>
                <a:cs typeface="Bebas Neue" charset="0"/>
              </a:defRPr>
            </a:lvl1pPr>
          </a:lstStyle>
          <a:p>
            <a:pPr algn="r" rtl="0">
              <a:lnSpc>
                <a:spcPct val="80000"/>
              </a:lnSpc>
            </a:pPr>
            <a:r>
              <a:rPr lang="x-es-XL" sz="2400" b="1" i="0" u="none" baseline="0">
                <a:solidFill>
                  <a:schemeClr val="bg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1997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2ADE3C02-7D86-7B4D-90C2-8EE54F7F723E}"/>
              </a:ext>
            </a:extLst>
          </p:cNvPr>
          <p:cNvSpPr/>
          <p:nvPr/>
        </p:nvSpPr>
        <p:spPr>
          <a:xfrm>
            <a:off x="4002264" y="3222050"/>
            <a:ext cx="2285853" cy="7431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pPr lvl="0" algn="r" rtl="0">
              <a:defRPr/>
            </a:pPr>
            <a:r>
              <a:rPr lang="x-es-XL" sz="1200" b="1" i="0" u="none" baseline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Respondiendo a las opiniones de los clientes, Genie presenta su primera plataforma de tijera</a:t>
            </a:r>
            <a:endParaRPr kumimoji="0" lang="x-es-XL" sz="1200" b="1" u="none" strike="noStrike" kern="1200" cap="none" spc="0" normalizeH="0" baseline="0" noProof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3" name="Title 3">
            <a:extLst>
              <a:ext uri="{FF2B5EF4-FFF2-40B4-BE49-F238E27FC236}">
                <a16:creationId xmlns:a16="http://schemas.microsoft.com/office/drawing/2014/main" id="{F8D64F33-F59D-DD44-99D8-1B8747FA9B0B}"/>
              </a:ext>
            </a:extLst>
          </p:cNvPr>
          <p:cNvSpPr txBox="1">
            <a:spLocks/>
          </p:cNvSpPr>
          <p:nvPr/>
        </p:nvSpPr>
        <p:spPr>
          <a:xfrm>
            <a:off x="6111977" y="4816413"/>
            <a:ext cx="908656" cy="288000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75000"/>
              </a:lnSpc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Bebas Neue" charset="0"/>
                <a:ea typeface="Bebas Neue" charset="0"/>
                <a:cs typeface="Bebas Neue" charset="0"/>
              </a:defRPr>
            </a:lvl1pPr>
          </a:lstStyle>
          <a:p>
            <a:pPr algn="r" rtl="0">
              <a:lnSpc>
                <a:spcPct val="80000"/>
              </a:lnSpc>
            </a:pPr>
            <a:r>
              <a:rPr lang="x-es-XL" sz="2400" b="1" i="0" u="none" baseline="0">
                <a:solidFill>
                  <a:srgbClr val="D2171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2001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11F176D5-1138-FB4D-B984-BF5344610836}"/>
              </a:ext>
            </a:extLst>
          </p:cNvPr>
          <p:cNvSpPr/>
          <p:nvPr/>
        </p:nvSpPr>
        <p:spPr>
          <a:xfrm>
            <a:off x="5024706" y="5146076"/>
            <a:ext cx="1995927" cy="503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pPr lvl="0" algn="r" rtl="0">
              <a:defRPr/>
            </a:pPr>
            <a:r>
              <a:rPr lang="x-es-XL" sz="1200" b="1" i="0" u="none" baseline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Genie se une a equipo de Terex </a:t>
            </a:r>
            <a:br>
              <a:rPr lang="x-es-XL" sz="1200" b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x-es-XL" sz="1200" b="1" i="0" u="none" baseline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tras su adquisición</a:t>
            </a:r>
            <a:endParaRPr kumimoji="0" lang="x-es-XL" sz="1200" b="1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6" name="Picture 175">
            <a:extLst>
              <a:ext uri="{FF2B5EF4-FFF2-40B4-BE49-F238E27FC236}">
                <a16:creationId xmlns:a16="http://schemas.microsoft.com/office/drawing/2014/main" id="{514AB186-CB3C-104E-9227-3459409AC70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845" t="26064" r="4933" b="24652"/>
          <a:stretch/>
        </p:blipFill>
        <p:spPr>
          <a:xfrm>
            <a:off x="5255476" y="5605156"/>
            <a:ext cx="1885146" cy="310660"/>
          </a:xfrm>
          <a:prstGeom prst="rect">
            <a:avLst/>
          </a:prstGeom>
        </p:spPr>
      </p:pic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CFC5F130-9DE1-AB4C-9275-F9459B80581A}"/>
              </a:ext>
            </a:extLst>
          </p:cNvPr>
          <p:cNvCxnSpPr>
            <a:cxnSpLocks/>
          </p:cNvCxnSpPr>
          <p:nvPr/>
        </p:nvCxnSpPr>
        <p:spPr>
          <a:xfrm>
            <a:off x="350519" y="2584817"/>
            <a:ext cx="1137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Rectangle 180">
            <a:extLst>
              <a:ext uri="{FF2B5EF4-FFF2-40B4-BE49-F238E27FC236}">
                <a16:creationId xmlns:a16="http://schemas.microsoft.com/office/drawing/2014/main" id="{63E76A2B-AC71-044C-B2BC-1ABA6DD35C4C}"/>
              </a:ext>
            </a:extLst>
          </p:cNvPr>
          <p:cNvSpPr/>
          <p:nvPr/>
        </p:nvSpPr>
        <p:spPr>
          <a:xfrm>
            <a:off x="10772052" y="1487717"/>
            <a:ext cx="193016" cy="110003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x-es-XL"/>
          </a:p>
        </p:txBody>
      </p: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B877BEBA-98D4-8547-B68F-A299A9E76EC2}"/>
              </a:ext>
            </a:extLst>
          </p:cNvPr>
          <p:cNvCxnSpPr>
            <a:cxnSpLocks/>
          </p:cNvCxnSpPr>
          <p:nvPr/>
        </p:nvCxnSpPr>
        <p:spPr>
          <a:xfrm>
            <a:off x="10860241" y="2572761"/>
            <a:ext cx="0" cy="327600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extBox 181">
            <a:extLst>
              <a:ext uri="{FF2B5EF4-FFF2-40B4-BE49-F238E27FC236}">
                <a16:creationId xmlns:a16="http://schemas.microsoft.com/office/drawing/2014/main" id="{62184E21-F489-B343-8F25-D092EFADD0A4}"/>
              </a:ext>
            </a:extLst>
          </p:cNvPr>
          <p:cNvSpPr txBox="1"/>
          <p:nvPr/>
        </p:nvSpPr>
        <p:spPr>
          <a:xfrm>
            <a:off x="11494510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x-es-XL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5</a:t>
            </a:r>
            <a:endParaRPr kumimoji="0" lang="x-es-XL" sz="1400" b="1" i="0" u="none" strike="noStrike" kern="1200" cap="none" spc="0" normalizeH="0" baseline="0" noProof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95597E4E-8D0E-8D43-AE4F-9CD20BAB2F19}"/>
              </a:ext>
            </a:extLst>
          </p:cNvPr>
          <p:cNvSpPr/>
          <p:nvPr/>
        </p:nvSpPr>
        <p:spPr>
          <a:xfrm>
            <a:off x="7441320" y="4963021"/>
            <a:ext cx="3304628" cy="14347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pPr lvl="0" algn="r" rtl="0">
              <a:defRPr/>
            </a:pPr>
            <a:r>
              <a:rPr lang="x-es-XL" sz="1200" b="1" i="0" u="none" baseline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Representando mucho más que un simple slogan de marketing, Genie introduce un cambio muy intencionado para transmitir mejor la promesa que la marca hace a sus clientes: la promesa de ofrecer calidad en todo lo que hacen</a:t>
            </a:r>
            <a:endParaRPr kumimoji="0" lang="x-es-XL" sz="1200" b="1" u="none" strike="noStrike" kern="1200" cap="none" spc="0" normalizeH="0" baseline="0" noProof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B22F145F-3C64-3C41-AA03-8BEE6C02A1AA}"/>
              </a:ext>
            </a:extLst>
          </p:cNvPr>
          <p:cNvCxnSpPr>
            <a:cxnSpLocks/>
          </p:cNvCxnSpPr>
          <p:nvPr/>
        </p:nvCxnSpPr>
        <p:spPr>
          <a:xfrm>
            <a:off x="6400276" y="1327745"/>
            <a:ext cx="0" cy="324000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82462A26-5436-7447-86F5-A5F93424CA5F}"/>
              </a:ext>
            </a:extLst>
          </p:cNvPr>
          <p:cNvCxnSpPr>
            <a:cxnSpLocks/>
          </p:cNvCxnSpPr>
          <p:nvPr/>
        </p:nvCxnSpPr>
        <p:spPr>
          <a:xfrm>
            <a:off x="350518" y="1327754"/>
            <a:ext cx="0" cy="1404000"/>
          </a:xfrm>
          <a:prstGeom prst="line">
            <a:avLst/>
          </a:prstGeom>
          <a:ln w="254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Rectangle 186">
            <a:extLst>
              <a:ext uri="{FF2B5EF4-FFF2-40B4-BE49-F238E27FC236}">
                <a16:creationId xmlns:a16="http://schemas.microsoft.com/office/drawing/2014/main" id="{053E96EC-562B-3D4C-AF2F-F20F2FED60E9}"/>
              </a:ext>
            </a:extLst>
          </p:cNvPr>
          <p:cNvSpPr/>
          <p:nvPr/>
        </p:nvSpPr>
        <p:spPr>
          <a:xfrm>
            <a:off x="7763971" y="3222049"/>
            <a:ext cx="2430567" cy="8742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pPr lvl="0" algn="l" rtl="0">
              <a:defRPr/>
            </a:pPr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l compromiso de Genie con la calidad conduce a un crecimiento global hasta llega al estatus </a:t>
            </a:r>
            <a:br>
              <a:rPr lang="x-es-XL" sz="1200" b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e «Mayor fabricante de plataformas elevatórias del mundo»</a:t>
            </a:r>
            <a:endParaRPr kumimoji="0" lang="x-es-XL" sz="1200" b="1" u="none" strike="noStrike" kern="1200" cap="none" spc="0" normalizeH="0" baseline="0" noProof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8" name="Title 3">
            <a:extLst>
              <a:ext uri="{FF2B5EF4-FFF2-40B4-BE49-F238E27FC236}">
                <a16:creationId xmlns:a16="http://schemas.microsoft.com/office/drawing/2014/main" id="{2663EAF2-CCDD-ED4D-94F4-28F12C6D8C35}"/>
              </a:ext>
            </a:extLst>
          </p:cNvPr>
          <p:cNvSpPr txBox="1">
            <a:spLocks/>
          </p:cNvSpPr>
          <p:nvPr/>
        </p:nvSpPr>
        <p:spPr>
          <a:xfrm>
            <a:off x="9232385" y="4634097"/>
            <a:ext cx="1523030" cy="288000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75000"/>
              </a:lnSpc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Bebas Neue" charset="0"/>
                <a:ea typeface="Bebas Neue" charset="0"/>
                <a:cs typeface="Bebas Neue" charset="0"/>
              </a:defRPr>
            </a:lvl1pPr>
          </a:lstStyle>
          <a:p>
            <a:pPr algn="r" rtl="0">
              <a:lnSpc>
                <a:spcPct val="80000"/>
              </a:lnSpc>
            </a:pPr>
            <a:r>
              <a:rPr lang="x-es-XL" sz="2400" b="1" i="0" u="none" baseline="0">
                <a:solidFill>
                  <a:schemeClr val="accent5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2020/2021</a:t>
            </a:r>
          </a:p>
        </p:txBody>
      </p:sp>
      <p:sp>
        <p:nvSpPr>
          <p:cNvPr id="189" name="Title 3">
            <a:extLst>
              <a:ext uri="{FF2B5EF4-FFF2-40B4-BE49-F238E27FC236}">
                <a16:creationId xmlns:a16="http://schemas.microsoft.com/office/drawing/2014/main" id="{C696DAD6-2200-224A-BB8C-9701E2CD7605}"/>
              </a:ext>
            </a:extLst>
          </p:cNvPr>
          <p:cNvSpPr txBox="1">
            <a:spLocks/>
          </p:cNvSpPr>
          <p:nvPr/>
        </p:nvSpPr>
        <p:spPr>
          <a:xfrm>
            <a:off x="7763970" y="2933644"/>
            <a:ext cx="1523030" cy="288000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75000"/>
              </a:lnSpc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Bebas Neue" charset="0"/>
                <a:ea typeface="Bebas Neue" charset="0"/>
                <a:cs typeface="Bebas Neue" charset="0"/>
              </a:defRPr>
            </a:lvl1pPr>
          </a:lstStyle>
          <a:p>
            <a:pPr algn="l" rtl="0">
              <a:lnSpc>
                <a:spcPct val="80000"/>
              </a:lnSpc>
            </a:pPr>
            <a:r>
              <a:rPr lang="x-es-XL" sz="2400" b="1" i="0" u="none" baseline="0">
                <a:solidFill>
                  <a:schemeClr val="accent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2002/2011</a:t>
            </a:r>
          </a:p>
        </p:txBody>
      </p: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9011D7F7-E57A-754A-BBF0-4F64B579CB71}"/>
              </a:ext>
            </a:extLst>
          </p:cNvPr>
          <p:cNvCxnSpPr>
            <a:cxnSpLocks/>
          </p:cNvCxnSpPr>
          <p:nvPr/>
        </p:nvCxnSpPr>
        <p:spPr>
          <a:xfrm>
            <a:off x="7641116" y="2319098"/>
            <a:ext cx="0" cy="1632029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04259C38-346F-454F-ABA2-699BD3E3781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82867" y="4187432"/>
            <a:ext cx="1610326" cy="692815"/>
          </a:xfrm>
          <a:prstGeom prst="rect">
            <a:avLst/>
          </a:prstGeom>
        </p:spPr>
      </p:pic>
      <p:sp>
        <p:nvSpPr>
          <p:cNvPr id="131" name="Slide Number Placeholder 5">
            <a:extLst>
              <a:ext uri="{FF2B5EF4-FFF2-40B4-BE49-F238E27FC236}">
                <a16:creationId xmlns:a16="http://schemas.microsoft.com/office/drawing/2014/main" id="{546B2B41-E9B5-AA47-9D29-577C67E383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x-es-XL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39102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8F098B17-216E-1D45-9856-C5C76545E483}"/>
              </a:ext>
            </a:extLst>
          </p:cNvPr>
          <p:cNvSpPr/>
          <p:nvPr/>
        </p:nvSpPr>
        <p:spPr>
          <a:xfrm>
            <a:off x="320538" y="1316534"/>
            <a:ext cx="11484215" cy="1902893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x-es-X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838279-E6B2-4B03-BC9A-1DB95A5A0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538" y="114092"/>
            <a:ext cx="11841481" cy="528520"/>
          </a:xfrm>
        </p:spPr>
        <p:txBody>
          <a:bodyPr lIns="0" tIns="0" rIns="0" bIns="0"/>
          <a:lstStyle/>
          <a:p>
            <a:pPr algn="l" rtl="0"/>
            <a:r>
              <a:rPr lang="x-es-XL" b="1" i="0" u="none" baseline="0" dirty="0"/>
              <a:t>Gama de producto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D8CAE9A1-F89D-5E4E-B0F7-3C1BCB2E824D}"/>
              </a:ext>
            </a:extLst>
          </p:cNvPr>
          <p:cNvSpPr txBox="1">
            <a:spLocks/>
          </p:cNvSpPr>
          <p:nvPr/>
        </p:nvSpPr>
        <p:spPr>
          <a:xfrm>
            <a:off x="7562471" y="2808080"/>
            <a:ext cx="1132406" cy="4524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>
              <a:lnSpc>
                <a:spcPts val="1500"/>
              </a:lnSpc>
            </a:pPr>
            <a:r>
              <a:rPr lang="x-es-XL" sz="1400" b="1" i="0" u="none" spc="10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ODELO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A070448-BA0F-2844-89B7-2B074B5386D2}"/>
              </a:ext>
            </a:extLst>
          </p:cNvPr>
          <p:cNvSpPr txBox="1"/>
          <p:nvPr/>
        </p:nvSpPr>
        <p:spPr>
          <a:xfrm>
            <a:off x="505749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x-es-XL" sz="6600" b="0" i="0" u="none" baseline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02136B7-5D0D-FE4C-B109-A7E0771E1383}"/>
              </a:ext>
            </a:extLst>
          </p:cNvPr>
          <p:cNvSpPr txBox="1"/>
          <p:nvPr/>
        </p:nvSpPr>
        <p:spPr>
          <a:xfrm rot="10800000">
            <a:off x="504331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x-es-XL" sz="4800">
              <a:solidFill>
                <a:schemeClr val="bg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4B5E376-56ED-694A-86BE-FC256CC78670}"/>
              </a:ext>
            </a:extLst>
          </p:cNvPr>
          <p:cNvSpPr txBox="1"/>
          <p:nvPr/>
        </p:nvSpPr>
        <p:spPr>
          <a:xfrm>
            <a:off x="1261290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x-es-XL" sz="6600" b="0" i="0" u="none" baseline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5D7A241-4431-C447-B801-F8187B44E8AE}"/>
              </a:ext>
            </a:extLst>
          </p:cNvPr>
          <p:cNvSpPr txBox="1"/>
          <p:nvPr/>
        </p:nvSpPr>
        <p:spPr>
          <a:xfrm rot="10800000">
            <a:off x="1256021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x-es-XL" sz="4800">
              <a:solidFill>
                <a:schemeClr val="bg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41FACF8-CA20-B64A-AE96-2717520EBAC5}"/>
              </a:ext>
            </a:extLst>
          </p:cNvPr>
          <p:cNvSpPr txBox="1"/>
          <p:nvPr/>
        </p:nvSpPr>
        <p:spPr>
          <a:xfrm>
            <a:off x="2016833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x-es-XL" sz="6600" b="0" i="0" u="none" baseline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FEDA7C2-9051-3643-929D-3C25D9BBBC19}"/>
              </a:ext>
            </a:extLst>
          </p:cNvPr>
          <p:cNvSpPr txBox="1"/>
          <p:nvPr/>
        </p:nvSpPr>
        <p:spPr>
          <a:xfrm rot="10800000">
            <a:off x="2015413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x-es-XL" sz="4800">
              <a:solidFill>
                <a:schemeClr val="bg1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F8102C7-791D-EE45-8891-9B42A17AE0EE}"/>
              </a:ext>
            </a:extLst>
          </p:cNvPr>
          <p:cNvSpPr txBox="1"/>
          <p:nvPr/>
        </p:nvSpPr>
        <p:spPr>
          <a:xfrm>
            <a:off x="2772375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x-es-XL" sz="6600" b="0" i="0" u="none" baseline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414CDAA-DB70-AD40-AF46-5651E79C6F82}"/>
              </a:ext>
            </a:extLst>
          </p:cNvPr>
          <p:cNvSpPr txBox="1"/>
          <p:nvPr/>
        </p:nvSpPr>
        <p:spPr>
          <a:xfrm rot="10800000">
            <a:off x="2770957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x-es-XL" sz="4800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15D0BB1-0817-B849-BAE3-6EB5711437E1}"/>
              </a:ext>
            </a:extLst>
          </p:cNvPr>
          <p:cNvSpPr txBox="1"/>
          <p:nvPr/>
        </p:nvSpPr>
        <p:spPr>
          <a:xfrm>
            <a:off x="3527918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x-es-XL" sz="6600" b="0" i="0" u="none" baseline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92C4EB2-0B52-1D41-90FB-27E6F0D72E35}"/>
              </a:ext>
            </a:extLst>
          </p:cNvPr>
          <p:cNvSpPr txBox="1"/>
          <p:nvPr/>
        </p:nvSpPr>
        <p:spPr>
          <a:xfrm rot="10800000">
            <a:off x="3526500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x-es-XL" sz="4800">
              <a:solidFill>
                <a:schemeClr val="bg1"/>
              </a:solidFill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4F73147E-C3E5-BC4A-8BB3-AE0DF3C8B381}"/>
              </a:ext>
            </a:extLst>
          </p:cNvPr>
          <p:cNvSpPr txBox="1"/>
          <p:nvPr/>
        </p:nvSpPr>
        <p:spPr>
          <a:xfrm>
            <a:off x="4715786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x-es-XL" sz="6600" b="0" i="0" u="none" baseline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351FED1A-466E-7C46-943B-5D32758B6E86}"/>
              </a:ext>
            </a:extLst>
          </p:cNvPr>
          <p:cNvSpPr txBox="1"/>
          <p:nvPr/>
        </p:nvSpPr>
        <p:spPr>
          <a:xfrm rot="10800000">
            <a:off x="4714368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x-es-XL" sz="4800">
              <a:solidFill>
                <a:schemeClr val="bg1"/>
              </a:solidFill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1B7D9ACD-F2FC-CA42-A691-AA2BF1027953}"/>
              </a:ext>
            </a:extLst>
          </p:cNvPr>
          <p:cNvSpPr txBox="1"/>
          <p:nvPr/>
        </p:nvSpPr>
        <p:spPr>
          <a:xfrm>
            <a:off x="5471327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x-es-XL" sz="6600" b="0" i="0" u="none" baseline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DB7D9090-2FE2-AF4B-AD4A-A68C55F43E21}"/>
              </a:ext>
            </a:extLst>
          </p:cNvPr>
          <p:cNvSpPr txBox="1"/>
          <p:nvPr/>
        </p:nvSpPr>
        <p:spPr>
          <a:xfrm rot="10800000">
            <a:off x="5466058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x-es-XL" sz="4800">
              <a:solidFill>
                <a:schemeClr val="bg1"/>
              </a:solidFill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CA764144-C220-3E44-AE00-C70C93ED552B}"/>
              </a:ext>
            </a:extLst>
          </p:cNvPr>
          <p:cNvSpPr txBox="1"/>
          <p:nvPr/>
        </p:nvSpPr>
        <p:spPr>
          <a:xfrm>
            <a:off x="6226870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x-es-XL" sz="6600" b="0" i="0" u="none" baseline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98D5409-6069-D04A-A6AE-79404FB4CA4B}"/>
              </a:ext>
            </a:extLst>
          </p:cNvPr>
          <p:cNvSpPr txBox="1"/>
          <p:nvPr/>
        </p:nvSpPr>
        <p:spPr>
          <a:xfrm rot="10800000">
            <a:off x="6225450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x-es-XL" sz="4800">
              <a:solidFill>
                <a:schemeClr val="bg1"/>
              </a:solidFill>
            </a:endParaRPr>
          </a:p>
        </p:txBody>
      </p:sp>
      <p:sp>
        <p:nvSpPr>
          <p:cNvPr id="83" name="Text Placeholder 6">
            <a:extLst>
              <a:ext uri="{FF2B5EF4-FFF2-40B4-BE49-F238E27FC236}">
                <a16:creationId xmlns:a16="http://schemas.microsoft.com/office/drawing/2014/main" id="{FEDF8BB8-DA5C-5C47-BAB1-930BF25CF2D5}"/>
              </a:ext>
            </a:extLst>
          </p:cNvPr>
          <p:cNvSpPr txBox="1">
            <a:spLocks/>
          </p:cNvSpPr>
          <p:nvPr/>
        </p:nvSpPr>
        <p:spPr>
          <a:xfrm>
            <a:off x="500728" y="2724418"/>
            <a:ext cx="3738572" cy="3082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>
              <a:lnSpc>
                <a:spcPts val="1500"/>
              </a:lnSpc>
            </a:pPr>
            <a:r>
              <a:rPr lang="x-es-XL" sz="1400" b="1" i="0" u="none" spc="10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ÁQUINAS AL AÑO</a:t>
            </a:r>
          </a:p>
        </p:txBody>
      </p:sp>
      <p:sp>
        <p:nvSpPr>
          <p:cNvPr id="85" name="Text Placeholder 6">
            <a:extLst>
              <a:ext uri="{FF2B5EF4-FFF2-40B4-BE49-F238E27FC236}">
                <a16:creationId xmlns:a16="http://schemas.microsoft.com/office/drawing/2014/main" id="{80BCB6E9-0703-C44A-8C4A-2B95DA0861CD}"/>
              </a:ext>
            </a:extLst>
          </p:cNvPr>
          <p:cNvSpPr txBox="1">
            <a:spLocks/>
          </p:cNvSpPr>
          <p:nvPr/>
        </p:nvSpPr>
        <p:spPr>
          <a:xfrm>
            <a:off x="4714369" y="2724418"/>
            <a:ext cx="2223882" cy="3082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>
              <a:lnSpc>
                <a:spcPts val="1500"/>
              </a:lnSpc>
            </a:pPr>
            <a:r>
              <a:rPr lang="x-es-XL" sz="1400" b="1" i="0" u="none" spc="10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UNIDADES POR DÍA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9A294975-CBEC-604B-B2CC-CE6F8E4EDB27}"/>
              </a:ext>
            </a:extLst>
          </p:cNvPr>
          <p:cNvSpPr txBox="1"/>
          <p:nvPr/>
        </p:nvSpPr>
        <p:spPr>
          <a:xfrm>
            <a:off x="7414737" y="1542239"/>
            <a:ext cx="712800" cy="1156324"/>
          </a:xfrm>
          <a:prstGeom prst="roundRect">
            <a:avLst/>
          </a:prstGeom>
          <a:solidFill>
            <a:schemeClr val="accent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x-es-XL" sz="6600" b="0" i="0" u="none" baseline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B9151EBB-E08C-9840-B501-B450FA110B3A}"/>
              </a:ext>
            </a:extLst>
          </p:cNvPr>
          <p:cNvSpPr txBox="1"/>
          <p:nvPr/>
        </p:nvSpPr>
        <p:spPr>
          <a:xfrm rot="10800000">
            <a:off x="7413319" y="2110251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x-es-XL" sz="4800">
              <a:solidFill>
                <a:schemeClr val="bg1"/>
              </a:solidFill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DC70DABE-EED4-944E-AE03-A1E40DFCA84D}"/>
              </a:ext>
            </a:extLst>
          </p:cNvPr>
          <p:cNvSpPr txBox="1"/>
          <p:nvPr/>
        </p:nvSpPr>
        <p:spPr>
          <a:xfrm>
            <a:off x="8170278" y="1542239"/>
            <a:ext cx="712800" cy="1156324"/>
          </a:xfrm>
          <a:prstGeom prst="roundRect">
            <a:avLst/>
          </a:prstGeom>
          <a:solidFill>
            <a:schemeClr val="accent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x-es-XL" sz="6600" b="0" i="0" u="none" baseline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09F89D9A-89C1-7548-82D8-4A2C218058D8}"/>
              </a:ext>
            </a:extLst>
          </p:cNvPr>
          <p:cNvSpPr txBox="1"/>
          <p:nvPr/>
        </p:nvSpPr>
        <p:spPr>
          <a:xfrm rot="10800000">
            <a:off x="8165009" y="2110251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x-es-XL" sz="4800">
              <a:solidFill>
                <a:schemeClr val="bg1"/>
              </a:solidFill>
            </a:endParaRPr>
          </a:p>
        </p:txBody>
      </p:sp>
      <p:sp>
        <p:nvSpPr>
          <p:cNvPr id="99" name="Text Placeholder 6">
            <a:extLst>
              <a:ext uri="{FF2B5EF4-FFF2-40B4-BE49-F238E27FC236}">
                <a16:creationId xmlns:a16="http://schemas.microsoft.com/office/drawing/2014/main" id="{B348FBEB-8B03-104A-AF43-40AC4CA8744F}"/>
              </a:ext>
            </a:extLst>
          </p:cNvPr>
          <p:cNvSpPr txBox="1">
            <a:spLocks/>
          </p:cNvSpPr>
          <p:nvPr/>
        </p:nvSpPr>
        <p:spPr>
          <a:xfrm>
            <a:off x="9419625" y="2728712"/>
            <a:ext cx="2160277" cy="4907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>
              <a:lnSpc>
                <a:spcPts val="1500"/>
              </a:lnSpc>
            </a:pPr>
            <a:r>
              <a:rPr lang="x-es-XL" sz="1400" b="1" i="0" u="none" spc="10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RODUCCIÓN</a:t>
            </a:r>
            <a:br>
              <a:rPr lang="x-es-XL" sz="1400" spc="1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x-es-XL" sz="1400" b="1" i="0" u="none" spc="10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GLOBAL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F468F0DB-568A-0643-9698-A9F37ED85456}"/>
              </a:ext>
            </a:extLst>
          </p:cNvPr>
          <p:cNvSpPr txBox="1"/>
          <p:nvPr/>
        </p:nvSpPr>
        <p:spPr>
          <a:xfrm>
            <a:off x="9419625" y="1491837"/>
            <a:ext cx="2160277" cy="1156324"/>
          </a:xfrm>
          <a:prstGeom prst="roundRect">
            <a:avLst>
              <a:gd name="adj" fmla="val 8241"/>
            </a:avLst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x-es-XL" sz="6600" b="0" i="0" u="none" baseline="0">
                <a:solidFill>
                  <a:schemeClr val="bg1"/>
                </a:solidFill>
              </a:rPr>
              <a:t>24/7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F9FEF0E-B944-264B-AA70-3ECD31252691}"/>
              </a:ext>
            </a:extLst>
          </p:cNvPr>
          <p:cNvSpPr txBox="1"/>
          <p:nvPr/>
        </p:nvSpPr>
        <p:spPr>
          <a:xfrm rot="10800000">
            <a:off x="9418205" y="2059849"/>
            <a:ext cx="2160277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x-es-XL" sz="4800">
              <a:solidFill>
                <a:schemeClr val="bg1"/>
              </a:solidFill>
            </a:endParaRP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C181E916-17C9-9341-BDAB-7E849F9F6B7F}"/>
              </a:ext>
            </a:extLst>
          </p:cNvPr>
          <p:cNvSpPr/>
          <p:nvPr/>
        </p:nvSpPr>
        <p:spPr>
          <a:xfrm>
            <a:off x="320539" y="3429001"/>
            <a:ext cx="3708000" cy="1108880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72000" rtlCol="0" anchor="t" anchorCtr="0"/>
          <a:lstStyle/>
          <a:p>
            <a:pPr algn="l" rtl="0">
              <a:spcAft>
                <a:spcPts val="1200"/>
              </a:spcAft>
            </a:pPr>
            <a:r>
              <a:rPr lang="x-es-XL" sz="1600" b="1" i="0" u="none" baseline="0">
                <a:solidFill>
                  <a:schemeClr val="bg2"/>
                </a:solidFill>
              </a:rPr>
              <a:t>Elevadores de material</a:t>
            </a:r>
            <a:endParaRPr lang="x-es-XL" sz="1600" b="1" dirty="0">
              <a:solidFill>
                <a:schemeClr val="accent3">
                  <a:lumMod val="50000"/>
                </a:schemeClr>
              </a:solidFill>
            </a:endParaRPr>
          </a:p>
          <a:p>
            <a:pPr algn="l" rtl="0">
              <a:spcAft>
                <a:spcPts val="1200"/>
              </a:spcAft>
            </a:pPr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</a:rPr>
              <a:t>Compactos, ligeros </a:t>
            </a:r>
            <a:br>
              <a:rPr lang="x-es-XL" sz="1200">
                <a:solidFill>
                  <a:schemeClr val="accent3">
                    <a:lumMod val="50000"/>
                  </a:schemeClr>
                </a:solidFill>
              </a:rPr>
            </a:br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</a:rPr>
              <a:t>y fáciles de transportar</a:t>
            </a: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90729FFD-8FD1-604A-9B5D-85F83434CEFB}"/>
              </a:ext>
            </a:extLst>
          </p:cNvPr>
          <p:cNvSpPr/>
          <p:nvPr/>
        </p:nvSpPr>
        <p:spPr>
          <a:xfrm>
            <a:off x="4208668" y="3429001"/>
            <a:ext cx="3708000" cy="1108880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72000" rtlCol="0" anchor="t" anchorCtr="0"/>
          <a:lstStyle/>
          <a:p>
            <a:pPr algn="l" rtl="0">
              <a:spcAft>
                <a:spcPts val="1200"/>
              </a:spcAft>
            </a:pPr>
            <a:r>
              <a:rPr lang="x-es-XL" sz="1600" b="1" i="0" u="none" baseline="0">
                <a:solidFill>
                  <a:schemeClr val="bg2"/>
                </a:solidFill>
              </a:rPr>
              <a:t>Elevadores de Personas</a:t>
            </a:r>
            <a:endParaRPr lang="x-es-XL" sz="1600" b="1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</a:rPr>
              <a:t>Prácticos y rentables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20D7CCF0-30D0-7442-ABC8-323CA1FAC365}"/>
              </a:ext>
            </a:extLst>
          </p:cNvPr>
          <p:cNvSpPr/>
          <p:nvPr/>
        </p:nvSpPr>
        <p:spPr>
          <a:xfrm>
            <a:off x="8096753" y="3429001"/>
            <a:ext cx="3708000" cy="1108880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72000" rtlCol="0" anchor="t" anchorCtr="0"/>
          <a:lstStyle/>
          <a:p>
            <a:pPr algn="l" rtl="0">
              <a:spcAft>
                <a:spcPts val="1200"/>
              </a:spcAft>
            </a:pPr>
            <a:r>
              <a:rPr lang="x-es-XL" sz="1600" b="1" i="0" u="none" baseline="0">
                <a:solidFill>
                  <a:schemeClr val="bg2"/>
                </a:solidFill>
              </a:rPr>
              <a:t>Plataformas de tijera</a:t>
            </a:r>
            <a:endParaRPr lang="x-es-XL" sz="1600" b="1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</a:rPr>
              <a:t>Alta eficiencia con excelente maniobrabilidad </a:t>
            </a:r>
          </a:p>
        </p:txBody>
      </p:sp>
      <p:sp>
        <p:nvSpPr>
          <p:cNvPr id="51" name="Rounded Rectangle 50">
            <a:extLst>
              <a:ext uri="{FF2B5EF4-FFF2-40B4-BE49-F238E27FC236}">
                <a16:creationId xmlns:a16="http://schemas.microsoft.com/office/drawing/2014/main" id="{51B7A5D7-4412-2447-BB86-45A58134F2BD}"/>
              </a:ext>
            </a:extLst>
          </p:cNvPr>
          <p:cNvSpPr/>
          <p:nvPr/>
        </p:nvSpPr>
        <p:spPr>
          <a:xfrm>
            <a:off x="320538" y="4677770"/>
            <a:ext cx="3708000" cy="1259892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72000" rtlCol="0" anchor="t" anchorCtr="0"/>
          <a:lstStyle/>
          <a:p>
            <a:pPr algn="l" rtl="0">
              <a:spcAft>
                <a:spcPts val="1200"/>
              </a:spcAft>
            </a:pPr>
            <a:r>
              <a:rPr lang="x-es-XL" sz="1600" b="1" i="0" u="none" baseline="0">
                <a:solidFill>
                  <a:schemeClr val="bg2"/>
                </a:solidFill>
              </a:rPr>
              <a:t>Plataformas telescópicas</a:t>
            </a:r>
            <a:endParaRPr lang="x-es-XL" sz="1600" b="1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</a:rPr>
              <a:t>Excepcional alcance horizontal con posicionamiento preciso</a:t>
            </a:r>
          </a:p>
        </p:txBody>
      </p:sp>
      <p:sp>
        <p:nvSpPr>
          <p:cNvPr id="54" name="Rounded Rectangle 53">
            <a:extLst>
              <a:ext uri="{FF2B5EF4-FFF2-40B4-BE49-F238E27FC236}">
                <a16:creationId xmlns:a16="http://schemas.microsoft.com/office/drawing/2014/main" id="{41631DFC-973D-9148-855D-74687FDF7062}"/>
              </a:ext>
            </a:extLst>
          </p:cNvPr>
          <p:cNvSpPr/>
          <p:nvPr/>
        </p:nvSpPr>
        <p:spPr>
          <a:xfrm>
            <a:off x="4208645" y="4677770"/>
            <a:ext cx="3708000" cy="1259892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72000" rtlCol="0" anchor="t" anchorCtr="0"/>
          <a:lstStyle/>
          <a:p>
            <a:pPr algn="l" rtl="0">
              <a:spcAft>
                <a:spcPts val="1200"/>
              </a:spcAft>
            </a:pPr>
            <a:r>
              <a:rPr lang="x-es-XL" sz="1600" b="1" i="0" u="none" baseline="0">
                <a:solidFill>
                  <a:schemeClr val="bg2"/>
                </a:solidFill>
              </a:rPr>
              <a:t>Plataformas articuladas</a:t>
            </a:r>
            <a:endParaRPr lang="x-es-XL" sz="1600" b="1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</a:rPr>
              <a:t>Impresionante alcance vertical, horizontal y por encima para lugares de difícil acceso</a:t>
            </a:r>
          </a:p>
        </p:txBody>
      </p:sp>
      <p:sp>
        <p:nvSpPr>
          <p:cNvPr id="55" name="Rounded Rectangle 54">
            <a:extLst>
              <a:ext uri="{FF2B5EF4-FFF2-40B4-BE49-F238E27FC236}">
                <a16:creationId xmlns:a16="http://schemas.microsoft.com/office/drawing/2014/main" id="{BA3E26A2-F046-954E-B7A9-012A60B511E2}"/>
              </a:ext>
            </a:extLst>
          </p:cNvPr>
          <p:cNvSpPr/>
          <p:nvPr/>
        </p:nvSpPr>
        <p:spPr>
          <a:xfrm>
            <a:off x="8096753" y="4677770"/>
            <a:ext cx="3708000" cy="1259892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72000" rtlCol="0" anchor="t" anchorCtr="0"/>
          <a:lstStyle/>
          <a:p>
            <a:pPr algn="l" rtl="0">
              <a:spcAft>
                <a:spcPts val="1200"/>
              </a:spcAft>
            </a:pPr>
            <a:r>
              <a:rPr lang="x-es-XL" sz="1600" b="1" i="0" u="none" baseline="0">
                <a:solidFill>
                  <a:schemeClr val="bg2"/>
                </a:solidFill>
              </a:rPr>
              <a:t>Manipuladores telescópicos</a:t>
            </a:r>
            <a:endParaRPr lang="x-es-XL" sz="1600" b="1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</a:rPr>
              <a:t>Diseño resistente y rendimiento</a:t>
            </a:r>
            <a:r>
              <a:rPr lang="fr-F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</a:rPr>
              <a:t>potente para la manipulación de</a:t>
            </a:r>
            <a:r>
              <a:rPr lang="fr-F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</a:rPr>
              <a:t>materiales en exterior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C671E0-4D37-8844-A155-7EB43D86B1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0409" y="3527946"/>
            <a:ext cx="512182" cy="92192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010321A-D11D-014E-8308-589E2879B2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78042" y="3527946"/>
            <a:ext cx="791677" cy="92643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7352332-A1AD-A447-BC1F-DA81B25A835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4071" y="3545653"/>
            <a:ext cx="716136" cy="9127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6B8FF55-1A58-7345-A0B5-02EF553A69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96523" y="4772244"/>
            <a:ext cx="1120081" cy="861601"/>
          </a:xfrm>
          <a:prstGeom prst="rect">
            <a:avLst/>
          </a:prstGeom>
        </p:spPr>
      </p:pic>
      <p:sp>
        <p:nvSpPr>
          <p:cNvPr id="62" name="Text Placeholder 3">
            <a:extLst>
              <a:ext uri="{FF2B5EF4-FFF2-40B4-BE49-F238E27FC236}">
                <a16:creationId xmlns:a16="http://schemas.microsoft.com/office/drawing/2014/main" id="{91F5C1B4-9A4F-5340-9297-273BEB08F6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204" y="764216"/>
            <a:ext cx="11841796" cy="402428"/>
          </a:xfrm>
        </p:spPr>
        <p:txBody>
          <a:bodyPr lIns="0" tIns="0" rIns="0" bIns="0"/>
          <a:lstStyle/>
          <a:p>
            <a:pPr algn="l" rtl="0"/>
            <a:r>
              <a:rPr lang="x-es-XL" b="1" i="0" u="none" baseline="0"/>
              <a:t>Proporcionando calidad a través de la experiencia en aplicaciones y la excelencia en fabricación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9BDE6A5-398E-384D-9F4A-2DC403648F3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38250" y="4851779"/>
            <a:ext cx="932335" cy="74193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6430174-8534-4D47-A23D-D9A1EBA41AF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27445" y="4602893"/>
            <a:ext cx="855146" cy="1085067"/>
          </a:xfrm>
          <a:prstGeom prst="rect">
            <a:avLst/>
          </a:prstGeom>
        </p:spPr>
      </p:pic>
      <p:sp>
        <p:nvSpPr>
          <p:cNvPr id="50" name="Slide Number Placeholder 5">
            <a:extLst>
              <a:ext uri="{FF2B5EF4-FFF2-40B4-BE49-F238E27FC236}">
                <a16:creationId xmlns:a16="http://schemas.microsoft.com/office/drawing/2014/main" id="{C0627AAB-B23C-E34E-9BAF-59789B9D5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x-es-XL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138704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1AE53-A9A4-4C94-90FE-9EFAD7EE75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pPr algn="l" rtl="0"/>
            <a:r>
              <a:rPr lang="x-es-XL" b="1" i="0" u="none" baseline="0" dirty="0"/>
              <a:t>Aplicaciones destacadas – Plataformas de brazo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F39A619-B1C5-8747-9458-19CD5F778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x-es-XL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68747E7-0383-482E-CF77-66801C986CE0}"/>
              </a:ext>
            </a:extLst>
          </p:cNvPr>
          <p:cNvGrpSpPr/>
          <p:nvPr/>
        </p:nvGrpSpPr>
        <p:grpSpPr>
          <a:xfrm>
            <a:off x="347472" y="1134646"/>
            <a:ext cx="11493840" cy="4746223"/>
            <a:chOff x="347472" y="1134646"/>
            <a:chExt cx="11493840" cy="4746223"/>
          </a:xfrm>
        </p:grpSpPr>
        <p:pic>
          <p:nvPicPr>
            <p:cNvPr id="4" name="Picture 4">
              <a:extLst>
                <a:ext uri="{FF2B5EF4-FFF2-40B4-BE49-F238E27FC236}">
                  <a16:creationId xmlns:a16="http://schemas.microsoft.com/office/drawing/2014/main" id="{3D857E71-7E62-425B-A2D0-93CFE48C469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7472" y="1134646"/>
              <a:ext cx="4154763" cy="2769842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15ECD727-EC6E-8E49-94A5-F081FED27D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590" r="2590"/>
            <a:stretch/>
          </p:blipFill>
          <p:spPr>
            <a:xfrm>
              <a:off x="8275820" y="1134646"/>
              <a:ext cx="3564000" cy="2505730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597D13D2-0CEC-564F-A23E-F5E65541E6FB}"/>
                </a:ext>
              </a:extLst>
            </p:cNvPr>
            <p:cNvPicPr>
              <a:picLocks/>
            </p:cNvPicPr>
            <p:nvPr/>
          </p:nvPicPr>
          <p:blipFill rotWithShape="1">
            <a:blip r:embed="rId4"/>
            <a:srcRect l="13178" r="3166"/>
            <a:stretch/>
          </p:blipFill>
          <p:spPr>
            <a:xfrm>
              <a:off x="9778512" y="3647871"/>
              <a:ext cx="2062800" cy="2232000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6B8643C9-ACCB-DB47-A5CC-EDA13C857BA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47472" y="3916207"/>
              <a:ext cx="2945496" cy="1963664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144525D8-327B-AF48-9873-1483ABD245E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7312" r="7312"/>
            <a:stretch/>
          </p:blipFill>
          <p:spPr>
            <a:xfrm>
              <a:off x="3305212" y="3916206"/>
              <a:ext cx="1194803" cy="1962000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49ECCFB7-1911-1045-8C44-39DE5A45EE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-1" r="197"/>
            <a:stretch/>
          </p:blipFill>
          <p:spPr>
            <a:xfrm>
              <a:off x="4509730" y="1134646"/>
              <a:ext cx="3751200" cy="2505730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843EF47-4EBD-C349-8E9C-73AB6CC44BE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275820" y="3647871"/>
              <a:ext cx="1488666" cy="2232998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5F5B63DF-478F-D541-B28F-070B94CE47C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r="2351" b="12848"/>
            <a:stretch/>
          </p:blipFill>
          <p:spPr>
            <a:xfrm>
              <a:off x="4509730" y="3647871"/>
              <a:ext cx="3751200" cy="2232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487945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1AE53-A9A4-4C94-90FE-9EFAD7EE75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pPr algn="l" rtl="0"/>
            <a:r>
              <a:rPr lang="x-es-XL" b="1" i="0" u="none" baseline="0"/>
              <a:t>Aplicaciones destacadas – Plataformas de tijer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F39A619-B1C5-8747-9458-19CD5F778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x-es-XL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E77554A-7BE3-C50F-3513-ADF5DF4DC6D8}"/>
              </a:ext>
            </a:extLst>
          </p:cNvPr>
          <p:cNvGrpSpPr/>
          <p:nvPr/>
        </p:nvGrpSpPr>
        <p:grpSpPr>
          <a:xfrm>
            <a:off x="347472" y="1134646"/>
            <a:ext cx="11493840" cy="4747022"/>
            <a:chOff x="347472" y="1134646"/>
            <a:chExt cx="11493840" cy="4747022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8D3D34B-CDC8-41E6-970F-9F338F7EB8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5256" b="2273"/>
            <a:stretch/>
          </p:blipFill>
          <p:spPr>
            <a:xfrm>
              <a:off x="10231119" y="3647871"/>
              <a:ext cx="1610193" cy="2232000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BFA39488-39E3-7C45-A898-09567E36C9A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47472" y="4528464"/>
              <a:ext cx="2016904" cy="1351407"/>
            </a:xfrm>
            <a:prstGeom prst="rect">
              <a:avLst/>
            </a:prstGeom>
          </p:spPr>
        </p:pic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19A8ACD5-9181-3A48-AD0B-78C41FE274D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b="4934"/>
            <a:stretch/>
          </p:blipFill>
          <p:spPr>
            <a:xfrm>
              <a:off x="347472" y="1134646"/>
              <a:ext cx="5339444" cy="3384000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8666D697-F505-7F45-9D64-EBCE172BFAA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082717" y="1134646"/>
              <a:ext cx="3758595" cy="2505730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BF66129-037C-6F4C-8540-60488FD64D2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283" b="5319"/>
            <a:stretch/>
          </p:blipFill>
          <p:spPr>
            <a:xfrm>
              <a:off x="5699978" y="1134646"/>
              <a:ext cx="2376000" cy="3384000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14B3DBFD-966D-C34D-94C8-2AA8842976F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25698" r="10645"/>
            <a:stretch/>
          </p:blipFill>
          <p:spPr>
            <a:xfrm>
              <a:off x="8082717" y="3647871"/>
              <a:ext cx="2138003" cy="2232000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84494693-FD14-2C46-907B-5EC9532334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b="17359"/>
            <a:stretch/>
          </p:blipFill>
          <p:spPr>
            <a:xfrm>
              <a:off x="2375047" y="4528464"/>
              <a:ext cx="2450647" cy="1353203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B8DD035-1EDA-6F44-A1B9-A9BA63DA7B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t="1967" b="1967"/>
            <a:stretch/>
          </p:blipFill>
          <p:spPr>
            <a:xfrm>
              <a:off x="7164978" y="4528464"/>
              <a:ext cx="911000" cy="1353204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0A1EBF4-5283-4949-B7F5-680707E290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t="6846" r="923" b="6846"/>
            <a:stretch/>
          </p:blipFill>
          <p:spPr>
            <a:xfrm>
              <a:off x="4835772" y="4528463"/>
              <a:ext cx="2318400" cy="13532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0216600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1AE53-A9A4-4C94-90FE-9EFAD7EE75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pPr algn="l" rtl="0"/>
            <a:r>
              <a:rPr lang="x-es-XL" b="1" i="0" u="none" baseline="0"/>
              <a:t>Aplicaciones destacadas – Manipuladores telescópicos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F39A619-B1C5-8747-9458-19CD5F778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x-es-XL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FD48BBA-9E94-01B9-ACDA-77FB69C15811}"/>
              </a:ext>
            </a:extLst>
          </p:cNvPr>
          <p:cNvGrpSpPr/>
          <p:nvPr/>
        </p:nvGrpSpPr>
        <p:grpSpPr>
          <a:xfrm>
            <a:off x="347472" y="1134645"/>
            <a:ext cx="11490391" cy="4740261"/>
            <a:chOff x="347472" y="1134645"/>
            <a:chExt cx="11490391" cy="4740261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5CE8A44-693F-8344-84B5-C3C745333F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2120" t="8336" r="3519" b="2589"/>
            <a:stretch/>
          </p:blipFill>
          <p:spPr>
            <a:xfrm>
              <a:off x="6977863" y="1134645"/>
              <a:ext cx="4860000" cy="3058531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F0DA0A9-5C15-2F42-89AD-0B2D1B382F1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336495" y="4207327"/>
              <a:ext cx="2501368" cy="1667579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E07F7438-5FD6-E346-96DC-AA586F2E6C7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47472" y="1134645"/>
              <a:ext cx="3441533" cy="2294355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3F0EE71F-86BB-A640-A2BF-9780887D5D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b="213"/>
            <a:stretch/>
          </p:blipFill>
          <p:spPr>
            <a:xfrm>
              <a:off x="3802067" y="1134645"/>
              <a:ext cx="3162734" cy="4734000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12D6FE4A-75DB-C74D-9630-3F2420D329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11448" b="5385"/>
            <a:stretch/>
          </p:blipFill>
          <p:spPr>
            <a:xfrm>
              <a:off x="6977863" y="4207327"/>
              <a:ext cx="2340000" cy="1666800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79CBEF71-668F-E446-89DB-3B3F087C0B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325"/>
            <a:stretch/>
          </p:blipFill>
          <p:spPr>
            <a:xfrm>
              <a:off x="347472" y="3442062"/>
              <a:ext cx="3441600" cy="24265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5380491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1AE53-A9A4-4C94-90FE-9EFAD7EE75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pPr algn="l" rtl="0"/>
            <a:r>
              <a:rPr lang="x-es-XL" b="1" i="0" u="none" baseline="0"/>
              <a:t>Aplicaciones destacadas – Elevadores de material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F39A619-B1C5-8747-9458-19CD5F778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x-es-XL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6D4177C-A7BB-3352-8DA1-40930CE22FF7}"/>
              </a:ext>
            </a:extLst>
          </p:cNvPr>
          <p:cNvGrpSpPr/>
          <p:nvPr/>
        </p:nvGrpSpPr>
        <p:grpSpPr>
          <a:xfrm>
            <a:off x="347472" y="1134645"/>
            <a:ext cx="11490391" cy="4734001"/>
            <a:chOff x="347472" y="1134645"/>
            <a:chExt cx="11490391" cy="4734001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37A4A8DA-6B0A-2847-B7A6-3D9A5F7685C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47472" y="1134646"/>
              <a:ext cx="3156000" cy="4734000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CF46616A-1A02-1848-9919-ED3B610C77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642463" y="2405046"/>
              <a:ext cx="5195400" cy="3463600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143A9B07-1B1C-9246-BE79-98C9C708E98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952346" y="1134646"/>
              <a:ext cx="1885517" cy="1253853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0D47268B-633C-6747-9585-7F801090D0B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516534" y="3509562"/>
              <a:ext cx="1571448" cy="2359084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9A3DE753-E4AB-8A4D-B332-8A6FB2C9520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516534" y="1134646"/>
              <a:ext cx="1870616" cy="235908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8A7C4994-A484-044B-9523-A7B7809C00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-1" r="2717"/>
            <a:stretch/>
          </p:blipFill>
          <p:spPr>
            <a:xfrm>
              <a:off x="5101044" y="3509562"/>
              <a:ext cx="1530000" cy="2359084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DA20FA1D-5CBB-464A-B7AF-AA55BAB0D55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062137" y="1134646"/>
              <a:ext cx="1879200" cy="1252800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CBF1E65-A888-A442-8E01-F21FF519E05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13030" r="8912"/>
            <a:stretch/>
          </p:blipFill>
          <p:spPr>
            <a:xfrm>
              <a:off x="5404690" y="1134646"/>
              <a:ext cx="1227600" cy="2359084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6B0CF152-FBF5-CE45-BDE6-15B157B7A9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23170" t="4821" r="9324" b="4821"/>
            <a:stretch/>
          </p:blipFill>
          <p:spPr>
            <a:xfrm>
              <a:off x="6642463" y="1134645"/>
              <a:ext cx="1404000" cy="1252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5817872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1AE53-A9A4-4C94-90FE-9EFAD7EE75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pPr algn="l" rtl="0"/>
            <a:r>
              <a:rPr lang="x-es-XL" b="1" i="0" u="none" baseline="0"/>
              <a:t>Aplicaciones destacadas – Elevadores de personas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F39A619-B1C5-8747-9458-19CD5F778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x-es-XL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3639F70-5F7B-0394-C325-A8E9DAFD2231}"/>
              </a:ext>
            </a:extLst>
          </p:cNvPr>
          <p:cNvGrpSpPr/>
          <p:nvPr/>
        </p:nvGrpSpPr>
        <p:grpSpPr>
          <a:xfrm>
            <a:off x="347472" y="1134645"/>
            <a:ext cx="11490390" cy="4728090"/>
            <a:chOff x="347472" y="1134645"/>
            <a:chExt cx="11490390" cy="472809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6DE4928C-B733-5141-911E-CE24179B8BB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789635" y="1134646"/>
              <a:ext cx="3048227" cy="4728089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0254AE57-D368-E043-81A3-7CE87E19EF9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0472" r="23182"/>
            <a:stretch/>
          </p:blipFill>
          <p:spPr>
            <a:xfrm>
              <a:off x="6899524" y="1134646"/>
              <a:ext cx="1879200" cy="1897644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1F569C17-3B26-C745-9232-EE3BEFBA10D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737283" y="1134646"/>
              <a:ext cx="3149231" cy="4726800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8622B8EE-81E5-F543-AEA7-64563B92B39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899524" y="3043646"/>
              <a:ext cx="1877569" cy="2816354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9749B798-D15A-3246-B3E2-480FEE875A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-3" r="8136"/>
            <a:stretch/>
          </p:blipFill>
          <p:spPr>
            <a:xfrm>
              <a:off x="347473" y="3409408"/>
              <a:ext cx="3376800" cy="2450592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B45FA5DC-1AC0-114A-BDDB-6E2C5D5A89B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424"/>
            <a:stretch/>
          </p:blipFill>
          <p:spPr>
            <a:xfrm>
              <a:off x="347472" y="1134645"/>
              <a:ext cx="3376800" cy="2260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7147252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5BA46E42-BDDA-4E93-9DE6-5982F3A3BEBC}"/>
              </a:ext>
            </a:extLst>
          </p:cNvPr>
          <p:cNvSpPr/>
          <p:nvPr/>
        </p:nvSpPr>
        <p:spPr>
          <a:xfrm>
            <a:off x="8509665" y="825501"/>
            <a:ext cx="3321678" cy="4909474"/>
          </a:xfrm>
          <a:prstGeom prst="roundRect">
            <a:avLst>
              <a:gd name="adj" fmla="val 2482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x-es-XL" sz="2000" b="1" i="0" u="none" baseline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Reglas de denominación</a:t>
            </a:r>
            <a:endParaRPr lang="x-es-XL" sz="2000" b="1">
              <a:solidFill>
                <a:schemeClr val="bg2"/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GS™ = Plataforma de tijera Genie</a:t>
            </a:r>
            <a:r>
              <a:rPr lang="x-es-XL" sz="1400" b="1" i="0" u="none" baseline="3000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®</a:t>
            </a:r>
            <a:endParaRPr lang="x-es-XL" sz="1400" b="1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Ejemplo: GS™-1932: altura de cesta 19 pies/ 5,79 m; anchura de máquina de 32 pulg. / 81 cm</a:t>
            </a:r>
            <a:endParaRPr lang="x-es-XL" sz="1400" b="1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Ejemplo: GS™-2669 RT: altura de cesta 26 pies/ 7,9 m; anchura de máquina de 69 pulg. / 1,75 m; RT = Rough Terrain = modelo todoterreno</a:t>
            </a:r>
            <a:endParaRPr lang="x-es-XL" sz="1400" b="1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marL="114300" indent="-114300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  <a:tabLst>
                <a:tab pos="114300" algn="l"/>
              </a:tabLst>
            </a:pPr>
            <a:r>
              <a:rPr lang="x-es-XL" sz="1400" b="0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Las dos primeras letras representan el tipo de plataforma, el primer conjunto de dos dígitos la altura de la cesta pies y el segundo conjunto de dos dígitos la anchura de la máquina en pulgadas.</a:t>
            </a:r>
            <a:endParaRPr lang="x-es-XL" sz="140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marL="114300" indent="-114300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  <a:tabLst>
                <a:tab pos="114300" algn="l"/>
              </a:tabLst>
            </a:pPr>
            <a:r>
              <a:rPr lang="x-es-XL" sz="1400" b="0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También denominada: tijera, elevador de tijera, plataforma elevadora móvil, plataforma de trabajo aéreo autopropulsada y plataforma de tijera eléctrica</a:t>
            </a:r>
            <a:endParaRPr lang="x-es-XL" sz="140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E4BECCCD-E0FE-411A-B147-080B52B6A7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pPr algn="l" rtl="0"/>
            <a:r>
              <a:rPr lang="x-es-XL" b="1" i="0" u="none" baseline="0"/>
              <a:t>Plataformas de tijera</a:t>
            </a:r>
            <a:endParaRPr lang="x-es-X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8204D5-27AE-40B4-83A3-D6BB1D18F5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5674" y="1513793"/>
            <a:ext cx="4852853" cy="2581797"/>
          </a:xfrm>
        </p:spPr>
        <p:txBody>
          <a:bodyPr lIns="0" tIns="0" rIns="0" bIns="0"/>
          <a:lstStyle/>
          <a:p>
            <a:pPr algn="l" rtl="0">
              <a:spcBef>
                <a:spcPts val="600"/>
              </a:spcBef>
              <a:spcAft>
                <a:spcPts val="0"/>
              </a:spcAft>
            </a:pPr>
            <a:r>
              <a:rPr lang="x-es-XL" b="1" i="0" u="none" baseline="0"/>
              <a:t>Aplicaciones: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x-es-XL" b="0" i="0" u="none" baseline="0"/>
              <a:t>Suelo firme/interior - Trabajos de</a:t>
            </a:r>
            <a:r>
              <a:rPr lang="fr-FR" b="0" i="0" u="none" baseline="0" dirty="0"/>
              <a:t> </a:t>
            </a:r>
            <a:r>
              <a:rPr lang="x-es-XL" b="0" i="0" u="none" baseline="0"/>
              <a:t>mantenimiento en interiores, sistemas de climatización, pintura, colocación de paneles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x-es-XL" b="0" i="0" u="none" baseline="0"/>
              <a:t>Todoterreno - acabado exterior, zonas de trabajo con suelo irregular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x-es-XL" b="0" i="0" u="none" baseline="0"/>
              <a:t>Plataforma de tijera serie - tanto para lugares de trabajo interiores como exteriores</a:t>
            </a:r>
            <a:endParaRPr lang="x-es-XL"/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Ø"/>
            </a:pPr>
            <a:endParaRPr lang="x-es-X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AB849E-C8EA-4BFB-8B34-FE760FB0868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l" rtl="0"/>
            <a:r>
              <a:rPr lang="x-es-XL" b="1" i="0" u="none" baseline="0" dirty="0"/>
              <a:t>Alta eficiencia con excelente maniobrabilida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5B2A4DA-D160-4F6C-8DAD-DCA9DA77C9F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85597" y="1513793"/>
            <a:ext cx="1319728" cy="125830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5DEFAE5-A9AA-4817-87F8-950E561EFDF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6931" y="4191138"/>
            <a:ext cx="7405066" cy="1524032"/>
          </a:xfrm>
          <a:prstGeom prst="rect">
            <a:avLst/>
          </a:prstGeom>
          <a:noFill/>
          <a:ln>
            <a:solidFill>
              <a:schemeClr val="accent2">
                <a:lumMod val="20000"/>
                <a:lumOff val="80000"/>
              </a:schemeClr>
            </a:solidFill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DED6CBA-2244-47B3-AD1D-B9913FAF021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68660" y="1513793"/>
            <a:ext cx="1443337" cy="249727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7724F15-4295-4953-ADED-C5285BB4DD2C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912" b="4912"/>
          <a:stretch/>
        </p:blipFill>
        <p:spPr>
          <a:xfrm>
            <a:off x="5298527" y="2818527"/>
            <a:ext cx="1306797" cy="1188000"/>
          </a:xfrm>
          <a:prstGeom prst="rect">
            <a:avLst/>
          </a:prstGeom>
        </p:spPr>
      </p:pic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96A68468-3341-DA4D-8D11-A2985D328F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x-es-XL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539271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>
            <a:extLst>
              <a:ext uri="{FF2B5EF4-FFF2-40B4-BE49-F238E27FC236}">
                <a16:creationId xmlns:a16="http://schemas.microsoft.com/office/drawing/2014/main" id="{E4BECCCD-E0FE-411A-B147-080B52B6A7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9" y="176929"/>
            <a:ext cx="11841481" cy="640080"/>
          </a:xfrm>
        </p:spPr>
        <p:txBody>
          <a:bodyPr anchor="t">
            <a:normAutofit/>
          </a:bodyPr>
          <a:lstStyle/>
          <a:p>
            <a:pPr algn="l" rtl="0"/>
            <a:r>
              <a:rPr lang="x-es-XL" b="1" i="0" u="none" baseline="0" dirty="0"/>
              <a:t>Plataformas articuladas</a:t>
            </a:r>
            <a:endParaRPr lang="x-es-XL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55E1F1F-848F-4AE7-96D5-B841717C3E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520" y="1577340"/>
            <a:ext cx="5501882" cy="2410673"/>
          </a:xfrm>
        </p:spPr>
        <p:txBody>
          <a:bodyPr/>
          <a:lstStyle/>
          <a:p>
            <a:pPr algn="l" rtl="0">
              <a:spcBef>
                <a:spcPts val="600"/>
              </a:spcBef>
              <a:spcAft>
                <a:spcPts val="0"/>
              </a:spcAft>
            </a:pPr>
            <a:r>
              <a:rPr lang="x-es-XL" b="1" i="0" u="none" baseline="0"/>
              <a:t>Aplicaciones: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x-es-XL" b="0" i="0" u="none" baseline="0"/>
              <a:t>Eléctrica – Uso industrial y en almacenes</a:t>
            </a:r>
            <a:endParaRPr lang="x-es-XL"/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x-es-XL" b="0" i="0" u="none" baseline="0"/>
              <a:t>Diésel todoterreno – Obras con terrenos irregulares</a:t>
            </a:r>
            <a:endParaRPr lang="x-es-XL"/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x-es-XL" b="0" i="0" u="none" baseline="0"/>
              <a:t>Híbrida todoterreno – Versatilidad en interiores y exteriores</a:t>
            </a:r>
            <a:endParaRPr lang="x-es-XL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6B2BB81-02A2-4C10-9885-B1EA18BDEC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204" y="796354"/>
            <a:ext cx="11841796" cy="452454"/>
          </a:xfrm>
        </p:spPr>
        <p:txBody>
          <a:bodyPr/>
          <a:lstStyle/>
          <a:p>
            <a:pPr algn="l" rtl="0"/>
            <a:r>
              <a:rPr lang="x-es-XL" sz="2000" b="1" i="0" u="none" baseline="0" dirty="0"/>
              <a:t>Alcance vertical, horizontal y por encima para </a:t>
            </a:r>
            <a:endParaRPr lang="fr-FR" sz="2000" b="1" i="0" u="none" baseline="0" dirty="0"/>
          </a:p>
          <a:p>
            <a:pPr algn="l" rtl="0"/>
            <a:r>
              <a:rPr lang="x-es-XL" sz="2000" b="1" i="0" u="none" baseline="0" dirty="0"/>
              <a:t>lugares de difícil acceso</a:t>
            </a:r>
            <a:endParaRPr lang="x-es-XL" sz="20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574B89D-9575-4A19-BB3A-390EF42DBF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2596" y="3727731"/>
            <a:ext cx="5119806" cy="1939643"/>
          </a:xfrm>
          <a:prstGeom prst="rect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F1C379D-D634-46C6-952D-55432470118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985" b="1572"/>
          <a:stretch/>
        </p:blipFill>
        <p:spPr>
          <a:xfrm>
            <a:off x="5944642" y="1389439"/>
            <a:ext cx="2364624" cy="262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2425B35-9532-4757-9D7C-78BA9E9369B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44642" y="4089761"/>
            <a:ext cx="2365236" cy="1577613"/>
          </a:xfrm>
          <a:prstGeom prst="rect">
            <a:avLst/>
          </a:prstGeom>
        </p:spPr>
      </p:pic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81A1C42C-7D41-0448-A041-6DF1F5A6205B}"/>
              </a:ext>
            </a:extLst>
          </p:cNvPr>
          <p:cNvSpPr/>
          <p:nvPr/>
        </p:nvSpPr>
        <p:spPr>
          <a:xfrm>
            <a:off x="8509665" y="825501"/>
            <a:ext cx="3321678" cy="4909474"/>
          </a:xfrm>
          <a:prstGeom prst="roundRect">
            <a:avLst>
              <a:gd name="adj" fmla="val 2482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x-es-XL" sz="2000" b="1" i="0" u="none" baseline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Reglas de denominación</a:t>
            </a:r>
            <a:endParaRPr lang="x-es-XL" sz="2000" b="1">
              <a:solidFill>
                <a:schemeClr val="bg2"/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Z</a:t>
            </a:r>
            <a:r>
              <a:rPr lang="x-es-XL" sz="1400" b="1" i="0" u="none" baseline="30000">
                <a:solidFill>
                  <a:schemeClr val="accent3">
                    <a:lumMod val="50000"/>
                  </a:schemeClr>
                </a:solidFill>
              </a:rPr>
              <a:t>®</a:t>
            </a: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= Plataforma articulada Genie</a:t>
            </a:r>
            <a:r>
              <a:rPr lang="x-es-XL" sz="1400" b="1" i="0" u="none" baseline="3000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®</a:t>
            </a: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Ejemplo: Z</a:t>
            </a:r>
            <a:r>
              <a:rPr lang="x-es-XL" sz="1400" b="1" i="0" u="none" baseline="3000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®</a:t>
            </a: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-45/25 DC: altura de cesta 45 pies/ 13,87 m; alcance horizontal de 25 pies / 7,62 m; alimentación eléctrica de corriente continua) </a:t>
            </a: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Ejemplo: Z</a:t>
            </a:r>
            <a:r>
              <a:rPr lang="x-es-XL" sz="1400" b="1" i="0" u="none" baseline="30000">
                <a:solidFill>
                  <a:schemeClr val="accent3">
                    <a:lumMod val="50000"/>
                  </a:schemeClr>
                </a:solidFill>
              </a:rPr>
              <a:t>®</a:t>
            </a: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-45 XC™ = Xtra Capacity™</a:t>
            </a:r>
            <a:endParaRPr lang="x-es-XL" sz="1400" b="1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Ejemplo: Z</a:t>
            </a:r>
            <a:r>
              <a:rPr lang="x-es-XL" sz="1400" b="1" i="0" u="none" baseline="30000">
                <a:solidFill>
                  <a:schemeClr val="accent3">
                    <a:lumMod val="50000"/>
                  </a:schemeClr>
                </a:solidFill>
              </a:rPr>
              <a:t>®</a:t>
            </a: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-60 FE = Fuel Electric (híbrida; combustible-eléctrica)</a:t>
            </a:r>
            <a:endParaRPr lang="x-es-XL" sz="1400" b="1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Ejemplo: Z</a:t>
            </a:r>
            <a:r>
              <a:rPr lang="x-es-XL" sz="1400" b="1" i="0" u="none" baseline="30000">
                <a:solidFill>
                  <a:schemeClr val="accent3">
                    <a:lumMod val="50000"/>
                  </a:schemeClr>
                </a:solidFill>
              </a:rPr>
              <a:t>®</a:t>
            </a: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-62/40 TraX = 4 sistemas de orugas independientes</a:t>
            </a:r>
          </a:p>
          <a:p>
            <a:pPr marL="114300" indent="-114300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  <a:tabLst>
                <a:tab pos="114300" algn="l"/>
              </a:tabLst>
            </a:pPr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La primera letra representa el tipo de plataforma de brazo, el primer número es la altura de la cesta en pies y el segundo número es el alcance en pies. </a:t>
            </a:r>
          </a:p>
          <a:p>
            <a:pPr marL="114300" indent="-114300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  <a:tabLst>
                <a:tab pos="114300" algn="l"/>
              </a:tabLst>
            </a:pPr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También se conoce como: Brazo articulado, pluma articulada, plataforma articulada, plataforma de pluma articulada, plataforma elevadora móvil, plataforma de trabajo aéreo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82A6985C-EADD-A240-8DEB-BF14FEE1E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x-es-XL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926108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>
            <a:extLst>
              <a:ext uri="{FF2B5EF4-FFF2-40B4-BE49-F238E27FC236}">
                <a16:creationId xmlns:a16="http://schemas.microsoft.com/office/drawing/2014/main" id="{E4BECCCD-E0FE-411A-B147-080B52B6A7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pPr algn="l" rtl="0"/>
            <a:r>
              <a:rPr lang="x-es-XL" b="1" i="0" u="none" baseline="0"/>
              <a:t>Plataformas telescópicas</a:t>
            </a:r>
            <a:endParaRPr lang="x-es-X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0F72E1-2B3C-40FE-859B-358C909E3A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519" y="1577340"/>
            <a:ext cx="4490421" cy="2551427"/>
          </a:xfrm>
        </p:spPr>
        <p:txBody>
          <a:bodyPr/>
          <a:lstStyle/>
          <a:p>
            <a:pPr algn="l" rtl="0">
              <a:spcBef>
                <a:spcPts val="600"/>
              </a:spcBef>
              <a:spcAft>
                <a:spcPts val="0"/>
              </a:spcAft>
            </a:pPr>
            <a:r>
              <a:rPr lang="x-es-XL" b="1" i="0" u="none" baseline="0"/>
              <a:t>Aplicaciones: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x-es-XL" b="0" i="0" u="none" baseline="0"/>
              <a:t>Tareas de mantenimiento y construcción en el exterior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x-es-XL" b="0" i="0" u="none" baseline="0"/>
              <a:t>Trabajos en puentes y carreteras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x-es-XL" b="0" i="0" u="none" baseline="0"/>
              <a:t>Montaje de acero y acabado exterior</a:t>
            </a:r>
            <a:endParaRPr lang="x-es-X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C4E363C-9136-4197-9C7B-EE9FEB89B3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l" rtl="0"/>
            <a:r>
              <a:rPr lang="x-es-XL" b="1" i="0" u="none" baseline="0"/>
              <a:t>Más alcance horizontal con posicionamiento precis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4178B42-29A5-49DC-95B3-8FA298BAE36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658" y="3884849"/>
            <a:ext cx="4131283" cy="1850125"/>
          </a:xfrm>
          <a:prstGeom prst="rect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A60AFAA-9945-4BFD-AE0E-49CB714D174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80131" y="1530664"/>
            <a:ext cx="1762240" cy="149684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ACA75D2-097A-4433-A616-A771AF7C412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512" r="4182"/>
          <a:stretch/>
        </p:blipFill>
        <p:spPr>
          <a:xfrm>
            <a:off x="4960091" y="1530664"/>
            <a:ext cx="1440000" cy="198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9F879102-D53F-450D-BF42-1582FA23209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75418" y="3573189"/>
            <a:ext cx="1440000" cy="216178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58702CF9-DD34-46E3-B084-4D2A968E0E6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0131" y="3101979"/>
            <a:ext cx="1762240" cy="2639835"/>
          </a:xfrm>
          <a:prstGeom prst="rect">
            <a:avLst/>
          </a:prstGeom>
        </p:spPr>
      </p:pic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A685F727-1021-0F4C-9BC8-3F297D60E062}"/>
              </a:ext>
            </a:extLst>
          </p:cNvPr>
          <p:cNvSpPr/>
          <p:nvPr/>
        </p:nvSpPr>
        <p:spPr>
          <a:xfrm>
            <a:off x="8519803" y="266572"/>
            <a:ext cx="3321678" cy="5507211"/>
          </a:xfrm>
          <a:prstGeom prst="roundRect">
            <a:avLst>
              <a:gd name="adj" fmla="val 2482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x-es-XL" sz="2000" b="1" i="0" u="none" baseline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Reglas de denominación</a:t>
            </a:r>
            <a:endParaRPr lang="x-es-XL" sz="2000" b="1">
              <a:solidFill>
                <a:schemeClr val="bg2"/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S</a:t>
            </a:r>
            <a:r>
              <a:rPr lang="x-es-XL" sz="1400" b="1" i="0" u="none" baseline="30000">
                <a:solidFill>
                  <a:schemeClr val="accent3">
                    <a:lumMod val="50000"/>
                  </a:schemeClr>
                </a:solidFill>
              </a:rPr>
              <a:t>®</a:t>
            </a: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= Plataforma telescópica Genie</a:t>
            </a:r>
            <a:r>
              <a:rPr lang="x-es-XL" sz="1400" b="1" i="0" u="none" baseline="3000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®</a:t>
            </a: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Ejemplo: S</a:t>
            </a:r>
            <a:r>
              <a:rPr lang="x-es-XL" sz="1400" b="1" i="0" u="none" baseline="30000">
                <a:solidFill>
                  <a:schemeClr val="accent3">
                    <a:lumMod val="50000"/>
                  </a:schemeClr>
                </a:solidFill>
              </a:rPr>
              <a:t>®</a:t>
            </a: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-65 XC: altura de cesta 65 pies / 19,80 m; representado una pluma de 60 pies / 18,30 m extendida por un plumín de 5 pies / 1,52 m. XC™ = Xtra Capacity™</a:t>
            </a:r>
            <a:endParaRPr lang="x-es-XL" sz="1400" b="1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Ejemplo: S</a:t>
            </a:r>
            <a:r>
              <a:rPr lang="x-es-XL" sz="1400" b="1" i="0" u="none" baseline="30000">
                <a:solidFill>
                  <a:schemeClr val="accent3">
                    <a:lumMod val="50000"/>
                  </a:schemeClr>
                </a:solidFill>
              </a:rPr>
              <a:t>®</a:t>
            </a: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-60 J (incluye plumín estándar de 5 pies)</a:t>
            </a:r>
            <a:endParaRPr lang="x-es-XL" sz="1400" b="1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Ejemplo: S</a:t>
            </a:r>
            <a:r>
              <a:rPr lang="x-es-XL" sz="1400" b="1" i="0" u="none" baseline="30000">
                <a:solidFill>
                  <a:schemeClr val="accent3">
                    <a:lumMod val="50000"/>
                  </a:schemeClr>
                </a:solidFill>
              </a:rPr>
              <a:t>®</a:t>
            </a: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-65 TraX = 4 sistemas de orugas independientes</a:t>
            </a:r>
            <a:endParaRPr lang="x-es-XL" sz="1400" b="1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Ejemplo: S</a:t>
            </a:r>
            <a:r>
              <a:rPr lang="x-es-XL" sz="1400" b="1" i="0" u="none" baseline="30000">
                <a:solidFill>
                  <a:schemeClr val="accent3">
                    <a:lumMod val="50000"/>
                  </a:schemeClr>
                </a:solidFill>
              </a:rPr>
              <a:t>®</a:t>
            </a: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-60 FE = Fuel Electric (híbrida; combustible-eléctrica)</a:t>
            </a:r>
            <a:endParaRPr lang="x-es-XL" sz="1400" b="1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Ejemplo: SX™-180 = Gama Super Boom con tecnología de chasis X-tend</a:t>
            </a:r>
          </a:p>
          <a:p>
            <a:pPr marL="114300" indent="-114300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  <a:tabLst>
                <a:tab pos="114300" algn="l"/>
              </a:tabLst>
            </a:pPr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La primera letra representa el tipo de plataforma de brazo, el primer número es la altura de la cesta en pies y la unidad 5 añadida a cada decena completa corresponde al plumín de 5 pies (1,52 m).</a:t>
            </a:r>
            <a:endParaRPr lang="x-es-XL" sz="120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marL="114300" indent="-114300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  <a:tabLst>
                <a:tab pos="114300" algn="l"/>
              </a:tabLst>
            </a:pPr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También conocidas como plumas rectas, plumas telescópicas, plataformas de trabajo aéreo y lanzas telescópicas</a:t>
            </a:r>
            <a:endParaRPr lang="x-es-XL" sz="1200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5FD1CEF-BA67-1B40-87FD-87982D5F99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x-es-XL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865387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>
            <a:extLst>
              <a:ext uri="{FF2B5EF4-FFF2-40B4-BE49-F238E27FC236}">
                <a16:creationId xmlns:a16="http://schemas.microsoft.com/office/drawing/2014/main" id="{E4BECCCD-E0FE-411A-B147-080B52B6A7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pPr algn="l" rtl="0"/>
            <a:r>
              <a:rPr lang="x-es-XL" b="1" i="0" u="none" baseline="0"/>
              <a:t>Manipuladores telescópicos (ANSI)</a:t>
            </a:r>
            <a:endParaRPr lang="x-es-X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0F72E1-2B3C-40FE-859B-358C909E3A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520" y="1282151"/>
            <a:ext cx="5480963" cy="1475288"/>
          </a:xfrm>
        </p:spPr>
        <p:txBody>
          <a:bodyPr/>
          <a:lstStyle/>
          <a:p>
            <a:pPr algn="l" rtl="0">
              <a:spcBef>
                <a:spcPts val="600"/>
              </a:spcBef>
              <a:spcAft>
                <a:spcPts val="0"/>
              </a:spcAft>
            </a:pPr>
            <a:r>
              <a:rPr lang="x-es-XL" b="1" i="0" u="none" baseline="0"/>
              <a:t>Aplicaciones: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x-es-XL" b="0" i="0" u="none" baseline="0"/>
              <a:t>Tareas de mantenimiento y construcción en el exterior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x-es-XL" b="0" i="0" u="none" baseline="0"/>
              <a:t>Trabajos en puentes y carreteras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x-es-XL" b="0" i="0" u="none" baseline="0"/>
              <a:t>Montaje de acero y acabado exterior</a:t>
            </a:r>
            <a:endParaRPr lang="x-es-X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C4E363C-9136-4197-9C7B-EE9FEB89B3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91440" tIns="45720" rIns="91440" bIns="45720" rtlCol="0" anchor="ctr">
            <a:noAutofit/>
          </a:bodyPr>
          <a:lstStyle/>
          <a:p>
            <a:pPr algn="l" rtl="0"/>
            <a:r>
              <a:rPr lang="x-es-XL" b="1" i="0" u="none" baseline="0"/>
              <a:t>Diseño y rendimiento excepcionales</a:t>
            </a:r>
          </a:p>
        </p:txBody>
      </p:sp>
      <p:pic>
        <p:nvPicPr>
          <p:cNvPr id="4100" name="Picture 4">
            <a:extLst>
              <a:ext uri="{FF2B5EF4-FFF2-40B4-BE49-F238E27FC236}">
                <a16:creationId xmlns:a16="http://schemas.microsoft.com/office/drawing/2014/main" id="{AF768F8C-BB4F-4814-981B-9BFF07C83F8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506" b="6609"/>
          <a:stretch/>
        </p:blipFill>
        <p:spPr bwMode="auto">
          <a:xfrm>
            <a:off x="448879" y="4382627"/>
            <a:ext cx="2932291" cy="1346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>
            <a:extLst>
              <a:ext uri="{FF2B5EF4-FFF2-40B4-BE49-F238E27FC236}">
                <a16:creationId xmlns:a16="http://schemas.microsoft.com/office/drawing/2014/main" id="{FCCC119D-FCB6-4AA1-A54F-79932007F89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0" b="11776"/>
          <a:stretch/>
        </p:blipFill>
        <p:spPr bwMode="auto">
          <a:xfrm>
            <a:off x="3500473" y="4382627"/>
            <a:ext cx="2331010" cy="13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07C600D-8F4B-4E8D-A5D8-9AE4B916107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8107" t="22430" r="31408" b="35922"/>
          <a:stretch/>
        </p:blipFill>
        <p:spPr>
          <a:xfrm>
            <a:off x="5996411" y="1267464"/>
            <a:ext cx="2051034" cy="4582471"/>
          </a:xfrm>
          <a:prstGeom prst="rect">
            <a:avLst/>
          </a:prstGeom>
        </p:spPr>
      </p:pic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E842F8C-1B84-004E-8158-BF7A333061B0}"/>
              </a:ext>
            </a:extLst>
          </p:cNvPr>
          <p:cNvSpPr/>
          <p:nvPr/>
        </p:nvSpPr>
        <p:spPr>
          <a:xfrm>
            <a:off x="8509665" y="825501"/>
            <a:ext cx="3321678" cy="4909474"/>
          </a:xfrm>
          <a:prstGeom prst="roundRect">
            <a:avLst>
              <a:gd name="adj" fmla="val 2482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x-es-XL" sz="2000" b="1" i="0" u="none" baseline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Reglas de denominación</a:t>
            </a:r>
            <a:endParaRPr lang="x-es-XL" sz="2000" b="1">
              <a:solidFill>
                <a:schemeClr val="bg2"/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GTH™ = Manipuladores telescópicos todoterreno Genie</a:t>
            </a:r>
            <a:r>
              <a:rPr lang="x-es-XL" sz="1400" b="1" i="0" u="none" baseline="3000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®</a:t>
            </a: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Ejemplo: GTH</a:t>
            </a:r>
            <a:r>
              <a:rPr lang="x-es-XL" sz="1400" b="1" i="0" u="none" baseline="30000">
                <a:solidFill>
                  <a:schemeClr val="accent3">
                    <a:lumMod val="50000"/>
                  </a:schemeClr>
                </a:solidFill>
              </a:rPr>
              <a:t>®</a:t>
            </a: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-5519: capacidad de carga máx. de 5511 libras/ 2500 kg; altura de elevación máx. de 19 pies/ 5,79 m</a:t>
            </a:r>
          </a:p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Ejemplo: GTH™-844</a:t>
            </a:r>
            <a:endParaRPr lang="x-es-XL" sz="1400" b="1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 marL="114300" indent="-114300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  <a:tabLst>
                <a:tab pos="114300" algn="l"/>
              </a:tabLst>
            </a:pPr>
            <a:r>
              <a:rPr lang="x-es-XL" sz="1400" b="0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Las tres letras representan Genie Tele Handler (Manipulador telescópico Genie). Los primeros números representan la capacidad de carga máxima, seguidos de la altura de elevación máxima.</a:t>
            </a:r>
          </a:p>
          <a:p>
            <a:pPr marL="114300" indent="-114300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  <a:tabLst>
                <a:tab pos="114300" algn="l"/>
              </a:tabLst>
            </a:pPr>
            <a:r>
              <a:rPr lang="x-es-XL" sz="1400" b="0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También conocidos como: Manipuladores, Manipuladores de horquillas</a:t>
            </a:r>
            <a:endParaRPr lang="x-es-XL" sz="140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B27F0ED-7DE5-BF46-9D1C-5606DA8D24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x-es-XL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69647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A29668A-662F-3C40-A26C-E74FCA4B35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33850" y="2026803"/>
            <a:ext cx="2773875" cy="492443"/>
          </a:xfrm>
        </p:spPr>
        <p:txBody>
          <a:bodyPr wrap="square" lIns="0" tIns="0" rIns="0" bIns="0">
            <a:spAutoFit/>
          </a:bodyPr>
          <a:lstStyle/>
          <a:p>
            <a:pPr algn="l" rtl="0"/>
            <a:r>
              <a:rPr lang="x-es-XL" sz="3200" b="1" i="0" u="none" baseline="0">
                <a:solidFill>
                  <a:schemeClr val="bg2"/>
                </a:solidFill>
              </a:rPr>
              <a:t>desde 1966.</a:t>
            </a:r>
            <a:endParaRPr lang="x-es-XL" sz="3200" dirty="0">
              <a:solidFill>
                <a:schemeClr val="bg2"/>
              </a:solidFill>
            </a:endParaRPr>
          </a:p>
        </p:txBody>
      </p:sp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x-es-XL" sz="3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37EB767-E9F3-624C-9628-897B2B2A6E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204" y="251251"/>
            <a:ext cx="11841481" cy="640080"/>
          </a:xfrm>
        </p:spPr>
        <p:txBody>
          <a:bodyPr lIns="0" tIns="0" rIns="0" bIns="0"/>
          <a:lstStyle/>
          <a:p>
            <a:pPr algn="l" rtl="0"/>
            <a:r>
              <a:rPr lang="x-es-XL" b="1" i="0" u="none" baseline="0"/>
              <a:t>Acerca de Genie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3A8213-0761-AC4C-B3B8-AA82F95F8C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204" y="748854"/>
            <a:ext cx="4726293" cy="452454"/>
          </a:xfrm>
        </p:spPr>
        <p:txBody>
          <a:bodyPr lIns="0" tIns="0" rIns="0" bIns="0"/>
          <a:lstStyle/>
          <a:p>
            <a:pPr algn="l" rtl="0"/>
            <a:r>
              <a:rPr lang="x-es-XL" b="1" i="0" u="none" baseline="0"/>
              <a:t>Nuestro origen en la calidad  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E739B9-AD1C-4249-AEC6-D4D8929F973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99685" y="0"/>
            <a:ext cx="3492000" cy="6048000"/>
          </a:xfrm>
          <a:prstGeom prst="rect">
            <a:avLst/>
          </a:prstGeom>
        </p:spPr>
      </p:pic>
      <p:sp>
        <p:nvSpPr>
          <p:cNvPr id="38" name="Content Placeholder 3">
            <a:extLst>
              <a:ext uri="{FF2B5EF4-FFF2-40B4-BE49-F238E27FC236}">
                <a16:creationId xmlns:a16="http://schemas.microsoft.com/office/drawing/2014/main" id="{3ED5E3EA-EA21-4145-BCBD-A764F3FA6AF6}"/>
              </a:ext>
            </a:extLst>
          </p:cNvPr>
          <p:cNvSpPr txBox="1">
            <a:spLocks/>
          </p:cNvSpPr>
          <p:nvPr/>
        </p:nvSpPr>
        <p:spPr>
          <a:xfrm>
            <a:off x="386984" y="2815167"/>
            <a:ext cx="5925863" cy="3791582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x-es-XL" sz="1600" b="0" i="0" u="none" baseline="0"/>
              <a:t>Genie es el nombre líder en plataformas elevatórias desde hace más de medio siglo. El nombre es sinónimo de ingeniería dedicada, soporte experto y, sobre todo, calidad.</a:t>
            </a:r>
            <a:endParaRPr lang="x-es-XL" sz="1600">
              <a:highlight>
                <a:srgbClr val="FFFF00"/>
              </a:highlight>
            </a:endParaRP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</a:pPr>
            <a:r>
              <a:rPr lang="x-es-XL" sz="1600" b="0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En 1966 se introdujo el primer elevador de material de aire comprimido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</a:pPr>
            <a:r>
              <a:rPr lang="x-es-XL" sz="1600" b="0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Desde el primer producto de Genie, Bud Bushnell se centró en la calidad de cada equipo fabricado.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</a:pPr>
            <a:r>
              <a:rPr lang="x-es-XL" sz="1600" b="0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Los principios de ingeniería de Genie siempre han estado basados en la calidad, garantizando equipos duraderos que ofrecen una experiencia de calidad de principio a fin</a:t>
            </a:r>
          </a:p>
        </p:txBody>
      </p:sp>
      <p:sp>
        <p:nvSpPr>
          <p:cNvPr id="39" name="Content Placeholder 3">
            <a:extLst>
              <a:ext uri="{FF2B5EF4-FFF2-40B4-BE49-F238E27FC236}">
                <a16:creationId xmlns:a16="http://schemas.microsoft.com/office/drawing/2014/main" id="{37DD09A9-72EE-714E-9D6C-C8405930ADDA}"/>
              </a:ext>
            </a:extLst>
          </p:cNvPr>
          <p:cNvSpPr txBox="1">
            <a:spLocks/>
          </p:cNvSpPr>
          <p:nvPr/>
        </p:nvSpPr>
        <p:spPr>
          <a:xfrm>
            <a:off x="4902944" y="2439468"/>
            <a:ext cx="3492000" cy="3200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x-es-XL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0C14B49C-3B66-1D47-AA32-6D8AE8D1A78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"/>
          <a:stretch/>
        </p:blipFill>
        <p:spPr>
          <a:xfrm rot="21283899">
            <a:off x="6444611" y="2800004"/>
            <a:ext cx="2773874" cy="2824701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457200" dist="38100" sx="96000" sy="96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05FA3E7-DC2B-BB4B-8B85-F099ECE86876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6985" y="1593056"/>
            <a:ext cx="4344002" cy="903309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7AFD9D3-148A-BA48-B157-FC181EC493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x-es-XL" sz="10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211447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>
            <a:extLst>
              <a:ext uri="{FF2B5EF4-FFF2-40B4-BE49-F238E27FC236}">
                <a16:creationId xmlns:a16="http://schemas.microsoft.com/office/drawing/2014/main" id="{E4BECCCD-E0FE-411A-B147-080B52B6A7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pPr algn="l" rtl="0"/>
            <a:r>
              <a:rPr lang="x-es-XL" b="1" i="0" u="none" baseline="0"/>
              <a:t>Elevadores de material</a:t>
            </a:r>
            <a:endParaRPr lang="x-es-XL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DA16305-190D-4106-BCF3-9962587244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519" y="1577340"/>
            <a:ext cx="5527767" cy="4090034"/>
          </a:xfrm>
        </p:spPr>
        <p:txBody>
          <a:bodyPr/>
          <a:lstStyle/>
          <a:p>
            <a:pPr algn="l" rtl="0">
              <a:spcBef>
                <a:spcPts val="600"/>
              </a:spcBef>
              <a:spcAft>
                <a:spcPts val="0"/>
              </a:spcAft>
            </a:pPr>
            <a:r>
              <a:rPr lang="x-es-XL" b="1" i="0" u="none" baseline="0"/>
              <a:t>Aplicaciones: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x-es-XL" b="0" i="0" u="none" baseline="0"/>
              <a:t>Instalación de fontanería y climatización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x-es-XL" b="0" i="0" u="none" baseline="0"/>
              <a:t>Tareas en fábricas y almacenes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x-es-XL" b="0" i="0" u="none" baseline="0"/>
              <a:t>Equipos de iluminación y sonido (SuperTower™)</a:t>
            </a:r>
            <a:endParaRPr lang="x-es-X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D19892-0DF4-4E38-8E1E-4460CB00A1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l" rtl="0"/>
            <a:r>
              <a:rPr lang="x-es-XL" b="1" i="0" u="none" baseline="0"/>
              <a:t>Compactos, ligeros y fáciles de transportar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85C441C-115B-4A1E-90F7-69807ABA839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54611" y="922807"/>
            <a:ext cx="1412932" cy="139676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F36469A-1001-4568-895D-80702574125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54611" y="2390506"/>
            <a:ext cx="1412932" cy="169964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A19DA1A-58D1-4CFC-90C0-D7F307D13E7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9247" y="4206061"/>
            <a:ext cx="8454406" cy="1528914"/>
          </a:xfrm>
          <a:prstGeom prst="rect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2E02D24-5E5A-463F-938D-35AAEE22D5B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4830" y="1388933"/>
            <a:ext cx="1738413" cy="2767535"/>
          </a:xfrm>
          <a:prstGeom prst="rect">
            <a:avLst/>
          </a:prstGeom>
        </p:spPr>
      </p:pic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A91D8FBC-FC7C-974F-8F86-E26C09478C89}"/>
              </a:ext>
            </a:extLst>
          </p:cNvPr>
          <p:cNvSpPr/>
          <p:nvPr/>
        </p:nvSpPr>
        <p:spPr>
          <a:xfrm>
            <a:off x="9528201" y="825501"/>
            <a:ext cx="2303141" cy="4909474"/>
          </a:xfrm>
          <a:prstGeom prst="roundRect">
            <a:avLst>
              <a:gd name="adj" fmla="val 2482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 anchorCtr="0"/>
          <a:lstStyle/>
          <a:p>
            <a:pPr marL="136525" indent="-130175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</a:pP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Arial Narrow" panose="020B0606020202030204" pitchFamily="34" charset="0"/>
                <a:cs typeface="Arial Narrow" panose="020B0606020202030204" pitchFamily="34" charset="0"/>
              </a:rPr>
              <a:t>Fabricados en Redmond, WA</a:t>
            </a:r>
            <a:endParaRPr lang="x-es-XL" altLang="en-US" sz="1400" b="1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136525" indent="-130175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</a:pP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Arial Narrow" panose="020B0606020202030204" pitchFamily="34" charset="0"/>
                <a:cs typeface="Arial Narrow" panose="020B0606020202030204" pitchFamily="34" charset="0"/>
              </a:rPr>
              <a:t>Aplicaciones: trabajos en sistemas de tuberías, climatización, fabricación, almacenes</a:t>
            </a:r>
            <a:endParaRPr lang="x-es-XL" altLang="en-US" sz="1400" b="1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136525" indent="-130175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</a:pP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Arial Narrow" panose="020B0606020202030204" pitchFamily="34" charset="0"/>
                <a:cs typeface="Arial Narrow" panose="020B0606020202030204" pitchFamily="34" charset="0"/>
              </a:rPr>
              <a:t>Capacidad para pasar por puertas estándar</a:t>
            </a:r>
            <a:endParaRPr lang="x-es-XL" altLang="en-US" sz="1400" b="1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136525" indent="-130175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</a:pP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Arial Narrow" panose="020B0606020202030204" pitchFamily="34" charset="0"/>
                <a:cs typeface="Arial Narrow" panose="020B0606020202030204" pitchFamily="34" charset="0"/>
              </a:rPr>
              <a:t>Solución compacta que puede ser cargada en un camión por una sola persona</a:t>
            </a:r>
            <a:endParaRPr lang="x-es-XL" altLang="en-US" sz="1400" b="1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136525" indent="-130175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</a:pP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Arial Narrow" panose="020B0606020202030204" pitchFamily="34" charset="0"/>
                <a:cs typeface="Arial Narrow" panose="020B0606020202030204" pitchFamily="34" charset="0"/>
              </a:rPr>
              <a:t>Eleva cargas de 91 kg (300 libras) a 454 kg (1000 libras) hasta una altura de 7,9 m (20 pies)</a:t>
            </a:r>
            <a:endParaRPr lang="x-es-XL" altLang="en-US" sz="1400" b="1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880B27C9-BC78-564A-84DB-2FD4A3DD84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x-es-XL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926482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>
            <a:extLst>
              <a:ext uri="{FF2B5EF4-FFF2-40B4-BE49-F238E27FC236}">
                <a16:creationId xmlns:a16="http://schemas.microsoft.com/office/drawing/2014/main" id="{E4BECCCD-E0FE-411A-B147-080B52B6A7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pPr algn="l" rtl="0"/>
            <a:r>
              <a:rPr lang="x-es-XL" b="1" i="0" u="none" baseline="0"/>
              <a:t>Elevadores de Personas</a:t>
            </a:r>
            <a:endParaRPr lang="x-es-X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192A15F-71D6-43E4-A7F5-F9B1CAE828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519" y="1577340"/>
            <a:ext cx="4651787" cy="4090034"/>
          </a:xfrm>
        </p:spPr>
        <p:txBody>
          <a:bodyPr/>
          <a:lstStyle/>
          <a:p>
            <a:pPr algn="l" rtl="0">
              <a:spcBef>
                <a:spcPts val="600"/>
              </a:spcBef>
              <a:spcAft>
                <a:spcPts val="0"/>
              </a:spcAft>
            </a:pPr>
            <a:r>
              <a:rPr lang="x-es-XL" b="1" i="0" u="none" baseline="0"/>
              <a:t>Aplicaciones: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x-es-XL" b="0" i="0" u="none" baseline="0"/>
              <a:t>Construcción, instalaciones industriales y almacenes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x-es-XL" b="0" i="0" u="none" baseline="0"/>
              <a:t>Tareas de mantenimiento en altura, limpieza, colocación de carteles, etc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007B112-0931-4423-9123-742E612DB9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l" rtl="0"/>
            <a:r>
              <a:rPr lang="x-es-XL" b="1" i="0" u="none" baseline="0"/>
              <a:t>Prácticos y rentabl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A8B2CEC-44E5-4E45-A95B-7928A5B243E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93966" y="1123025"/>
            <a:ext cx="1937857" cy="290678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F117084-659C-4C5C-8941-92948B253A9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473" b="2319"/>
          <a:stretch/>
        </p:blipFill>
        <p:spPr>
          <a:xfrm>
            <a:off x="5485703" y="2759561"/>
            <a:ext cx="1596729" cy="1260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3E01847-CD2E-4FE6-8310-119D79E617F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552" b="1262"/>
          <a:stretch/>
        </p:blipFill>
        <p:spPr>
          <a:xfrm>
            <a:off x="5485703" y="1123025"/>
            <a:ext cx="1596729" cy="15480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0D94E88-05C3-4ED3-8BE6-26EC1B2A6D3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8029" y="4158174"/>
            <a:ext cx="8383794" cy="1576801"/>
          </a:xfrm>
          <a:prstGeom prst="rect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</p:pic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FD1512F6-B6E0-3E41-A1FB-C632AABF891A}"/>
              </a:ext>
            </a:extLst>
          </p:cNvPr>
          <p:cNvSpPr/>
          <p:nvPr/>
        </p:nvSpPr>
        <p:spPr>
          <a:xfrm>
            <a:off x="9528201" y="825501"/>
            <a:ext cx="2303141" cy="4909474"/>
          </a:xfrm>
          <a:prstGeom prst="roundRect">
            <a:avLst>
              <a:gd name="adj" fmla="val 2482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 anchorCtr="0"/>
          <a:lstStyle/>
          <a:p>
            <a:pPr marL="136525" indent="-130175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</a:pP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Arial Narrow" panose="020B0606020202030204" pitchFamily="34" charset="0"/>
                <a:cs typeface="Arial Narrow" panose="020B0606020202030204" pitchFamily="34" charset="0"/>
              </a:rPr>
              <a:t>Fabricados en Redmond, WA</a:t>
            </a:r>
          </a:p>
          <a:p>
            <a:pPr marL="136525" indent="-130175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</a:pP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Arial Narrow" panose="020B0606020202030204" pitchFamily="34" charset="0"/>
                <a:cs typeface="Arial Narrow" panose="020B0606020202030204" pitchFamily="34" charset="0"/>
              </a:rPr>
              <a:t>Aplicaciones: construcción, instalaciones industriales, mantenimiento y almacenamiento</a:t>
            </a:r>
            <a:endParaRPr lang="x-es-XL" altLang="en-US" sz="1400" b="1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136525" indent="-130175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</a:pP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Arial Narrow" panose="020B0606020202030204" pitchFamily="34" charset="0"/>
                <a:cs typeface="Arial Narrow" panose="020B0606020202030204" pitchFamily="34" charset="0"/>
              </a:rPr>
              <a:t>Capacidad para pasar por puertas estándar o industriales </a:t>
            </a:r>
          </a:p>
          <a:p>
            <a:pPr marL="136525" indent="-130175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</a:pP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Arial Narrow" panose="020B0606020202030204" pitchFamily="34" charset="0"/>
                <a:cs typeface="Arial Narrow" panose="020B0606020202030204" pitchFamily="34" charset="0"/>
              </a:rPr>
              <a:t>Los modelos AWP® cuentan con exclusivos estabilizadores en X </a:t>
            </a:r>
          </a:p>
          <a:p>
            <a:pPr marL="136525" indent="-130175" algn="l" rtl="0">
              <a:spcBef>
                <a:spcPct val="65000"/>
              </a:spcBef>
              <a:buClr>
                <a:srgbClr val="565958"/>
              </a:buClr>
              <a:buSzPct val="80000"/>
              <a:buFont typeface="Times" panose="02020603050405020304" pitchFamily="18" charset="0"/>
              <a:buChar char="•"/>
            </a:pP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Arial Narrow" panose="020B0606020202030204" pitchFamily="34" charset="0"/>
                <a:cs typeface="Arial Narrow" panose="020B0606020202030204" pitchFamily="34" charset="0"/>
              </a:rPr>
              <a:t>Eleva cargas de hasta 750 libras (340 kg) hasta una altura de 40 pies (12,2 m)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AF70D27-2194-F74E-811B-9B0E7F4BA7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x-es-XL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365713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1AC65-B2DD-4FDC-855F-15EA19F3DA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1419" y="775970"/>
            <a:ext cx="8558126" cy="2913380"/>
          </a:xfrm>
        </p:spPr>
        <p:txBody>
          <a:bodyPr/>
          <a:lstStyle/>
          <a:p>
            <a:pPr algn="l" rtl="0"/>
            <a:r>
              <a:rPr lang="x-es-XL" b="1" i="0" u="none" baseline="0" dirty="0"/>
              <a:t>Re</a:t>
            </a:r>
            <a:r>
              <a:rPr lang="pt-BR" b="1" i="0" u="none" baseline="0" dirty="0" err="1"/>
              <a:t>puestos</a:t>
            </a:r>
            <a:r>
              <a:rPr lang="x-es-XL" b="1" i="0" u="none" baseline="0" dirty="0"/>
              <a:t> y servicios Genie</a:t>
            </a:r>
            <a:r>
              <a:rPr lang="x-es-XL" sz="2800" b="1" i="0" u="none" baseline="65000" dirty="0"/>
              <a:t>®</a:t>
            </a:r>
          </a:p>
        </p:txBody>
      </p:sp>
    </p:spTree>
    <p:extLst>
      <p:ext uri="{BB962C8B-B14F-4D97-AF65-F5344CB8AC3E}">
        <p14:creationId xmlns:p14="http://schemas.microsoft.com/office/powerpoint/2010/main" val="58652760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B9309A4-6C4E-4F2C-9348-E803F451F7A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048000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A1753E2F-7449-478D-BB5F-61718D7D25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 anchorCtr="0">
            <a:normAutofit/>
          </a:bodyPr>
          <a:lstStyle/>
          <a:p>
            <a:pPr algn="l" rtl="0"/>
            <a:r>
              <a:rPr lang="x-es-XL" b="1" i="0" u="none" baseline="0"/>
              <a:t>Lift Connect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5017E247-1C08-46CF-9B97-CD28C14852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0" tIns="0" rIns="0" bIns="0"/>
          <a:lstStyle/>
          <a:p>
            <a:pPr algn="l" rtl="0"/>
            <a:r>
              <a:rPr lang="x-es-XL" b="1" i="0" u="none" baseline="0"/>
              <a:t>Libere el poder de una flota conectada</a:t>
            </a:r>
          </a:p>
        </p:txBody>
      </p:sp>
      <p:sp>
        <p:nvSpPr>
          <p:cNvPr id="49" name="Rounded Rectangle 50">
            <a:extLst>
              <a:ext uri="{FF2B5EF4-FFF2-40B4-BE49-F238E27FC236}">
                <a16:creationId xmlns:a16="http://schemas.microsoft.com/office/drawing/2014/main" id="{1CF4B37D-FE03-4E14-B7A3-3C22ECC0C054}"/>
              </a:ext>
            </a:extLst>
          </p:cNvPr>
          <p:cNvSpPr/>
          <p:nvPr/>
        </p:nvSpPr>
        <p:spPr>
          <a:xfrm>
            <a:off x="4228232" y="1876924"/>
            <a:ext cx="1756654" cy="3896859"/>
          </a:xfrm>
          <a:prstGeom prst="roundRect">
            <a:avLst>
              <a:gd name="adj" fmla="val 3228"/>
            </a:avLst>
          </a:prstGeom>
          <a:solidFill>
            <a:schemeClr val="bg1">
              <a:alpha val="76686"/>
            </a:schemeClr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60000" rtlCol="0" anchor="t" anchorCtr="0"/>
          <a:lstStyle/>
          <a:p>
            <a:pPr algn="ctr" rtl="0">
              <a:spcAft>
                <a:spcPts val="1200"/>
              </a:spcAft>
            </a:pPr>
            <a:r>
              <a:rPr lang="x-es-XL" b="1" i="0" u="none" baseline="0">
                <a:solidFill>
                  <a:schemeClr val="bg2"/>
                </a:solidFill>
              </a:rPr>
              <a:t>Información práctica</a:t>
            </a:r>
          </a:p>
          <a:p>
            <a:pPr algn="ctr" rtl="0"/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</a:rPr>
              <a:t>Lift Connect brinda mucho más que solo números, proporciona información y conocimientos que permiten a los responsables de flotas y de servicios tomar rápidamente medidas acertadas.</a:t>
            </a:r>
          </a:p>
        </p:txBody>
      </p:sp>
      <p:sp>
        <p:nvSpPr>
          <p:cNvPr id="50" name="Rounded Rectangle 51">
            <a:extLst>
              <a:ext uri="{FF2B5EF4-FFF2-40B4-BE49-F238E27FC236}">
                <a16:creationId xmlns:a16="http://schemas.microsoft.com/office/drawing/2014/main" id="{DCCC461A-918C-491C-AEE7-3CC59F86E6D0}"/>
              </a:ext>
            </a:extLst>
          </p:cNvPr>
          <p:cNvSpPr/>
          <p:nvPr/>
        </p:nvSpPr>
        <p:spPr>
          <a:xfrm>
            <a:off x="6136121" y="1876924"/>
            <a:ext cx="1907890" cy="3896859"/>
          </a:xfrm>
          <a:prstGeom prst="roundRect">
            <a:avLst>
              <a:gd name="adj" fmla="val 3228"/>
            </a:avLst>
          </a:prstGeom>
          <a:solidFill>
            <a:schemeClr val="bg1">
              <a:alpha val="76686"/>
            </a:schemeClr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60000" rtlCol="0" anchor="t" anchorCtr="0"/>
          <a:lstStyle/>
          <a:p>
            <a:pPr algn="ctr" rtl="0">
              <a:spcAft>
                <a:spcPts val="1200"/>
              </a:spcAft>
            </a:pPr>
            <a:r>
              <a:rPr lang="x-es-XL" b="1" i="0" u="none" baseline="0">
                <a:solidFill>
                  <a:schemeClr val="bg2"/>
                </a:solidFill>
              </a:rPr>
              <a:t>Transparenc</a:t>
            </a:r>
            <a:r>
              <a:rPr lang="fr-FR" b="1" i="0" u="none" baseline="0" dirty="0">
                <a:solidFill>
                  <a:schemeClr val="bg2"/>
                </a:solidFill>
              </a:rPr>
              <a:t>i</a:t>
            </a:r>
            <a:r>
              <a:rPr lang="x-es-XL" b="1" i="0" u="none" baseline="0">
                <a:solidFill>
                  <a:schemeClr val="bg2"/>
                </a:solidFill>
              </a:rPr>
              <a:t>a</a:t>
            </a:r>
            <a:br>
              <a:rPr lang="x-es-XL" b="1">
                <a:solidFill>
                  <a:schemeClr val="bg2"/>
                </a:solidFill>
              </a:rPr>
            </a:br>
            <a:endParaRPr lang="x-es-XL" b="1">
              <a:solidFill>
                <a:schemeClr val="bg2"/>
              </a:solidFill>
            </a:endParaRPr>
          </a:p>
          <a:p>
            <a:pPr algn="ctr" rtl="0"/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</a:rPr>
              <a:t>No se quede atrás: LiftConnect proporciona más puntos de datos que cualquier otro proveedor del sector.</a:t>
            </a:r>
          </a:p>
        </p:txBody>
      </p:sp>
      <p:sp>
        <p:nvSpPr>
          <p:cNvPr id="51" name="Rounded Rectangle 52">
            <a:extLst>
              <a:ext uri="{FF2B5EF4-FFF2-40B4-BE49-F238E27FC236}">
                <a16:creationId xmlns:a16="http://schemas.microsoft.com/office/drawing/2014/main" id="{30278CF0-71CA-48D5-A37F-E5C30DEAEAD5}"/>
              </a:ext>
            </a:extLst>
          </p:cNvPr>
          <p:cNvSpPr/>
          <p:nvPr/>
        </p:nvSpPr>
        <p:spPr>
          <a:xfrm>
            <a:off x="8196411" y="1876924"/>
            <a:ext cx="1756654" cy="3896859"/>
          </a:xfrm>
          <a:prstGeom prst="roundRect">
            <a:avLst>
              <a:gd name="adj" fmla="val 3228"/>
            </a:avLst>
          </a:prstGeom>
          <a:solidFill>
            <a:schemeClr val="bg1">
              <a:alpha val="76686"/>
            </a:schemeClr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60000" rtlCol="0" anchor="t" anchorCtr="0"/>
          <a:lstStyle/>
          <a:p>
            <a:pPr algn="ctr" rtl="0">
              <a:spcAft>
                <a:spcPts val="1200"/>
              </a:spcAft>
            </a:pPr>
            <a:r>
              <a:rPr lang="x-es-XL" b="1" i="0" u="none" baseline="0">
                <a:solidFill>
                  <a:schemeClr val="bg2"/>
                </a:solidFill>
              </a:rPr>
              <a:t>Flexibilidad</a:t>
            </a:r>
            <a:br>
              <a:rPr lang="x-es-XL" b="1">
                <a:solidFill>
                  <a:schemeClr val="bg2"/>
                </a:solidFill>
              </a:rPr>
            </a:br>
            <a:endParaRPr lang="x-es-XL" b="1">
              <a:solidFill>
                <a:schemeClr val="bg2"/>
              </a:solidFill>
            </a:endParaRPr>
          </a:p>
          <a:p>
            <a:pPr algn="ctr" rtl="0"/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</a:rPr>
              <a:t>Sus datos, su forma de usarlos. Acceda a todos los datos del estado de la flota a través del portal LiftConnect en cualquier dispositivo o a través de cualquier servicio mediante API.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8805145-C8C0-4E08-BACB-C1474F7E4131}"/>
              </a:ext>
            </a:extLst>
          </p:cNvPr>
          <p:cNvGrpSpPr/>
          <p:nvPr/>
        </p:nvGrpSpPr>
        <p:grpSpPr>
          <a:xfrm>
            <a:off x="506639" y="1773937"/>
            <a:ext cx="3196237" cy="529241"/>
            <a:chOff x="11616069" y="12657925"/>
            <a:chExt cx="7002528" cy="1159496"/>
          </a:xfrm>
        </p:grpSpPr>
        <p:sp>
          <p:nvSpPr>
            <p:cNvPr id="12" name="object 33">
              <a:extLst>
                <a:ext uri="{FF2B5EF4-FFF2-40B4-BE49-F238E27FC236}">
                  <a16:creationId xmlns:a16="http://schemas.microsoft.com/office/drawing/2014/main" id="{A94145A7-C57C-40AD-85FE-A8785E7C96F7}"/>
                </a:ext>
              </a:extLst>
            </p:cNvPr>
            <p:cNvSpPr/>
            <p:nvPr/>
          </p:nvSpPr>
          <p:spPr>
            <a:xfrm>
              <a:off x="11616069" y="13665254"/>
              <a:ext cx="459105" cy="135890"/>
            </a:xfrm>
            <a:custGeom>
              <a:avLst/>
              <a:gdLst/>
              <a:ahLst/>
              <a:cxnLst/>
              <a:rect l="l" t="t" r="r" b="b"/>
              <a:pathLst>
                <a:path w="459104" h="135890">
                  <a:moveTo>
                    <a:pt x="0" y="135889"/>
                  </a:moveTo>
                  <a:lnTo>
                    <a:pt x="459066" y="135889"/>
                  </a:lnTo>
                  <a:lnTo>
                    <a:pt x="459066" y="0"/>
                  </a:lnTo>
                  <a:lnTo>
                    <a:pt x="0" y="0"/>
                  </a:lnTo>
                  <a:lnTo>
                    <a:pt x="0" y="135889"/>
                  </a:lnTo>
                  <a:close/>
                </a:path>
              </a:pathLst>
            </a:custGeom>
            <a:solidFill>
              <a:srgbClr val="0079C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34">
              <a:extLst>
                <a:ext uri="{FF2B5EF4-FFF2-40B4-BE49-F238E27FC236}">
                  <a16:creationId xmlns:a16="http://schemas.microsoft.com/office/drawing/2014/main" id="{7A287979-6D61-4BE2-A10C-D3A69FA18AB0}"/>
                </a:ext>
              </a:extLst>
            </p:cNvPr>
            <p:cNvSpPr/>
            <p:nvPr/>
          </p:nvSpPr>
          <p:spPr>
            <a:xfrm>
              <a:off x="11616069" y="12979454"/>
              <a:ext cx="165735" cy="685800"/>
            </a:xfrm>
            <a:custGeom>
              <a:avLst/>
              <a:gdLst/>
              <a:ahLst/>
              <a:cxnLst/>
              <a:rect l="l" t="t" r="r" b="b"/>
              <a:pathLst>
                <a:path w="165734" h="685800">
                  <a:moveTo>
                    <a:pt x="0" y="685799"/>
                  </a:moveTo>
                  <a:lnTo>
                    <a:pt x="165682" y="685799"/>
                  </a:lnTo>
                  <a:lnTo>
                    <a:pt x="165682" y="0"/>
                  </a:lnTo>
                  <a:lnTo>
                    <a:pt x="0" y="0"/>
                  </a:lnTo>
                  <a:lnTo>
                    <a:pt x="0" y="685799"/>
                  </a:lnTo>
                  <a:close/>
                </a:path>
              </a:pathLst>
            </a:custGeom>
            <a:solidFill>
              <a:srgbClr val="0079C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35">
              <a:extLst>
                <a:ext uri="{FF2B5EF4-FFF2-40B4-BE49-F238E27FC236}">
                  <a16:creationId xmlns:a16="http://schemas.microsoft.com/office/drawing/2014/main" id="{AA1CE11D-0C2B-4978-B05A-97EDB20B8C52}"/>
                </a:ext>
              </a:extLst>
            </p:cNvPr>
            <p:cNvSpPr/>
            <p:nvPr/>
          </p:nvSpPr>
          <p:spPr>
            <a:xfrm>
              <a:off x="12156775" y="12979454"/>
              <a:ext cx="165735" cy="821690"/>
            </a:xfrm>
            <a:custGeom>
              <a:avLst/>
              <a:gdLst/>
              <a:ahLst/>
              <a:cxnLst/>
              <a:rect l="l" t="t" r="r" b="b"/>
              <a:pathLst>
                <a:path w="165734" h="821690">
                  <a:moveTo>
                    <a:pt x="0" y="0"/>
                  </a:moveTo>
                  <a:lnTo>
                    <a:pt x="165682" y="0"/>
                  </a:lnTo>
                  <a:lnTo>
                    <a:pt x="165682" y="821490"/>
                  </a:lnTo>
                  <a:lnTo>
                    <a:pt x="0" y="8214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9C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36">
              <a:extLst>
                <a:ext uri="{FF2B5EF4-FFF2-40B4-BE49-F238E27FC236}">
                  <a16:creationId xmlns:a16="http://schemas.microsoft.com/office/drawing/2014/main" id="{00DF9FEB-BB02-48FC-B97C-62E29FFA1803}"/>
                </a:ext>
              </a:extLst>
            </p:cNvPr>
            <p:cNvSpPr/>
            <p:nvPr/>
          </p:nvSpPr>
          <p:spPr>
            <a:xfrm>
              <a:off x="12445504" y="13444272"/>
              <a:ext cx="165735" cy="356870"/>
            </a:xfrm>
            <a:custGeom>
              <a:avLst/>
              <a:gdLst/>
              <a:ahLst/>
              <a:cxnLst/>
              <a:rect l="l" t="t" r="r" b="b"/>
              <a:pathLst>
                <a:path w="165734" h="356869">
                  <a:moveTo>
                    <a:pt x="0" y="356870"/>
                  </a:moveTo>
                  <a:lnTo>
                    <a:pt x="165682" y="356870"/>
                  </a:lnTo>
                  <a:lnTo>
                    <a:pt x="165682" y="0"/>
                  </a:lnTo>
                  <a:lnTo>
                    <a:pt x="0" y="0"/>
                  </a:lnTo>
                  <a:lnTo>
                    <a:pt x="0" y="356870"/>
                  </a:lnTo>
                  <a:close/>
                </a:path>
              </a:pathLst>
            </a:custGeom>
            <a:solidFill>
              <a:srgbClr val="0079C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37">
              <a:extLst>
                <a:ext uri="{FF2B5EF4-FFF2-40B4-BE49-F238E27FC236}">
                  <a16:creationId xmlns:a16="http://schemas.microsoft.com/office/drawing/2014/main" id="{EE5B4306-B730-46FD-8894-41AD06D305FC}"/>
                </a:ext>
              </a:extLst>
            </p:cNvPr>
            <p:cNvSpPr/>
            <p:nvPr/>
          </p:nvSpPr>
          <p:spPr>
            <a:xfrm>
              <a:off x="12445504" y="13308383"/>
              <a:ext cx="441959" cy="135890"/>
            </a:xfrm>
            <a:custGeom>
              <a:avLst/>
              <a:gdLst/>
              <a:ahLst/>
              <a:cxnLst/>
              <a:rect l="l" t="t" r="r" b="b"/>
              <a:pathLst>
                <a:path w="441959" h="135890">
                  <a:moveTo>
                    <a:pt x="0" y="135890"/>
                  </a:moveTo>
                  <a:lnTo>
                    <a:pt x="441809" y="135890"/>
                  </a:lnTo>
                  <a:lnTo>
                    <a:pt x="441809" y="0"/>
                  </a:lnTo>
                  <a:lnTo>
                    <a:pt x="0" y="0"/>
                  </a:lnTo>
                  <a:lnTo>
                    <a:pt x="0" y="135890"/>
                  </a:lnTo>
                  <a:close/>
                </a:path>
              </a:pathLst>
            </a:custGeom>
            <a:solidFill>
              <a:srgbClr val="0079C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38">
              <a:extLst>
                <a:ext uri="{FF2B5EF4-FFF2-40B4-BE49-F238E27FC236}">
                  <a16:creationId xmlns:a16="http://schemas.microsoft.com/office/drawing/2014/main" id="{28B9C7C3-C61E-45F9-B487-7F7CFE3539C3}"/>
                </a:ext>
              </a:extLst>
            </p:cNvPr>
            <p:cNvSpPr/>
            <p:nvPr/>
          </p:nvSpPr>
          <p:spPr>
            <a:xfrm>
              <a:off x="12445504" y="13115342"/>
              <a:ext cx="165735" cy="193040"/>
            </a:xfrm>
            <a:custGeom>
              <a:avLst/>
              <a:gdLst/>
              <a:ahLst/>
              <a:cxnLst/>
              <a:rect l="l" t="t" r="r" b="b"/>
              <a:pathLst>
                <a:path w="165734" h="193040">
                  <a:moveTo>
                    <a:pt x="0" y="193039"/>
                  </a:moveTo>
                  <a:lnTo>
                    <a:pt x="165682" y="193039"/>
                  </a:lnTo>
                  <a:lnTo>
                    <a:pt x="165682" y="0"/>
                  </a:lnTo>
                  <a:lnTo>
                    <a:pt x="0" y="0"/>
                  </a:lnTo>
                  <a:lnTo>
                    <a:pt x="0" y="193039"/>
                  </a:lnTo>
                  <a:close/>
                </a:path>
              </a:pathLst>
            </a:custGeom>
            <a:solidFill>
              <a:srgbClr val="0079C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39">
              <a:extLst>
                <a:ext uri="{FF2B5EF4-FFF2-40B4-BE49-F238E27FC236}">
                  <a16:creationId xmlns:a16="http://schemas.microsoft.com/office/drawing/2014/main" id="{1A8DA48B-5163-4DAA-B41E-108B102B7810}"/>
                </a:ext>
              </a:extLst>
            </p:cNvPr>
            <p:cNvSpPr/>
            <p:nvPr/>
          </p:nvSpPr>
          <p:spPr>
            <a:xfrm>
              <a:off x="12445504" y="12979452"/>
              <a:ext cx="459105" cy="135890"/>
            </a:xfrm>
            <a:custGeom>
              <a:avLst/>
              <a:gdLst/>
              <a:ahLst/>
              <a:cxnLst/>
              <a:rect l="l" t="t" r="r" b="b"/>
              <a:pathLst>
                <a:path w="459104" h="135890">
                  <a:moveTo>
                    <a:pt x="0" y="135889"/>
                  </a:moveTo>
                  <a:lnTo>
                    <a:pt x="459066" y="135889"/>
                  </a:lnTo>
                  <a:lnTo>
                    <a:pt x="459066" y="0"/>
                  </a:lnTo>
                  <a:lnTo>
                    <a:pt x="0" y="0"/>
                  </a:lnTo>
                  <a:lnTo>
                    <a:pt x="0" y="135889"/>
                  </a:lnTo>
                  <a:close/>
                </a:path>
              </a:pathLst>
            </a:custGeom>
            <a:solidFill>
              <a:srgbClr val="0079C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40">
              <a:extLst>
                <a:ext uri="{FF2B5EF4-FFF2-40B4-BE49-F238E27FC236}">
                  <a16:creationId xmlns:a16="http://schemas.microsoft.com/office/drawing/2014/main" id="{3750B698-00FD-4A16-A028-C98A12A8E17C}"/>
                </a:ext>
              </a:extLst>
            </p:cNvPr>
            <p:cNvSpPr/>
            <p:nvPr/>
          </p:nvSpPr>
          <p:spPr>
            <a:xfrm>
              <a:off x="13113925" y="13115224"/>
              <a:ext cx="165735" cy="685800"/>
            </a:xfrm>
            <a:custGeom>
              <a:avLst/>
              <a:gdLst/>
              <a:ahLst/>
              <a:cxnLst/>
              <a:rect l="l" t="t" r="r" b="b"/>
              <a:pathLst>
                <a:path w="165734" h="685800">
                  <a:moveTo>
                    <a:pt x="165652" y="0"/>
                  </a:moveTo>
                  <a:lnTo>
                    <a:pt x="0" y="0"/>
                  </a:lnTo>
                  <a:lnTo>
                    <a:pt x="0" y="685718"/>
                  </a:lnTo>
                  <a:lnTo>
                    <a:pt x="165652" y="685718"/>
                  </a:lnTo>
                  <a:lnTo>
                    <a:pt x="165652" y="0"/>
                  </a:lnTo>
                  <a:close/>
                </a:path>
              </a:pathLst>
            </a:custGeom>
            <a:solidFill>
              <a:srgbClr val="0079C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41">
              <a:extLst>
                <a:ext uri="{FF2B5EF4-FFF2-40B4-BE49-F238E27FC236}">
                  <a16:creationId xmlns:a16="http://schemas.microsoft.com/office/drawing/2014/main" id="{32D879FE-F82F-4FB4-A5BF-D6774980ADAD}"/>
                </a:ext>
              </a:extLst>
            </p:cNvPr>
            <p:cNvSpPr/>
            <p:nvPr/>
          </p:nvSpPr>
          <p:spPr>
            <a:xfrm>
              <a:off x="12934431" y="12979452"/>
              <a:ext cx="525145" cy="135890"/>
            </a:xfrm>
            <a:custGeom>
              <a:avLst/>
              <a:gdLst/>
              <a:ahLst/>
              <a:cxnLst/>
              <a:rect l="l" t="t" r="r" b="b"/>
              <a:pathLst>
                <a:path w="525144" h="135890">
                  <a:moveTo>
                    <a:pt x="524640" y="0"/>
                  </a:moveTo>
                  <a:lnTo>
                    <a:pt x="0" y="0"/>
                  </a:lnTo>
                  <a:lnTo>
                    <a:pt x="0" y="135771"/>
                  </a:lnTo>
                  <a:lnTo>
                    <a:pt x="524640" y="135771"/>
                  </a:lnTo>
                  <a:lnTo>
                    <a:pt x="524640" y="0"/>
                  </a:lnTo>
                  <a:close/>
                </a:path>
              </a:pathLst>
            </a:custGeom>
            <a:solidFill>
              <a:srgbClr val="0079C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42">
              <a:extLst>
                <a:ext uri="{FF2B5EF4-FFF2-40B4-BE49-F238E27FC236}">
                  <a16:creationId xmlns:a16="http://schemas.microsoft.com/office/drawing/2014/main" id="{A92AF4E6-9FDF-466D-955C-F4735AD733A2}"/>
                </a:ext>
              </a:extLst>
            </p:cNvPr>
            <p:cNvSpPr/>
            <p:nvPr/>
          </p:nvSpPr>
          <p:spPr>
            <a:xfrm>
              <a:off x="14295330" y="12963337"/>
              <a:ext cx="541020" cy="854075"/>
            </a:xfrm>
            <a:custGeom>
              <a:avLst/>
              <a:gdLst/>
              <a:ahLst/>
              <a:cxnLst/>
              <a:rect l="l" t="t" r="r" b="b"/>
              <a:pathLst>
                <a:path w="541019" h="854075">
                  <a:moveTo>
                    <a:pt x="279572" y="0"/>
                  </a:moveTo>
                  <a:lnTo>
                    <a:pt x="226002" y="3097"/>
                  </a:lnTo>
                  <a:lnTo>
                    <a:pt x="179642" y="12200"/>
                  </a:lnTo>
                  <a:lnTo>
                    <a:pt x="139983" y="27021"/>
                  </a:lnTo>
                  <a:lnTo>
                    <a:pt x="106516" y="47275"/>
                  </a:lnTo>
                  <a:lnTo>
                    <a:pt x="56124" y="102938"/>
                  </a:lnTo>
                  <a:lnTo>
                    <a:pt x="38180" y="137774"/>
                  </a:lnTo>
                  <a:lnTo>
                    <a:pt x="24394" y="176900"/>
                  </a:lnTo>
                  <a:lnTo>
                    <a:pt x="14255" y="220029"/>
                  </a:lnTo>
                  <a:lnTo>
                    <a:pt x="7255" y="266876"/>
                  </a:lnTo>
                  <a:lnTo>
                    <a:pt x="2885" y="317153"/>
                  </a:lnTo>
                  <a:lnTo>
                    <a:pt x="636" y="370576"/>
                  </a:lnTo>
                  <a:lnTo>
                    <a:pt x="0" y="426858"/>
                  </a:lnTo>
                  <a:lnTo>
                    <a:pt x="636" y="483138"/>
                  </a:lnTo>
                  <a:lnTo>
                    <a:pt x="2885" y="536560"/>
                  </a:lnTo>
                  <a:lnTo>
                    <a:pt x="7255" y="586837"/>
                  </a:lnTo>
                  <a:lnTo>
                    <a:pt x="14255" y="633683"/>
                  </a:lnTo>
                  <a:lnTo>
                    <a:pt x="24394" y="676812"/>
                  </a:lnTo>
                  <a:lnTo>
                    <a:pt x="38180" y="715938"/>
                  </a:lnTo>
                  <a:lnTo>
                    <a:pt x="56124" y="750776"/>
                  </a:lnTo>
                  <a:lnTo>
                    <a:pt x="106516" y="806440"/>
                  </a:lnTo>
                  <a:lnTo>
                    <a:pt x="139983" y="826694"/>
                  </a:lnTo>
                  <a:lnTo>
                    <a:pt x="179642" y="841516"/>
                  </a:lnTo>
                  <a:lnTo>
                    <a:pt x="226002" y="850619"/>
                  </a:lnTo>
                  <a:lnTo>
                    <a:pt x="279572" y="853717"/>
                  </a:lnTo>
                  <a:lnTo>
                    <a:pt x="334673" y="850020"/>
                  </a:lnTo>
                  <a:lnTo>
                    <a:pt x="381745" y="839315"/>
                  </a:lnTo>
                  <a:lnTo>
                    <a:pt x="421374" y="822184"/>
                  </a:lnTo>
                  <a:lnTo>
                    <a:pt x="454145" y="799208"/>
                  </a:lnTo>
                  <a:lnTo>
                    <a:pt x="480646" y="770967"/>
                  </a:lnTo>
                  <a:lnTo>
                    <a:pt x="501462" y="738043"/>
                  </a:lnTo>
                  <a:lnTo>
                    <a:pt x="504134" y="731747"/>
                  </a:lnTo>
                  <a:lnTo>
                    <a:pt x="271532" y="731747"/>
                  </a:lnTo>
                  <a:lnTo>
                    <a:pt x="243211" y="728538"/>
                  </a:lnTo>
                  <a:lnTo>
                    <a:pt x="199930" y="694528"/>
                  </a:lnTo>
                  <a:lnTo>
                    <a:pt x="184891" y="658171"/>
                  </a:lnTo>
                  <a:lnTo>
                    <a:pt x="174198" y="605210"/>
                  </a:lnTo>
                  <a:lnTo>
                    <a:pt x="167811" y="532867"/>
                  </a:lnTo>
                  <a:lnTo>
                    <a:pt x="165691" y="438363"/>
                  </a:lnTo>
                  <a:lnTo>
                    <a:pt x="166695" y="358039"/>
                  </a:lnTo>
                  <a:lnTo>
                    <a:pt x="170058" y="290875"/>
                  </a:lnTo>
                  <a:lnTo>
                    <a:pt x="176306" y="236116"/>
                  </a:lnTo>
                  <a:lnTo>
                    <a:pt x="185965" y="193006"/>
                  </a:lnTo>
                  <a:lnTo>
                    <a:pt x="217624" y="138714"/>
                  </a:lnTo>
                  <a:lnTo>
                    <a:pt x="269245" y="121959"/>
                  </a:lnTo>
                  <a:lnTo>
                    <a:pt x="504949" y="121959"/>
                  </a:lnTo>
                  <a:lnTo>
                    <a:pt x="495592" y="101827"/>
                  </a:lnTo>
                  <a:lnTo>
                    <a:pt x="471469" y="68814"/>
                  </a:lnTo>
                  <a:lnTo>
                    <a:pt x="439021" y="40758"/>
                  </a:lnTo>
                  <a:lnTo>
                    <a:pt x="397032" y="19026"/>
                  </a:lnTo>
                  <a:lnTo>
                    <a:pt x="344287" y="4984"/>
                  </a:lnTo>
                  <a:lnTo>
                    <a:pt x="279572" y="0"/>
                  </a:lnTo>
                  <a:close/>
                </a:path>
                <a:path w="541019" h="854075">
                  <a:moveTo>
                    <a:pt x="540778" y="523501"/>
                  </a:moveTo>
                  <a:lnTo>
                    <a:pt x="375096" y="523501"/>
                  </a:lnTo>
                  <a:lnTo>
                    <a:pt x="371579" y="600450"/>
                  </a:lnTo>
                  <a:lnTo>
                    <a:pt x="361540" y="656241"/>
                  </a:lnTo>
                  <a:lnTo>
                    <a:pt x="345747" y="694069"/>
                  </a:lnTo>
                  <a:lnTo>
                    <a:pt x="324970" y="717133"/>
                  </a:lnTo>
                  <a:lnTo>
                    <a:pt x="299975" y="728626"/>
                  </a:lnTo>
                  <a:lnTo>
                    <a:pt x="271532" y="731747"/>
                  </a:lnTo>
                  <a:lnTo>
                    <a:pt x="504134" y="731747"/>
                  </a:lnTo>
                  <a:lnTo>
                    <a:pt x="517178" y="701016"/>
                  </a:lnTo>
                  <a:lnTo>
                    <a:pt x="528382" y="660468"/>
                  </a:lnTo>
                  <a:lnTo>
                    <a:pt x="535660" y="616978"/>
                  </a:lnTo>
                  <a:lnTo>
                    <a:pt x="539596" y="571129"/>
                  </a:lnTo>
                  <a:lnTo>
                    <a:pt x="540778" y="523501"/>
                  </a:lnTo>
                  <a:close/>
                </a:path>
                <a:path w="541019" h="854075">
                  <a:moveTo>
                    <a:pt x="504949" y="121959"/>
                  </a:moveTo>
                  <a:lnTo>
                    <a:pt x="269245" y="121959"/>
                  </a:lnTo>
                  <a:lnTo>
                    <a:pt x="308247" y="128302"/>
                  </a:lnTo>
                  <a:lnTo>
                    <a:pt x="336374" y="147844"/>
                  </a:lnTo>
                  <a:lnTo>
                    <a:pt x="354893" y="181359"/>
                  </a:lnTo>
                  <a:lnTo>
                    <a:pt x="365074" y="229618"/>
                  </a:lnTo>
                  <a:lnTo>
                    <a:pt x="368185" y="293394"/>
                  </a:lnTo>
                  <a:lnTo>
                    <a:pt x="533848" y="293394"/>
                  </a:lnTo>
                  <a:lnTo>
                    <a:pt x="533128" y="256103"/>
                  </a:lnTo>
                  <a:lnTo>
                    <a:pt x="530157" y="216934"/>
                  </a:lnTo>
                  <a:lnTo>
                    <a:pt x="523721" y="177254"/>
                  </a:lnTo>
                  <a:lnTo>
                    <a:pt x="512604" y="138429"/>
                  </a:lnTo>
                  <a:lnTo>
                    <a:pt x="504949" y="121959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43">
              <a:extLst>
                <a:ext uri="{FF2B5EF4-FFF2-40B4-BE49-F238E27FC236}">
                  <a16:creationId xmlns:a16="http://schemas.microsoft.com/office/drawing/2014/main" id="{A734A7D9-C157-420D-8C58-2DB451B2BE99}"/>
                </a:ext>
              </a:extLst>
            </p:cNvPr>
            <p:cNvSpPr/>
            <p:nvPr/>
          </p:nvSpPr>
          <p:spPr>
            <a:xfrm>
              <a:off x="14900898" y="12963346"/>
              <a:ext cx="559435" cy="854075"/>
            </a:xfrm>
            <a:custGeom>
              <a:avLst/>
              <a:gdLst/>
              <a:ahLst/>
              <a:cxnLst/>
              <a:rect l="l" t="t" r="r" b="b"/>
              <a:pathLst>
                <a:path w="559434" h="854075">
                  <a:moveTo>
                    <a:pt x="279602" y="0"/>
                  </a:moveTo>
                  <a:lnTo>
                    <a:pt x="226025" y="3097"/>
                  </a:lnTo>
                  <a:lnTo>
                    <a:pt x="179660" y="12199"/>
                  </a:lnTo>
                  <a:lnTo>
                    <a:pt x="139996" y="27019"/>
                  </a:lnTo>
                  <a:lnTo>
                    <a:pt x="106526" y="47273"/>
                  </a:lnTo>
                  <a:lnTo>
                    <a:pt x="56128" y="102933"/>
                  </a:lnTo>
                  <a:lnTo>
                    <a:pt x="38183" y="137769"/>
                  </a:lnTo>
                  <a:lnTo>
                    <a:pt x="24395" y="176894"/>
                  </a:lnTo>
                  <a:lnTo>
                    <a:pt x="14256" y="220022"/>
                  </a:lnTo>
                  <a:lnTo>
                    <a:pt x="7255" y="266867"/>
                  </a:lnTo>
                  <a:lnTo>
                    <a:pt x="2885" y="317144"/>
                  </a:lnTo>
                  <a:lnTo>
                    <a:pt x="636" y="370566"/>
                  </a:lnTo>
                  <a:lnTo>
                    <a:pt x="0" y="426848"/>
                  </a:lnTo>
                  <a:lnTo>
                    <a:pt x="636" y="483129"/>
                  </a:lnTo>
                  <a:lnTo>
                    <a:pt x="2885" y="536550"/>
                  </a:lnTo>
                  <a:lnTo>
                    <a:pt x="7255" y="586827"/>
                  </a:lnTo>
                  <a:lnTo>
                    <a:pt x="14256" y="633673"/>
                  </a:lnTo>
                  <a:lnTo>
                    <a:pt x="24395" y="676802"/>
                  </a:lnTo>
                  <a:lnTo>
                    <a:pt x="38183" y="715928"/>
                  </a:lnTo>
                  <a:lnTo>
                    <a:pt x="56128" y="750766"/>
                  </a:lnTo>
                  <a:lnTo>
                    <a:pt x="106526" y="806430"/>
                  </a:lnTo>
                  <a:lnTo>
                    <a:pt x="139996" y="826685"/>
                  </a:lnTo>
                  <a:lnTo>
                    <a:pt x="179660" y="841506"/>
                  </a:lnTo>
                  <a:lnTo>
                    <a:pt x="226025" y="850609"/>
                  </a:lnTo>
                  <a:lnTo>
                    <a:pt x="279602" y="853707"/>
                  </a:lnTo>
                  <a:lnTo>
                    <a:pt x="333178" y="850609"/>
                  </a:lnTo>
                  <a:lnTo>
                    <a:pt x="379543" y="841506"/>
                  </a:lnTo>
                  <a:lnTo>
                    <a:pt x="419207" y="826685"/>
                  </a:lnTo>
                  <a:lnTo>
                    <a:pt x="452677" y="806430"/>
                  </a:lnTo>
                  <a:lnTo>
                    <a:pt x="503075" y="750766"/>
                  </a:lnTo>
                  <a:lnTo>
                    <a:pt x="512876" y="731738"/>
                  </a:lnTo>
                  <a:lnTo>
                    <a:pt x="279602" y="731738"/>
                  </a:lnTo>
                  <a:lnTo>
                    <a:pt x="246627" y="727697"/>
                  </a:lnTo>
                  <a:lnTo>
                    <a:pt x="200581" y="693514"/>
                  </a:lnTo>
                  <a:lnTo>
                    <a:pt x="175946" y="620392"/>
                  </a:lnTo>
                  <a:lnTo>
                    <a:pt x="169737" y="567679"/>
                  </a:lnTo>
                  <a:lnTo>
                    <a:pt x="166575" y="503371"/>
                  </a:lnTo>
                  <a:lnTo>
                    <a:pt x="165691" y="426848"/>
                  </a:lnTo>
                  <a:lnTo>
                    <a:pt x="166575" y="350655"/>
                  </a:lnTo>
                  <a:lnTo>
                    <a:pt x="169737" y="286500"/>
                  </a:lnTo>
                  <a:lnTo>
                    <a:pt x="175946" y="233806"/>
                  </a:lnTo>
                  <a:lnTo>
                    <a:pt x="185971" y="191992"/>
                  </a:lnTo>
                  <a:lnTo>
                    <a:pt x="220543" y="138687"/>
                  </a:lnTo>
                  <a:lnTo>
                    <a:pt x="279602" y="121949"/>
                  </a:lnTo>
                  <a:lnTo>
                    <a:pt x="512871" y="121949"/>
                  </a:lnTo>
                  <a:lnTo>
                    <a:pt x="503075" y="102933"/>
                  </a:lnTo>
                  <a:lnTo>
                    <a:pt x="452677" y="47273"/>
                  </a:lnTo>
                  <a:lnTo>
                    <a:pt x="419207" y="27019"/>
                  </a:lnTo>
                  <a:lnTo>
                    <a:pt x="379543" y="12199"/>
                  </a:lnTo>
                  <a:lnTo>
                    <a:pt x="333178" y="3097"/>
                  </a:lnTo>
                  <a:lnTo>
                    <a:pt x="279602" y="0"/>
                  </a:lnTo>
                  <a:close/>
                </a:path>
                <a:path w="559434" h="854075">
                  <a:moveTo>
                    <a:pt x="512871" y="121949"/>
                  </a:moveTo>
                  <a:lnTo>
                    <a:pt x="279602" y="121949"/>
                  </a:lnTo>
                  <a:lnTo>
                    <a:pt x="312576" y="126037"/>
                  </a:lnTo>
                  <a:lnTo>
                    <a:pt x="338660" y="138687"/>
                  </a:lnTo>
                  <a:lnTo>
                    <a:pt x="373232" y="191992"/>
                  </a:lnTo>
                  <a:lnTo>
                    <a:pt x="383257" y="233806"/>
                  </a:lnTo>
                  <a:lnTo>
                    <a:pt x="389467" y="286500"/>
                  </a:lnTo>
                  <a:lnTo>
                    <a:pt x="392629" y="350655"/>
                  </a:lnTo>
                  <a:lnTo>
                    <a:pt x="393512" y="426848"/>
                  </a:lnTo>
                  <a:lnTo>
                    <a:pt x="392629" y="503371"/>
                  </a:lnTo>
                  <a:lnTo>
                    <a:pt x="389467" y="567679"/>
                  </a:lnTo>
                  <a:lnTo>
                    <a:pt x="383257" y="620392"/>
                  </a:lnTo>
                  <a:lnTo>
                    <a:pt x="373232" y="662130"/>
                  </a:lnTo>
                  <a:lnTo>
                    <a:pt x="338660" y="715163"/>
                  </a:lnTo>
                  <a:lnTo>
                    <a:pt x="279602" y="731738"/>
                  </a:lnTo>
                  <a:lnTo>
                    <a:pt x="512876" y="731738"/>
                  </a:lnTo>
                  <a:lnTo>
                    <a:pt x="534808" y="676802"/>
                  </a:lnTo>
                  <a:lnTo>
                    <a:pt x="544948" y="633673"/>
                  </a:lnTo>
                  <a:lnTo>
                    <a:pt x="551948" y="586827"/>
                  </a:lnTo>
                  <a:lnTo>
                    <a:pt x="556318" y="536550"/>
                  </a:lnTo>
                  <a:lnTo>
                    <a:pt x="558567" y="483129"/>
                  </a:lnTo>
                  <a:lnTo>
                    <a:pt x="559204" y="426848"/>
                  </a:lnTo>
                  <a:lnTo>
                    <a:pt x="558567" y="370566"/>
                  </a:lnTo>
                  <a:lnTo>
                    <a:pt x="556318" y="317144"/>
                  </a:lnTo>
                  <a:lnTo>
                    <a:pt x="551948" y="266867"/>
                  </a:lnTo>
                  <a:lnTo>
                    <a:pt x="544948" y="220022"/>
                  </a:lnTo>
                  <a:lnTo>
                    <a:pt x="534808" y="176894"/>
                  </a:lnTo>
                  <a:lnTo>
                    <a:pt x="521020" y="137769"/>
                  </a:lnTo>
                  <a:lnTo>
                    <a:pt x="512871" y="121949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44">
              <a:extLst>
                <a:ext uri="{FF2B5EF4-FFF2-40B4-BE49-F238E27FC236}">
                  <a16:creationId xmlns:a16="http://schemas.microsoft.com/office/drawing/2014/main" id="{47342457-DEAE-487B-A197-443DA27A79C6}"/>
                </a:ext>
              </a:extLst>
            </p:cNvPr>
            <p:cNvSpPr/>
            <p:nvPr/>
          </p:nvSpPr>
          <p:spPr>
            <a:xfrm>
              <a:off x="15543979" y="12979452"/>
              <a:ext cx="545465" cy="821690"/>
            </a:xfrm>
            <a:custGeom>
              <a:avLst/>
              <a:gdLst/>
              <a:ahLst/>
              <a:cxnLst/>
              <a:rect l="l" t="t" r="r" b="b"/>
              <a:pathLst>
                <a:path w="545465" h="821690">
                  <a:moveTo>
                    <a:pt x="191008" y="0"/>
                  </a:moveTo>
                  <a:lnTo>
                    <a:pt x="0" y="0"/>
                  </a:lnTo>
                  <a:lnTo>
                    <a:pt x="0" y="821490"/>
                  </a:lnTo>
                  <a:lnTo>
                    <a:pt x="151870" y="821490"/>
                  </a:lnTo>
                  <a:lnTo>
                    <a:pt x="151870" y="246216"/>
                  </a:lnTo>
                  <a:lnTo>
                    <a:pt x="278606" y="246216"/>
                  </a:lnTo>
                  <a:lnTo>
                    <a:pt x="191008" y="0"/>
                  </a:lnTo>
                  <a:close/>
                </a:path>
                <a:path w="545465" h="821690">
                  <a:moveTo>
                    <a:pt x="278606" y="246216"/>
                  </a:moveTo>
                  <a:lnTo>
                    <a:pt x="154177" y="246216"/>
                  </a:lnTo>
                  <a:lnTo>
                    <a:pt x="356651" y="821490"/>
                  </a:lnTo>
                  <a:lnTo>
                    <a:pt x="545372" y="821490"/>
                  </a:lnTo>
                  <a:lnTo>
                    <a:pt x="545372" y="562620"/>
                  </a:lnTo>
                  <a:lnTo>
                    <a:pt x="391175" y="562620"/>
                  </a:lnTo>
                  <a:lnTo>
                    <a:pt x="278606" y="246216"/>
                  </a:lnTo>
                  <a:close/>
                </a:path>
                <a:path w="545465" h="821690">
                  <a:moveTo>
                    <a:pt x="545372" y="0"/>
                  </a:moveTo>
                  <a:lnTo>
                    <a:pt x="393482" y="0"/>
                  </a:lnTo>
                  <a:lnTo>
                    <a:pt x="393482" y="562620"/>
                  </a:lnTo>
                  <a:lnTo>
                    <a:pt x="545372" y="562620"/>
                  </a:lnTo>
                  <a:lnTo>
                    <a:pt x="545372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45">
              <a:extLst>
                <a:ext uri="{FF2B5EF4-FFF2-40B4-BE49-F238E27FC236}">
                  <a16:creationId xmlns:a16="http://schemas.microsoft.com/office/drawing/2014/main" id="{FBCA3AA4-5622-476B-8324-7544D3E6506A}"/>
                </a:ext>
              </a:extLst>
            </p:cNvPr>
            <p:cNvSpPr/>
            <p:nvPr/>
          </p:nvSpPr>
          <p:spPr>
            <a:xfrm>
              <a:off x="16190168" y="12979452"/>
              <a:ext cx="545465" cy="821690"/>
            </a:xfrm>
            <a:custGeom>
              <a:avLst/>
              <a:gdLst/>
              <a:ahLst/>
              <a:cxnLst/>
              <a:rect l="l" t="t" r="r" b="b"/>
              <a:pathLst>
                <a:path w="545465" h="821690">
                  <a:moveTo>
                    <a:pt x="190969" y="0"/>
                  </a:moveTo>
                  <a:lnTo>
                    <a:pt x="0" y="0"/>
                  </a:lnTo>
                  <a:lnTo>
                    <a:pt x="0" y="821490"/>
                  </a:lnTo>
                  <a:lnTo>
                    <a:pt x="151850" y="821490"/>
                  </a:lnTo>
                  <a:lnTo>
                    <a:pt x="151850" y="246216"/>
                  </a:lnTo>
                  <a:lnTo>
                    <a:pt x="278584" y="246216"/>
                  </a:lnTo>
                  <a:lnTo>
                    <a:pt x="190969" y="0"/>
                  </a:lnTo>
                  <a:close/>
                </a:path>
                <a:path w="545465" h="821690">
                  <a:moveTo>
                    <a:pt x="278584" y="246216"/>
                  </a:moveTo>
                  <a:lnTo>
                    <a:pt x="154157" y="246216"/>
                  </a:lnTo>
                  <a:lnTo>
                    <a:pt x="356680" y="821490"/>
                  </a:lnTo>
                  <a:lnTo>
                    <a:pt x="545362" y="821490"/>
                  </a:lnTo>
                  <a:lnTo>
                    <a:pt x="545362" y="562620"/>
                  </a:lnTo>
                  <a:lnTo>
                    <a:pt x="391175" y="562620"/>
                  </a:lnTo>
                  <a:lnTo>
                    <a:pt x="278584" y="246216"/>
                  </a:lnTo>
                  <a:close/>
                </a:path>
                <a:path w="545465" h="821690">
                  <a:moveTo>
                    <a:pt x="545362" y="0"/>
                  </a:moveTo>
                  <a:lnTo>
                    <a:pt x="393482" y="0"/>
                  </a:lnTo>
                  <a:lnTo>
                    <a:pt x="393482" y="562620"/>
                  </a:lnTo>
                  <a:lnTo>
                    <a:pt x="545362" y="562620"/>
                  </a:lnTo>
                  <a:lnTo>
                    <a:pt x="545362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46">
              <a:extLst>
                <a:ext uri="{FF2B5EF4-FFF2-40B4-BE49-F238E27FC236}">
                  <a16:creationId xmlns:a16="http://schemas.microsoft.com/office/drawing/2014/main" id="{390458B6-37E6-480F-86FB-1E8BC8500FB7}"/>
                </a:ext>
              </a:extLst>
            </p:cNvPr>
            <p:cNvSpPr/>
            <p:nvPr/>
          </p:nvSpPr>
          <p:spPr>
            <a:xfrm>
              <a:off x="16836342" y="13665252"/>
              <a:ext cx="471170" cy="135890"/>
            </a:xfrm>
            <a:custGeom>
              <a:avLst/>
              <a:gdLst/>
              <a:ahLst/>
              <a:cxnLst/>
              <a:rect l="l" t="t" r="r" b="b"/>
              <a:pathLst>
                <a:path w="471169" h="135890">
                  <a:moveTo>
                    <a:pt x="0" y="135889"/>
                  </a:moveTo>
                  <a:lnTo>
                    <a:pt x="470581" y="135889"/>
                  </a:lnTo>
                  <a:lnTo>
                    <a:pt x="470581" y="0"/>
                  </a:lnTo>
                  <a:lnTo>
                    <a:pt x="0" y="0"/>
                  </a:lnTo>
                  <a:lnTo>
                    <a:pt x="0" y="135889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47">
              <a:extLst>
                <a:ext uri="{FF2B5EF4-FFF2-40B4-BE49-F238E27FC236}">
                  <a16:creationId xmlns:a16="http://schemas.microsoft.com/office/drawing/2014/main" id="{A50A2915-4F09-4E37-B80E-CF1B660D2A99}"/>
                </a:ext>
              </a:extLst>
            </p:cNvPr>
            <p:cNvSpPr/>
            <p:nvPr/>
          </p:nvSpPr>
          <p:spPr>
            <a:xfrm>
              <a:off x="16836342" y="13444272"/>
              <a:ext cx="165735" cy="220979"/>
            </a:xfrm>
            <a:custGeom>
              <a:avLst/>
              <a:gdLst/>
              <a:ahLst/>
              <a:cxnLst/>
              <a:rect l="l" t="t" r="r" b="b"/>
              <a:pathLst>
                <a:path w="165734" h="220980">
                  <a:moveTo>
                    <a:pt x="0" y="220980"/>
                  </a:moveTo>
                  <a:lnTo>
                    <a:pt x="165662" y="220980"/>
                  </a:lnTo>
                  <a:lnTo>
                    <a:pt x="165662" y="0"/>
                  </a:lnTo>
                  <a:lnTo>
                    <a:pt x="0" y="0"/>
                  </a:lnTo>
                  <a:lnTo>
                    <a:pt x="0" y="22098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48">
              <a:extLst>
                <a:ext uri="{FF2B5EF4-FFF2-40B4-BE49-F238E27FC236}">
                  <a16:creationId xmlns:a16="http://schemas.microsoft.com/office/drawing/2014/main" id="{9967834E-C29E-4F5B-A50C-4E58BB0E6B29}"/>
                </a:ext>
              </a:extLst>
            </p:cNvPr>
            <p:cNvSpPr/>
            <p:nvPr/>
          </p:nvSpPr>
          <p:spPr>
            <a:xfrm>
              <a:off x="16836342" y="13308383"/>
              <a:ext cx="441959" cy="135890"/>
            </a:xfrm>
            <a:custGeom>
              <a:avLst/>
              <a:gdLst/>
              <a:ahLst/>
              <a:cxnLst/>
              <a:rect l="l" t="t" r="r" b="b"/>
              <a:pathLst>
                <a:path w="441959" h="135890">
                  <a:moveTo>
                    <a:pt x="0" y="135890"/>
                  </a:moveTo>
                  <a:lnTo>
                    <a:pt x="441799" y="135890"/>
                  </a:lnTo>
                  <a:lnTo>
                    <a:pt x="441799" y="0"/>
                  </a:lnTo>
                  <a:lnTo>
                    <a:pt x="0" y="0"/>
                  </a:lnTo>
                  <a:lnTo>
                    <a:pt x="0" y="13589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49">
              <a:extLst>
                <a:ext uri="{FF2B5EF4-FFF2-40B4-BE49-F238E27FC236}">
                  <a16:creationId xmlns:a16="http://schemas.microsoft.com/office/drawing/2014/main" id="{6A6F0379-7DA0-4F8D-8783-FE0476CE33A4}"/>
                </a:ext>
              </a:extLst>
            </p:cNvPr>
            <p:cNvSpPr/>
            <p:nvPr/>
          </p:nvSpPr>
          <p:spPr>
            <a:xfrm>
              <a:off x="16836342" y="13115342"/>
              <a:ext cx="165735" cy="193040"/>
            </a:xfrm>
            <a:custGeom>
              <a:avLst/>
              <a:gdLst/>
              <a:ahLst/>
              <a:cxnLst/>
              <a:rect l="l" t="t" r="r" b="b"/>
              <a:pathLst>
                <a:path w="165734" h="193040">
                  <a:moveTo>
                    <a:pt x="0" y="193039"/>
                  </a:moveTo>
                  <a:lnTo>
                    <a:pt x="165662" y="193039"/>
                  </a:lnTo>
                  <a:lnTo>
                    <a:pt x="165662" y="0"/>
                  </a:lnTo>
                  <a:lnTo>
                    <a:pt x="0" y="0"/>
                  </a:lnTo>
                  <a:lnTo>
                    <a:pt x="0" y="193039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50">
              <a:extLst>
                <a:ext uri="{FF2B5EF4-FFF2-40B4-BE49-F238E27FC236}">
                  <a16:creationId xmlns:a16="http://schemas.microsoft.com/office/drawing/2014/main" id="{CDDAB352-63C3-4812-89B4-9DE5384501B1}"/>
                </a:ext>
              </a:extLst>
            </p:cNvPr>
            <p:cNvSpPr/>
            <p:nvPr/>
          </p:nvSpPr>
          <p:spPr>
            <a:xfrm>
              <a:off x="16836342" y="12979452"/>
              <a:ext cx="459105" cy="135890"/>
            </a:xfrm>
            <a:custGeom>
              <a:avLst/>
              <a:gdLst/>
              <a:ahLst/>
              <a:cxnLst/>
              <a:rect l="l" t="t" r="r" b="b"/>
              <a:pathLst>
                <a:path w="459105" h="135890">
                  <a:moveTo>
                    <a:pt x="0" y="135889"/>
                  </a:moveTo>
                  <a:lnTo>
                    <a:pt x="459056" y="135889"/>
                  </a:lnTo>
                  <a:lnTo>
                    <a:pt x="459056" y="0"/>
                  </a:lnTo>
                  <a:lnTo>
                    <a:pt x="0" y="0"/>
                  </a:lnTo>
                  <a:lnTo>
                    <a:pt x="0" y="135889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51">
              <a:extLst>
                <a:ext uri="{FF2B5EF4-FFF2-40B4-BE49-F238E27FC236}">
                  <a16:creationId xmlns:a16="http://schemas.microsoft.com/office/drawing/2014/main" id="{97B6F541-672E-487B-A52E-AF54D5B3400B}"/>
                </a:ext>
              </a:extLst>
            </p:cNvPr>
            <p:cNvSpPr/>
            <p:nvPr/>
          </p:nvSpPr>
          <p:spPr>
            <a:xfrm>
              <a:off x="17352295" y="12963337"/>
              <a:ext cx="541020" cy="854075"/>
            </a:xfrm>
            <a:custGeom>
              <a:avLst/>
              <a:gdLst/>
              <a:ahLst/>
              <a:cxnLst/>
              <a:rect l="l" t="t" r="r" b="b"/>
              <a:pathLst>
                <a:path w="541019" h="854075">
                  <a:moveTo>
                    <a:pt x="279582" y="0"/>
                  </a:moveTo>
                  <a:lnTo>
                    <a:pt x="226010" y="3097"/>
                  </a:lnTo>
                  <a:lnTo>
                    <a:pt x="179648" y="12200"/>
                  </a:lnTo>
                  <a:lnTo>
                    <a:pt x="139987" y="27021"/>
                  </a:lnTo>
                  <a:lnTo>
                    <a:pt x="106519" y="47275"/>
                  </a:lnTo>
                  <a:lnTo>
                    <a:pt x="56125" y="102938"/>
                  </a:lnTo>
                  <a:lnTo>
                    <a:pt x="38181" y="137774"/>
                  </a:lnTo>
                  <a:lnTo>
                    <a:pt x="24394" y="176900"/>
                  </a:lnTo>
                  <a:lnTo>
                    <a:pt x="14255" y="220029"/>
                  </a:lnTo>
                  <a:lnTo>
                    <a:pt x="7255" y="266876"/>
                  </a:lnTo>
                  <a:lnTo>
                    <a:pt x="2885" y="317153"/>
                  </a:lnTo>
                  <a:lnTo>
                    <a:pt x="636" y="370576"/>
                  </a:lnTo>
                  <a:lnTo>
                    <a:pt x="0" y="426858"/>
                  </a:lnTo>
                  <a:lnTo>
                    <a:pt x="636" y="483138"/>
                  </a:lnTo>
                  <a:lnTo>
                    <a:pt x="2885" y="536560"/>
                  </a:lnTo>
                  <a:lnTo>
                    <a:pt x="7255" y="586837"/>
                  </a:lnTo>
                  <a:lnTo>
                    <a:pt x="14255" y="633683"/>
                  </a:lnTo>
                  <a:lnTo>
                    <a:pt x="24394" y="676812"/>
                  </a:lnTo>
                  <a:lnTo>
                    <a:pt x="38181" y="715938"/>
                  </a:lnTo>
                  <a:lnTo>
                    <a:pt x="56125" y="750776"/>
                  </a:lnTo>
                  <a:lnTo>
                    <a:pt x="106519" y="806440"/>
                  </a:lnTo>
                  <a:lnTo>
                    <a:pt x="139987" y="826694"/>
                  </a:lnTo>
                  <a:lnTo>
                    <a:pt x="179648" y="841516"/>
                  </a:lnTo>
                  <a:lnTo>
                    <a:pt x="226010" y="850619"/>
                  </a:lnTo>
                  <a:lnTo>
                    <a:pt x="279582" y="853717"/>
                  </a:lnTo>
                  <a:lnTo>
                    <a:pt x="334676" y="850020"/>
                  </a:lnTo>
                  <a:lnTo>
                    <a:pt x="381742" y="839315"/>
                  </a:lnTo>
                  <a:lnTo>
                    <a:pt x="421367" y="822184"/>
                  </a:lnTo>
                  <a:lnTo>
                    <a:pt x="454136" y="799208"/>
                  </a:lnTo>
                  <a:lnTo>
                    <a:pt x="480635" y="770967"/>
                  </a:lnTo>
                  <a:lnTo>
                    <a:pt x="501450" y="738043"/>
                  </a:lnTo>
                  <a:lnTo>
                    <a:pt x="504123" y="731747"/>
                  </a:lnTo>
                  <a:lnTo>
                    <a:pt x="271532" y="731747"/>
                  </a:lnTo>
                  <a:lnTo>
                    <a:pt x="243204" y="728538"/>
                  </a:lnTo>
                  <a:lnTo>
                    <a:pt x="199914" y="694528"/>
                  </a:lnTo>
                  <a:lnTo>
                    <a:pt x="184872" y="658171"/>
                  </a:lnTo>
                  <a:lnTo>
                    <a:pt x="174178" y="605210"/>
                  </a:lnTo>
                  <a:lnTo>
                    <a:pt x="167792" y="532867"/>
                  </a:lnTo>
                  <a:lnTo>
                    <a:pt x="165672" y="438363"/>
                  </a:lnTo>
                  <a:lnTo>
                    <a:pt x="166676" y="358039"/>
                  </a:lnTo>
                  <a:lnTo>
                    <a:pt x="170041" y="290875"/>
                  </a:lnTo>
                  <a:lnTo>
                    <a:pt x="176291" y="236116"/>
                  </a:lnTo>
                  <a:lnTo>
                    <a:pt x="185953" y="193006"/>
                  </a:lnTo>
                  <a:lnTo>
                    <a:pt x="217612" y="138714"/>
                  </a:lnTo>
                  <a:lnTo>
                    <a:pt x="269226" y="121959"/>
                  </a:lnTo>
                  <a:lnTo>
                    <a:pt x="504956" y="121959"/>
                  </a:lnTo>
                  <a:lnTo>
                    <a:pt x="495598" y="101827"/>
                  </a:lnTo>
                  <a:lnTo>
                    <a:pt x="471475" y="68814"/>
                  </a:lnTo>
                  <a:lnTo>
                    <a:pt x="439026" y="40758"/>
                  </a:lnTo>
                  <a:lnTo>
                    <a:pt x="397038" y="19026"/>
                  </a:lnTo>
                  <a:lnTo>
                    <a:pt x="344295" y="4984"/>
                  </a:lnTo>
                  <a:lnTo>
                    <a:pt x="279582" y="0"/>
                  </a:lnTo>
                  <a:close/>
                </a:path>
                <a:path w="541019" h="854075">
                  <a:moveTo>
                    <a:pt x="540768" y="523501"/>
                  </a:moveTo>
                  <a:lnTo>
                    <a:pt x="375096" y="523501"/>
                  </a:lnTo>
                  <a:lnTo>
                    <a:pt x="371579" y="600450"/>
                  </a:lnTo>
                  <a:lnTo>
                    <a:pt x="361540" y="656241"/>
                  </a:lnTo>
                  <a:lnTo>
                    <a:pt x="345747" y="694069"/>
                  </a:lnTo>
                  <a:lnTo>
                    <a:pt x="324970" y="717133"/>
                  </a:lnTo>
                  <a:lnTo>
                    <a:pt x="299975" y="728626"/>
                  </a:lnTo>
                  <a:lnTo>
                    <a:pt x="271532" y="731747"/>
                  </a:lnTo>
                  <a:lnTo>
                    <a:pt x="504123" y="731747"/>
                  </a:lnTo>
                  <a:lnTo>
                    <a:pt x="517167" y="701016"/>
                  </a:lnTo>
                  <a:lnTo>
                    <a:pt x="528371" y="660468"/>
                  </a:lnTo>
                  <a:lnTo>
                    <a:pt x="535649" y="616978"/>
                  </a:lnTo>
                  <a:lnTo>
                    <a:pt x="539586" y="571129"/>
                  </a:lnTo>
                  <a:lnTo>
                    <a:pt x="540768" y="523501"/>
                  </a:lnTo>
                  <a:close/>
                </a:path>
                <a:path w="541019" h="854075">
                  <a:moveTo>
                    <a:pt x="504956" y="121959"/>
                  </a:moveTo>
                  <a:lnTo>
                    <a:pt x="269226" y="121959"/>
                  </a:lnTo>
                  <a:lnTo>
                    <a:pt x="308235" y="128302"/>
                  </a:lnTo>
                  <a:lnTo>
                    <a:pt x="336362" y="147844"/>
                  </a:lnTo>
                  <a:lnTo>
                    <a:pt x="354879" y="181359"/>
                  </a:lnTo>
                  <a:lnTo>
                    <a:pt x="365056" y="229618"/>
                  </a:lnTo>
                  <a:lnTo>
                    <a:pt x="368166" y="293394"/>
                  </a:lnTo>
                  <a:lnTo>
                    <a:pt x="533858" y="293394"/>
                  </a:lnTo>
                  <a:lnTo>
                    <a:pt x="533137" y="256103"/>
                  </a:lnTo>
                  <a:lnTo>
                    <a:pt x="530166" y="216934"/>
                  </a:lnTo>
                  <a:lnTo>
                    <a:pt x="523729" y="177254"/>
                  </a:lnTo>
                  <a:lnTo>
                    <a:pt x="512611" y="138429"/>
                  </a:lnTo>
                  <a:lnTo>
                    <a:pt x="504956" y="121959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52">
              <a:extLst>
                <a:ext uri="{FF2B5EF4-FFF2-40B4-BE49-F238E27FC236}">
                  <a16:creationId xmlns:a16="http://schemas.microsoft.com/office/drawing/2014/main" id="{C7905A6E-5E91-4444-A328-DDD0331602AD}"/>
                </a:ext>
              </a:extLst>
            </p:cNvPr>
            <p:cNvSpPr/>
            <p:nvPr/>
          </p:nvSpPr>
          <p:spPr>
            <a:xfrm>
              <a:off x="18092022" y="13115224"/>
              <a:ext cx="165735" cy="685800"/>
            </a:xfrm>
            <a:custGeom>
              <a:avLst/>
              <a:gdLst/>
              <a:ahLst/>
              <a:cxnLst/>
              <a:rect l="l" t="t" r="r" b="b"/>
              <a:pathLst>
                <a:path w="165734" h="685800">
                  <a:moveTo>
                    <a:pt x="165711" y="0"/>
                  </a:moveTo>
                  <a:lnTo>
                    <a:pt x="0" y="0"/>
                  </a:lnTo>
                  <a:lnTo>
                    <a:pt x="0" y="685718"/>
                  </a:lnTo>
                  <a:lnTo>
                    <a:pt x="165711" y="685718"/>
                  </a:lnTo>
                  <a:lnTo>
                    <a:pt x="165711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53">
              <a:extLst>
                <a:ext uri="{FF2B5EF4-FFF2-40B4-BE49-F238E27FC236}">
                  <a16:creationId xmlns:a16="http://schemas.microsoft.com/office/drawing/2014/main" id="{3882C652-C5B4-4421-806E-8331FD1DBEC2}"/>
                </a:ext>
              </a:extLst>
            </p:cNvPr>
            <p:cNvSpPr/>
            <p:nvPr/>
          </p:nvSpPr>
          <p:spPr>
            <a:xfrm>
              <a:off x="17912567" y="12979452"/>
              <a:ext cx="525145" cy="135890"/>
            </a:xfrm>
            <a:custGeom>
              <a:avLst/>
              <a:gdLst/>
              <a:ahLst/>
              <a:cxnLst/>
              <a:rect l="l" t="t" r="r" b="b"/>
              <a:pathLst>
                <a:path w="525144" h="135890">
                  <a:moveTo>
                    <a:pt x="524630" y="0"/>
                  </a:moveTo>
                  <a:lnTo>
                    <a:pt x="0" y="0"/>
                  </a:lnTo>
                  <a:lnTo>
                    <a:pt x="0" y="135771"/>
                  </a:lnTo>
                  <a:lnTo>
                    <a:pt x="524630" y="135771"/>
                  </a:lnTo>
                  <a:lnTo>
                    <a:pt x="52463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54">
              <a:extLst>
                <a:ext uri="{FF2B5EF4-FFF2-40B4-BE49-F238E27FC236}">
                  <a16:creationId xmlns:a16="http://schemas.microsoft.com/office/drawing/2014/main" id="{A9759DB6-7182-47C4-BCC6-5CD3C152847C}"/>
                </a:ext>
              </a:extLst>
            </p:cNvPr>
            <p:cNvSpPr/>
            <p:nvPr/>
          </p:nvSpPr>
          <p:spPr>
            <a:xfrm>
              <a:off x="18470909" y="12979668"/>
              <a:ext cx="147688" cy="69814"/>
            </a:xfrm>
            <a:prstGeom prst="rect">
              <a:avLst/>
            </a:pr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55">
              <a:extLst>
                <a:ext uri="{FF2B5EF4-FFF2-40B4-BE49-F238E27FC236}">
                  <a16:creationId xmlns:a16="http://schemas.microsoft.com/office/drawing/2014/main" id="{C0822973-0249-4E07-9FB1-79AE8CE0BACF}"/>
                </a:ext>
              </a:extLst>
            </p:cNvPr>
            <p:cNvSpPr/>
            <p:nvPr/>
          </p:nvSpPr>
          <p:spPr>
            <a:xfrm>
              <a:off x="13589885" y="13107641"/>
              <a:ext cx="550545" cy="567055"/>
            </a:xfrm>
            <a:custGeom>
              <a:avLst/>
              <a:gdLst/>
              <a:ahLst/>
              <a:cxnLst/>
              <a:rect l="l" t="t" r="r" b="b"/>
              <a:pathLst>
                <a:path w="550544" h="567055">
                  <a:moveTo>
                    <a:pt x="444002" y="218828"/>
                  </a:moveTo>
                  <a:lnTo>
                    <a:pt x="270531" y="218828"/>
                  </a:lnTo>
                  <a:lnTo>
                    <a:pt x="550408" y="567057"/>
                  </a:lnTo>
                  <a:lnTo>
                    <a:pt x="550300" y="352921"/>
                  </a:lnTo>
                  <a:lnTo>
                    <a:pt x="444002" y="218828"/>
                  </a:lnTo>
                  <a:close/>
                </a:path>
                <a:path w="550544" h="567055">
                  <a:moveTo>
                    <a:pt x="270531" y="0"/>
                  </a:moveTo>
                  <a:lnTo>
                    <a:pt x="0" y="341308"/>
                  </a:lnTo>
                  <a:lnTo>
                    <a:pt x="235" y="562698"/>
                  </a:lnTo>
                  <a:lnTo>
                    <a:pt x="270531" y="218828"/>
                  </a:lnTo>
                  <a:lnTo>
                    <a:pt x="444002" y="218828"/>
                  </a:lnTo>
                  <a:lnTo>
                    <a:pt x="270531" y="0"/>
                  </a:lnTo>
                  <a:close/>
                </a:path>
              </a:pathLst>
            </a:custGeom>
            <a:solidFill>
              <a:srgbClr val="8A8C8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56">
              <a:extLst>
                <a:ext uri="{FF2B5EF4-FFF2-40B4-BE49-F238E27FC236}">
                  <a16:creationId xmlns:a16="http://schemas.microsoft.com/office/drawing/2014/main" id="{0DDF536F-D992-4C40-A069-055D9BA83DB0}"/>
                </a:ext>
              </a:extLst>
            </p:cNvPr>
            <p:cNvSpPr/>
            <p:nvPr/>
          </p:nvSpPr>
          <p:spPr>
            <a:xfrm>
              <a:off x="13703687" y="12991338"/>
              <a:ext cx="322580" cy="86360"/>
            </a:xfrm>
            <a:custGeom>
              <a:avLst/>
              <a:gdLst/>
              <a:ahLst/>
              <a:cxnLst/>
              <a:rect l="l" t="t" r="r" b="b"/>
              <a:pathLst>
                <a:path w="322580" h="86359">
                  <a:moveTo>
                    <a:pt x="282226" y="32688"/>
                  </a:moveTo>
                  <a:lnTo>
                    <a:pt x="160911" y="32688"/>
                  </a:lnTo>
                  <a:lnTo>
                    <a:pt x="196722" y="35673"/>
                  </a:lnTo>
                  <a:lnTo>
                    <a:pt x="230973" y="44518"/>
                  </a:lnTo>
                  <a:lnTo>
                    <a:pt x="292952" y="79150"/>
                  </a:lnTo>
                  <a:lnTo>
                    <a:pt x="300844" y="85776"/>
                  </a:lnTo>
                  <a:lnTo>
                    <a:pt x="322549" y="61343"/>
                  </a:lnTo>
                  <a:lnTo>
                    <a:pt x="319564" y="58692"/>
                  </a:lnTo>
                  <a:lnTo>
                    <a:pt x="316511" y="56120"/>
                  </a:lnTo>
                  <a:lnTo>
                    <a:pt x="313419" y="53637"/>
                  </a:lnTo>
                  <a:lnTo>
                    <a:pt x="282226" y="32688"/>
                  </a:lnTo>
                  <a:close/>
                </a:path>
                <a:path w="322580" h="86359">
                  <a:moveTo>
                    <a:pt x="160911" y="0"/>
                  </a:moveTo>
                  <a:lnTo>
                    <a:pt x="119828" y="3516"/>
                  </a:lnTo>
                  <a:lnTo>
                    <a:pt x="80175" y="13806"/>
                  </a:lnTo>
                  <a:lnTo>
                    <a:pt x="42776" y="30571"/>
                  </a:lnTo>
                  <a:lnTo>
                    <a:pt x="8599" y="53470"/>
                  </a:lnTo>
                  <a:lnTo>
                    <a:pt x="0" y="60704"/>
                  </a:lnTo>
                  <a:lnTo>
                    <a:pt x="21615" y="85226"/>
                  </a:lnTo>
                  <a:lnTo>
                    <a:pt x="24040" y="83086"/>
                  </a:lnTo>
                  <a:lnTo>
                    <a:pt x="26514" y="81005"/>
                  </a:lnTo>
                  <a:lnTo>
                    <a:pt x="58749" y="58965"/>
                  </a:lnTo>
                  <a:lnTo>
                    <a:pt x="125154" y="35662"/>
                  </a:lnTo>
                  <a:lnTo>
                    <a:pt x="160911" y="32688"/>
                  </a:lnTo>
                  <a:lnTo>
                    <a:pt x="282226" y="32688"/>
                  </a:lnTo>
                  <a:lnTo>
                    <a:pt x="279209" y="30662"/>
                  </a:lnTo>
                  <a:lnTo>
                    <a:pt x="241767" y="13846"/>
                  </a:lnTo>
                  <a:lnTo>
                    <a:pt x="202023" y="3516"/>
                  </a:lnTo>
                  <a:lnTo>
                    <a:pt x="160911" y="0"/>
                  </a:lnTo>
                  <a:close/>
                </a:path>
              </a:pathLst>
            </a:custGeom>
            <a:solidFill>
              <a:srgbClr val="8A8C8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57">
              <a:extLst>
                <a:ext uri="{FF2B5EF4-FFF2-40B4-BE49-F238E27FC236}">
                  <a16:creationId xmlns:a16="http://schemas.microsoft.com/office/drawing/2014/main" id="{6A9EE899-17CD-463B-8A30-E67F4DDA6E67}"/>
                </a:ext>
              </a:extLst>
            </p:cNvPr>
            <p:cNvSpPr/>
            <p:nvPr/>
          </p:nvSpPr>
          <p:spPr>
            <a:xfrm>
              <a:off x="13624766" y="12834831"/>
              <a:ext cx="480695" cy="107314"/>
            </a:xfrm>
            <a:custGeom>
              <a:avLst/>
              <a:gdLst/>
              <a:ahLst/>
              <a:cxnLst/>
              <a:rect l="l" t="t" r="r" b="b"/>
              <a:pathLst>
                <a:path w="480694" h="107315">
                  <a:moveTo>
                    <a:pt x="432489" y="43585"/>
                  </a:moveTo>
                  <a:lnTo>
                    <a:pt x="239835" y="43585"/>
                  </a:lnTo>
                  <a:lnTo>
                    <a:pt x="285917" y="46189"/>
                  </a:lnTo>
                  <a:lnTo>
                    <a:pt x="331092" y="53925"/>
                  </a:lnTo>
                  <a:lnTo>
                    <a:pt x="374970" y="66679"/>
                  </a:lnTo>
                  <a:lnTo>
                    <a:pt x="417162" y="84337"/>
                  </a:lnTo>
                  <a:lnTo>
                    <a:pt x="457279" y="106783"/>
                  </a:lnTo>
                  <a:lnTo>
                    <a:pt x="480682" y="70030"/>
                  </a:lnTo>
                  <a:lnTo>
                    <a:pt x="436240" y="45155"/>
                  </a:lnTo>
                  <a:lnTo>
                    <a:pt x="432489" y="43585"/>
                  </a:lnTo>
                  <a:close/>
                </a:path>
                <a:path w="480694" h="107315">
                  <a:moveTo>
                    <a:pt x="239835" y="0"/>
                  </a:moveTo>
                  <a:lnTo>
                    <a:pt x="189060" y="2857"/>
                  </a:lnTo>
                  <a:lnTo>
                    <a:pt x="139257" y="11346"/>
                  </a:lnTo>
                  <a:lnTo>
                    <a:pt x="90859" y="25344"/>
                  </a:lnTo>
                  <a:lnTo>
                    <a:pt x="44296" y="44727"/>
                  </a:lnTo>
                  <a:lnTo>
                    <a:pt x="0" y="69372"/>
                  </a:lnTo>
                  <a:lnTo>
                    <a:pt x="23323" y="106184"/>
                  </a:lnTo>
                  <a:lnTo>
                    <a:pt x="63299" y="83947"/>
                  </a:lnTo>
                  <a:lnTo>
                    <a:pt x="105327" y="66457"/>
                  </a:lnTo>
                  <a:lnTo>
                    <a:pt x="149018" y="53825"/>
                  </a:lnTo>
                  <a:lnTo>
                    <a:pt x="193984" y="46163"/>
                  </a:lnTo>
                  <a:lnTo>
                    <a:pt x="239835" y="43585"/>
                  </a:lnTo>
                  <a:lnTo>
                    <a:pt x="432489" y="43585"/>
                  </a:lnTo>
                  <a:lnTo>
                    <a:pt x="389500" y="25588"/>
                  </a:lnTo>
                  <a:lnTo>
                    <a:pt x="340897" y="11456"/>
                  </a:lnTo>
                  <a:lnTo>
                    <a:pt x="290865" y="2885"/>
                  </a:lnTo>
                  <a:lnTo>
                    <a:pt x="239835" y="0"/>
                  </a:lnTo>
                  <a:close/>
                </a:path>
              </a:pathLst>
            </a:custGeom>
            <a:solidFill>
              <a:srgbClr val="8A8C8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58">
              <a:extLst>
                <a:ext uri="{FF2B5EF4-FFF2-40B4-BE49-F238E27FC236}">
                  <a16:creationId xmlns:a16="http://schemas.microsoft.com/office/drawing/2014/main" id="{A1767BC7-7225-4214-AD84-87EC5AA544C9}"/>
                </a:ext>
              </a:extLst>
            </p:cNvPr>
            <p:cNvSpPr/>
            <p:nvPr/>
          </p:nvSpPr>
          <p:spPr>
            <a:xfrm>
              <a:off x="13526560" y="12657925"/>
              <a:ext cx="677545" cy="154305"/>
            </a:xfrm>
            <a:custGeom>
              <a:avLst/>
              <a:gdLst/>
              <a:ahLst/>
              <a:cxnLst/>
              <a:rect l="l" t="t" r="r" b="b"/>
              <a:pathLst>
                <a:path w="677544" h="154304">
                  <a:moveTo>
                    <a:pt x="617067" y="65377"/>
                  </a:moveTo>
                  <a:lnTo>
                    <a:pt x="337843" y="65377"/>
                  </a:lnTo>
                  <a:lnTo>
                    <a:pt x="391628" y="67909"/>
                  </a:lnTo>
                  <a:lnTo>
                    <a:pt x="444599" y="75445"/>
                  </a:lnTo>
                  <a:lnTo>
                    <a:pt x="496438" y="87892"/>
                  </a:lnTo>
                  <a:lnTo>
                    <a:pt x="546833" y="105161"/>
                  </a:lnTo>
                  <a:lnTo>
                    <a:pt x="595467" y="127158"/>
                  </a:lnTo>
                  <a:lnTo>
                    <a:pt x="642025" y="153794"/>
                  </a:lnTo>
                  <a:lnTo>
                    <a:pt x="677129" y="98655"/>
                  </a:lnTo>
                  <a:lnTo>
                    <a:pt x="632767" y="72867"/>
                  </a:lnTo>
                  <a:lnTo>
                    <a:pt x="617067" y="65377"/>
                  </a:lnTo>
                  <a:close/>
                </a:path>
                <a:path w="677544" h="154304">
                  <a:moveTo>
                    <a:pt x="337843" y="0"/>
                  </a:moveTo>
                  <a:lnTo>
                    <a:pt x="286626" y="2058"/>
                  </a:lnTo>
                  <a:lnTo>
                    <a:pt x="236027" y="8191"/>
                  </a:lnTo>
                  <a:lnTo>
                    <a:pt x="186266" y="18334"/>
                  </a:lnTo>
                  <a:lnTo>
                    <a:pt x="137563" y="32423"/>
                  </a:lnTo>
                  <a:lnTo>
                    <a:pt x="90137" y="50393"/>
                  </a:lnTo>
                  <a:lnTo>
                    <a:pt x="44210" y="72181"/>
                  </a:lnTo>
                  <a:lnTo>
                    <a:pt x="0" y="97722"/>
                  </a:lnTo>
                  <a:lnTo>
                    <a:pt x="34985" y="152950"/>
                  </a:lnTo>
                  <a:lnTo>
                    <a:pt x="81363" y="126571"/>
                  </a:lnTo>
                  <a:lnTo>
                    <a:pt x="129799" y="104784"/>
                  </a:lnTo>
                  <a:lnTo>
                    <a:pt x="179979" y="87680"/>
                  </a:lnTo>
                  <a:lnTo>
                    <a:pt x="231589" y="75350"/>
                  </a:lnTo>
                  <a:lnTo>
                    <a:pt x="284315" y="67886"/>
                  </a:lnTo>
                  <a:lnTo>
                    <a:pt x="337843" y="65377"/>
                  </a:lnTo>
                  <a:lnTo>
                    <a:pt x="617067" y="65377"/>
                  </a:lnTo>
                  <a:lnTo>
                    <a:pt x="586663" y="50870"/>
                  </a:lnTo>
                  <a:lnTo>
                    <a:pt x="539041" y="32729"/>
                  </a:lnTo>
                  <a:lnTo>
                    <a:pt x="490124" y="18506"/>
                  </a:lnTo>
                  <a:lnTo>
                    <a:pt x="440136" y="8268"/>
                  </a:lnTo>
                  <a:lnTo>
                    <a:pt x="389301" y="2077"/>
                  </a:lnTo>
                  <a:lnTo>
                    <a:pt x="337843" y="0"/>
                  </a:lnTo>
                  <a:close/>
                </a:path>
              </a:pathLst>
            </a:custGeom>
            <a:solidFill>
              <a:srgbClr val="8A8C8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2334678-8BCF-45C0-9AF7-9816A01E2AB7}"/>
              </a:ext>
            </a:extLst>
          </p:cNvPr>
          <p:cNvGrpSpPr/>
          <p:nvPr/>
        </p:nvGrpSpPr>
        <p:grpSpPr>
          <a:xfrm>
            <a:off x="491315" y="2593038"/>
            <a:ext cx="3137150" cy="971618"/>
            <a:chOff x="2750143" y="2492221"/>
            <a:chExt cx="2871350" cy="889296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4CCB3E6E-092B-441C-885E-E5186EBBF8BE}"/>
                </a:ext>
              </a:extLst>
            </p:cNvPr>
            <p:cNvSpPr txBox="1"/>
            <p:nvPr/>
          </p:nvSpPr>
          <p:spPr>
            <a:xfrm>
              <a:off x="2750144" y="2492221"/>
              <a:ext cx="547101" cy="889296"/>
            </a:xfrm>
            <a:prstGeom prst="roundRect">
              <a:avLst/>
            </a:prstGeom>
            <a:solidFill>
              <a:schemeClr val="bg2"/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rtl="0"/>
              <a:r>
                <a:rPr lang="x-es-XL" sz="4800" b="0" i="0" u="none" baseline="0">
                  <a:solidFill>
                    <a:schemeClr val="bg1"/>
                  </a:solidFill>
                </a:rPr>
                <a:t>5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B9E501E7-7FB8-45D1-905C-861CB24A2EC1}"/>
                </a:ext>
              </a:extLst>
            </p:cNvPr>
            <p:cNvSpPr txBox="1"/>
            <p:nvPr/>
          </p:nvSpPr>
          <p:spPr>
            <a:xfrm rot="10800000">
              <a:off x="2750143" y="2929063"/>
              <a:ext cx="547101" cy="452454"/>
            </a:xfrm>
            <a:prstGeom prst="round2SameRect">
              <a:avLst/>
            </a:prstGeom>
            <a:solidFill>
              <a:schemeClr val="tx2">
                <a:alpha val="34000"/>
              </a:schemeClr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rtl="0"/>
              <a:endParaRPr lang="x-es-XL" sz="4800">
                <a:solidFill>
                  <a:schemeClr val="bg1"/>
                </a:solidFill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D3E3E459-4B2C-4EFB-A04A-06F4486862B5}"/>
                </a:ext>
              </a:extLst>
            </p:cNvPr>
            <p:cNvSpPr txBox="1"/>
            <p:nvPr/>
          </p:nvSpPr>
          <p:spPr>
            <a:xfrm>
              <a:off x="3331206" y="2492221"/>
              <a:ext cx="547101" cy="889296"/>
            </a:xfrm>
            <a:prstGeom prst="roundRect">
              <a:avLst/>
            </a:prstGeom>
            <a:solidFill>
              <a:schemeClr val="bg2"/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rtl="0"/>
              <a:r>
                <a:rPr lang="x-es-XL" sz="4800" b="0" i="0" u="none" baseline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FA815DC9-C6D8-416A-B96F-91A98DEFCA57}"/>
                </a:ext>
              </a:extLst>
            </p:cNvPr>
            <p:cNvSpPr txBox="1"/>
            <p:nvPr/>
          </p:nvSpPr>
          <p:spPr>
            <a:xfrm rot="10800000">
              <a:off x="3328242" y="2929063"/>
              <a:ext cx="547101" cy="452454"/>
            </a:xfrm>
            <a:prstGeom prst="round2SameRect">
              <a:avLst/>
            </a:prstGeom>
            <a:solidFill>
              <a:schemeClr val="tx2">
                <a:alpha val="34000"/>
              </a:schemeClr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rtl="0"/>
              <a:endParaRPr lang="x-es-XL" sz="4800">
                <a:solidFill>
                  <a:schemeClr val="bg1"/>
                </a:solidFill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42BA9E9C-CC0B-4409-82F0-906E4BA122DE}"/>
                </a:ext>
              </a:extLst>
            </p:cNvPr>
            <p:cNvSpPr txBox="1"/>
            <p:nvPr/>
          </p:nvSpPr>
          <p:spPr>
            <a:xfrm>
              <a:off x="3912268" y="2492221"/>
              <a:ext cx="547101" cy="889296"/>
            </a:xfrm>
            <a:prstGeom prst="roundRect">
              <a:avLst/>
            </a:prstGeom>
            <a:solidFill>
              <a:schemeClr val="bg2"/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rtl="0"/>
              <a:r>
                <a:rPr lang="x-es-XL" sz="4800" b="0" i="0" u="none" baseline="0">
                  <a:solidFill>
                    <a:schemeClr val="bg1"/>
                  </a:solidFill>
                </a:rPr>
                <a:t>0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42D3C0EF-2012-481A-8AE9-00A227A15E5C}"/>
                </a:ext>
              </a:extLst>
            </p:cNvPr>
            <p:cNvSpPr txBox="1"/>
            <p:nvPr/>
          </p:nvSpPr>
          <p:spPr>
            <a:xfrm rot="10800000">
              <a:off x="3912265" y="2929063"/>
              <a:ext cx="547101" cy="452454"/>
            </a:xfrm>
            <a:prstGeom prst="round2SameRect">
              <a:avLst/>
            </a:prstGeom>
            <a:solidFill>
              <a:schemeClr val="tx2">
                <a:alpha val="34000"/>
              </a:schemeClr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rtl="0"/>
              <a:endParaRPr lang="x-es-XL" sz="4800">
                <a:solidFill>
                  <a:schemeClr val="bg1"/>
                </a:solidFill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C0FCC572-0D33-4C6C-BB73-D2949DAE4465}"/>
                </a:ext>
              </a:extLst>
            </p:cNvPr>
            <p:cNvSpPr txBox="1"/>
            <p:nvPr/>
          </p:nvSpPr>
          <p:spPr>
            <a:xfrm>
              <a:off x="4493330" y="2492221"/>
              <a:ext cx="547101" cy="889296"/>
            </a:xfrm>
            <a:prstGeom prst="roundRect">
              <a:avLst/>
            </a:prstGeom>
            <a:solidFill>
              <a:schemeClr val="bg2"/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rtl="0"/>
              <a:r>
                <a:rPr lang="x-es-XL" sz="4800" b="0" i="0" u="none" baseline="0">
                  <a:solidFill>
                    <a:schemeClr val="bg1"/>
                  </a:solidFill>
                </a:rPr>
                <a:t>0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A201C6D5-62DA-46A6-ACF2-87C798B4AA21}"/>
                </a:ext>
              </a:extLst>
            </p:cNvPr>
            <p:cNvSpPr txBox="1"/>
            <p:nvPr/>
          </p:nvSpPr>
          <p:spPr>
            <a:xfrm rot="10800000">
              <a:off x="4493328" y="2929063"/>
              <a:ext cx="547101" cy="452454"/>
            </a:xfrm>
            <a:prstGeom prst="round2SameRect">
              <a:avLst/>
            </a:prstGeom>
            <a:solidFill>
              <a:schemeClr val="tx2">
                <a:alpha val="34000"/>
              </a:schemeClr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rtl="0"/>
              <a:endParaRPr lang="x-es-XL" sz="4800">
                <a:solidFill>
                  <a:schemeClr val="bg1"/>
                </a:solidFill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94449197-870D-4D46-9CE9-52B5DD330108}"/>
                </a:ext>
              </a:extLst>
            </p:cNvPr>
            <p:cNvSpPr txBox="1"/>
            <p:nvPr/>
          </p:nvSpPr>
          <p:spPr>
            <a:xfrm>
              <a:off x="5074392" y="2492221"/>
              <a:ext cx="547101" cy="889296"/>
            </a:xfrm>
            <a:prstGeom prst="roundRect">
              <a:avLst/>
            </a:prstGeom>
            <a:solidFill>
              <a:schemeClr val="bg2"/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rtl="0"/>
              <a:r>
                <a:rPr lang="x-es-XL" sz="4800" b="0" i="0" u="none" baseline="0">
                  <a:solidFill>
                    <a:schemeClr val="bg1"/>
                  </a:solidFill>
                </a:rPr>
                <a:t>0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249F92A2-15AC-46B3-9DC1-D6A169A9E8F1}"/>
                </a:ext>
              </a:extLst>
            </p:cNvPr>
            <p:cNvSpPr txBox="1"/>
            <p:nvPr/>
          </p:nvSpPr>
          <p:spPr>
            <a:xfrm rot="10800000">
              <a:off x="5074391" y="2929063"/>
              <a:ext cx="547101" cy="452454"/>
            </a:xfrm>
            <a:prstGeom prst="round2SameRect">
              <a:avLst/>
            </a:prstGeom>
            <a:solidFill>
              <a:schemeClr val="tx2">
                <a:alpha val="34000"/>
              </a:schemeClr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rtl="0"/>
              <a:endParaRPr lang="x-es-XL" sz="4800">
                <a:solidFill>
                  <a:schemeClr val="bg1"/>
                </a:solidFill>
              </a:endParaRPr>
            </a:p>
          </p:txBody>
        </p:sp>
      </p:grp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E4C02D22-D21F-47C3-9797-F91CCE081DC6}"/>
              </a:ext>
            </a:extLst>
          </p:cNvPr>
          <p:cNvSpPr txBox="1">
            <a:spLocks/>
          </p:cNvSpPr>
          <p:nvPr/>
        </p:nvSpPr>
        <p:spPr>
          <a:xfrm>
            <a:off x="454528" y="3761815"/>
            <a:ext cx="3622468" cy="4943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x-es-XL" sz="2200" b="1" i="0" u="none" spc="100" baseline="0"/>
              <a:t>ACTIVOS CONECTADOS</a:t>
            </a:r>
          </a:p>
        </p:txBody>
      </p:sp>
      <p:pic>
        <p:nvPicPr>
          <p:cNvPr id="54" name="Graphic 53">
            <a:extLst>
              <a:ext uri="{FF2B5EF4-FFF2-40B4-BE49-F238E27FC236}">
                <a16:creationId xmlns:a16="http://schemas.microsoft.com/office/drawing/2014/main" id="{0BA02D58-93A2-477B-A175-33EC3B08E63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49588" y="2074262"/>
            <a:ext cx="914400" cy="914400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11E9771A-F053-480A-8578-66C62477E08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57248" y="2074262"/>
            <a:ext cx="914400" cy="914400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0415E2C0-98D4-43E2-B4B5-FB5AC646234E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465934" y="2068600"/>
            <a:ext cx="912807" cy="925724"/>
          </a:xfrm>
          <a:prstGeom prst="rect">
            <a:avLst/>
          </a:prstGeom>
        </p:spPr>
      </p:pic>
      <p:sp>
        <p:nvSpPr>
          <p:cNvPr id="57" name="Rounded Rectangle 52">
            <a:extLst>
              <a:ext uri="{FF2B5EF4-FFF2-40B4-BE49-F238E27FC236}">
                <a16:creationId xmlns:a16="http://schemas.microsoft.com/office/drawing/2014/main" id="{E5235472-FF2F-49C4-B1C4-2017942C1337}"/>
              </a:ext>
            </a:extLst>
          </p:cNvPr>
          <p:cNvSpPr/>
          <p:nvPr/>
        </p:nvSpPr>
        <p:spPr>
          <a:xfrm>
            <a:off x="10104301" y="1876924"/>
            <a:ext cx="1756654" cy="3890225"/>
          </a:xfrm>
          <a:prstGeom prst="roundRect">
            <a:avLst>
              <a:gd name="adj" fmla="val 3228"/>
            </a:avLst>
          </a:prstGeom>
          <a:solidFill>
            <a:schemeClr val="bg1">
              <a:alpha val="76686"/>
            </a:schemeClr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60000" rtlCol="0" anchor="t" anchorCtr="0"/>
          <a:lstStyle/>
          <a:p>
            <a:pPr algn="ctr" rtl="0">
              <a:spcAft>
                <a:spcPts val="1200"/>
              </a:spcAft>
            </a:pPr>
            <a:r>
              <a:rPr lang="x-es-XL" b="1" i="0" u="none" baseline="0">
                <a:solidFill>
                  <a:schemeClr val="bg2"/>
                </a:solidFill>
              </a:rPr>
              <a:t>Acceso</a:t>
            </a:r>
            <a:br>
              <a:rPr lang="x-es-XL" b="1">
                <a:solidFill>
                  <a:schemeClr val="bg2"/>
                </a:solidFill>
              </a:rPr>
            </a:br>
            <a:endParaRPr lang="x-es-XL" b="1">
              <a:solidFill>
                <a:schemeClr val="bg2"/>
              </a:solidFill>
            </a:endParaRPr>
          </a:p>
          <a:p>
            <a:pPr algn="ctr" rtl="0"/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</a:rPr>
              <a:t>LiftConnect Access Manager disponible en todas las máquinas para restringir accesos no autorizados y mejorar la transparencia. </a:t>
            </a:r>
          </a:p>
        </p:txBody>
      </p:sp>
      <p:pic>
        <p:nvPicPr>
          <p:cNvPr id="60" name="Graphic 59">
            <a:extLst>
              <a:ext uri="{FF2B5EF4-FFF2-40B4-BE49-F238E27FC236}">
                <a16:creationId xmlns:a16="http://schemas.microsoft.com/office/drawing/2014/main" id="{EF96357C-1A4B-41D7-91C3-4992A4FB836F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b="39554"/>
          <a:stretch/>
        </p:blipFill>
        <p:spPr>
          <a:xfrm>
            <a:off x="9809577" y="2016138"/>
            <a:ext cx="2015810" cy="972523"/>
          </a:xfrm>
          <a:prstGeom prst="rect">
            <a:avLst/>
          </a:prstGeom>
        </p:spPr>
      </p:pic>
      <p:sp>
        <p:nvSpPr>
          <p:cNvPr id="53" name="Slide Number Placeholder 5">
            <a:extLst>
              <a:ext uri="{FF2B5EF4-FFF2-40B4-BE49-F238E27FC236}">
                <a16:creationId xmlns:a16="http://schemas.microsoft.com/office/drawing/2014/main" id="{1EEF701B-F4A3-354B-B68D-1FB8A36A5F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x-es-XL" sz="10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975811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50A13E-D5B4-45CE-8F1D-A890AFEBA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x-es-XL" b="1" i="0" u="none" baseline="0"/>
              <a:t>Repuestos y servicio en todo el mundo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B2C842-6BB6-4BE2-8B27-C75C57A5DA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l" rtl="0"/>
            <a:r>
              <a:rPr lang="x-es-XL" b="1" i="0" u="none" baseline="0"/>
              <a:t>Acerca de nosotro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F07BF36-FC42-4698-AEA2-9B162D363D28}"/>
              </a:ext>
            </a:extLst>
          </p:cNvPr>
          <p:cNvSpPr txBox="1"/>
          <p:nvPr/>
        </p:nvSpPr>
        <p:spPr bwMode="auto">
          <a:xfrm>
            <a:off x="418873" y="1311350"/>
            <a:ext cx="5508000" cy="10251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lIns="1080000" tIns="72000" rIns="36000" bIns="72000" anchor="ctr"/>
          <a:lstStyle/>
          <a:p>
            <a:pPr algn="l" rtl="0">
              <a:defRPr/>
            </a:pPr>
            <a:r>
              <a:rPr lang="x-es-XL" sz="1400" b="1" i="0" u="none" baseline="0">
                <a:solidFill>
                  <a:schemeClr val="bg2"/>
                </a:solidFill>
                <a:ea typeface="ＭＳ Ｐゴシック" pitchFamily="34" charset="-128"/>
                <a:cs typeface="Arial" panose="020B0604020202020204" pitchFamily="34" charset="0"/>
              </a:rPr>
              <a:t>Equipo global</a:t>
            </a:r>
          </a:p>
          <a:p>
            <a:pPr algn="l" rtl="0">
              <a:defRPr/>
            </a:pPr>
            <a:r>
              <a:rPr lang="x-es-XL" sz="1400" b="0" i="0" u="none" baseline="0">
                <a:solidFill>
                  <a:schemeClr val="accent3">
                    <a:lumMod val="50000"/>
                  </a:schemeClr>
                </a:solidFill>
                <a:ea typeface="ＭＳ Ｐゴシック" pitchFamily="34" charset="-128"/>
                <a:cs typeface="Arial" panose="020B0604020202020204" pitchFamily="34" charset="0"/>
              </a:rPr>
              <a:t>Gestión de una plantilla global de</a:t>
            </a:r>
            <a:br>
              <a:rPr lang="x-es-XL" sz="1400">
                <a:solidFill>
                  <a:schemeClr val="accent3">
                    <a:lumMod val="50000"/>
                  </a:schemeClr>
                </a:solidFill>
                <a:ea typeface="ＭＳ Ｐゴシック" pitchFamily="34" charset="-128"/>
                <a:cs typeface="Arial" panose="020B0604020202020204" pitchFamily="34" charset="0"/>
              </a:rPr>
            </a:b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ea typeface="ＭＳ Ｐゴシック" pitchFamily="34" charset="-128"/>
                <a:cs typeface="Arial" panose="020B0604020202020204" pitchFamily="34" charset="0"/>
              </a:rPr>
              <a:t>aprox. 1500 empleados administrativos y técnico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1ACDE60-B3E7-42FA-95B4-CC6C0E77178E}"/>
              </a:ext>
            </a:extLst>
          </p:cNvPr>
          <p:cNvSpPr txBox="1"/>
          <p:nvPr/>
        </p:nvSpPr>
        <p:spPr bwMode="auto">
          <a:xfrm>
            <a:off x="419874" y="2462727"/>
            <a:ext cx="5508000" cy="10251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lIns="1080000" tIns="36000" rIns="36000" bIns="36000" anchor="ctr"/>
          <a:lstStyle/>
          <a:p>
            <a:pPr algn="l" rtl="0">
              <a:defRPr/>
            </a:pPr>
            <a:r>
              <a:rPr lang="x-es-XL" sz="1400" b="1" i="0" u="none" baseline="0">
                <a:solidFill>
                  <a:schemeClr val="bg2"/>
                </a:solidFill>
                <a:ea typeface="ＭＳ Ｐゴシック" pitchFamily="34" charset="-128"/>
                <a:cs typeface="Arial" panose="020B0604020202020204" pitchFamily="34" charset="0"/>
              </a:rPr>
              <a:t>Inventario en stock</a:t>
            </a:r>
          </a:p>
          <a:p>
            <a:pPr algn="l" rtl="0">
              <a:defRPr/>
            </a:pP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ea typeface="ＭＳ Ｐゴシック" pitchFamily="34" charset="-128"/>
                <a:cs typeface="Arial" panose="020B0604020202020204" pitchFamily="34" charset="0"/>
              </a:rPr>
              <a:t>Inventario global en stock por un valor de 190 millones de dólares </a:t>
            </a:r>
            <a:r>
              <a:rPr lang="x-es-XL" sz="1400" b="0" i="0" u="none" baseline="0">
                <a:solidFill>
                  <a:schemeClr val="accent3">
                    <a:lumMod val="50000"/>
                  </a:schemeClr>
                </a:solidFill>
                <a:ea typeface="ＭＳ Ｐゴシック" pitchFamily="34" charset="-128"/>
                <a:cs typeface="Arial" panose="020B0604020202020204" pitchFamily="34" charset="0"/>
              </a:rPr>
              <a:t>para apoyar a nuestros distribuidores y client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D9CD8D6-AEC7-4EC0-9047-0E90A40F6786}"/>
              </a:ext>
            </a:extLst>
          </p:cNvPr>
          <p:cNvSpPr txBox="1"/>
          <p:nvPr/>
        </p:nvSpPr>
        <p:spPr bwMode="auto">
          <a:xfrm>
            <a:off x="415985" y="3614104"/>
            <a:ext cx="5508000" cy="10251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lIns="1080000" tIns="36000" rIns="36000" bIns="36000" anchor="ctr"/>
          <a:lstStyle/>
          <a:p>
            <a:pPr algn="l" rtl="0">
              <a:defRPr/>
            </a:pPr>
            <a:r>
              <a:rPr lang="x-es-XL" sz="1400" b="1" i="0" u="none" baseline="0">
                <a:solidFill>
                  <a:schemeClr val="bg2"/>
                </a:solidFill>
                <a:ea typeface="ＭＳ Ｐゴシック" pitchFamily="34" charset="-128"/>
                <a:cs typeface="Arial" panose="020B0604020202020204" pitchFamily="34" charset="0"/>
              </a:rPr>
              <a:t>Máquinas con soporte</a:t>
            </a:r>
          </a:p>
          <a:p>
            <a:pPr algn="l" rtl="0">
              <a:defRPr/>
            </a:pPr>
            <a:r>
              <a:rPr lang="x-es-XL" sz="1400" b="0" i="0" u="none" baseline="0">
                <a:solidFill>
                  <a:schemeClr val="accent3">
                    <a:lumMod val="50000"/>
                  </a:schemeClr>
                </a:solidFill>
                <a:ea typeface="ＭＳ Ｐゴシック" pitchFamily="34" charset="-128"/>
                <a:cs typeface="Arial" panose="020B0604020202020204" pitchFamily="34" charset="0"/>
              </a:rPr>
              <a:t>Soporte a </a:t>
            </a: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ea typeface="ＭＳ Ｐゴシック" pitchFamily="34" charset="-128"/>
                <a:cs typeface="Arial" panose="020B0604020202020204" pitchFamily="34" charset="0"/>
              </a:rPr>
              <a:t>400 modelos </a:t>
            </a:r>
            <a:r>
              <a:rPr lang="x-es-XL" sz="1400" b="0" i="0" u="none" baseline="0">
                <a:solidFill>
                  <a:schemeClr val="accent3">
                    <a:lumMod val="50000"/>
                  </a:schemeClr>
                </a:solidFill>
                <a:ea typeface="ＭＳ Ｐゴシック" pitchFamily="34" charset="-128"/>
                <a:cs typeface="Arial" panose="020B0604020202020204" pitchFamily="34" charset="0"/>
              </a:rPr>
              <a:t>con un </a:t>
            </a: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ea typeface="ＭＳ Ｐゴシック" pitchFamily="34" charset="-128"/>
                <a:cs typeface="Arial" panose="020B0604020202020204" pitchFamily="34" charset="0"/>
              </a:rPr>
              <a:t>tamaño de flota</a:t>
            </a:r>
            <a:r>
              <a:rPr lang="x-es-XL" sz="1400" b="0" i="0" u="none" baseline="0">
                <a:solidFill>
                  <a:schemeClr val="accent3">
                    <a:lumMod val="50000"/>
                  </a:schemeClr>
                </a:solidFill>
                <a:ea typeface="ＭＳ Ｐゴシック" pitchFamily="34" charset="-128"/>
                <a:cs typeface="Arial" panose="020B0604020202020204" pitchFamily="34" charset="0"/>
              </a:rPr>
              <a:t> correspondiente </a:t>
            </a: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ea typeface="ＭＳ Ｐゴシック" pitchFamily="34" charset="-128"/>
                <a:cs typeface="Arial" panose="020B0604020202020204" pitchFamily="34" charset="0"/>
              </a:rPr>
              <a:t>de +1,5 millones de máquina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0F7603C-F1A8-47D4-8ACE-06AE6B5670EB}"/>
              </a:ext>
            </a:extLst>
          </p:cNvPr>
          <p:cNvSpPr txBox="1"/>
          <p:nvPr/>
        </p:nvSpPr>
        <p:spPr bwMode="auto">
          <a:xfrm>
            <a:off x="419874" y="4765481"/>
            <a:ext cx="5508000" cy="10251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lIns="1080000" tIns="36000" rIns="36000" bIns="36000" anchor="ctr"/>
          <a:lstStyle/>
          <a:p>
            <a:pPr algn="l" rtl="0">
              <a:defRPr/>
            </a:pPr>
            <a:r>
              <a:rPr lang="x-es-XL" sz="1400" b="1" i="0" u="none" baseline="0">
                <a:solidFill>
                  <a:schemeClr val="bg2"/>
                </a:solidFill>
                <a:ea typeface="ＭＳ Ｐゴシック" pitchFamily="34" charset="-128"/>
                <a:cs typeface="Arial" panose="020B0604020202020204" pitchFamily="34" charset="0"/>
              </a:rPr>
              <a:t>Números de piezas</a:t>
            </a:r>
          </a:p>
          <a:p>
            <a:pPr algn="l" rtl="0">
              <a:defRPr/>
            </a:pPr>
            <a:r>
              <a:rPr lang="x-es-XL" sz="1400" b="0" i="0" u="none" baseline="0">
                <a:solidFill>
                  <a:schemeClr val="accent3">
                    <a:lumMod val="50000"/>
                  </a:schemeClr>
                </a:solidFill>
                <a:ea typeface="ＭＳ Ｐゴシック" pitchFamily="34" charset="-128"/>
                <a:cs typeface="Arial" panose="020B0604020202020204" pitchFamily="34" charset="0"/>
              </a:rPr>
              <a:t>1,2 millones de números de piezas en el sistema, </a:t>
            </a: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ea typeface="ＭＳ Ｐゴシック" pitchFamily="34" charset="-128"/>
                <a:cs typeface="Arial" panose="020B0604020202020204" pitchFamily="34" charset="0"/>
              </a:rPr>
              <a:t>680.000 piezas activas </a:t>
            </a:r>
            <a:r>
              <a:rPr lang="x-es-XL" sz="1400" b="0" i="0" u="none" baseline="0">
                <a:solidFill>
                  <a:schemeClr val="accent3">
                    <a:lumMod val="50000"/>
                  </a:schemeClr>
                </a:solidFill>
                <a:ea typeface="ＭＳ Ｐゴシック" pitchFamily="34" charset="-128"/>
                <a:cs typeface="Arial" panose="020B0604020202020204" pitchFamily="34" charset="0"/>
              </a:rPr>
              <a:t>y aprox. </a:t>
            </a: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ea typeface="ＭＳ Ｐゴシック" pitchFamily="34" charset="-128"/>
                <a:cs typeface="Arial" panose="020B0604020202020204" pitchFamily="34" charset="0"/>
              </a:rPr>
              <a:t>170.000 piezas exclusivas en stock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C70DF80-2FB1-419D-8FFC-3C955DE2ED3B}"/>
              </a:ext>
            </a:extLst>
          </p:cNvPr>
          <p:cNvSpPr txBox="1"/>
          <p:nvPr/>
        </p:nvSpPr>
        <p:spPr bwMode="auto">
          <a:xfrm>
            <a:off x="6145219" y="1311350"/>
            <a:ext cx="5508000" cy="10251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lIns="1080000" tIns="36000" rIns="36000" bIns="36000" anchor="ctr"/>
          <a:lstStyle/>
          <a:p>
            <a:pPr algn="l" rtl="0">
              <a:defRPr/>
            </a:pPr>
            <a:r>
              <a:rPr lang="x-es-XL" sz="1400" b="1" i="0" u="none" baseline="0">
                <a:solidFill>
                  <a:schemeClr val="bg2"/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Almacenes para recambios</a:t>
            </a:r>
            <a:br>
              <a:rPr lang="x-es-XL" sz="1400">
                <a:solidFill>
                  <a:srgbClr val="C00000"/>
                </a:solidFill>
                <a:ea typeface="ＭＳ Ｐゴシック" pitchFamily="34" charset="-128"/>
              </a:rPr>
            </a:b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33 almacenes </a:t>
            </a:r>
            <a:r>
              <a:rPr lang="x-es-XL" sz="1400" b="0" i="0" u="none" baseline="0">
                <a:solidFill>
                  <a:schemeClr val="accent3">
                    <a:lumMod val="50000"/>
                  </a:schemeClr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propios y de terceros </a:t>
            </a: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en todo el mundo con un espacio de aprox. 90.000 metros cuadrados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25BA27E-388D-4748-88FF-57D6BFAEB54C}"/>
              </a:ext>
            </a:extLst>
          </p:cNvPr>
          <p:cNvSpPr txBox="1"/>
          <p:nvPr/>
        </p:nvSpPr>
        <p:spPr bwMode="auto">
          <a:xfrm>
            <a:off x="6146981" y="2462726"/>
            <a:ext cx="5508000" cy="10251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lIns="1080000" tIns="36000" rIns="36000" bIns="36000" anchor="ctr"/>
          <a:lstStyle/>
          <a:p>
            <a:pPr algn="l" rtl="0">
              <a:defRPr/>
            </a:pPr>
            <a:r>
              <a:rPr lang="x-es-XL" sz="1400" b="1" i="0" u="none" baseline="0">
                <a:solidFill>
                  <a:schemeClr val="bg2"/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Puntos de entrega</a:t>
            </a:r>
          </a:p>
          <a:p>
            <a:pPr algn="l" rtl="0">
              <a:defRPr/>
            </a:pPr>
            <a:r>
              <a:rPr lang="x-es-XL" sz="1400" b="0" i="0" u="none" baseline="0">
                <a:solidFill>
                  <a:schemeClr val="accent3">
                    <a:lumMod val="50000"/>
                  </a:schemeClr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Apoyo a </a:t>
            </a: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10.000 socios de canal y clientes finales </a:t>
            </a:r>
            <a:r>
              <a:rPr lang="x-es-XL" sz="1400" b="0" i="0" u="none" baseline="0">
                <a:solidFill>
                  <a:schemeClr val="accent3">
                    <a:lumMod val="50000"/>
                  </a:schemeClr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en más de</a:t>
            </a: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 170 país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D369AFF-E249-4CAB-8DC7-C1CCF977F7C4}"/>
              </a:ext>
            </a:extLst>
          </p:cNvPr>
          <p:cNvSpPr txBox="1"/>
          <p:nvPr/>
        </p:nvSpPr>
        <p:spPr bwMode="auto">
          <a:xfrm>
            <a:off x="6146761" y="3614102"/>
            <a:ext cx="5508000" cy="10251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lIns="1080000" tIns="36000" rIns="36000" bIns="36000" anchor="ctr"/>
          <a:lstStyle/>
          <a:p>
            <a:pPr algn="l" rtl="0">
              <a:defRPr/>
            </a:pPr>
            <a:r>
              <a:rPr lang="x-es-XL" sz="1400" b="1" i="0" u="none" baseline="0">
                <a:solidFill>
                  <a:schemeClr val="bg2"/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Proveedores</a:t>
            </a:r>
          </a:p>
          <a:p>
            <a:pPr algn="l" rtl="0">
              <a:defRPr/>
            </a:pPr>
            <a:r>
              <a:rPr lang="x-es-XL" sz="1400" b="0" i="0" u="none" baseline="0">
                <a:solidFill>
                  <a:schemeClr val="accent3">
                    <a:lumMod val="50000"/>
                  </a:schemeClr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Abastecimiento a través de </a:t>
            </a: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2615 proveedores activos en 2021 </a:t>
            </a:r>
            <a:r>
              <a:rPr lang="x-es-XL" sz="1400" b="0" i="0" u="none" baseline="0">
                <a:solidFill>
                  <a:schemeClr val="accent3">
                    <a:lumMod val="50000"/>
                  </a:schemeClr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gestionados por una organización global de compra de recambios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8CF4ECE-E6DF-4B95-BBEE-813766471366}"/>
              </a:ext>
            </a:extLst>
          </p:cNvPr>
          <p:cNvSpPr txBox="1"/>
          <p:nvPr/>
        </p:nvSpPr>
        <p:spPr bwMode="auto">
          <a:xfrm>
            <a:off x="6146761" y="4763397"/>
            <a:ext cx="5508000" cy="10251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lIns="1080000" tIns="36000" rIns="36000" bIns="36000" anchor="ctr"/>
          <a:lstStyle/>
          <a:p>
            <a:pPr algn="l" rtl="0">
              <a:defRPr/>
            </a:pPr>
            <a:r>
              <a:rPr lang="x-es-XL" sz="1400" b="1" i="0" u="none" baseline="0">
                <a:solidFill>
                  <a:schemeClr val="bg2"/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Entregas </a:t>
            </a:r>
            <a:br>
              <a:rPr lang="x-es-XL" sz="1400">
                <a:solidFill>
                  <a:srgbClr val="C00000"/>
                </a:solidFill>
                <a:ea typeface="ＭＳ Ｐゴシック" pitchFamily="34" charset="-128"/>
              </a:rPr>
            </a:br>
            <a:r>
              <a:rPr lang="x-es-XL" sz="1400" b="0" i="0" u="none" baseline="0">
                <a:solidFill>
                  <a:schemeClr val="accent3">
                    <a:lumMod val="50000"/>
                  </a:schemeClr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Entrega anual de </a:t>
            </a:r>
            <a:r>
              <a:rPr lang="x-es-XL" sz="1400" b="1" i="0" u="none" baseline="0">
                <a:solidFill>
                  <a:schemeClr val="accent3">
                    <a:lumMod val="50000"/>
                  </a:schemeClr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2,5 millones de pedidos </a:t>
            </a:r>
            <a:r>
              <a:rPr lang="x-es-XL" sz="1400" b="0" i="0" u="none" baseline="0">
                <a:solidFill>
                  <a:schemeClr val="accent3">
                    <a:lumMod val="50000"/>
                  </a:schemeClr>
                </a:solidFill>
                <a:latin typeface="ＭＳ Ｐゴシック" pitchFamily="34" charset="-128"/>
                <a:ea typeface="ＭＳ Ｐゴシック" pitchFamily="34" charset="-128"/>
                <a:cs typeface="ＭＳ Ｐゴシック" pitchFamily="34" charset="-128"/>
              </a:rPr>
              <a:t>(aprox. 29.000 toneladas entregadas) </a:t>
            </a:r>
          </a:p>
        </p:txBody>
      </p:sp>
      <p:sp>
        <p:nvSpPr>
          <p:cNvPr id="5" name="AutoShape 4">
            <a:extLst>
              <a:ext uri="{FF2B5EF4-FFF2-40B4-BE49-F238E27FC236}">
                <a16:creationId xmlns:a16="http://schemas.microsoft.com/office/drawing/2014/main" id="{5DE4E937-127F-4395-AD03-F1D83D81003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x-es-XL"/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C12668D8-A943-47E8-B174-CE260D4EAF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0732" y="4938857"/>
            <a:ext cx="678419" cy="678419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20C123FD-D5BD-42E4-8B56-E5624FAC2E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38977" y="4964808"/>
            <a:ext cx="677424" cy="677424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7AE2FB07-A52C-4E22-B7D7-E3ACB0AFD6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70732" y="1497671"/>
            <a:ext cx="652532" cy="652532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DAED0A5E-5589-498A-9BE1-5F758930C9E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283590" y="2607252"/>
            <a:ext cx="735593" cy="703259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C896C265-0FEC-4B7E-B1A9-3F996381A68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70732" y="3772928"/>
            <a:ext cx="723979" cy="707524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0171FEEA-4BB2-4202-BF15-94264544CF8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302479" y="1484815"/>
            <a:ext cx="713922" cy="689584"/>
          </a:xfrm>
          <a:prstGeom prst="rect">
            <a:avLst/>
          </a:prstGeom>
        </p:spPr>
      </p:pic>
      <p:pic>
        <p:nvPicPr>
          <p:cNvPr id="24" name="Picture 6">
            <a:extLst>
              <a:ext uri="{FF2B5EF4-FFF2-40B4-BE49-F238E27FC236}">
                <a16:creationId xmlns:a16="http://schemas.microsoft.com/office/drawing/2014/main" id="{881216D3-511F-4267-947E-F83A71405F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 bwMode="auto">
          <a:xfrm>
            <a:off x="485961" y="2527330"/>
            <a:ext cx="847960" cy="84796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6ADDE01E-F8F1-4F2F-95C8-51B5AD18CDD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283590" y="3732589"/>
            <a:ext cx="788197" cy="788197"/>
          </a:xfrm>
          <a:prstGeom prst="rect">
            <a:avLst/>
          </a:prstGeom>
        </p:spPr>
      </p:pic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BAFADD34-91EE-1945-8D07-D310A63314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x-es-XL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292994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50A13E-D5B4-45CE-8F1D-A890AFEBAC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259" y="82534"/>
            <a:ext cx="11841481" cy="640080"/>
          </a:xfrm>
        </p:spPr>
        <p:txBody>
          <a:bodyPr/>
          <a:lstStyle/>
          <a:p>
            <a:pPr algn="l" rtl="0"/>
            <a:r>
              <a:rPr lang="x-es-XL" b="1" i="0" u="none" baseline="0" dirty="0"/>
              <a:t>Almacen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B2C842-6BB6-4BE2-8B27-C75C57A5DA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5259" y="820699"/>
            <a:ext cx="11841796" cy="309977"/>
          </a:xfrm>
        </p:spPr>
        <p:txBody>
          <a:bodyPr/>
          <a:lstStyle/>
          <a:p>
            <a:pPr algn="l" defTabSz="914303" rtl="0"/>
            <a:r>
              <a:rPr lang="x-es-XL" sz="2000" b="1" i="0" u="none" baseline="0" dirty="0"/>
              <a:t>Ubicaciones </a:t>
            </a:r>
            <a:endParaRPr lang="fr-FR" sz="2000" b="1" i="0" u="none" baseline="0" dirty="0"/>
          </a:p>
          <a:p>
            <a:pPr algn="l" defTabSz="914303" rtl="0"/>
            <a:r>
              <a:rPr lang="x-es-XL" sz="2000" b="1" i="0" u="none" baseline="0" dirty="0"/>
              <a:t>globa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09438C4-AF18-43B4-9014-1868A6028B4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828" b="263"/>
          <a:stretch/>
        </p:blipFill>
        <p:spPr>
          <a:xfrm>
            <a:off x="3006694" y="1010093"/>
            <a:ext cx="8848610" cy="483961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99EB4AB-A57F-4148-B1FA-A65B1492094B}"/>
              </a:ext>
            </a:extLst>
          </p:cNvPr>
          <p:cNvSpPr/>
          <p:nvPr/>
        </p:nvSpPr>
        <p:spPr>
          <a:xfrm>
            <a:off x="336696" y="1538739"/>
            <a:ext cx="2366682" cy="37805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>
              <a:spcBef>
                <a:spcPts val="1000"/>
              </a:spcBef>
              <a:buFont typeface="Arial" panose="020B0604020202020204" pitchFamily="34" charset="0"/>
            </a:pPr>
            <a:r>
              <a:rPr lang="x-es-XL" b="1" i="0" u="none" baseline="0" dirty="0">
                <a:solidFill>
                  <a:schemeClr val="accent3">
                    <a:lumMod val="50000"/>
                  </a:schemeClr>
                </a:solidFill>
              </a:rPr>
              <a:t>Entregamos anualmente:</a:t>
            </a:r>
          </a:p>
          <a:p>
            <a:pPr algn="l" rtl="0">
              <a:spcBef>
                <a:spcPts val="1000"/>
              </a:spcBef>
              <a:buFont typeface="Arial" panose="020B0604020202020204" pitchFamily="34" charset="0"/>
            </a:pPr>
            <a:endParaRPr lang="x-es-XL" sz="600" b="1" dirty="0">
              <a:solidFill>
                <a:schemeClr val="accent3">
                  <a:lumMod val="50000"/>
                </a:schemeClr>
              </a:solidFill>
            </a:endParaRPr>
          </a:p>
          <a:p>
            <a:pPr marL="285750" indent="-285750" algn="l" rtl="0">
              <a:spcBef>
                <a:spcPts val="1000"/>
              </a:spcBef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x-es-XL" sz="2000" b="0" i="0" u="none" baseline="0" dirty="0">
                <a:solidFill>
                  <a:schemeClr val="accent3">
                    <a:lumMod val="50000"/>
                  </a:schemeClr>
                </a:solidFill>
              </a:rPr>
              <a:t>Más de 2,5 millones de pedidos</a:t>
            </a:r>
          </a:p>
          <a:p>
            <a:pPr marL="285750" indent="-285750" algn="l" rtl="0">
              <a:spcBef>
                <a:spcPts val="1000"/>
              </a:spcBef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x-es-XL" sz="2000" b="0" i="0" u="none" baseline="0" dirty="0">
                <a:solidFill>
                  <a:schemeClr val="accent3">
                    <a:lumMod val="50000"/>
                  </a:schemeClr>
                </a:solidFill>
              </a:rPr>
              <a:t>33 almacenes </a:t>
            </a:r>
            <a:br>
              <a:rPr lang="x-es-XL" sz="2000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x-es-XL" sz="2000" b="0" i="0" u="none" baseline="0" dirty="0">
                <a:solidFill>
                  <a:schemeClr val="accent3">
                    <a:lumMod val="50000"/>
                  </a:schemeClr>
                </a:solidFill>
              </a:rPr>
              <a:t>con más de</a:t>
            </a:r>
          </a:p>
          <a:p>
            <a:pPr marL="285750" indent="-285750" algn="l" rtl="0">
              <a:spcBef>
                <a:spcPts val="1000"/>
              </a:spcBef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x-es-XL" sz="2000" b="0" i="0" u="none" baseline="0" dirty="0">
                <a:solidFill>
                  <a:schemeClr val="accent3">
                    <a:lumMod val="50000"/>
                  </a:schemeClr>
                </a:solidFill>
              </a:rPr>
              <a:t>90.000 m</a:t>
            </a:r>
            <a:r>
              <a:rPr lang="x-es-XL" sz="2000" b="0" i="0" u="none" baseline="30000" dirty="0">
                <a:solidFill>
                  <a:schemeClr val="accent3">
                    <a:lumMod val="50000"/>
                  </a:schemeClr>
                </a:solidFill>
              </a:rPr>
              <a:t>2</a:t>
            </a:r>
            <a:r>
              <a:rPr lang="x-es-XL" sz="2000" b="0" i="0" u="none" baseline="0" dirty="0">
                <a:solidFill>
                  <a:schemeClr val="accent3">
                    <a:lumMod val="50000"/>
                  </a:schemeClr>
                </a:solidFill>
              </a:rPr>
              <a:t> de lugar de almacenamiento</a:t>
            </a:r>
          </a:p>
          <a:p>
            <a:pPr marL="285750" indent="-285750" algn="l" rtl="0">
              <a:spcBef>
                <a:spcPts val="1000"/>
              </a:spcBef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x-es-XL" sz="2000" b="0" i="0" u="none" baseline="0" dirty="0">
                <a:solidFill>
                  <a:schemeClr val="accent3">
                    <a:lumMod val="50000"/>
                  </a:schemeClr>
                </a:solidFill>
              </a:rPr>
              <a:t>170.000 </a:t>
            </a:r>
            <a:br>
              <a:rPr lang="x-es-XL" sz="2000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x-es-XL" sz="2000" b="0" i="0" u="none" baseline="0" dirty="0">
                <a:solidFill>
                  <a:schemeClr val="accent3">
                    <a:lumMod val="50000"/>
                  </a:schemeClr>
                </a:solidFill>
              </a:rPr>
              <a:t>piezas exclusiva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E0664D-C36C-264E-915D-26CEE967C3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x-es-XL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96131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x-es-XL" sz="3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37EB767-E9F3-624C-9628-897B2B2A6E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pPr algn="l" rtl="0"/>
            <a:r>
              <a:rPr lang="x-es-XL" b="1" i="0" u="none" baseline="0"/>
              <a:t>Calidad en la que puede confiar</a:t>
            </a:r>
            <a:endParaRPr lang="x-es-X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3A8213-0761-AC4C-B3B8-AA82F95F8C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204" y="748854"/>
            <a:ext cx="5551832" cy="452454"/>
          </a:xfrm>
        </p:spPr>
        <p:txBody>
          <a:bodyPr lIns="0" tIns="0" rIns="0" bIns="0"/>
          <a:lstStyle/>
          <a:p>
            <a:pPr algn="l" rtl="0"/>
            <a:r>
              <a:rPr lang="x-es-XL" b="1" i="0" u="none" baseline="0"/>
              <a:t>La evolución de la calidad de Genie  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B03F7F22-B6C4-D046-A8B7-B7B9E44381E5}"/>
              </a:ext>
            </a:extLst>
          </p:cNvPr>
          <p:cNvSpPr txBox="1">
            <a:spLocks/>
          </p:cNvSpPr>
          <p:nvPr/>
        </p:nvSpPr>
        <p:spPr>
          <a:xfrm>
            <a:off x="350204" y="2613434"/>
            <a:ext cx="5190146" cy="3247527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spcAft>
                <a:spcPts val="600"/>
              </a:spcAft>
            </a:pPr>
            <a:r>
              <a:rPr lang="x-es-XL" sz="2200" b="1" i="0" u="none" baseline="0">
                <a:solidFill>
                  <a:schemeClr val="bg2"/>
                </a:solidFill>
              </a:rPr>
              <a:t>El enfoque en la calidad continúa</a:t>
            </a:r>
            <a:endParaRPr lang="x-es-XL" sz="2200"/>
          </a:p>
          <a:p>
            <a:pPr algn="l" rtl="0">
              <a:spcAft>
                <a:spcPts val="1800"/>
              </a:spcAft>
            </a:pPr>
            <a:r>
              <a:rPr lang="x-es-XL" sz="1600" b="0" i="0" u="none" baseline="0"/>
              <a:t>Tras casi 40 años en propiedad privada, en 2002 se reconoció el potencial global de Genie y fue adquirida por Terex Corporation.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x-es-XL" sz="1600" b="0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Cuando Terex adquirió Genie, sabía la importancia de mantener el mismo nivel de calidad que los clientes esperaban de Genie </a:t>
            </a:r>
          </a:p>
          <a:p>
            <a:pPr marL="254000" indent="-254000" algn="l" rtl="0">
              <a:spcBef>
                <a:spcPts val="0"/>
              </a:spcBef>
              <a:spcAft>
                <a:spcPts val="600"/>
              </a:spcAft>
              <a:buSzPct val="120000"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x-es-XL" sz="1600" b="0" i="0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Gracias a este apoyo continuado a la marca y al negocio, Genie ha crecido hasta convertirse en el líder globalmente competitivo del sector que es en la actualidad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1F58EF8-88D6-0946-B888-0870431E8115}"/>
              </a:ext>
            </a:extLst>
          </p:cNvPr>
          <p:cNvGrpSpPr/>
          <p:nvPr/>
        </p:nvGrpSpPr>
        <p:grpSpPr>
          <a:xfrm>
            <a:off x="350205" y="1625508"/>
            <a:ext cx="2690868" cy="719542"/>
            <a:chOff x="350205" y="1625508"/>
            <a:chExt cx="2690868" cy="719542"/>
          </a:xfrm>
        </p:grpSpPr>
        <p:sp>
          <p:nvSpPr>
            <p:cNvPr id="25" name="Rounded Rectangle 24">
              <a:extLst>
                <a:ext uri="{FF2B5EF4-FFF2-40B4-BE49-F238E27FC236}">
                  <a16:creationId xmlns:a16="http://schemas.microsoft.com/office/drawing/2014/main" id="{770D0BC0-EA29-1E44-B795-681B86548F84}"/>
                </a:ext>
              </a:extLst>
            </p:cNvPr>
            <p:cNvSpPr/>
            <p:nvPr/>
          </p:nvSpPr>
          <p:spPr>
            <a:xfrm>
              <a:off x="350205" y="1625508"/>
              <a:ext cx="2690868" cy="719542"/>
            </a:xfrm>
            <a:prstGeom prst="round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50800" dir="5400000" sx="1000" sy="1000" algn="ctr" rotWithShape="0">
                <a:srgbClr val="000000">
                  <a:alpha val="43137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2" name="Picture 11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CAE8F227-3579-BF40-B5A8-E06BFF23279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0596" y="1795264"/>
              <a:ext cx="2331605" cy="380000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3719B86-1725-9F40-94FF-0037F52B0EE6}"/>
              </a:ext>
            </a:extLst>
          </p:cNvPr>
          <p:cNvGrpSpPr/>
          <p:nvPr/>
        </p:nvGrpSpPr>
        <p:grpSpPr>
          <a:xfrm>
            <a:off x="6363887" y="1498999"/>
            <a:ext cx="5190147" cy="3353402"/>
            <a:chOff x="6794961" y="2321959"/>
            <a:chExt cx="5190147" cy="335340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E111723-89F4-2144-B330-880579260749}"/>
                </a:ext>
              </a:extLst>
            </p:cNvPr>
            <p:cNvSpPr/>
            <p:nvPr/>
          </p:nvSpPr>
          <p:spPr>
            <a:xfrm>
              <a:off x="6874861" y="2681959"/>
              <a:ext cx="4888242" cy="163121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marL="6350" algn="l" rtl="0">
                <a:spcBef>
                  <a:spcPts val="1200"/>
                </a:spcBef>
                <a:tabLst>
                  <a:tab pos="704850" algn="l"/>
                </a:tabLst>
                <a:defRPr/>
              </a:pPr>
              <a:r>
                <a:rPr lang="x-es-XL" sz="1600" b="0" i="1" u="none" baseline="0">
                  <a:solidFill>
                    <a:schemeClr val="accent3">
                      <a:lumMod val="50000"/>
                    </a:schemeClr>
                  </a:solidFill>
                </a:rPr>
                <a:t>           Desde el comienzo, Genie se ha centrado específicamente en desarrollar soluciones de alta calidad y bien diseñadas para brindar una mayor productividad.</a:t>
              </a:r>
            </a:p>
            <a:p>
              <a:pPr marL="6350" algn="l" rtl="0">
                <a:spcBef>
                  <a:spcPts val="1200"/>
                </a:spcBef>
                <a:tabLst>
                  <a:tab pos="704850" algn="l"/>
                </a:tabLst>
                <a:defRPr/>
              </a:pPr>
              <a:r>
                <a:rPr lang="x-es-XL" sz="1600" b="0" i="1" u="none" baseline="0">
                  <a:solidFill>
                    <a:schemeClr val="accent3">
                      <a:lumMod val="50000"/>
                    </a:schemeClr>
                  </a:solidFill>
                </a:rPr>
                <a:t>Nuestro sistema de gestión de la calidad es un bucle continuo que empieza y termina con nuestros clientes y con soluciones para sus desafíos.</a:t>
              </a:r>
            </a:p>
          </p:txBody>
        </p:sp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598A9987-AF34-634A-B5E2-BBFBB2B2D2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794961" y="2321959"/>
              <a:ext cx="720000" cy="720000"/>
            </a:xfrm>
            <a:prstGeom prst="rect">
              <a:avLst/>
            </a:prstGeom>
          </p:spPr>
        </p:pic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D396FF95-59CA-6347-B3D9-4A83708DFE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10800000">
              <a:off x="10052712" y="4150674"/>
              <a:ext cx="720000" cy="720000"/>
            </a:xfrm>
            <a:prstGeom prst="rect">
              <a:avLst/>
            </a:prstGeom>
          </p:spPr>
        </p:pic>
        <p:sp>
          <p:nvSpPr>
            <p:cNvPr id="21" name="Content Placeholder 3">
              <a:extLst>
                <a:ext uri="{FF2B5EF4-FFF2-40B4-BE49-F238E27FC236}">
                  <a16:creationId xmlns:a16="http://schemas.microsoft.com/office/drawing/2014/main" id="{EBFFD6D7-C67E-5F4C-9869-F260B7744311}"/>
                </a:ext>
              </a:extLst>
            </p:cNvPr>
            <p:cNvSpPr txBox="1">
              <a:spLocks/>
            </p:cNvSpPr>
            <p:nvPr/>
          </p:nvSpPr>
          <p:spPr>
            <a:xfrm>
              <a:off x="8049067" y="4926988"/>
              <a:ext cx="3936041" cy="521746"/>
            </a:xfrm>
            <a:prstGeom prst="rect">
              <a:avLst/>
            </a:prstGeom>
          </p:spPr>
          <p:txBody>
            <a:bodyPr vert="horz" lIns="0" tIns="0" rIns="0" bIns="0" numCol="1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12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lnSpc>
                  <a:spcPts val="2280"/>
                </a:lnSpc>
                <a:spcAft>
                  <a:spcPts val="0"/>
                </a:spcAft>
              </a:pPr>
              <a:r>
                <a:rPr lang="x-es-XL" b="1" i="0" u="none" baseline="0">
                  <a:solidFill>
                    <a:schemeClr val="accent5"/>
                  </a:solidFill>
                </a:rPr>
                <a:t>Simon Meester</a:t>
              </a:r>
            </a:p>
            <a:p>
              <a:pPr algn="l" rtl="0">
                <a:lnSpc>
                  <a:spcPts val="580"/>
                </a:lnSpc>
              </a:pPr>
              <a:r>
                <a:rPr lang="x-es-XL" sz="1400" b="0" i="1" u="none" baseline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residente de Genie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7748800A-FCD0-4F29-A7EA-493953C971D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94961" y="4595361"/>
              <a:ext cx="1080000" cy="1080000"/>
            </a:xfrm>
            <a:prstGeom prst="ellipse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20E753D0-7D45-9140-89BA-9454D433D530}"/>
              </a:ext>
            </a:extLst>
          </p:cNvPr>
          <p:cNvGrpSpPr/>
          <p:nvPr/>
        </p:nvGrpSpPr>
        <p:grpSpPr>
          <a:xfrm>
            <a:off x="3189539" y="1625508"/>
            <a:ext cx="2176128" cy="719542"/>
            <a:chOff x="3189539" y="1625508"/>
            <a:chExt cx="2176128" cy="719542"/>
          </a:xfrm>
        </p:grpSpPr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27ED1925-33B7-A34E-9B84-83B02508499C}"/>
                </a:ext>
              </a:extLst>
            </p:cNvPr>
            <p:cNvSpPr/>
            <p:nvPr/>
          </p:nvSpPr>
          <p:spPr>
            <a:xfrm>
              <a:off x="3189539" y="1625508"/>
              <a:ext cx="2176128" cy="719542"/>
            </a:xfrm>
            <a:prstGeom prst="round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50800" dir="5400000" sx="1000" sy="1000" algn="ctr" rotWithShape="0">
                <a:srgbClr val="000000">
                  <a:alpha val="43137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19CDD0D6-9F50-FE47-9A90-3D9E0F79F2A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379653" y="1711700"/>
              <a:ext cx="1796994" cy="511934"/>
            </a:xfrm>
            <a:prstGeom prst="rect">
              <a:avLst/>
            </a:prstGeom>
          </p:spPr>
        </p:pic>
      </p:grp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D0BF217D-0DD6-0345-8D37-1DDB861662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x-es-XL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43779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11A8FE6-D83A-9644-B4C0-7BB28BC0C7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74527" y="240877"/>
            <a:ext cx="3922788" cy="2691980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A29668A-662F-3C40-A26C-E74FCA4B35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9487" y="1659390"/>
            <a:ext cx="6611140" cy="4310335"/>
          </a:xfrm>
        </p:spPr>
        <p:txBody>
          <a:bodyPr lIns="0" tIns="0" rIns="0" bIns="0"/>
          <a:lstStyle/>
          <a:p>
            <a:pPr algn="l" rtl="0">
              <a:spcBef>
                <a:spcPts val="0"/>
              </a:spcBef>
              <a:spcAft>
                <a:spcPts val="1800"/>
              </a:spcAft>
            </a:pPr>
            <a:r>
              <a:rPr lang="x-es-XL" sz="2000" b="0" i="0" u="none" baseline="0"/>
              <a:t>En la actualidad, los equipos Genie se utilizan </a:t>
            </a:r>
            <a:br>
              <a:rPr lang="x-es-XL" sz="2000"/>
            </a:br>
            <a:r>
              <a:rPr lang="x-es-XL" sz="2000" b="0" i="0" u="none" baseline="0"/>
              <a:t>en una gran variedad de industrias y </a:t>
            </a:r>
            <a:br>
              <a:rPr lang="x-es-XL" sz="2000"/>
            </a:br>
            <a:r>
              <a:rPr lang="x-es-XL" sz="2000" b="0" i="0" u="none" baseline="0"/>
              <a:t>aplicaciones en todo el mundo.</a:t>
            </a:r>
            <a:endParaRPr lang="x-es-XL" sz="2000" dirty="0">
              <a:highlight>
                <a:srgbClr val="FFFF00"/>
              </a:highlight>
            </a:endParaRPr>
          </a:p>
          <a:p>
            <a:pPr marL="358775" indent="-352425" algn="l" rtl="0">
              <a:spcBef>
                <a:spcPts val="0"/>
              </a:spcBef>
              <a:spcAft>
                <a:spcPts val="0"/>
              </a:spcAft>
              <a:buSzPct val="130000"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</a:pPr>
            <a:r>
              <a:rPr lang="x-es-XL" sz="2400" b="0" i="0" u="none" baseline="0"/>
              <a:t>ALQUILER</a:t>
            </a:r>
          </a:p>
          <a:p>
            <a:pPr marL="358775" indent="-352425" algn="l" rtl="0">
              <a:spcBef>
                <a:spcPts val="0"/>
              </a:spcBef>
              <a:spcAft>
                <a:spcPts val="0"/>
              </a:spcAft>
              <a:buSzPct val="130000"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</a:pPr>
            <a:r>
              <a:rPr lang="x-es-XL" sz="2400" b="0" i="0" u="none" baseline="0"/>
              <a:t>AVIACIÓN </a:t>
            </a:r>
          </a:p>
          <a:p>
            <a:pPr marL="358775" indent="-352425" algn="l" rtl="0">
              <a:spcBef>
                <a:spcPts val="0"/>
              </a:spcBef>
              <a:spcAft>
                <a:spcPts val="0"/>
              </a:spcAft>
              <a:buSzPct val="130000"/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</a:pPr>
            <a:r>
              <a:rPr lang="x-es-XL" sz="2400" b="0" i="0" u="none" baseline="0"/>
              <a:t>CONSTRUCCIÓN</a:t>
            </a:r>
          </a:p>
          <a:p>
            <a:pPr marL="358775" indent="-352425" algn="l" rtl="0">
              <a:spcBef>
                <a:spcPts val="0"/>
              </a:spcBef>
              <a:spcAft>
                <a:spcPts val="0"/>
              </a:spcAft>
              <a:buSzPct val="130000"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</a:pPr>
            <a:r>
              <a:rPr lang="x-es-XL" sz="2400" b="0" i="0" u="none" baseline="0"/>
              <a:t>ENTRETENIMIENTO</a:t>
            </a:r>
          </a:p>
          <a:p>
            <a:pPr marL="358775" indent="-352425" algn="l" rtl="0">
              <a:spcBef>
                <a:spcPts val="0"/>
              </a:spcBef>
              <a:spcAft>
                <a:spcPts val="0"/>
              </a:spcAft>
              <a:buSzPct val="130000"/>
              <a:buBlip>
                <a:blip r:embed="rId14"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</a:buBlip>
            </a:pPr>
            <a:r>
              <a:rPr lang="x-es-XL" sz="2400" b="0" i="0" u="none" baseline="0"/>
              <a:t>GUBERNAMENTAL Y MILITAR </a:t>
            </a:r>
          </a:p>
          <a:p>
            <a:pPr marL="358775" indent="-352425" algn="l" rtl="0">
              <a:spcBef>
                <a:spcPts val="0"/>
              </a:spcBef>
              <a:spcAft>
                <a:spcPts val="0"/>
              </a:spcAft>
              <a:buSzPct val="130000"/>
              <a:buBlip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</a:buBlip>
            </a:pPr>
            <a:r>
              <a:rPr lang="x-es-XL" sz="2400" b="0" i="0" u="none" baseline="0"/>
              <a:t>INDUSTRIA</a:t>
            </a:r>
          </a:p>
          <a:p>
            <a:pPr marL="358775" indent="-352425" algn="l" rtl="0">
              <a:spcBef>
                <a:spcPts val="0"/>
              </a:spcBef>
              <a:spcAft>
                <a:spcPts val="0"/>
              </a:spcAft>
              <a:buSzPct val="130000"/>
              <a:buBlip>
                <a:blip r:embed="rId18">
                  <a:extLst>
                    <a:ext uri="{96DAC541-7B7A-43D3-8B79-37D633B846F1}">
                      <asvg:svgBlip xmlns:asvg="http://schemas.microsoft.com/office/drawing/2016/SVG/main" r:embed="rId19"/>
                    </a:ext>
                  </a:extLst>
                </a:blip>
              </a:buBlip>
            </a:pPr>
            <a:r>
              <a:rPr lang="x-es-XL" sz="2400" b="0" i="0" u="none" baseline="0"/>
              <a:t>ALMACENES</a:t>
            </a:r>
          </a:p>
          <a:p>
            <a:pPr marL="358775" indent="-352425" algn="l" rtl="0">
              <a:spcBef>
                <a:spcPts val="0"/>
              </a:spcBef>
              <a:spcAft>
                <a:spcPts val="0"/>
              </a:spcAft>
              <a:buSzPct val="130000"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</a:pPr>
            <a:r>
              <a:rPr lang="x-es-XL" sz="2400" b="0" i="0" u="none" baseline="0"/>
              <a:t>COMERCIO</a:t>
            </a:r>
          </a:p>
        </p:txBody>
      </p:sp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47" imgH="348" progId="TCLayout.ActiveDocument.1">
                  <p:embed/>
                </p:oleObj>
              </mc:Choice>
              <mc:Fallback>
                <p:oleObj name="think-cell Slide" r:id="rId22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x-es-XL" sz="3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37EB767-E9F3-624C-9628-897B2B2A6E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pPr algn="l" rtl="0"/>
            <a:r>
              <a:rPr lang="x-es-XL" b="1" i="0" u="none" baseline="0"/>
              <a:t>Avanzando junto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3A8213-0761-AC4C-B3B8-AA82F95F8C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204" y="748854"/>
            <a:ext cx="5611209" cy="452454"/>
          </a:xfrm>
        </p:spPr>
        <p:txBody>
          <a:bodyPr lIns="0" tIns="0" rIns="0" bIns="0"/>
          <a:lstStyle/>
          <a:p>
            <a:pPr algn="l" rtl="0"/>
            <a:r>
              <a:rPr lang="x-es-XL" b="1" i="0" u="none" baseline="0"/>
              <a:t>Un futuro basado en la calidad Genie  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4712838-0A6E-2849-AFC0-97E13FA06482}"/>
              </a:ext>
            </a:extLst>
          </p:cNvPr>
          <p:cNvGrpSpPr/>
          <p:nvPr/>
        </p:nvGrpSpPr>
        <p:grpSpPr>
          <a:xfrm>
            <a:off x="6850306" y="2743860"/>
            <a:ext cx="5333441" cy="2140673"/>
            <a:chOff x="6790230" y="2527557"/>
            <a:chExt cx="5460924" cy="2140673"/>
          </a:xfrm>
        </p:grpSpPr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E4DC0E21-2CDA-3B48-8A16-DD4FB5AB8290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6790230" y="2527557"/>
              <a:ext cx="720000" cy="720000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4A40C8EC-364B-2C46-9513-9D9CF9D06F0D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 rot="10800000">
              <a:off x="11531154" y="3948230"/>
              <a:ext cx="720000" cy="720000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0D61B1E-EB71-8C49-883E-122078C5CC0E}"/>
                </a:ext>
              </a:extLst>
            </p:cNvPr>
            <p:cNvSpPr/>
            <p:nvPr/>
          </p:nvSpPr>
          <p:spPr>
            <a:xfrm>
              <a:off x="6874861" y="2828452"/>
              <a:ext cx="4826470" cy="1538883"/>
            </a:xfrm>
            <a:prstGeom prst="rect">
              <a:avLst/>
            </a:prstGeom>
            <a:noFill/>
            <a:ln>
              <a:noFill/>
            </a:ln>
            <a:scene3d>
              <a:camera prst="perspectiveFront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spAutoFit/>
            </a:bodyPr>
            <a:lstStyle/>
            <a:p>
              <a:pPr marL="6350" algn="l" rtl="0">
                <a:spcBef>
                  <a:spcPts val="1200"/>
                </a:spcBef>
                <a:tabLst>
                  <a:tab pos="704850" algn="l"/>
                </a:tabLst>
                <a:defRPr/>
              </a:pPr>
              <a:r>
                <a:rPr lang="x-es-XL" sz="2000" b="0" i="1" u="none" baseline="0">
                  <a:solidFill>
                    <a:schemeClr val="accent3">
                      <a:lumMod val="50000"/>
                    </a:schemeClr>
                  </a:solidFill>
                </a:rPr>
                <a:t>         </a:t>
              </a:r>
              <a:r>
                <a:rPr lang="x-es-XL" sz="1600" b="0" i="1" u="none" baseline="0">
                  <a:solidFill>
                    <a:schemeClr val="accent3">
                      <a:lumMod val="50000"/>
                    </a:schemeClr>
                  </a:solidFill>
                </a:rPr>
                <a:t>Si bien muchas cosas han cambiado en el sector a lo largo de los años, el compromiso permanente de Genie </a:t>
              </a:r>
              <a:br>
                <a:rPr lang="x-es-XL" sz="1600" i="1">
                  <a:solidFill>
                    <a:schemeClr val="accent3">
                      <a:lumMod val="50000"/>
                    </a:schemeClr>
                  </a:solidFill>
                </a:rPr>
              </a:br>
              <a:r>
                <a:rPr lang="x-es-XL" sz="1600" b="0" i="1" u="none" baseline="0">
                  <a:solidFill>
                    <a:schemeClr val="accent3">
                      <a:lumMod val="50000"/>
                    </a:schemeClr>
                  </a:solidFill>
                </a:rPr>
                <a:t>con la calidad en todos los niveles de la organización ha garantizado que siga siendo la marca elegida por </a:t>
              </a:r>
              <a:r>
                <a:rPr lang="fr-FR" sz="1600" b="0" i="1" u="none" baseline="0" dirty="0">
                  <a:solidFill>
                    <a:schemeClr val="accent3">
                      <a:lumMod val="50000"/>
                    </a:schemeClr>
                  </a:solidFill>
                </a:rPr>
                <a:t>l</a:t>
              </a:r>
              <a:r>
                <a:rPr lang="x-es-XL" sz="1600" b="0" i="1" u="none" baseline="0">
                  <a:solidFill>
                    <a:schemeClr val="accent3">
                      <a:lumMod val="50000"/>
                    </a:schemeClr>
                  </a:solidFill>
                </a:rPr>
                <a:t>os clientes que exigen lo mejor.</a:t>
              </a:r>
            </a:p>
          </p:txBody>
        </p:sp>
      </p:grp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536A77C7-DB44-4B43-9BAF-310FF226DEB3}"/>
              </a:ext>
            </a:extLst>
          </p:cNvPr>
          <p:cNvSpPr txBox="1">
            <a:spLocks/>
          </p:cNvSpPr>
          <p:nvPr/>
        </p:nvSpPr>
        <p:spPr>
          <a:xfrm>
            <a:off x="7926472" y="5086281"/>
            <a:ext cx="3936041" cy="521746"/>
          </a:xfrm>
          <a:prstGeom prst="rect">
            <a:avLst/>
          </a:prstGeom>
        </p:spPr>
        <p:txBody>
          <a:bodyPr vert="horz" lIns="0" tIns="0" rIns="0" bIns="0" numCol="1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lnSpc>
                <a:spcPts val="2280"/>
              </a:lnSpc>
              <a:spcAft>
                <a:spcPts val="0"/>
              </a:spcAft>
            </a:pPr>
            <a:r>
              <a:rPr lang="x-es-XL" b="1" i="0" u="none" baseline="0">
                <a:solidFill>
                  <a:schemeClr val="accent5"/>
                </a:solidFill>
              </a:rPr>
              <a:t>Simon Meester</a:t>
            </a:r>
          </a:p>
          <a:p>
            <a:pPr algn="l" rtl="0">
              <a:lnSpc>
                <a:spcPts val="580"/>
              </a:lnSpc>
            </a:pPr>
            <a:r>
              <a:rPr lang="x-es-XL" sz="1400" b="0" i="1" u="none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Presidente de Genie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2CFCC950-E317-4485-AA53-822A10CBF73A}"/>
              </a:ext>
            </a:extLst>
          </p:cNvPr>
          <p:cNvPicPr>
            <a:picLocks noChangeAspect="1"/>
          </p:cNvPicPr>
          <p:nvPr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67577" y="4834208"/>
            <a:ext cx="1080000" cy="1080000"/>
          </a:xfrm>
          <a:prstGeom prst="ellipse">
            <a:avLst/>
          </a:prstGeom>
        </p:spPr>
      </p:pic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5BD40BA3-8279-0441-A1A5-B803DE2184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x-es-XL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80940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8F098B17-216E-1D45-9856-C5C76545E483}"/>
              </a:ext>
            </a:extLst>
          </p:cNvPr>
          <p:cNvSpPr/>
          <p:nvPr/>
        </p:nvSpPr>
        <p:spPr>
          <a:xfrm>
            <a:off x="320538" y="1316534"/>
            <a:ext cx="11484215" cy="1902893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x-es-X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838279-E6B2-4B03-BC9A-1DB95A5A0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8" y="254738"/>
            <a:ext cx="11841481" cy="528520"/>
          </a:xfrm>
        </p:spPr>
        <p:txBody>
          <a:bodyPr lIns="0" tIns="0" rIns="0" bIns="0"/>
          <a:lstStyle/>
          <a:p>
            <a:pPr algn="l" rtl="0"/>
            <a:r>
              <a:rPr lang="x-es-XL" b="1" i="0" u="none" baseline="0"/>
              <a:t>Gama de producto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D8CAE9A1-F89D-5E4E-B0F7-3C1BCB2E824D}"/>
              </a:ext>
            </a:extLst>
          </p:cNvPr>
          <p:cNvSpPr txBox="1">
            <a:spLocks/>
          </p:cNvSpPr>
          <p:nvPr/>
        </p:nvSpPr>
        <p:spPr>
          <a:xfrm>
            <a:off x="7562471" y="2808080"/>
            <a:ext cx="1132406" cy="4524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>
              <a:lnSpc>
                <a:spcPts val="1500"/>
              </a:lnSpc>
            </a:pPr>
            <a:r>
              <a:rPr lang="x-es-XL" sz="1400" b="1" i="0" u="none" spc="10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ODELO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A070448-BA0F-2844-89B7-2B074B5386D2}"/>
              </a:ext>
            </a:extLst>
          </p:cNvPr>
          <p:cNvSpPr txBox="1"/>
          <p:nvPr/>
        </p:nvSpPr>
        <p:spPr>
          <a:xfrm>
            <a:off x="505749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x-es-XL" sz="6600" b="0" i="0" u="none" baseline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02136B7-5D0D-FE4C-B109-A7E0771E1383}"/>
              </a:ext>
            </a:extLst>
          </p:cNvPr>
          <p:cNvSpPr txBox="1"/>
          <p:nvPr/>
        </p:nvSpPr>
        <p:spPr>
          <a:xfrm rot="10800000">
            <a:off x="504331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x-es-XL" sz="4800">
              <a:solidFill>
                <a:schemeClr val="bg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4B5E376-56ED-694A-86BE-FC256CC78670}"/>
              </a:ext>
            </a:extLst>
          </p:cNvPr>
          <p:cNvSpPr txBox="1"/>
          <p:nvPr/>
        </p:nvSpPr>
        <p:spPr>
          <a:xfrm>
            <a:off x="1261290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x-es-XL" sz="6600" b="0" i="0" u="none" baseline="0">
                <a:solidFill>
                  <a:schemeClr val="bg1"/>
                </a:solidFill>
                <a:latin typeface="Arial"/>
                <a:ea typeface="Arial"/>
                <a:cs typeface="Arial"/>
              </a:rPr>
              <a:t>5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5D7A241-4431-C447-B801-F8187B44E8AE}"/>
              </a:ext>
            </a:extLst>
          </p:cNvPr>
          <p:cNvSpPr txBox="1"/>
          <p:nvPr/>
        </p:nvSpPr>
        <p:spPr>
          <a:xfrm rot="10800000">
            <a:off x="1256021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x-es-XL" sz="4800">
              <a:solidFill>
                <a:schemeClr val="bg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41FACF8-CA20-B64A-AE96-2717520EBAC5}"/>
              </a:ext>
            </a:extLst>
          </p:cNvPr>
          <p:cNvSpPr txBox="1"/>
          <p:nvPr/>
        </p:nvSpPr>
        <p:spPr>
          <a:xfrm>
            <a:off x="2016833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x-es-XL" sz="6600" b="0" i="0" u="none" baseline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FEDA7C2-9051-3643-929D-3C25D9BBBC19}"/>
              </a:ext>
            </a:extLst>
          </p:cNvPr>
          <p:cNvSpPr txBox="1"/>
          <p:nvPr/>
        </p:nvSpPr>
        <p:spPr>
          <a:xfrm rot="10800000">
            <a:off x="2015413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x-es-XL" sz="4800">
              <a:solidFill>
                <a:schemeClr val="bg1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F8102C7-791D-EE45-8891-9B42A17AE0EE}"/>
              </a:ext>
            </a:extLst>
          </p:cNvPr>
          <p:cNvSpPr txBox="1"/>
          <p:nvPr/>
        </p:nvSpPr>
        <p:spPr>
          <a:xfrm>
            <a:off x="2772375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x-es-XL" sz="6600" b="0" i="0" u="none" baseline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414CDAA-DB70-AD40-AF46-5651E79C6F82}"/>
              </a:ext>
            </a:extLst>
          </p:cNvPr>
          <p:cNvSpPr txBox="1"/>
          <p:nvPr/>
        </p:nvSpPr>
        <p:spPr>
          <a:xfrm rot="10800000">
            <a:off x="2770957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x-es-XL" sz="4800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15D0BB1-0817-B849-BAE3-6EB5711437E1}"/>
              </a:ext>
            </a:extLst>
          </p:cNvPr>
          <p:cNvSpPr txBox="1"/>
          <p:nvPr/>
        </p:nvSpPr>
        <p:spPr>
          <a:xfrm>
            <a:off x="3527918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x-es-XL" sz="6600" b="0" i="0" u="none" baseline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92C4EB2-0B52-1D41-90FB-27E6F0D72E35}"/>
              </a:ext>
            </a:extLst>
          </p:cNvPr>
          <p:cNvSpPr txBox="1"/>
          <p:nvPr/>
        </p:nvSpPr>
        <p:spPr>
          <a:xfrm rot="10800000">
            <a:off x="3526500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x-es-XL" sz="4800">
              <a:solidFill>
                <a:schemeClr val="bg1"/>
              </a:solidFill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4F73147E-C3E5-BC4A-8BB3-AE0DF3C8B381}"/>
              </a:ext>
            </a:extLst>
          </p:cNvPr>
          <p:cNvSpPr txBox="1"/>
          <p:nvPr/>
        </p:nvSpPr>
        <p:spPr>
          <a:xfrm>
            <a:off x="4715786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x-es-XL" sz="6600" b="0" i="0" u="none" baseline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351FED1A-466E-7C46-943B-5D32758B6E86}"/>
              </a:ext>
            </a:extLst>
          </p:cNvPr>
          <p:cNvSpPr txBox="1"/>
          <p:nvPr/>
        </p:nvSpPr>
        <p:spPr>
          <a:xfrm rot="10800000">
            <a:off x="4714368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x-es-XL" sz="4800">
              <a:solidFill>
                <a:schemeClr val="bg1"/>
              </a:solidFill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1B7D9ACD-F2FC-CA42-A691-AA2BF1027953}"/>
              </a:ext>
            </a:extLst>
          </p:cNvPr>
          <p:cNvSpPr txBox="1"/>
          <p:nvPr/>
        </p:nvSpPr>
        <p:spPr>
          <a:xfrm>
            <a:off x="5471327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x-es-XL" sz="6600" b="0" i="0" u="none" baseline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DB7D9090-2FE2-AF4B-AD4A-A68C55F43E21}"/>
              </a:ext>
            </a:extLst>
          </p:cNvPr>
          <p:cNvSpPr txBox="1"/>
          <p:nvPr/>
        </p:nvSpPr>
        <p:spPr>
          <a:xfrm rot="10800000">
            <a:off x="5466058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x-es-XL" sz="4800">
              <a:solidFill>
                <a:schemeClr val="bg1"/>
              </a:solidFill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CA764144-C220-3E44-AE00-C70C93ED552B}"/>
              </a:ext>
            </a:extLst>
          </p:cNvPr>
          <p:cNvSpPr txBox="1"/>
          <p:nvPr/>
        </p:nvSpPr>
        <p:spPr>
          <a:xfrm>
            <a:off x="6226870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x-es-XL" sz="6600" b="0" i="0" u="none" baseline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98D5409-6069-D04A-A6AE-79404FB4CA4B}"/>
              </a:ext>
            </a:extLst>
          </p:cNvPr>
          <p:cNvSpPr txBox="1"/>
          <p:nvPr/>
        </p:nvSpPr>
        <p:spPr>
          <a:xfrm rot="10800000">
            <a:off x="6225450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x-es-XL" sz="4800">
              <a:solidFill>
                <a:schemeClr val="bg1"/>
              </a:solidFill>
            </a:endParaRPr>
          </a:p>
        </p:txBody>
      </p:sp>
      <p:sp>
        <p:nvSpPr>
          <p:cNvPr id="83" name="Text Placeholder 6">
            <a:extLst>
              <a:ext uri="{FF2B5EF4-FFF2-40B4-BE49-F238E27FC236}">
                <a16:creationId xmlns:a16="http://schemas.microsoft.com/office/drawing/2014/main" id="{FEDF8BB8-DA5C-5C47-BAB1-930BF25CF2D5}"/>
              </a:ext>
            </a:extLst>
          </p:cNvPr>
          <p:cNvSpPr txBox="1">
            <a:spLocks/>
          </p:cNvSpPr>
          <p:nvPr/>
        </p:nvSpPr>
        <p:spPr>
          <a:xfrm>
            <a:off x="500728" y="2724418"/>
            <a:ext cx="3738572" cy="3082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>
              <a:lnSpc>
                <a:spcPts val="1500"/>
              </a:lnSpc>
            </a:pPr>
            <a:r>
              <a:rPr lang="x-es-XL" sz="1400" b="1" i="0" u="none" spc="10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ÁQUINAS AL AÑO</a:t>
            </a:r>
          </a:p>
        </p:txBody>
      </p:sp>
      <p:sp>
        <p:nvSpPr>
          <p:cNvPr id="85" name="Text Placeholder 6">
            <a:extLst>
              <a:ext uri="{FF2B5EF4-FFF2-40B4-BE49-F238E27FC236}">
                <a16:creationId xmlns:a16="http://schemas.microsoft.com/office/drawing/2014/main" id="{80BCB6E9-0703-C44A-8C4A-2B95DA0861CD}"/>
              </a:ext>
            </a:extLst>
          </p:cNvPr>
          <p:cNvSpPr txBox="1">
            <a:spLocks/>
          </p:cNvSpPr>
          <p:nvPr/>
        </p:nvSpPr>
        <p:spPr>
          <a:xfrm>
            <a:off x="4714369" y="2724418"/>
            <a:ext cx="2223882" cy="3082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>
              <a:lnSpc>
                <a:spcPts val="1500"/>
              </a:lnSpc>
            </a:pPr>
            <a:r>
              <a:rPr lang="x-es-XL" sz="1400" b="1" i="0" u="none" spc="10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UNIDADES POR DÍA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9A294975-CBEC-604B-B2CC-CE6F8E4EDB27}"/>
              </a:ext>
            </a:extLst>
          </p:cNvPr>
          <p:cNvSpPr txBox="1"/>
          <p:nvPr/>
        </p:nvSpPr>
        <p:spPr>
          <a:xfrm>
            <a:off x="7414737" y="1542239"/>
            <a:ext cx="712800" cy="1156324"/>
          </a:xfrm>
          <a:prstGeom prst="roundRect">
            <a:avLst/>
          </a:prstGeom>
          <a:solidFill>
            <a:schemeClr val="accent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x-es-XL" sz="6600" b="0" i="0" u="none" baseline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B9151EBB-E08C-9840-B501-B450FA110B3A}"/>
              </a:ext>
            </a:extLst>
          </p:cNvPr>
          <p:cNvSpPr txBox="1"/>
          <p:nvPr/>
        </p:nvSpPr>
        <p:spPr>
          <a:xfrm rot="10800000">
            <a:off x="7413319" y="2110251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x-es-XL" sz="4800">
              <a:solidFill>
                <a:schemeClr val="bg1"/>
              </a:solidFill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DC70DABE-EED4-944E-AE03-A1E40DFCA84D}"/>
              </a:ext>
            </a:extLst>
          </p:cNvPr>
          <p:cNvSpPr txBox="1"/>
          <p:nvPr/>
        </p:nvSpPr>
        <p:spPr>
          <a:xfrm>
            <a:off x="8170278" y="1542239"/>
            <a:ext cx="712800" cy="1156324"/>
          </a:xfrm>
          <a:prstGeom prst="roundRect">
            <a:avLst/>
          </a:prstGeom>
          <a:solidFill>
            <a:schemeClr val="accent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x-es-XL" sz="6600" b="0" i="0" u="none" baseline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09F89D9A-89C1-7548-82D8-4A2C218058D8}"/>
              </a:ext>
            </a:extLst>
          </p:cNvPr>
          <p:cNvSpPr txBox="1"/>
          <p:nvPr/>
        </p:nvSpPr>
        <p:spPr>
          <a:xfrm rot="10800000">
            <a:off x="8165009" y="2110251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x-es-XL" sz="4800">
              <a:solidFill>
                <a:schemeClr val="bg1"/>
              </a:solidFill>
            </a:endParaRPr>
          </a:p>
        </p:txBody>
      </p:sp>
      <p:sp>
        <p:nvSpPr>
          <p:cNvPr id="99" name="Text Placeholder 6">
            <a:extLst>
              <a:ext uri="{FF2B5EF4-FFF2-40B4-BE49-F238E27FC236}">
                <a16:creationId xmlns:a16="http://schemas.microsoft.com/office/drawing/2014/main" id="{B348FBEB-8B03-104A-AF43-40AC4CA8744F}"/>
              </a:ext>
            </a:extLst>
          </p:cNvPr>
          <p:cNvSpPr txBox="1">
            <a:spLocks/>
          </p:cNvSpPr>
          <p:nvPr/>
        </p:nvSpPr>
        <p:spPr>
          <a:xfrm>
            <a:off x="9419625" y="2728712"/>
            <a:ext cx="2160277" cy="4907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>
              <a:lnSpc>
                <a:spcPts val="1500"/>
              </a:lnSpc>
            </a:pPr>
            <a:r>
              <a:rPr lang="x-es-XL" sz="1400" b="1" i="0" u="none" spc="10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RODUCCIÓN</a:t>
            </a:r>
            <a:br>
              <a:rPr lang="x-es-XL" sz="1400" spc="1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x-es-XL" sz="1400" b="1" i="0" u="none" spc="10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GLOBAL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F468F0DB-568A-0643-9698-A9F37ED85456}"/>
              </a:ext>
            </a:extLst>
          </p:cNvPr>
          <p:cNvSpPr txBox="1"/>
          <p:nvPr/>
        </p:nvSpPr>
        <p:spPr>
          <a:xfrm>
            <a:off x="9419625" y="1491837"/>
            <a:ext cx="2160277" cy="1156324"/>
          </a:xfrm>
          <a:prstGeom prst="roundRect">
            <a:avLst>
              <a:gd name="adj" fmla="val 8241"/>
            </a:avLst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x-es-XL" sz="6600" b="0" i="0" u="none" baseline="0">
                <a:solidFill>
                  <a:schemeClr val="bg1"/>
                </a:solidFill>
              </a:rPr>
              <a:t>24/7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F9FEF0E-B944-264B-AA70-3ECD31252691}"/>
              </a:ext>
            </a:extLst>
          </p:cNvPr>
          <p:cNvSpPr txBox="1"/>
          <p:nvPr/>
        </p:nvSpPr>
        <p:spPr>
          <a:xfrm rot="10800000">
            <a:off x="9418205" y="2059849"/>
            <a:ext cx="2160277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x-es-XL" sz="4800">
              <a:solidFill>
                <a:schemeClr val="bg1"/>
              </a:solidFill>
            </a:endParaRP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C181E916-17C9-9341-BDAB-7E849F9F6B7F}"/>
              </a:ext>
            </a:extLst>
          </p:cNvPr>
          <p:cNvSpPr/>
          <p:nvPr/>
        </p:nvSpPr>
        <p:spPr>
          <a:xfrm>
            <a:off x="320539" y="3429001"/>
            <a:ext cx="3708000" cy="1108880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72000" rtlCol="0" anchor="t" anchorCtr="0"/>
          <a:lstStyle/>
          <a:p>
            <a:pPr algn="l" rtl="0">
              <a:spcAft>
                <a:spcPts val="1200"/>
              </a:spcAft>
            </a:pPr>
            <a:r>
              <a:rPr lang="x-es-XL" sz="1600" b="1" i="0" u="none" baseline="0">
                <a:solidFill>
                  <a:schemeClr val="bg2"/>
                </a:solidFill>
              </a:rPr>
              <a:t>Elevadores de material</a:t>
            </a:r>
            <a:endParaRPr lang="x-es-XL" sz="1600" b="1">
              <a:solidFill>
                <a:schemeClr val="accent3">
                  <a:lumMod val="50000"/>
                </a:schemeClr>
              </a:solidFill>
            </a:endParaRPr>
          </a:p>
          <a:p>
            <a:pPr algn="l" rtl="0">
              <a:spcAft>
                <a:spcPts val="1200"/>
              </a:spcAft>
            </a:pPr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</a:rPr>
              <a:t>Compactos, ligeros </a:t>
            </a:r>
            <a:br>
              <a:rPr lang="x-es-XL" sz="1200">
                <a:solidFill>
                  <a:schemeClr val="accent3">
                    <a:lumMod val="50000"/>
                  </a:schemeClr>
                </a:solidFill>
              </a:rPr>
            </a:br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</a:rPr>
              <a:t>y fáciles de transportar</a:t>
            </a: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90729FFD-8FD1-604A-9B5D-85F83434CEFB}"/>
              </a:ext>
            </a:extLst>
          </p:cNvPr>
          <p:cNvSpPr/>
          <p:nvPr/>
        </p:nvSpPr>
        <p:spPr>
          <a:xfrm>
            <a:off x="4208668" y="3429001"/>
            <a:ext cx="3708000" cy="1108880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72000" rtlCol="0" anchor="t" anchorCtr="0"/>
          <a:lstStyle/>
          <a:p>
            <a:pPr algn="l" rtl="0">
              <a:spcAft>
                <a:spcPts val="1200"/>
              </a:spcAft>
            </a:pPr>
            <a:r>
              <a:rPr lang="x-es-XL" sz="1600" b="1" i="0" u="none" baseline="0">
                <a:solidFill>
                  <a:schemeClr val="bg2"/>
                </a:solidFill>
              </a:rPr>
              <a:t>Elevadores de Personas</a:t>
            </a:r>
            <a:endParaRPr lang="x-es-XL" sz="1600" b="1" dirty="0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</a:rPr>
              <a:t>Prácticos y rentables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20D7CCF0-30D0-7442-ABC8-323CA1FAC365}"/>
              </a:ext>
            </a:extLst>
          </p:cNvPr>
          <p:cNvSpPr/>
          <p:nvPr/>
        </p:nvSpPr>
        <p:spPr>
          <a:xfrm>
            <a:off x="8096753" y="3429001"/>
            <a:ext cx="3708000" cy="1108880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72000" rtlCol="0" anchor="t" anchorCtr="0"/>
          <a:lstStyle/>
          <a:p>
            <a:pPr algn="l" rtl="0">
              <a:spcAft>
                <a:spcPts val="1200"/>
              </a:spcAft>
            </a:pPr>
            <a:r>
              <a:rPr lang="x-es-XL" sz="1600" b="1" i="0" u="none" baseline="0">
                <a:solidFill>
                  <a:schemeClr val="bg2"/>
                </a:solidFill>
              </a:rPr>
              <a:t>Plataformas de tijera</a:t>
            </a:r>
            <a:endParaRPr lang="x-es-XL" sz="1600" b="1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</a:rPr>
              <a:t>Alta eficiencia con excelente maniobrabilidad </a:t>
            </a:r>
          </a:p>
        </p:txBody>
      </p:sp>
      <p:sp>
        <p:nvSpPr>
          <p:cNvPr id="51" name="Rounded Rectangle 50">
            <a:extLst>
              <a:ext uri="{FF2B5EF4-FFF2-40B4-BE49-F238E27FC236}">
                <a16:creationId xmlns:a16="http://schemas.microsoft.com/office/drawing/2014/main" id="{51B7A5D7-4412-2447-BB86-45A58134F2BD}"/>
              </a:ext>
            </a:extLst>
          </p:cNvPr>
          <p:cNvSpPr/>
          <p:nvPr/>
        </p:nvSpPr>
        <p:spPr>
          <a:xfrm>
            <a:off x="320538" y="4677770"/>
            <a:ext cx="3708000" cy="1271768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72000" rtlCol="0" anchor="t" anchorCtr="0"/>
          <a:lstStyle/>
          <a:p>
            <a:pPr algn="l" rtl="0">
              <a:spcAft>
                <a:spcPts val="1200"/>
              </a:spcAft>
            </a:pPr>
            <a:r>
              <a:rPr lang="x-es-XL" sz="1600" b="1" i="0" u="none" baseline="0">
                <a:solidFill>
                  <a:schemeClr val="bg2"/>
                </a:solidFill>
              </a:rPr>
              <a:t>Plataformas</a:t>
            </a:r>
            <a:r>
              <a:rPr lang="fr-FR" sz="1600" b="1" i="0" u="none" baseline="0" dirty="0">
                <a:solidFill>
                  <a:schemeClr val="bg2"/>
                </a:solidFill>
              </a:rPr>
              <a:t> </a:t>
            </a:r>
            <a:r>
              <a:rPr lang="x-es-XL" sz="1600" b="1" i="0" u="none" baseline="0">
                <a:solidFill>
                  <a:schemeClr val="bg2"/>
                </a:solidFill>
              </a:rPr>
              <a:t>telescópicas</a:t>
            </a:r>
            <a:endParaRPr lang="x-es-XL" sz="1600" b="1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</a:rPr>
              <a:t>Excepcional alcance horizontal</a:t>
            </a:r>
            <a:r>
              <a:rPr lang="fr-F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</a:rPr>
              <a:t>con posicionamiento preciso</a:t>
            </a:r>
          </a:p>
        </p:txBody>
      </p:sp>
      <p:sp>
        <p:nvSpPr>
          <p:cNvPr id="54" name="Rounded Rectangle 53">
            <a:extLst>
              <a:ext uri="{FF2B5EF4-FFF2-40B4-BE49-F238E27FC236}">
                <a16:creationId xmlns:a16="http://schemas.microsoft.com/office/drawing/2014/main" id="{41631DFC-973D-9148-855D-74687FDF7062}"/>
              </a:ext>
            </a:extLst>
          </p:cNvPr>
          <p:cNvSpPr/>
          <p:nvPr/>
        </p:nvSpPr>
        <p:spPr>
          <a:xfrm>
            <a:off x="4208645" y="4677770"/>
            <a:ext cx="3708000" cy="1271768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72000" rtlCol="0" anchor="t" anchorCtr="0"/>
          <a:lstStyle/>
          <a:p>
            <a:pPr algn="l" rtl="0">
              <a:spcAft>
                <a:spcPts val="1200"/>
              </a:spcAft>
            </a:pPr>
            <a:r>
              <a:rPr lang="x-es-XL" sz="1600" b="1" i="0" u="none" baseline="0">
                <a:solidFill>
                  <a:schemeClr val="bg2"/>
                </a:solidFill>
              </a:rPr>
              <a:t>Plataformas articuladas</a:t>
            </a:r>
            <a:endParaRPr lang="x-es-XL" sz="1600" b="1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</a:rPr>
              <a:t>Impresionante alcance vertical, horizontal y por encima para lugares de difícil acceso</a:t>
            </a:r>
          </a:p>
        </p:txBody>
      </p:sp>
      <p:sp>
        <p:nvSpPr>
          <p:cNvPr id="55" name="Rounded Rectangle 54">
            <a:extLst>
              <a:ext uri="{FF2B5EF4-FFF2-40B4-BE49-F238E27FC236}">
                <a16:creationId xmlns:a16="http://schemas.microsoft.com/office/drawing/2014/main" id="{BA3E26A2-F046-954E-B7A9-012A60B511E2}"/>
              </a:ext>
            </a:extLst>
          </p:cNvPr>
          <p:cNvSpPr/>
          <p:nvPr/>
        </p:nvSpPr>
        <p:spPr>
          <a:xfrm>
            <a:off x="8096753" y="4677770"/>
            <a:ext cx="3708000" cy="1271768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72000" rtlCol="0" anchor="t" anchorCtr="0"/>
          <a:lstStyle/>
          <a:p>
            <a:pPr algn="l" rtl="0">
              <a:spcAft>
                <a:spcPts val="1200"/>
              </a:spcAft>
            </a:pPr>
            <a:r>
              <a:rPr lang="x-es-XL" sz="1600" b="1" i="0" u="none" baseline="0">
                <a:solidFill>
                  <a:schemeClr val="bg2"/>
                </a:solidFill>
              </a:rPr>
              <a:t>Manipuladores</a:t>
            </a:r>
            <a:r>
              <a:rPr lang="fr-FR" sz="1600" b="1" i="0" u="none" baseline="0" dirty="0">
                <a:solidFill>
                  <a:schemeClr val="bg2"/>
                </a:solidFill>
              </a:rPr>
              <a:t> </a:t>
            </a:r>
            <a:r>
              <a:rPr lang="x-es-XL" sz="1600" b="1" i="0" u="none" baseline="0">
                <a:solidFill>
                  <a:schemeClr val="bg2"/>
                </a:solidFill>
              </a:rPr>
              <a:t>telescópicos</a:t>
            </a:r>
            <a:endParaRPr lang="x-es-XL" sz="1600" b="1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</a:rPr>
              <a:t>Diseño resistente y rendimiento</a:t>
            </a:r>
            <a:r>
              <a:rPr lang="fr-F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</a:rPr>
              <a:t>potente para la manipulación de</a:t>
            </a:r>
            <a:r>
              <a:rPr lang="fr-F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x-es-XL" sz="1200" b="0" i="0" u="none" baseline="0">
                <a:solidFill>
                  <a:schemeClr val="accent3">
                    <a:lumMod val="50000"/>
                  </a:schemeClr>
                </a:solidFill>
              </a:rPr>
              <a:t>materiales en exterior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C671E0-4D37-8844-A155-7EB43D86B1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0409" y="3527946"/>
            <a:ext cx="512182" cy="92192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010321A-D11D-014E-8308-589E2879B2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78042" y="3527946"/>
            <a:ext cx="791677" cy="92643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7352332-A1AD-A447-BC1F-DA81B25A835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4071" y="3545653"/>
            <a:ext cx="716136" cy="9127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6B8FF55-1A58-7345-A0B5-02EF553A69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96523" y="4772244"/>
            <a:ext cx="1120081" cy="861601"/>
          </a:xfrm>
          <a:prstGeom prst="rect">
            <a:avLst/>
          </a:prstGeom>
        </p:spPr>
      </p:pic>
      <p:sp>
        <p:nvSpPr>
          <p:cNvPr id="62" name="Text Placeholder 3">
            <a:extLst>
              <a:ext uri="{FF2B5EF4-FFF2-40B4-BE49-F238E27FC236}">
                <a16:creationId xmlns:a16="http://schemas.microsoft.com/office/drawing/2014/main" id="{91F5C1B4-9A4F-5340-9297-273BEB08F6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204" y="776091"/>
            <a:ext cx="9743822" cy="402428"/>
          </a:xfrm>
        </p:spPr>
        <p:txBody>
          <a:bodyPr lIns="0" tIns="0" rIns="0" bIns="0"/>
          <a:lstStyle/>
          <a:p>
            <a:pPr algn="l" rtl="0"/>
            <a:r>
              <a:rPr lang="x-es-XL" b="1" i="0" u="none" baseline="0"/>
              <a:t>Proporcionando calidad a través de la experiencia en aplicaciones y la excelencia en fabricación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9BDE6A5-398E-384D-9F4A-2DC403648F3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38250" y="4851779"/>
            <a:ext cx="932335" cy="74193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6430174-8534-4D47-A23D-D9A1EBA41AF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27445" y="4602893"/>
            <a:ext cx="855146" cy="1085067"/>
          </a:xfrm>
          <a:prstGeom prst="rect">
            <a:avLst/>
          </a:prstGeom>
        </p:spPr>
      </p:pic>
      <p:sp>
        <p:nvSpPr>
          <p:cNvPr id="50" name="Slide Number Placeholder 5">
            <a:extLst>
              <a:ext uri="{FF2B5EF4-FFF2-40B4-BE49-F238E27FC236}">
                <a16:creationId xmlns:a16="http://schemas.microsoft.com/office/drawing/2014/main" id="{6E450660-D15D-274E-B325-59F7A6ED4B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x-es-XL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5658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161FF64-ACC3-4F4B-890E-A47FEC13AC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8" y="147023"/>
            <a:ext cx="11841481" cy="640080"/>
          </a:xfrm>
        </p:spPr>
        <p:txBody>
          <a:bodyPr lIns="0" tIns="0" rIns="0" bIns="0"/>
          <a:lstStyle/>
          <a:p>
            <a:pPr algn="l" rtl="0"/>
            <a:r>
              <a:rPr lang="x-es-XL" b="1" i="0" u="none" baseline="0"/>
              <a:t>Presencia de fabricación glob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47A75E-A352-430A-88B5-2B00382DF3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204" y="644626"/>
            <a:ext cx="11841796" cy="452454"/>
          </a:xfrm>
        </p:spPr>
        <p:txBody>
          <a:bodyPr lIns="0" tIns="0" rIns="0" bIns="0"/>
          <a:lstStyle/>
          <a:p>
            <a:pPr algn="l" rtl="0"/>
            <a:r>
              <a:rPr lang="x-es-XL" b="1" i="0" u="none" baseline="0"/>
              <a:t>Ubicaciones regionales para atender mejor a los clientes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B588DCB8-6D3C-49CD-A2FB-E0EE22A430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x-es-XL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9" name="Freeform: Shape 2319">
            <a:extLst>
              <a:ext uri="{FF2B5EF4-FFF2-40B4-BE49-F238E27FC236}">
                <a16:creationId xmlns:a16="http://schemas.microsoft.com/office/drawing/2014/main" id="{B33D8139-C53A-4D78-BAEC-F195B74462F9}"/>
              </a:ext>
            </a:extLst>
          </p:cNvPr>
          <p:cNvSpPr/>
          <p:nvPr/>
        </p:nvSpPr>
        <p:spPr>
          <a:xfrm>
            <a:off x="4215850" y="1384154"/>
            <a:ext cx="3770" cy="3770"/>
          </a:xfrm>
          <a:custGeom>
            <a:avLst/>
            <a:gdLst>
              <a:gd name="connsiteX0" fmla="*/ 0 w 3934"/>
              <a:gd name="connsiteY0" fmla="*/ 1180 h 0"/>
              <a:gd name="connsiteX1" fmla="*/ 2754 w 3934"/>
              <a:gd name="connsiteY1" fmla="*/ 1967 h 0"/>
              <a:gd name="connsiteX2" fmla="*/ 5901 w 3934"/>
              <a:gd name="connsiteY2" fmla="*/ 1574 h 0"/>
              <a:gd name="connsiteX3" fmla="*/ 3147 w 3934"/>
              <a:gd name="connsiteY3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34">
                <a:moveTo>
                  <a:pt x="0" y="1180"/>
                </a:moveTo>
                <a:lnTo>
                  <a:pt x="2754" y="1967"/>
                </a:lnTo>
                <a:lnTo>
                  <a:pt x="5901" y="1574"/>
                </a:lnTo>
                <a:lnTo>
                  <a:pt x="3147" y="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8" name="Freeform: Shape 2338">
            <a:extLst>
              <a:ext uri="{FF2B5EF4-FFF2-40B4-BE49-F238E27FC236}">
                <a16:creationId xmlns:a16="http://schemas.microsoft.com/office/drawing/2014/main" id="{E1E384DB-9391-486A-96A5-0F5B1BA331DA}"/>
              </a:ext>
            </a:extLst>
          </p:cNvPr>
          <p:cNvSpPr/>
          <p:nvPr/>
        </p:nvSpPr>
        <p:spPr>
          <a:xfrm>
            <a:off x="4550679" y="1341923"/>
            <a:ext cx="3770" cy="3770"/>
          </a:xfrm>
          <a:custGeom>
            <a:avLst/>
            <a:gdLst>
              <a:gd name="connsiteX0" fmla="*/ 6295 w 3934"/>
              <a:gd name="connsiteY0" fmla="*/ 393 h 0"/>
              <a:gd name="connsiteX1" fmla="*/ 3148 w 3934"/>
              <a:gd name="connsiteY1" fmla="*/ 0 h 0"/>
              <a:gd name="connsiteX2" fmla="*/ 0 w 3934"/>
              <a:gd name="connsiteY2" fmla="*/ 393 h 0"/>
              <a:gd name="connsiteX3" fmla="*/ 2754 w 3934"/>
              <a:gd name="connsiteY3" fmla="*/ 393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34">
                <a:moveTo>
                  <a:pt x="6295" y="393"/>
                </a:moveTo>
                <a:lnTo>
                  <a:pt x="3148" y="0"/>
                </a:lnTo>
                <a:lnTo>
                  <a:pt x="0" y="393"/>
                </a:lnTo>
                <a:lnTo>
                  <a:pt x="2754" y="393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9" name="Freeform: Shape 2339">
            <a:extLst>
              <a:ext uri="{FF2B5EF4-FFF2-40B4-BE49-F238E27FC236}">
                <a16:creationId xmlns:a16="http://schemas.microsoft.com/office/drawing/2014/main" id="{86CADD38-03A1-492D-A1F8-B82269C135D8}"/>
              </a:ext>
            </a:extLst>
          </p:cNvPr>
          <p:cNvSpPr/>
          <p:nvPr/>
        </p:nvSpPr>
        <p:spPr>
          <a:xfrm>
            <a:off x="4569155" y="1346449"/>
            <a:ext cx="7542" cy="3770"/>
          </a:xfrm>
          <a:custGeom>
            <a:avLst/>
            <a:gdLst>
              <a:gd name="connsiteX0" fmla="*/ 5901 w 7868"/>
              <a:gd name="connsiteY0" fmla="*/ 2754 h 0"/>
              <a:gd name="connsiteX1" fmla="*/ 6689 w 7868"/>
              <a:gd name="connsiteY1" fmla="*/ 3147 h 0"/>
              <a:gd name="connsiteX2" fmla="*/ 9442 w 7868"/>
              <a:gd name="connsiteY2" fmla="*/ 787 h 0"/>
              <a:gd name="connsiteX3" fmla="*/ 6689 w 7868"/>
              <a:gd name="connsiteY3" fmla="*/ 393 h 0"/>
              <a:gd name="connsiteX4" fmla="*/ 3148 w 7868"/>
              <a:gd name="connsiteY4" fmla="*/ 0 h 0"/>
              <a:gd name="connsiteX5" fmla="*/ 0 w 7868"/>
              <a:gd name="connsiteY5" fmla="*/ 787 h 0"/>
              <a:gd name="connsiteX6" fmla="*/ 3148 w 7868"/>
              <a:gd name="connsiteY6" fmla="*/ 1574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868">
                <a:moveTo>
                  <a:pt x="5901" y="2754"/>
                </a:moveTo>
                <a:lnTo>
                  <a:pt x="6689" y="3147"/>
                </a:lnTo>
                <a:lnTo>
                  <a:pt x="9442" y="787"/>
                </a:lnTo>
                <a:lnTo>
                  <a:pt x="6689" y="393"/>
                </a:lnTo>
                <a:lnTo>
                  <a:pt x="3148" y="0"/>
                </a:lnTo>
                <a:lnTo>
                  <a:pt x="0" y="787"/>
                </a:lnTo>
                <a:lnTo>
                  <a:pt x="3148" y="157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0" name="Freeform: Shape 2340">
            <a:extLst>
              <a:ext uri="{FF2B5EF4-FFF2-40B4-BE49-F238E27FC236}">
                <a16:creationId xmlns:a16="http://schemas.microsoft.com/office/drawing/2014/main" id="{67CB20AA-48D9-4F83-BFFD-9C3C16230C94}"/>
              </a:ext>
            </a:extLst>
          </p:cNvPr>
          <p:cNvSpPr/>
          <p:nvPr/>
        </p:nvSpPr>
        <p:spPr>
          <a:xfrm>
            <a:off x="4601582" y="1339661"/>
            <a:ext cx="11312" cy="3770"/>
          </a:xfrm>
          <a:custGeom>
            <a:avLst/>
            <a:gdLst>
              <a:gd name="connsiteX0" fmla="*/ 6295 w 11802"/>
              <a:gd name="connsiteY0" fmla="*/ 1574 h 0"/>
              <a:gd name="connsiteX1" fmla="*/ 13377 w 11802"/>
              <a:gd name="connsiteY1" fmla="*/ 1574 h 0"/>
              <a:gd name="connsiteX2" fmla="*/ 10229 w 11802"/>
              <a:gd name="connsiteY2" fmla="*/ 1180 h 0"/>
              <a:gd name="connsiteX3" fmla="*/ 6689 w 11802"/>
              <a:gd name="connsiteY3" fmla="*/ 0 h 0"/>
              <a:gd name="connsiteX4" fmla="*/ 3541 w 11802"/>
              <a:gd name="connsiteY4" fmla="*/ 0 h 0"/>
              <a:gd name="connsiteX5" fmla="*/ 0 w 11802"/>
              <a:gd name="connsiteY5" fmla="*/ 0 h 0"/>
              <a:gd name="connsiteX6" fmla="*/ 3148 w 11802"/>
              <a:gd name="connsiteY6" fmla="*/ 787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802">
                <a:moveTo>
                  <a:pt x="6295" y="1574"/>
                </a:moveTo>
                <a:lnTo>
                  <a:pt x="13377" y="1574"/>
                </a:lnTo>
                <a:lnTo>
                  <a:pt x="10229" y="1180"/>
                </a:lnTo>
                <a:lnTo>
                  <a:pt x="6689" y="0"/>
                </a:lnTo>
                <a:lnTo>
                  <a:pt x="3541" y="0"/>
                </a:lnTo>
                <a:lnTo>
                  <a:pt x="0" y="0"/>
                </a:lnTo>
                <a:lnTo>
                  <a:pt x="3148" y="78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1" name="Freeform: Shape 2341">
            <a:extLst>
              <a:ext uri="{FF2B5EF4-FFF2-40B4-BE49-F238E27FC236}">
                <a16:creationId xmlns:a16="http://schemas.microsoft.com/office/drawing/2014/main" id="{47E4838C-B511-4591-A096-62BF95CDB02A}"/>
              </a:ext>
            </a:extLst>
          </p:cNvPr>
          <p:cNvSpPr/>
          <p:nvPr/>
        </p:nvSpPr>
        <p:spPr>
          <a:xfrm>
            <a:off x="4701881" y="1333628"/>
            <a:ext cx="7542" cy="3770"/>
          </a:xfrm>
          <a:custGeom>
            <a:avLst/>
            <a:gdLst>
              <a:gd name="connsiteX0" fmla="*/ 5508 w 7868"/>
              <a:gd name="connsiteY0" fmla="*/ 0 h 0"/>
              <a:gd name="connsiteX1" fmla="*/ 1967 w 7868"/>
              <a:gd name="connsiteY1" fmla="*/ 0 h 0"/>
              <a:gd name="connsiteX2" fmla="*/ 0 w 7868"/>
              <a:gd name="connsiteY2" fmla="*/ 393 h 0"/>
              <a:gd name="connsiteX3" fmla="*/ 9049 w 7868"/>
              <a:gd name="connsiteY3" fmla="*/ 393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68">
                <a:moveTo>
                  <a:pt x="5508" y="0"/>
                </a:moveTo>
                <a:lnTo>
                  <a:pt x="1967" y="0"/>
                </a:lnTo>
                <a:lnTo>
                  <a:pt x="0" y="393"/>
                </a:lnTo>
                <a:lnTo>
                  <a:pt x="9049" y="393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2" name="Freeform: Shape 2342">
            <a:extLst>
              <a:ext uri="{FF2B5EF4-FFF2-40B4-BE49-F238E27FC236}">
                <a16:creationId xmlns:a16="http://schemas.microsoft.com/office/drawing/2014/main" id="{F17B2693-3B31-4466-971D-F174AAB888F1}"/>
              </a:ext>
            </a:extLst>
          </p:cNvPr>
          <p:cNvSpPr/>
          <p:nvPr/>
        </p:nvSpPr>
        <p:spPr>
          <a:xfrm>
            <a:off x="4738078" y="1330612"/>
            <a:ext cx="7542" cy="3770"/>
          </a:xfrm>
          <a:custGeom>
            <a:avLst/>
            <a:gdLst>
              <a:gd name="connsiteX0" fmla="*/ 3147 w 7868"/>
              <a:gd name="connsiteY0" fmla="*/ 1574 h 0"/>
              <a:gd name="connsiteX1" fmla="*/ 6295 w 7868"/>
              <a:gd name="connsiteY1" fmla="*/ 2361 h 0"/>
              <a:gd name="connsiteX2" fmla="*/ 9442 w 7868"/>
              <a:gd name="connsiteY2" fmla="*/ 393 h 0"/>
              <a:gd name="connsiteX3" fmla="*/ 6295 w 7868"/>
              <a:gd name="connsiteY3" fmla="*/ 0 h 0"/>
              <a:gd name="connsiteX4" fmla="*/ 3147 w 7868"/>
              <a:gd name="connsiteY4" fmla="*/ 393 h 0"/>
              <a:gd name="connsiteX5" fmla="*/ 0 w 7868"/>
              <a:gd name="connsiteY5" fmla="*/ 1180 h 0"/>
              <a:gd name="connsiteX6" fmla="*/ 393 w 7868"/>
              <a:gd name="connsiteY6" fmla="*/ 1574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868">
                <a:moveTo>
                  <a:pt x="3147" y="1574"/>
                </a:moveTo>
                <a:lnTo>
                  <a:pt x="6295" y="2361"/>
                </a:lnTo>
                <a:lnTo>
                  <a:pt x="9442" y="393"/>
                </a:lnTo>
                <a:lnTo>
                  <a:pt x="6295" y="0"/>
                </a:lnTo>
                <a:lnTo>
                  <a:pt x="3147" y="393"/>
                </a:lnTo>
                <a:lnTo>
                  <a:pt x="0" y="1180"/>
                </a:lnTo>
                <a:lnTo>
                  <a:pt x="393" y="157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3" name="Freeform: Shape 2343">
            <a:extLst>
              <a:ext uri="{FF2B5EF4-FFF2-40B4-BE49-F238E27FC236}">
                <a16:creationId xmlns:a16="http://schemas.microsoft.com/office/drawing/2014/main" id="{C6D51C42-8AFD-4495-9AC7-8807EF6E8EC6}"/>
              </a:ext>
            </a:extLst>
          </p:cNvPr>
          <p:cNvSpPr/>
          <p:nvPr/>
        </p:nvSpPr>
        <p:spPr>
          <a:xfrm>
            <a:off x="5039349" y="1363038"/>
            <a:ext cx="11312" cy="3770"/>
          </a:xfrm>
          <a:custGeom>
            <a:avLst/>
            <a:gdLst>
              <a:gd name="connsiteX0" fmla="*/ 2360 w 11802"/>
              <a:gd name="connsiteY0" fmla="*/ 1967 h 0"/>
              <a:gd name="connsiteX1" fmla="*/ 5508 w 11802"/>
              <a:gd name="connsiteY1" fmla="*/ 1967 h 0"/>
              <a:gd name="connsiteX2" fmla="*/ 8655 w 11802"/>
              <a:gd name="connsiteY2" fmla="*/ 1967 h 0"/>
              <a:gd name="connsiteX3" fmla="*/ 11803 w 11802"/>
              <a:gd name="connsiteY3" fmla="*/ 787 h 0"/>
              <a:gd name="connsiteX4" fmla="*/ 8655 w 11802"/>
              <a:gd name="connsiteY4" fmla="*/ 787 h 0"/>
              <a:gd name="connsiteX5" fmla="*/ 5901 w 11802"/>
              <a:gd name="connsiteY5" fmla="*/ 0 h 0"/>
              <a:gd name="connsiteX6" fmla="*/ 2754 w 11802"/>
              <a:gd name="connsiteY6" fmla="*/ 1574 h 0"/>
              <a:gd name="connsiteX7" fmla="*/ 0 w 11802"/>
              <a:gd name="connsiteY7" fmla="*/ 2361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02">
                <a:moveTo>
                  <a:pt x="2360" y="1967"/>
                </a:moveTo>
                <a:lnTo>
                  <a:pt x="5508" y="1967"/>
                </a:lnTo>
                <a:lnTo>
                  <a:pt x="8655" y="1967"/>
                </a:lnTo>
                <a:lnTo>
                  <a:pt x="11803" y="787"/>
                </a:lnTo>
                <a:lnTo>
                  <a:pt x="8655" y="787"/>
                </a:lnTo>
                <a:lnTo>
                  <a:pt x="5901" y="0"/>
                </a:lnTo>
                <a:lnTo>
                  <a:pt x="2754" y="1574"/>
                </a:lnTo>
                <a:lnTo>
                  <a:pt x="0" y="2361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4" name="Freeform: Shape 2344">
            <a:extLst>
              <a:ext uri="{FF2B5EF4-FFF2-40B4-BE49-F238E27FC236}">
                <a16:creationId xmlns:a16="http://schemas.microsoft.com/office/drawing/2014/main" id="{D42F8578-2260-462F-9005-8A23EB9B6DEE}"/>
              </a:ext>
            </a:extLst>
          </p:cNvPr>
          <p:cNvSpPr/>
          <p:nvPr/>
        </p:nvSpPr>
        <p:spPr>
          <a:xfrm>
            <a:off x="5073661" y="1355498"/>
            <a:ext cx="3770" cy="3770"/>
          </a:xfrm>
          <a:custGeom>
            <a:avLst/>
            <a:gdLst>
              <a:gd name="connsiteX0" fmla="*/ 3147 w 3934"/>
              <a:gd name="connsiteY0" fmla="*/ 2361 h 0"/>
              <a:gd name="connsiteX1" fmla="*/ 5901 w 3934"/>
              <a:gd name="connsiteY1" fmla="*/ 1574 h 0"/>
              <a:gd name="connsiteX2" fmla="*/ 3147 w 3934"/>
              <a:gd name="connsiteY2" fmla="*/ 0 h 0"/>
              <a:gd name="connsiteX3" fmla="*/ 0 w 3934"/>
              <a:gd name="connsiteY3" fmla="*/ 0 h 0"/>
              <a:gd name="connsiteX4" fmla="*/ 3147 w 3934"/>
              <a:gd name="connsiteY4" fmla="*/ 1967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4">
                <a:moveTo>
                  <a:pt x="3147" y="2361"/>
                </a:moveTo>
                <a:lnTo>
                  <a:pt x="5901" y="1574"/>
                </a:lnTo>
                <a:lnTo>
                  <a:pt x="3147" y="0"/>
                </a:lnTo>
                <a:lnTo>
                  <a:pt x="0" y="0"/>
                </a:lnTo>
                <a:lnTo>
                  <a:pt x="3147" y="196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8" name="Freeform: Shape 2508">
            <a:extLst>
              <a:ext uri="{FF2B5EF4-FFF2-40B4-BE49-F238E27FC236}">
                <a16:creationId xmlns:a16="http://schemas.microsoft.com/office/drawing/2014/main" id="{33A956B2-520B-4F9F-899A-A5F1300E4BD3}"/>
              </a:ext>
            </a:extLst>
          </p:cNvPr>
          <p:cNvSpPr/>
          <p:nvPr/>
        </p:nvSpPr>
        <p:spPr>
          <a:xfrm>
            <a:off x="2300762" y="1636407"/>
            <a:ext cx="3770" cy="3770"/>
          </a:xfrm>
          <a:custGeom>
            <a:avLst/>
            <a:gdLst>
              <a:gd name="connsiteX0" fmla="*/ 5901 w 3934"/>
              <a:gd name="connsiteY0" fmla="*/ 1967 h 0"/>
              <a:gd name="connsiteX1" fmla="*/ 3147 w 3934"/>
              <a:gd name="connsiteY1" fmla="*/ 787 h 0"/>
              <a:gd name="connsiteX2" fmla="*/ 0 w 3934"/>
              <a:gd name="connsiteY2" fmla="*/ 0 h 0"/>
              <a:gd name="connsiteX3" fmla="*/ 7082 w 3934"/>
              <a:gd name="connsiteY3" fmla="*/ 2361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34">
                <a:moveTo>
                  <a:pt x="5901" y="1967"/>
                </a:moveTo>
                <a:lnTo>
                  <a:pt x="3147" y="787"/>
                </a:lnTo>
                <a:lnTo>
                  <a:pt x="0" y="0"/>
                </a:lnTo>
                <a:lnTo>
                  <a:pt x="7082" y="2361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9" name="Freeform: Shape 2509">
            <a:extLst>
              <a:ext uri="{FF2B5EF4-FFF2-40B4-BE49-F238E27FC236}">
                <a16:creationId xmlns:a16="http://schemas.microsoft.com/office/drawing/2014/main" id="{B48B96FE-EC77-4882-8657-4B650CF3626A}"/>
              </a:ext>
            </a:extLst>
          </p:cNvPr>
          <p:cNvSpPr/>
          <p:nvPr/>
        </p:nvSpPr>
        <p:spPr>
          <a:xfrm>
            <a:off x="2002130" y="1648851"/>
            <a:ext cx="3770" cy="3770"/>
          </a:xfrm>
          <a:custGeom>
            <a:avLst/>
            <a:gdLst>
              <a:gd name="connsiteX0" fmla="*/ 5508 w 3934"/>
              <a:gd name="connsiteY0" fmla="*/ 0 h 0"/>
              <a:gd name="connsiteX1" fmla="*/ 2754 w 3934"/>
              <a:gd name="connsiteY1" fmla="*/ 1180 h 0"/>
              <a:gd name="connsiteX2" fmla="*/ 0 w 3934"/>
              <a:gd name="connsiteY2" fmla="*/ 2361 h 0"/>
              <a:gd name="connsiteX3" fmla="*/ 6688 w 3934"/>
              <a:gd name="connsiteY3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34">
                <a:moveTo>
                  <a:pt x="5508" y="0"/>
                </a:moveTo>
                <a:lnTo>
                  <a:pt x="2754" y="1180"/>
                </a:lnTo>
                <a:lnTo>
                  <a:pt x="0" y="2361"/>
                </a:lnTo>
                <a:lnTo>
                  <a:pt x="6688" y="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0" name="Freeform: Shape 2510">
            <a:extLst>
              <a:ext uri="{FF2B5EF4-FFF2-40B4-BE49-F238E27FC236}">
                <a16:creationId xmlns:a16="http://schemas.microsoft.com/office/drawing/2014/main" id="{ADD22482-812D-4493-A1FA-AD7C22D1198F}"/>
              </a:ext>
            </a:extLst>
          </p:cNvPr>
          <p:cNvSpPr/>
          <p:nvPr/>
        </p:nvSpPr>
        <p:spPr>
          <a:xfrm>
            <a:off x="2009294" y="1644325"/>
            <a:ext cx="11312" cy="3770"/>
          </a:xfrm>
          <a:custGeom>
            <a:avLst/>
            <a:gdLst>
              <a:gd name="connsiteX0" fmla="*/ 12196 w 11802"/>
              <a:gd name="connsiteY0" fmla="*/ 393 h 3934"/>
              <a:gd name="connsiteX1" fmla="*/ 9049 w 11802"/>
              <a:gd name="connsiteY1" fmla="*/ 1180 h 3934"/>
              <a:gd name="connsiteX2" fmla="*/ 5508 w 11802"/>
              <a:gd name="connsiteY2" fmla="*/ 2361 h 3934"/>
              <a:gd name="connsiteX3" fmla="*/ 2754 w 11802"/>
              <a:gd name="connsiteY3" fmla="*/ 3147 h 3934"/>
              <a:gd name="connsiteX4" fmla="*/ 0 w 11802"/>
              <a:gd name="connsiteY4" fmla="*/ 4328 h 3934"/>
              <a:gd name="connsiteX5" fmla="*/ 14557 w 11802"/>
              <a:gd name="connsiteY5" fmla="*/ 0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02" h="3934">
                <a:moveTo>
                  <a:pt x="12196" y="393"/>
                </a:moveTo>
                <a:lnTo>
                  <a:pt x="9049" y="1180"/>
                </a:lnTo>
                <a:lnTo>
                  <a:pt x="5508" y="2361"/>
                </a:lnTo>
                <a:lnTo>
                  <a:pt x="2754" y="3147"/>
                </a:lnTo>
                <a:lnTo>
                  <a:pt x="0" y="4328"/>
                </a:lnTo>
                <a:lnTo>
                  <a:pt x="14557" y="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1" name="Freeform: Shape 2511">
            <a:extLst>
              <a:ext uri="{FF2B5EF4-FFF2-40B4-BE49-F238E27FC236}">
                <a16:creationId xmlns:a16="http://schemas.microsoft.com/office/drawing/2014/main" id="{B8555E1D-BBC1-4563-AF46-F377D9735368}"/>
              </a:ext>
            </a:extLst>
          </p:cNvPr>
          <p:cNvSpPr/>
          <p:nvPr/>
        </p:nvSpPr>
        <p:spPr>
          <a:xfrm>
            <a:off x="2023245" y="1643949"/>
            <a:ext cx="3770" cy="3770"/>
          </a:xfrm>
          <a:custGeom>
            <a:avLst/>
            <a:gdLst>
              <a:gd name="connsiteX0" fmla="*/ 1180 w 0"/>
              <a:gd name="connsiteY0" fmla="*/ 0 h 0"/>
              <a:gd name="connsiteX1" fmla="*/ 0 w 0"/>
              <a:gd name="connsiteY1" fmla="*/ 393 h 0"/>
              <a:gd name="connsiteX2" fmla="*/ 787 w 0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>
                <a:moveTo>
                  <a:pt x="1180" y="0"/>
                </a:moveTo>
                <a:lnTo>
                  <a:pt x="0" y="393"/>
                </a:lnTo>
                <a:lnTo>
                  <a:pt x="787" y="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2" name="Freeform: Shape 2512">
            <a:extLst>
              <a:ext uri="{FF2B5EF4-FFF2-40B4-BE49-F238E27FC236}">
                <a16:creationId xmlns:a16="http://schemas.microsoft.com/office/drawing/2014/main" id="{53CDAFCA-5CCA-4A7C-AD3D-FAF34834653D}"/>
              </a:ext>
            </a:extLst>
          </p:cNvPr>
          <p:cNvSpPr/>
          <p:nvPr/>
        </p:nvSpPr>
        <p:spPr>
          <a:xfrm>
            <a:off x="3699654" y="1384154"/>
            <a:ext cx="15082" cy="3770"/>
          </a:xfrm>
          <a:custGeom>
            <a:avLst/>
            <a:gdLst>
              <a:gd name="connsiteX0" fmla="*/ 6295 w 15737"/>
              <a:gd name="connsiteY0" fmla="*/ 787 h 0"/>
              <a:gd name="connsiteX1" fmla="*/ 9442 w 15737"/>
              <a:gd name="connsiteY1" fmla="*/ 1180 h 0"/>
              <a:gd name="connsiteX2" fmla="*/ 12590 w 15737"/>
              <a:gd name="connsiteY2" fmla="*/ 1574 h 0"/>
              <a:gd name="connsiteX3" fmla="*/ 16130 w 15737"/>
              <a:gd name="connsiteY3" fmla="*/ 1574 h 0"/>
              <a:gd name="connsiteX4" fmla="*/ 19278 w 15737"/>
              <a:gd name="connsiteY4" fmla="*/ 1180 h 0"/>
              <a:gd name="connsiteX5" fmla="*/ 18884 w 15737"/>
              <a:gd name="connsiteY5" fmla="*/ 0 h 0"/>
              <a:gd name="connsiteX6" fmla="*/ 16130 w 15737"/>
              <a:gd name="connsiteY6" fmla="*/ 0 h 0"/>
              <a:gd name="connsiteX7" fmla="*/ 3147 w 15737"/>
              <a:gd name="connsiteY7" fmla="*/ 0 h 0"/>
              <a:gd name="connsiteX8" fmla="*/ 0 w 15737"/>
              <a:gd name="connsiteY8" fmla="*/ 0 h 0"/>
              <a:gd name="connsiteX9" fmla="*/ 3147 w 15737"/>
              <a:gd name="connsiteY9" fmla="*/ 118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737">
                <a:moveTo>
                  <a:pt x="6295" y="787"/>
                </a:moveTo>
                <a:lnTo>
                  <a:pt x="9442" y="1180"/>
                </a:lnTo>
                <a:lnTo>
                  <a:pt x="12590" y="1574"/>
                </a:lnTo>
                <a:lnTo>
                  <a:pt x="16130" y="1574"/>
                </a:lnTo>
                <a:lnTo>
                  <a:pt x="19278" y="1180"/>
                </a:lnTo>
                <a:lnTo>
                  <a:pt x="18884" y="0"/>
                </a:lnTo>
                <a:lnTo>
                  <a:pt x="16130" y="0"/>
                </a:lnTo>
                <a:lnTo>
                  <a:pt x="3147" y="0"/>
                </a:lnTo>
                <a:lnTo>
                  <a:pt x="0" y="0"/>
                </a:lnTo>
                <a:lnTo>
                  <a:pt x="3147" y="118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6" name="Freeform: Shape 2546">
            <a:extLst>
              <a:ext uri="{FF2B5EF4-FFF2-40B4-BE49-F238E27FC236}">
                <a16:creationId xmlns:a16="http://schemas.microsoft.com/office/drawing/2014/main" id="{C43ED73E-B685-4A4C-A77D-3B4B500C0C46}"/>
              </a:ext>
            </a:extLst>
          </p:cNvPr>
          <p:cNvSpPr/>
          <p:nvPr/>
        </p:nvSpPr>
        <p:spPr>
          <a:xfrm>
            <a:off x="3602750" y="1395843"/>
            <a:ext cx="26394" cy="7542"/>
          </a:xfrm>
          <a:custGeom>
            <a:avLst/>
            <a:gdLst>
              <a:gd name="connsiteX0" fmla="*/ 5508 w 27539"/>
              <a:gd name="connsiteY0" fmla="*/ 5901 h 7868"/>
              <a:gd name="connsiteX1" fmla="*/ 9049 w 27539"/>
              <a:gd name="connsiteY1" fmla="*/ 5901 h 7868"/>
              <a:gd name="connsiteX2" fmla="*/ 12196 w 27539"/>
              <a:gd name="connsiteY2" fmla="*/ 6295 h 7868"/>
              <a:gd name="connsiteX3" fmla="*/ 12196 w 27539"/>
              <a:gd name="connsiteY3" fmla="*/ 9049 h 7868"/>
              <a:gd name="connsiteX4" fmla="*/ 15344 w 27539"/>
              <a:gd name="connsiteY4" fmla="*/ 9836 h 7868"/>
              <a:gd name="connsiteX5" fmla="*/ 18098 w 27539"/>
              <a:gd name="connsiteY5" fmla="*/ 10229 h 7868"/>
              <a:gd name="connsiteX6" fmla="*/ 21245 w 27539"/>
              <a:gd name="connsiteY6" fmla="*/ 9049 h 7868"/>
              <a:gd name="connsiteX7" fmla="*/ 24392 w 27539"/>
              <a:gd name="connsiteY7" fmla="*/ 7869 h 7868"/>
              <a:gd name="connsiteX8" fmla="*/ 26360 w 27539"/>
              <a:gd name="connsiteY8" fmla="*/ 5115 h 7868"/>
              <a:gd name="connsiteX9" fmla="*/ 29114 w 27539"/>
              <a:gd name="connsiteY9" fmla="*/ 3147 h 7868"/>
              <a:gd name="connsiteX10" fmla="*/ 27933 w 27539"/>
              <a:gd name="connsiteY10" fmla="*/ 393 h 7868"/>
              <a:gd name="connsiteX11" fmla="*/ 24786 w 27539"/>
              <a:gd name="connsiteY11" fmla="*/ 393 h 7868"/>
              <a:gd name="connsiteX12" fmla="*/ 21638 w 27539"/>
              <a:gd name="connsiteY12" fmla="*/ 787 h 7868"/>
              <a:gd name="connsiteX13" fmla="*/ 18491 w 27539"/>
              <a:gd name="connsiteY13" fmla="*/ 0 h 7868"/>
              <a:gd name="connsiteX14" fmla="*/ 15344 w 27539"/>
              <a:gd name="connsiteY14" fmla="*/ 0 h 7868"/>
              <a:gd name="connsiteX15" fmla="*/ 12590 w 27539"/>
              <a:gd name="connsiteY15" fmla="*/ 0 h 7868"/>
              <a:gd name="connsiteX16" fmla="*/ 9836 w 27539"/>
              <a:gd name="connsiteY16" fmla="*/ 787 h 7868"/>
              <a:gd name="connsiteX17" fmla="*/ 6295 w 27539"/>
              <a:gd name="connsiteY17" fmla="*/ 1574 h 7868"/>
              <a:gd name="connsiteX18" fmla="*/ 3147 w 27539"/>
              <a:gd name="connsiteY18" fmla="*/ 3147 h 7868"/>
              <a:gd name="connsiteX19" fmla="*/ 2754 w 27539"/>
              <a:gd name="connsiteY19" fmla="*/ 3541 h 7868"/>
              <a:gd name="connsiteX20" fmla="*/ 0 w 27539"/>
              <a:gd name="connsiteY20" fmla="*/ 5901 h 7868"/>
              <a:gd name="connsiteX21" fmla="*/ 1967 w 27539"/>
              <a:gd name="connsiteY21" fmla="*/ 5901 h 7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7539" h="7868">
                <a:moveTo>
                  <a:pt x="5508" y="5901"/>
                </a:moveTo>
                <a:lnTo>
                  <a:pt x="9049" y="5901"/>
                </a:lnTo>
                <a:lnTo>
                  <a:pt x="12196" y="6295"/>
                </a:lnTo>
                <a:lnTo>
                  <a:pt x="12196" y="9049"/>
                </a:lnTo>
                <a:lnTo>
                  <a:pt x="15344" y="9836"/>
                </a:lnTo>
                <a:lnTo>
                  <a:pt x="18098" y="10229"/>
                </a:lnTo>
                <a:lnTo>
                  <a:pt x="21245" y="9049"/>
                </a:lnTo>
                <a:lnTo>
                  <a:pt x="24392" y="7869"/>
                </a:lnTo>
                <a:lnTo>
                  <a:pt x="26360" y="5115"/>
                </a:lnTo>
                <a:lnTo>
                  <a:pt x="29114" y="3147"/>
                </a:lnTo>
                <a:lnTo>
                  <a:pt x="27933" y="393"/>
                </a:lnTo>
                <a:lnTo>
                  <a:pt x="24786" y="393"/>
                </a:lnTo>
                <a:lnTo>
                  <a:pt x="21638" y="787"/>
                </a:lnTo>
                <a:lnTo>
                  <a:pt x="18491" y="0"/>
                </a:lnTo>
                <a:lnTo>
                  <a:pt x="15344" y="0"/>
                </a:lnTo>
                <a:lnTo>
                  <a:pt x="12590" y="0"/>
                </a:lnTo>
                <a:lnTo>
                  <a:pt x="9836" y="787"/>
                </a:lnTo>
                <a:lnTo>
                  <a:pt x="6295" y="1574"/>
                </a:lnTo>
                <a:lnTo>
                  <a:pt x="3147" y="3147"/>
                </a:lnTo>
                <a:lnTo>
                  <a:pt x="2754" y="3541"/>
                </a:lnTo>
                <a:lnTo>
                  <a:pt x="0" y="5901"/>
                </a:lnTo>
                <a:lnTo>
                  <a:pt x="1967" y="5901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49" name="Freeform: Shape 2609">
            <a:extLst>
              <a:ext uri="{FF2B5EF4-FFF2-40B4-BE49-F238E27FC236}">
                <a16:creationId xmlns:a16="http://schemas.microsoft.com/office/drawing/2014/main" id="{4C51DA5D-2E25-4EF7-86A3-C3E6C5DEB2E7}"/>
              </a:ext>
            </a:extLst>
          </p:cNvPr>
          <p:cNvSpPr/>
          <p:nvPr/>
        </p:nvSpPr>
        <p:spPr>
          <a:xfrm>
            <a:off x="1561346" y="1835118"/>
            <a:ext cx="30165" cy="15082"/>
          </a:xfrm>
          <a:custGeom>
            <a:avLst/>
            <a:gdLst>
              <a:gd name="connsiteX0" fmla="*/ 0 w 31474"/>
              <a:gd name="connsiteY0" fmla="*/ 16131 h 15737"/>
              <a:gd name="connsiteX1" fmla="*/ 2754 w 31474"/>
              <a:gd name="connsiteY1" fmla="*/ 14950 h 15737"/>
              <a:gd name="connsiteX2" fmla="*/ 5901 w 31474"/>
              <a:gd name="connsiteY2" fmla="*/ 12983 h 15737"/>
              <a:gd name="connsiteX3" fmla="*/ 8655 w 31474"/>
              <a:gd name="connsiteY3" fmla="*/ 11803 h 15737"/>
              <a:gd name="connsiteX4" fmla="*/ 11803 w 31474"/>
              <a:gd name="connsiteY4" fmla="*/ 11016 h 15737"/>
              <a:gd name="connsiteX5" fmla="*/ 14950 w 31474"/>
              <a:gd name="connsiteY5" fmla="*/ 9836 h 15737"/>
              <a:gd name="connsiteX6" fmla="*/ 17704 w 31474"/>
              <a:gd name="connsiteY6" fmla="*/ 9049 h 15737"/>
              <a:gd name="connsiteX7" fmla="*/ 20852 w 31474"/>
              <a:gd name="connsiteY7" fmla="*/ 9049 h 15737"/>
              <a:gd name="connsiteX8" fmla="*/ 17704 w 31474"/>
              <a:gd name="connsiteY8" fmla="*/ 9442 h 15737"/>
              <a:gd name="connsiteX9" fmla="*/ 20458 w 31474"/>
              <a:gd name="connsiteY9" fmla="*/ 9049 h 15737"/>
              <a:gd name="connsiteX10" fmla="*/ 23212 w 31474"/>
              <a:gd name="connsiteY10" fmla="*/ 9049 h 15737"/>
              <a:gd name="connsiteX11" fmla="*/ 26360 w 31474"/>
              <a:gd name="connsiteY11" fmla="*/ 9836 h 15737"/>
              <a:gd name="connsiteX12" fmla="*/ 29114 w 31474"/>
              <a:gd name="connsiteY12" fmla="*/ 9049 h 15737"/>
              <a:gd name="connsiteX13" fmla="*/ 31868 w 31474"/>
              <a:gd name="connsiteY13" fmla="*/ 7869 h 15737"/>
              <a:gd name="connsiteX14" fmla="*/ 35015 w 31474"/>
              <a:gd name="connsiteY14" fmla="*/ 5115 h 15737"/>
              <a:gd name="connsiteX15" fmla="*/ 32261 w 31474"/>
              <a:gd name="connsiteY15" fmla="*/ 4328 h 15737"/>
              <a:gd name="connsiteX16" fmla="*/ 29114 w 31474"/>
              <a:gd name="connsiteY16" fmla="*/ 4328 h 15737"/>
              <a:gd name="connsiteX17" fmla="*/ 26360 w 31474"/>
              <a:gd name="connsiteY17" fmla="*/ 5508 h 15737"/>
              <a:gd name="connsiteX18" fmla="*/ 23606 w 31474"/>
              <a:gd name="connsiteY18" fmla="*/ 3541 h 15737"/>
              <a:gd name="connsiteX19" fmla="*/ 20458 w 31474"/>
              <a:gd name="connsiteY19" fmla="*/ 1574 h 15737"/>
              <a:gd name="connsiteX20" fmla="*/ 17704 w 31474"/>
              <a:gd name="connsiteY20" fmla="*/ 787 h 15737"/>
              <a:gd name="connsiteX21" fmla="*/ 14557 w 31474"/>
              <a:gd name="connsiteY21" fmla="*/ 0 h 15737"/>
              <a:gd name="connsiteX22" fmla="*/ 393 w 31474"/>
              <a:gd name="connsiteY22" fmla="*/ 9836 h 15737"/>
              <a:gd name="connsiteX23" fmla="*/ 787 w 31474"/>
              <a:gd name="connsiteY23" fmla="*/ 10229 h 15737"/>
              <a:gd name="connsiteX24" fmla="*/ 393 w 31474"/>
              <a:gd name="connsiteY24" fmla="*/ 13377 h 15737"/>
              <a:gd name="connsiteX25" fmla="*/ 2754 w 31474"/>
              <a:gd name="connsiteY25" fmla="*/ 10229 h 15737"/>
              <a:gd name="connsiteX26" fmla="*/ 2361 w 31474"/>
              <a:gd name="connsiteY26" fmla="*/ 12983 h 1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1474" h="15737">
                <a:moveTo>
                  <a:pt x="0" y="16131"/>
                </a:moveTo>
                <a:lnTo>
                  <a:pt x="2754" y="14950"/>
                </a:lnTo>
                <a:lnTo>
                  <a:pt x="5901" y="12983"/>
                </a:lnTo>
                <a:lnTo>
                  <a:pt x="8655" y="11803"/>
                </a:lnTo>
                <a:lnTo>
                  <a:pt x="11803" y="11016"/>
                </a:lnTo>
                <a:lnTo>
                  <a:pt x="14950" y="9836"/>
                </a:lnTo>
                <a:lnTo>
                  <a:pt x="17704" y="9049"/>
                </a:lnTo>
                <a:lnTo>
                  <a:pt x="20852" y="9049"/>
                </a:lnTo>
                <a:lnTo>
                  <a:pt x="17704" y="9442"/>
                </a:lnTo>
                <a:lnTo>
                  <a:pt x="20458" y="9049"/>
                </a:lnTo>
                <a:lnTo>
                  <a:pt x="23212" y="9049"/>
                </a:lnTo>
                <a:lnTo>
                  <a:pt x="26360" y="9836"/>
                </a:lnTo>
                <a:lnTo>
                  <a:pt x="29114" y="9049"/>
                </a:lnTo>
                <a:lnTo>
                  <a:pt x="31868" y="7869"/>
                </a:lnTo>
                <a:lnTo>
                  <a:pt x="35015" y="5115"/>
                </a:lnTo>
                <a:lnTo>
                  <a:pt x="32261" y="4328"/>
                </a:lnTo>
                <a:lnTo>
                  <a:pt x="29114" y="4328"/>
                </a:lnTo>
                <a:lnTo>
                  <a:pt x="26360" y="5508"/>
                </a:lnTo>
                <a:lnTo>
                  <a:pt x="23606" y="3541"/>
                </a:lnTo>
                <a:lnTo>
                  <a:pt x="20458" y="1574"/>
                </a:lnTo>
                <a:lnTo>
                  <a:pt x="17704" y="787"/>
                </a:lnTo>
                <a:lnTo>
                  <a:pt x="14557" y="0"/>
                </a:lnTo>
                <a:lnTo>
                  <a:pt x="393" y="9836"/>
                </a:lnTo>
                <a:lnTo>
                  <a:pt x="787" y="10229"/>
                </a:lnTo>
                <a:lnTo>
                  <a:pt x="393" y="13377"/>
                </a:lnTo>
                <a:lnTo>
                  <a:pt x="2754" y="10229"/>
                </a:lnTo>
                <a:lnTo>
                  <a:pt x="2361" y="12983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2" name="Freeform: Shape 2622">
            <a:extLst>
              <a:ext uri="{FF2B5EF4-FFF2-40B4-BE49-F238E27FC236}">
                <a16:creationId xmlns:a16="http://schemas.microsoft.com/office/drawing/2014/main" id="{83C5BE43-5A59-4B8F-8439-23E696A3D083}"/>
              </a:ext>
            </a:extLst>
          </p:cNvPr>
          <p:cNvSpPr/>
          <p:nvPr/>
        </p:nvSpPr>
        <p:spPr>
          <a:xfrm>
            <a:off x="1501017" y="1925990"/>
            <a:ext cx="41477" cy="18853"/>
          </a:xfrm>
          <a:custGeom>
            <a:avLst/>
            <a:gdLst>
              <a:gd name="connsiteX0" fmla="*/ 1967 w 43276"/>
              <a:gd name="connsiteY0" fmla="*/ 12196 h 19671"/>
              <a:gd name="connsiteX1" fmla="*/ 2754 w 43276"/>
              <a:gd name="connsiteY1" fmla="*/ 12196 h 19671"/>
              <a:gd name="connsiteX2" fmla="*/ 2754 w 43276"/>
              <a:gd name="connsiteY2" fmla="*/ 12196 h 19671"/>
              <a:gd name="connsiteX3" fmla="*/ 3934 w 43276"/>
              <a:gd name="connsiteY3" fmla="*/ 12196 h 19671"/>
              <a:gd name="connsiteX4" fmla="*/ 3541 w 43276"/>
              <a:gd name="connsiteY4" fmla="*/ 12590 h 19671"/>
              <a:gd name="connsiteX5" fmla="*/ 6295 w 43276"/>
              <a:gd name="connsiteY5" fmla="*/ 15737 h 19671"/>
              <a:gd name="connsiteX6" fmla="*/ 9442 w 43276"/>
              <a:gd name="connsiteY6" fmla="*/ 16524 h 19671"/>
              <a:gd name="connsiteX7" fmla="*/ 12196 w 43276"/>
              <a:gd name="connsiteY7" fmla="*/ 16917 h 19671"/>
              <a:gd name="connsiteX8" fmla="*/ 14557 w 43276"/>
              <a:gd name="connsiteY8" fmla="*/ 19671 h 19671"/>
              <a:gd name="connsiteX9" fmla="*/ 16131 w 43276"/>
              <a:gd name="connsiteY9" fmla="*/ 16917 h 19671"/>
              <a:gd name="connsiteX10" fmla="*/ 18884 w 43276"/>
              <a:gd name="connsiteY10" fmla="*/ 17311 h 19671"/>
              <a:gd name="connsiteX11" fmla="*/ 22032 w 43276"/>
              <a:gd name="connsiteY11" fmla="*/ 16524 h 19671"/>
              <a:gd name="connsiteX12" fmla="*/ 24786 w 43276"/>
              <a:gd name="connsiteY12" fmla="*/ 16131 h 19671"/>
              <a:gd name="connsiteX13" fmla="*/ 27540 w 43276"/>
              <a:gd name="connsiteY13" fmla="*/ 15344 h 19671"/>
              <a:gd name="connsiteX14" fmla="*/ 30687 w 43276"/>
              <a:gd name="connsiteY14" fmla="*/ 15344 h 19671"/>
              <a:gd name="connsiteX15" fmla="*/ 33441 w 43276"/>
              <a:gd name="connsiteY15" fmla="*/ 15344 h 19671"/>
              <a:gd name="connsiteX16" fmla="*/ 36589 w 43276"/>
              <a:gd name="connsiteY16" fmla="*/ 12196 h 19671"/>
              <a:gd name="connsiteX17" fmla="*/ 38162 w 43276"/>
              <a:gd name="connsiteY17" fmla="*/ 9442 h 19671"/>
              <a:gd name="connsiteX18" fmla="*/ 41310 w 43276"/>
              <a:gd name="connsiteY18" fmla="*/ 7082 h 19671"/>
              <a:gd name="connsiteX19" fmla="*/ 44457 w 43276"/>
              <a:gd name="connsiteY19" fmla="*/ 4721 h 19671"/>
              <a:gd name="connsiteX20" fmla="*/ 46424 w 43276"/>
              <a:gd name="connsiteY20" fmla="*/ 1574 h 19671"/>
              <a:gd name="connsiteX21" fmla="*/ 43277 w 43276"/>
              <a:gd name="connsiteY21" fmla="*/ 1967 h 19671"/>
              <a:gd name="connsiteX22" fmla="*/ 40130 w 43276"/>
              <a:gd name="connsiteY22" fmla="*/ 0 h 19671"/>
              <a:gd name="connsiteX23" fmla="*/ 37376 w 43276"/>
              <a:gd name="connsiteY23" fmla="*/ 0 h 19671"/>
              <a:gd name="connsiteX24" fmla="*/ 34228 w 43276"/>
              <a:gd name="connsiteY24" fmla="*/ 787 h 19671"/>
              <a:gd name="connsiteX25" fmla="*/ 31474 w 43276"/>
              <a:gd name="connsiteY25" fmla="*/ 393 h 19671"/>
              <a:gd name="connsiteX26" fmla="*/ 28327 w 43276"/>
              <a:gd name="connsiteY26" fmla="*/ 1180 h 19671"/>
              <a:gd name="connsiteX27" fmla="*/ 25573 w 43276"/>
              <a:gd name="connsiteY27" fmla="*/ 2361 h 19671"/>
              <a:gd name="connsiteX28" fmla="*/ 22425 w 43276"/>
              <a:gd name="connsiteY28" fmla="*/ 2754 h 19671"/>
              <a:gd name="connsiteX29" fmla="*/ 19278 w 43276"/>
              <a:gd name="connsiteY29" fmla="*/ 3541 h 19671"/>
              <a:gd name="connsiteX30" fmla="*/ 16524 w 43276"/>
              <a:gd name="connsiteY30" fmla="*/ 5508 h 19671"/>
              <a:gd name="connsiteX31" fmla="*/ 13770 w 43276"/>
              <a:gd name="connsiteY31" fmla="*/ 5115 h 19671"/>
              <a:gd name="connsiteX32" fmla="*/ 10623 w 43276"/>
              <a:gd name="connsiteY32" fmla="*/ 5115 h 19671"/>
              <a:gd name="connsiteX33" fmla="*/ 7475 w 43276"/>
              <a:gd name="connsiteY33" fmla="*/ 5115 h 19671"/>
              <a:gd name="connsiteX34" fmla="*/ 4721 w 43276"/>
              <a:gd name="connsiteY34" fmla="*/ 5115 h 19671"/>
              <a:gd name="connsiteX35" fmla="*/ 1574 w 43276"/>
              <a:gd name="connsiteY35" fmla="*/ 6295 h 19671"/>
              <a:gd name="connsiteX36" fmla="*/ 0 w 43276"/>
              <a:gd name="connsiteY36" fmla="*/ 9442 h 19671"/>
              <a:gd name="connsiteX37" fmla="*/ 787 w 43276"/>
              <a:gd name="connsiteY37" fmla="*/ 12196 h 1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43276" h="19671">
                <a:moveTo>
                  <a:pt x="1967" y="12196"/>
                </a:moveTo>
                <a:lnTo>
                  <a:pt x="2754" y="12196"/>
                </a:lnTo>
                <a:lnTo>
                  <a:pt x="2754" y="12196"/>
                </a:lnTo>
                <a:lnTo>
                  <a:pt x="3934" y="12196"/>
                </a:lnTo>
                <a:lnTo>
                  <a:pt x="3541" y="12590"/>
                </a:lnTo>
                <a:lnTo>
                  <a:pt x="6295" y="15737"/>
                </a:lnTo>
                <a:lnTo>
                  <a:pt x="9442" y="16524"/>
                </a:lnTo>
                <a:lnTo>
                  <a:pt x="12196" y="16917"/>
                </a:lnTo>
                <a:lnTo>
                  <a:pt x="14557" y="19671"/>
                </a:lnTo>
                <a:lnTo>
                  <a:pt x="16131" y="16917"/>
                </a:lnTo>
                <a:lnTo>
                  <a:pt x="18884" y="17311"/>
                </a:lnTo>
                <a:lnTo>
                  <a:pt x="22032" y="16524"/>
                </a:lnTo>
                <a:lnTo>
                  <a:pt x="24786" y="16131"/>
                </a:lnTo>
                <a:lnTo>
                  <a:pt x="27540" y="15344"/>
                </a:lnTo>
                <a:lnTo>
                  <a:pt x="30687" y="15344"/>
                </a:lnTo>
                <a:lnTo>
                  <a:pt x="33441" y="15344"/>
                </a:lnTo>
                <a:lnTo>
                  <a:pt x="36589" y="12196"/>
                </a:lnTo>
                <a:lnTo>
                  <a:pt x="38162" y="9442"/>
                </a:lnTo>
                <a:lnTo>
                  <a:pt x="41310" y="7082"/>
                </a:lnTo>
                <a:lnTo>
                  <a:pt x="44457" y="4721"/>
                </a:lnTo>
                <a:lnTo>
                  <a:pt x="46424" y="1574"/>
                </a:lnTo>
                <a:lnTo>
                  <a:pt x="43277" y="1967"/>
                </a:lnTo>
                <a:lnTo>
                  <a:pt x="40130" y="0"/>
                </a:lnTo>
                <a:lnTo>
                  <a:pt x="37376" y="0"/>
                </a:lnTo>
                <a:lnTo>
                  <a:pt x="34228" y="787"/>
                </a:lnTo>
                <a:lnTo>
                  <a:pt x="31474" y="393"/>
                </a:lnTo>
                <a:lnTo>
                  <a:pt x="28327" y="1180"/>
                </a:lnTo>
                <a:lnTo>
                  <a:pt x="25573" y="2361"/>
                </a:lnTo>
                <a:lnTo>
                  <a:pt x="22425" y="2754"/>
                </a:lnTo>
                <a:lnTo>
                  <a:pt x="19278" y="3541"/>
                </a:lnTo>
                <a:lnTo>
                  <a:pt x="16524" y="5508"/>
                </a:lnTo>
                <a:lnTo>
                  <a:pt x="13770" y="5115"/>
                </a:lnTo>
                <a:lnTo>
                  <a:pt x="10623" y="5115"/>
                </a:lnTo>
                <a:lnTo>
                  <a:pt x="7475" y="5115"/>
                </a:lnTo>
                <a:lnTo>
                  <a:pt x="4721" y="5115"/>
                </a:lnTo>
                <a:lnTo>
                  <a:pt x="1574" y="6295"/>
                </a:lnTo>
                <a:lnTo>
                  <a:pt x="0" y="9442"/>
                </a:lnTo>
                <a:lnTo>
                  <a:pt x="787" y="12196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9" name="Freeform: Shape 2769">
            <a:extLst>
              <a:ext uri="{FF2B5EF4-FFF2-40B4-BE49-F238E27FC236}">
                <a16:creationId xmlns:a16="http://schemas.microsoft.com/office/drawing/2014/main" id="{20102217-A5D0-4571-B523-253A0497B769}"/>
              </a:ext>
            </a:extLst>
          </p:cNvPr>
          <p:cNvSpPr/>
          <p:nvPr/>
        </p:nvSpPr>
        <p:spPr>
          <a:xfrm>
            <a:off x="1473869" y="2076813"/>
            <a:ext cx="11312" cy="7542"/>
          </a:xfrm>
          <a:custGeom>
            <a:avLst/>
            <a:gdLst>
              <a:gd name="connsiteX0" fmla="*/ 7869 w 11802"/>
              <a:gd name="connsiteY0" fmla="*/ 5901 h 7868"/>
              <a:gd name="connsiteX1" fmla="*/ 11016 w 11802"/>
              <a:gd name="connsiteY1" fmla="*/ 3147 h 7868"/>
              <a:gd name="connsiteX2" fmla="*/ 14163 w 11802"/>
              <a:gd name="connsiteY2" fmla="*/ 787 h 7868"/>
              <a:gd name="connsiteX3" fmla="*/ 11016 w 11802"/>
              <a:gd name="connsiteY3" fmla="*/ 2754 h 7868"/>
              <a:gd name="connsiteX4" fmla="*/ 7869 w 11802"/>
              <a:gd name="connsiteY4" fmla="*/ 2754 h 7868"/>
              <a:gd name="connsiteX5" fmla="*/ 11016 w 11802"/>
              <a:gd name="connsiteY5" fmla="*/ 393 h 7868"/>
              <a:gd name="connsiteX6" fmla="*/ 10623 w 11802"/>
              <a:gd name="connsiteY6" fmla="*/ 0 h 7868"/>
              <a:gd name="connsiteX7" fmla="*/ 7475 w 11802"/>
              <a:gd name="connsiteY7" fmla="*/ 1180 h 7868"/>
              <a:gd name="connsiteX8" fmla="*/ 4721 w 11802"/>
              <a:gd name="connsiteY8" fmla="*/ 2754 h 7868"/>
              <a:gd name="connsiteX9" fmla="*/ 1967 w 11802"/>
              <a:gd name="connsiteY9" fmla="*/ 5508 h 7868"/>
              <a:gd name="connsiteX10" fmla="*/ 0 w 11802"/>
              <a:gd name="connsiteY10" fmla="*/ 8262 h 7868"/>
              <a:gd name="connsiteX11" fmla="*/ 2754 w 11802"/>
              <a:gd name="connsiteY11" fmla="*/ 7869 h 7868"/>
              <a:gd name="connsiteX12" fmla="*/ 5901 w 11802"/>
              <a:gd name="connsiteY12" fmla="*/ 8655 h 7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802" h="7868">
                <a:moveTo>
                  <a:pt x="7869" y="5901"/>
                </a:moveTo>
                <a:lnTo>
                  <a:pt x="11016" y="3147"/>
                </a:lnTo>
                <a:lnTo>
                  <a:pt x="14163" y="787"/>
                </a:lnTo>
                <a:lnTo>
                  <a:pt x="11016" y="2754"/>
                </a:lnTo>
                <a:lnTo>
                  <a:pt x="7869" y="2754"/>
                </a:lnTo>
                <a:lnTo>
                  <a:pt x="11016" y="393"/>
                </a:lnTo>
                <a:lnTo>
                  <a:pt x="10623" y="0"/>
                </a:lnTo>
                <a:lnTo>
                  <a:pt x="7475" y="1180"/>
                </a:lnTo>
                <a:lnTo>
                  <a:pt x="4721" y="2754"/>
                </a:lnTo>
                <a:lnTo>
                  <a:pt x="1967" y="5508"/>
                </a:lnTo>
                <a:lnTo>
                  <a:pt x="0" y="8262"/>
                </a:lnTo>
                <a:lnTo>
                  <a:pt x="2754" y="7869"/>
                </a:lnTo>
                <a:lnTo>
                  <a:pt x="5901" y="8655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0" name="Freeform: Shape 2770">
            <a:extLst>
              <a:ext uri="{FF2B5EF4-FFF2-40B4-BE49-F238E27FC236}">
                <a16:creationId xmlns:a16="http://schemas.microsoft.com/office/drawing/2014/main" id="{FEA7FC55-D4D7-4A85-A450-AB0087823F55}"/>
              </a:ext>
            </a:extLst>
          </p:cNvPr>
          <p:cNvSpPr/>
          <p:nvPr/>
        </p:nvSpPr>
        <p:spPr>
          <a:xfrm>
            <a:off x="1485934" y="2078322"/>
            <a:ext cx="3770" cy="3770"/>
          </a:xfrm>
          <a:custGeom>
            <a:avLst/>
            <a:gdLst>
              <a:gd name="connsiteX0" fmla="*/ 5901 w 3934"/>
              <a:gd name="connsiteY0" fmla="*/ 393 h 0"/>
              <a:gd name="connsiteX1" fmla="*/ 5901 w 3934"/>
              <a:gd name="connsiteY1" fmla="*/ 0 h 0"/>
              <a:gd name="connsiteX2" fmla="*/ 2754 w 3934"/>
              <a:gd name="connsiteY2" fmla="*/ 787 h 0"/>
              <a:gd name="connsiteX3" fmla="*/ 0 w 3934"/>
              <a:gd name="connsiteY3" fmla="*/ 2361 h 0"/>
              <a:gd name="connsiteX4" fmla="*/ 2754 w 3934"/>
              <a:gd name="connsiteY4" fmla="*/ 3147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4">
                <a:moveTo>
                  <a:pt x="5901" y="393"/>
                </a:moveTo>
                <a:lnTo>
                  <a:pt x="5901" y="0"/>
                </a:lnTo>
                <a:lnTo>
                  <a:pt x="2754" y="787"/>
                </a:lnTo>
                <a:lnTo>
                  <a:pt x="0" y="2361"/>
                </a:lnTo>
                <a:lnTo>
                  <a:pt x="2754" y="314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1" name="Freeform: Shape 2771">
            <a:extLst>
              <a:ext uri="{FF2B5EF4-FFF2-40B4-BE49-F238E27FC236}">
                <a16:creationId xmlns:a16="http://schemas.microsoft.com/office/drawing/2014/main" id="{0510762E-4683-4D2E-B0B0-47D221826728}"/>
              </a:ext>
            </a:extLst>
          </p:cNvPr>
          <p:cNvSpPr/>
          <p:nvPr/>
        </p:nvSpPr>
        <p:spPr>
          <a:xfrm>
            <a:off x="1493098" y="2075305"/>
            <a:ext cx="3770" cy="3770"/>
          </a:xfrm>
          <a:custGeom>
            <a:avLst/>
            <a:gdLst>
              <a:gd name="connsiteX0" fmla="*/ 5901 w 3934"/>
              <a:gd name="connsiteY0" fmla="*/ 787 h 0"/>
              <a:gd name="connsiteX1" fmla="*/ 5901 w 3934"/>
              <a:gd name="connsiteY1" fmla="*/ 393 h 0"/>
              <a:gd name="connsiteX2" fmla="*/ 3147 w 3934"/>
              <a:gd name="connsiteY2" fmla="*/ 0 h 0"/>
              <a:gd name="connsiteX3" fmla="*/ 0 w 3934"/>
              <a:gd name="connsiteY3" fmla="*/ 2361 h 0"/>
              <a:gd name="connsiteX4" fmla="*/ 3147 w 3934"/>
              <a:gd name="connsiteY4" fmla="*/ 1574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4">
                <a:moveTo>
                  <a:pt x="5901" y="787"/>
                </a:moveTo>
                <a:lnTo>
                  <a:pt x="5901" y="393"/>
                </a:lnTo>
                <a:lnTo>
                  <a:pt x="3147" y="0"/>
                </a:lnTo>
                <a:lnTo>
                  <a:pt x="0" y="2361"/>
                </a:lnTo>
                <a:lnTo>
                  <a:pt x="3147" y="157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2" name="Freeform: Shape 2772">
            <a:extLst>
              <a:ext uri="{FF2B5EF4-FFF2-40B4-BE49-F238E27FC236}">
                <a16:creationId xmlns:a16="http://schemas.microsoft.com/office/drawing/2014/main" id="{764903EF-CF90-482B-BADC-3680FEA5814D}"/>
              </a:ext>
            </a:extLst>
          </p:cNvPr>
          <p:cNvSpPr/>
          <p:nvPr/>
        </p:nvSpPr>
        <p:spPr>
          <a:xfrm>
            <a:off x="1587364" y="1973499"/>
            <a:ext cx="15082" cy="7542"/>
          </a:xfrm>
          <a:custGeom>
            <a:avLst/>
            <a:gdLst>
              <a:gd name="connsiteX0" fmla="*/ 6295 w 15737"/>
              <a:gd name="connsiteY0" fmla="*/ 6688 h 7868"/>
              <a:gd name="connsiteX1" fmla="*/ 9049 w 15737"/>
              <a:gd name="connsiteY1" fmla="*/ 5114 h 7868"/>
              <a:gd name="connsiteX2" fmla="*/ 12196 w 15737"/>
              <a:gd name="connsiteY2" fmla="*/ 3541 h 7868"/>
              <a:gd name="connsiteX3" fmla="*/ 14950 w 15737"/>
              <a:gd name="connsiteY3" fmla="*/ 1967 h 7868"/>
              <a:gd name="connsiteX4" fmla="*/ 18098 w 15737"/>
              <a:gd name="connsiteY4" fmla="*/ 0 h 7868"/>
              <a:gd name="connsiteX5" fmla="*/ 14950 w 15737"/>
              <a:gd name="connsiteY5" fmla="*/ 1180 h 7868"/>
              <a:gd name="connsiteX6" fmla="*/ 11803 w 15737"/>
              <a:gd name="connsiteY6" fmla="*/ 1967 h 7868"/>
              <a:gd name="connsiteX7" fmla="*/ 9049 w 15737"/>
              <a:gd name="connsiteY7" fmla="*/ 2361 h 7868"/>
              <a:gd name="connsiteX8" fmla="*/ 5901 w 15737"/>
              <a:gd name="connsiteY8" fmla="*/ 3147 h 7868"/>
              <a:gd name="connsiteX9" fmla="*/ 2754 w 15737"/>
              <a:gd name="connsiteY9" fmla="*/ 4721 h 7868"/>
              <a:gd name="connsiteX10" fmla="*/ 2754 w 15737"/>
              <a:gd name="connsiteY10" fmla="*/ 5114 h 7868"/>
              <a:gd name="connsiteX11" fmla="*/ 0 w 15737"/>
              <a:gd name="connsiteY11" fmla="*/ 7869 h 7868"/>
              <a:gd name="connsiteX12" fmla="*/ 3147 w 15737"/>
              <a:gd name="connsiteY12" fmla="*/ 7869 h 7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737" h="7868">
                <a:moveTo>
                  <a:pt x="6295" y="6688"/>
                </a:moveTo>
                <a:lnTo>
                  <a:pt x="9049" y="5114"/>
                </a:lnTo>
                <a:lnTo>
                  <a:pt x="12196" y="3541"/>
                </a:lnTo>
                <a:lnTo>
                  <a:pt x="14950" y="1967"/>
                </a:lnTo>
                <a:lnTo>
                  <a:pt x="18098" y="0"/>
                </a:lnTo>
                <a:lnTo>
                  <a:pt x="14950" y="1180"/>
                </a:lnTo>
                <a:lnTo>
                  <a:pt x="11803" y="1967"/>
                </a:lnTo>
                <a:lnTo>
                  <a:pt x="9049" y="2361"/>
                </a:lnTo>
                <a:lnTo>
                  <a:pt x="5901" y="3147"/>
                </a:lnTo>
                <a:lnTo>
                  <a:pt x="2754" y="4721"/>
                </a:lnTo>
                <a:lnTo>
                  <a:pt x="2754" y="5114"/>
                </a:lnTo>
                <a:lnTo>
                  <a:pt x="0" y="7869"/>
                </a:lnTo>
                <a:lnTo>
                  <a:pt x="3147" y="7869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3" name="Freeform: Shape 2773">
            <a:extLst>
              <a:ext uri="{FF2B5EF4-FFF2-40B4-BE49-F238E27FC236}">
                <a16:creationId xmlns:a16="http://schemas.microsoft.com/office/drawing/2014/main" id="{9745DF07-1FC5-4B34-BC89-271CCD00EEE7}"/>
              </a:ext>
            </a:extLst>
          </p:cNvPr>
          <p:cNvSpPr/>
          <p:nvPr/>
        </p:nvSpPr>
        <p:spPr>
          <a:xfrm>
            <a:off x="1292502" y="2125454"/>
            <a:ext cx="3770" cy="3770"/>
          </a:xfrm>
          <a:custGeom>
            <a:avLst/>
            <a:gdLst>
              <a:gd name="connsiteX0" fmla="*/ 1180 w 3934"/>
              <a:gd name="connsiteY0" fmla="*/ 1574 h 3934"/>
              <a:gd name="connsiteX1" fmla="*/ 0 w 3934"/>
              <a:gd name="connsiteY1" fmla="*/ 4328 h 3934"/>
              <a:gd name="connsiteX2" fmla="*/ 787 w 3934"/>
              <a:gd name="connsiteY2" fmla="*/ 3541 h 3934"/>
              <a:gd name="connsiteX3" fmla="*/ 3934 w 3934"/>
              <a:gd name="connsiteY3" fmla="*/ 2361 h 3934"/>
              <a:gd name="connsiteX4" fmla="*/ 7082 w 3934"/>
              <a:gd name="connsiteY4" fmla="*/ 0 h 3934"/>
              <a:gd name="connsiteX5" fmla="*/ 3934 w 3934"/>
              <a:gd name="connsiteY5" fmla="*/ 787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34" h="3934">
                <a:moveTo>
                  <a:pt x="1180" y="1574"/>
                </a:moveTo>
                <a:lnTo>
                  <a:pt x="0" y="4328"/>
                </a:lnTo>
                <a:lnTo>
                  <a:pt x="787" y="3541"/>
                </a:lnTo>
                <a:lnTo>
                  <a:pt x="3934" y="2361"/>
                </a:lnTo>
                <a:lnTo>
                  <a:pt x="7082" y="0"/>
                </a:lnTo>
                <a:lnTo>
                  <a:pt x="3934" y="78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4" name="Freeform: Shape 2774">
            <a:extLst>
              <a:ext uri="{FF2B5EF4-FFF2-40B4-BE49-F238E27FC236}">
                <a16:creationId xmlns:a16="http://schemas.microsoft.com/office/drawing/2014/main" id="{72383160-530C-44E2-B019-817B6276E174}"/>
              </a:ext>
            </a:extLst>
          </p:cNvPr>
          <p:cNvSpPr/>
          <p:nvPr/>
        </p:nvSpPr>
        <p:spPr>
          <a:xfrm>
            <a:off x="1308339" y="2113765"/>
            <a:ext cx="11312" cy="3770"/>
          </a:xfrm>
          <a:custGeom>
            <a:avLst/>
            <a:gdLst>
              <a:gd name="connsiteX0" fmla="*/ 10623 w 11802"/>
              <a:gd name="connsiteY0" fmla="*/ 393 h 3934"/>
              <a:gd name="connsiteX1" fmla="*/ 7475 w 11802"/>
              <a:gd name="connsiteY1" fmla="*/ 0 h 3934"/>
              <a:gd name="connsiteX2" fmla="*/ 4721 w 11802"/>
              <a:gd name="connsiteY2" fmla="*/ 1180 h 3934"/>
              <a:gd name="connsiteX3" fmla="*/ 1574 w 11802"/>
              <a:gd name="connsiteY3" fmla="*/ 2754 h 3934"/>
              <a:gd name="connsiteX4" fmla="*/ 0 w 11802"/>
              <a:gd name="connsiteY4" fmla="*/ 5508 h 3934"/>
              <a:gd name="connsiteX5" fmla="*/ 3147 w 11802"/>
              <a:gd name="connsiteY5" fmla="*/ 5901 h 3934"/>
              <a:gd name="connsiteX6" fmla="*/ 3541 w 11802"/>
              <a:gd name="connsiteY6" fmla="*/ 5901 h 3934"/>
              <a:gd name="connsiteX7" fmla="*/ 6688 w 11802"/>
              <a:gd name="connsiteY7" fmla="*/ 4721 h 3934"/>
              <a:gd name="connsiteX8" fmla="*/ 9836 w 11802"/>
              <a:gd name="connsiteY8" fmla="*/ 4328 h 3934"/>
              <a:gd name="connsiteX9" fmla="*/ 12590 w 11802"/>
              <a:gd name="connsiteY9" fmla="*/ 2754 h 3934"/>
              <a:gd name="connsiteX10" fmla="*/ 9836 w 11802"/>
              <a:gd name="connsiteY10" fmla="*/ 3147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802" h="3934">
                <a:moveTo>
                  <a:pt x="10623" y="393"/>
                </a:moveTo>
                <a:lnTo>
                  <a:pt x="7475" y="0"/>
                </a:lnTo>
                <a:lnTo>
                  <a:pt x="4721" y="1180"/>
                </a:lnTo>
                <a:lnTo>
                  <a:pt x="1574" y="2754"/>
                </a:lnTo>
                <a:lnTo>
                  <a:pt x="0" y="5508"/>
                </a:lnTo>
                <a:lnTo>
                  <a:pt x="3147" y="5901"/>
                </a:lnTo>
                <a:lnTo>
                  <a:pt x="3541" y="5901"/>
                </a:lnTo>
                <a:lnTo>
                  <a:pt x="6688" y="4721"/>
                </a:lnTo>
                <a:lnTo>
                  <a:pt x="9836" y="4328"/>
                </a:lnTo>
                <a:lnTo>
                  <a:pt x="12590" y="2754"/>
                </a:lnTo>
                <a:lnTo>
                  <a:pt x="9836" y="314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5" name="Freeform: Shape 2775">
            <a:extLst>
              <a:ext uri="{FF2B5EF4-FFF2-40B4-BE49-F238E27FC236}">
                <a16:creationId xmlns:a16="http://schemas.microsoft.com/office/drawing/2014/main" id="{AF005216-BE80-4ABF-BAFC-435646E8F4C2}"/>
              </a:ext>
            </a:extLst>
          </p:cNvPr>
          <p:cNvSpPr/>
          <p:nvPr/>
        </p:nvSpPr>
        <p:spPr>
          <a:xfrm>
            <a:off x="1322290" y="2111503"/>
            <a:ext cx="3770" cy="3770"/>
          </a:xfrm>
          <a:custGeom>
            <a:avLst/>
            <a:gdLst>
              <a:gd name="connsiteX0" fmla="*/ 1180 w 3934"/>
              <a:gd name="connsiteY0" fmla="*/ 2754 h 3934"/>
              <a:gd name="connsiteX1" fmla="*/ 0 w 3934"/>
              <a:gd name="connsiteY1" fmla="*/ 5901 h 3934"/>
              <a:gd name="connsiteX2" fmla="*/ 1574 w 3934"/>
              <a:gd name="connsiteY2" fmla="*/ 4721 h 3934"/>
              <a:gd name="connsiteX3" fmla="*/ 4328 w 3934"/>
              <a:gd name="connsiteY3" fmla="*/ 1967 h 3934"/>
              <a:gd name="connsiteX4" fmla="*/ 7475 w 3934"/>
              <a:gd name="connsiteY4" fmla="*/ 0 h 3934"/>
              <a:gd name="connsiteX5" fmla="*/ 4328 w 3934"/>
              <a:gd name="connsiteY5" fmla="*/ 393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34" h="3934">
                <a:moveTo>
                  <a:pt x="1180" y="2754"/>
                </a:moveTo>
                <a:lnTo>
                  <a:pt x="0" y="5901"/>
                </a:lnTo>
                <a:lnTo>
                  <a:pt x="1574" y="4721"/>
                </a:lnTo>
                <a:lnTo>
                  <a:pt x="4328" y="1967"/>
                </a:lnTo>
                <a:lnTo>
                  <a:pt x="7475" y="0"/>
                </a:lnTo>
                <a:lnTo>
                  <a:pt x="4328" y="393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6" name="Freeform: Shape 2776">
            <a:extLst>
              <a:ext uri="{FF2B5EF4-FFF2-40B4-BE49-F238E27FC236}">
                <a16:creationId xmlns:a16="http://schemas.microsoft.com/office/drawing/2014/main" id="{B62A0CCD-2523-4564-9174-FF37678BC554}"/>
              </a:ext>
            </a:extLst>
          </p:cNvPr>
          <p:cNvSpPr/>
          <p:nvPr/>
        </p:nvSpPr>
        <p:spPr>
          <a:xfrm>
            <a:off x="1323421" y="2117535"/>
            <a:ext cx="3770" cy="3770"/>
          </a:xfrm>
          <a:custGeom>
            <a:avLst/>
            <a:gdLst>
              <a:gd name="connsiteX0" fmla="*/ 3147 w 0"/>
              <a:gd name="connsiteY0" fmla="*/ 1574 h 0"/>
              <a:gd name="connsiteX1" fmla="*/ 3147 w 0"/>
              <a:gd name="connsiteY1" fmla="*/ 0 h 0"/>
              <a:gd name="connsiteX2" fmla="*/ 0 w 0"/>
              <a:gd name="connsiteY2" fmla="*/ 787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>
                <a:moveTo>
                  <a:pt x="3147" y="1574"/>
                </a:moveTo>
                <a:lnTo>
                  <a:pt x="3147" y="0"/>
                </a:lnTo>
                <a:lnTo>
                  <a:pt x="0" y="78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7" name="Freeform: Shape 2777">
            <a:extLst>
              <a:ext uri="{FF2B5EF4-FFF2-40B4-BE49-F238E27FC236}">
                <a16:creationId xmlns:a16="http://schemas.microsoft.com/office/drawing/2014/main" id="{4AD944EC-7CCA-4CD0-BCE8-A464990A08E2}"/>
              </a:ext>
            </a:extLst>
          </p:cNvPr>
          <p:cNvSpPr/>
          <p:nvPr/>
        </p:nvSpPr>
        <p:spPr>
          <a:xfrm>
            <a:off x="1331340" y="2116405"/>
            <a:ext cx="3770" cy="3770"/>
          </a:xfrm>
          <a:custGeom>
            <a:avLst/>
            <a:gdLst>
              <a:gd name="connsiteX0" fmla="*/ 2754 w 3934"/>
              <a:gd name="connsiteY0" fmla="*/ 393 h 0"/>
              <a:gd name="connsiteX1" fmla="*/ 0 w 3934"/>
              <a:gd name="connsiteY1" fmla="*/ 1967 h 0"/>
              <a:gd name="connsiteX2" fmla="*/ 2754 w 3934"/>
              <a:gd name="connsiteY2" fmla="*/ 1967 h 0"/>
              <a:gd name="connsiteX3" fmla="*/ 5901 w 3934"/>
              <a:gd name="connsiteY3" fmla="*/ 393 h 0"/>
              <a:gd name="connsiteX4" fmla="*/ 5901 w 3934"/>
              <a:gd name="connsiteY4" fmla="*/ 0 h 0"/>
              <a:gd name="connsiteX5" fmla="*/ 5508 w 3934"/>
              <a:gd name="connsiteY5" fmla="*/ 393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34">
                <a:moveTo>
                  <a:pt x="2754" y="393"/>
                </a:moveTo>
                <a:lnTo>
                  <a:pt x="0" y="1967"/>
                </a:lnTo>
                <a:lnTo>
                  <a:pt x="2754" y="1967"/>
                </a:lnTo>
                <a:lnTo>
                  <a:pt x="5901" y="393"/>
                </a:lnTo>
                <a:lnTo>
                  <a:pt x="5901" y="0"/>
                </a:lnTo>
                <a:lnTo>
                  <a:pt x="5508" y="393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8" name="Freeform: Shape 2778">
            <a:extLst>
              <a:ext uri="{FF2B5EF4-FFF2-40B4-BE49-F238E27FC236}">
                <a16:creationId xmlns:a16="http://schemas.microsoft.com/office/drawing/2014/main" id="{C16D9ED5-D430-4864-9BD5-C89EC7448E2D}"/>
              </a:ext>
            </a:extLst>
          </p:cNvPr>
          <p:cNvSpPr/>
          <p:nvPr/>
        </p:nvSpPr>
        <p:spPr>
          <a:xfrm>
            <a:off x="1350947" y="2088125"/>
            <a:ext cx="49017" cy="18853"/>
          </a:xfrm>
          <a:custGeom>
            <a:avLst/>
            <a:gdLst>
              <a:gd name="connsiteX0" fmla="*/ 54686 w 51145"/>
              <a:gd name="connsiteY0" fmla="*/ 9442 h 19671"/>
              <a:gd name="connsiteX1" fmla="*/ 51932 w 51145"/>
              <a:gd name="connsiteY1" fmla="*/ 9049 h 19671"/>
              <a:gd name="connsiteX2" fmla="*/ 51145 w 51145"/>
              <a:gd name="connsiteY2" fmla="*/ 6295 h 19671"/>
              <a:gd name="connsiteX3" fmla="*/ 53899 w 51145"/>
              <a:gd name="connsiteY3" fmla="*/ 3541 h 19671"/>
              <a:gd name="connsiteX4" fmla="*/ 54293 w 51145"/>
              <a:gd name="connsiteY4" fmla="*/ 787 h 19671"/>
              <a:gd name="connsiteX5" fmla="*/ 51539 w 51145"/>
              <a:gd name="connsiteY5" fmla="*/ 0 h 19671"/>
              <a:gd name="connsiteX6" fmla="*/ 48391 w 51145"/>
              <a:gd name="connsiteY6" fmla="*/ 0 h 19671"/>
              <a:gd name="connsiteX7" fmla="*/ 45637 w 51145"/>
              <a:gd name="connsiteY7" fmla="*/ 393 h 19671"/>
              <a:gd name="connsiteX8" fmla="*/ 42883 w 51145"/>
              <a:gd name="connsiteY8" fmla="*/ 1574 h 19671"/>
              <a:gd name="connsiteX9" fmla="*/ 39736 w 51145"/>
              <a:gd name="connsiteY9" fmla="*/ 2361 h 19671"/>
              <a:gd name="connsiteX10" fmla="*/ 36982 w 51145"/>
              <a:gd name="connsiteY10" fmla="*/ 2754 h 19671"/>
              <a:gd name="connsiteX11" fmla="*/ 31081 w 51145"/>
              <a:gd name="connsiteY11" fmla="*/ 5115 h 19671"/>
              <a:gd name="connsiteX12" fmla="*/ 27933 w 51145"/>
              <a:gd name="connsiteY12" fmla="*/ 3934 h 19671"/>
              <a:gd name="connsiteX13" fmla="*/ 25179 w 51145"/>
              <a:gd name="connsiteY13" fmla="*/ 5115 h 19671"/>
              <a:gd name="connsiteX14" fmla="*/ 22032 w 51145"/>
              <a:gd name="connsiteY14" fmla="*/ 6688 h 19671"/>
              <a:gd name="connsiteX15" fmla="*/ 19278 w 51145"/>
              <a:gd name="connsiteY15" fmla="*/ 7869 h 19671"/>
              <a:gd name="connsiteX16" fmla="*/ 16524 w 51145"/>
              <a:gd name="connsiteY16" fmla="*/ 9836 h 19671"/>
              <a:gd name="connsiteX17" fmla="*/ 13376 w 51145"/>
              <a:gd name="connsiteY17" fmla="*/ 11409 h 19671"/>
              <a:gd name="connsiteX18" fmla="*/ 10229 w 51145"/>
              <a:gd name="connsiteY18" fmla="*/ 12983 h 19671"/>
              <a:gd name="connsiteX19" fmla="*/ 7082 w 51145"/>
              <a:gd name="connsiteY19" fmla="*/ 13376 h 19671"/>
              <a:gd name="connsiteX20" fmla="*/ 5114 w 51145"/>
              <a:gd name="connsiteY20" fmla="*/ 14163 h 19671"/>
              <a:gd name="connsiteX21" fmla="*/ 2361 w 51145"/>
              <a:gd name="connsiteY21" fmla="*/ 15737 h 19671"/>
              <a:gd name="connsiteX22" fmla="*/ 0 w 51145"/>
              <a:gd name="connsiteY22" fmla="*/ 18491 h 19671"/>
              <a:gd name="connsiteX23" fmla="*/ 2754 w 51145"/>
              <a:gd name="connsiteY23" fmla="*/ 21245 h 19671"/>
              <a:gd name="connsiteX24" fmla="*/ 6295 w 51145"/>
              <a:gd name="connsiteY24" fmla="*/ 20458 h 19671"/>
              <a:gd name="connsiteX25" fmla="*/ 9049 w 51145"/>
              <a:gd name="connsiteY25" fmla="*/ 20065 h 19671"/>
              <a:gd name="connsiteX26" fmla="*/ 11803 w 51145"/>
              <a:gd name="connsiteY26" fmla="*/ 19278 h 19671"/>
              <a:gd name="connsiteX27" fmla="*/ 14950 w 51145"/>
              <a:gd name="connsiteY27" fmla="*/ 18098 h 19671"/>
              <a:gd name="connsiteX28" fmla="*/ 17704 w 51145"/>
              <a:gd name="connsiteY28" fmla="*/ 16131 h 19671"/>
              <a:gd name="connsiteX29" fmla="*/ 20852 w 51145"/>
              <a:gd name="connsiteY29" fmla="*/ 14950 h 19671"/>
              <a:gd name="connsiteX30" fmla="*/ 23999 w 51145"/>
              <a:gd name="connsiteY30" fmla="*/ 14163 h 19671"/>
              <a:gd name="connsiteX31" fmla="*/ 26753 w 51145"/>
              <a:gd name="connsiteY31" fmla="*/ 13376 h 19671"/>
              <a:gd name="connsiteX32" fmla="*/ 29900 w 51145"/>
              <a:gd name="connsiteY32" fmla="*/ 13376 h 19671"/>
              <a:gd name="connsiteX33" fmla="*/ 32654 w 51145"/>
              <a:gd name="connsiteY33" fmla="*/ 12983 h 19671"/>
              <a:gd name="connsiteX34" fmla="*/ 35408 w 51145"/>
              <a:gd name="connsiteY34" fmla="*/ 13376 h 19671"/>
              <a:gd name="connsiteX35" fmla="*/ 38556 w 51145"/>
              <a:gd name="connsiteY35" fmla="*/ 13770 h 19671"/>
              <a:gd name="connsiteX36" fmla="*/ 41310 w 51145"/>
              <a:gd name="connsiteY36" fmla="*/ 12983 h 19671"/>
              <a:gd name="connsiteX37" fmla="*/ 44457 w 51145"/>
              <a:gd name="connsiteY37" fmla="*/ 12196 h 19671"/>
              <a:gd name="connsiteX38" fmla="*/ 47211 w 51145"/>
              <a:gd name="connsiteY38" fmla="*/ 9836 h 19671"/>
              <a:gd name="connsiteX39" fmla="*/ 50359 w 51145"/>
              <a:gd name="connsiteY39" fmla="*/ 11409 h 19671"/>
              <a:gd name="connsiteX40" fmla="*/ 53113 w 51145"/>
              <a:gd name="connsiteY40" fmla="*/ 12196 h 1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51145" h="19671">
                <a:moveTo>
                  <a:pt x="54686" y="9442"/>
                </a:moveTo>
                <a:lnTo>
                  <a:pt x="51932" y="9049"/>
                </a:lnTo>
                <a:lnTo>
                  <a:pt x="51145" y="6295"/>
                </a:lnTo>
                <a:lnTo>
                  <a:pt x="53899" y="3541"/>
                </a:lnTo>
                <a:lnTo>
                  <a:pt x="54293" y="787"/>
                </a:lnTo>
                <a:lnTo>
                  <a:pt x="51539" y="0"/>
                </a:lnTo>
                <a:lnTo>
                  <a:pt x="48391" y="0"/>
                </a:lnTo>
                <a:lnTo>
                  <a:pt x="45637" y="393"/>
                </a:lnTo>
                <a:lnTo>
                  <a:pt x="42883" y="1574"/>
                </a:lnTo>
                <a:lnTo>
                  <a:pt x="39736" y="2361"/>
                </a:lnTo>
                <a:lnTo>
                  <a:pt x="36982" y="2754"/>
                </a:lnTo>
                <a:lnTo>
                  <a:pt x="31081" y="5115"/>
                </a:lnTo>
                <a:lnTo>
                  <a:pt x="27933" y="3934"/>
                </a:lnTo>
                <a:lnTo>
                  <a:pt x="25179" y="5115"/>
                </a:lnTo>
                <a:lnTo>
                  <a:pt x="22032" y="6688"/>
                </a:lnTo>
                <a:lnTo>
                  <a:pt x="19278" y="7869"/>
                </a:lnTo>
                <a:lnTo>
                  <a:pt x="16524" y="9836"/>
                </a:lnTo>
                <a:lnTo>
                  <a:pt x="13376" y="11409"/>
                </a:lnTo>
                <a:lnTo>
                  <a:pt x="10229" y="12983"/>
                </a:lnTo>
                <a:lnTo>
                  <a:pt x="7082" y="13376"/>
                </a:lnTo>
                <a:lnTo>
                  <a:pt x="5114" y="14163"/>
                </a:lnTo>
                <a:lnTo>
                  <a:pt x="2361" y="15737"/>
                </a:lnTo>
                <a:lnTo>
                  <a:pt x="0" y="18491"/>
                </a:lnTo>
                <a:lnTo>
                  <a:pt x="2754" y="21245"/>
                </a:lnTo>
                <a:lnTo>
                  <a:pt x="6295" y="20458"/>
                </a:lnTo>
                <a:lnTo>
                  <a:pt x="9049" y="20065"/>
                </a:lnTo>
                <a:lnTo>
                  <a:pt x="11803" y="19278"/>
                </a:lnTo>
                <a:lnTo>
                  <a:pt x="14950" y="18098"/>
                </a:lnTo>
                <a:lnTo>
                  <a:pt x="17704" y="16131"/>
                </a:lnTo>
                <a:lnTo>
                  <a:pt x="20852" y="14950"/>
                </a:lnTo>
                <a:lnTo>
                  <a:pt x="23999" y="14163"/>
                </a:lnTo>
                <a:lnTo>
                  <a:pt x="26753" y="13376"/>
                </a:lnTo>
                <a:lnTo>
                  <a:pt x="29900" y="13376"/>
                </a:lnTo>
                <a:lnTo>
                  <a:pt x="32654" y="12983"/>
                </a:lnTo>
                <a:lnTo>
                  <a:pt x="35408" y="13376"/>
                </a:lnTo>
                <a:lnTo>
                  <a:pt x="38556" y="13770"/>
                </a:lnTo>
                <a:lnTo>
                  <a:pt x="41310" y="12983"/>
                </a:lnTo>
                <a:lnTo>
                  <a:pt x="44457" y="12196"/>
                </a:lnTo>
                <a:lnTo>
                  <a:pt x="47211" y="9836"/>
                </a:lnTo>
                <a:lnTo>
                  <a:pt x="50359" y="11409"/>
                </a:lnTo>
                <a:lnTo>
                  <a:pt x="53113" y="12196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9" name="Freeform: Shape 2779">
            <a:extLst>
              <a:ext uri="{FF2B5EF4-FFF2-40B4-BE49-F238E27FC236}">
                <a16:creationId xmlns:a16="http://schemas.microsoft.com/office/drawing/2014/main" id="{95F2B04C-B8C7-4482-83DA-AC834097EAB4}"/>
              </a:ext>
            </a:extLst>
          </p:cNvPr>
          <p:cNvSpPr/>
          <p:nvPr/>
        </p:nvSpPr>
        <p:spPr>
          <a:xfrm>
            <a:off x="1400719" y="2105093"/>
            <a:ext cx="3770" cy="3770"/>
          </a:xfrm>
          <a:custGeom>
            <a:avLst/>
            <a:gdLst>
              <a:gd name="connsiteX0" fmla="*/ 1180 w 3934"/>
              <a:gd name="connsiteY0" fmla="*/ 0 h 0"/>
              <a:gd name="connsiteX1" fmla="*/ 0 w 3934"/>
              <a:gd name="connsiteY1" fmla="*/ 3147 h 0"/>
              <a:gd name="connsiteX2" fmla="*/ 2754 w 3934"/>
              <a:gd name="connsiteY2" fmla="*/ 3541 h 0"/>
              <a:gd name="connsiteX3" fmla="*/ 5508 w 3934"/>
              <a:gd name="connsiteY3" fmla="*/ 1574 h 0"/>
              <a:gd name="connsiteX4" fmla="*/ 2754 w 3934"/>
              <a:gd name="connsiteY4" fmla="*/ 393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4">
                <a:moveTo>
                  <a:pt x="1180" y="0"/>
                </a:moveTo>
                <a:lnTo>
                  <a:pt x="0" y="3147"/>
                </a:lnTo>
                <a:lnTo>
                  <a:pt x="2754" y="3541"/>
                </a:lnTo>
                <a:lnTo>
                  <a:pt x="5508" y="1574"/>
                </a:lnTo>
                <a:lnTo>
                  <a:pt x="2754" y="393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0" name="Freeform: Shape 2780">
            <a:extLst>
              <a:ext uri="{FF2B5EF4-FFF2-40B4-BE49-F238E27FC236}">
                <a16:creationId xmlns:a16="http://schemas.microsoft.com/office/drawing/2014/main" id="{1EACCACF-685F-4BBF-AE9F-4691B48B2F13}"/>
              </a:ext>
            </a:extLst>
          </p:cNvPr>
          <p:cNvSpPr/>
          <p:nvPr/>
        </p:nvSpPr>
        <p:spPr>
          <a:xfrm>
            <a:off x="1426359" y="2090010"/>
            <a:ext cx="3770" cy="3770"/>
          </a:xfrm>
          <a:custGeom>
            <a:avLst/>
            <a:gdLst>
              <a:gd name="connsiteX0" fmla="*/ 2754 w 3934"/>
              <a:gd name="connsiteY0" fmla="*/ 787 h 3934"/>
              <a:gd name="connsiteX1" fmla="*/ 0 w 3934"/>
              <a:gd name="connsiteY1" fmla="*/ 1574 h 3934"/>
              <a:gd name="connsiteX2" fmla="*/ 787 w 3934"/>
              <a:gd name="connsiteY2" fmla="*/ 4328 h 3934"/>
              <a:gd name="connsiteX3" fmla="*/ 3541 w 3934"/>
              <a:gd name="connsiteY3" fmla="*/ 3147 h 3934"/>
              <a:gd name="connsiteX4" fmla="*/ 6688 w 3934"/>
              <a:gd name="connsiteY4" fmla="*/ 393 h 3934"/>
              <a:gd name="connsiteX5" fmla="*/ 5901 w 3934"/>
              <a:gd name="connsiteY5" fmla="*/ 0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34" h="3934">
                <a:moveTo>
                  <a:pt x="2754" y="787"/>
                </a:moveTo>
                <a:lnTo>
                  <a:pt x="0" y="1574"/>
                </a:lnTo>
                <a:lnTo>
                  <a:pt x="787" y="4328"/>
                </a:lnTo>
                <a:lnTo>
                  <a:pt x="3541" y="3147"/>
                </a:lnTo>
                <a:lnTo>
                  <a:pt x="6688" y="393"/>
                </a:lnTo>
                <a:lnTo>
                  <a:pt x="5901" y="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1" name="Freeform: Shape 2781">
            <a:extLst>
              <a:ext uri="{FF2B5EF4-FFF2-40B4-BE49-F238E27FC236}">
                <a16:creationId xmlns:a16="http://schemas.microsoft.com/office/drawing/2014/main" id="{8665EFEB-628B-4D08-B828-70529645F6AD}"/>
              </a:ext>
            </a:extLst>
          </p:cNvPr>
          <p:cNvSpPr/>
          <p:nvPr/>
        </p:nvSpPr>
        <p:spPr>
          <a:xfrm>
            <a:off x="1446720" y="2084355"/>
            <a:ext cx="3770" cy="3770"/>
          </a:xfrm>
          <a:custGeom>
            <a:avLst/>
            <a:gdLst>
              <a:gd name="connsiteX0" fmla="*/ 0 w 3934"/>
              <a:gd name="connsiteY0" fmla="*/ 1180 h 0"/>
              <a:gd name="connsiteX1" fmla="*/ 2754 w 3934"/>
              <a:gd name="connsiteY1" fmla="*/ 393 h 0"/>
              <a:gd name="connsiteX2" fmla="*/ 1574 w 3934"/>
              <a:gd name="connsiteY2" fmla="*/ 3147 h 0"/>
              <a:gd name="connsiteX3" fmla="*/ 4328 w 3934"/>
              <a:gd name="connsiteY3" fmla="*/ 787 h 0"/>
              <a:gd name="connsiteX4" fmla="*/ 2754 w 3934"/>
              <a:gd name="connsiteY4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4">
                <a:moveTo>
                  <a:pt x="0" y="1180"/>
                </a:moveTo>
                <a:lnTo>
                  <a:pt x="2754" y="393"/>
                </a:lnTo>
                <a:lnTo>
                  <a:pt x="1574" y="3147"/>
                </a:lnTo>
                <a:lnTo>
                  <a:pt x="4328" y="787"/>
                </a:lnTo>
                <a:lnTo>
                  <a:pt x="2754" y="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2" name="Freeform: Shape 2782">
            <a:extLst>
              <a:ext uri="{FF2B5EF4-FFF2-40B4-BE49-F238E27FC236}">
                <a16:creationId xmlns:a16="http://schemas.microsoft.com/office/drawing/2014/main" id="{466DB009-FFCB-470E-A352-F82904B478F8}"/>
              </a:ext>
            </a:extLst>
          </p:cNvPr>
          <p:cNvSpPr/>
          <p:nvPr/>
        </p:nvSpPr>
        <p:spPr>
          <a:xfrm>
            <a:off x="1169204" y="2155618"/>
            <a:ext cx="3770" cy="3770"/>
          </a:xfrm>
          <a:custGeom>
            <a:avLst/>
            <a:gdLst>
              <a:gd name="connsiteX0" fmla="*/ 1180 w 3934"/>
              <a:gd name="connsiteY0" fmla="*/ 1180 h 0"/>
              <a:gd name="connsiteX1" fmla="*/ 0 w 3934"/>
              <a:gd name="connsiteY1" fmla="*/ 1967 h 0"/>
              <a:gd name="connsiteX2" fmla="*/ 393 w 3934"/>
              <a:gd name="connsiteY2" fmla="*/ 2361 h 0"/>
              <a:gd name="connsiteX3" fmla="*/ 3541 w 3934"/>
              <a:gd name="connsiteY3" fmla="*/ 1180 h 0"/>
              <a:gd name="connsiteX4" fmla="*/ 6688 w 3934"/>
              <a:gd name="connsiteY4" fmla="*/ 2754 h 0"/>
              <a:gd name="connsiteX5" fmla="*/ 7082 w 3934"/>
              <a:gd name="connsiteY5" fmla="*/ 0 h 0"/>
              <a:gd name="connsiteX6" fmla="*/ 3934 w 3934"/>
              <a:gd name="connsiteY6" fmla="*/ 787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34">
                <a:moveTo>
                  <a:pt x="1180" y="1180"/>
                </a:moveTo>
                <a:lnTo>
                  <a:pt x="0" y="1967"/>
                </a:lnTo>
                <a:lnTo>
                  <a:pt x="393" y="2361"/>
                </a:lnTo>
                <a:lnTo>
                  <a:pt x="3541" y="1180"/>
                </a:lnTo>
                <a:lnTo>
                  <a:pt x="6688" y="2754"/>
                </a:lnTo>
                <a:lnTo>
                  <a:pt x="7082" y="0"/>
                </a:lnTo>
                <a:lnTo>
                  <a:pt x="3934" y="78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3" name="Freeform: Shape 2783">
            <a:extLst>
              <a:ext uri="{FF2B5EF4-FFF2-40B4-BE49-F238E27FC236}">
                <a16:creationId xmlns:a16="http://schemas.microsoft.com/office/drawing/2014/main" id="{84AD78A2-589A-47C7-A3A8-1B8DFE7F8062}"/>
              </a:ext>
            </a:extLst>
          </p:cNvPr>
          <p:cNvSpPr/>
          <p:nvPr/>
        </p:nvSpPr>
        <p:spPr>
          <a:xfrm>
            <a:off x="1192581" y="2134126"/>
            <a:ext cx="52789" cy="22624"/>
          </a:xfrm>
          <a:custGeom>
            <a:avLst/>
            <a:gdLst>
              <a:gd name="connsiteX0" fmla="*/ 53506 w 55079"/>
              <a:gd name="connsiteY0" fmla="*/ 3541 h 23605"/>
              <a:gd name="connsiteX1" fmla="*/ 56653 w 55079"/>
              <a:gd name="connsiteY1" fmla="*/ 1967 h 23605"/>
              <a:gd name="connsiteX2" fmla="*/ 56653 w 55079"/>
              <a:gd name="connsiteY2" fmla="*/ 1180 h 23605"/>
              <a:gd name="connsiteX3" fmla="*/ 53506 w 55079"/>
              <a:gd name="connsiteY3" fmla="*/ 0 h 23605"/>
              <a:gd name="connsiteX4" fmla="*/ 50359 w 55079"/>
              <a:gd name="connsiteY4" fmla="*/ 393 h 23605"/>
              <a:gd name="connsiteX5" fmla="*/ 47211 w 55079"/>
              <a:gd name="connsiteY5" fmla="*/ 787 h 23605"/>
              <a:gd name="connsiteX6" fmla="*/ 44457 w 55079"/>
              <a:gd name="connsiteY6" fmla="*/ 1967 h 23605"/>
              <a:gd name="connsiteX7" fmla="*/ 41310 w 55079"/>
              <a:gd name="connsiteY7" fmla="*/ 2754 h 23605"/>
              <a:gd name="connsiteX8" fmla="*/ 38556 w 55079"/>
              <a:gd name="connsiteY8" fmla="*/ 4721 h 23605"/>
              <a:gd name="connsiteX9" fmla="*/ 35408 w 55079"/>
              <a:gd name="connsiteY9" fmla="*/ 7082 h 23605"/>
              <a:gd name="connsiteX10" fmla="*/ 33048 w 55079"/>
              <a:gd name="connsiteY10" fmla="*/ 9836 h 23605"/>
              <a:gd name="connsiteX11" fmla="*/ 29900 w 55079"/>
              <a:gd name="connsiteY11" fmla="*/ 9836 h 23605"/>
              <a:gd name="connsiteX12" fmla="*/ 26753 w 55079"/>
              <a:gd name="connsiteY12" fmla="*/ 9442 h 23605"/>
              <a:gd name="connsiteX13" fmla="*/ 23999 w 55079"/>
              <a:gd name="connsiteY13" fmla="*/ 11016 h 23605"/>
              <a:gd name="connsiteX14" fmla="*/ 21245 w 55079"/>
              <a:gd name="connsiteY14" fmla="*/ 12196 h 23605"/>
              <a:gd name="connsiteX15" fmla="*/ 18098 w 55079"/>
              <a:gd name="connsiteY15" fmla="*/ 13770 h 23605"/>
              <a:gd name="connsiteX16" fmla="*/ 14950 w 55079"/>
              <a:gd name="connsiteY16" fmla="*/ 16524 h 23605"/>
              <a:gd name="connsiteX17" fmla="*/ 12196 w 55079"/>
              <a:gd name="connsiteY17" fmla="*/ 17704 h 23605"/>
              <a:gd name="connsiteX18" fmla="*/ 9049 w 55079"/>
              <a:gd name="connsiteY18" fmla="*/ 19671 h 23605"/>
              <a:gd name="connsiteX19" fmla="*/ 5901 w 55079"/>
              <a:gd name="connsiteY19" fmla="*/ 20852 h 23605"/>
              <a:gd name="connsiteX20" fmla="*/ 3147 w 55079"/>
              <a:gd name="connsiteY20" fmla="*/ 22425 h 23605"/>
              <a:gd name="connsiteX21" fmla="*/ 0 w 55079"/>
              <a:gd name="connsiteY21" fmla="*/ 23606 h 23605"/>
              <a:gd name="connsiteX22" fmla="*/ 3147 w 55079"/>
              <a:gd name="connsiteY22" fmla="*/ 22819 h 23605"/>
              <a:gd name="connsiteX23" fmla="*/ 5901 w 55079"/>
              <a:gd name="connsiteY23" fmla="*/ 21638 h 23605"/>
              <a:gd name="connsiteX24" fmla="*/ 9049 w 55079"/>
              <a:gd name="connsiteY24" fmla="*/ 20852 h 23605"/>
              <a:gd name="connsiteX25" fmla="*/ 12196 w 55079"/>
              <a:gd name="connsiteY25" fmla="*/ 19671 h 23605"/>
              <a:gd name="connsiteX26" fmla="*/ 14950 w 55079"/>
              <a:gd name="connsiteY26" fmla="*/ 18884 h 23605"/>
              <a:gd name="connsiteX27" fmla="*/ 18098 w 55079"/>
              <a:gd name="connsiteY27" fmla="*/ 17704 h 23605"/>
              <a:gd name="connsiteX28" fmla="*/ 21245 w 55079"/>
              <a:gd name="connsiteY28" fmla="*/ 16917 h 23605"/>
              <a:gd name="connsiteX29" fmla="*/ 23999 w 55079"/>
              <a:gd name="connsiteY29" fmla="*/ 16131 h 23605"/>
              <a:gd name="connsiteX30" fmla="*/ 26753 w 55079"/>
              <a:gd name="connsiteY30" fmla="*/ 14557 h 23605"/>
              <a:gd name="connsiteX31" fmla="*/ 29900 w 55079"/>
              <a:gd name="connsiteY31" fmla="*/ 12983 h 23605"/>
              <a:gd name="connsiteX32" fmla="*/ 32654 w 55079"/>
              <a:gd name="connsiteY32" fmla="*/ 11409 h 23605"/>
              <a:gd name="connsiteX33" fmla="*/ 35802 w 55079"/>
              <a:gd name="connsiteY33" fmla="*/ 10229 h 23605"/>
              <a:gd name="connsiteX34" fmla="*/ 38556 w 55079"/>
              <a:gd name="connsiteY34" fmla="*/ 9442 h 23605"/>
              <a:gd name="connsiteX35" fmla="*/ 41310 w 55079"/>
              <a:gd name="connsiteY35" fmla="*/ 8655 h 23605"/>
              <a:gd name="connsiteX36" fmla="*/ 44457 w 55079"/>
              <a:gd name="connsiteY36" fmla="*/ 7869 h 23605"/>
              <a:gd name="connsiteX37" fmla="*/ 47605 w 55079"/>
              <a:gd name="connsiteY37" fmla="*/ 6688 h 23605"/>
              <a:gd name="connsiteX38" fmla="*/ 50359 w 55079"/>
              <a:gd name="connsiteY38" fmla="*/ 5901 h 23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55079" h="23605">
                <a:moveTo>
                  <a:pt x="53506" y="3541"/>
                </a:moveTo>
                <a:lnTo>
                  <a:pt x="56653" y="1967"/>
                </a:lnTo>
                <a:lnTo>
                  <a:pt x="56653" y="1180"/>
                </a:lnTo>
                <a:lnTo>
                  <a:pt x="53506" y="0"/>
                </a:lnTo>
                <a:lnTo>
                  <a:pt x="50359" y="393"/>
                </a:lnTo>
                <a:lnTo>
                  <a:pt x="47211" y="787"/>
                </a:lnTo>
                <a:lnTo>
                  <a:pt x="44457" y="1967"/>
                </a:lnTo>
                <a:lnTo>
                  <a:pt x="41310" y="2754"/>
                </a:lnTo>
                <a:lnTo>
                  <a:pt x="38556" y="4721"/>
                </a:lnTo>
                <a:lnTo>
                  <a:pt x="35408" y="7082"/>
                </a:lnTo>
                <a:lnTo>
                  <a:pt x="33048" y="9836"/>
                </a:lnTo>
                <a:lnTo>
                  <a:pt x="29900" y="9836"/>
                </a:lnTo>
                <a:lnTo>
                  <a:pt x="26753" y="9442"/>
                </a:lnTo>
                <a:lnTo>
                  <a:pt x="23999" y="11016"/>
                </a:lnTo>
                <a:lnTo>
                  <a:pt x="21245" y="12196"/>
                </a:lnTo>
                <a:lnTo>
                  <a:pt x="18098" y="13770"/>
                </a:lnTo>
                <a:lnTo>
                  <a:pt x="14950" y="16524"/>
                </a:lnTo>
                <a:lnTo>
                  <a:pt x="12196" y="17704"/>
                </a:lnTo>
                <a:lnTo>
                  <a:pt x="9049" y="19671"/>
                </a:lnTo>
                <a:lnTo>
                  <a:pt x="5901" y="20852"/>
                </a:lnTo>
                <a:lnTo>
                  <a:pt x="3147" y="22425"/>
                </a:lnTo>
                <a:lnTo>
                  <a:pt x="0" y="23606"/>
                </a:lnTo>
                <a:lnTo>
                  <a:pt x="3147" y="22819"/>
                </a:lnTo>
                <a:lnTo>
                  <a:pt x="5901" y="21638"/>
                </a:lnTo>
                <a:lnTo>
                  <a:pt x="9049" y="20852"/>
                </a:lnTo>
                <a:lnTo>
                  <a:pt x="12196" y="19671"/>
                </a:lnTo>
                <a:lnTo>
                  <a:pt x="14950" y="18884"/>
                </a:lnTo>
                <a:lnTo>
                  <a:pt x="18098" y="17704"/>
                </a:lnTo>
                <a:lnTo>
                  <a:pt x="21245" y="16917"/>
                </a:lnTo>
                <a:lnTo>
                  <a:pt x="23999" y="16131"/>
                </a:lnTo>
                <a:lnTo>
                  <a:pt x="26753" y="14557"/>
                </a:lnTo>
                <a:lnTo>
                  <a:pt x="29900" y="12983"/>
                </a:lnTo>
                <a:lnTo>
                  <a:pt x="32654" y="11409"/>
                </a:lnTo>
                <a:lnTo>
                  <a:pt x="35802" y="10229"/>
                </a:lnTo>
                <a:lnTo>
                  <a:pt x="38556" y="9442"/>
                </a:lnTo>
                <a:lnTo>
                  <a:pt x="41310" y="8655"/>
                </a:lnTo>
                <a:lnTo>
                  <a:pt x="44457" y="7869"/>
                </a:lnTo>
                <a:lnTo>
                  <a:pt x="47605" y="6688"/>
                </a:lnTo>
                <a:lnTo>
                  <a:pt x="50359" y="5901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4" name="Freeform: Shape 2784">
            <a:extLst>
              <a:ext uri="{FF2B5EF4-FFF2-40B4-BE49-F238E27FC236}">
                <a16:creationId xmlns:a16="http://schemas.microsoft.com/office/drawing/2014/main" id="{9A448CC8-947F-4441-A751-3A6CB001E8DC}"/>
              </a:ext>
            </a:extLst>
          </p:cNvPr>
          <p:cNvSpPr/>
          <p:nvPr/>
        </p:nvSpPr>
        <p:spPr>
          <a:xfrm>
            <a:off x="1238960" y="2120175"/>
            <a:ext cx="56559" cy="22624"/>
          </a:xfrm>
          <a:custGeom>
            <a:avLst/>
            <a:gdLst>
              <a:gd name="connsiteX0" fmla="*/ 53113 w 59013"/>
              <a:gd name="connsiteY0" fmla="*/ 7082 h 23605"/>
              <a:gd name="connsiteX1" fmla="*/ 55867 w 59013"/>
              <a:gd name="connsiteY1" fmla="*/ 5901 h 23605"/>
              <a:gd name="connsiteX2" fmla="*/ 59014 w 59013"/>
              <a:gd name="connsiteY2" fmla="*/ 4721 h 23605"/>
              <a:gd name="connsiteX3" fmla="*/ 61768 w 59013"/>
              <a:gd name="connsiteY3" fmla="*/ 3147 h 23605"/>
              <a:gd name="connsiteX4" fmla="*/ 62161 w 59013"/>
              <a:gd name="connsiteY4" fmla="*/ 393 h 23605"/>
              <a:gd name="connsiteX5" fmla="*/ 59014 w 59013"/>
              <a:gd name="connsiteY5" fmla="*/ 1967 h 23605"/>
              <a:gd name="connsiteX6" fmla="*/ 56260 w 59013"/>
              <a:gd name="connsiteY6" fmla="*/ 3541 h 23605"/>
              <a:gd name="connsiteX7" fmla="*/ 53113 w 59013"/>
              <a:gd name="connsiteY7" fmla="*/ 4721 h 23605"/>
              <a:gd name="connsiteX8" fmla="*/ 50359 w 59013"/>
              <a:gd name="connsiteY8" fmla="*/ 5901 h 23605"/>
              <a:gd name="connsiteX9" fmla="*/ 52719 w 59013"/>
              <a:gd name="connsiteY9" fmla="*/ 2754 h 23605"/>
              <a:gd name="connsiteX10" fmla="*/ 55080 w 59013"/>
              <a:gd name="connsiteY10" fmla="*/ 0 h 23605"/>
              <a:gd name="connsiteX11" fmla="*/ 52326 w 59013"/>
              <a:gd name="connsiteY11" fmla="*/ 0 h 23605"/>
              <a:gd name="connsiteX12" fmla="*/ 49572 w 59013"/>
              <a:gd name="connsiteY12" fmla="*/ 1180 h 23605"/>
              <a:gd name="connsiteX13" fmla="*/ 46424 w 59013"/>
              <a:gd name="connsiteY13" fmla="*/ 1574 h 23605"/>
              <a:gd name="connsiteX14" fmla="*/ 43277 w 59013"/>
              <a:gd name="connsiteY14" fmla="*/ 2361 h 23605"/>
              <a:gd name="connsiteX15" fmla="*/ 39736 w 59013"/>
              <a:gd name="connsiteY15" fmla="*/ 3934 h 23605"/>
              <a:gd name="connsiteX16" fmla="*/ 36982 w 59013"/>
              <a:gd name="connsiteY16" fmla="*/ 5115 h 23605"/>
              <a:gd name="connsiteX17" fmla="*/ 37376 w 59013"/>
              <a:gd name="connsiteY17" fmla="*/ 7869 h 23605"/>
              <a:gd name="connsiteX18" fmla="*/ 40523 w 59013"/>
              <a:gd name="connsiteY18" fmla="*/ 9049 h 23605"/>
              <a:gd name="connsiteX19" fmla="*/ 43670 w 59013"/>
              <a:gd name="connsiteY19" fmla="*/ 9442 h 23605"/>
              <a:gd name="connsiteX20" fmla="*/ 40523 w 59013"/>
              <a:gd name="connsiteY20" fmla="*/ 10229 h 23605"/>
              <a:gd name="connsiteX21" fmla="*/ 37376 w 59013"/>
              <a:gd name="connsiteY21" fmla="*/ 9836 h 23605"/>
              <a:gd name="connsiteX22" fmla="*/ 34622 w 59013"/>
              <a:gd name="connsiteY22" fmla="*/ 9836 h 23605"/>
              <a:gd name="connsiteX23" fmla="*/ 31868 w 59013"/>
              <a:gd name="connsiteY23" fmla="*/ 12196 h 23605"/>
              <a:gd name="connsiteX24" fmla="*/ 28720 w 59013"/>
              <a:gd name="connsiteY24" fmla="*/ 12590 h 23605"/>
              <a:gd name="connsiteX25" fmla="*/ 29507 w 59013"/>
              <a:gd name="connsiteY25" fmla="*/ 15737 h 23605"/>
              <a:gd name="connsiteX26" fmla="*/ 26360 w 59013"/>
              <a:gd name="connsiteY26" fmla="*/ 16131 h 23605"/>
              <a:gd name="connsiteX27" fmla="*/ 23212 w 59013"/>
              <a:gd name="connsiteY27" fmla="*/ 17311 h 23605"/>
              <a:gd name="connsiteX28" fmla="*/ 20458 w 59013"/>
              <a:gd name="connsiteY28" fmla="*/ 17311 h 23605"/>
              <a:gd name="connsiteX29" fmla="*/ 17704 w 59013"/>
              <a:gd name="connsiteY29" fmla="*/ 18491 h 23605"/>
              <a:gd name="connsiteX30" fmla="*/ 14950 w 59013"/>
              <a:gd name="connsiteY30" fmla="*/ 18884 h 23605"/>
              <a:gd name="connsiteX31" fmla="*/ 11803 w 59013"/>
              <a:gd name="connsiteY31" fmla="*/ 20065 h 23605"/>
              <a:gd name="connsiteX32" fmla="*/ 9049 w 59013"/>
              <a:gd name="connsiteY32" fmla="*/ 20458 h 23605"/>
              <a:gd name="connsiteX33" fmla="*/ 5901 w 59013"/>
              <a:gd name="connsiteY33" fmla="*/ 20458 h 23605"/>
              <a:gd name="connsiteX34" fmla="*/ 3147 w 59013"/>
              <a:gd name="connsiteY34" fmla="*/ 21638 h 23605"/>
              <a:gd name="connsiteX35" fmla="*/ 0 w 59013"/>
              <a:gd name="connsiteY35" fmla="*/ 23212 h 23605"/>
              <a:gd name="connsiteX36" fmla="*/ 2754 w 59013"/>
              <a:gd name="connsiteY36" fmla="*/ 24392 h 23605"/>
              <a:gd name="connsiteX37" fmla="*/ 3934 w 59013"/>
              <a:gd name="connsiteY37" fmla="*/ 23999 h 23605"/>
              <a:gd name="connsiteX38" fmla="*/ 7082 w 59013"/>
              <a:gd name="connsiteY38" fmla="*/ 24392 h 23605"/>
              <a:gd name="connsiteX39" fmla="*/ 9836 w 59013"/>
              <a:gd name="connsiteY39" fmla="*/ 22819 h 23605"/>
              <a:gd name="connsiteX40" fmla="*/ 12590 w 59013"/>
              <a:gd name="connsiteY40" fmla="*/ 21638 h 23605"/>
              <a:gd name="connsiteX41" fmla="*/ 15737 w 59013"/>
              <a:gd name="connsiteY41" fmla="*/ 21245 h 23605"/>
              <a:gd name="connsiteX42" fmla="*/ 18491 w 59013"/>
              <a:gd name="connsiteY42" fmla="*/ 20065 h 23605"/>
              <a:gd name="connsiteX43" fmla="*/ 21638 w 59013"/>
              <a:gd name="connsiteY43" fmla="*/ 19278 h 23605"/>
              <a:gd name="connsiteX44" fmla="*/ 24392 w 59013"/>
              <a:gd name="connsiteY44" fmla="*/ 18884 h 23605"/>
              <a:gd name="connsiteX45" fmla="*/ 27540 w 59013"/>
              <a:gd name="connsiteY45" fmla="*/ 18491 h 23605"/>
              <a:gd name="connsiteX46" fmla="*/ 30294 w 59013"/>
              <a:gd name="connsiteY46" fmla="*/ 16917 h 23605"/>
              <a:gd name="connsiteX47" fmla="*/ 33441 w 59013"/>
              <a:gd name="connsiteY47" fmla="*/ 18098 h 23605"/>
              <a:gd name="connsiteX48" fmla="*/ 36589 w 59013"/>
              <a:gd name="connsiteY48" fmla="*/ 16917 h 23605"/>
              <a:gd name="connsiteX49" fmla="*/ 39343 w 59013"/>
              <a:gd name="connsiteY49" fmla="*/ 14950 h 23605"/>
              <a:gd name="connsiteX50" fmla="*/ 42097 w 59013"/>
              <a:gd name="connsiteY50" fmla="*/ 14163 h 23605"/>
              <a:gd name="connsiteX51" fmla="*/ 45244 w 59013"/>
              <a:gd name="connsiteY51" fmla="*/ 12196 h 23605"/>
              <a:gd name="connsiteX52" fmla="*/ 47998 w 59013"/>
              <a:gd name="connsiteY52" fmla="*/ 11803 h 23605"/>
              <a:gd name="connsiteX53" fmla="*/ 50752 w 59013"/>
              <a:gd name="connsiteY53" fmla="*/ 11016 h 23605"/>
              <a:gd name="connsiteX54" fmla="*/ 52719 w 59013"/>
              <a:gd name="connsiteY54" fmla="*/ 8262 h 23605"/>
              <a:gd name="connsiteX55" fmla="*/ 49965 w 59013"/>
              <a:gd name="connsiteY55" fmla="*/ 9049 h 23605"/>
              <a:gd name="connsiteX56" fmla="*/ 46818 w 59013"/>
              <a:gd name="connsiteY56" fmla="*/ 9836 h 23605"/>
              <a:gd name="connsiteX57" fmla="*/ 49965 w 59013"/>
              <a:gd name="connsiteY57" fmla="*/ 7869 h 23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59013" h="23605">
                <a:moveTo>
                  <a:pt x="53113" y="7082"/>
                </a:moveTo>
                <a:lnTo>
                  <a:pt x="55867" y="5901"/>
                </a:lnTo>
                <a:lnTo>
                  <a:pt x="59014" y="4721"/>
                </a:lnTo>
                <a:lnTo>
                  <a:pt x="61768" y="3147"/>
                </a:lnTo>
                <a:lnTo>
                  <a:pt x="62161" y="393"/>
                </a:lnTo>
                <a:lnTo>
                  <a:pt x="59014" y="1967"/>
                </a:lnTo>
                <a:lnTo>
                  <a:pt x="56260" y="3541"/>
                </a:lnTo>
                <a:lnTo>
                  <a:pt x="53113" y="4721"/>
                </a:lnTo>
                <a:lnTo>
                  <a:pt x="50359" y="5901"/>
                </a:lnTo>
                <a:lnTo>
                  <a:pt x="52719" y="2754"/>
                </a:lnTo>
                <a:lnTo>
                  <a:pt x="55080" y="0"/>
                </a:lnTo>
                <a:lnTo>
                  <a:pt x="52326" y="0"/>
                </a:lnTo>
                <a:lnTo>
                  <a:pt x="49572" y="1180"/>
                </a:lnTo>
                <a:lnTo>
                  <a:pt x="46424" y="1574"/>
                </a:lnTo>
                <a:lnTo>
                  <a:pt x="43277" y="2361"/>
                </a:lnTo>
                <a:lnTo>
                  <a:pt x="39736" y="3934"/>
                </a:lnTo>
                <a:lnTo>
                  <a:pt x="36982" y="5115"/>
                </a:lnTo>
                <a:lnTo>
                  <a:pt x="37376" y="7869"/>
                </a:lnTo>
                <a:lnTo>
                  <a:pt x="40523" y="9049"/>
                </a:lnTo>
                <a:lnTo>
                  <a:pt x="43670" y="9442"/>
                </a:lnTo>
                <a:lnTo>
                  <a:pt x="40523" y="10229"/>
                </a:lnTo>
                <a:lnTo>
                  <a:pt x="37376" y="9836"/>
                </a:lnTo>
                <a:lnTo>
                  <a:pt x="34622" y="9836"/>
                </a:lnTo>
                <a:lnTo>
                  <a:pt x="31868" y="12196"/>
                </a:lnTo>
                <a:lnTo>
                  <a:pt x="28720" y="12590"/>
                </a:lnTo>
                <a:lnTo>
                  <a:pt x="29507" y="15737"/>
                </a:lnTo>
                <a:lnTo>
                  <a:pt x="26360" y="16131"/>
                </a:lnTo>
                <a:lnTo>
                  <a:pt x="23212" y="17311"/>
                </a:lnTo>
                <a:lnTo>
                  <a:pt x="20458" y="17311"/>
                </a:lnTo>
                <a:lnTo>
                  <a:pt x="17704" y="18491"/>
                </a:lnTo>
                <a:lnTo>
                  <a:pt x="14950" y="18884"/>
                </a:lnTo>
                <a:lnTo>
                  <a:pt x="11803" y="20065"/>
                </a:lnTo>
                <a:lnTo>
                  <a:pt x="9049" y="20458"/>
                </a:lnTo>
                <a:lnTo>
                  <a:pt x="5901" y="20458"/>
                </a:lnTo>
                <a:lnTo>
                  <a:pt x="3147" y="21638"/>
                </a:lnTo>
                <a:lnTo>
                  <a:pt x="0" y="23212"/>
                </a:lnTo>
                <a:lnTo>
                  <a:pt x="2754" y="24392"/>
                </a:lnTo>
                <a:lnTo>
                  <a:pt x="3934" y="23999"/>
                </a:lnTo>
                <a:lnTo>
                  <a:pt x="7082" y="24392"/>
                </a:lnTo>
                <a:lnTo>
                  <a:pt x="9836" y="22819"/>
                </a:lnTo>
                <a:lnTo>
                  <a:pt x="12590" y="21638"/>
                </a:lnTo>
                <a:lnTo>
                  <a:pt x="15737" y="21245"/>
                </a:lnTo>
                <a:lnTo>
                  <a:pt x="18491" y="20065"/>
                </a:lnTo>
                <a:lnTo>
                  <a:pt x="21638" y="19278"/>
                </a:lnTo>
                <a:lnTo>
                  <a:pt x="24392" y="18884"/>
                </a:lnTo>
                <a:lnTo>
                  <a:pt x="27540" y="18491"/>
                </a:lnTo>
                <a:lnTo>
                  <a:pt x="30294" y="16917"/>
                </a:lnTo>
                <a:lnTo>
                  <a:pt x="33441" y="18098"/>
                </a:lnTo>
                <a:lnTo>
                  <a:pt x="36589" y="16917"/>
                </a:lnTo>
                <a:lnTo>
                  <a:pt x="39343" y="14950"/>
                </a:lnTo>
                <a:lnTo>
                  <a:pt x="42097" y="14163"/>
                </a:lnTo>
                <a:lnTo>
                  <a:pt x="45244" y="12196"/>
                </a:lnTo>
                <a:lnTo>
                  <a:pt x="47998" y="11803"/>
                </a:lnTo>
                <a:lnTo>
                  <a:pt x="50752" y="11016"/>
                </a:lnTo>
                <a:lnTo>
                  <a:pt x="52719" y="8262"/>
                </a:lnTo>
                <a:lnTo>
                  <a:pt x="49965" y="9049"/>
                </a:lnTo>
                <a:lnTo>
                  <a:pt x="46818" y="9836"/>
                </a:lnTo>
                <a:lnTo>
                  <a:pt x="49965" y="7869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9" name="Freeform: Shape 2789">
            <a:extLst>
              <a:ext uri="{FF2B5EF4-FFF2-40B4-BE49-F238E27FC236}">
                <a16:creationId xmlns:a16="http://schemas.microsoft.com/office/drawing/2014/main" id="{F82AE9F0-5E1D-46AF-B8F9-D55E6B35D130}"/>
              </a:ext>
            </a:extLst>
          </p:cNvPr>
          <p:cNvSpPr/>
          <p:nvPr/>
        </p:nvSpPr>
        <p:spPr>
          <a:xfrm>
            <a:off x="1499886" y="2091142"/>
            <a:ext cx="3770" cy="3770"/>
          </a:xfrm>
          <a:custGeom>
            <a:avLst/>
            <a:gdLst>
              <a:gd name="connsiteX0" fmla="*/ 3147 w 0"/>
              <a:gd name="connsiteY0" fmla="*/ 393 h 0"/>
              <a:gd name="connsiteX1" fmla="*/ 3147 w 0"/>
              <a:gd name="connsiteY1" fmla="*/ 0 h 0"/>
              <a:gd name="connsiteX2" fmla="*/ 0 w 0"/>
              <a:gd name="connsiteY2" fmla="*/ 2754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>
                <a:moveTo>
                  <a:pt x="3147" y="393"/>
                </a:moveTo>
                <a:lnTo>
                  <a:pt x="3147" y="0"/>
                </a:lnTo>
                <a:lnTo>
                  <a:pt x="0" y="275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30" name="Freeform: Shape 2790">
            <a:extLst>
              <a:ext uri="{FF2B5EF4-FFF2-40B4-BE49-F238E27FC236}">
                <a16:creationId xmlns:a16="http://schemas.microsoft.com/office/drawing/2014/main" id="{F666A9A9-DF60-4E3D-B6B1-1B1CA9E4DF66}"/>
              </a:ext>
            </a:extLst>
          </p:cNvPr>
          <p:cNvSpPr/>
          <p:nvPr/>
        </p:nvSpPr>
        <p:spPr>
          <a:xfrm>
            <a:off x="1543624" y="2061731"/>
            <a:ext cx="3770" cy="3770"/>
          </a:xfrm>
          <a:custGeom>
            <a:avLst/>
            <a:gdLst>
              <a:gd name="connsiteX0" fmla="*/ 2754 w 0"/>
              <a:gd name="connsiteY0" fmla="*/ 393 h 0"/>
              <a:gd name="connsiteX1" fmla="*/ 2754 w 0"/>
              <a:gd name="connsiteY1" fmla="*/ 0 h 0"/>
              <a:gd name="connsiteX2" fmla="*/ 0 w 0"/>
              <a:gd name="connsiteY2" fmla="*/ 1574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>
                <a:moveTo>
                  <a:pt x="2754" y="393"/>
                </a:moveTo>
                <a:lnTo>
                  <a:pt x="2754" y="0"/>
                </a:lnTo>
                <a:lnTo>
                  <a:pt x="0" y="157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31" name="Freeform: Shape 2791">
            <a:extLst>
              <a:ext uri="{FF2B5EF4-FFF2-40B4-BE49-F238E27FC236}">
                <a16:creationId xmlns:a16="http://schemas.microsoft.com/office/drawing/2014/main" id="{A45D1532-4233-495C-A396-9FA32F4A9F09}"/>
              </a:ext>
            </a:extLst>
          </p:cNvPr>
          <p:cNvSpPr/>
          <p:nvPr/>
        </p:nvSpPr>
        <p:spPr>
          <a:xfrm>
            <a:off x="1478394" y="2080961"/>
            <a:ext cx="18853" cy="11312"/>
          </a:xfrm>
          <a:custGeom>
            <a:avLst/>
            <a:gdLst>
              <a:gd name="connsiteX0" fmla="*/ 18884 w 19671"/>
              <a:gd name="connsiteY0" fmla="*/ 2361 h 11802"/>
              <a:gd name="connsiteX1" fmla="*/ 15737 w 19671"/>
              <a:gd name="connsiteY1" fmla="*/ 3147 h 11802"/>
              <a:gd name="connsiteX2" fmla="*/ 14163 w 19671"/>
              <a:gd name="connsiteY2" fmla="*/ 3934 h 11802"/>
              <a:gd name="connsiteX3" fmla="*/ 11409 w 19671"/>
              <a:gd name="connsiteY3" fmla="*/ 4328 h 11802"/>
              <a:gd name="connsiteX4" fmla="*/ 8655 w 19671"/>
              <a:gd name="connsiteY4" fmla="*/ 7475 h 11802"/>
              <a:gd name="connsiteX5" fmla="*/ 5901 w 19671"/>
              <a:gd name="connsiteY5" fmla="*/ 9049 h 11802"/>
              <a:gd name="connsiteX6" fmla="*/ 3147 w 19671"/>
              <a:gd name="connsiteY6" fmla="*/ 10622 h 11802"/>
              <a:gd name="connsiteX7" fmla="*/ 0 w 19671"/>
              <a:gd name="connsiteY7" fmla="*/ 12983 h 11802"/>
              <a:gd name="connsiteX8" fmla="*/ 3147 w 19671"/>
              <a:gd name="connsiteY8" fmla="*/ 11016 h 11802"/>
              <a:gd name="connsiteX9" fmla="*/ 5901 w 19671"/>
              <a:gd name="connsiteY9" fmla="*/ 9442 h 11802"/>
              <a:gd name="connsiteX10" fmla="*/ 9049 w 19671"/>
              <a:gd name="connsiteY10" fmla="*/ 8262 h 11802"/>
              <a:gd name="connsiteX11" fmla="*/ 11803 w 19671"/>
              <a:gd name="connsiteY11" fmla="*/ 6688 h 11802"/>
              <a:gd name="connsiteX12" fmla="*/ 13377 w 19671"/>
              <a:gd name="connsiteY12" fmla="*/ 6295 h 11802"/>
              <a:gd name="connsiteX13" fmla="*/ 16131 w 19671"/>
              <a:gd name="connsiteY13" fmla="*/ 5508 h 11802"/>
              <a:gd name="connsiteX14" fmla="*/ 21638 w 19671"/>
              <a:gd name="connsiteY14" fmla="*/ 0 h 11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9671" h="11802">
                <a:moveTo>
                  <a:pt x="18884" y="2361"/>
                </a:moveTo>
                <a:lnTo>
                  <a:pt x="15737" y="3147"/>
                </a:lnTo>
                <a:lnTo>
                  <a:pt x="14163" y="3934"/>
                </a:lnTo>
                <a:lnTo>
                  <a:pt x="11409" y="4328"/>
                </a:lnTo>
                <a:lnTo>
                  <a:pt x="8655" y="7475"/>
                </a:lnTo>
                <a:lnTo>
                  <a:pt x="5901" y="9049"/>
                </a:lnTo>
                <a:lnTo>
                  <a:pt x="3147" y="10622"/>
                </a:lnTo>
                <a:lnTo>
                  <a:pt x="0" y="12983"/>
                </a:lnTo>
                <a:lnTo>
                  <a:pt x="3147" y="11016"/>
                </a:lnTo>
                <a:lnTo>
                  <a:pt x="5901" y="9442"/>
                </a:lnTo>
                <a:lnTo>
                  <a:pt x="9049" y="8262"/>
                </a:lnTo>
                <a:lnTo>
                  <a:pt x="11803" y="6688"/>
                </a:lnTo>
                <a:lnTo>
                  <a:pt x="13377" y="6295"/>
                </a:lnTo>
                <a:lnTo>
                  <a:pt x="16131" y="5508"/>
                </a:lnTo>
                <a:lnTo>
                  <a:pt x="21638" y="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32" name="Freeform: Shape 2792">
            <a:extLst>
              <a:ext uri="{FF2B5EF4-FFF2-40B4-BE49-F238E27FC236}">
                <a16:creationId xmlns:a16="http://schemas.microsoft.com/office/drawing/2014/main" id="{4365D33D-A1F9-436B-9135-1B2F739F0EB1}"/>
              </a:ext>
            </a:extLst>
          </p:cNvPr>
          <p:cNvSpPr/>
          <p:nvPr/>
        </p:nvSpPr>
        <p:spPr>
          <a:xfrm>
            <a:off x="1498755" y="2082092"/>
            <a:ext cx="7542" cy="3770"/>
          </a:xfrm>
          <a:custGeom>
            <a:avLst/>
            <a:gdLst>
              <a:gd name="connsiteX0" fmla="*/ 5508 w 7868"/>
              <a:gd name="connsiteY0" fmla="*/ 1180 h 3934"/>
              <a:gd name="connsiteX1" fmla="*/ 2754 w 7868"/>
              <a:gd name="connsiteY1" fmla="*/ 4328 h 3934"/>
              <a:gd name="connsiteX2" fmla="*/ 0 w 7868"/>
              <a:gd name="connsiteY2" fmla="*/ 6295 h 3934"/>
              <a:gd name="connsiteX3" fmla="*/ 2754 w 7868"/>
              <a:gd name="connsiteY3" fmla="*/ 5508 h 3934"/>
              <a:gd name="connsiteX4" fmla="*/ 5901 w 7868"/>
              <a:gd name="connsiteY4" fmla="*/ 3147 h 3934"/>
              <a:gd name="connsiteX5" fmla="*/ 9049 w 7868"/>
              <a:gd name="connsiteY5" fmla="*/ 0 h 3934"/>
              <a:gd name="connsiteX6" fmla="*/ 8262 w 7868"/>
              <a:gd name="connsiteY6" fmla="*/ 0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868" h="3934">
                <a:moveTo>
                  <a:pt x="5508" y="1180"/>
                </a:moveTo>
                <a:lnTo>
                  <a:pt x="2754" y="4328"/>
                </a:lnTo>
                <a:lnTo>
                  <a:pt x="0" y="6295"/>
                </a:lnTo>
                <a:lnTo>
                  <a:pt x="2754" y="5508"/>
                </a:lnTo>
                <a:lnTo>
                  <a:pt x="5901" y="3147"/>
                </a:lnTo>
                <a:lnTo>
                  <a:pt x="9049" y="0"/>
                </a:lnTo>
                <a:lnTo>
                  <a:pt x="8262" y="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33" name="Freeform: Shape 2793">
            <a:extLst>
              <a:ext uri="{FF2B5EF4-FFF2-40B4-BE49-F238E27FC236}">
                <a16:creationId xmlns:a16="http://schemas.microsoft.com/office/drawing/2014/main" id="{E9333148-12BB-4FAC-AB47-69E0462B3679}"/>
              </a:ext>
            </a:extLst>
          </p:cNvPr>
          <p:cNvSpPr/>
          <p:nvPr/>
        </p:nvSpPr>
        <p:spPr>
          <a:xfrm>
            <a:off x="1498755" y="2087748"/>
            <a:ext cx="3770" cy="3770"/>
          </a:xfrm>
          <a:custGeom>
            <a:avLst/>
            <a:gdLst>
              <a:gd name="connsiteX0" fmla="*/ 0 w 3934"/>
              <a:gd name="connsiteY0" fmla="*/ 3541 h 0"/>
              <a:gd name="connsiteX1" fmla="*/ 3147 w 3934"/>
              <a:gd name="connsiteY1" fmla="*/ 2754 h 0"/>
              <a:gd name="connsiteX2" fmla="*/ 5901 w 3934"/>
              <a:gd name="connsiteY2" fmla="*/ 0 h 0"/>
              <a:gd name="connsiteX3" fmla="*/ 3147 w 3934"/>
              <a:gd name="connsiteY3" fmla="*/ 1574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34">
                <a:moveTo>
                  <a:pt x="0" y="3541"/>
                </a:moveTo>
                <a:lnTo>
                  <a:pt x="3147" y="2754"/>
                </a:lnTo>
                <a:lnTo>
                  <a:pt x="5901" y="0"/>
                </a:lnTo>
                <a:lnTo>
                  <a:pt x="3147" y="157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4" name="Freeform: Shape 2934">
            <a:extLst>
              <a:ext uri="{FF2B5EF4-FFF2-40B4-BE49-F238E27FC236}">
                <a16:creationId xmlns:a16="http://schemas.microsoft.com/office/drawing/2014/main" id="{60E364CD-AF79-4374-9E3F-C5A89090E364}"/>
              </a:ext>
            </a:extLst>
          </p:cNvPr>
          <p:cNvSpPr/>
          <p:nvPr/>
        </p:nvSpPr>
        <p:spPr>
          <a:xfrm>
            <a:off x="876605" y="3209125"/>
            <a:ext cx="33935" cy="41477"/>
          </a:xfrm>
          <a:custGeom>
            <a:avLst/>
            <a:gdLst>
              <a:gd name="connsiteX0" fmla="*/ 32654 w 35408"/>
              <a:gd name="connsiteY0" fmla="*/ 20065 h 43276"/>
              <a:gd name="connsiteX1" fmla="*/ 30294 w 35408"/>
              <a:gd name="connsiteY1" fmla="*/ 17311 h 43276"/>
              <a:gd name="connsiteX2" fmla="*/ 31081 w 35408"/>
              <a:gd name="connsiteY2" fmla="*/ 14163 h 43276"/>
              <a:gd name="connsiteX3" fmla="*/ 29900 w 35408"/>
              <a:gd name="connsiteY3" fmla="*/ 11409 h 43276"/>
              <a:gd name="connsiteX4" fmla="*/ 27146 w 35408"/>
              <a:gd name="connsiteY4" fmla="*/ 9049 h 43276"/>
              <a:gd name="connsiteX5" fmla="*/ 23999 w 35408"/>
              <a:gd name="connsiteY5" fmla="*/ 6688 h 43276"/>
              <a:gd name="connsiteX6" fmla="*/ 21245 w 35408"/>
              <a:gd name="connsiteY6" fmla="*/ 5901 h 43276"/>
              <a:gd name="connsiteX7" fmla="*/ 18491 w 35408"/>
              <a:gd name="connsiteY7" fmla="*/ 4721 h 43276"/>
              <a:gd name="connsiteX8" fmla="*/ 15344 w 35408"/>
              <a:gd name="connsiteY8" fmla="*/ 2754 h 43276"/>
              <a:gd name="connsiteX9" fmla="*/ 12590 w 35408"/>
              <a:gd name="connsiteY9" fmla="*/ 0 h 43276"/>
              <a:gd name="connsiteX10" fmla="*/ 9836 w 35408"/>
              <a:gd name="connsiteY10" fmla="*/ 3147 h 43276"/>
              <a:gd name="connsiteX11" fmla="*/ 9836 w 35408"/>
              <a:gd name="connsiteY11" fmla="*/ 5901 h 43276"/>
              <a:gd name="connsiteX12" fmla="*/ 10623 w 35408"/>
              <a:gd name="connsiteY12" fmla="*/ 9049 h 43276"/>
              <a:gd name="connsiteX13" fmla="*/ 4721 w 35408"/>
              <a:gd name="connsiteY13" fmla="*/ 14163 h 43276"/>
              <a:gd name="connsiteX14" fmla="*/ 1967 w 35408"/>
              <a:gd name="connsiteY14" fmla="*/ 16524 h 43276"/>
              <a:gd name="connsiteX15" fmla="*/ 1180 w 35408"/>
              <a:gd name="connsiteY15" fmla="*/ 19671 h 43276"/>
              <a:gd name="connsiteX16" fmla="*/ 2361 w 35408"/>
              <a:gd name="connsiteY16" fmla="*/ 22425 h 43276"/>
              <a:gd name="connsiteX17" fmla="*/ 2361 w 35408"/>
              <a:gd name="connsiteY17" fmla="*/ 25179 h 43276"/>
              <a:gd name="connsiteX18" fmla="*/ 2754 w 35408"/>
              <a:gd name="connsiteY18" fmla="*/ 28327 h 43276"/>
              <a:gd name="connsiteX19" fmla="*/ 2754 w 35408"/>
              <a:gd name="connsiteY19" fmla="*/ 31081 h 43276"/>
              <a:gd name="connsiteX20" fmla="*/ 1967 w 35408"/>
              <a:gd name="connsiteY20" fmla="*/ 34228 h 43276"/>
              <a:gd name="connsiteX21" fmla="*/ 787 w 35408"/>
              <a:gd name="connsiteY21" fmla="*/ 37376 h 43276"/>
              <a:gd name="connsiteX22" fmla="*/ 0 w 35408"/>
              <a:gd name="connsiteY22" fmla="*/ 40130 h 43276"/>
              <a:gd name="connsiteX23" fmla="*/ 2754 w 35408"/>
              <a:gd name="connsiteY23" fmla="*/ 42884 h 43276"/>
              <a:gd name="connsiteX24" fmla="*/ 4721 w 35408"/>
              <a:gd name="connsiteY24" fmla="*/ 44064 h 43276"/>
              <a:gd name="connsiteX25" fmla="*/ 7475 w 35408"/>
              <a:gd name="connsiteY25" fmla="*/ 44457 h 43276"/>
              <a:gd name="connsiteX26" fmla="*/ 9836 w 35408"/>
              <a:gd name="connsiteY26" fmla="*/ 41310 h 43276"/>
              <a:gd name="connsiteX27" fmla="*/ 12983 w 35408"/>
              <a:gd name="connsiteY27" fmla="*/ 38162 h 43276"/>
              <a:gd name="connsiteX28" fmla="*/ 16130 w 35408"/>
              <a:gd name="connsiteY28" fmla="*/ 36589 h 43276"/>
              <a:gd name="connsiteX29" fmla="*/ 18884 w 35408"/>
              <a:gd name="connsiteY29" fmla="*/ 34622 h 43276"/>
              <a:gd name="connsiteX30" fmla="*/ 21638 w 35408"/>
              <a:gd name="connsiteY30" fmla="*/ 34228 h 43276"/>
              <a:gd name="connsiteX31" fmla="*/ 24786 w 35408"/>
              <a:gd name="connsiteY31" fmla="*/ 33441 h 43276"/>
              <a:gd name="connsiteX32" fmla="*/ 27540 w 35408"/>
              <a:gd name="connsiteY32" fmla="*/ 32261 h 43276"/>
              <a:gd name="connsiteX33" fmla="*/ 30294 w 35408"/>
              <a:gd name="connsiteY33" fmla="*/ 30687 h 43276"/>
              <a:gd name="connsiteX34" fmla="*/ 33048 w 35408"/>
              <a:gd name="connsiteY34" fmla="*/ 28720 h 43276"/>
              <a:gd name="connsiteX35" fmla="*/ 36195 w 35408"/>
              <a:gd name="connsiteY35" fmla="*/ 25966 h 43276"/>
              <a:gd name="connsiteX36" fmla="*/ 34228 w 35408"/>
              <a:gd name="connsiteY36" fmla="*/ 23212 h 43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5408" h="43276">
                <a:moveTo>
                  <a:pt x="32654" y="20065"/>
                </a:moveTo>
                <a:lnTo>
                  <a:pt x="30294" y="17311"/>
                </a:lnTo>
                <a:lnTo>
                  <a:pt x="31081" y="14163"/>
                </a:lnTo>
                <a:lnTo>
                  <a:pt x="29900" y="11409"/>
                </a:lnTo>
                <a:lnTo>
                  <a:pt x="27146" y="9049"/>
                </a:lnTo>
                <a:lnTo>
                  <a:pt x="23999" y="6688"/>
                </a:lnTo>
                <a:lnTo>
                  <a:pt x="21245" y="5901"/>
                </a:lnTo>
                <a:lnTo>
                  <a:pt x="18491" y="4721"/>
                </a:lnTo>
                <a:lnTo>
                  <a:pt x="15344" y="2754"/>
                </a:lnTo>
                <a:lnTo>
                  <a:pt x="12590" y="0"/>
                </a:lnTo>
                <a:lnTo>
                  <a:pt x="9836" y="3147"/>
                </a:lnTo>
                <a:lnTo>
                  <a:pt x="9836" y="5901"/>
                </a:lnTo>
                <a:lnTo>
                  <a:pt x="10623" y="9049"/>
                </a:lnTo>
                <a:lnTo>
                  <a:pt x="4721" y="14163"/>
                </a:lnTo>
                <a:lnTo>
                  <a:pt x="1967" y="16524"/>
                </a:lnTo>
                <a:lnTo>
                  <a:pt x="1180" y="19671"/>
                </a:lnTo>
                <a:lnTo>
                  <a:pt x="2361" y="22425"/>
                </a:lnTo>
                <a:lnTo>
                  <a:pt x="2361" y="25179"/>
                </a:lnTo>
                <a:lnTo>
                  <a:pt x="2754" y="28327"/>
                </a:lnTo>
                <a:lnTo>
                  <a:pt x="2754" y="31081"/>
                </a:lnTo>
                <a:lnTo>
                  <a:pt x="1967" y="34228"/>
                </a:lnTo>
                <a:lnTo>
                  <a:pt x="787" y="37376"/>
                </a:lnTo>
                <a:lnTo>
                  <a:pt x="0" y="40130"/>
                </a:lnTo>
                <a:lnTo>
                  <a:pt x="2754" y="42884"/>
                </a:lnTo>
                <a:lnTo>
                  <a:pt x="4721" y="44064"/>
                </a:lnTo>
                <a:lnTo>
                  <a:pt x="7475" y="44457"/>
                </a:lnTo>
                <a:lnTo>
                  <a:pt x="9836" y="41310"/>
                </a:lnTo>
                <a:lnTo>
                  <a:pt x="12983" y="38162"/>
                </a:lnTo>
                <a:lnTo>
                  <a:pt x="16130" y="36589"/>
                </a:lnTo>
                <a:lnTo>
                  <a:pt x="18884" y="34622"/>
                </a:lnTo>
                <a:lnTo>
                  <a:pt x="21638" y="34228"/>
                </a:lnTo>
                <a:lnTo>
                  <a:pt x="24786" y="33441"/>
                </a:lnTo>
                <a:lnTo>
                  <a:pt x="27540" y="32261"/>
                </a:lnTo>
                <a:lnTo>
                  <a:pt x="30294" y="30687"/>
                </a:lnTo>
                <a:lnTo>
                  <a:pt x="33048" y="28720"/>
                </a:lnTo>
                <a:lnTo>
                  <a:pt x="36195" y="25966"/>
                </a:lnTo>
                <a:lnTo>
                  <a:pt x="34228" y="23212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5" name="Freeform: Shape 2935">
            <a:extLst>
              <a:ext uri="{FF2B5EF4-FFF2-40B4-BE49-F238E27FC236}">
                <a16:creationId xmlns:a16="http://schemas.microsoft.com/office/drawing/2014/main" id="{AB9B9A9A-D40B-4776-AEAF-51694A28076F}"/>
              </a:ext>
            </a:extLst>
          </p:cNvPr>
          <p:cNvSpPr/>
          <p:nvPr/>
        </p:nvSpPr>
        <p:spPr>
          <a:xfrm>
            <a:off x="864917" y="3198567"/>
            <a:ext cx="3770" cy="3770"/>
          </a:xfrm>
          <a:custGeom>
            <a:avLst/>
            <a:gdLst>
              <a:gd name="connsiteX0" fmla="*/ 393 w 0"/>
              <a:gd name="connsiteY0" fmla="*/ 2754 h 0"/>
              <a:gd name="connsiteX1" fmla="*/ 2754 w 0"/>
              <a:gd name="connsiteY1" fmla="*/ 0 h 0"/>
              <a:gd name="connsiteX2" fmla="*/ 0 w 0"/>
              <a:gd name="connsiteY2" fmla="*/ 2754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>
                <a:moveTo>
                  <a:pt x="393" y="2754"/>
                </a:moveTo>
                <a:lnTo>
                  <a:pt x="2754" y="0"/>
                </a:lnTo>
                <a:lnTo>
                  <a:pt x="0" y="275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6" name="Freeform: Shape 2936">
            <a:extLst>
              <a:ext uri="{FF2B5EF4-FFF2-40B4-BE49-F238E27FC236}">
                <a16:creationId xmlns:a16="http://schemas.microsoft.com/office/drawing/2014/main" id="{CF2976D0-0088-4DDB-80A0-9598985C3E8E}"/>
              </a:ext>
            </a:extLst>
          </p:cNvPr>
          <p:cNvSpPr/>
          <p:nvPr/>
        </p:nvSpPr>
        <p:spPr>
          <a:xfrm>
            <a:off x="867556" y="3183862"/>
            <a:ext cx="15082" cy="15082"/>
          </a:xfrm>
          <a:custGeom>
            <a:avLst/>
            <a:gdLst>
              <a:gd name="connsiteX0" fmla="*/ 13770 w 15737"/>
              <a:gd name="connsiteY0" fmla="*/ 14163 h 15737"/>
              <a:gd name="connsiteX1" fmla="*/ 16524 w 15737"/>
              <a:gd name="connsiteY1" fmla="*/ 12983 h 15737"/>
              <a:gd name="connsiteX2" fmla="*/ 19278 w 15737"/>
              <a:gd name="connsiteY2" fmla="*/ 9836 h 15737"/>
              <a:gd name="connsiteX3" fmla="*/ 17311 w 15737"/>
              <a:gd name="connsiteY3" fmla="*/ 7082 h 15737"/>
              <a:gd name="connsiteX4" fmla="*/ 14557 w 15737"/>
              <a:gd name="connsiteY4" fmla="*/ 5114 h 15737"/>
              <a:gd name="connsiteX5" fmla="*/ 11803 w 15737"/>
              <a:gd name="connsiteY5" fmla="*/ 3147 h 15737"/>
              <a:gd name="connsiteX6" fmla="*/ 9049 w 15737"/>
              <a:gd name="connsiteY6" fmla="*/ 4328 h 15737"/>
              <a:gd name="connsiteX7" fmla="*/ 5901 w 15737"/>
              <a:gd name="connsiteY7" fmla="*/ 2754 h 15737"/>
              <a:gd name="connsiteX8" fmla="*/ 3541 w 15737"/>
              <a:gd name="connsiteY8" fmla="*/ 0 h 15737"/>
              <a:gd name="connsiteX9" fmla="*/ 787 w 15737"/>
              <a:gd name="connsiteY9" fmla="*/ 2361 h 15737"/>
              <a:gd name="connsiteX10" fmla="*/ 0 w 15737"/>
              <a:gd name="connsiteY10" fmla="*/ 5508 h 15737"/>
              <a:gd name="connsiteX11" fmla="*/ 2754 w 15737"/>
              <a:gd name="connsiteY11" fmla="*/ 8262 h 15737"/>
              <a:gd name="connsiteX12" fmla="*/ 5508 w 15737"/>
              <a:gd name="connsiteY12" fmla="*/ 9836 h 15737"/>
              <a:gd name="connsiteX13" fmla="*/ 5115 w 15737"/>
              <a:gd name="connsiteY13" fmla="*/ 12983 h 15737"/>
              <a:gd name="connsiteX14" fmla="*/ 6295 w 15737"/>
              <a:gd name="connsiteY14" fmla="*/ 15737 h 15737"/>
              <a:gd name="connsiteX15" fmla="*/ 7869 w 15737"/>
              <a:gd name="connsiteY15" fmla="*/ 14950 h 15737"/>
              <a:gd name="connsiteX16" fmla="*/ 10623 w 15737"/>
              <a:gd name="connsiteY16" fmla="*/ 14557 h 1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37" h="15737">
                <a:moveTo>
                  <a:pt x="13770" y="14163"/>
                </a:moveTo>
                <a:lnTo>
                  <a:pt x="16524" y="12983"/>
                </a:lnTo>
                <a:lnTo>
                  <a:pt x="19278" y="9836"/>
                </a:lnTo>
                <a:lnTo>
                  <a:pt x="17311" y="7082"/>
                </a:lnTo>
                <a:lnTo>
                  <a:pt x="14557" y="5114"/>
                </a:lnTo>
                <a:lnTo>
                  <a:pt x="11803" y="3147"/>
                </a:lnTo>
                <a:lnTo>
                  <a:pt x="9049" y="4328"/>
                </a:lnTo>
                <a:lnTo>
                  <a:pt x="5901" y="2754"/>
                </a:lnTo>
                <a:lnTo>
                  <a:pt x="3541" y="0"/>
                </a:lnTo>
                <a:lnTo>
                  <a:pt x="787" y="2361"/>
                </a:lnTo>
                <a:lnTo>
                  <a:pt x="0" y="5508"/>
                </a:lnTo>
                <a:lnTo>
                  <a:pt x="2754" y="8262"/>
                </a:lnTo>
                <a:lnTo>
                  <a:pt x="5508" y="9836"/>
                </a:lnTo>
                <a:lnTo>
                  <a:pt x="5115" y="12983"/>
                </a:lnTo>
                <a:lnTo>
                  <a:pt x="6295" y="15737"/>
                </a:lnTo>
                <a:lnTo>
                  <a:pt x="7869" y="14950"/>
                </a:lnTo>
                <a:lnTo>
                  <a:pt x="10623" y="1455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7" name="Freeform: Shape 2937">
            <a:extLst>
              <a:ext uri="{FF2B5EF4-FFF2-40B4-BE49-F238E27FC236}">
                <a16:creationId xmlns:a16="http://schemas.microsoft.com/office/drawing/2014/main" id="{A6171C7D-BA03-4562-A18E-13FC08DCC77E}"/>
              </a:ext>
            </a:extLst>
          </p:cNvPr>
          <p:cNvSpPr/>
          <p:nvPr/>
        </p:nvSpPr>
        <p:spPr>
          <a:xfrm>
            <a:off x="856998" y="3187632"/>
            <a:ext cx="3770" cy="3770"/>
          </a:xfrm>
          <a:custGeom>
            <a:avLst/>
            <a:gdLst>
              <a:gd name="connsiteX0" fmla="*/ 0 w 3934"/>
              <a:gd name="connsiteY0" fmla="*/ 787 h 3934"/>
              <a:gd name="connsiteX1" fmla="*/ 1574 w 3934"/>
              <a:gd name="connsiteY1" fmla="*/ 3541 h 3934"/>
              <a:gd name="connsiteX2" fmla="*/ 3147 w 3934"/>
              <a:gd name="connsiteY2" fmla="*/ 6295 h 3934"/>
              <a:gd name="connsiteX3" fmla="*/ 6295 w 3934"/>
              <a:gd name="connsiteY3" fmla="*/ 4721 h 3934"/>
              <a:gd name="connsiteX4" fmla="*/ 6295 w 3934"/>
              <a:gd name="connsiteY4" fmla="*/ 1967 h 3934"/>
              <a:gd name="connsiteX5" fmla="*/ 3147 w 3934"/>
              <a:gd name="connsiteY5" fmla="*/ 0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34" h="3934">
                <a:moveTo>
                  <a:pt x="0" y="787"/>
                </a:moveTo>
                <a:lnTo>
                  <a:pt x="1574" y="3541"/>
                </a:lnTo>
                <a:lnTo>
                  <a:pt x="3147" y="6295"/>
                </a:lnTo>
                <a:lnTo>
                  <a:pt x="6295" y="4721"/>
                </a:lnTo>
                <a:lnTo>
                  <a:pt x="6295" y="1967"/>
                </a:lnTo>
                <a:lnTo>
                  <a:pt x="3147" y="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8" name="Freeform: Shape 2938">
            <a:extLst>
              <a:ext uri="{FF2B5EF4-FFF2-40B4-BE49-F238E27FC236}">
                <a16:creationId xmlns:a16="http://schemas.microsoft.com/office/drawing/2014/main" id="{A09ECC09-0CB0-46CC-9DA8-A657F6091290}"/>
              </a:ext>
            </a:extLst>
          </p:cNvPr>
          <p:cNvSpPr/>
          <p:nvPr/>
        </p:nvSpPr>
        <p:spPr>
          <a:xfrm>
            <a:off x="852474" y="3178959"/>
            <a:ext cx="15082" cy="3770"/>
          </a:xfrm>
          <a:custGeom>
            <a:avLst/>
            <a:gdLst>
              <a:gd name="connsiteX0" fmla="*/ 15737 w 15737"/>
              <a:gd name="connsiteY0" fmla="*/ 787 h 3934"/>
              <a:gd name="connsiteX1" fmla="*/ 12983 w 15737"/>
              <a:gd name="connsiteY1" fmla="*/ 787 h 3934"/>
              <a:gd name="connsiteX2" fmla="*/ 9836 w 15737"/>
              <a:gd name="connsiteY2" fmla="*/ 0 h 3934"/>
              <a:gd name="connsiteX3" fmla="*/ 7082 w 15737"/>
              <a:gd name="connsiteY3" fmla="*/ 0 h 3934"/>
              <a:gd name="connsiteX4" fmla="*/ 4328 w 15737"/>
              <a:gd name="connsiteY4" fmla="*/ 0 h 3934"/>
              <a:gd name="connsiteX5" fmla="*/ 1574 w 15737"/>
              <a:gd name="connsiteY5" fmla="*/ 787 h 3934"/>
              <a:gd name="connsiteX6" fmla="*/ 0 w 15737"/>
              <a:gd name="connsiteY6" fmla="*/ 3541 h 3934"/>
              <a:gd name="connsiteX7" fmla="*/ 3147 w 15737"/>
              <a:gd name="connsiteY7" fmla="*/ 3147 h 3934"/>
              <a:gd name="connsiteX8" fmla="*/ 5901 w 15737"/>
              <a:gd name="connsiteY8" fmla="*/ 2754 h 3934"/>
              <a:gd name="connsiteX9" fmla="*/ 8655 w 15737"/>
              <a:gd name="connsiteY9" fmla="*/ 3934 h 3934"/>
              <a:gd name="connsiteX10" fmla="*/ 11803 w 15737"/>
              <a:gd name="connsiteY10" fmla="*/ 5115 h 3934"/>
              <a:gd name="connsiteX11" fmla="*/ 12590 w 15737"/>
              <a:gd name="connsiteY11" fmla="*/ 5115 h 3934"/>
              <a:gd name="connsiteX12" fmla="*/ 15344 w 15737"/>
              <a:gd name="connsiteY12" fmla="*/ 3934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737" h="3934">
                <a:moveTo>
                  <a:pt x="15737" y="787"/>
                </a:moveTo>
                <a:lnTo>
                  <a:pt x="12983" y="787"/>
                </a:lnTo>
                <a:lnTo>
                  <a:pt x="9836" y="0"/>
                </a:lnTo>
                <a:lnTo>
                  <a:pt x="7082" y="0"/>
                </a:lnTo>
                <a:lnTo>
                  <a:pt x="4328" y="0"/>
                </a:lnTo>
                <a:lnTo>
                  <a:pt x="1574" y="787"/>
                </a:lnTo>
                <a:lnTo>
                  <a:pt x="0" y="3541"/>
                </a:lnTo>
                <a:lnTo>
                  <a:pt x="3147" y="3147"/>
                </a:lnTo>
                <a:lnTo>
                  <a:pt x="5901" y="2754"/>
                </a:lnTo>
                <a:lnTo>
                  <a:pt x="8655" y="3934"/>
                </a:lnTo>
                <a:lnTo>
                  <a:pt x="11803" y="5115"/>
                </a:lnTo>
                <a:lnTo>
                  <a:pt x="12590" y="5115"/>
                </a:lnTo>
                <a:lnTo>
                  <a:pt x="15344" y="393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9" name="Freeform: Shape 2939">
            <a:extLst>
              <a:ext uri="{FF2B5EF4-FFF2-40B4-BE49-F238E27FC236}">
                <a16:creationId xmlns:a16="http://schemas.microsoft.com/office/drawing/2014/main" id="{586AD438-65EF-4616-8F66-B87F222ACCA3}"/>
              </a:ext>
            </a:extLst>
          </p:cNvPr>
          <p:cNvSpPr/>
          <p:nvPr/>
        </p:nvSpPr>
        <p:spPr>
          <a:xfrm>
            <a:off x="829095" y="3162746"/>
            <a:ext cx="11312" cy="11312"/>
          </a:xfrm>
          <a:custGeom>
            <a:avLst/>
            <a:gdLst>
              <a:gd name="connsiteX0" fmla="*/ 11803 w 11802"/>
              <a:gd name="connsiteY0" fmla="*/ 5901 h 11802"/>
              <a:gd name="connsiteX1" fmla="*/ 11016 w 11802"/>
              <a:gd name="connsiteY1" fmla="*/ 2754 h 11802"/>
              <a:gd name="connsiteX2" fmla="*/ 8655 w 11802"/>
              <a:gd name="connsiteY2" fmla="*/ 0 h 11802"/>
              <a:gd name="connsiteX3" fmla="*/ 5901 w 11802"/>
              <a:gd name="connsiteY3" fmla="*/ 1967 h 11802"/>
              <a:gd name="connsiteX4" fmla="*/ 2754 w 11802"/>
              <a:gd name="connsiteY4" fmla="*/ 3541 h 11802"/>
              <a:gd name="connsiteX5" fmla="*/ 0 w 11802"/>
              <a:gd name="connsiteY5" fmla="*/ 4721 h 11802"/>
              <a:gd name="connsiteX6" fmla="*/ 0 w 11802"/>
              <a:gd name="connsiteY6" fmla="*/ 7475 h 11802"/>
              <a:gd name="connsiteX7" fmla="*/ 1574 w 11802"/>
              <a:gd name="connsiteY7" fmla="*/ 10229 h 11802"/>
              <a:gd name="connsiteX8" fmla="*/ 4328 w 11802"/>
              <a:gd name="connsiteY8" fmla="*/ 12590 h 11802"/>
              <a:gd name="connsiteX9" fmla="*/ 7082 w 11802"/>
              <a:gd name="connsiteY9" fmla="*/ 12590 h 11802"/>
              <a:gd name="connsiteX10" fmla="*/ 10229 w 11802"/>
              <a:gd name="connsiteY10" fmla="*/ 14950 h 11802"/>
              <a:gd name="connsiteX11" fmla="*/ 11016 w 11802"/>
              <a:gd name="connsiteY11" fmla="*/ 14557 h 11802"/>
              <a:gd name="connsiteX12" fmla="*/ 13770 w 11802"/>
              <a:gd name="connsiteY12" fmla="*/ 14557 h 11802"/>
              <a:gd name="connsiteX13" fmla="*/ 14557 w 11802"/>
              <a:gd name="connsiteY13" fmla="*/ 11803 h 11802"/>
              <a:gd name="connsiteX14" fmla="*/ 11803 w 11802"/>
              <a:gd name="connsiteY14" fmla="*/ 8655 h 11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1802" h="11802">
                <a:moveTo>
                  <a:pt x="11803" y="5901"/>
                </a:moveTo>
                <a:lnTo>
                  <a:pt x="11016" y="2754"/>
                </a:lnTo>
                <a:lnTo>
                  <a:pt x="8655" y="0"/>
                </a:lnTo>
                <a:lnTo>
                  <a:pt x="5901" y="1967"/>
                </a:lnTo>
                <a:lnTo>
                  <a:pt x="2754" y="3541"/>
                </a:lnTo>
                <a:lnTo>
                  <a:pt x="0" y="4721"/>
                </a:lnTo>
                <a:lnTo>
                  <a:pt x="0" y="7475"/>
                </a:lnTo>
                <a:lnTo>
                  <a:pt x="1574" y="10229"/>
                </a:lnTo>
                <a:lnTo>
                  <a:pt x="4328" y="12590"/>
                </a:lnTo>
                <a:lnTo>
                  <a:pt x="7082" y="12590"/>
                </a:lnTo>
                <a:lnTo>
                  <a:pt x="10229" y="14950"/>
                </a:lnTo>
                <a:lnTo>
                  <a:pt x="11016" y="14557"/>
                </a:lnTo>
                <a:lnTo>
                  <a:pt x="13770" y="14557"/>
                </a:lnTo>
                <a:lnTo>
                  <a:pt x="14557" y="11803"/>
                </a:lnTo>
                <a:lnTo>
                  <a:pt x="11803" y="8655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80" name="Freeform: Shape 2940">
            <a:extLst>
              <a:ext uri="{FF2B5EF4-FFF2-40B4-BE49-F238E27FC236}">
                <a16:creationId xmlns:a16="http://schemas.microsoft.com/office/drawing/2014/main" id="{E0FC87C3-5CFD-492E-90C2-5421CCEA154A}"/>
              </a:ext>
            </a:extLst>
          </p:cNvPr>
          <p:cNvSpPr/>
          <p:nvPr/>
        </p:nvSpPr>
        <p:spPr>
          <a:xfrm>
            <a:off x="789882" y="3145402"/>
            <a:ext cx="11312" cy="11312"/>
          </a:xfrm>
          <a:custGeom>
            <a:avLst/>
            <a:gdLst>
              <a:gd name="connsiteX0" fmla="*/ 8262 w 11802"/>
              <a:gd name="connsiteY0" fmla="*/ 0 h 11802"/>
              <a:gd name="connsiteX1" fmla="*/ 5508 w 11802"/>
              <a:gd name="connsiteY1" fmla="*/ 1574 h 11802"/>
              <a:gd name="connsiteX2" fmla="*/ 2361 w 11802"/>
              <a:gd name="connsiteY2" fmla="*/ 3147 h 11802"/>
              <a:gd name="connsiteX3" fmla="*/ 0 w 11802"/>
              <a:gd name="connsiteY3" fmla="*/ 6295 h 11802"/>
              <a:gd name="connsiteX4" fmla="*/ 2361 w 11802"/>
              <a:gd name="connsiteY4" fmla="*/ 9049 h 11802"/>
              <a:gd name="connsiteX5" fmla="*/ 5508 w 11802"/>
              <a:gd name="connsiteY5" fmla="*/ 11016 h 11802"/>
              <a:gd name="connsiteX6" fmla="*/ 8262 w 11802"/>
              <a:gd name="connsiteY6" fmla="*/ 11803 h 11802"/>
              <a:gd name="connsiteX7" fmla="*/ 9836 w 11802"/>
              <a:gd name="connsiteY7" fmla="*/ 11016 h 11802"/>
              <a:gd name="connsiteX8" fmla="*/ 12983 w 11802"/>
              <a:gd name="connsiteY8" fmla="*/ 8655 h 11802"/>
              <a:gd name="connsiteX9" fmla="*/ 13377 w 11802"/>
              <a:gd name="connsiteY9" fmla="*/ 5508 h 11802"/>
              <a:gd name="connsiteX10" fmla="*/ 15344 w 11802"/>
              <a:gd name="connsiteY10" fmla="*/ 2754 h 11802"/>
              <a:gd name="connsiteX11" fmla="*/ 14163 w 11802"/>
              <a:gd name="connsiteY11" fmla="*/ 0 h 11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802" h="11802">
                <a:moveTo>
                  <a:pt x="8262" y="0"/>
                </a:moveTo>
                <a:lnTo>
                  <a:pt x="5508" y="1574"/>
                </a:lnTo>
                <a:lnTo>
                  <a:pt x="2361" y="3147"/>
                </a:lnTo>
                <a:lnTo>
                  <a:pt x="0" y="6295"/>
                </a:lnTo>
                <a:lnTo>
                  <a:pt x="2361" y="9049"/>
                </a:lnTo>
                <a:lnTo>
                  <a:pt x="5508" y="11016"/>
                </a:lnTo>
                <a:lnTo>
                  <a:pt x="8262" y="11803"/>
                </a:lnTo>
                <a:lnTo>
                  <a:pt x="9836" y="11016"/>
                </a:lnTo>
                <a:lnTo>
                  <a:pt x="12983" y="8655"/>
                </a:lnTo>
                <a:lnTo>
                  <a:pt x="13377" y="5508"/>
                </a:lnTo>
                <a:lnTo>
                  <a:pt x="15344" y="2754"/>
                </a:lnTo>
                <a:lnTo>
                  <a:pt x="14163" y="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81" name="Freeform: Shape 2941">
            <a:extLst>
              <a:ext uri="{FF2B5EF4-FFF2-40B4-BE49-F238E27FC236}">
                <a16:creationId xmlns:a16="http://schemas.microsoft.com/office/drawing/2014/main" id="{924A4472-6423-453A-96CC-1721E2F0342C}"/>
              </a:ext>
            </a:extLst>
          </p:cNvPr>
          <p:cNvSpPr/>
          <p:nvPr/>
        </p:nvSpPr>
        <p:spPr>
          <a:xfrm>
            <a:off x="775553" y="3152188"/>
            <a:ext cx="3770" cy="7542"/>
          </a:xfrm>
          <a:custGeom>
            <a:avLst/>
            <a:gdLst>
              <a:gd name="connsiteX0" fmla="*/ 0 w 3934"/>
              <a:gd name="connsiteY0" fmla="*/ 5114 h 7868"/>
              <a:gd name="connsiteX1" fmla="*/ 393 w 3934"/>
              <a:gd name="connsiteY1" fmla="*/ 7869 h 7868"/>
              <a:gd name="connsiteX2" fmla="*/ 2361 w 3934"/>
              <a:gd name="connsiteY2" fmla="*/ 4721 h 7868"/>
              <a:gd name="connsiteX3" fmla="*/ 5508 w 3934"/>
              <a:gd name="connsiteY3" fmla="*/ 2754 h 7868"/>
              <a:gd name="connsiteX4" fmla="*/ 6295 w 3934"/>
              <a:gd name="connsiteY4" fmla="*/ 0 h 7868"/>
              <a:gd name="connsiteX5" fmla="*/ 3147 w 3934"/>
              <a:gd name="connsiteY5" fmla="*/ 2360 h 7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34" h="7868">
                <a:moveTo>
                  <a:pt x="0" y="5114"/>
                </a:moveTo>
                <a:lnTo>
                  <a:pt x="393" y="7869"/>
                </a:lnTo>
                <a:lnTo>
                  <a:pt x="2361" y="4721"/>
                </a:lnTo>
                <a:lnTo>
                  <a:pt x="5508" y="2754"/>
                </a:lnTo>
                <a:lnTo>
                  <a:pt x="6295" y="0"/>
                </a:lnTo>
                <a:lnTo>
                  <a:pt x="3147" y="236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34" name="Freeform: Shape 4294">
            <a:extLst>
              <a:ext uri="{FF2B5EF4-FFF2-40B4-BE49-F238E27FC236}">
                <a16:creationId xmlns:a16="http://schemas.microsoft.com/office/drawing/2014/main" id="{EFA45694-D9FD-48C8-B3CC-BEE7EC0C72A0}"/>
              </a:ext>
            </a:extLst>
          </p:cNvPr>
          <p:cNvSpPr/>
          <p:nvPr/>
        </p:nvSpPr>
        <p:spPr>
          <a:xfrm>
            <a:off x="4581221" y="1340038"/>
            <a:ext cx="11312" cy="3770"/>
          </a:xfrm>
          <a:custGeom>
            <a:avLst/>
            <a:gdLst>
              <a:gd name="connsiteX0" fmla="*/ 13376 w 11802"/>
              <a:gd name="connsiteY0" fmla="*/ 1180 h 0"/>
              <a:gd name="connsiteX1" fmla="*/ 9836 w 11802"/>
              <a:gd name="connsiteY1" fmla="*/ 393 h 0"/>
              <a:gd name="connsiteX2" fmla="*/ 7081 w 11802"/>
              <a:gd name="connsiteY2" fmla="*/ 393 h 0"/>
              <a:gd name="connsiteX3" fmla="*/ 3540 w 11802"/>
              <a:gd name="connsiteY3" fmla="*/ 0 h 0"/>
              <a:gd name="connsiteX4" fmla="*/ 0 w 11802"/>
              <a:gd name="connsiteY4" fmla="*/ 2361 h 0"/>
              <a:gd name="connsiteX5" fmla="*/ 10229 w 11802"/>
              <a:gd name="connsiteY5" fmla="*/ 2361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02">
                <a:moveTo>
                  <a:pt x="13376" y="1180"/>
                </a:moveTo>
                <a:lnTo>
                  <a:pt x="9836" y="393"/>
                </a:lnTo>
                <a:lnTo>
                  <a:pt x="7081" y="393"/>
                </a:lnTo>
                <a:lnTo>
                  <a:pt x="3540" y="0"/>
                </a:lnTo>
                <a:lnTo>
                  <a:pt x="0" y="2361"/>
                </a:lnTo>
                <a:lnTo>
                  <a:pt x="10229" y="2361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35" name="Freeform: Shape 4295">
            <a:extLst>
              <a:ext uri="{FF2B5EF4-FFF2-40B4-BE49-F238E27FC236}">
                <a16:creationId xmlns:a16="http://schemas.microsoft.com/office/drawing/2014/main" id="{329D8B1C-AC66-4C0B-92BA-12A5108D4ABD}"/>
              </a:ext>
            </a:extLst>
          </p:cNvPr>
          <p:cNvSpPr/>
          <p:nvPr/>
        </p:nvSpPr>
        <p:spPr>
          <a:xfrm>
            <a:off x="5042365" y="1393581"/>
            <a:ext cx="15082" cy="3770"/>
          </a:xfrm>
          <a:custGeom>
            <a:avLst/>
            <a:gdLst>
              <a:gd name="connsiteX0" fmla="*/ 12590 w 15737"/>
              <a:gd name="connsiteY0" fmla="*/ 393 h 3934"/>
              <a:gd name="connsiteX1" fmla="*/ 9442 w 15737"/>
              <a:gd name="connsiteY1" fmla="*/ 0 h 3934"/>
              <a:gd name="connsiteX2" fmla="*/ 6295 w 15737"/>
              <a:gd name="connsiteY2" fmla="*/ 0 h 3934"/>
              <a:gd name="connsiteX3" fmla="*/ 3148 w 15737"/>
              <a:gd name="connsiteY3" fmla="*/ 1180 h 3934"/>
              <a:gd name="connsiteX4" fmla="*/ 0 w 15737"/>
              <a:gd name="connsiteY4" fmla="*/ 3147 h 3934"/>
              <a:gd name="connsiteX5" fmla="*/ 2754 w 15737"/>
              <a:gd name="connsiteY5" fmla="*/ 3934 h 3934"/>
              <a:gd name="connsiteX6" fmla="*/ 5901 w 15737"/>
              <a:gd name="connsiteY6" fmla="*/ 3541 h 3934"/>
              <a:gd name="connsiteX7" fmla="*/ 8656 w 15737"/>
              <a:gd name="connsiteY7" fmla="*/ 3147 h 3934"/>
              <a:gd name="connsiteX8" fmla="*/ 11803 w 15737"/>
              <a:gd name="connsiteY8" fmla="*/ 2754 h 3934"/>
              <a:gd name="connsiteX9" fmla="*/ 14950 w 15737"/>
              <a:gd name="connsiteY9" fmla="*/ 2361 h 3934"/>
              <a:gd name="connsiteX10" fmla="*/ 18098 w 15737"/>
              <a:gd name="connsiteY10" fmla="*/ 2361 h 3934"/>
              <a:gd name="connsiteX11" fmla="*/ 18491 w 15737"/>
              <a:gd name="connsiteY11" fmla="*/ 1574 h 3934"/>
              <a:gd name="connsiteX12" fmla="*/ 15737 w 15737"/>
              <a:gd name="connsiteY12" fmla="*/ 1180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737" h="3934">
                <a:moveTo>
                  <a:pt x="12590" y="393"/>
                </a:moveTo>
                <a:lnTo>
                  <a:pt x="9442" y="0"/>
                </a:lnTo>
                <a:lnTo>
                  <a:pt x="6295" y="0"/>
                </a:lnTo>
                <a:lnTo>
                  <a:pt x="3148" y="1180"/>
                </a:lnTo>
                <a:lnTo>
                  <a:pt x="0" y="3147"/>
                </a:lnTo>
                <a:lnTo>
                  <a:pt x="2754" y="3934"/>
                </a:lnTo>
                <a:lnTo>
                  <a:pt x="5901" y="3541"/>
                </a:lnTo>
                <a:lnTo>
                  <a:pt x="8656" y="3147"/>
                </a:lnTo>
                <a:lnTo>
                  <a:pt x="11803" y="2754"/>
                </a:lnTo>
                <a:lnTo>
                  <a:pt x="14950" y="2361"/>
                </a:lnTo>
                <a:lnTo>
                  <a:pt x="18098" y="2361"/>
                </a:lnTo>
                <a:lnTo>
                  <a:pt x="18491" y="1574"/>
                </a:lnTo>
                <a:lnTo>
                  <a:pt x="15737" y="118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36" name="Freeform: Shape 4296">
            <a:extLst>
              <a:ext uri="{FF2B5EF4-FFF2-40B4-BE49-F238E27FC236}">
                <a16:creationId xmlns:a16="http://schemas.microsoft.com/office/drawing/2014/main" id="{EB67DCD2-FF10-4A51-9F32-A6A6DA433198}"/>
              </a:ext>
            </a:extLst>
          </p:cNvPr>
          <p:cNvSpPr/>
          <p:nvPr/>
        </p:nvSpPr>
        <p:spPr>
          <a:xfrm>
            <a:off x="5048398" y="1353989"/>
            <a:ext cx="11312" cy="3770"/>
          </a:xfrm>
          <a:custGeom>
            <a:avLst/>
            <a:gdLst>
              <a:gd name="connsiteX0" fmla="*/ 3148 w 11802"/>
              <a:gd name="connsiteY0" fmla="*/ 4328 h 3934"/>
              <a:gd name="connsiteX1" fmla="*/ 6295 w 11802"/>
              <a:gd name="connsiteY1" fmla="*/ 5901 h 3934"/>
              <a:gd name="connsiteX2" fmla="*/ 9049 w 11802"/>
              <a:gd name="connsiteY2" fmla="*/ 6295 h 3934"/>
              <a:gd name="connsiteX3" fmla="*/ 12197 w 11802"/>
              <a:gd name="connsiteY3" fmla="*/ 3934 h 3934"/>
              <a:gd name="connsiteX4" fmla="*/ 9442 w 11802"/>
              <a:gd name="connsiteY4" fmla="*/ 2754 h 3934"/>
              <a:gd name="connsiteX5" fmla="*/ 6295 w 11802"/>
              <a:gd name="connsiteY5" fmla="*/ 787 h 3934"/>
              <a:gd name="connsiteX6" fmla="*/ 3148 w 11802"/>
              <a:gd name="connsiteY6" fmla="*/ 0 h 3934"/>
              <a:gd name="connsiteX7" fmla="*/ 0 w 11802"/>
              <a:gd name="connsiteY7" fmla="*/ 0 h 3934"/>
              <a:gd name="connsiteX8" fmla="*/ 394 w 11802"/>
              <a:gd name="connsiteY8" fmla="*/ 3147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802" h="3934">
                <a:moveTo>
                  <a:pt x="3148" y="4328"/>
                </a:moveTo>
                <a:lnTo>
                  <a:pt x="6295" y="5901"/>
                </a:lnTo>
                <a:lnTo>
                  <a:pt x="9049" y="6295"/>
                </a:lnTo>
                <a:lnTo>
                  <a:pt x="12197" y="3934"/>
                </a:lnTo>
                <a:lnTo>
                  <a:pt x="9442" y="2754"/>
                </a:lnTo>
                <a:lnTo>
                  <a:pt x="6295" y="787"/>
                </a:lnTo>
                <a:lnTo>
                  <a:pt x="3148" y="0"/>
                </a:lnTo>
                <a:lnTo>
                  <a:pt x="0" y="0"/>
                </a:lnTo>
                <a:lnTo>
                  <a:pt x="394" y="314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37" name="Freeform: Shape 4297">
            <a:extLst>
              <a:ext uri="{FF2B5EF4-FFF2-40B4-BE49-F238E27FC236}">
                <a16:creationId xmlns:a16="http://schemas.microsoft.com/office/drawing/2014/main" id="{1E59F571-C88A-4FAC-9D2A-849B66493DE0}"/>
              </a:ext>
            </a:extLst>
          </p:cNvPr>
          <p:cNvSpPr/>
          <p:nvPr/>
        </p:nvSpPr>
        <p:spPr>
          <a:xfrm>
            <a:off x="5071776" y="1361153"/>
            <a:ext cx="11312" cy="3770"/>
          </a:xfrm>
          <a:custGeom>
            <a:avLst/>
            <a:gdLst>
              <a:gd name="connsiteX0" fmla="*/ 6688 w 11802"/>
              <a:gd name="connsiteY0" fmla="*/ 2754 h 0"/>
              <a:gd name="connsiteX1" fmla="*/ 9442 w 11802"/>
              <a:gd name="connsiteY1" fmla="*/ 3541 h 0"/>
              <a:gd name="connsiteX2" fmla="*/ 12589 w 11802"/>
              <a:gd name="connsiteY2" fmla="*/ 2361 h 0"/>
              <a:gd name="connsiteX3" fmla="*/ 9442 w 11802"/>
              <a:gd name="connsiteY3" fmla="*/ 787 h 0"/>
              <a:gd name="connsiteX4" fmla="*/ 6295 w 11802"/>
              <a:gd name="connsiteY4" fmla="*/ 0 h 0"/>
              <a:gd name="connsiteX5" fmla="*/ 3541 w 11802"/>
              <a:gd name="connsiteY5" fmla="*/ 0 h 0"/>
              <a:gd name="connsiteX6" fmla="*/ 0 w 11802"/>
              <a:gd name="connsiteY6" fmla="*/ 1574 h 0"/>
              <a:gd name="connsiteX7" fmla="*/ 3541 w 11802"/>
              <a:gd name="connsiteY7" fmla="*/ 1967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02">
                <a:moveTo>
                  <a:pt x="6688" y="2754"/>
                </a:moveTo>
                <a:lnTo>
                  <a:pt x="9442" y="3541"/>
                </a:lnTo>
                <a:lnTo>
                  <a:pt x="12589" y="2361"/>
                </a:lnTo>
                <a:lnTo>
                  <a:pt x="9442" y="787"/>
                </a:lnTo>
                <a:lnTo>
                  <a:pt x="6295" y="0"/>
                </a:lnTo>
                <a:lnTo>
                  <a:pt x="3541" y="0"/>
                </a:lnTo>
                <a:lnTo>
                  <a:pt x="0" y="1574"/>
                </a:lnTo>
                <a:lnTo>
                  <a:pt x="3541" y="196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74" name="Freeform: Shape 4334">
            <a:extLst>
              <a:ext uri="{FF2B5EF4-FFF2-40B4-BE49-F238E27FC236}">
                <a16:creationId xmlns:a16="http://schemas.microsoft.com/office/drawing/2014/main" id="{457F3DF1-3827-43F2-A8F8-767EC11458F0}"/>
              </a:ext>
            </a:extLst>
          </p:cNvPr>
          <p:cNvSpPr/>
          <p:nvPr/>
        </p:nvSpPr>
        <p:spPr>
          <a:xfrm>
            <a:off x="579482" y="3046988"/>
            <a:ext cx="3770" cy="3770"/>
          </a:xfrm>
          <a:custGeom>
            <a:avLst/>
            <a:gdLst>
              <a:gd name="connsiteX0" fmla="*/ 4721 w 3934"/>
              <a:gd name="connsiteY0" fmla="*/ 1180 h 3934"/>
              <a:gd name="connsiteX1" fmla="*/ 4721 w 3934"/>
              <a:gd name="connsiteY1" fmla="*/ 1180 h 3934"/>
              <a:gd name="connsiteX2" fmla="*/ 4721 w 3934"/>
              <a:gd name="connsiteY2" fmla="*/ 787 h 3934"/>
              <a:gd name="connsiteX3" fmla="*/ 4328 w 3934"/>
              <a:gd name="connsiteY3" fmla="*/ 787 h 3934"/>
              <a:gd name="connsiteX4" fmla="*/ 4328 w 3934"/>
              <a:gd name="connsiteY4" fmla="*/ 393 h 3934"/>
              <a:gd name="connsiteX5" fmla="*/ 3934 w 3934"/>
              <a:gd name="connsiteY5" fmla="*/ 393 h 3934"/>
              <a:gd name="connsiteX6" fmla="*/ 3934 w 3934"/>
              <a:gd name="connsiteY6" fmla="*/ 0 h 3934"/>
              <a:gd name="connsiteX7" fmla="*/ 3541 w 3934"/>
              <a:gd name="connsiteY7" fmla="*/ 0 h 3934"/>
              <a:gd name="connsiteX8" fmla="*/ 3541 w 3934"/>
              <a:gd name="connsiteY8" fmla="*/ 0 h 3934"/>
              <a:gd name="connsiteX9" fmla="*/ 1967 w 3934"/>
              <a:gd name="connsiteY9" fmla="*/ 0 h 3934"/>
              <a:gd name="connsiteX10" fmla="*/ 1574 w 3934"/>
              <a:gd name="connsiteY10" fmla="*/ 0 h 3934"/>
              <a:gd name="connsiteX11" fmla="*/ 1180 w 3934"/>
              <a:gd name="connsiteY11" fmla="*/ 0 h 3934"/>
              <a:gd name="connsiteX12" fmla="*/ 1180 w 3934"/>
              <a:gd name="connsiteY12" fmla="*/ 393 h 3934"/>
              <a:gd name="connsiteX13" fmla="*/ 787 w 3934"/>
              <a:gd name="connsiteY13" fmla="*/ 393 h 3934"/>
              <a:gd name="connsiteX14" fmla="*/ 787 w 3934"/>
              <a:gd name="connsiteY14" fmla="*/ 787 h 3934"/>
              <a:gd name="connsiteX15" fmla="*/ 393 w 3934"/>
              <a:gd name="connsiteY15" fmla="*/ 787 h 3934"/>
              <a:gd name="connsiteX16" fmla="*/ 393 w 3934"/>
              <a:gd name="connsiteY16" fmla="*/ 1180 h 3934"/>
              <a:gd name="connsiteX17" fmla="*/ 393 w 3934"/>
              <a:gd name="connsiteY17" fmla="*/ 1180 h 3934"/>
              <a:gd name="connsiteX18" fmla="*/ 393 w 3934"/>
              <a:gd name="connsiteY18" fmla="*/ 1574 h 3934"/>
              <a:gd name="connsiteX19" fmla="*/ 0 w 3934"/>
              <a:gd name="connsiteY19" fmla="*/ 1967 h 3934"/>
              <a:gd name="connsiteX20" fmla="*/ 0 w 3934"/>
              <a:gd name="connsiteY20" fmla="*/ 3147 h 3934"/>
              <a:gd name="connsiteX21" fmla="*/ 393 w 3934"/>
              <a:gd name="connsiteY21" fmla="*/ 3147 h 3934"/>
              <a:gd name="connsiteX22" fmla="*/ 393 w 3934"/>
              <a:gd name="connsiteY22" fmla="*/ 3934 h 3934"/>
              <a:gd name="connsiteX23" fmla="*/ 393 w 3934"/>
              <a:gd name="connsiteY23" fmla="*/ 3934 h 3934"/>
              <a:gd name="connsiteX24" fmla="*/ 393 w 3934"/>
              <a:gd name="connsiteY24" fmla="*/ 4328 h 3934"/>
              <a:gd name="connsiteX25" fmla="*/ 787 w 3934"/>
              <a:gd name="connsiteY25" fmla="*/ 4328 h 3934"/>
              <a:gd name="connsiteX26" fmla="*/ 787 w 3934"/>
              <a:gd name="connsiteY26" fmla="*/ 4328 h 3934"/>
              <a:gd name="connsiteX27" fmla="*/ 1180 w 3934"/>
              <a:gd name="connsiteY27" fmla="*/ 4328 h 3934"/>
              <a:gd name="connsiteX28" fmla="*/ 1180 w 3934"/>
              <a:gd name="connsiteY28" fmla="*/ 4721 h 3934"/>
              <a:gd name="connsiteX29" fmla="*/ 1574 w 3934"/>
              <a:gd name="connsiteY29" fmla="*/ 4721 h 3934"/>
              <a:gd name="connsiteX30" fmla="*/ 1574 w 3934"/>
              <a:gd name="connsiteY30" fmla="*/ 5115 h 3934"/>
              <a:gd name="connsiteX31" fmla="*/ 3541 w 3934"/>
              <a:gd name="connsiteY31" fmla="*/ 5115 h 3934"/>
              <a:gd name="connsiteX32" fmla="*/ 3541 w 3934"/>
              <a:gd name="connsiteY32" fmla="*/ 4721 h 3934"/>
              <a:gd name="connsiteX33" fmla="*/ 3934 w 3934"/>
              <a:gd name="connsiteY33" fmla="*/ 4721 h 3934"/>
              <a:gd name="connsiteX34" fmla="*/ 3934 w 3934"/>
              <a:gd name="connsiteY34" fmla="*/ 4328 h 3934"/>
              <a:gd name="connsiteX35" fmla="*/ 4328 w 3934"/>
              <a:gd name="connsiteY35" fmla="*/ 4328 h 3934"/>
              <a:gd name="connsiteX36" fmla="*/ 4721 w 3934"/>
              <a:gd name="connsiteY36" fmla="*/ 4328 h 3934"/>
              <a:gd name="connsiteX37" fmla="*/ 4721 w 3934"/>
              <a:gd name="connsiteY37" fmla="*/ 3934 h 3934"/>
              <a:gd name="connsiteX38" fmla="*/ 4721 w 3934"/>
              <a:gd name="connsiteY38" fmla="*/ 3934 h 3934"/>
              <a:gd name="connsiteX39" fmla="*/ 4721 w 3934"/>
              <a:gd name="connsiteY39" fmla="*/ 3147 h 3934"/>
              <a:gd name="connsiteX40" fmla="*/ 5115 w 3934"/>
              <a:gd name="connsiteY40" fmla="*/ 3147 h 3934"/>
              <a:gd name="connsiteX41" fmla="*/ 5115 w 3934"/>
              <a:gd name="connsiteY41" fmla="*/ 2754 h 3934"/>
              <a:gd name="connsiteX42" fmla="*/ 5115 w 3934"/>
              <a:gd name="connsiteY42" fmla="*/ 1574 h 3934"/>
              <a:gd name="connsiteX43" fmla="*/ 4721 w 3934"/>
              <a:gd name="connsiteY43" fmla="*/ 1574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934" h="3934">
                <a:moveTo>
                  <a:pt x="4721" y="1180"/>
                </a:moveTo>
                <a:lnTo>
                  <a:pt x="4721" y="1180"/>
                </a:lnTo>
                <a:lnTo>
                  <a:pt x="4721" y="787"/>
                </a:lnTo>
                <a:lnTo>
                  <a:pt x="4328" y="787"/>
                </a:lnTo>
                <a:lnTo>
                  <a:pt x="4328" y="393"/>
                </a:lnTo>
                <a:lnTo>
                  <a:pt x="3934" y="393"/>
                </a:lnTo>
                <a:lnTo>
                  <a:pt x="3934" y="0"/>
                </a:lnTo>
                <a:lnTo>
                  <a:pt x="3541" y="0"/>
                </a:lnTo>
                <a:lnTo>
                  <a:pt x="3541" y="0"/>
                </a:lnTo>
                <a:lnTo>
                  <a:pt x="1967" y="0"/>
                </a:lnTo>
                <a:lnTo>
                  <a:pt x="1574" y="0"/>
                </a:lnTo>
                <a:lnTo>
                  <a:pt x="1180" y="0"/>
                </a:lnTo>
                <a:lnTo>
                  <a:pt x="1180" y="393"/>
                </a:lnTo>
                <a:lnTo>
                  <a:pt x="787" y="393"/>
                </a:lnTo>
                <a:lnTo>
                  <a:pt x="787" y="787"/>
                </a:lnTo>
                <a:lnTo>
                  <a:pt x="393" y="787"/>
                </a:lnTo>
                <a:lnTo>
                  <a:pt x="393" y="1180"/>
                </a:lnTo>
                <a:lnTo>
                  <a:pt x="393" y="1180"/>
                </a:lnTo>
                <a:lnTo>
                  <a:pt x="393" y="1574"/>
                </a:lnTo>
                <a:lnTo>
                  <a:pt x="0" y="1967"/>
                </a:lnTo>
                <a:lnTo>
                  <a:pt x="0" y="3147"/>
                </a:lnTo>
                <a:lnTo>
                  <a:pt x="393" y="3147"/>
                </a:lnTo>
                <a:lnTo>
                  <a:pt x="393" y="3934"/>
                </a:lnTo>
                <a:lnTo>
                  <a:pt x="393" y="3934"/>
                </a:lnTo>
                <a:lnTo>
                  <a:pt x="393" y="4328"/>
                </a:lnTo>
                <a:lnTo>
                  <a:pt x="787" y="4328"/>
                </a:lnTo>
                <a:lnTo>
                  <a:pt x="787" y="4328"/>
                </a:lnTo>
                <a:lnTo>
                  <a:pt x="1180" y="4328"/>
                </a:lnTo>
                <a:lnTo>
                  <a:pt x="1180" y="4721"/>
                </a:lnTo>
                <a:lnTo>
                  <a:pt x="1574" y="4721"/>
                </a:lnTo>
                <a:lnTo>
                  <a:pt x="1574" y="5115"/>
                </a:lnTo>
                <a:lnTo>
                  <a:pt x="3541" y="5115"/>
                </a:lnTo>
                <a:lnTo>
                  <a:pt x="3541" y="4721"/>
                </a:lnTo>
                <a:lnTo>
                  <a:pt x="3934" y="4721"/>
                </a:lnTo>
                <a:lnTo>
                  <a:pt x="3934" y="4328"/>
                </a:lnTo>
                <a:lnTo>
                  <a:pt x="4328" y="4328"/>
                </a:lnTo>
                <a:lnTo>
                  <a:pt x="4721" y="4328"/>
                </a:lnTo>
                <a:lnTo>
                  <a:pt x="4721" y="3934"/>
                </a:lnTo>
                <a:lnTo>
                  <a:pt x="4721" y="3934"/>
                </a:lnTo>
                <a:lnTo>
                  <a:pt x="4721" y="3147"/>
                </a:lnTo>
                <a:lnTo>
                  <a:pt x="5115" y="3147"/>
                </a:lnTo>
                <a:lnTo>
                  <a:pt x="5115" y="2754"/>
                </a:lnTo>
                <a:lnTo>
                  <a:pt x="5115" y="1574"/>
                </a:lnTo>
                <a:lnTo>
                  <a:pt x="4721" y="157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75" name="Freeform: Shape 4335">
            <a:extLst>
              <a:ext uri="{FF2B5EF4-FFF2-40B4-BE49-F238E27FC236}">
                <a16:creationId xmlns:a16="http://schemas.microsoft.com/office/drawing/2014/main" id="{D5017D25-CCC4-4958-947D-C37E95355607}"/>
              </a:ext>
            </a:extLst>
          </p:cNvPr>
          <p:cNvSpPr/>
          <p:nvPr/>
        </p:nvSpPr>
        <p:spPr>
          <a:xfrm>
            <a:off x="613795" y="3087711"/>
            <a:ext cx="3770" cy="3770"/>
          </a:xfrm>
          <a:custGeom>
            <a:avLst/>
            <a:gdLst>
              <a:gd name="connsiteX0" fmla="*/ 5115 w 3934"/>
              <a:gd name="connsiteY0" fmla="*/ 1180 h 3934"/>
              <a:gd name="connsiteX1" fmla="*/ 4721 w 3934"/>
              <a:gd name="connsiteY1" fmla="*/ 1180 h 3934"/>
              <a:gd name="connsiteX2" fmla="*/ 4721 w 3934"/>
              <a:gd name="connsiteY2" fmla="*/ 787 h 3934"/>
              <a:gd name="connsiteX3" fmla="*/ 4328 w 3934"/>
              <a:gd name="connsiteY3" fmla="*/ 787 h 3934"/>
              <a:gd name="connsiteX4" fmla="*/ 4328 w 3934"/>
              <a:gd name="connsiteY4" fmla="*/ 393 h 3934"/>
              <a:gd name="connsiteX5" fmla="*/ 4328 w 3934"/>
              <a:gd name="connsiteY5" fmla="*/ 393 h 3934"/>
              <a:gd name="connsiteX6" fmla="*/ 4328 w 3934"/>
              <a:gd name="connsiteY6" fmla="*/ 0 h 3934"/>
              <a:gd name="connsiteX7" fmla="*/ 3541 w 3934"/>
              <a:gd name="connsiteY7" fmla="*/ 0 h 3934"/>
              <a:gd name="connsiteX8" fmla="*/ 3541 w 3934"/>
              <a:gd name="connsiteY8" fmla="*/ 0 h 3934"/>
              <a:gd name="connsiteX9" fmla="*/ 1967 w 3934"/>
              <a:gd name="connsiteY9" fmla="*/ 0 h 3934"/>
              <a:gd name="connsiteX10" fmla="*/ 1967 w 3934"/>
              <a:gd name="connsiteY10" fmla="*/ 0 h 3934"/>
              <a:gd name="connsiteX11" fmla="*/ 1180 w 3934"/>
              <a:gd name="connsiteY11" fmla="*/ 0 h 3934"/>
              <a:gd name="connsiteX12" fmla="*/ 1180 w 3934"/>
              <a:gd name="connsiteY12" fmla="*/ 393 h 3934"/>
              <a:gd name="connsiteX13" fmla="*/ 1180 w 3934"/>
              <a:gd name="connsiteY13" fmla="*/ 393 h 3934"/>
              <a:gd name="connsiteX14" fmla="*/ 1180 w 3934"/>
              <a:gd name="connsiteY14" fmla="*/ 787 h 3934"/>
              <a:gd name="connsiteX15" fmla="*/ 787 w 3934"/>
              <a:gd name="connsiteY15" fmla="*/ 787 h 3934"/>
              <a:gd name="connsiteX16" fmla="*/ 787 w 3934"/>
              <a:gd name="connsiteY16" fmla="*/ 1180 h 3934"/>
              <a:gd name="connsiteX17" fmla="*/ 393 w 3934"/>
              <a:gd name="connsiteY17" fmla="*/ 1180 h 3934"/>
              <a:gd name="connsiteX18" fmla="*/ 393 w 3934"/>
              <a:gd name="connsiteY18" fmla="*/ 1574 h 3934"/>
              <a:gd name="connsiteX19" fmla="*/ 0 w 3934"/>
              <a:gd name="connsiteY19" fmla="*/ 1967 h 3934"/>
              <a:gd name="connsiteX20" fmla="*/ 0 w 3934"/>
              <a:gd name="connsiteY20" fmla="*/ 3147 h 3934"/>
              <a:gd name="connsiteX21" fmla="*/ 393 w 3934"/>
              <a:gd name="connsiteY21" fmla="*/ 3147 h 3934"/>
              <a:gd name="connsiteX22" fmla="*/ 393 w 3934"/>
              <a:gd name="connsiteY22" fmla="*/ 3934 h 3934"/>
              <a:gd name="connsiteX23" fmla="*/ 787 w 3934"/>
              <a:gd name="connsiteY23" fmla="*/ 3934 h 3934"/>
              <a:gd name="connsiteX24" fmla="*/ 787 w 3934"/>
              <a:gd name="connsiteY24" fmla="*/ 4328 h 3934"/>
              <a:gd name="connsiteX25" fmla="*/ 1180 w 3934"/>
              <a:gd name="connsiteY25" fmla="*/ 4328 h 3934"/>
              <a:gd name="connsiteX26" fmla="*/ 1180 w 3934"/>
              <a:gd name="connsiteY26" fmla="*/ 4328 h 3934"/>
              <a:gd name="connsiteX27" fmla="*/ 1180 w 3934"/>
              <a:gd name="connsiteY27" fmla="*/ 4328 h 3934"/>
              <a:gd name="connsiteX28" fmla="*/ 1180 w 3934"/>
              <a:gd name="connsiteY28" fmla="*/ 4721 h 3934"/>
              <a:gd name="connsiteX29" fmla="*/ 1967 w 3934"/>
              <a:gd name="connsiteY29" fmla="*/ 4721 h 3934"/>
              <a:gd name="connsiteX30" fmla="*/ 1967 w 3934"/>
              <a:gd name="connsiteY30" fmla="*/ 5114 h 3934"/>
              <a:gd name="connsiteX31" fmla="*/ 3541 w 3934"/>
              <a:gd name="connsiteY31" fmla="*/ 5114 h 3934"/>
              <a:gd name="connsiteX32" fmla="*/ 3541 w 3934"/>
              <a:gd name="connsiteY32" fmla="*/ 4721 h 3934"/>
              <a:gd name="connsiteX33" fmla="*/ 4328 w 3934"/>
              <a:gd name="connsiteY33" fmla="*/ 4721 h 3934"/>
              <a:gd name="connsiteX34" fmla="*/ 4328 w 3934"/>
              <a:gd name="connsiteY34" fmla="*/ 4328 h 3934"/>
              <a:gd name="connsiteX35" fmla="*/ 4328 w 3934"/>
              <a:gd name="connsiteY35" fmla="*/ 4328 h 3934"/>
              <a:gd name="connsiteX36" fmla="*/ 4721 w 3934"/>
              <a:gd name="connsiteY36" fmla="*/ 4328 h 3934"/>
              <a:gd name="connsiteX37" fmla="*/ 4721 w 3934"/>
              <a:gd name="connsiteY37" fmla="*/ 3934 h 3934"/>
              <a:gd name="connsiteX38" fmla="*/ 5115 w 3934"/>
              <a:gd name="connsiteY38" fmla="*/ 3934 h 3934"/>
              <a:gd name="connsiteX39" fmla="*/ 5115 w 3934"/>
              <a:gd name="connsiteY39" fmla="*/ 3147 h 3934"/>
              <a:gd name="connsiteX40" fmla="*/ 5115 w 3934"/>
              <a:gd name="connsiteY40" fmla="*/ 3147 h 3934"/>
              <a:gd name="connsiteX41" fmla="*/ 5115 w 3934"/>
              <a:gd name="connsiteY41" fmla="*/ 2754 h 3934"/>
              <a:gd name="connsiteX42" fmla="*/ 5115 w 3934"/>
              <a:gd name="connsiteY42" fmla="*/ 1574 h 3934"/>
              <a:gd name="connsiteX43" fmla="*/ 5115 w 3934"/>
              <a:gd name="connsiteY43" fmla="*/ 1574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934" h="3934">
                <a:moveTo>
                  <a:pt x="5115" y="1180"/>
                </a:moveTo>
                <a:lnTo>
                  <a:pt x="4721" y="1180"/>
                </a:lnTo>
                <a:lnTo>
                  <a:pt x="4721" y="787"/>
                </a:lnTo>
                <a:lnTo>
                  <a:pt x="4328" y="787"/>
                </a:lnTo>
                <a:lnTo>
                  <a:pt x="4328" y="393"/>
                </a:lnTo>
                <a:lnTo>
                  <a:pt x="4328" y="393"/>
                </a:lnTo>
                <a:lnTo>
                  <a:pt x="4328" y="0"/>
                </a:lnTo>
                <a:lnTo>
                  <a:pt x="3541" y="0"/>
                </a:lnTo>
                <a:lnTo>
                  <a:pt x="3541" y="0"/>
                </a:lnTo>
                <a:lnTo>
                  <a:pt x="1967" y="0"/>
                </a:lnTo>
                <a:lnTo>
                  <a:pt x="1967" y="0"/>
                </a:lnTo>
                <a:lnTo>
                  <a:pt x="1180" y="0"/>
                </a:lnTo>
                <a:lnTo>
                  <a:pt x="1180" y="393"/>
                </a:lnTo>
                <a:lnTo>
                  <a:pt x="1180" y="393"/>
                </a:lnTo>
                <a:lnTo>
                  <a:pt x="1180" y="787"/>
                </a:lnTo>
                <a:lnTo>
                  <a:pt x="787" y="787"/>
                </a:lnTo>
                <a:lnTo>
                  <a:pt x="787" y="1180"/>
                </a:lnTo>
                <a:lnTo>
                  <a:pt x="393" y="1180"/>
                </a:lnTo>
                <a:lnTo>
                  <a:pt x="393" y="1574"/>
                </a:lnTo>
                <a:lnTo>
                  <a:pt x="0" y="1967"/>
                </a:lnTo>
                <a:lnTo>
                  <a:pt x="0" y="3147"/>
                </a:lnTo>
                <a:lnTo>
                  <a:pt x="393" y="3147"/>
                </a:lnTo>
                <a:lnTo>
                  <a:pt x="393" y="3934"/>
                </a:lnTo>
                <a:lnTo>
                  <a:pt x="787" y="3934"/>
                </a:lnTo>
                <a:lnTo>
                  <a:pt x="787" y="4328"/>
                </a:lnTo>
                <a:lnTo>
                  <a:pt x="1180" y="4328"/>
                </a:lnTo>
                <a:lnTo>
                  <a:pt x="1180" y="4328"/>
                </a:lnTo>
                <a:lnTo>
                  <a:pt x="1180" y="4328"/>
                </a:lnTo>
                <a:lnTo>
                  <a:pt x="1180" y="4721"/>
                </a:lnTo>
                <a:lnTo>
                  <a:pt x="1967" y="4721"/>
                </a:lnTo>
                <a:lnTo>
                  <a:pt x="1967" y="5114"/>
                </a:lnTo>
                <a:lnTo>
                  <a:pt x="3541" y="5114"/>
                </a:lnTo>
                <a:lnTo>
                  <a:pt x="3541" y="4721"/>
                </a:lnTo>
                <a:lnTo>
                  <a:pt x="4328" y="4721"/>
                </a:lnTo>
                <a:lnTo>
                  <a:pt x="4328" y="4328"/>
                </a:lnTo>
                <a:lnTo>
                  <a:pt x="4328" y="4328"/>
                </a:lnTo>
                <a:lnTo>
                  <a:pt x="4721" y="4328"/>
                </a:lnTo>
                <a:lnTo>
                  <a:pt x="4721" y="3934"/>
                </a:lnTo>
                <a:lnTo>
                  <a:pt x="5115" y="3934"/>
                </a:lnTo>
                <a:lnTo>
                  <a:pt x="5115" y="3147"/>
                </a:lnTo>
                <a:lnTo>
                  <a:pt x="5115" y="3147"/>
                </a:lnTo>
                <a:lnTo>
                  <a:pt x="5115" y="2754"/>
                </a:lnTo>
                <a:lnTo>
                  <a:pt x="5115" y="1574"/>
                </a:lnTo>
                <a:lnTo>
                  <a:pt x="5115" y="157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76" name="Freeform: Shape 4336">
            <a:extLst>
              <a:ext uri="{FF2B5EF4-FFF2-40B4-BE49-F238E27FC236}">
                <a16:creationId xmlns:a16="http://schemas.microsoft.com/office/drawing/2014/main" id="{56101ABC-08BE-4BC5-B866-47AB75A5DFCF}"/>
              </a:ext>
            </a:extLst>
          </p:cNvPr>
          <p:cNvSpPr/>
          <p:nvPr/>
        </p:nvSpPr>
        <p:spPr>
          <a:xfrm>
            <a:off x="655648" y="3092990"/>
            <a:ext cx="3770" cy="3770"/>
          </a:xfrm>
          <a:custGeom>
            <a:avLst/>
            <a:gdLst>
              <a:gd name="connsiteX0" fmla="*/ 5115 w 3934"/>
              <a:gd name="connsiteY0" fmla="*/ 1180 h 3934"/>
              <a:gd name="connsiteX1" fmla="*/ 4721 w 3934"/>
              <a:gd name="connsiteY1" fmla="*/ 1180 h 3934"/>
              <a:gd name="connsiteX2" fmla="*/ 4721 w 3934"/>
              <a:gd name="connsiteY2" fmla="*/ 787 h 3934"/>
              <a:gd name="connsiteX3" fmla="*/ 4328 w 3934"/>
              <a:gd name="connsiteY3" fmla="*/ 787 h 3934"/>
              <a:gd name="connsiteX4" fmla="*/ 4328 w 3934"/>
              <a:gd name="connsiteY4" fmla="*/ 787 h 3934"/>
              <a:gd name="connsiteX5" fmla="*/ 3934 w 3934"/>
              <a:gd name="connsiteY5" fmla="*/ 787 h 3934"/>
              <a:gd name="connsiteX6" fmla="*/ 3934 w 3934"/>
              <a:gd name="connsiteY6" fmla="*/ 393 h 3934"/>
              <a:gd name="connsiteX7" fmla="*/ 3541 w 3934"/>
              <a:gd name="connsiteY7" fmla="*/ 393 h 3934"/>
              <a:gd name="connsiteX8" fmla="*/ 3541 w 3934"/>
              <a:gd name="connsiteY8" fmla="*/ 0 h 3934"/>
              <a:gd name="connsiteX9" fmla="*/ 1967 w 3934"/>
              <a:gd name="connsiteY9" fmla="*/ 0 h 3934"/>
              <a:gd name="connsiteX10" fmla="*/ 1967 w 3934"/>
              <a:gd name="connsiteY10" fmla="*/ 393 h 3934"/>
              <a:gd name="connsiteX11" fmla="*/ 1180 w 3934"/>
              <a:gd name="connsiteY11" fmla="*/ 393 h 3934"/>
              <a:gd name="connsiteX12" fmla="*/ 1180 w 3934"/>
              <a:gd name="connsiteY12" fmla="*/ 787 h 3934"/>
              <a:gd name="connsiteX13" fmla="*/ 787 w 3934"/>
              <a:gd name="connsiteY13" fmla="*/ 787 h 3934"/>
              <a:gd name="connsiteX14" fmla="*/ 787 w 3934"/>
              <a:gd name="connsiteY14" fmla="*/ 787 h 3934"/>
              <a:gd name="connsiteX15" fmla="*/ 787 w 3934"/>
              <a:gd name="connsiteY15" fmla="*/ 787 h 3934"/>
              <a:gd name="connsiteX16" fmla="*/ 787 w 3934"/>
              <a:gd name="connsiteY16" fmla="*/ 1180 h 3934"/>
              <a:gd name="connsiteX17" fmla="*/ 393 w 3934"/>
              <a:gd name="connsiteY17" fmla="*/ 1180 h 3934"/>
              <a:gd name="connsiteX18" fmla="*/ 393 w 3934"/>
              <a:gd name="connsiteY18" fmla="*/ 1574 h 3934"/>
              <a:gd name="connsiteX19" fmla="*/ 0 w 3934"/>
              <a:gd name="connsiteY19" fmla="*/ 1967 h 3934"/>
              <a:gd name="connsiteX20" fmla="*/ 0 w 3934"/>
              <a:gd name="connsiteY20" fmla="*/ 3541 h 3934"/>
              <a:gd name="connsiteX21" fmla="*/ 393 w 3934"/>
              <a:gd name="connsiteY21" fmla="*/ 3541 h 3934"/>
              <a:gd name="connsiteX22" fmla="*/ 393 w 3934"/>
              <a:gd name="connsiteY22" fmla="*/ 3934 h 3934"/>
              <a:gd name="connsiteX23" fmla="*/ 787 w 3934"/>
              <a:gd name="connsiteY23" fmla="*/ 3934 h 3934"/>
              <a:gd name="connsiteX24" fmla="*/ 787 w 3934"/>
              <a:gd name="connsiteY24" fmla="*/ 4328 h 3934"/>
              <a:gd name="connsiteX25" fmla="*/ 787 w 3934"/>
              <a:gd name="connsiteY25" fmla="*/ 4328 h 3934"/>
              <a:gd name="connsiteX26" fmla="*/ 787 w 3934"/>
              <a:gd name="connsiteY26" fmla="*/ 4721 h 3934"/>
              <a:gd name="connsiteX27" fmla="*/ 1180 w 3934"/>
              <a:gd name="connsiteY27" fmla="*/ 4721 h 3934"/>
              <a:gd name="connsiteX28" fmla="*/ 1180 w 3934"/>
              <a:gd name="connsiteY28" fmla="*/ 4721 h 3934"/>
              <a:gd name="connsiteX29" fmla="*/ 1967 w 3934"/>
              <a:gd name="connsiteY29" fmla="*/ 4721 h 3934"/>
              <a:gd name="connsiteX30" fmla="*/ 1967 w 3934"/>
              <a:gd name="connsiteY30" fmla="*/ 5114 h 3934"/>
              <a:gd name="connsiteX31" fmla="*/ 3541 w 3934"/>
              <a:gd name="connsiteY31" fmla="*/ 5114 h 3934"/>
              <a:gd name="connsiteX32" fmla="*/ 3541 w 3934"/>
              <a:gd name="connsiteY32" fmla="*/ 4721 h 3934"/>
              <a:gd name="connsiteX33" fmla="*/ 3934 w 3934"/>
              <a:gd name="connsiteY33" fmla="*/ 4721 h 3934"/>
              <a:gd name="connsiteX34" fmla="*/ 3934 w 3934"/>
              <a:gd name="connsiteY34" fmla="*/ 4721 h 3934"/>
              <a:gd name="connsiteX35" fmla="*/ 4328 w 3934"/>
              <a:gd name="connsiteY35" fmla="*/ 4721 h 3934"/>
              <a:gd name="connsiteX36" fmla="*/ 4721 w 3934"/>
              <a:gd name="connsiteY36" fmla="*/ 4328 h 3934"/>
              <a:gd name="connsiteX37" fmla="*/ 4721 w 3934"/>
              <a:gd name="connsiteY37" fmla="*/ 3934 h 3934"/>
              <a:gd name="connsiteX38" fmla="*/ 5115 w 3934"/>
              <a:gd name="connsiteY38" fmla="*/ 3934 h 3934"/>
              <a:gd name="connsiteX39" fmla="*/ 5115 w 3934"/>
              <a:gd name="connsiteY39" fmla="*/ 3541 h 3934"/>
              <a:gd name="connsiteX40" fmla="*/ 5115 w 3934"/>
              <a:gd name="connsiteY40" fmla="*/ 3541 h 3934"/>
              <a:gd name="connsiteX41" fmla="*/ 5115 w 3934"/>
              <a:gd name="connsiteY41" fmla="*/ 2754 h 3934"/>
              <a:gd name="connsiteX42" fmla="*/ 5115 w 3934"/>
              <a:gd name="connsiteY42" fmla="*/ 1574 h 3934"/>
              <a:gd name="connsiteX43" fmla="*/ 5115 w 3934"/>
              <a:gd name="connsiteY43" fmla="*/ 1574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934" h="3934">
                <a:moveTo>
                  <a:pt x="5115" y="1180"/>
                </a:moveTo>
                <a:lnTo>
                  <a:pt x="4721" y="1180"/>
                </a:lnTo>
                <a:lnTo>
                  <a:pt x="4721" y="787"/>
                </a:lnTo>
                <a:lnTo>
                  <a:pt x="4328" y="787"/>
                </a:lnTo>
                <a:lnTo>
                  <a:pt x="4328" y="787"/>
                </a:lnTo>
                <a:lnTo>
                  <a:pt x="3934" y="787"/>
                </a:lnTo>
                <a:lnTo>
                  <a:pt x="3934" y="393"/>
                </a:lnTo>
                <a:lnTo>
                  <a:pt x="3541" y="393"/>
                </a:lnTo>
                <a:lnTo>
                  <a:pt x="3541" y="0"/>
                </a:lnTo>
                <a:lnTo>
                  <a:pt x="1967" y="0"/>
                </a:lnTo>
                <a:lnTo>
                  <a:pt x="1967" y="393"/>
                </a:lnTo>
                <a:lnTo>
                  <a:pt x="1180" y="393"/>
                </a:lnTo>
                <a:lnTo>
                  <a:pt x="1180" y="787"/>
                </a:lnTo>
                <a:lnTo>
                  <a:pt x="787" y="787"/>
                </a:lnTo>
                <a:lnTo>
                  <a:pt x="787" y="787"/>
                </a:lnTo>
                <a:lnTo>
                  <a:pt x="787" y="787"/>
                </a:lnTo>
                <a:lnTo>
                  <a:pt x="787" y="1180"/>
                </a:lnTo>
                <a:lnTo>
                  <a:pt x="393" y="1180"/>
                </a:lnTo>
                <a:lnTo>
                  <a:pt x="393" y="1574"/>
                </a:lnTo>
                <a:lnTo>
                  <a:pt x="0" y="1967"/>
                </a:lnTo>
                <a:lnTo>
                  <a:pt x="0" y="3541"/>
                </a:lnTo>
                <a:lnTo>
                  <a:pt x="393" y="3541"/>
                </a:lnTo>
                <a:lnTo>
                  <a:pt x="393" y="3934"/>
                </a:lnTo>
                <a:lnTo>
                  <a:pt x="787" y="3934"/>
                </a:lnTo>
                <a:lnTo>
                  <a:pt x="787" y="4328"/>
                </a:lnTo>
                <a:lnTo>
                  <a:pt x="787" y="4328"/>
                </a:lnTo>
                <a:lnTo>
                  <a:pt x="787" y="4721"/>
                </a:lnTo>
                <a:lnTo>
                  <a:pt x="1180" y="4721"/>
                </a:lnTo>
                <a:lnTo>
                  <a:pt x="1180" y="4721"/>
                </a:lnTo>
                <a:lnTo>
                  <a:pt x="1967" y="4721"/>
                </a:lnTo>
                <a:lnTo>
                  <a:pt x="1967" y="5114"/>
                </a:lnTo>
                <a:lnTo>
                  <a:pt x="3541" y="5114"/>
                </a:lnTo>
                <a:lnTo>
                  <a:pt x="3541" y="4721"/>
                </a:lnTo>
                <a:lnTo>
                  <a:pt x="3934" y="4721"/>
                </a:lnTo>
                <a:lnTo>
                  <a:pt x="3934" y="4721"/>
                </a:lnTo>
                <a:lnTo>
                  <a:pt x="4328" y="4721"/>
                </a:lnTo>
                <a:lnTo>
                  <a:pt x="4721" y="4328"/>
                </a:lnTo>
                <a:lnTo>
                  <a:pt x="4721" y="3934"/>
                </a:lnTo>
                <a:lnTo>
                  <a:pt x="5115" y="3934"/>
                </a:lnTo>
                <a:lnTo>
                  <a:pt x="5115" y="3541"/>
                </a:lnTo>
                <a:lnTo>
                  <a:pt x="5115" y="3541"/>
                </a:lnTo>
                <a:lnTo>
                  <a:pt x="5115" y="2754"/>
                </a:lnTo>
                <a:lnTo>
                  <a:pt x="5115" y="1574"/>
                </a:lnTo>
                <a:lnTo>
                  <a:pt x="5115" y="157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77" name="Freeform: Shape 4337">
            <a:extLst>
              <a:ext uri="{FF2B5EF4-FFF2-40B4-BE49-F238E27FC236}">
                <a16:creationId xmlns:a16="http://schemas.microsoft.com/office/drawing/2014/main" id="{0DE39E9A-384C-4E6B-B1C1-295834CB8BE0}"/>
              </a:ext>
            </a:extLst>
          </p:cNvPr>
          <p:cNvSpPr/>
          <p:nvPr/>
        </p:nvSpPr>
        <p:spPr>
          <a:xfrm>
            <a:off x="728420" y="3109204"/>
            <a:ext cx="3770" cy="3770"/>
          </a:xfrm>
          <a:custGeom>
            <a:avLst/>
            <a:gdLst>
              <a:gd name="connsiteX0" fmla="*/ 4721 w 3934"/>
              <a:gd name="connsiteY0" fmla="*/ 787 h 3934"/>
              <a:gd name="connsiteX1" fmla="*/ 4328 w 3934"/>
              <a:gd name="connsiteY1" fmla="*/ 787 h 3934"/>
              <a:gd name="connsiteX2" fmla="*/ 4328 w 3934"/>
              <a:gd name="connsiteY2" fmla="*/ 787 h 3934"/>
              <a:gd name="connsiteX3" fmla="*/ 3934 w 3934"/>
              <a:gd name="connsiteY3" fmla="*/ 787 h 3934"/>
              <a:gd name="connsiteX4" fmla="*/ 3934 w 3934"/>
              <a:gd name="connsiteY4" fmla="*/ 393 h 3934"/>
              <a:gd name="connsiteX5" fmla="*/ 3934 w 3934"/>
              <a:gd name="connsiteY5" fmla="*/ 393 h 3934"/>
              <a:gd name="connsiteX6" fmla="*/ 3934 w 3934"/>
              <a:gd name="connsiteY6" fmla="*/ 0 h 3934"/>
              <a:gd name="connsiteX7" fmla="*/ 3147 w 3934"/>
              <a:gd name="connsiteY7" fmla="*/ 0 h 3934"/>
              <a:gd name="connsiteX8" fmla="*/ 3147 w 3934"/>
              <a:gd name="connsiteY8" fmla="*/ 0 h 3934"/>
              <a:gd name="connsiteX9" fmla="*/ 1967 w 3934"/>
              <a:gd name="connsiteY9" fmla="*/ 0 h 3934"/>
              <a:gd name="connsiteX10" fmla="*/ 1574 w 3934"/>
              <a:gd name="connsiteY10" fmla="*/ 0 h 3934"/>
              <a:gd name="connsiteX11" fmla="*/ 787 w 3934"/>
              <a:gd name="connsiteY11" fmla="*/ 0 h 3934"/>
              <a:gd name="connsiteX12" fmla="*/ 787 w 3934"/>
              <a:gd name="connsiteY12" fmla="*/ 393 h 3934"/>
              <a:gd name="connsiteX13" fmla="*/ 787 w 3934"/>
              <a:gd name="connsiteY13" fmla="*/ 393 h 3934"/>
              <a:gd name="connsiteX14" fmla="*/ 787 w 3934"/>
              <a:gd name="connsiteY14" fmla="*/ 787 h 3934"/>
              <a:gd name="connsiteX15" fmla="*/ 393 w 3934"/>
              <a:gd name="connsiteY15" fmla="*/ 787 h 3934"/>
              <a:gd name="connsiteX16" fmla="*/ 393 w 3934"/>
              <a:gd name="connsiteY16" fmla="*/ 787 h 3934"/>
              <a:gd name="connsiteX17" fmla="*/ 0 w 3934"/>
              <a:gd name="connsiteY17" fmla="*/ 787 h 3934"/>
              <a:gd name="connsiteX18" fmla="*/ 0 w 3934"/>
              <a:gd name="connsiteY18" fmla="*/ 1574 h 3934"/>
              <a:gd name="connsiteX19" fmla="*/ 0 w 3934"/>
              <a:gd name="connsiteY19" fmla="*/ 1967 h 3934"/>
              <a:gd name="connsiteX20" fmla="*/ 0 w 3934"/>
              <a:gd name="connsiteY20" fmla="*/ 3147 h 3934"/>
              <a:gd name="connsiteX21" fmla="*/ 0 w 3934"/>
              <a:gd name="connsiteY21" fmla="*/ 3147 h 3934"/>
              <a:gd name="connsiteX22" fmla="*/ 0 w 3934"/>
              <a:gd name="connsiteY22" fmla="*/ 3934 h 3934"/>
              <a:gd name="connsiteX23" fmla="*/ 393 w 3934"/>
              <a:gd name="connsiteY23" fmla="*/ 3934 h 3934"/>
              <a:gd name="connsiteX24" fmla="*/ 393 w 3934"/>
              <a:gd name="connsiteY24" fmla="*/ 3934 h 3934"/>
              <a:gd name="connsiteX25" fmla="*/ 787 w 3934"/>
              <a:gd name="connsiteY25" fmla="*/ 3934 h 3934"/>
              <a:gd name="connsiteX26" fmla="*/ 787 w 3934"/>
              <a:gd name="connsiteY26" fmla="*/ 4328 h 3934"/>
              <a:gd name="connsiteX27" fmla="*/ 787 w 3934"/>
              <a:gd name="connsiteY27" fmla="*/ 4328 h 3934"/>
              <a:gd name="connsiteX28" fmla="*/ 787 w 3934"/>
              <a:gd name="connsiteY28" fmla="*/ 4721 h 3934"/>
              <a:gd name="connsiteX29" fmla="*/ 1574 w 3934"/>
              <a:gd name="connsiteY29" fmla="*/ 4721 h 3934"/>
              <a:gd name="connsiteX30" fmla="*/ 1574 w 3934"/>
              <a:gd name="connsiteY30" fmla="*/ 5115 h 3934"/>
              <a:gd name="connsiteX31" fmla="*/ 3147 w 3934"/>
              <a:gd name="connsiteY31" fmla="*/ 5115 h 3934"/>
              <a:gd name="connsiteX32" fmla="*/ 3147 w 3934"/>
              <a:gd name="connsiteY32" fmla="*/ 4721 h 3934"/>
              <a:gd name="connsiteX33" fmla="*/ 3934 w 3934"/>
              <a:gd name="connsiteY33" fmla="*/ 4721 h 3934"/>
              <a:gd name="connsiteX34" fmla="*/ 3934 w 3934"/>
              <a:gd name="connsiteY34" fmla="*/ 4328 h 3934"/>
              <a:gd name="connsiteX35" fmla="*/ 3934 w 3934"/>
              <a:gd name="connsiteY35" fmla="*/ 4328 h 3934"/>
              <a:gd name="connsiteX36" fmla="*/ 4328 w 3934"/>
              <a:gd name="connsiteY36" fmla="*/ 3934 h 3934"/>
              <a:gd name="connsiteX37" fmla="*/ 4328 w 3934"/>
              <a:gd name="connsiteY37" fmla="*/ 3934 h 3934"/>
              <a:gd name="connsiteX38" fmla="*/ 4721 w 3934"/>
              <a:gd name="connsiteY38" fmla="*/ 3934 h 3934"/>
              <a:gd name="connsiteX39" fmla="*/ 4721 w 3934"/>
              <a:gd name="connsiteY39" fmla="*/ 3147 h 3934"/>
              <a:gd name="connsiteX40" fmla="*/ 5115 w 3934"/>
              <a:gd name="connsiteY40" fmla="*/ 3147 h 3934"/>
              <a:gd name="connsiteX41" fmla="*/ 5115 w 3934"/>
              <a:gd name="connsiteY41" fmla="*/ 2754 h 3934"/>
              <a:gd name="connsiteX42" fmla="*/ 5115 w 3934"/>
              <a:gd name="connsiteY42" fmla="*/ 1574 h 3934"/>
              <a:gd name="connsiteX43" fmla="*/ 4721 w 3934"/>
              <a:gd name="connsiteY43" fmla="*/ 1574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934" h="3934">
                <a:moveTo>
                  <a:pt x="4721" y="787"/>
                </a:moveTo>
                <a:lnTo>
                  <a:pt x="4328" y="787"/>
                </a:lnTo>
                <a:lnTo>
                  <a:pt x="4328" y="787"/>
                </a:lnTo>
                <a:lnTo>
                  <a:pt x="3934" y="787"/>
                </a:lnTo>
                <a:lnTo>
                  <a:pt x="3934" y="393"/>
                </a:lnTo>
                <a:lnTo>
                  <a:pt x="3934" y="393"/>
                </a:lnTo>
                <a:lnTo>
                  <a:pt x="3934" y="0"/>
                </a:lnTo>
                <a:lnTo>
                  <a:pt x="3147" y="0"/>
                </a:lnTo>
                <a:lnTo>
                  <a:pt x="3147" y="0"/>
                </a:lnTo>
                <a:lnTo>
                  <a:pt x="1967" y="0"/>
                </a:lnTo>
                <a:lnTo>
                  <a:pt x="1574" y="0"/>
                </a:lnTo>
                <a:lnTo>
                  <a:pt x="787" y="0"/>
                </a:lnTo>
                <a:lnTo>
                  <a:pt x="787" y="393"/>
                </a:lnTo>
                <a:lnTo>
                  <a:pt x="787" y="393"/>
                </a:lnTo>
                <a:lnTo>
                  <a:pt x="787" y="787"/>
                </a:lnTo>
                <a:lnTo>
                  <a:pt x="393" y="787"/>
                </a:lnTo>
                <a:lnTo>
                  <a:pt x="393" y="787"/>
                </a:lnTo>
                <a:lnTo>
                  <a:pt x="0" y="787"/>
                </a:lnTo>
                <a:lnTo>
                  <a:pt x="0" y="1574"/>
                </a:lnTo>
                <a:lnTo>
                  <a:pt x="0" y="1967"/>
                </a:lnTo>
                <a:lnTo>
                  <a:pt x="0" y="3147"/>
                </a:lnTo>
                <a:lnTo>
                  <a:pt x="0" y="3147"/>
                </a:lnTo>
                <a:lnTo>
                  <a:pt x="0" y="3934"/>
                </a:lnTo>
                <a:lnTo>
                  <a:pt x="393" y="3934"/>
                </a:lnTo>
                <a:lnTo>
                  <a:pt x="393" y="3934"/>
                </a:lnTo>
                <a:lnTo>
                  <a:pt x="787" y="3934"/>
                </a:lnTo>
                <a:lnTo>
                  <a:pt x="787" y="4328"/>
                </a:lnTo>
                <a:lnTo>
                  <a:pt x="787" y="4328"/>
                </a:lnTo>
                <a:lnTo>
                  <a:pt x="787" y="4721"/>
                </a:lnTo>
                <a:lnTo>
                  <a:pt x="1574" y="4721"/>
                </a:lnTo>
                <a:lnTo>
                  <a:pt x="1574" y="5115"/>
                </a:lnTo>
                <a:lnTo>
                  <a:pt x="3147" y="5115"/>
                </a:lnTo>
                <a:lnTo>
                  <a:pt x="3147" y="4721"/>
                </a:lnTo>
                <a:lnTo>
                  <a:pt x="3934" y="4721"/>
                </a:lnTo>
                <a:lnTo>
                  <a:pt x="3934" y="4328"/>
                </a:lnTo>
                <a:lnTo>
                  <a:pt x="3934" y="4328"/>
                </a:lnTo>
                <a:lnTo>
                  <a:pt x="4328" y="3934"/>
                </a:lnTo>
                <a:lnTo>
                  <a:pt x="4328" y="3934"/>
                </a:lnTo>
                <a:lnTo>
                  <a:pt x="4721" y="3934"/>
                </a:lnTo>
                <a:lnTo>
                  <a:pt x="4721" y="3147"/>
                </a:lnTo>
                <a:lnTo>
                  <a:pt x="5115" y="3147"/>
                </a:lnTo>
                <a:lnTo>
                  <a:pt x="5115" y="2754"/>
                </a:lnTo>
                <a:lnTo>
                  <a:pt x="5115" y="1574"/>
                </a:lnTo>
                <a:lnTo>
                  <a:pt x="4721" y="157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78" name="Freeform: Shape 4338">
            <a:extLst>
              <a:ext uri="{FF2B5EF4-FFF2-40B4-BE49-F238E27FC236}">
                <a16:creationId xmlns:a16="http://schemas.microsoft.com/office/drawing/2014/main" id="{06925427-0E3D-4C55-A657-FB45DB2C526F}"/>
              </a:ext>
            </a:extLst>
          </p:cNvPr>
          <p:cNvSpPr/>
          <p:nvPr/>
        </p:nvSpPr>
        <p:spPr>
          <a:xfrm>
            <a:off x="755569" y="3155582"/>
            <a:ext cx="3770" cy="3770"/>
          </a:xfrm>
          <a:custGeom>
            <a:avLst/>
            <a:gdLst>
              <a:gd name="connsiteX0" fmla="*/ 5115 w 3934"/>
              <a:gd name="connsiteY0" fmla="*/ 1180 h 3934"/>
              <a:gd name="connsiteX1" fmla="*/ 4721 w 3934"/>
              <a:gd name="connsiteY1" fmla="*/ 1180 h 3934"/>
              <a:gd name="connsiteX2" fmla="*/ 4721 w 3934"/>
              <a:gd name="connsiteY2" fmla="*/ 1180 h 3934"/>
              <a:gd name="connsiteX3" fmla="*/ 4328 w 3934"/>
              <a:gd name="connsiteY3" fmla="*/ 1180 h 3934"/>
              <a:gd name="connsiteX4" fmla="*/ 4328 w 3934"/>
              <a:gd name="connsiteY4" fmla="*/ 787 h 3934"/>
              <a:gd name="connsiteX5" fmla="*/ 3934 w 3934"/>
              <a:gd name="connsiteY5" fmla="*/ 787 h 3934"/>
              <a:gd name="connsiteX6" fmla="*/ 3934 w 3934"/>
              <a:gd name="connsiteY6" fmla="*/ 393 h 3934"/>
              <a:gd name="connsiteX7" fmla="*/ 3541 w 3934"/>
              <a:gd name="connsiteY7" fmla="*/ 393 h 3934"/>
              <a:gd name="connsiteX8" fmla="*/ 3541 w 3934"/>
              <a:gd name="connsiteY8" fmla="*/ 0 h 3934"/>
              <a:gd name="connsiteX9" fmla="*/ 1967 w 3934"/>
              <a:gd name="connsiteY9" fmla="*/ 0 h 3934"/>
              <a:gd name="connsiteX10" fmla="*/ 1967 w 3934"/>
              <a:gd name="connsiteY10" fmla="*/ 393 h 3934"/>
              <a:gd name="connsiteX11" fmla="*/ 1180 w 3934"/>
              <a:gd name="connsiteY11" fmla="*/ 393 h 3934"/>
              <a:gd name="connsiteX12" fmla="*/ 1180 w 3934"/>
              <a:gd name="connsiteY12" fmla="*/ 787 h 3934"/>
              <a:gd name="connsiteX13" fmla="*/ 787 w 3934"/>
              <a:gd name="connsiteY13" fmla="*/ 787 h 3934"/>
              <a:gd name="connsiteX14" fmla="*/ 787 w 3934"/>
              <a:gd name="connsiteY14" fmla="*/ 1180 h 3934"/>
              <a:gd name="connsiteX15" fmla="*/ 787 w 3934"/>
              <a:gd name="connsiteY15" fmla="*/ 1180 h 3934"/>
              <a:gd name="connsiteX16" fmla="*/ 787 w 3934"/>
              <a:gd name="connsiteY16" fmla="*/ 1180 h 3934"/>
              <a:gd name="connsiteX17" fmla="*/ 393 w 3934"/>
              <a:gd name="connsiteY17" fmla="*/ 1180 h 3934"/>
              <a:gd name="connsiteX18" fmla="*/ 393 w 3934"/>
              <a:gd name="connsiteY18" fmla="*/ 1967 h 3934"/>
              <a:gd name="connsiteX19" fmla="*/ 0 w 3934"/>
              <a:gd name="connsiteY19" fmla="*/ 1967 h 3934"/>
              <a:gd name="connsiteX20" fmla="*/ 0 w 3934"/>
              <a:gd name="connsiteY20" fmla="*/ 3541 h 3934"/>
              <a:gd name="connsiteX21" fmla="*/ 393 w 3934"/>
              <a:gd name="connsiteY21" fmla="*/ 3541 h 3934"/>
              <a:gd name="connsiteX22" fmla="*/ 393 w 3934"/>
              <a:gd name="connsiteY22" fmla="*/ 4328 h 3934"/>
              <a:gd name="connsiteX23" fmla="*/ 787 w 3934"/>
              <a:gd name="connsiteY23" fmla="*/ 4328 h 3934"/>
              <a:gd name="connsiteX24" fmla="*/ 787 w 3934"/>
              <a:gd name="connsiteY24" fmla="*/ 4328 h 3934"/>
              <a:gd name="connsiteX25" fmla="*/ 787 w 3934"/>
              <a:gd name="connsiteY25" fmla="*/ 4328 h 3934"/>
              <a:gd name="connsiteX26" fmla="*/ 787 w 3934"/>
              <a:gd name="connsiteY26" fmla="*/ 4721 h 3934"/>
              <a:gd name="connsiteX27" fmla="*/ 1180 w 3934"/>
              <a:gd name="connsiteY27" fmla="*/ 4721 h 3934"/>
              <a:gd name="connsiteX28" fmla="*/ 1180 w 3934"/>
              <a:gd name="connsiteY28" fmla="*/ 5114 h 3934"/>
              <a:gd name="connsiteX29" fmla="*/ 1967 w 3934"/>
              <a:gd name="connsiteY29" fmla="*/ 5114 h 3934"/>
              <a:gd name="connsiteX30" fmla="*/ 1967 w 3934"/>
              <a:gd name="connsiteY30" fmla="*/ 5114 h 3934"/>
              <a:gd name="connsiteX31" fmla="*/ 3541 w 3934"/>
              <a:gd name="connsiteY31" fmla="*/ 5114 h 3934"/>
              <a:gd name="connsiteX32" fmla="*/ 3541 w 3934"/>
              <a:gd name="connsiteY32" fmla="*/ 5114 h 3934"/>
              <a:gd name="connsiteX33" fmla="*/ 3934 w 3934"/>
              <a:gd name="connsiteY33" fmla="*/ 5114 h 3934"/>
              <a:gd name="connsiteX34" fmla="*/ 3934 w 3934"/>
              <a:gd name="connsiteY34" fmla="*/ 4721 h 3934"/>
              <a:gd name="connsiteX35" fmla="*/ 4328 w 3934"/>
              <a:gd name="connsiteY35" fmla="*/ 4721 h 3934"/>
              <a:gd name="connsiteX36" fmla="*/ 4721 w 3934"/>
              <a:gd name="connsiteY36" fmla="*/ 4328 h 3934"/>
              <a:gd name="connsiteX37" fmla="*/ 4721 w 3934"/>
              <a:gd name="connsiteY37" fmla="*/ 4328 h 3934"/>
              <a:gd name="connsiteX38" fmla="*/ 5115 w 3934"/>
              <a:gd name="connsiteY38" fmla="*/ 4328 h 3934"/>
              <a:gd name="connsiteX39" fmla="*/ 5115 w 3934"/>
              <a:gd name="connsiteY39" fmla="*/ 3541 h 3934"/>
              <a:gd name="connsiteX40" fmla="*/ 5115 w 3934"/>
              <a:gd name="connsiteY40" fmla="*/ 3541 h 3934"/>
              <a:gd name="connsiteX41" fmla="*/ 5115 w 3934"/>
              <a:gd name="connsiteY41" fmla="*/ 3147 h 3934"/>
              <a:gd name="connsiteX42" fmla="*/ 5115 w 3934"/>
              <a:gd name="connsiteY42" fmla="*/ 1967 h 3934"/>
              <a:gd name="connsiteX43" fmla="*/ 5115 w 3934"/>
              <a:gd name="connsiteY43" fmla="*/ 1967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934" h="3934">
                <a:moveTo>
                  <a:pt x="5115" y="1180"/>
                </a:moveTo>
                <a:lnTo>
                  <a:pt x="4721" y="1180"/>
                </a:lnTo>
                <a:lnTo>
                  <a:pt x="4721" y="1180"/>
                </a:lnTo>
                <a:lnTo>
                  <a:pt x="4328" y="1180"/>
                </a:lnTo>
                <a:lnTo>
                  <a:pt x="4328" y="787"/>
                </a:lnTo>
                <a:lnTo>
                  <a:pt x="3934" y="787"/>
                </a:lnTo>
                <a:lnTo>
                  <a:pt x="3934" y="393"/>
                </a:lnTo>
                <a:lnTo>
                  <a:pt x="3541" y="393"/>
                </a:lnTo>
                <a:lnTo>
                  <a:pt x="3541" y="0"/>
                </a:lnTo>
                <a:lnTo>
                  <a:pt x="1967" y="0"/>
                </a:lnTo>
                <a:lnTo>
                  <a:pt x="1967" y="393"/>
                </a:lnTo>
                <a:lnTo>
                  <a:pt x="1180" y="393"/>
                </a:lnTo>
                <a:lnTo>
                  <a:pt x="1180" y="787"/>
                </a:lnTo>
                <a:lnTo>
                  <a:pt x="787" y="787"/>
                </a:lnTo>
                <a:lnTo>
                  <a:pt x="787" y="1180"/>
                </a:lnTo>
                <a:lnTo>
                  <a:pt x="787" y="1180"/>
                </a:lnTo>
                <a:lnTo>
                  <a:pt x="787" y="1180"/>
                </a:lnTo>
                <a:lnTo>
                  <a:pt x="393" y="1180"/>
                </a:lnTo>
                <a:lnTo>
                  <a:pt x="393" y="1967"/>
                </a:lnTo>
                <a:lnTo>
                  <a:pt x="0" y="1967"/>
                </a:lnTo>
                <a:lnTo>
                  <a:pt x="0" y="3541"/>
                </a:lnTo>
                <a:lnTo>
                  <a:pt x="393" y="3541"/>
                </a:lnTo>
                <a:lnTo>
                  <a:pt x="393" y="4328"/>
                </a:lnTo>
                <a:lnTo>
                  <a:pt x="787" y="4328"/>
                </a:lnTo>
                <a:lnTo>
                  <a:pt x="787" y="4328"/>
                </a:lnTo>
                <a:lnTo>
                  <a:pt x="787" y="4328"/>
                </a:lnTo>
                <a:lnTo>
                  <a:pt x="787" y="4721"/>
                </a:lnTo>
                <a:lnTo>
                  <a:pt x="1180" y="4721"/>
                </a:lnTo>
                <a:lnTo>
                  <a:pt x="1180" y="5114"/>
                </a:lnTo>
                <a:lnTo>
                  <a:pt x="1967" y="5114"/>
                </a:lnTo>
                <a:lnTo>
                  <a:pt x="1967" y="5114"/>
                </a:lnTo>
                <a:lnTo>
                  <a:pt x="3541" y="5114"/>
                </a:lnTo>
                <a:lnTo>
                  <a:pt x="3541" y="5114"/>
                </a:lnTo>
                <a:lnTo>
                  <a:pt x="3934" y="5114"/>
                </a:lnTo>
                <a:lnTo>
                  <a:pt x="3934" y="4721"/>
                </a:lnTo>
                <a:lnTo>
                  <a:pt x="4328" y="4721"/>
                </a:lnTo>
                <a:lnTo>
                  <a:pt x="4721" y="4328"/>
                </a:lnTo>
                <a:lnTo>
                  <a:pt x="4721" y="4328"/>
                </a:lnTo>
                <a:lnTo>
                  <a:pt x="5115" y="4328"/>
                </a:lnTo>
                <a:lnTo>
                  <a:pt x="5115" y="3541"/>
                </a:lnTo>
                <a:lnTo>
                  <a:pt x="5115" y="3541"/>
                </a:lnTo>
                <a:lnTo>
                  <a:pt x="5115" y="3147"/>
                </a:lnTo>
                <a:lnTo>
                  <a:pt x="5115" y="1967"/>
                </a:lnTo>
                <a:lnTo>
                  <a:pt x="5115" y="196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es-X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201" name="Graphic 4">
            <a:extLst>
              <a:ext uri="{FF2B5EF4-FFF2-40B4-BE49-F238E27FC236}">
                <a16:creationId xmlns:a16="http://schemas.microsoft.com/office/drawing/2014/main" id="{087FA415-07EC-4B91-8C50-5EB1E5F1CF58}"/>
              </a:ext>
            </a:extLst>
          </p:cNvPr>
          <p:cNvGrpSpPr/>
          <p:nvPr/>
        </p:nvGrpSpPr>
        <p:grpSpPr>
          <a:xfrm>
            <a:off x="1541840" y="1436156"/>
            <a:ext cx="9524538" cy="4355043"/>
            <a:chOff x="1127024" y="1071238"/>
            <a:chExt cx="9937952" cy="4544074"/>
          </a:xfrm>
          <a:solidFill>
            <a:srgbClr val="C1C6C8"/>
          </a:solidFill>
        </p:grpSpPr>
        <p:sp>
          <p:nvSpPr>
            <p:cNvPr id="2202" name="Freeform: Shape 2196">
              <a:extLst>
                <a:ext uri="{FF2B5EF4-FFF2-40B4-BE49-F238E27FC236}">
                  <a16:creationId xmlns:a16="http://schemas.microsoft.com/office/drawing/2014/main" id="{3B7EBF91-46AF-40D8-A3B7-7135825A8792}"/>
                </a:ext>
              </a:extLst>
            </p:cNvPr>
            <p:cNvSpPr/>
            <p:nvPr/>
          </p:nvSpPr>
          <p:spPr>
            <a:xfrm>
              <a:off x="8900737" y="3525038"/>
              <a:ext cx="3934" cy="3934"/>
            </a:xfrm>
            <a:custGeom>
              <a:avLst/>
              <a:gdLst>
                <a:gd name="connsiteX0" fmla="*/ 3934 w 3934"/>
                <a:gd name="connsiteY0" fmla="*/ 3934 h 3934"/>
                <a:gd name="connsiteX1" fmla="*/ 5114 w 3934"/>
                <a:gd name="connsiteY1" fmla="*/ 1967 h 3934"/>
                <a:gd name="connsiteX2" fmla="*/ 2754 w 3934"/>
                <a:gd name="connsiteY2" fmla="*/ 0 h 3934"/>
                <a:gd name="connsiteX3" fmla="*/ 0 w 3934"/>
                <a:gd name="connsiteY3" fmla="*/ 393 h 3934"/>
                <a:gd name="connsiteX4" fmla="*/ 1967 w 3934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934" y="3934"/>
                  </a:moveTo>
                  <a:lnTo>
                    <a:pt x="5114" y="1967"/>
                  </a:lnTo>
                  <a:lnTo>
                    <a:pt x="2754" y="0"/>
                  </a:lnTo>
                  <a:lnTo>
                    <a:pt x="0" y="393"/>
                  </a:lnTo>
                  <a:lnTo>
                    <a:pt x="196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03" name="Freeform: Shape 2197">
              <a:extLst>
                <a:ext uri="{FF2B5EF4-FFF2-40B4-BE49-F238E27FC236}">
                  <a16:creationId xmlns:a16="http://schemas.microsoft.com/office/drawing/2014/main" id="{BBB301D7-AE86-4EBA-9F30-DA60342AB101}"/>
                </a:ext>
              </a:extLst>
            </p:cNvPr>
            <p:cNvSpPr/>
            <p:nvPr/>
          </p:nvSpPr>
          <p:spPr>
            <a:xfrm>
              <a:off x="8918835" y="3626542"/>
              <a:ext cx="19671" cy="15737"/>
            </a:xfrm>
            <a:custGeom>
              <a:avLst/>
              <a:gdLst>
                <a:gd name="connsiteX0" fmla="*/ 21638 w 19671"/>
                <a:gd name="connsiteY0" fmla="*/ 14950 h 15737"/>
                <a:gd name="connsiteX1" fmla="*/ 16130 w 19671"/>
                <a:gd name="connsiteY1" fmla="*/ 10229 h 15737"/>
                <a:gd name="connsiteX2" fmla="*/ 14557 w 19671"/>
                <a:gd name="connsiteY2" fmla="*/ 8655 h 15737"/>
                <a:gd name="connsiteX3" fmla="*/ 12983 w 19671"/>
                <a:gd name="connsiteY3" fmla="*/ 8655 h 15737"/>
                <a:gd name="connsiteX4" fmla="*/ 11803 w 19671"/>
                <a:gd name="connsiteY4" fmla="*/ 7475 h 15737"/>
                <a:gd name="connsiteX5" fmla="*/ 11409 w 19671"/>
                <a:gd name="connsiteY5" fmla="*/ 8655 h 15737"/>
                <a:gd name="connsiteX6" fmla="*/ 11409 w 19671"/>
                <a:gd name="connsiteY6" fmla="*/ 7475 h 15737"/>
                <a:gd name="connsiteX7" fmla="*/ 11409 w 19671"/>
                <a:gd name="connsiteY7" fmla="*/ 7475 h 15737"/>
                <a:gd name="connsiteX8" fmla="*/ 11409 w 19671"/>
                <a:gd name="connsiteY8" fmla="*/ 6295 h 15737"/>
                <a:gd name="connsiteX9" fmla="*/ 11409 w 19671"/>
                <a:gd name="connsiteY9" fmla="*/ 5508 h 15737"/>
                <a:gd name="connsiteX10" fmla="*/ 9049 w 19671"/>
                <a:gd name="connsiteY10" fmla="*/ 5114 h 15737"/>
                <a:gd name="connsiteX11" fmla="*/ 8262 w 19671"/>
                <a:gd name="connsiteY11" fmla="*/ 4721 h 15737"/>
                <a:gd name="connsiteX12" fmla="*/ 8655 w 19671"/>
                <a:gd name="connsiteY12" fmla="*/ 5114 h 15737"/>
                <a:gd name="connsiteX13" fmla="*/ 8655 w 19671"/>
                <a:gd name="connsiteY13" fmla="*/ 5114 h 15737"/>
                <a:gd name="connsiteX14" fmla="*/ 5901 w 19671"/>
                <a:gd name="connsiteY14" fmla="*/ 2360 h 15737"/>
                <a:gd name="connsiteX15" fmla="*/ 3148 w 19671"/>
                <a:gd name="connsiteY15" fmla="*/ 0 h 15737"/>
                <a:gd name="connsiteX16" fmla="*/ 0 w 19671"/>
                <a:gd name="connsiteY16" fmla="*/ 2754 h 15737"/>
                <a:gd name="connsiteX17" fmla="*/ 393 w 19671"/>
                <a:gd name="connsiteY17" fmla="*/ 5508 h 15737"/>
                <a:gd name="connsiteX18" fmla="*/ 2360 w 19671"/>
                <a:gd name="connsiteY18" fmla="*/ 8262 h 15737"/>
                <a:gd name="connsiteX19" fmla="*/ 5115 w 19671"/>
                <a:gd name="connsiteY19" fmla="*/ 10229 h 15737"/>
                <a:gd name="connsiteX20" fmla="*/ 7869 w 19671"/>
                <a:gd name="connsiteY20" fmla="*/ 10623 h 15737"/>
                <a:gd name="connsiteX21" fmla="*/ 8262 w 19671"/>
                <a:gd name="connsiteY21" fmla="*/ 10623 h 15737"/>
                <a:gd name="connsiteX22" fmla="*/ 18098 w 19671"/>
                <a:gd name="connsiteY22" fmla="*/ 18098 h 15737"/>
                <a:gd name="connsiteX23" fmla="*/ 14557 w 19671"/>
                <a:gd name="connsiteY23" fmla="*/ 14557 h 15737"/>
                <a:gd name="connsiteX24" fmla="*/ 16524 w 19671"/>
                <a:gd name="connsiteY24" fmla="*/ 15737 h 15737"/>
                <a:gd name="connsiteX25" fmla="*/ 18098 w 19671"/>
                <a:gd name="connsiteY25" fmla="*/ 18098 h 15737"/>
                <a:gd name="connsiteX26" fmla="*/ 20852 w 19671"/>
                <a:gd name="connsiteY26" fmla="*/ 19278 h 15737"/>
                <a:gd name="connsiteX27" fmla="*/ 23212 w 19671"/>
                <a:gd name="connsiteY27" fmla="*/ 18491 h 15737"/>
                <a:gd name="connsiteX28" fmla="*/ 22425 w 19671"/>
                <a:gd name="connsiteY28" fmla="*/ 15344 h 15737"/>
                <a:gd name="connsiteX29" fmla="*/ 21638 w 19671"/>
                <a:gd name="connsiteY29" fmla="*/ 14950 h 15737"/>
                <a:gd name="connsiteX30" fmla="*/ 9049 w 19671"/>
                <a:gd name="connsiteY30" fmla="*/ 10623 h 15737"/>
                <a:gd name="connsiteX31" fmla="*/ 11409 w 19671"/>
                <a:gd name="connsiteY31" fmla="*/ 11409 h 15737"/>
                <a:gd name="connsiteX32" fmla="*/ 12983 w 19671"/>
                <a:gd name="connsiteY32" fmla="*/ 12590 h 15737"/>
                <a:gd name="connsiteX33" fmla="*/ 9049 w 19671"/>
                <a:gd name="connsiteY33" fmla="*/ 10623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9671" h="15737">
                  <a:moveTo>
                    <a:pt x="21638" y="14950"/>
                  </a:moveTo>
                  <a:cubicBezTo>
                    <a:pt x="20065" y="12983"/>
                    <a:pt x="18098" y="11409"/>
                    <a:pt x="16130" y="10229"/>
                  </a:cubicBezTo>
                  <a:lnTo>
                    <a:pt x="14557" y="8655"/>
                  </a:lnTo>
                  <a:lnTo>
                    <a:pt x="12983" y="8655"/>
                  </a:lnTo>
                  <a:lnTo>
                    <a:pt x="11803" y="7475"/>
                  </a:lnTo>
                  <a:cubicBezTo>
                    <a:pt x="11803" y="7869"/>
                    <a:pt x="11803" y="8262"/>
                    <a:pt x="11409" y="8655"/>
                  </a:cubicBezTo>
                  <a:lnTo>
                    <a:pt x="11409" y="7475"/>
                  </a:lnTo>
                  <a:lnTo>
                    <a:pt x="11409" y="7475"/>
                  </a:lnTo>
                  <a:cubicBezTo>
                    <a:pt x="11409" y="6688"/>
                    <a:pt x="11409" y="6295"/>
                    <a:pt x="11409" y="6295"/>
                  </a:cubicBezTo>
                  <a:lnTo>
                    <a:pt x="11409" y="5508"/>
                  </a:lnTo>
                  <a:lnTo>
                    <a:pt x="9049" y="5114"/>
                  </a:lnTo>
                  <a:cubicBezTo>
                    <a:pt x="8655" y="5114"/>
                    <a:pt x="8655" y="4721"/>
                    <a:pt x="8262" y="4721"/>
                  </a:cubicBezTo>
                  <a:lnTo>
                    <a:pt x="8655" y="5114"/>
                  </a:lnTo>
                  <a:lnTo>
                    <a:pt x="8655" y="5114"/>
                  </a:lnTo>
                  <a:lnTo>
                    <a:pt x="5901" y="2360"/>
                  </a:lnTo>
                  <a:lnTo>
                    <a:pt x="3148" y="0"/>
                  </a:lnTo>
                  <a:lnTo>
                    <a:pt x="0" y="2754"/>
                  </a:lnTo>
                  <a:lnTo>
                    <a:pt x="393" y="5508"/>
                  </a:lnTo>
                  <a:lnTo>
                    <a:pt x="2360" y="8262"/>
                  </a:lnTo>
                  <a:lnTo>
                    <a:pt x="5115" y="10229"/>
                  </a:lnTo>
                  <a:lnTo>
                    <a:pt x="7869" y="10623"/>
                  </a:lnTo>
                  <a:lnTo>
                    <a:pt x="8262" y="10623"/>
                  </a:lnTo>
                  <a:lnTo>
                    <a:pt x="18098" y="18098"/>
                  </a:lnTo>
                  <a:cubicBezTo>
                    <a:pt x="16918" y="16917"/>
                    <a:pt x="15737" y="15737"/>
                    <a:pt x="14557" y="14557"/>
                  </a:cubicBezTo>
                  <a:lnTo>
                    <a:pt x="16524" y="15737"/>
                  </a:lnTo>
                  <a:lnTo>
                    <a:pt x="18098" y="18098"/>
                  </a:lnTo>
                  <a:lnTo>
                    <a:pt x="20852" y="19278"/>
                  </a:lnTo>
                  <a:lnTo>
                    <a:pt x="23212" y="18491"/>
                  </a:lnTo>
                  <a:lnTo>
                    <a:pt x="22425" y="15344"/>
                  </a:lnTo>
                  <a:lnTo>
                    <a:pt x="21638" y="14950"/>
                  </a:lnTo>
                  <a:close/>
                  <a:moveTo>
                    <a:pt x="9049" y="10623"/>
                  </a:moveTo>
                  <a:lnTo>
                    <a:pt x="11409" y="11409"/>
                  </a:lnTo>
                  <a:lnTo>
                    <a:pt x="12983" y="12590"/>
                  </a:lnTo>
                  <a:cubicBezTo>
                    <a:pt x="11409" y="12196"/>
                    <a:pt x="10229" y="11409"/>
                    <a:pt x="9049" y="10623"/>
                  </a:cubicBez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04" name="Freeform: Shape 2198">
              <a:extLst>
                <a:ext uri="{FF2B5EF4-FFF2-40B4-BE49-F238E27FC236}">
                  <a16:creationId xmlns:a16="http://schemas.microsoft.com/office/drawing/2014/main" id="{FDD4B929-B004-4056-AC80-7FAED78E7D2B}"/>
                </a:ext>
              </a:extLst>
            </p:cNvPr>
            <p:cNvSpPr/>
            <p:nvPr/>
          </p:nvSpPr>
          <p:spPr>
            <a:xfrm>
              <a:off x="9004602" y="3719390"/>
              <a:ext cx="7869" cy="3934"/>
            </a:xfrm>
            <a:custGeom>
              <a:avLst/>
              <a:gdLst>
                <a:gd name="connsiteX0" fmla="*/ 5508 w 7868"/>
                <a:gd name="connsiteY0" fmla="*/ 3541 h 0"/>
                <a:gd name="connsiteX1" fmla="*/ 8655 w 7868"/>
                <a:gd name="connsiteY1" fmla="*/ 3148 h 0"/>
                <a:gd name="connsiteX2" fmla="*/ 8655 w 7868"/>
                <a:gd name="connsiteY2" fmla="*/ 1180 h 0"/>
                <a:gd name="connsiteX3" fmla="*/ 5508 w 7868"/>
                <a:gd name="connsiteY3" fmla="*/ 787 h 0"/>
                <a:gd name="connsiteX4" fmla="*/ 2754 w 7868"/>
                <a:gd name="connsiteY4" fmla="*/ 0 h 0"/>
                <a:gd name="connsiteX5" fmla="*/ 0 w 7868"/>
                <a:gd name="connsiteY5" fmla="*/ 1967 h 0"/>
                <a:gd name="connsiteX6" fmla="*/ 2754 w 7868"/>
                <a:gd name="connsiteY6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5508" y="3541"/>
                  </a:moveTo>
                  <a:lnTo>
                    <a:pt x="8655" y="3148"/>
                  </a:lnTo>
                  <a:lnTo>
                    <a:pt x="8655" y="1180"/>
                  </a:lnTo>
                  <a:lnTo>
                    <a:pt x="5508" y="787"/>
                  </a:lnTo>
                  <a:lnTo>
                    <a:pt x="2754" y="0"/>
                  </a:lnTo>
                  <a:lnTo>
                    <a:pt x="0" y="1967"/>
                  </a:lnTo>
                  <a:lnTo>
                    <a:pt x="2754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05" name="Freeform: Shape 2199">
              <a:extLst>
                <a:ext uri="{FF2B5EF4-FFF2-40B4-BE49-F238E27FC236}">
                  <a16:creationId xmlns:a16="http://schemas.microsoft.com/office/drawing/2014/main" id="{39F597EE-97DF-4D8E-9FEE-3B066AACAFC4}"/>
                </a:ext>
              </a:extLst>
            </p:cNvPr>
            <p:cNvSpPr/>
            <p:nvPr/>
          </p:nvSpPr>
          <p:spPr>
            <a:xfrm>
              <a:off x="9324064" y="3728046"/>
              <a:ext cx="3934" cy="3934"/>
            </a:xfrm>
            <a:custGeom>
              <a:avLst/>
              <a:gdLst>
                <a:gd name="connsiteX0" fmla="*/ 0 w 0"/>
                <a:gd name="connsiteY0" fmla="*/ 394 h 0"/>
                <a:gd name="connsiteX1" fmla="*/ 787 w 0"/>
                <a:gd name="connsiteY1" fmla="*/ 3147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4"/>
                  </a:moveTo>
                  <a:lnTo>
                    <a:pt x="787" y="3147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06" name="Freeform: Shape 2200">
              <a:extLst>
                <a:ext uri="{FF2B5EF4-FFF2-40B4-BE49-F238E27FC236}">
                  <a16:creationId xmlns:a16="http://schemas.microsoft.com/office/drawing/2014/main" id="{12887E97-3A39-4D64-B933-8414AAE17D2D}"/>
                </a:ext>
              </a:extLst>
            </p:cNvPr>
            <p:cNvSpPr/>
            <p:nvPr/>
          </p:nvSpPr>
          <p:spPr>
            <a:xfrm>
              <a:off x="9471599" y="3966069"/>
              <a:ext cx="3934" cy="3934"/>
            </a:xfrm>
            <a:custGeom>
              <a:avLst/>
              <a:gdLst>
                <a:gd name="connsiteX0" fmla="*/ 3148 w 0"/>
                <a:gd name="connsiteY0" fmla="*/ 3147 h 0"/>
                <a:gd name="connsiteX1" fmla="*/ 394 w 0"/>
                <a:gd name="connsiteY1" fmla="*/ 0 h 0"/>
                <a:gd name="connsiteX2" fmla="*/ 0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3147"/>
                  </a:moveTo>
                  <a:lnTo>
                    <a:pt x="394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07" name="Freeform: Shape 2201">
              <a:extLst>
                <a:ext uri="{FF2B5EF4-FFF2-40B4-BE49-F238E27FC236}">
                  <a16:creationId xmlns:a16="http://schemas.microsoft.com/office/drawing/2014/main" id="{ACF8D4C6-86CC-4E58-B545-80E5F35D5983}"/>
                </a:ext>
              </a:extLst>
            </p:cNvPr>
            <p:cNvSpPr/>
            <p:nvPr/>
          </p:nvSpPr>
          <p:spPr>
            <a:xfrm>
              <a:off x="9477500" y="3968430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787 h 0"/>
                <a:gd name="connsiteX2" fmla="*/ 3148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787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08" name="Freeform: Shape 2202">
              <a:extLst>
                <a:ext uri="{FF2B5EF4-FFF2-40B4-BE49-F238E27FC236}">
                  <a16:creationId xmlns:a16="http://schemas.microsoft.com/office/drawing/2014/main" id="{0D7D67AB-351F-4077-9D66-3A51AA3A55AD}"/>
                </a:ext>
              </a:extLst>
            </p:cNvPr>
            <p:cNvSpPr/>
            <p:nvPr/>
          </p:nvSpPr>
          <p:spPr>
            <a:xfrm>
              <a:off x="9575857" y="3738275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787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78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09" name="Freeform: Shape 2203">
              <a:extLst>
                <a:ext uri="{FF2B5EF4-FFF2-40B4-BE49-F238E27FC236}">
                  <a16:creationId xmlns:a16="http://schemas.microsoft.com/office/drawing/2014/main" id="{7212D963-5D81-4216-8678-541F78911E1B}"/>
                </a:ext>
              </a:extLst>
            </p:cNvPr>
            <p:cNvSpPr/>
            <p:nvPr/>
          </p:nvSpPr>
          <p:spPr>
            <a:xfrm>
              <a:off x="9604970" y="4043181"/>
              <a:ext cx="55080" cy="31474"/>
            </a:xfrm>
            <a:custGeom>
              <a:avLst/>
              <a:gdLst>
                <a:gd name="connsiteX0" fmla="*/ 2361 w 55079"/>
                <a:gd name="connsiteY0" fmla="*/ 11803 h 31474"/>
                <a:gd name="connsiteX1" fmla="*/ 5115 w 55079"/>
                <a:gd name="connsiteY1" fmla="*/ 13770 h 31474"/>
                <a:gd name="connsiteX2" fmla="*/ 29507 w 55079"/>
                <a:gd name="connsiteY2" fmla="*/ 22819 h 31474"/>
                <a:gd name="connsiteX3" fmla="*/ 30295 w 55079"/>
                <a:gd name="connsiteY3" fmla="*/ 23999 h 31474"/>
                <a:gd name="connsiteX4" fmla="*/ 31081 w 55079"/>
                <a:gd name="connsiteY4" fmla="*/ 26753 h 31474"/>
                <a:gd name="connsiteX5" fmla="*/ 33835 w 55079"/>
                <a:gd name="connsiteY5" fmla="*/ 29113 h 31474"/>
                <a:gd name="connsiteX6" fmla="*/ 36589 w 55079"/>
                <a:gd name="connsiteY6" fmla="*/ 31081 h 31474"/>
                <a:gd name="connsiteX7" fmla="*/ 39736 w 55079"/>
                <a:gd name="connsiteY7" fmla="*/ 31474 h 31474"/>
                <a:gd name="connsiteX8" fmla="*/ 42490 w 55079"/>
                <a:gd name="connsiteY8" fmla="*/ 33441 h 31474"/>
                <a:gd name="connsiteX9" fmla="*/ 45638 w 55079"/>
                <a:gd name="connsiteY9" fmla="*/ 31081 h 31474"/>
                <a:gd name="connsiteX10" fmla="*/ 48785 w 55079"/>
                <a:gd name="connsiteY10" fmla="*/ 31081 h 31474"/>
                <a:gd name="connsiteX11" fmla="*/ 51539 w 55079"/>
                <a:gd name="connsiteY11" fmla="*/ 29900 h 31474"/>
                <a:gd name="connsiteX12" fmla="*/ 53900 w 55079"/>
                <a:gd name="connsiteY12" fmla="*/ 26753 h 31474"/>
                <a:gd name="connsiteX13" fmla="*/ 55080 w 55079"/>
                <a:gd name="connsiteY13" fmla="*/ 23999 h 31474"/>
                <a:gd name="connsiteX14" fmla="*/ 55080 w 55079"/>
                <a:gd name="connsiteY14" fmla="*/ 22819 h 31474"/>
                <a:gd name="connsiteX15" fmla="*/ 50753 w 55079"/>
                <a:gd name="connsiteY15" fmla="*/ 18884 h 31474"/>
                <a:gd name="connsiteX16" fmla="*/ 49572 w 55079"/>
                <a:gd name="connsiteY16" fmla="*/ 16917 h 31474"/>
                <a:gd name="connsiteX17" fmla="*/ 48785 w 55079"/>
                <a:gd name="connsiteY17" fmla="*/ 14163 h 31474"/>
                <a:gd name="connsiteX18" fmla="*/ 46032 w 55079"/>
                <a:gd name="connsiteY18" fmla="*/ 12196 h 31474"/>
                <a:gd name="connsiteX19" fmla="*/ 43277 w 55079"/>
                <a:gd name="connsiteY19" fmla="*/ 10622 h 31474"/>
                <a:gd name="connsiteX20" fmla="*/ 42490 w 55079"/>
                <a:gd name="connsiteY20" fmla="*/ 10622 h 31474"/>
                <a:gd name="connsiteX21" fmla="*/ 38556 w 55079"/>
                <a:gd name="connsiteY21" fmla="*/ 6688 h 31474"/>
                <a:gd name="connsiteX22" fmla="*/ 37769 w 55079"/>
                <a:gd name="connsiteY22" fmla="*/ 5114 h 31474"/>
                <a:gd name="connsiteX23" fmla="*/ 36589 w 55079"/>
                <a:gd name="connsiteY23" fmla="*/ 5114 h 31474"/>
                <a:gd name="connsiteX24" fmla="*/ 32262 w 55079"/>
                <a:gd name="connsiteY24" fmla="*/ 787 h 31474"/>
                <a:gd name="connsiteX25" fmla="*/ 29507 w 55079"/>
                <a:gd name="connsiteY25" fmla="*/ 0 h 31474"/>
                <a:gd name="connsiteX26" fmla="*/ 26753 w 55079"/>
                <a:gd name="connsiteY26" fmla="*/ 1967 h 31474"/>
                <a:gd name="connsiteX27" fmla="*/ 25573 w 55079"/>
                <a:gd name="connsiteY27" fmla="*/ 1967 h 31474"/>
                <a:gd name="connsiteX28" fmla="*/ 23606 w 55079"/>
                <a:gd name="connsiteY28" fmla="*/ 1967 h 31474"/>
                <a:gd name="connsiteX29" fmla="*/ 20459 w 55079"/>
                <a:gd name="connsiteY29" fmla="*/ 393 h 31474"/>
                <a:gd name="connsiteX30" fmla="*/ 17704 w 55079"/>
                <a:gd name="connsiteY30" fmla="*/ 1967 h 31474"/>
                <a:gd name="connsiteX31" fmla="*/ 14558 w 55079"/>
                <a:gd name="connsiteY31" fmla="*/ 1180 h 31474"/>
                <a:gd name="connsiteX32" fmla="*/ 11803 w 55079"/>
                <a:gd name="connsiteY32" fmla="*/ 1574 h 31474"/>
                <a:gd name="connsiteX33" fmla="*/ 9049 w 55079"/>
                <a:gd name="connsiteY33" fmla="*/ 1967 h 31474"/>
                <a:gd name="connsiteX34" fmla="*/ 6295 w 55079"/>
                <a:gd name="connsiteY34" fmla="*/ 2360 h 31474"/>
                <a:gd name="connsiteX35" fmla="*/ 3148 w 55079"/>
                <a:gd name="connsiteY35" fmla="*/ 3541 h 31474"/>
                <a:gd name="connsiteX36" fmla="*/ 394 w 55079"/>
                <a:gd name="connsiteY36" fmla="*/ 6295 h 31474"/>
                <a:gd name="connsiteX37" fmla="*/ 0 w 55079"/>
                <a:gd name="connsiteY37" fmla="*/ 7082 h 31474"/>
                <a:gd name="connsiteX38" fmla="*/ 1180 w 55079"/>
                <a:gd name="connsiteY38" fmla="*/ 9442 h 3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5079" h="31474">
                  <a:moveTo>
                    <a:pt x="2361" y="11803"/>
                  </a:moveTo>
                  <a:lnTo>
                    <a:pt x="5115" y="13770"/>
                  </a:lnTo>
                  <a:lnTo>
                    <a:pt x="29507" y="22819"/>
                  </a:lnTo>
                  <a:lnTo>
                    <a:pt x="30295" y="23999"/>
                  </a:lnTo>
                  <a:lnTo>
                    <a:pt x="31081" y="26753"/>
                  </a:lnTo>
                  <a:lnTo>
                    <a:pt x="33835" y="29113"/>
                  </a:lnTo>
                  <a:lnTo>
                    <a:pt x="36589" y="31081"/>
                  </a:lnTo>
                  <a:lnTo>
                    <a:pt x="39736" y="31474"/>
                  </a:lnTo>
                  <a:lnTo>
                    <a:pt x="42490" y="33441"/>
                  </a:lnTo>
                  <a:lnTo>
                    <a:pt x="45638" y="31081"/>
                  </a:lnTo>
                  <a:lnTo>
                    <a:pt x="48785" y="31081"/>
                  </a:lnTo>
                  <a:lnTo>
                    <a:pt x="51539" y="29900"/>
                  </a:lnTo>
                  <a:lnTo>
                    <a:pt x="53900" y="26753"/>
                  </a:lnTo>
                  <a:lnTo>
                    <a:pt x="55080" y="23999"/>
                  </a:lnTo>
                  <a:lnTo>
                    <a:pt x="55080" y="22819"/>
                  </a:lnTo>
                  <a:lnTo>
                    <a:pt x="50753" y="18884"/>
                  </a:lnTo>
                  <a:lnTo>
                    <a:pt x="49572" y="16917"/>
                  </a:lnTo>
                  <a:lnTo>
                    <a:pt x="48785" y="14163"/>
                  </a:lnTo>
                  <a:lnTo>
                    <a:pt x="46032" y="12196"/>
                  </a:lnTo>
                  <a:lnTo>
                    <a:pt x="43277" y="10622"/>
                  </a:lnTo>
                  <a:lnTo>
                    <a:pt x="42490" y="10622"/>
                  </a:lnTo>
                  <a:lnTo>
                    <a:pt x="38556" y="6688"/>
                  </a:lnTo>
                  <a:lnTo>
                    <a:pt x="37769" y="5114"/>
                  </a:lnTo>
                  <a:lnTo>
                    <a:pt x="36589" y="5114"/>
                  </a:lnTo>
                  <a:lnTo>
                    <a:pt x="32262" y="787"/>
                  </a:lnTo>
                  <a:lnTo>
                    <a:pt x="29507" y="0"/>
                  </a:lnTo>
                  <a:lnTo>
                    <a:pt x="26753" y="1967"/>
                  </a:lnTo>
                  <a:lnTo>
                    <a:pt x="25573" y="1967"/>
                  </a:lnTo>
                  <a:lnTo>
                    <a:pt x="23606" y="1967"/>
                  </a:lnTo>
                  <a:lnTo>
                    <a:pt x="20459" y="393"/>
                  </a:lnTo>
                  <a:lnTo>
                    <a:pt x="17704" y="1967"/>
                  </a:lnTo>
                  <a:lnTo>
                    <a:pt x="14558" y="1180"/>
                  </a:lnTo>
                  <a:lnTo>
                    <a:pt x="11803" y="1574"/>
                  </a:lnTo>
                  <a:lnTo>
                    <a:pt x="9049" y="1967"/>
                  </a:lnTo>
                  <a:lnTo>
                    <a:pt x="6295" y="2360"/>
                  </a:lnTo>
                  <a:lnTo>
                    <a:pt x="3148" y="3541"/>
                  </a:lnTo>
                  <a:lnTo>
                    <a:pt x="394" y="6295"/>
                  </a:lnTo>
                  <a:lnTo>
                    <a:pt x="0" y="7082"/>
                  </a:lnTo>
                  <a:lnTo>
                    <a:pt x="1180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10" name="Freeform: Shape 2204">
              <a:extLst>
                <a:ext uri="{FF2B5EF4-FFF2-40B4-BE49-F238E27FC236}">
                  <a16:creationId xmlns:a16="http://schemas.microsoft.com/office/drawing/2014/main" id="{6573133C-E1CB-433B-B277-146BEEC54E1C}"/>
                </a:ext>
              </a:extLst>
            </p:cNvPr>
            <p:cNvSpPr/>
            <p:nvPr/>
          </p:nvSpPr>
          <p:spPr>
            <a:xfrm>
              <a:off x="9679328" y="4086064"/>
              <a:ext cx="3934" cy="3934"/>
            </a:xfrm>
            <a:custGeom>
              <a:avLst/>
              <a:gdLst>
                <a:gd name="connsiteX0" fmla="*/ 0 w 0"/>
                <a:gd name="connsiteY0" fmla="*/ 1574 h 0"/>
                <a:gd name="connsiteX1" fmla="*/ 2754 w 0"/>
                <a:gd name="connsiteY1" fmla="*/ 0 h 0"/>
                <a:gd name="connsiteX2" fmla="*/ 0 w 0"/>
                <a:gd name="connsiteY2" fmla="*/ 3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574"/>
                  </a:moveTo>
                  <a:lnTo>
                    <a:pt x="2754" y="0"/>
                  </a:lnTo>
                  <a:lnTo>
                    <a:pt x="0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11" name="Freeform: Shape 2205">
              <a:extLst>
                <a:ext uri="{FF2B5EF4-FFF2-40B4-BE49-F238E27FC236}">
                  <a16:creationId xmlns:a16="http://schemas.microsoft.com/office/drawing/2014/main" id="{36B19C42-3E4B-4BCB-AA00-3999F98AFBEA}"/>
                </a:ext>
              </a:extLst>
            </p:cNvPr>
            <p:cNvSpPr/>
            <p:nvPr/>
          </p:nvSpPr>
          <p:spPr>
            <a:xfrm>
              <a:off x="9748965" y="3766602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0 h 0"/>
                <a:gd name="connsiteX2" fmla="*/ 78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0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12" name="Freeform: Shape 2206">
              <a:extLst>
                <a:ext uri="{FF2B5EF4-FFF2-40B4-BE49-F238E27FC236}">
                  <a16:creationId xmlns:a16="http://schemas.microsoft.com/office/drawing/2014/main" id="{00839985-8095-4F15-BB69-477F87505AE9}"/>
                </a:ext>
              </a:extLst>
            </p:cNvPr>
            <p:cNvSpPr/>
            <p:nvPr/>
          </p:nvSpPr>
          <p:spPr>
            <a:xfrm>
              <a:off x="9826077" y="3792568"/>
              <a:ext cx="3934" cy="15737"/>
            </a:xfrm>
            <a:custGeom>
              <a:avLst/>
              <a:gdLst>
                <a:gd name="connsiteX0" fmla="*/ 6294 w 3934"/>
                <a:gd name="connsiteY0" fmla="*/ 15343 h 15737"/>
                <a:gd name="connsiteX1" fmla="*/ 6294 w 3934"/>
                <a:gd name="connsiteY1" fmla="*/ 14950 h 15737"/>
                <a:gd name="connsiteX2" fmla="*/ 5901 w 3934"/>
                <a:gd name="connsiteY2" fmla="*/ 14557 h 15737"/>
                <a:gd name="connsiteX3" fmla="*/ 3540 w 3934"/>
                <a:gd name="connsiteY3" fmla="*/ 4328 h 15737"/>
                <a:gd name="connsiteX4" fmla="*/ 3934 w 3934"/>
                <a:gd name="connsiteY4" fmla="*/ 3541 h 15737"/>
                <a:gd name="connsiteX5" fmla="*/ 2754 w 3934"/>
                <a:gd name="connsiteY5" fmla="*/ 393 h 15737"/>
                <a:gd name="connsiteX6" fmla="*/ 1967 w 3934"/>
                <a:gd name="connsiteY6" fmla="*/ 0 h 15737"/>
                <a:gd name="connsiteX7" fmla="*/ 0 w 3934"/>
                <a:gd name="connsiteY7" fmla="*/ 2754 h 15737"/>
                <a:gd name="connsiteX8" fmla="*/ 787 w 3934"/>
                <a:gd name="connsiteY8" fmla="*/ 5901 h 15737"/>
                <a:gd name="connsiteX9" fmla="*/ 1180 w 3934"/>
                <a:gd name="connsiteY9" fmla="*/ 8655 h 15737"/>
                <a:gd name="connsiteX10" fmla="*/ 2754 w 3934"/>
                <a:gd name="connsiteY10" fmla="*/ 11803 h 15737"/>
                <a:gd name="connsiteX11" fmla="*/ 2754 w 3934"/>
                <a:gd name="connsiteY11" fmla="*/ 14950 h 15737"/>
                <a:gd name="connsiteX12" fmla="*/ 5508 w 3934"/>
                <a:gd name="connsiteY12" fmla="*/ 17704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34" h="15737">
                  <a:moveTo>
                    <a:pt x="6294" y="15343"/>
                  </a:moveTo>
                  <a:lnTo>
                    <a:pt x="6294" y="14950"/>
                  </a:lnTo>
                  <a:lnTo>
                    <a:pt x="5901" y="14557"/>
                  </a:lnTo>
                  <a:lnTo>
                    <a:pt x="3540" y="4328"/>
                  </a:lnTo>
                  <a:lnTo>
                    <a:pt x="3934" y="3541"/>
                  </a:lnTo>
                  <a:lnTo>
                    <a:pt x="2754" y="393"/>
                  </a:lnTo>
                  <a:lnTo>
                    <a:pt x="1967" y="0"/>
                  </a:lnTo>
                  <a:lnTo>
                    <a:pt x="0" y="2754"/>
                  </a:lnTo>
                  <a:lnTo>
                    <a:pt x="787" y="5901"/>
                  </a:lnTo>
                  <a:lnTo>
                    <a:pt x="1180" y="8655"/>
                  </a:lnTo>
                  <a:lnTo>
                    <a:pt x="2754" y="11803"/>
                  </a:lnTo>
                  <a:lnTo>
                    <a:pt x="2754" y="14950"/>
                  </a:lnTo>
                  <a:lnTo>
                    <a:pt x="5508" y="1770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13" name="Freeform: Shape 2207">
              <a:extLst>
                <a:ext uri="{FF2B5EF4-FFF2-40B4-BE49-F238E27FC236}">
                  <a16:creationId xmlns:a16="http://schemas.microsoft.com/office/drawing/2014/main" id="{3A9A963D-A610-4F76-ADFB-8658A7BE11F3}"/>
                </a:ext>
              </a:extLst>
            </p:cNvPr>
            <p:cNvSpPr/>
            <p:nvPr/>
          </p:nvSpPr>
          <p:spPr>
            <a:xfrm>
              <a:off x="9954333" y="3725292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787 w 0"/>
                <a:gd name="connsiteY1" fmla="*/ 0 h 0"/>
                <a:gd name="connsiteX2" fmla="*/ 0 w 0"/>
                <a:gd name="connsiteY2" fmla="*/ 394 h 0"/>
                <a:gd name="connsiteX3" fmla="*/ 1574 w 0"/>
                <a:gd name="connsiteY3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787" y="0"/>
                  </a:lnTo>
                  <a:lnTo>
                    <a:pt x="0" y="394"/>
                  </a:lnTo>
                  <a:lnTo>
                    <a:pt x="1574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14" name="Freeform: Shape 2208">
              <a:extLst>
                <a:ext uri="{FF2B5EF4-FFF2-40B4-BE49-F238E27FC236}">
                  <a16:creationId xmlns:a16="http://schemas.microsoft.com/office/drawing/2014/main" id="{6635C47C-65CD-4ABB-A5EF-7CD37B7A7C11}"/>
                </a:ext>
              </a:extLst>
            </p:cNvPr>
            <p:cNvSpPr/>
            <p:nvPr/>
          </p:nvSpPr>
          <p:spPr>
            <a:xfrm>
              <a:off x="9964562" y="3751651"/>
              <a:ext cx="11803" cy="3934"/>
            </a:xfrm>
            <a:custGeom>
              <a:avLst/>
              <a:gdLst>
                <a:gd name="connsiteX0" fmla="*/ 1180 w 11802"/>
                <a:gd name="connsiteY0" fmla="*/ 1967 h 3934"/>
                <a:gd name="connsiteX1" fmla="*/ 0 w 11802"/>
                <a:gd name="connsiteY1" fmla="*/ 1967 h 3934"/>
                <a:gd name="connsiteX2" fmla="*/ 0 w 11802"/>
                <a:gd name="connsiteY2" fmla="*/ 2361 h 3934"/>
                <a:gd name="connsiteX3" fmla="*/ 393 w 11802"/>
                <a:gd name="connsiteY3" fmla="*/ 5114 h 3934"/>
                <a:gd name="connsiteX4" fmla="*/ 3540 w 11802"/>
                <a:gd name="connsiteY4" fmla="*/ 5114 h 3934"/>
                <a:gd name="connsiteX5" fmla="*/ 6294 w 11802"/>
                <a:gd name="connsiteY5" fmla="*/ 4721 h 3934"/>
                <a:gd name="connsiteX6" fmla="*/ 9049 w 11802"/>
                <a:gd name="connsiteY6" fmla="*/ 3934 h 3934"/>
                <a:gd name="connsiteX7" fmla="*/ 11803 w 11802"/>
                <a:gd name="connsiteY7" fmla="*/ 3147 h 3934"/>
                <a:gd name="connsiteX8" fmla="*/ 11803 w 11802"/>
                <a:gd name="connsiteY8" fmla="*/ 0 h 3934"/>
                <a:gd name="connsiteX9" fmla="*/ 3540 w 11802"/>
                <a:gd name="connsiteY9" fmla="*/ 1574 h 3934"/>
                <a:gd name="connsiteX10" fmla="*/ 3540 w 11802"/>
                <a:gd name="connsiteY10" fmla="*/ 1574 h 3934"/>
                <a:gd name="connsiteX11" fmla="*/ 2360 w 11802"/>
                <a:gd name="connsiteY11" fmla="*/ 1574 h 3934"/>
                <a:gd name="connsiteX12" fmla="*/ 1573 w 11802"/>
                <a:gd name="connsiteY12" fmla="*/ 1967 h 3934"/>
                <a:gd name="connsiteX13" fmla="*/ 1573 w 11802"/>
                <a:gd name="connsiteY13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802" h="3934">
                  <a:moveTo>
                    <a:pt x="1180" y="1967"/>
                  </a:moveTo>
                  <a:lnTo>
                    <a:pt x="0" y="1967"/>
                  </a:lnTo>
                  <a:lnTo>
                    <a:pt x="0" y="2361"/>
                  </a:lnTo>
                  <a:lnTo>
                    <a:pt x="393" y="5114"/>
                  </a:lnTo>
                  <a:lnTo>
                    <a:pt x="3540" y="5114"/>
                  </a:lnTo>
                  <a:lnTo>
                    <a:pt x="6294" y="4721"/>
                  </a:lnTo>
                  <a:lnTo>
                    <a:pt x="9049" y="3934"/>
                  </a:lnTo>
                  <a:lnTo>
                    <a:pt x="11803" y="3147"/>
                  </a:lnTo>
                  <a:lnTo>
                    <a:pt x="11803" y="0"/>
                  </a:lnTo>
                  <a:lnTo>
                    <a:pt x="3540" y="1574"/>
                  </a:lnTo>
                  <a:lnTo>
                    <a:pt x="3540" y="1574"/>
                  </a:lnTo>
                  <a:lnTo>
                    <a:pt x="2360" y="1574"/>
                  </a:lnTo>
                  <a:lnTo>
                    <a:pt x="1573" y="1967"/>
                  </a:lnTo>
                  <a:lnTo>
                    <a:pt x="1573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15" name="Freeform: Shape 2209">
              <a:extLst>
                <a:ext uri="{FF2B5EF4-FFF2-40B4-BE49-F238E27FC236}">
                  <a16:creationId xmlns:a16="http://schemas.microsoft.com/office/drawing/2014/main" id="{FA5813F6-BA7A-4507-A5D2-4F5967242A19}"/>
                </a:ext>
              </a:extLst>
            </p:cNvPr>
            <p:cNvSpPr/>
            <p:nvPr/>
          </p:nvSpPr>
          <p:spPr>
            <a:xfrm>
              <a:off x="9984234" y="3759520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118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118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16" name="Freeform: Shape 2210">
              <a:extLst>
                <a:ext uri="{FF2B5EF4-FFF2-40B4-BE49-F238E27FC236}">
                  <a16:creationId xmlns:a16="http://schemas.microsoft.com/office/drawing/2014/main" id="{28564C1E-3FFA-46CF-8695-0FE1AD57FB20}"/>
                </a:ext>
              </a:extLst>
            </p:cNvPr>
            <p:cNvSpPr/>
            <p:nvPr/>
          </p:nvSpPr>
          <p:spPr>
            <a:xfrm>
              <a:off x="10071574" y="3859057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0" y="1180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17" name="Freeform: Shape 2211">
              <a:extLst>
                <a:ext uri="{FF2B5EF4-FFF2-40B4-BE49-F238E27FC236}">
                  <a16:creationId xmlns:a16="http://schemas.microsoft.com/office/drawing/2014/main" id="{107ECD5D-CD6B-4204-BF63-A64510EFEFD6}"/>
                </a:ext>
              </a:extLst>
            </p:cNvPr>
            <p:cNvSpPr/>
            <p:nvPr/>
          </p:nvSpPr>
          <p:spPr>
            <a:xfrm>
              <a:off x="10082590" y="3945217"/>
              <a:ext cx="3934" cy="3934"/>
            </a:xfrm>
            <a:custGeom>
              <a:avLst/>
              <a:gdLst>
                <a:gd name="connsiteX0" fmla="*/ 1967 w 0"/>
                <a:gd name="connsiteY0" fmla="*/ 0 h 0"/>
                <a:gd name="connsiteX1" fmla="*/ 0 w 0"/>
                <a:gd name="connsiteY1" fmla="*/ 1574 h 0"/>
                <a:gd name="connsiteX2" fmla="*/ 3148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0"/>
                  </a:moveTo>
                  <a:lnTo>
                    <a:pt x="0" y="1574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18" name="Freeform: Shape 2212">
              <a:extLst>
                <a:ext uri="{FF2B5EF4-FFF2-40B4-BE49-F238E27FC236}">
                  <a16:creationId xmlns:a16="http://schemas.microsoft.com/office/drawing/2014/main" id="{4992A1D3-AF08-4FEF-8B05-124902F8315A}"/>
                </a:ext>
              </a:extLst>
            </p:cNvPr>
            <p:cNvSpPr/>
            <p:nvPr/>
          </p:nvSpPr>
          <p:spPr>
            <a:xfrm>
              <a:off x="4175292" y="3109186"/>
              <a:ext cx="3934" cy="3934"/>
            </a:xfrm>
            <a:custGeom>
              <a:avLst/>
              <a:gdLst>
                <a:gd name="connsiteX0" fmla="*/ 1180 w 3934"/>
                <a:gd name="connsiteY0" fmla="*/ 2360 h 0"/>
                <a:gd name="connsiteX1" fmla="*/ 3934 w 3934"/>
                <a:gd name="connsiteY1" fmla="*/ 2360 h 0"/>
                <a:gd name="connsiteX2" fmla="*/ 3147 w 3934"/>
                <a:gd name="connsiteY2" fmla="*/ 0 h 0"/>
                <a:gd name="connsiteX3" fmla="*/ 0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180" y="2360"/>
                  </a:moveTo>
                  <a:lnTo>
                    <a:pt x="3934" y="2360"/>
                  </a:lnTo>
                  <a:lnTo>
                    <a:pt x="3147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19" name="Freeform: Shape 2213">
              <a:extLst>
                <a:ext uri="{FF2B5EF4-FFF2-40B4-BE49-F238E27FC236}">
                  <a16:creationId xmlns:a16="http://schemas.microsoft.com/office/drawing/2014/main" id="{0D44F5F9-62C4-41D8-BDA1-5882202096EE}"/>
                </a:ext>
              </a:extLst>
            </p:cNvPr>
            <p:cNvSpPr/>
            <p:nvPr/>
          </p:nvSpPr>
          <p:spPr>
            <a:xfrm>
              <a:off x="7494631" y="4162389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0 w 0"/>
                <a:gd name="connsiteY1" fmla="*/ 3147 h 0"/>
                <a:gd name="connsiteX2" fmla="*/ 118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0" y="3147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20" name="Freeform: Shape 2214">
              <a:extLst>
                <a:ext uri="{FF2B5EF4-FFF2-40B4-BE49-F238E27FC236}">
                  <a16:creationId xmlns:a16="http://schemas.microsoft.com/office/drawing/2014/main" id="{48C5F14D-4174-4F65-BC31-70B5B1E4CF13}"/>
                </a:ext>
              </a:extLst>
            </p:cNvPr>
            <p:cNvSpPr/>
            <p:nvPr/>
          </p:nvSpPr>
          <p:spPr>
            <a:xfrm>
              <a:off x="9259542" y="3040730"/>
              <a:ext cx="66882" cy="62948"/>
            </a:xfrm>
            <a:custGeom>
              <a:avLst/>
              <a:gdLst>
                <a:gd name="connsiteX0" fmla="*/ 45244 w 66882"/>
                <a:gd name="connsiteY0" fmla="*/ 59407 h 62948"/>
                <a:gd name="connsiteX1" fmla="*/ 46817 w 66882"/>
                <a:gd name="connsiteY1" fmla="*/ 59407 h 62948"/>
                <a:gd name="connsiteX2" fmla="*/ 47211 w 66882"/>
                <a:gd name="connsiteY2" fmla="*/ 56260 h 62948"/>
                <a:gd name="connsiteX3" fmla="*/ 47998 w 66882"/>
                <a:gd name="connsiteY3" fmla="*/ 53506 h 62948"/>
                <a:gd name="connsiteX4" fmla="*/ 50358 w 66882"/>
                <a:gd name="connsiteY4" fmla="*/ 50359 h 62948"/>
                <a:gd name="connsiteX5" fmla="*/ 53113 w 66882"/>
                <a:gd name="connsiteY5" fmla="*/ 49178 h 62948"/>
                <a:gd name="connsiteX6" fmla="*/ 56259 w 66882"/>
                <a:gd name="connsiteY6" fmla="*/ 47998 h 62948"/>
                <a:gd name="connsiteX7" fmla="*/ 57047 w 66882"/>
                <a:gd name="connsiteY7" fmla="*/ 45244 h 62948"/>
                <a:gd name="connsiteX8" fmla="*/ 56653 w 66882"/>
                <a:gd name="connsiteY8" fmla="*/ 42097 h 62948"/>
                <a:gd name="connsiteX9" fmla="*/ 57047 w 66882"/>
                <a:gd name="connsiteY9" fmla="*/ 39343 h 62948"/>
                <a:gd name="connsiteX10" fmla="*/ 58620 w 66882"/>
                <a:gd name="connsiteY10" fmla="*/ 36195 h 62948"/>
                <a:gd name="connsiteX11" fmla="*/ 58226 w 66882"/>
                <a:gd name="connsiteY11" fmla="*/ 33441 h 62948"/>
                <a:gd name="connsiteX12" fmla="*/ 56653 w 66882"/>
                <a:gd name="connsiteY12" fmla="*/ 32654 h 62948"/>
                <a:gd name="connsiteX13" fmla="*/ 59014 w 66882"/>
                <a:gd name="connsiteY13" fmla="*/ 30294 h 62948"/>
                <a:gd name="connsiteX14" fmla="*/ 59014 w 66882"/>
                <a:gd name="connsiteY14" fmla="*/ 27540 h 62948"/>
                <a:gd name="connsiteX15" fmla="*/ 60193 w 66882"/>
                <a:gd name="connsiteY15" fmla="*/ 24786 h 62948"/>
                <a:gd name="connsiteX16" fmla="*/ 63341 w 66882"/>
                <a:gd name="connsiteY16" fmla="*/ 21638 h 62948"/>
                <a:gd name="connsiteX17" fmla="*/ 63341 w 66882"/>
                <a:gd name="connsiteY17" fmla="*/ 16917 h 62948"/>
                <a:gd name="connsiteX18" fmla="*/ 66095 w 66882"/>
                <a:gd name="connsiteY18" fmla="*/ 18098 h 62948"/>
                <a:gd name="connsiteX19" fmla="*/ 68850 w 66882"/>
                <a:gd name="connsiteY19" fmla="*/ 15737 h 62948"/>
                <a:gd name="connsiteX20" fmla="*/ 67669 w 66882"/>
                <a:gd name="connsiteY20" fmla="*/ 12983 h 62948"/>
                <a:gd name="connsiteX21" fmla="*/ 66882 w 66882"/>
                <a:gd name="connsiteY21" fmla="*/ 9836 h 62948"/>
                <a:gd name="connsiteX22" fmla="*/ 65702 w 66882"/>
                <a:gd name="connsiteY22" fmla="*/ 6688 h 62948"/>
                <a:gd name="connsiteX23" fmla="*/ 64128 w 66882"/>
                <a:gd name="connsiteY23" fmla="*/ 3934 h 62948"/>
                <a:gd name="connsiteX24" fmla="*/ 63341 w 66882"/>
                <a:gd name="connsiteY24" fmla="*/ 3934 h 62948"/>
                <a:gd name="connsiteX25" fmla="*/ 60981 w 66882"/>
                <a:gd name="connsiteY25" fmla="*/ 3934 h 62948"/>
                <a:gd name="connsiteX26" fmla="*/ 59014 w 66882"/>
                <a:gd name="connsiteY26" fmla="*/ 3147 h 62948"/>
                <a:gd name="connsiteX27" fmla="*/ 56653 w 66882"/>
                <a:gd name="connsiteY27" fmla="*/ 0 h 62948"/>
                <a:gd name="connsiteX28" fmla="*/ 53899 w 66882"/>
                <a:gd name="connsiteY28" fmla="*/ 393 h 62948"/>
                <a:gd name="connsiteX29" fmla="*/ 53505 w 66882"/>
                <a:gd name="connsiteY29" fmla="*/ 3147 h 62948"/>
                <a:gd name="connsiteX30" fmla="*/ 54686 w 66882"/>
                <a:gd name="connsiteY30" fmla="*/ 3934 h 62948"/>
                <a:gd name="connsiteX31" fmla="*/ 52719 w 66882"/>
                <a:gd name="connsiteY31" fmla="*/ 3934 h 62948"/>
                <a:gd name="connsiteX32" fmla="*/ 51145 w 66882"/>
                <a:gd name="connsiteY32" fmla="*/ 3541 h 62948"/>
                <a:gd name="connsiteX33" fmla="*/ 47998 w 66882"/>
                <a:gd name="connsiteY33" fmla="*/ 3934 h 62948"/>
                <a:gd name="connsiteX34" fmla="*/ 48784 w 66882"/>
                <a:gd name="connsiteY34" fmla="*/ 4721 h 62948"/>
                <a:gd name="connsiteX35" fmla="*/ 49571 w 66882"/>
                <a:gd name="connsiteY35" fmla="*/ 6688 h 62948"/>
                <a:gd name="connsiteX36" fmla="*/ 48391 w 66882"/>
                <a:gd name="connsiteY36" fmla="*/ 4721 h 62948"/>
                <a:gd name="connsiteX37" fmla="*/ 47604 w 66882"/>
                <a:gd name="connsiteY37" fmla="*/ 3934 h 62948"/>
                <a:gd name="connsiteX38" fmla="*/ 47604 w 66882"/>
                <a:gd name="connsiteY38" fmla="*/ 3934 h 62948"/>
                <a:gd name="connsiteX39" fmla="*/ 45244 w 66882"/>
                <a:gd name="connsiteY39" fmla="*/ 3147 h 62948"/>
                <a:gd name="connsiteX40" fmla="*/ 43277 w 66882"/>
                <a:gd name="connsiteY40" fmla="*/ 2754 h 62948"/>
                <a:gd name="connsiteX41" fmla="*/ 40129 w 66882"/>
                <a:gd name="connsiteY41" fmla="*/ 3934 h 62948"/>
                <a:gd name="connsiteX42" fmla="*/ 40916 w 66882"/>
                <a:gd name="connsiteY42" fmla="*/ 3934 h 62948"/>
                <a:gd name="connsiteX43" fmla="*/ 40916 w 66882"/>
                <a:gd name="connsiteY43" fmla="*/ 3934 h 62948"/>
                <a:gd name="connsiteX44" fmla="*/ 40916 w 66882"/>
                <a:gd name="connsiteY44" fmla="*/ 4328 h 62948"/>
                <a:gd name="connsiteX45" fmla="*/ 36982 w 66882"/>
                <a:gd name="connsiteY45" fmla="*/ 6295 h 62948"/>
                <a:gd name="connsiteX46" fmla="*/ 37376 w 66882"/>
                <a:gd name="connsiteY46" fmla="*/ 6688 h 62948"/>
                <a:gd name="connsiteX47" fmla="*/ 37376 w 66882"/>
                <a:gd name="connsiteY47" fmla="*/ 7082 h 62948"/>
                <a:gd name="connsiteX48" fmla="*/ 36195 w 66882"/>
                <a:gd name="connsiteY48" fmla="*/ 6688 h 62948"/>
                <a:gd name="connsiteX49" fmla="*/ 34621 w 66882"/>
                <a:gd name="connsiteY49" fmla="*/ 4721 h 62948"/>
                <a:gd name="connsiteX50" fmla="*/ 31867 w 66882"/>
                <a:gd name="connsiteY50" fmla="*/ 4721 h 62948"/>
                <a:gd name="connsiteX51" fmla="*/ 28719 w 66882"/>
                <a:gd name="connsiteY51" fmla="*/ 3934 h 62948"/>
                <a:gd name="connsiteX52" fmla="*/ 26752 w 66882"/>
                <a:gd name="connsiteY52" fmla="*/ 3934 h 62948"/>
                <a:gd name="connsiteX53" fmla="*/ 25966 w 66882"/>
                <a:gd name="connsiteY53" fmla="*/ 4328 h 62948"/>
                <a:gd name="connsiteX54" fmla="*/ 22818 w 66882"/>
                <a:gd name="connsiteY54" fmla="*/ 5901 h 62948"/>
                <a:gd name="connsiteX55" fmla="*/ 23606 w 66882"/>
                <a:gd name="connsiteY55" fmla="*/ 6688 h 62948"/>
                <a:gd name="connsiteX56" fmla="*/ 20851 w 66882"/>
                <a:gd name="connsiteY56" fmla="*/ 9049 h 62948"/>
                <a:gd name="connsiteX57" fmla="*/ 16524 w 66882"/>
                <a:gd name="connsiteY57" fmla="*/ 6688 h 62948"/>
                <a:gd name="connsiteX58" fmla="*/ 14163 w 66882"/>
                <a:gd name="connsiteY58" fmla="*/ 9836 h 62948"/>
                <a:gd name="connsiteX59" fmla="*/ 14949 w 66882"/>
                <a:gd name="connsiteY59" fmla="*/ 12590 h 62948"/>
                <a:gd name="connsiteX60" fmla="*/ 16524 w 66882"/>
                <a:gd name="connsiteY60" fmla="*/ 13376 h 62948"/>
                <a:gd name="connsiteX61" fmla="*/ 11803 w 66882"/>
                <a:gd name="connsiteY61" fmla="*/ 17704 h 62948"/>
                <a:gd name="connsiteX62" fmla="*/ 9048 w 66882"/>
                <a:gd name="connsiteY62" fmla="*/ 19278 h 62948"/>
                <a:gd name="connsiteX63" fmla="*/ 6688 w 66882"/>
                <a:gd name="connsiteY63" fmla="*/ 22032 h 62948"/>
                <a:gd name="connsiteX64" fmla="*/ 787 w 66882"/>
                <a:gd name="connsiteY64" fmla="*/ 27146 h 62948"/>
                <a:gd name="connsiteX65" fmla="*/ 1180 w 66882"/>
                <a:gd name="connsiteY65" fmla="*/ 27933 h 62948"/>
                <a:gd name="connsiteX66" fmla="*/ 0 w 66882"/>
                <a:gd name="connsiteY66" fmla="*/ 29114 h 62948"/>
                <a:gd name="connsiteX67" fmla="*/ 1573 w 66882"/>
                <a:gd name="connsiteY67" fmla="*/ 31474 h 62948"/>
                <a:gd name="connsiteX68" fmla="*/ 1967 w 66882"/>
                <a:gd name="connsiteY68" fmla="*/ 32261 h 62948"/>
                <a:gd name="connsiteX69" fmla="*/ 787 w 66882"/>
                <a:gd name="connsiteY69" fmla="*/ 34621 h 62948"/>
                <a:gd name="connsiteX70" fmla="*/ 1573 w 66882"/>
                <a:gd name="connsiteY70" fmla="*/ 37376 h 62948"/>
                <a:gd name="connsiteX71" fmla="*/ 2754 w 66882"/>
                <a:gd name="connsiteY71" fmla="*/ 40129 h 62948"/>
                <a:gd name="connsiteX72" fmla="*/ 1967 w 66882"/>
                <a:gd name="connsiteY72" fmla="*/ 43277 h 62948"/>
                <a:gd name="connsiteX73" fmla="*/ 4327 w 66882"/>
                <a:gd name="connsiteY73" fmla="*/ 46031 h 62948"/>
                <a:gd name="connsiteX74" fmla="*/ 5114 w 66882"/>
                <a:gd name="connsiteY74" fmla="*/ 51145 h 62948"/>
                <a:gd name="connsiteX75" fmla="*/ 5114 w 66882"/>
                <a:gd name="connsiteY75" fmla="*/ 51932 h 62948"/>
                <a:gd name="connsiteX76" fmla="*/ 5508 w 66882"/>
                <a:gd name="connsiteY76" fmla="*/ 54686 h 62948"/>
                <a:gd name="connsiteX77" fmla="*/ 6688 w 66882"/>
                <a:gd name="connsiteY77" fmla="*/ 55473 h 62948"/>
                <a:gd name="connsiteX78" fmla="*/ 6688 w 66882"/>
                <a:gd name="connsiteY78" fmla="*/ 55473 h 62948"/>
                <a:gd name="connsiteX79" fmla="*/ 15343 w 66882"/>
                <a:gd name="connsiteY79" fmla="*/ 59801 h 62948"/>
                <a:gd name="connsiteX80" fmla="*/ 21245 w 66882"/>
                <a:gd name="connsiteY80" fmla="*/ 60981 h 62948"/>
                <a:gd name="connsiteX81" fmla="*/ 22425 w 66882"/>
                <a:gd name="connsiteY81" fmla="*/ 61768 h 62948"/>
                <a:gd name="connsiteX82" fmla="*/ 24392 w 66882"/>
                <a:gd name="connsiteY82" fmla="*/ 61768 h 62948"/>
                <a:gd name="connsiteX83" fmla="*/ 30686 w 66882"/>
                <a:gd name="connsiteY83" fmla="*/ 63342 h 62948"/>
                <a:gd name="connsiteX84" fmla="*/ 31867 w 66882"/>
                <a:gd name="connsiteY84" fmla="*/ 64129 h 62948"/>
                <a:gd name="connsiteX85" fmla="*/ 35015 w 66882"/>
                <a:gd name="connsiteY85" fmla="*/ 64522 h 62948"/>
                <a:gd name="connsiteX86" fmla="*/ 38162 w 66882"/>
                <a:gd name="connsiteY86" fmla="*/ 64522 h 62948"/>
                <a:gd name="connsiteX87" fmla="*/ 37376 w 66882"/>
                <a:gd name="connsiteY87" fmla="*/ 61375 h 62948"/>
                <a:gd name="connsiteX88" fmla="*/ 38162 w 66882"/>
                <a:gd name="connsiteY88" fmla="*/ 58620 h 62948"/>
                <a:gd name="connsiteX89" fmla="*/ 40129 w 66882"/>
                <a:gd name="connsiteY89" fmla="*/ 58227 h 62948"/>
                <a:gd name="connsiteX90" fmla="*/ 42096 w 66882"/>
                <a:gd name="connsiteY90" fmla="*/ 58227 h 62948"/>
                <a:gd name="connsiteX91" fmla="*/ 45244 w 66882"/>
                <a:gd name="connsiteY91" fmla="*/ 57440 h 62948"/>
                <a:gd name="connsiteX92" fmla="*/ 45244 w 66882"/>
                <a:gd name="connsiteY92" fmla="*/ 58620 h 62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66882" h="62948">
                  <a:moveTo>
                    <a:pt x="45244" y="59407"/>
                  </a:moveTo>
                  <a:lnTo>
                    <a:pt x="46817" y="59407"/>
                  </a:lnTo>
                  <a:lnTo>
                    <a:pt x="47211" y="56260"/>
                  </a:lnTo>
                  <a:lnTo>
                    <a:pt x="47998" y="53506"/>
                  </a:lnTo>
                  <a:lnTo>
                    <a:pt x="50358" y="50359"/>
                  </a:lnTo>
                  <a:lnTo>
                    <a:pt x="53113" y="49178"/>
                  </a:lnTo>
                  <a:lnTo>
                    <a:pt x="56259" y="47998"/>
                  </a:lnTo>
                  <a:lnTo>
                    <a:pt x="57047" y="45244"/>
                  </a:lnTo>
                  <a:lnTo>
                    <a:pt x="56653" y="42097"/>
                  </a:lnTo>
                  <a:lnTo>
                    <a:pt x="57047" y="39343"/>
                  </a:lnTo>
                  <a:lnTo>
                    <a:pt x="58620" y="36195"/>
                  </a:lnTo>
                  <a:lnTo>
                    <a:pt x="58226" y="33441"/>
                  </a:lnTo>
                  <a:lnTo>
                    <a:pt x="56653" y="32654"/>
                  </a:lnTo>
                  <a:lnTo>
                    <a:pt x="59014" y="30294"/>
                  </a:lnTo>
                  <a:lnTo>
                    <a:pt x="59014" y="27540"/>
                  </a:lnTo>
                  <a:lnTo>
                    <a:pt x="60193" y="24786"/>
                  </a:lnTo>
                  <a:lnTo>
                    <a:pt x="63341" y="21638"/>
                  </a:lnTo>
                  <a:lnTo>
                    <a:pt x="63341" y="16917"/>
                  </a:lnTo>
                  <a:lnTo>
                    <a:pt x="66095" y="18098"/>
                  </a:lnTo>
                  <a:lnTo>
                    <a:pt x="68850" y="15737"/>
                  </a:lnTo>
                  <a:lnTo>
                    <a:pt x="67669" y="12983"/>
                  </a:lnTo>
                  <a:lnTo>
                    <a:pt x="66882" y="9836"/>
                  </a:lnTo>
                  <a:lnTo>
                    <a:pt x="65702" y="6688"/>
                  </a:lnTo>
                  <a:lnTo>
                    <a:pt x="64128" y="3934"/>
                  </a:lnTo>
                  <a:lnTo>
                    <a:pt x="63341" y="3934"/>
                  </a:lnTo>
                  <a:lnTo>
                    <a:pt x="60981" y="3934"/>
                  </a:lnTo>
                  <a:lnTo>
                    <a:pt x="59014" y="3147"/>
                  </a:lnTo>
                  <a:lnTo>
                    <a:pt x="56653" y="0"/>
                  </a:lnTo>
                  <a:lnTo>
                    <a:pt x="53899" y="393"/>
                  </a:lnTo>
                  <a:lnTo>
                    <a:pt x="53505" y="3147"/>
                  </a:lnTo>
                  <a:lnTo>
                    <a:pt x="54686" y="3934"/>
                  </a:lnTo>
                  <a:lnTo>
                    <a:pt x="52719" y="3934"/>
                  </a:lnTo>
                  <a:lnTo>
                    <a:pt x="51145" y="3541"/>
                  </a:lnTo>
                  <a:lnTo>
                    <a:pt x="47998" y="3934"/>
                  </a:lnTo>
                  <a:lnTo>
                    <a:pt x="48784" y="4721"/>
                  </a:lnTo>
                  <a:lnTo>
                    <a:pt x="49571" y="6688"/>
                  </a:lnTo>
                  <a:lnTo>
                    <a:pt x="48391" y="4721"/>
                  </a:lnTo>
                  <a:lnTo>
                    <a:pt x="47604" y="3934"/>
                  </a:lnTo>
                  <a:lnTo>
                    <a:pt x="47604" y="3934"/>
                  </a:lnTo>
                  <a:lnTo>
                    <a:pt x="45244" y="3147"/>
                  </a:lnTo>
                  <a:lnTo>
                    <a:pt x="43277" y="2754"/>
                  </a:lnTo>
                  <a:lnTo>
                    <a:pt x="40129" y="3934"/>
                  </a:lnTo>
                  <a:lnTo>
                    <a:pt x="40916" y="3934"/>
                  </a:lnTo>
                  <a:lnTo>
                    <a:pt x="40916" y="3934"/>
                  </a:lnTo>
                  <a:lnTo>
                    <a:pt x="40916" y="4328"/>
                  </a:lnTo>
                  <a:lnTo>
                    <a:pt x="36982" y="6295"/>
                  </a:lnTo>
                  <a:lnTo>
                    <a:pt x="37376" y="6688"/>
                  </a:lnTo>
                  <a:lnTo>
                    <a:pt x="37376" y="7082"/>
                  </a:lnTo>
                  <a:lnTo>
                    <a:pt x="36195" y="6688"/>
                  </a:lnTo>
                  <a:lnTo>
                    <a:pt x="34621" y="4721"/>
                  </a:lnTo>
                  <a:lnTo>
                    <a:pt x="31867" y="4721"/>
                  </a:lnTo>
                  <a:lnTo>
                    <a:pt x="28719" y="3934"/>
                  </a:lnTo>
                  <a:lnTo>
                    <a:pt x="26752" y="3934"/>
                  </a:lnTo>
                  <a:lnTo>
                    <a:pt x="25966" y="4328"/>
                  </a:lnTo>
                  <a:lnTo>
                    <a:pt x="22818" y="5901"/>
                  </a:lnTo>
                  <a:lnTo>
                    <a:pt x="23606" y="6688"/>
                  </a:lnTo>
                  <a:lnTo>
                    <a:pt x="20851" y="9049"/>
                  </a:lnTo>
                  <a:lnTo>
                    <a:pt x="16524" y="6688"/>
                  </a:lnTo>
                  <a:lnTo>
                    <a:pt x="14163" y="9836"/>
                  </a:lnTo>
                  <a:lnTo>
                    <a:pt x="14949" y="12590"/>
                  </a:lnTo>
                  <a:lnTo>
                    <a:pt x="16524" y="13376"/>
                  </a:lnTo>
                  <a:lnTo>
                    <a:pt x="11803" y="17704"/>
                  </a:lnTo>
                  <a:lnTo>
                    <a:pt x="9048" y="19278"/>
                  </a:lnTo>
                  <a:lnTo>
                    <a:pt x="6688" y="22032"/>
                  </a:lnTo>
                  <a:lnTo>
                    <a:pt x="787" y="27146"/>
                  </a:lnTo>
                  <a:lnTo>
                    <a:pt x="1180" y="27933"/>
                  </a:lnTo>
                  <a:lnTo>
                    <a:pt x="0" y="29114"/>
                  </a:lnTo>
                  <a:lnTo>
                    <a:pt x="1573" y="31474"/>
                  </a:lnTo>
                  <a:lnTo>
                    <a:pt x="1967" y="32261"/>
                  </a:lnTo>
                  <a:lnTo>
                    <a:pt x="787" y="34621"/>
                  </a:lnTo>
                  <a:lnTo>
                    <a:pt x="1573" y="37376"/>
                  </a:lnTo>
                  <a:lnTo>
                    <a:pt x="2754" y="40129"/>
                  </a:lnTo>
                  <a:lnTo>
                    <a:pt x="1967" y="43277"/>
                  </a:lnTo>
                  <a:lnTo>
                    <a:pt x="4327" y="46031"/>
                  </a:lnTo>
                  <a:lnTo>
                    <a:pt x="5114" y="51145"/>
                  </a:lnTo>
                  <a:lnTo>
                    <a:pt x="5114" y="51932"/>
                  </a:lnTo>
                  <a:lnTo>
                    <a:pt x="5508" y="54686"/>
                  </a:lnTo>
                  <a:lnTo>
                    <a:pt x="6688" y="55473"/>
                  </a:lnTo>
                  <a:lnTo>
                    <a:pt x="6688" y="55473"/>
                  </a:lnTo>
                  <a:lnTo>
                    <a:pt x="15343" y="59801"/>
                  </a:lnTo>
                  <a:lnTo>
                    <a:pt x="21245" y="60981"/>
                  </a:lnTo>
                  <a:lnTo>
                    <a:pt x="22425" y="61768"/>
                  </a:lnTo>
                  <a:lnTo>
                    <a:pt x="24392" y="61768"/>
                  </a:lnTo>
                  <a:lnTo>
                    <a:pt x="30686" y="63342"/>
                  </a:lnTo>
                  <a:lnTo>
                    <a:pt x="31867" y="64129"/>
                  </a:lnTo>
                  <a:lnTo>
                    <a:pt x="35015" y="64522"/>
                  </a:lnTo>
                  <a:lnTo>
                    <a:pt x="38162" y="64522"/>
                  </a:lnTo>
                  <a:lnTo>
                    <a:pt x="37376" y="61375"/>
                  </a:lnTo>
                  <a:lnTo>
                    <a:pt x="38162" y="58620"/>
                  </a:lnTo>
                  <a:lnTo>
                    <a:pt x="40129" y="58227"/>
                  </a:lnTo>
                  <a:lnTo>
                    <a:pt x="42096" y="58227"/>
                  </a:lnTo>
                  <a:lnTo>
                    <a:pt x="45244" y="57440"/>
                  </a:lnTo>
                  <a:lnTo>
                    <a:pt x="45244" y="5862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21" name="Freeform: Shape 2215">
              <a:extLst>
                <a:ext uri="{FF2B5EF4-FFF2-40B4-BE49-F238E27FC236}">
                  <a16:creationId xmlns:a16="http://schemas.microsoft.com/office/drawing/2014/main" id="{FF80903B-C049-4587-971B-17BF3136910B}"/>
                </a:ext>
              </a:extLst>
            </p:cNvPr>
            <p:cNvSpPr/>
            <p:nvPr/>
          </p:nvSpPr>
          <p:spPr>
            <a:xfrm>
              <a:off x="9385045" y="2951422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1180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22" name="Freeform: Shape 2216">
              <a:extLst>
                <a:ext uri="{FF2B5EF4-FFF2-40B4-BE49-F238E27FC236}">
                  <a16:creationId xmlns:a16="http://schemas.microsoft.com/office/drawing/2014/main" id="{90E14D7F-0431-47EC-8B0B-9CD6416CC513}"/>
                </a:ext>
              </a:extLst>
            </p:cNvPr>
            <p:cNvSpPr/>
            <p:nvPr/>
          </p:nvSpPr>
          <p:spPr>
            <a:xfrm>
              <a:off x="9437371" y="2383708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2754 w 0"/>
                <a:gd name="connsiteY1" fmla="*/ 2361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2754" y="2361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23" name="Freeform: Shape 2217">
              <a:extLst>
                <a:ext uri="{FF2B5EF4-FFF2-40B4-BE49-F238E27FC236}">
                  <a16:creationId xmlns:a16="http://schemas.microsoft.com/office/drawing/2014/main" id="{E095CDFC-82DD-4F6A-8766-66FBFA3CD071}"/>
                </a:ext>
              </a:extLst>
            </p:cNvPr>
            <p:cNvSpPr/>
            <p:nvPr/>
          </p:nvSpPr>
          <p:spPr>
            <a:xfrm>
              <a:off x="9471599" y="2388823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0 h 0"/>
                <a:gd name="connsiteX2" fmla="*/ 3148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0"/>
                  </a:lnTo>
                  <a:lnTo>
                    <a:pt x="314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24" name="Freeform: Shape 2218">
              <a:extLst>
                <a:ext uri="{FF2B5EF4-FFF2-40B4-BE49-F238E27FC236}">
                  <a16:creationId xmlns:a16="http://schemas.microsoft.com/office/drawing/2014/main" id="{3A8AF9A1-B81F-4E74-9FD7-0F45CF7B555D}"/>
                </a:ext>
              </a:extLst>
            </p:cNvPr>
            <p:cNvSpPr/>
            <p:nvPr/>
          </p:nvSpPr>
          <p:spPr>
            <a:xfrm>
              <a:off x="9491664" y="2916407"/>
              <a:ext cx="3934" cy="3934"/>
            </a:xfrm>
            <a:custGeom>
              <a:avLst/>
              <a:gdLst>
                <a:gd name="connsiteX0" fmla="*/ 3147 w 3934"/>
                <a:gd name="connsiteY0" fmla="*/ 787 h 3934"/>
                <a:gd name="connsiteX1" fmla="*/ 787 w 3934"/>
                <a:gd name="connsiteY1" fmla="*/ 0 h 3934"/>
                <a:gd name="connsiteX2" fmla="*/ 0 w 3934"/>
                <a:gd name="connsiteY2" fmla="*/ 2754 h 3934"/>
                <a:gd name="connsiteX3" fmla="*/ 1967 w 3934"/>
                <a:gd name="connsiteY3" fmla="*/ 4721 h 3934"/>
                <a:gd name="connsiteX4" fmla="*/ 3934 w 3934"/>
                <a:gd name="connsiteY4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147" y="787"/>
                  </a:moveTo>
                  <a:lnTo>
                    <a:pt x="787" y="0"/>
                  </a:lnTo>
                  <a:lnTo>
                    <a:pt x="0" y="2754"/>
                  </a:lnTo>
                  <a:lnTo>
                    <a:pt x="1967" y="4721"/>
                  </a:lnTo>
                  <a:lnTo>
                    <a:pt x="393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25" name="Freeform: Shape 2219">
              <a:extLst>
                <a:ext uri="{FF2B5EF4-FFF2-40B4-BE49-F238E27FC236}">
                  <a16:creationId xmlns:a16="http://schemas.microsoft.com/office/drawing/2014/main" id="{222A2F5E-CA3C-4A73-B5D5-3F3E649F04B3}"/>
                </a:ext>
              </a:extLst>
            </p:cNvPr>
            <p:cNvSpPr/>
            <p:nvPr/>
          </p:nvSpPr>
          <p:spPr>
            <a:xfrm>
              <a:off x="9532974" y="2641796"/>
              <a:ext cx="23606" cy="11803"/>
            </a:xfrm>
            <a:custGeom>
              <a:avLst/>
              <a:gdLst>
                <a:gd name="connsiteX0" fmla="*/ 14557 w 23605"/>
                <a:gd name="connsiteY0" fmla="*/ 6295 h 11802"/>
                <a:gd name="connsiteX1" fmla="*/ 11803 w 23605"/>
                <a:gd name="connsiteY1" fmla="*/ 4721 h 11802"/>
                <a:gd name="connsiteX2" fmla="*/ 8655 w 23605"/>
                <a:gd name="connsiteY2" fmla="*/ 3147 h 11802"/>
                <a:gd name="connsiteX3" fmla="*/ 5901 w 23605"/>
                <a:gd name="connsiteY3" fmla="*/ 393 h 11802"/>
                <a:gd name="connsiteX4" fmla="*/ 2754 w 23605"/>
                <a:gd name="connsiteY4" fmla="*/ 0 h 11802"/>
                <a:gd name="connsiteX5" fmla="*/ 0 w 23605"/>
                <a:gd name="connsiteY5" fmla="*/ 1574 h 11802"/>
                <a:gd name="connsiteX6" fmla="*/ 0 w 23605"/>
                <a:gd name="connsiteY6" fmla="*/ 1967 h 11802"/>
                <a:gd name="connsiteX7" fmla="*/ 3147 w 23605"/>
                <a:gd name="connsiteY7" fmla="*/ 3147 h 11802"/>
                <a:gd name="connsiteX8" fmla="*/ 5901 w 23605"/>
                <a:gd name="connsiteY8" fmla="*/ 6295 h 11802"/>
                <a:gd name="connsiteX9" fmla="*/ 9048 w 23605"/>
                <a:gd name="connsiteY9" fmla="*/ 7869 h 11802"/>
                <a:gd name="connsiteX10" fmla="*/ 11803 w 23605"/>
                <a:gd name="connsiteY10" fmla="*/ 9049 h 11802"/>
                <a:gd name="connsiteX11" fmla="*/ 14949 w 23605"/>
                <a:gd name="connsiteY11" fmla="*/ 10622 h 11802"/>
                <a:gd name="connsiteX12" fmla="*/ 18097 w 23605"/>
                <a:gd name="connsiteY12" fmla="*/ 11409 h 11802"/>
                <a:gd name="connsiteX13" fmla="*/ 20851 w 23605"/>
                <a:gd name="connsiteY13" fmla="*/ 12590 h 11802"/>
                <a:gd name="connsiteX14" fmla="*/ 23606 w 23605"/>
                <a:gd name="connsiteY14" fmla="*/ 11016 h 11802"/>
                <a:gd name="connsiteX15" fmla="*/ 20851 w 23605"/>
                <a:gd name="connsiteY15" fmla="*/ 9049 h 11802"/>
                <a:gd name="connsiteX16" fmla="*/ 17704 w 23605"/>
                <a:gd name="connsiteY16" fmla="*/ 747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605" h="11802">
                  <a:moveTo>
                    <a:pt x="14557" y="6295"/>
                  </a:moveTo>
                  <a:lnTo>
                    <a:pt x="11803" y="4721"/>
                  </a:lnTo>
                  <a:lnTo>
                    <a:pt x="8655" y="3147"/>
                  </a:lnTo>
                  <a:lnTo>
                    <a:pt x="5901" y="393"/>
                  </a:lnTo>
                  <a:lnTo>
                    <a:pt x="2754" y="0"/>
                  </a:lnTo>
                  <a:lnTo>
                    <a:pt x="0" y="1574"/>
                  </a:lnTo>
                  <a:lnTo>
                    <a:pt x="0" y="1967"/>
                  </a:lnTo>
                  <a:lnTo>
                    <a:pt x="3147" y="3147"/>
                  </a:lnTo>
                  <a:lnTo>
                    <a:pt x="5901" y="6295"/>
                  </a:lnTo>
                  <a:lnTo>
                    <a:pt x="9048" y="7869"/>
                  </a:lnTo>
                  <a:lnTo>
                    <a:pt x="11803" y="9049"/>
                  </a:lnTo>
                  <a:lnTo>
                    <a:pt x="14949" y="10622"/>
                  </a:lnTo>
                  <a:lnTo>
                    <a:pt x="18097" y="11409"/>
                  </a:lnTo>
                  <a:lnTo>
                    <a:pt x="20851" y="12590"/>
                  </a:lnTo>
                  <a:lnTo>
                    <a:pt x="23606" y="11016"/>
                  </a:lnTo>
                  <a:lnTo>
                    <a:pt x="20851" y="9049"/>
                  </a:lnTo>
                  <a:lnTo>
                    <a:pt x="17704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26" name="Freeform: Shape 2220">
              <a:extLst>
                <a:ext uri="{FF2B5EF4-FFF2-40B4-BE49-F238E27FC236}">
                  <a16:creationId xmlns:a16="http://schemas.microsoft.com/office/drawing/2014/main" id="{AF74F858-F827-4D3D-BEFE-FCD37725D41D}"/>
                </a:ext>
              </a:extLst>
            </p:cNvPr>
            <p:cNvSpPr/>
            <p:nvPr/>
          </p:nvSpPr>
          <p:spPr>
            <a:xfrm>
              <a:off x="9547923" y="2853853"/>
              <a:ext cx="3934" cy="3934"/>
            </a:xfrm>
            <a:custGeom>
              <a:avLst/>
              <a:gdLst>
                <a:gd name="connsiteX0" fmla="*/ 1574 w 0"/>
                <a:gd name="connsiteY0" fmla="*/ 6295 h 3934"/>
                <a:gd name="connsiteX1" fmla="*/ 1967 w 0"/>
                <a:gd name="connsiteY1" fmla="*/ 6688 h 3934"/>
                <a:gd name="connsiteX2" fmla="*/ 3148 w 0"/>
                <a:gd name="connsiteY2" fmla="*/ 5508 h 3934"/>
                <a:gd name="connsiteX3" fmla="*/ 3541 w 0"/>
                <a:gd name="connsiteY3" fmla="*/ 2754 h 3934"/>
                <a:gd name="connsiteX4" fmla="*/ 3148 w 0"/>
                <a:gd name="connsiteY4" fmla="*/ 0 h 3934"/>
                <a:gd name="connsiteX5" fmla="*/ 0 w 0"/>
                <a:gd name="connsiteY5" fmla="*/ 787 h 3934"/>
                <a:gd name="connsiteX6" fmla="*/ 3148 w 0"/>
                <a:gd name="connsiteY6" fmla="*/ 3541 h 3934"/>
                <a:gd name="connsiteX7" fmla="*/ 0 w 0"/>
                <a:gd name="connsiteY7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3934">
                  <a:moveTo>
                    <a:pt x="1574" y="6295"/>
                  </a:moveTo>
                  <a:lnTo>
                    <a:pt x="1967" y="6688"/>
                  </a:lnTo>
                  <a:lnTo>
                    <a:pt x="3148" y="5508"/>
                  </a:lnTo>
                  <a:lnTo>
                    <a:pt x="3541" y="2754"/>
                  </a:lnTo>
                  <a:lnTo>
                    <a:pt x="3148" y="0"/>
                  </a:lnTo>
                  <a:lnTo>
                    <a:pt x="0" y="787"/>
                  </a:lnTo>
                  <a:lnTo>
                    <a:pt x="3148" y="3541"/>
                  </a:lnTo>
                  <a:lnTo>
                    <a:pt x="0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27" name="Freeform: Shape 2221">
              <a:extLst>
                <a:ext uri="{FF2B5EF4-FFF2-40B4-BE49-F238E27FC236}">
                  <a16:creationId xmlns:a16="http://schemas.microsoft.com/office/drawing/2014/main" id="{C7B509CD-B9F1-4016-89B6-BBC0679062BF}"/>
                </a:ext>
              </a:extLst>
            </p:cNvPr>
            <p:cNvSpPr/>
            <p:nvPr/>
          </p:nvSpPr>
          <p:spPr>
            <a:xfrm>
              <a:off x="4466034" y="3773290"/>
              <a:ext cx="3934" cy="3934"/>
            </a:xfrm>
            <a:custGeom>
              <a:avLst/>
              <a:gdLst>
                <a:gd name="connsiteX0" fmla="*/ 1574 w 3934"/>
                <a:gd name="connsiteY0" fmla="*/ 1574 h 3934"/>
                <a:gd name="connsiteX1" fmla="*/ 0 w 3934"/>
                <a:gd name="connsiteY1" fmla="*/ 4328 h 3934"/>
                <a:gd name="connsiteX2" fmla="*/ 1574 w 3934"/>
                <a:gd name="connsiteY2" fmla="*/ 3934 h 3934"/>
                <a:gd name="connsiteX3" fmla="*/ 4328 w 3934"/>
                <a:gd name="connsiteY3" fmla="*/ 2754 h 3934"/>
                <a:gd name="connsiteX4" fmla="*/ 7475 w 3934"/>
                <a:gd name="connsiteY4" fmla="*/ 0 h 3934"/>
                <a:gd name="connsiteX5" fmla="*/ 4721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1574" y="1574"/>
                  </a:moveTo>
                  <a:lnTo>
                    <a:pt x="0" y="4328"/>
                  </a:lnTo>
                  <a:lnTo>
                    <a:pt x="1574" y="3934"/>
                  </a:lnTo>
                  <a:lnTo>
                    <a:pt x="4328" y="2754"/>
                  </a:lnTo>
                  <a:lnTo>
                    <a:pt x="7475" y="0"/>
                  </a:lnTo>
                  <a:lnTo>
                    <a:pt x="472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28" name="Freeform: Shape 2222">
              <a:extLst>
                <a:ext uri="{FF2B5EF4-FFF2-40B4-BE49-F238E27FC236}">
                  <a16:creationId xmlns:a16="http://schemas.microsoft.com/office/drawing/2014/main" id="{DD8CB84A-6007-4F7B-9DAB-320C82E2EAE1}"/>
                </a:ext>
              </a:extLst>
            </p:cNvPr>
            <p:cNvSpPr/>
            <p:nvPr/>
          </p:nvSpPr>
          <p:spPr>
            <a:xfrm>
              <a:off x="4497115" y="3755586"/>
              <a:ext cx="3934" cy="7869"/>
            </a:xfrm>
            <a:custGeom>
              <a:avLst/>
              <a:gdLst>
                <a:gd name="connsiteX0" fmla="*/ 4721 w 3934"/>
                <a:gd name="connsiteY0" fmla="*/ 2754 h 7868"/>
                <a:gd name="connsiteX1" fmla="*/ 3541 w 3934"/>
                <a:gd name="connsiteY1" fmla="*/ 5508 h 7868"/>
                <a:gd name="connsiteX2" fmla="*/ 787 w 3934"/>
                <a:gd name="connsiteY2" fmla="*/ 8262 h 7868"/>
                <a:gd name="connsiteX3" fmla="*/ 0 w 3934"/>
                <a:gd name="connsiteY3" fmla="*/ 11409 h 7868"/>
                <a:gd name="connsiteX4" fmla="*/ 1180 w 3934"/>
                <a:gd name="connsiteY4" fmla="*/ 11016 h 7868"/>
                <a:gd name="connsiteX5" fmla="*/ 4328 w 3934"/>
                <a:gd name="connsiteY5" fmla="*/ 9049 h 7868"/>
                <a:gd name="connsiteX6" fmla="*/ 5115 w 3934"/>
                <a:gd name="connsiteY6" fmla="*/ 5901 h 7868"/>
                <a:gd name="connsiteX7" fmla="*/ 6295 w 3934"/>
                <a:gd name="connsiteY7" fmla="*/ 3147 h 7868"/>
                <a:gd name="connsiteX8" fmla="*/ 5115 w 3934"/>
                <a:gd name="connsiteY8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4721" y="2754"/>
                  </a:moveTo>
                  <a:lnTo>
                    <a:pt x="3541" y="5508"/>
                  </a:lnTo>
                  <a:lnTo>
                    <a:pt x="787" y="8262"/>
                  </a:lnTo>
                  <a:lnTo>
                    <a:pt x="0" y="11409"/>
                  </a:lnTo>
                  <a:lnTo>
                    <a:pt x="1180" y="11016"/>
                  </a:lnTo>
                  <a:lnTo>
                    <a:pt x="4328" y="9049"/>
                  </a:lnTo>
                  <a:lnTo>
                    <a:pt x="5115" y="5901"/>
                  </a:lnTo>
                  <a:lnTo>
                    <a:pt x="6295" y="3147"/>
                  </a:lnTo>
                  <a:lnTo>
                    <a:pt x="511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29" name="Freeform: Shape 2223">
              <a:extLst>
                <a:ext uri="{FF2B5EF4-FFF2-40B4-BE49-F238E27FC236}">
                  <a16:creationId xmlns:a16="http://schemas.microsoft.com/office/drawing/2014/main" id="{135D2C82-D388-4A41-87A0-3C97CEBEF59F}"/>
                </a:ext>
              </a:extLst>
            </p:cNvPr>
            <p:cNvSpPr/>
            <p:nvPr/>
          </p:nvSpPr>
          <p:spPr>
            <a:xfrm>
              <a:off x="4503410" y="3755192"/>
              <a:ext cx="7869" cy="3934"/>
            </a:xfrm>
            <a:custGeom>
              <a:avLst/>
              <a:gdLst>
                <a:gd name="connsiteX0" fmla="*/ 4721 w 7868"/>
                <a:gd name="connsiteY0" fmla="*/ 2754 h 3934"/>
                <a:gd name="connsiteX1" fmla="*/ 7869 w 7868"/>
                <a:gd name="connsiteY1" fmla="*/ 0 h 3934"/>
                <a:gd name="connsiteX2" fmla="*/ 5901 w 7868"/>
                <a:gd name="connsiteY2" fmla="*/ 0 h 3934"/>
                <a:gd name="connsiteX3" fmla="*/ 3147 w 7868"/>
                <a:gd name="connsiteY3" fmla="*/ 1574 h 3934"/>
                <a:gd name="connsiteX4" fmla="*/ 787 w 7868"/>
                <a:gd name="connsiteY4" fmla="*/ 4721 h 3934"/>
                <a:gd name="connsiteX5" fmla="*/ 0 w 7868"/>
                <a:gd name="connsiteY5" fmla="*/ 7475 h 3934"/>
                <a:gd name="connsiteX6" fmla="*/ 3147 w 7868"/>
                <a:gd name="connsiteY6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4721" y="2754"/>
                  </a:moveTo>
                  <a:lnTo>
                    <a:pt x="7869" y="0"/>
                  </a:lnTo>
                  <a:lnTo>
                    <a:pt x="5901" y="0"/>
                  </a:lnTo>
                  <a:lnTo>
                    <a:pt x="3147" y="1574"/>
                  </a:lnTo>
                  <a:lnTo>
                    <a:pt x="787" y="4721"/>
                  </a:lnTo>
                  <a:lnTo>
                    <a:pt x="0" y="7475"/>
                  </a:lnTo>
                  <a:lnTo>
                    <a:pt x="3147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30" name="Freeform: Shape 2224">
              <a:extLst>
                <a:ext uri="{FF2B5EF4-FFF2-40B4-BE49-F238E27FC236}">
                  <a16:creationId xmlns:a16="http://schemas.microsoft.com/office/drawing/2014/main" id="{7BA1A843-DF50-47A1-90C3-2BE18E40C0F6}"/>
                </a:ext>
              </a:extLst>
            </p:cNvPr>
            <p:cNvSpPr/>
            <p:nvPr/>
          </p:nvSpPr>
          <p:spPr>
            <a:xfrm>
              <a:off x="4504590" y="3735521"/>
              <a:ext cx="3934" cy="7869"/>
            </a:xfrm>
            <a:custGeom>
              <a:avLst/>
              <a:gdLst>
                <a:gd name="connsiteX0" fmla="*/ 2754 w 3934"/>
                <a:gd name="connsiteY0" fmla="*/ 0 h 7868"/>
                <a:gd name="connsiteX1" fmla="*/ 787 w 3934"/>
                <a:gd name="connsiteY1" fmla="*/ 2754 h 7868"/>
                <a:gd name="connsiteX2" fmla="*/ 0 w 3934"/>
                <a:gd name="connsiteY2" fmla="*/ 5508 h 7868"/>
                <a:gd name="connsiteX3" fmla="*/ 787 w 3934"/>
                <a:gd name="connsiteY3" fmla="*/ 8655 h 7868"/>
                <a:gd name="connsiteX4" fmla="*/ 1574 w 3934"/>
                <a:gd name="connsiteY4" fmla="*/ 6688 h 7868"/>
                <a:gd name="connsiteX5" fmla="*/ 2754 w 3934"/>
                <a:gd name="connsiteY5" fmla="*/ 3541 h 7868"/>
                <a:gd name="connsiteX6" fmla="*/ 5508 w 3934"/>
                <a:gd name="connsiteY6" fmla="*/ 157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2754" y="0"/>
                  </a:moveTo>
                  <a:lnTo>
                    <a:pt x="787" y="2754"/>
                  </a:lnTo>
                  <a:lnTo>
                    <a:pt x="0" y="5508"/>
                  </a:lnTo>
                  <a:lnTo>
                    <a:pt x="787" y="8655"/>
                  </a:lnTo>
                  <a:lnTo>
                    <a:pt x="1574" y="6688"/>
                  </a:lnTo>
                  <a:lnTo>
                    <a:pt x="2754" y="3541"/>
                  </a:lnTo>
                  <a:lnTo>
                    <a:pt x="5508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31" name="Freeform: Shape 2225">
              <a:extLst>
                <a:ext uri="{FF2B5EF4-FFF2-40B4-BE49-F238E27FC236}">
                  <a16:creationId xmlns:a16="http://schemas.microsoft.com/office/drawing/2014/main" id="{739934A7-C3AE-406E-8117-D67C27213D6C}"/>
                </a:ext>
              </a:extLst>
            </p:cNvPr>
            <p:cNvSpPr/>
            <p:nvPr/>
          </p:nvSpPr>
          <p:spPr>
            <a:xfrm>
              <a:off x="4506557" y="3739455"/>
              <a:ext cx="3934" cy="3934"/>
            </a:xfrm>
            <a:custGeom>
              <a:avLst/>
              <a:gdLst>
                <a:gd name="connsiteX0" fmla="*/ 0 w 0"/>
                <a:gd name="connsiteY0" fmla="*/ 5114 h 3934"/>
                <a:gd name="connsiteX1" fmla="*/ 787 w 0"/>
                <a:gd name="connsiteY1" fmla="*/ 4721 h 3934"/>
                <a:gd name="connsiteX2" fmla="*/ 3541 w 0"/>
                <a:gd name="connsiteY2" fmla="*/ 2754 h 3934"/>
                <a:gd name="connsiteX3" fmla="*/ 3147 w 0"/>
                <a:gd name="connsiteY3" fmla="*/ 0 h 3934"/>
                <a:gd name="connsiteX4" fmla="*/ 393 w 0"/>
                <a:gd name="connsiteY4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5114"/>
                  </a:moveTo>
                  <a:lnTo>
                    <a:pt x="787" y="4721"/>
                  </a:lnTo>
                  <a:lnTo>
                    <a:pt x="3541" y="2754"/>
                  </a:lnTo>
                  <a:lnTo>
                    <a:pt x="3147" y="0"/>
                  </a:lnTo>
                  <a:lnTo>
                    <a:pt x="393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32" name="Freeform: Shape 2226">
              <a:extLst>
                <a:ext uri="{FF2B5EF4-FFF2-40B4-BE49-F238E27FC236}">
                  <a16:creationId xmlns:a16="http://schemas.microsoft.com/office/drawing/2014/main" id="{FF10AB74-7706-4454-900B-191017F94AA8}"/>
                </a:ext>
              </a:extLst>
            </p:cNvPr>
            <p:cNvSpPr/>
            <p:nvPr/>
          </p:nvSpPr>
          <p:spPr>
            <a:xfrm>
              <a:off x="4509311" y="3738668"/>
              <a:ext cx="3934" cy="3934"/>
            </a:xfrm>
            <a:custGeom>
              <a:avLst/>
              <a:gdLst>
                <a:gd name="connsiteX0" fmla="*/ 5508 w 3934"/>
                <a:gd name="connsiteY0" fmla="*/ 0 h 3934"/>
                <a:gd name="connsiteX1" fmla="*/ 2754 w 3934"/>
                <a:gd name="connsiteY1" fmla="*/ 787 h 3934"/>
                <a:gd name="connsiteX2" fmla="*/ 1574 w 3934"/>
                <a:gd name="connsiteY2" fmla="*/ 3541 h 3934"/>
                <a:gd name="connsiteX3" fmla="*/ 0 w 3934"/>
                <a:gd name="connsiteY3" fmla="*/ 6688 h 3934"/>
                <a:gd name="connsiteX4" fmla="*/ 393 w 3934"/>
                <a:gd name="connsiteY4" fmla="*/ 6295 h 3934"/>
                <a:gd name="connsiteX5" fmla="*/ 3147 w 3934"/>
                <a:gd name="connsiteY5" fmla="*/ 4721 h 3934"/>
                <a:gd name="connsiteX6" fmla="*/ 6295 w 3934"/>
                <a:gd name="connsiteY6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5508" y="0"/>
                  </a:moveTo>
                  <a:lnTo>
                    <a:pt x="2754" y="787"/>
                  </a:lnTo>
                  <a:lnTo>
                    <a:pt x="1574" y="3541"/>
                  </a:lnTo>
                  <a:lnTo>
                    <a:pt x="0" y="6688"/>
                  </a:lnTo>
                  <a:lnTo>
                    <a:pt x="393" y="6295"/>
                  </a:lnTo>
                  <a:lnTo>
                    <a:pt x="3147" y="4721"/>
                  </a:lnTo>
                  <a:lnTo>
                    <a:pt x="6295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33" name="Freeform: Shape 2227">
              <a:extLst>
                <a:ext uri="{FF2B5EF4-FFF2-40B4-BE49-F238E27FC236}">
                  <a16:creationId xmlns:a16="http://schemas.microsoft.com/office/drawing/2014/main" id="{C8FD2E88-7471-45E1-8E47-D70424090ED7}"/>
                </a:ext>
              </a:extLst>
            </p:cNvPr>
            <p:cNvSpPr/>
            <p:nvPr/>
          </p:nvSpPr>
          <p:spPr>
            <a:xfrm>
              <a:off x="4510491" y="3750865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787 h 0"/>
                <a:gd name="connsiteX2" fmla="*/ 0 w 0"/>
                <a:gd name="connsiteY2" fmla="*/ 3541 h 0"/>
                <a:gd name="connsiteX3" fmla="*/ 1574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787"/>
                  </a:lnTo>
                  <a:lnTo>
                    <a:pt x="0" y="3541"/>
                  </a:lnTo>
                  <a:lnTo>
                    <a:pt x="157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34" name="Freeform: Shape 2228">
              <a:extLst>
                <a:ext uri="{FF2B5EF4-FFF2-40B4-BE49-F238E27FC236}">
                  <a16:creationId xmlns:a16="http://schemas.microsoft.com/office/drawing/2014/main" id="{26E6AEBF-24CE-4084-ACF7-9AA9DDC26AC3}"/>
                </a:ext>
              </a:extLst>
            </p:cNvPr>
            <p:cNvSpPr/>
            <p:nvPr/>
          </p:nvSpPr>
          <p:spPr>
            <a:xfrm>
              <a:off x="4511278" y="3723325"/>
              <a:ext cx="3934" cy="3934"/>
            </a:xfrm>
            <a:custGeom>
              <a:avLst/>
              <a:gdLst>
                <a:gd name="connsiteX0" fmla="*/ 5114 w 3934"/>
                <a:gd name="connsiteY0" fmla="*/ 1967 h 3934"/>
                <a:gd name="connsiteX1" fmla="*/ 6295 w 3934"/>
                <a:gd name="connsiteY1" fmla="*/ 1180 h 3934"/>
                <a:gd name="connsiteX2" fmla="*/ 3147 w 3934"/>
                <a:gd name="connsiteY2" fmla="*/ 0 h 3934"/>
                <a:gd name="connsiteX3" fmla="*/ 0 w 3934"/>
                <a:gd name="connsiteY3" fmla="*/ 1967 h 3934"/>
                <a:gd name="connsiteX4" fmla="*/ 393 w 3934"/>
                <a:gd name="connsiteY4" fmla="*/ 3934 h 3934"/>
                <a:gd name="connsiteX5" fmla="*/ 2360 w 3934"/>
                <a:gd name="connsiteY5" fmla="*/ 314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5114" y="1967"/>
                  </a:moveTo>
                  <a:lnTo>
                    <a:pt x="6295" y="1180"/>
                  </a:lnTo>
                  <a:lnTo>
                    <a:pt x="3147" y="0"/>
                  </a:lnTo>
                  <a:lnTo>
                    <a:pt x="0" y="1967"/>
                  </a:lnTo>
                  <a:lnTo>
                    <a:pt x="393" y="3934"/>
                  </a:lnTo>
                  <a:lnTo>
                    <a:pt x="2360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35" name="Freeform: Shape 2229">
              <a:extLst>
                <a:ext uri="{FF2B5EF4-FFF2-40B4-BE49-F238E27FC236}">
                  <a16:creationId xmlns:a16="http://schemas.microsoft.com/office/drawing/2014/main" id="{8084AB1D-910F-4E23-87B2-A026173E4985}"/>
                </a:ext>
              </a:extLst>
            </p:cNvPr>
            <p:cNvSpPr/>
            <p:nvPr/>
          </p:nvSpPr>
          <p:spPr>
            <a:xfrm>
              <a:off x="4519540" y="3719390"/>
              <a:ext cx="3934" cy="3934"/>
            </a:xfrm>
            <a:custGeom>
              <a:avLst/>
              <a:gdLst>
                <a:gd name="connsiteX0" fmla="*/ 3934 w 3934"/>
                <a:gd name="connsiteY0" fmla="*/ 7082 h 3934"/>
                <a:gd name="connsiteX1" fmla="*/ 5901 w 3934"/>
                <a:gd name="connsiteY1" fmla="*/ 5901 h 3934"/>
                <a:gd name="connsiteX2" fmla="*/ 5508 w 3934"/>
                <a:gd name="connsiteY2" fmla="*/ 3148 h 3934"/>
                <a:gd name="connsiteX3" fmla="*/ 3147 w 3934"/>
                <a:gd name="connsiteY3" fmla="*/ 0 h 3934"/>
                <a:gd name="connsiteX4" fmla="*/ 0 w 3934"/>
                <a:gd name="connsiteY4" fmla="*/ 394 h 3934"/>
                <a:gd name="connsiteX5" fmla="*/ 0 w 3934"/>
                <a:gd name="connsiteY5" fmla="*/ 3148 h 3934"/>
                <a:gd name="connsiteX6" fmla="*/ 1967 w 3934"/>
                <a:gd name="connsiteY6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3934" y="7082"/>
                  </a:moveTo>
                  <a:lnTo>
                    <a:pt x="5901" y="5901"/>
                  </a:lnTo>
                  <a:lnTo>
                    <a:pt x="5508" y="3148"/>
                  </a:lnTo>
                  <a:lnTo>
                    <a:pt x="3147" y="0"/>
                  </a:lnTo>
                  <a:lnTo>
                    <a:pt x="0" y="394"/>
                  </a:lnTo>
                  <a:lnTo>
                    <a:pt x="0" y="3148"/>
                  </a:lnTo>
                  <a:lnTo>
                    <a:pt x="196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36" name="Freeform: Shape 2230">
              <a:extLst>
                <a:ext uri="{FF2B5EF4-FFF2-40B4-BE49-F238E27FC236}">
                  <a16:creationId xmlns:a16="http://schemas.microsoft.com/office/drawing/2014/main" id="{6F9FB03E-8C69-4627-984A-9B7FB086B795}"/>
                </a:ext>
              </a:extLst>
            </p:cNvPr>
            <p:cNvSpPr/>
            <p:nvPr/>
          </p:nvSpPr>
          <p:spPr>
            <a:xfrm>
              <a:off x="4537244" y="3689883"/>
              <a:ext cx="3934" cy="3934"/>
            </a:xfrm>
            <a:custGeom>
              <a:avLst/>
              <a:gdLst>
                <a:gd name="connsiteX0" fmla="*/ 1574 w 0"/>
                <a:gd name="connsiteY0" fmla="*/ 3541 h 3934"/>
                <a:gd name="connsiteX1" fmla="*/ 2361 w 0"/>
                <a:gd name="connsiteY1" fmla="*/ 2754 h 3934"/>
                <a:gd name="connsiteX2" fmla="*/ 1574 w 0"/>
                <a:gd name="connsiteY2" fmla="*/ 0 h 3934"/>
                <a:gd name="connsiteX3" fmla="*/ 0 w 0"/>
                <a:gd name="connsiteY3" fmla="*/ 1180 h 3934"/>
                <a:gd name="connsiteX4" fmla="*/ 787 w 0"/>
                <a:gd name="connsiteY4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1574" y="3541"/>
                  </a:moveTo>
                  <a:lnTo>
                    <a:pt x="2361" y="2754"/>
                  </a:lnTo>
                  <a:lnTo>
                    <a:pt x="1574" y="0"/>
                  </a:lnTo>
                  <a:lnTo>
                    <a:pt x="0" y="1180"/>
                  </a:lnTo>
                  <a:lnTo>
                    <a:pt x="787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37" name="Freeform: Shape 2231">
              <a:extLst>
                <a:ext uri="{FF2B5EF4-FFF2-40B4-BE49-F238E27FC236}">
                  <a16:creationId xmlns:a16="http://schemas.microsoft.com/office/drawing/2014/main" id="{14E3CE12-AF4B-4000-96C0-FE4891B562C1}"/>
                </a:ext>
              </a:extLst>
            </p:cNvPr>
            <p:cNvSpPr/>
            <p:nvPr/>
          </p:nvSpPr>
          <p:spPr>
            <a:xfrm>
              <a:off x="4567538" y="3779191"/>
              <a:ext cx="3934" cy="7869"/>
            </a:xfrm>
            <a:custGeom>
              <a:avLst/>
              <a:gdLst>
                <a:gd name="connsiteX0" fmla="*/ 0 w 3934"/>
                <a:gd name="connsiteY0" fmla="*/ 4721 h 7868"/>
                <a:gd name="connsiteX1" fmla="*/ 2360 w 3934"/>
                <a:gd name="connsiteY1" fmla="*/ 7869 h 7868"/>
                <a:gd name="connsiteX2" fmla="*/ 3147 w 3934"/>
                <a:gd name="connsiteY2" fmla="*/ 5901 h 7868"/>
                <a:gd name="connsiteX3" fmla="*/ 3934 w 3934"/>
                <a:gd name="connsiteY3" fmla="*/ 2754 h 7868"/>
                <a:gd name="connsiteX4" fmla="*/ 4328 w 3934"/>
                <a:gd name="connsiteY4" fmla="*/ 0 h 7868"/>
                <a:gd name="connsiteX5" fmla="*/ 1574 w 3934"/>
                <a:gd name="connsiteY5" fmla="*/ 196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0" y="4721"/>
                  </a:moveTo>
                  <a:lnTo>
                    <a:pt x="2360" y="7869"/>
                  </a:lnTo>
                  <a:lnTo>
                    <a:pt x="3147" y="5901"/>
                  </a:lnTo>
                  <a:lnTo>
                    <a:pt x="3934" y="2754"/>
                  </a:lnTo>
                  <a:lnTo>
                    <a:pt x="4328" y="0"/>
                  </a:lnTo>
                  <a:lnTo>
                    <a:pt x="157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38" name="Freeform: Shape 2232">
              <a:extLst>
                <a:ext uri="{FF2B5EF4-FFF2-40B4-BE49-F238E27FC236}">
                  <a16:creationId xmlns:a16="http://schemas.microsoft.com/office/drawing/2014/main" id="{FCE449F3-5A6E-4855-B4AC-3987B259E5C0}"/>
                </a:ext>
              </a:extLst>
            </p:cNvPr>
            <p:cNvSpPr/>
            <p:nvPr/>
          </p:nvSpPr>
          <p:spPr>
            <a:xfrm>
              <a:off x="4696189" y="3780372"/>
              <a:ext cx="3934" cy="3934"/>
            </a:xfrm>
            <a:custGeom>
              <a:avLst/>
              <a:gdLst>
                <a:gd name="connsiteX0" fmla="*/ 0 w 0"/>
                <a:gd name="connsiteY0" fmla="*/ 1967 h 0"/>
                <a:gd name="connsiteX1" fmla="*/ 3147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967"/>
                  </a:moveTo>
                  <a:lnTo>
                    <a:pt x="3147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39" name="Freeform: Shape 2233">
              <a:extLst>
                <a:ext uri="{FF2B5EF4-FFF2-40B4-BE49-F238E27FC236}">
                  <a16:creationId xmlns:a16="http://schemas.microsoft.com/office/drawing/2014/main" id="{7EC4B3DE-D94E-4149-9DDB-A4E88E5C7B41}"/>
                </a:ext>
              </a:extLst>
            </p:cNvPr>
            <p:cNvSpPr/>
            <p:nvPr/>
          </p:nvSpPr>
          <p:spPr>
            <a:xfrm>
              <a:off x="4887394" y="4169077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94 w 0"/>
                <a:gd name="connsiteY1" fmla="*/ 393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94" y="393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40" name="Freeform: Shape 2234">
              <a:extLst>
                <a:ext uri="{FF2B5EF4-FFF2-40B4-BE49-F238E27FC236}">
                  <a16:creationId xmlns:a16="http://schemas.microsoft.com/office/drawing/2014/main" id="{3D8E2EBC-F0AC-40FD-B19C-22654C3B8D33}"/>
                </a:ext>
              </a:extLst>
            </p:cNvPr>
            <p:cNvSpPr/>
            <p:nvPr/>
          </p:nvSpPr>
          <p:spPr>
            <a:xfrm>
              <a:off x="4933032" y="4099047"/>
              <a:ext cx="3934" cy="3934"/>
            </a:xfrm>
            <a:custGeom>
              <a:avLst/>
              <a:gdLst>
                <a:gd name="connsiteX0" fmla="*/ 0 w 0"/>
                <a:gd name="connsiteY0" fmla="*/ 5508 h 3934"/>
                <a:gd name="connsiteX1" fmla="*/ 1574 w 0"/>
                <a:gd name="connsiteY1" fmla="*/ 3148 h 3934"/>
                <a:gd name="connsiteX2" fmla="*/ 2360 w 0"/>
                <a:gd name="connsiteY2" fmla="*/ 0 h 3934"/>
                <a:gd name="connsiteX3" fmla="*/ 1180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5508"/>
                  </a:moveTo>
                  <a:lnTo>
                    <a:pt x="1574" y="3148"/>
                  </a:lnTo>
                  <a:lnTo>
                    <a:pt x="2360" y="0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41" name="Freeform: Shape 2235">
              <a:extLst>
                <a:ext uri="{FF2B5EF4-FFF2-40B4-BE49-F238E27FC236}">
                  <a16:creationId xmlns:a16="http://schemas.microsoft.com/office/drawing/2014/main" id="{5A663271-6CFC-4122-8B93-09D032742642}"/>
                </a:ext>
              </a:extLst>
            </p:cNvPr>
            <p:cNvSpPr/>
            <p:nvPr/>
          </p:nvSpPr>
          <p:spPr>
            <a:xfrm>
              <a:off x="4997947" y="3988887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1180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1180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42" name="Freeform: Shape 2236">
              <a:extLst>
                <a:ext uri="{FF2B5EF4-FFF2-40B4-BE49-F238E27FC236}">
                  <a16:creationId xmlns:a16="http://schemas.microsoft.com/office/drawing/2014/main" id="{5218DD9A-FB89-49FE-86F0-4D51F2BD6E26}"/>
                </a:ext>
              </a:extLst>
            </p:cNvPr>
            <p:cNvSpPr/>
            <p:nvPr/>
          </p:nvSpPr>
          <p:spPr>
            <a:xfrm>
              <a:off x="7033142" y="1556726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393 h 0"/>
                <a:gd name="connsiteX2" fmla="*/ 2361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393"/>
                  </a:lnTo>
                  <a:lnTo>
                    <a:pt x="236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43" name="Freeform: Shape 2237">
              <a:extLst>
                <a:ext uri="{FF2B5EF4-FFF2-40B4-BE49-F238E27FC236}">
                  <a16:creationId xmlns:a16="http://schemas.microsoft.com/office/drawing/2014/main" id="{A21BF921-3348-4D4D-8290-3F6D7235B176}"/>
                </a:ext>
              </a:extLst>
            </p:cNvPr>
            <p:cNvSpPr/>
            <p:nvPr/>
          </p:nvSpPr>
          <p:spPr>
            <a:xfrm>
              <a:off x="7077599" y="1144809"/>
              <a:ext cx="3934" cy="3934"/>
            </a:xfrm>
            <a:custGeom>
              <a:avLst/>
              <a:gdLst>
                <a:gd name="connsiteX0" fmla="*/ 0 w 3934"/>
                <a:gd name="connsiteY0" fmla="*/ 787 h 0"/>
                <a:gd name="connsiteX1" fmla="*/ 2754 w 3934"/>
                <a:gd name="connsiteY1" fmla="*/ 1574 h 0"/>
                <a:gd name="connsiteX2" fmla="*/ 5901 w 3934"/>
                <a:gd name="connsiteY2" fmla="*/ 787 h 0"/>
                <a:gd name="connsiteX3" fmla="*/ 3148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787"/>
                  </a:moveTo>
                  <a:lnTo>
                    <a:pt x="2754" y="1574"/>
                  </a:lnTo>
                  <a:lnTo>
                    <a:pt x="5901" y="787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44" name="Freeform: Shape 2238">
              <a:extLst>
                <a:ext uri="{FF2B5EF4-FFF2-40B4-BE49-F238E27FC236}">
                  <a16:creationId xmlns:a16="http://schemas.microsoft.com/office/drawing/2014/main" id="{45CBE024-D8BC-4B5F-8278-E41579A19FCB}"/>
                </a:ext>
              </a:extLst>
            </p:cNvPr>
            <p:cNvSpPr/>
            <p:nvPr/>
          </p:nvSpPr>
          <p:spPr>
            <a:xfrm>
              <a:off x="7126384" y="1138514"/>
              <a:ext cx="3934" cy="3934"/>
            </a:xfrm>
            <a:custGeom>
              <a:avLst/>
              <a:gdLst>
                <a:gd name="connsiteX0" fmla="*/ 6295 w 3934"/>
                <a:gd name="connsiteY0" fmla="*/ 787 h 0"/>
                <a:gd name="connsiteX1" fmla="*/ 3147 w 3934"/>
                <a:gd name="connsiteY1" fmla="*/ 0 h 0"/>
                <a:gd name="connsiteX2" fmla="*/ 0 w 3934"/>
                <a:gd name="connsiteY2" fmla="*/ 0 h 0"/>
                <a:gd name="connsiteX3" fmla="*/ 0 w 3934"/>
                <a:gd name="connsiteY3" fmla="*/ 393 h 0"/>
                <a:gd name="connsiteX4" fmla="*/ 3541 w 3934"/>
                <a:gd name="connsiteY4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787"/>
                  </a:moveTo>
                  <a:lnTo>
                    <a:pt x="3147" y="0"/>
                  </a:lnTo>
                  <a:lnTo>
                    <a:pt x="0" y="0"/>
                  </a:lnTo>
                  <a:lnTo>
                    <a:pt x="0" y="393"/>
                  </a:lnTo>
                  <a:lnTo>
                    <a:pt x="354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45" name="Freeform: Shape 2239">
              <a:extLst>
                <a:ext uri="{FF2B5EF4-FFF2-40B4-BE49-F238E27FC236}">
                  <a16:creationId xmlns:a16="http://schemas.microsoft.com/office/drawing/2014/main" id="{ABF8AD58-A372-4A81-BBD6-2830CCADDEB1}"/>
                </a:ext>
              </a:extLst>
            </p:cNvPr>
            <p:cNvSpPr/>
            <p:nvPr/>
          </p:nvSpPr>
          <p:spPr>
            <a:xfrm>
              <a:off x="7140547" y="1132613"/>
              <a:ext cx="7869" cy="3934"/>
            </a:xfrm>
            <a:custGeom>
              <a:avLst/>
              <a:gdLst>
                <a:gd name="connsiteX0" fmla="*/ 5901 w 7868"/>
                <a:gd name="connsiteY0" fmla="*/ 3147 h 0"/>
                <a:gd name="connsiteX1" fmla="*/ 9049 w 7868"/>
                <a:gd name="connsiteY1" fmla="*/ 2361 h 0"/>
                <a:gd name="connsiteX2" fmla="*/ 6295 w 7868"/>
                <a:gd name="connsiteY2" fmla="*/ 787 h 0"/>
                <a:gd name="connsiteX3" fmla="*/ 3148 w 7868"/>
                <a:gd name="connsiteY3" fmla="*/ 0 h 0"/>
                <a:gd name="connsiteX4" fmla="*/ 0 w 7868"/>
                <a:gd name="connsiteY4" fmla="*/ 393 h 0"/>
                <a:gd name="connsiteX5" fmla="*/ 3148 w 7868"/>
                <a:gd name="connsiteY5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5901" y="3147"/>
                  </a:moveTo>
                  <a:lnTo>
                    <a:pt x="9049" y="2361"/>
                  </a:lnTo>
                  <a:lnTo>
                    <a:pt x="6295" y="787"/>
                  </a:lnTo>
                  <a:lnTo>
                    <a:pt x="3148" y="0"/>
                  </a:lnTo>
                  <a:lnTo>
                    <a:pt x="0" y="393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46" name="Freeform: Shape 2240">
              <a:extLst>
                <a:ext uri="{FF2B5EF4-FFF2-40B4-BE49-F238E27FC236}">
                  <a16:creationId xmlns:a16="http://schemas.microsoft.com/office/drawing/2014/main" id="{ECAB2007-2238-4516-B5BA-643A42644420}"/>
                </a:ext>
              </a:extLst>
            </p:cNvPr>
            <p:cNvSpPr/>
            <p:nvPr/>
          </p:nvSpPr>
          <p:spPr>
            <a:xfrm>
              <a:off x="7149596" y="1117269"/>
              <a:ext cx="3934" cy="3934"/>
            </a:xfrm>
            <a:custGeom>
              <a:avLst/>
              <a:gdLst>
                <a:gd name="connsiteX0" fmla="*/ 3147 w 3934"/>
                <a:gd name="connsiteY0" fmla="*/ 1180 h 0"/>
                <a:gd name="connsiteX1" fmla="*/ 6295 w 3934"/>
                <a:gd name="connsiteY1" fmla="*/ 1180 h 0"/>
                <a:gd name="connsiteX2" fmla="*/ 3147 w 3934"/>
                <a:gd name="connsiteY2" fmla="*/ 0 h 0"/>
                <a:gd name="connsiteX3" fmla="*/ 0 w 3934"/>
                <a:gd name="connsiteY3" fmla="*/ 0 h 0"/>
                <a:gd name="connsiteX4" fmla="*/ 3147 w 3934"/>
                <a:gd name="connsiteY4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147" y="1180"/>
                  </a:moveTo>
                  <a:lnTo>
                    <a:pt x="6295" y="1180"/>
                  </a:lnTo>
                  <a:lnTo>
                    <a:pt x="3147" y="0"/>
                  </a:lnTo>
                  <a:lnTo>
                    <a:pt x="0" y="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47" name="Freeform: Shape 2241">
              <a:extLst>
                <a:ext uri="{FF2B5EF4-FFF2-40B4-BE49-F238E27FC236}">
                  <a16:creationId xmlns:a16="http://schemas.microsoft.com/office/drawing/2014/main" id="{03137A88-7DB2-43CF-9FD8-699F8AA1A59C}"/>
                </a:ext>
              </a:extLst>
            </p:cNvPr>
            <p:cNvSpPr/>
            <p:nvPr/>
          </p:nvSpPr>
          <p:spPr>
            <a:xfrm>
              <a:off x="7167300" y="1135760"/>
              <a:ext cx="3934" cy="3934"/>
            </a:xfrm>
            <a:custGeom>
              <a:avLst/>
              <a:gdLst>
                <a:gd name="connsiteX0" fmla="*/ 393 w 3934"/>
                <a:gd name="connsiteY0" fmla="*/ 1574 h 0"/>
                <a:gd name="connsiteX1" fmla="*/ 0 w 3934"/>
                <a:gd name="connsiteY1" fmla="*/ 1967 h 0"/>
                <a:gd name="connsiteX2" fmla="*/ 3540 w 3934"/>
                <a:gd name="connsiteY2" fmla="*/ 1967 h 0"/>
                <a:gd name="connsiteX3" fmla="*/ 6688 w 3934"/>
                <a:gd name="connsiteY3" fmla="*/ 787 h 0"/>
                <a:gd name="connsiteX4" fmla="*/ 3540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93" y="1574"/>
                  </a:moveTo>
                  <a:lnTo>
                    <a:pt x="0" y="1967"/>
                  </a:lnTo>
                  <a:lnTo>
                    <a:pt x="3540" y="1967"/>
                  </a:lnTo>
                  <a:lnTo>
                    <a:pt x="6688" y="787"/>
                  </a:lnTo>
                  <a:lnTo>
                    <a:pt x="354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48" name="Freeform: Shape 2242">
              <a:extLst>
                <a:ext uri="{FF2B5EF4-FFF2-40B4-BE49-F238E27FC236}">
                  <a16:creationId xmlns:a16="http://schemas.microsoft.com/office/drawing/2014/main" id="{CCBC65F9-4A10-4457-B356-526E2922D8AE}"/>
                </a:ext>
              </a:extLst>
            </p:cNvPr>
            <p:cNvSpPr/>
            <p:nvPr/>
          </p:nvSpPr>
          <p:spPr>
            <a:xfrm>
              <a:off x="7170448" y="1134580"/>
              <a:ext cx="7869" cy="3934"/>
            </a:xfrm>
            <a:custGeom>
              <a:avLst/>
              <a:gdLst>
                <a:gd name="connsiteX0" fmla="*/ 8656 w 7868"/>
                <a:gd name="connsiteY0" fmla="*/ 787 h 0"/>
                <a:gd name="connsiteX1" fmla="*/ 5901 w 7868"/>
                <a:gd name="connsiteY1" fmla="*/ 0 h 0"/>
                <a:gd name="connsiteX2" fmla="*/ 2754 w 7868"/>
                <a:gd name="connsiteY2" fmla="*/ 0 h 0"/>
                <a:gd name="connsiteX3" fmla="*/ 0 w 7868"/>
                <a:gd name="connsiteY3" fmla="*/ 787 h 0"/>
                <a:gd name="connsiteX4" fmla="*/ 2754 w 7868"/>
                <a:gd name="connsiteY4" fmla="*/ 1180 h 0"/>
                <a:gd name="connsiteX5" fmla="*/ 5901 w 7868"/>
                <a:gd name="connsiteY5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8656" y="787"/>
                  </a:moveTo>
                  <a:lnTo>
                    <a:pt x="5901" y="0"/>
                  </a:lnTo>
                  <a:lnTo>
                    <a:pt x="2754" y="0"/>
                  </a:lnTo>
                  <a:lnTo>
                    <a:pt x="0" y="787"/>
                  </a:lnTo>
                  <a:lnTo>
                    <a:pt x="2754" y="1180"/>
                  </a:lnTo>
                  <a:lnTo>
                    <a:pt x="590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49" name="Freeform: Shape 2243">
              <a:extLst>
                <a:ext uri="{FF2B5EF4-FFF2-40B4-BE49-F238E27FC236}">
                  <a16:creationId xmlns:a16="http://schemas.microsoft.com/office/drawing/2014/main" id="{71E02CBF-A865-481C-9FB4-5C07C0EC8D1F}"/>
                </a:ext>
              </a:extLst>
            </p:cNvPr>
            <p:cNvSpPr/>
            <p:nvPr/>
          </p:nvSpPr>
          <p:spPr>
            <a:xfrm>
              <a:off x="7177923" y="1139301"/>
              <a:ext cx="7869" cy="3934"/>
            </a:xfrm>
            <a:custGeom>
              <a:avLst/>
              <a:gdLst>
                <a:gd name="connsiteX0" fmla="*/ 0 w 7868"/>
                <a:gd name="connsiteY0" fmla="*/ 1967 h 0"/>
                <a:gd name="connsiteX1" fmla="*/ 3148 w 7868"/>
                <a:gd name="connsiteY1" fmla="*/ 2361 h 0"/>
                <a:gd name="connsiteX2" fmla="*/ 6295 w 7868"/>
                <a:gd name="connsiteY2" fmla="*/ 2361 h 0"/>
                <a:gd name="connsiteX3" fmla="*/ 9049 w 7868"/>
                <a:gd name="connsiteY3" fmla="*/ 393 h 0"/>
                <a:gd name="connsiteX4" fmla="*/ 6295 w 7868"/>
                <a:gd name="connsiteY4" fmla="*/ 0 h 0"/>
                <a:gd name="connsiteX5" fmla="*/ 3148 w 7868"/>
                <a:gd name="connsiteY5" fmla="*/ 1180 h 0"/>
                <a:gd name="connsiteX6" fmla="*/ 393 w 7868"/>
                <a:gd name="connsiteY6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0" y="1967"/>
                  </a:moveTo>
                  <a:lnTo>
                    <a:pt x="3148" y="2361"/>
                  </a:lnTo>
                  <a:lnTo>
                    <a:pt x="6295" y="2361"/>
                  </a:lnTo>
                  <a:lnTo>
                    <a:pt x="9049" y="393"/>
                  </a:lnTo>
                  <a:lnTo>
                    <a:pt x="6295" y="0"/>
                  </a:lnTo>
                  <a:lnTo>
                    <a:pt x="3148" y="1180"/>
                  </a:lnTo>
                  <a:lnTo>
                    <a:pt x="393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50" name="Freeform: Shape 2244">
              <a:extLst>
                <a:ext uri="{FF2B5EF4-FFF2-40B4-BE49-F238E27FC236}">
                  <a16:creationId xmlns:a16="http://schemas.microsoft.com/office/drawing/2014/main" id="{6C45B047-5649-44B7-8409-C8B9B53B7BDC}"/>
                </a:ext>
              </a:extLst>
            </p:cNvPr>
            <p:cNvSpPr/>
            <p:nvPr/>
          </p:nvSpPr>
          <p:spPr>
            <a:xfrm>
              <a:off x="7192873" y="1137334"/>
              <a:ext cx="7869" cy="3934"/>
            </a:xfrm>
            <a:custGeom>
              <a:avLst/>
              <a:gdLst>
                <a:gd name="connsiteX0" fmla="*/ 9836 w 7868"/>
                <a:gd name="connsiteY0" fmla="*/ 393 h 0"/>
                <a:gd name="connsiteX1" fmla="*/ 6688 w 7868"/>
                <a:gd name="connsiteY1" fmla="*/ 0 h 0"/>
                <a:gd name="connsiteX2" fmla="*/ 3540 w 7868"/>
                <a:gd name="connsiteY2" fmla="*/ 0 h 0"/>
                <a:gd name="connsiteX3" fmla="*/ 0 w 7868"/>
                <a:gd name="connsiteY3" fmla="*/ 0 h 0"/>
                <a:gd name="connsiteX4" fmla="*/ 393 w 7868"/>
                <a:gd name="connsiteY4" fmla="*/ 393 h 0"/>
                <a:gd name="connsiteX5" fmla="*/ 6688 w 7868"/>
                <a:gd name="connsiteY5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9836" y="393"/>
                  </a:moveTo>
                  <a:lnTo>
                    <a:pt x="6688" y="0"/>
                  </a:lnTo>
                  <a:lnTo>
                    <a:pt x="3540" y="0"/>
                  </a:lnTo>
                  <a:lnTo>
                    <a:pt x="0" y="0"/>
                  </a:lnTo>
                  <a:lnTo>
                    <a:pt x="393" y="393"/>
                  </a:lnTo>
                  <a:lnTo>
                    <a:pt x="668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51" name="Freeform: Shape 2245">
              <a:extLst>
                <a:ext uri="{FF2B5EF4-FFF2-40B4-BE49-F238E27FC236}">
                  <a16:creationId xmlns:a16="http://schemas.microsoft.com/office/drawing/2014/main" id="{0BA4BC37-48D5-4F7C-9EED-45837DC73B3E}"/>
                </a:ext>
              </a:extLst>
            </p:cNvPr>
            <p:cNvSpPr/>
            <p:nvPr/>
          </p:nvSpPr>
          <p:spPr>
            <a:xfrm>
              <a:off x="7217265" y="1132613"/>
              <a:ext cx="11803" cy="3934"/>
            </a:xfrm>
            <a:custGeom>
              <a:avLst/>
              <a:gdLst>
                <a:gd name="connsiteX0" fmla="*/ 393 w 11802"/>
                <a:gd name="connsiteY0" fmla="*/ 393 h 0"/>
                <a:gd name="connsiteX1" fmla="*/ 0 w 11802"/>
                <a:gd name="connsiteY1" fmla="*/ 787 h 0"/>
                <a:gd name="connsiteX2" fmla="*/ 3148 w 11802"/>
                <a:gd name="connsiteY2" fmla="*/ 1574 h 0"/>
                <a:gd name="connsiteX3" fmla="*/ 6295 w 11802"/>
                <a:gd name="connsiteY3" fmla="*/ 1967 h 0"/>
                <a:gd name="connsiteX4" fmla="*/ 9442 w 11802"/>
                <a:gd name="connsiteY4" fmla="*/ 1967 h 0"/>
                <a:gd name="connsiteX5" fmla="*/ 12589 w 11802"/>
                <a:gd name="connsiteY5" fmla="*/ 0 h 0"/>
                <a:gd name="connsiteX6" fmla="*/ 3541 w 11802"/>
                <a:gd name="connsiteY6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02">
                  <a:moveTo>
                    <a:pt x="393" y="393"/>
                  </a:moveTo>
                  <a:lnTo>
                    <a:pt x="0" y="787"/>
                  </a:lnTo>
                  <a:lnTo>
                    <a:pt x="3148" y="1574"/>
                  </a:lnTo>
                  <a:lnTo>
                    <a:pt x="6295" y="1967"/>
                  </a:lnTo>
                  <a:lnTo>
                    <a:pt x="9442" y="1967"/>
                  </a:lnTo>
                  <a:lnTo>
                    <a:pt x="12589" y="0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52" name="Freeform: Shape 2246">
              <a:extLst>
                <a:ext uri="{FF2B5EF4-FFF2-40B4-BE49-F238E27FC236}">
                  <a16:creationId xmlns:a16="http://schemas.microsoft.com/office/drawing/2014/main" id="{E675AE88-F59F-46FC-9652-DBF0DDEBF015}"/>
                </a:ext>
              </a:extLst>
            </p:cNvPr>
            <p:cNvSpPr/>
            <p:nvPr/>
          </p:nvSpPr>
          <p:spPr>
            <a:xfrm>
              <a:off x="7221986" y="1111367"/>
              <a:ext cx="3934" cy="3934"/>
            </a:xfrm>
            <a:custGeom>
              <a:avLst/>
              <a:gdLst>
                <a:gd name="connsiteX0" fmla="*/ 0 w 3934"/>
                <a:gd name="connsiteY0" fmla="*/ 787 h 0"/>
                <a:gd name="connsiteX1" fmla="*/ 787 w 3934"/>
                <a:gd name="connsiteY1" fmla="*/ 787 h 0"/>
                <a:gd name="connsiteX2" fmla="*/ 3934 w 3934"/>
                <a:gd name="connsiteY2" fmla="*/ 1180 h 0"/>
                <a:gd name="connsiteX3" fmla="*/ 6689 w 3934"/>
                <a:gd name="connsiteY3" fmla="*/ 0 h 0"/>
                <a:gd name="connsiteX4" fmla="*/ 3541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787"/>
                  </a:moveTo>
                  <a:lnTo>
                    <a:pt x="787" y="787"/>
                  </a:lnTo>
                  <a:lnTo>
                    <a:pt x="3934" y="1180"/>
                  </a:lnTo>
                  <a:lnTo>
                    <a:pt x="6689" y="0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53" name="Freeform: Shape 2247">
              <a:extLst>
                <a:ext uri="{FF2B5EF4-FFF2-40B4-BE49-F238E27FC236}">
                  <a16:creationId xmlns:a16="http://schemas.microsoft.com/office/drawing/2014/main" id="{383329C6-7421-4C0B-A99B-A6AAA013E5C5}"/>
                </a:ext>
              </a:extLst>
            </p:cNvPr>
            <p:cNvSpPr/>
            <p:nvPr/>
          </p:nvSpPr>
          <p:spPr>
            <a:xfrm>
              <a:off x="7240871" y="1132613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3148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3148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54" name="Freeform: Shape 2248">
              <a:extLst>
                <a:ext uri="{FF2B5EF4-FFF2-40B4-BE49-F238E27FC236}">
                  <a16:creationId xmlns:a16="http://schemas.microsoft.com/office/drawing/2014/main" id="{936E9BBA-F025-4B53-8A1D-D7892BF99339}"/>
                </a:ext>
              </a:extLst>
            </p:cNvPr>
            <p:cNvSpPr/>
            <p:nvPr/>
          </p:nvSpPr>
          <p:spPr>
            <a:xfrm>
              <a:off x="7240871" y="1120023"/>
              <a:ext cx="11803" cy="3934"/>
            </a:xfrm>
            <a:custGeom>
              <a:avLst/>
              <a:gdLst>
                <a:gd name="connsiteX0" fmla="*/ 0 w 11802"/>
                <a:gd name="connsiteY0" fmla="*/ 0 h 0"/>
                <a:gd name="connsiteX1" fmla="*/ 1967 w 11802"/>
                <a:gd name="connsiteY1" fmla="*/ 393 h 0"/>
                <a:gd name="connsiteX2" fmla="*/ 5115 w 11802"/>
                <a:gd name="connsiteY2" fmla="*/ 393 h 0"/>
                <a:gd name="connsiteX3" fmla="*/ 8262 w 11802"/>
                <a:gd name="connsiteY3" fmla="*/ 787 h 0"/>
                <a:gd name="connsiteX4" fmla="*/ 11409 w 11802"/>
                <a:gd name="connsiteY4" fmla="*/ 787 h 0"/>
                <a:gd name="connsiteX5" fmla="*/ 14950 w 11802"/>
                <a:gd name="connsiteY5" fmla="*/ 393 h 0"/>
                <a:gd name="connsiteX6" fmla="*/ 12196 w 11802"/>
                <a:gd name="connsiteY6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02">
                  <a:moveTo>
                    <a:pt x="0" y="0"/>
                  </a:moveTo>
                  <a:lnTo>
                    <a:pt x="1967" y="393"/>
                  </a:lnTo>
                  <a:lnTo>
                    <a:pt x="5115" y="393"/>
                  </a:lnTo>
                  <a:lnTo>
                    <a:pt x="8262" y="787"/>
                  </a:lnTo>
                  <a:lnTo>
                    <a:pt x="11409" y="787"/>
                  </a:lnTo>
                  <a:lnTo>
                    <a:pt x="14950" y="393"/>
                  </a:lnTo>
                  <a:lnTo>
                    <a:pt x="12196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55" name="Freeform: Shape 2249">
              <a:extLst>
                <a:ext uri="{FF2B5EF4-FFF2-40B4-BE49-F238E27FC236}">
                  <a16:creationId xmlns:a16="http://schemas.microsoft.com/office/drawing/2014/main" id="{FF32C405-4E50-4A59-BC3A-6CFC053AA2C2}"/>
                </a:ext>
              </a:extLst>
            </p:cNvPr>
            <p:cNvSpPr/>
            <p:nvPr/>
          </p:nvSpPr>
          <p:spPr>
            <a:xfrm>
              <a:off x="7245986" y="1147563"/>
              <a:ext cx="11803" cy="3934"/>
            </a:xfrm>
            <a:custGeom>
              <a:avLst/>
              <a:gdLst>
                <a:gd name="connsiteX0" fmla="*/ 7475 w 11802"/>
                <a:gd name="connsiteY0" fmla="*/ 393 h 0"/>
                <a:gd name="connsiteX1" fmla="*/ 4721 w 11802"/>
                <a:gd name="connsiteY1" fmla="*/ 0 h 0"/>
                <a:gd name="connsiteX2" fmla="*/ 1573 w 11802"/>
                <a:gd name="connsiteY2" fmla="*/ 787 h 0"/>
                <a:gd name="connsiteX3" fmla="*/ 0 w 11802"/>
                <a:gd name="connsiteY3" fmla="*/ 1180 h 0"/>
                <a:gd name="connsiteX4" fmla="*/ 3147 w 11802"/>
                <a:gd name="connsiteY4" fmla="*/ 1180 h 0"/>
                <a:gd name="connsiteX5" fmla="*/ 6295 w 11802"/>
                <a:gd name="connsiteY5" fmla="*/ 1180 h 0"/>
                <a:gd name="connsiteX6" fmla="*/ 9836 w 11802"/>
                <a:gd name="connsiteY6" fmla="*/ 1967 h 0"/>
                <a:gd name="connsiteX7" fmla="*/ 12983 w 11802"/>
                <a:gd name="connsiteY7" fmla="*/ 1574 h 0"/>
                <a:gd name="connsiteX8" fmla="*/ 10229 w 11802"/>
                <a:gd name="connsiteY8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>
                  <a:moveTo>
                    <a:pt x="7475" y="393"/>
                  </a:moveTo>
                  <a:lnTo>
                    <a:pt x="4721" y="0"/>
                  </a:lnTo>
                  <a:lnTo>
                    <a:pt x="1573" y="787"/>
                  </a:lnTo>
                  <a:lnTo>
                    <a:pt x="0" y="1180"/>
                  </a:lnTo>
                  <a:lnTo>
                    <a:pt x="3147" y="1180"/>
                  </a:lnTo>
                  <a:lnTo>
                    <a:pt x="6295" y="1180"/>
                  </a:lnTo>
                  <a:lnTo>
                    <a:pt x="9836" y="1967"/>
                  </a:lnTo>
                  <a:lnTo>
                    <a:pt x="12983" y="1574"/>
                  </a:lnTo>
                  <a:lnTo>
                    <a:pt x="10229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56" name="Freeform: Shape 2250">
              <a:extLst>
                <a:ext uri="{FF2B5EF4-FFF2-40B4-BE49-F238E27FC236}">
                  <a16:creationId xmlns:a16="http://schemas.microsoft.com/office/drawing/2014/main" id="{389E7FEB-5D4C-4BCE-85DF-141F2C1BE20A}"/>
                </a:ext>
              </a:extLst>
            </p:cNvPr>
            <p:cNvSpPr/>
            <p:nvPr/>
          </p:nvSpPr>
          <p:spPr>
            <a:xfrm>
              <a:off x="7252674" y="1118056"/>
              <a:ext cx="11803" cy="3934"/>
            </a:xfrm>
            <a:custGeom>
              <a:avLst/>
              <a:gdLst>
                <a:gd name="connsiteX0" fmla="*/ 5901 w 11802"/>
                <a:gd name="connsiteY0" fmla="*/ 787 h 0"/>
                <a:gd name="connsiteX1" fmla="*/ 8655 w 11802"/>
                <a:gd name="connsiteY1" fmla="*/ 1180 h 0"/>
                <a:gd name="connsiteX2" fmla="*/ 11409 w 11802"/>
                <a:gd name="connsiteY2" fmla="*/ 1180 h 0"/>
                <a:gd name="connsiteX3" fmla="*/ 14950 w 11802"/>
                <a:gd name="connsiteY3" fmla="*/ 393 h 0"/>
                <a:gd name="connsiteX4" fmla="*/ 11803 w 11802"/>
                <a:gd name="connsiteY4" fmla="*/ 393 h 0"/>
                <a:gd name="connsiteX5" fmla="*/ 9049 w 11802"/>
                <a:gd name="connsiteY5" fmla="*/ 0 h 0"/>
                <a:gd name="connsiteX6" fmla="*/ 5115 w 11802"/>
                <a:gd name="connsiteY6" fmla="*/ 0 h 0"/>
                <a:gd name="connsiteX7" fmla="*/ 2360 w 11802"/>
                <a:gd name="connsiteY7" fmla="*/ 393 h 0"/>
                <a:gd name="connsiteX8" fmla="*/ 0 w 11802"/>
                <a:gd name="connsiteY8" fmla="*/ 393 h 0"/>
                <a:gd name="connsiteX9" fmla="*/ 2754 w 11802"/>
                <a:gd name="connsiteY9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>
                  <a:moveTo>
                    <a:pt x="5901" y="787"/>
                  </a:moveTo>
                  <a:lnTo>
                    <a:pt x="8655" y="1180"/>
                  </a:lnTo>
                  <a:lnTo>
                    <a:pt x="11409" y="1180"/>
                  </a:lnTo>
                  <a:lnTo>
                    <a:pt x="14950" y="393"/>
                  </a:lnTo>
                  <a:lnTo>
                    <a:pt x="11803" y="393"/>
                  </a:lnTo>
                  <a:lnTo>
                    <a:pt x="9049" y="0"/>
                  </a:lnTo>
                  <a:lnTo>
                    <a:pt x="5115" y="0"/>
                  </a:lnTo>
                  <a:lnTo>
                    <a:pt x="2360" y="393"/>
                  </a:lnTo>
                  <a:lnTo>
                    <a:pt x="0" y="393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57" name="Freeform: Shape 2251">
              <a:extLst>
                <a:ext uri="{FF2B5EF4-FFF2-40B4-BE49-F238E27FC236}">
                  <a16:creationId xmlns:a16="http://schemas.microsoft.com/office/drawing/2014/main" id="{9E1A7F8F-1DD8-4FFA-85C7-1F340CE8BDFA}"/>
                </a:ext>
              </a:extLst>
            </p:cNvPr>
            <p:cNvSpPr/>
            <p:nvPr/>
          </p:nvSpPr>
          <p:spPr>
            <a:xfrm>
              <a:off x="7272738" y="1142055"/>
              <a:ext cx="3934" cy="3934"/>
            </a:xfrm>
            <a:custGeom>
              <a:avLst/>
              <a:gdLst>
                <a:gd name="connsiteX0" fmla="*/ 6295 w 3934"/>
                <a:gd name="connsiteY0" fmla="*/ 393 h 0"/>
                <a:gd name="connsiteX1" fmla="*/ 3148 w 3934"/>
                <a:gd name="connsiteY1" fmla="*/ 0 h 0"/>
                <a:gd name="connsiteX2" fmla="*/ 0 w 3934"/>
                <a:gd name="connsiteY2" fmla="*/ 393 h 0"/>
                <a:gd name="connsiteX3" fmla="*/ 3148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5" y="393"/>
                  </a:moveTo>
                  <a:lnTo>
                    <a:pt x="3148" y="0"/>
                  </a:lnTo>
                  <a:lnTo>
                    <a:pt x="0" y="393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58" name="Freeform: Shape 2252">
              <a:extLst>
                <a:ext uri="{FF2B5EF4-FFF2-40B4-BE49-F238E27FC236}">
                  <a16:creationId xmlns:a16="http://schemas.microsoft.com/office/drawing/2014/main" id="{FE13BF1B-8C6D-43B3-98EA-F46A1716E4EE}"/>
                </a:ext>
              </a:extLst>
            </p:cNvPr>
            <p:cNvSpPr/>
            <p:nvPr/>
          </p:nvSpPr>
          <p:spPr>
            <a:xfrm>
              <a:off x="7309327" y="1457583"/>
              <a:ext cx="3934" cy="3934"/>
            </a:xfrm>
            <a:custGeom>
              <a:avLst/>
              <a:gdLst>
                <a:gd name="connsiteX0" fmla="*/ 0 w 0"/>
                <a:gd name="connsiteY0" fmla="*/ 1180 h 0"/>
                <a:gd name="connsiteX1" fmla="*/ 2754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180"/>
                  </a:moveTo>
                  <a:lnTo>
                    <a:pt x="2754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59" name="Freeform: Shape 2253">
              <a:extLst>
                <a:ext uri="{FF2B5EF4-FFF2-40B4-BE49-F238E27FC236}">
                  <a16:creationId xmlns:a16="http://schemas.microsoft.com/office/drawing/2014/main" id="{7A0855FB-DCE9-472E-9600-D368616CC278}"/>
                </a:ext>
              </a:extLst>
            </p:cNvPr>
            <p:cNvSpPr/>
            <p:nvPr/>
          </p:nvSpPr>
          <p:spPr>
            <a:xfrm>
              <a:off x="7338047" y="1241592"/>
              <a:ext cx="7869" cy="3934"/>
            </a:xfrm>
            <a:custGeom>
              <a:avLst/>
              <a:gdLst>
                <a:gd name="connsiteX0" fmla="*/ 5901 w 7868"/>
                <a:gd name="connsiteY0" fmla="*/ 1180 h 0"/>
                <a:gd name="connsiteX1" fmla="*/ 9049 w 7868"/>
                <a:gd name="connsiteY1" fmla="*/ 0 h 0"/>
                <a:gd name="connsiteX2" fmla="*/ 5901 w 7868"/>
                <a:gd name="connsiteY2" fmla="*/ 0 h 0"/>
                <a:gd name="connsiteX3" fmla="*/ 3148 w 7868"/>
                <a:gd name="connsiteY3" fmla="*/ 787 h 0"/>
                <a:gd name="connsiteX4" fmla="*/ 0 w 7868"/>
                <a:gd name="connsiteY4" fmla="*/ 1180 h 0"/>
                <a:gd name="connsiteX5" fmla="*/ 394 w 7868"/>
                <a:gd name="connsiteY5" fmla="*/ 1967 h 0"/>
                <a:gd name="connsiteX6" fmla="*/ 2754 w 7868"/>
                <a:gd name="connsiteY6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5901" y="1180"/>
                  </a:moveTo>
                  <a:lnTo>
                    <a:pt x="9049" y="0"/>
                  </a:lnTo>
                  <a:lnTo>
                    <a:pt x="5901" y="0"/>
                  </a:lnTo>
                  <a:lnTo>
                    <a:pt x="3148" y="787"/>
                  </a:lnTo>
                  <a:lnTo>
                    <a:pt x="0" y="1180"/>
                  </a:lnTo>
                  <a:lnTo>
                    <a:pt x="394" y="1967"/>
                  </a:lnTo>
                  <a:lnTo>
                    <a:pt x="275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60" name="Freeform: Shape 2254">
              <a:extLst>
                <a:ext uri="{FF2B5EF4-FFF2-40B4-BE49-F238E27FC236}">
                  <a16:creationId xmlns:a16="http://schemas.microsoft.com/office/drawing/2014/main" id="{6EFC32ED-8A4F-41BF-B32D-8A7560D21215}"/>
                </a:ext>
              </a:extLst>
            </p:cNvPr>
            <p:cNvSpPr/>
            <p:nvPr/>
          </p:nvSpPr>
          <p:spPr>
            <a:xfrm>
              <a:off x="7379357" y="1444206"/>
              <a:ext cx="11803" cy="3934"/>
            </a:xfrm>
            <a:custGeom>
              <a:avLst/>
              <a:gdLst>
                <a:gd name="connsiteX0" fmla="*/ 5901 w 11802"/>
                <a:gd name="connsiteY0" fmla="*/ 787 h 0"/>
                <a:gd name="connsiteX1" fmla="*/ 3148 w 11802"/>
                <a:gd name="connsiteY1" fmla="*/ 787 h 0"/>
                <a:gd name="connsiteX2" fmla="*/ 0 w 11802"/>
                <a:gd name="connsiteY2" fmla="*/ 1574 h 0"/>
                <a:gd name="connsiteX3" fmla="*/ 0 w 11802"/>
                <a:gd name="connsiteY3" fmla="*/ 2361 h 0"/>
                <a:gd name="connsiteX4" fmla="*/ 3148 w 11802"/>
                <a:gd name="connsiteY4" fmla="*/ 1967 h 0"/>
                <a:gd name="connsiteX5" fmla="*/ 6295 w 11802"/>
                <a:gd name="connsiteY5" fmla="*/ 1180 h 0"/>
                <a:gd name="connsiteX6" fmla="*/ 9049 w 11802"/>
                <a:gd name="connsiteY6" fmla="*/ 1574 h 0"/>
                <a:gd name="connsiteX7" fmla="*/ 12197 w 11802"/>
                <a:gd name="connsiteY7" fmla="*/ 0 h 0"/>
                <a:gd name="connsiteX8" fmla="*/ 9049 w 11802"/>
                <a:gd name="connsiteY8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>
                  <a:moveTo>
                    <a:pt x="5901" y="787"/>
                  </a:moveTo>
                  <a:lnTo>
                    <a:pt x="3148" y="787"/>
                  </a:lnTo>
                  <a:lnTo>
                    <a:pt x="0" y="1574"/>
                  </a:lnTo>
                  <a:lnTo>
                    <a:pt x="0" y="2361"/>
                  </a:lnTo>
                  <a:lnTo>
                    <a:pt x="3148" y="1967"/>
                  </a:lnTo>
                  <a:lnTo>
                    <a:pt x="6295" y="1180"/>
                  </a:lnTo>
                  <a:lnTo>
                    <a:pt x="9049" y="1574"/>
                  </a:lnTo>
                  <a:lnTo>
                    <a:pt x="12197" y="0"/>
                  </a:lnTo>
                  <a:lnTo>
                    <a:pt x="9049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61" name="Freeform: Shape 2255">
              <a:extLst>
                <a:ext uri="{FF2B5EF4-FFF2-40B4-BE49-F238E27FC236}">
                  <a16:creationId xmlns:a16="http://schemas.microsoft.com/office/drawing/2014/main" id="{6E57A94B-2241-42BE-A7FC-D0C0EEFB65C5}"/>
                </a:ext>
              </a:extLst>
            </p:cNvPr>
            <p:cNvSpPr/>
            <p:nvPr/>
          </p:nvSpPr>
          <p:spPr>
            <a:xfrm>
              <a:off x="7564661" y="1435944"/>
              <a:ext cx="11803" cy="3934"/>
            </a:xfrm>
            <a:custGeom>
              <a:avLst/>
              <a:gdLst>
                <a:gd name="connsiteX0" fmla="*/ 5901 w 11802"/>
                <a:gd name="connsiteY0" fmla="*/ 1180 h 3934"/>
                <a:gd name="connsiteX1" fmla="*/ 9049 w 11802"/>
                <a:gd name="connsiteY1" fmla="*/ 1967 h 3934"/>
                <a:gd name="connsiteX2" fmla="*/ 11803 w 11802"/>
                <a:gd name="connsiteY2" fmla="*/ 3541 h 3934"/>
                <a:gd name="connsiteX3" fmla="*/ 14950 w 11802"/>
                <a:gd name="connsiteY3" fmla="*/ 4328 h 3934"/>
                <a:gd name="connsiteX4" fmla="*/ 11803 w 11802"/>
                <a:gd name="connsiteY4" fmla="*/ 3147 h 3934"/>
                <a:gd name="connsiteX5" fmla="*/ 9049 w 11802"/>
                <a:gd name="connsiteY5" fmla="*/ 1574 h 3934"/>
                <a:gd name="connsiteX6" fmla="*/ 5901 w 11802"/>
                <a:gd name="connsiteY6" fmla="*/ 393 h 3934"/>
                <a:gd name="connsiteX7" fmla="*/ 3147 w 11802"/>
                <a:gd name="connsiteY7" fmla="*/ 0 h 3934"/>
                <a:gd name="connsiteX8" fmla="*/ 0 w 11802"/>
                <a:gd name="connsiteY8" fmla="*/ 0 h 3934"/>
                <a:gd name="connsiteX9" fmla="*/ 0 w 11802"/>
                <a:gd name="connsiteY9" fmla="*/ 0 h 3934"/>
                <a:gd name="connsiteX10" fmla="*/ 3147 w 11802"/>
                <a:gd name="connsiteY10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3934">
                  <a:moveTo>
                    <a:pt x="5901" y="1180"/>
                  </a:moveTo>
                  <a:lnTo>
                    <a:pt x="9049" y="1967"/>
                  </a:lnTo>
                  <a:lnTo>
                    <a:pt x="11803" y="3541"/>
                  </a:lnTo>
                  <a:lnTo>
                    <a:pt x="14950" y="4328"/>
                  </a:lnTo>
                  <a:lnTo>
                    <a:pt x="11803" y="3147"/>
                  </a:lnTo>
                  <a:lnTo>
                    <a:pt x="9049" y="1574"/>
                  </a:lnTo>
                  <a:lnTo>
                    <a:pt x="5901" y="393"/>
                  </a:lnTo>
                  <a:lnTo>
                    <a:pt x="3147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62" name="Freeform: Shape 2256">
              <a:extLst>
                <a:ext uri="{FF2B5EF4-FFF2-40B4-BE49-F238E27FC236}">
                  <a16:creationId xmlns:a16="http://schemas.microsoft.com/office/drawing/2014/main" id="{9A963D4D-40E6-4A25-AED1-09EA302BC2EB}"/>
                </a:ext>
              </a:extLst>
            </p:cNvPr>
            <p:cNvSpPr/>
            <p:nvPr/>
          </p:nvSpPr>
          <p:spPr>
            <a:xfrm>
              <a:off x="7656329" y="1335620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63" name="Freeform: Shape 2257">
              <a:extLst>
                <a:ext uri="{FF2B5EF4-FFF2-40B4-BE49-F238E27FC236}">
                  <a16:creationId xmlns:a16="http://schemas.microsoft.com/office/drawing/2014/main" id="{47021AC1-7B25-41FD-AD29-BC04803B0FA0}"/>
                </a:ext>
              </a:extLst>
            </p:cNvPr>
            <p:cNvSpPr/>
            <p:nvPr/>
          </p:nvSpPr>
          <p:spPr>
            <a:xfrm>
              <a:off x="7685050" y="1504400"/>
              <a:ext cx="3934" cy="3934"/>
            </a:xfrm>
            <a:custGeom>
              <a:avLst/>
              <a:gdLst>
                <a:gd name="connsiteX0" fmla="*/ 3541 w 0"/>
                <a:gd name="connsiteY0" fmla="*/ 393 h 0"/>
                <a:gd name="connsiteX1" fmla="*/ 3147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541" y="393"/>
                  </a:moveTo>
                  <a:lnTo>
                    <a:pt x="314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64" name="Freeform: Shape 2258">
              <a:extLst>
                <a:ext uri="{FF2B5EF4-FFF2-40B4-BE49-F238E27FC236}">
                  <a16:creationId xmlns:a16="http://schemas.microsoft.com/office/drawing/2014/main" id="{5CD21376-BD6C-42AE-BD8F-F3F04E9C9079}"/>
                </a:ext>
              </a:extLst>
            </p:cNvPr>
            <p:cNvSpPr/>
            <p:nvPr/>
          </p:nvSpPr>
          <p:spPr>
            <a:xfrm>
              <a:off x="7790094" y="1310835"/>
              <a:ext cx="3934" cy="3934"/>
            </a:xfrm>
            <a:custGeom>
              <a:avLst/>
              <a:gdLst>
                <a:gd name="connsiteX0" fmla="*/ 6295 w 3934"/>
                <a:gd name="connsiteY0" fmla="*/ 1967 h 0"/>
                <a:gd name="connsiteX1" fmla="*/ 3148 w 3934"/>
                <a:gd name="connsiteY1" fmla="*/ 0 h 0"/>
                <a:gd name="connsiteX2" fmla="*/ 0 w 3934"/>
                <a:gd name="connsiteY2" fmla="*/ 393 h 0"/>
                <a:gd name="connsiteX3" fmla="*/ 3148 w 3934"/>
                <a:gd name="connsiteY3" fmla="*/ 1574 h 0"/>
                <a:gd name="connsiteX4" fmla="*/ 5901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1967"/>
                  </a:moveTo>
                  <a:lnTo>
                    <a:pt x="3148" y="0"/>
                  </a:lnTo>
                  <a:lnTo>
                    <a:pt x="0" y="393"/>
                  </a:lnTo>
                  <a:lnTo>
                    <a:pt x="3148" y="1574"/>
                  </a:lnTo>
                  <a:lnTo>
                    <a:pt x="590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65" name="Freeform: Shape 2259">
              <a:extLst>
                <a:ext uri="{FF2B5EF4-FFF2-40B4-BE49-F238E27FC236}">
                  <a16:creationId xmlns:a16="http://schemas.microsoft.com/office/drawing/2014/main" id="{87225005-90F5-4481-9FA4-F69962674BF1}"/>
                </a:ext>
              </a:extLst>
            </p:cNvPr>
            <p:cNvSpPr/>
            <p:nvPr/>
          </p:nvSpPr>
          <p:spPr>
            <a:xfrm>
              <a:off x="7867206" y="1283295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787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787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66" name="Freeform: Shape 2260">
              <a:extLst>
                <a:ext uri="{FF2B5EF4-FFF2-40B4-BE49-F238E27FC236}">
                  <a16:creationId xmlns:a16="http://schemas.microsoft.com/office/drawing/2014/main" id="{93645EBD-9C1E-448D-AE81-7BAF1E359A16}"/>
                </a:ext>
              </a:extLst>
            </p:cNvPr>
            <p:cNvSpPr/>
            <p:nvPr/>
          </p:nvSpPr>
          <p:spPr>
            <a:xfrm>
              <a:off x="7867993" y="1153071"/>
              <a:ext cx="11803" cy="3934"/>
            </a:xfrm>
            <a:custGeom>
              <a:avLst/>
              <a:gdLst>
                <a:gd name="connsiteX0" fmla="*/ 5901 w 11802"/>
                <a:gd name="connsiteY0" fmla="*/ 1574 h 0"/>
                <a:gd name="connsiteX1" fmla="*/ 9049 w 11802"/>
                <a:gd name="connsiteY1" fmla="*/ 1967 h 0"/>
                <a:gd name="connsiteX2" fmla="*/ 12196 w 11802"/>
                <a:gd name="connsiteY2" fmla="*/ 1967 h 0"/>
                <a:gd name="connsiteX3" fmla="*/ 9049 w 11802"/>
                <a:gd name="connsiteY3" fmla="*/ 787 h 0"/>
                <a:gd name="connsiteX4" fmla="*/ 5901 w 11802"/>
                <a:gd name="connsiteY4" fmla="*/ 787 h 0"/>
                <a:gd name="connsiteX5" fmla="*/ 3147 w 11802"/>
                <a:gd name="connsiteY5" fmla="*/ 393 h 0"/>
                <a:gd name="connsiteX6" fmla="*/ 0 w 11802"/>
                <a:gd name="connsiteY6" fmla="*/ 0 h 0"/>
                <a:gd name="connsiteX7" fmla="*/ 3147 w 11802"/>
                <a:gd name="connsiteY7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>
                  <a:moveTo>
                    <a:pt x="5901" y="1574"/>
                  </a:moveTo>
                  <a:lnTo>
                    <a:pt x="9049" y="1967"/>
                  </a:lnTo>
                  <a:lnTo>
                    <a:pt x="12196" y="1967"/>
                  </a:lnTo>
                  <a:lnTo>
                    <a:pt x="9049" y="787"/>
                  </a:lnTo>
                  <a:lnTo>
                    <a:pt x="5901" y="787"/>
                  </a:lnTo>
                  <a:lnTo>
                    <a:pt x="3147" y="393"/>
                  </a:lnTo>
                  <a:lnTo>
                    <a:pt x="0" y="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67" name="Freeform: Shape 2261">
              <a:extLst>
                <a:ext uri="{FF2B5EF4-FFF2-40B4-BE49-F238E27FC236}">
                  <a16:creationId xmlns:a16="http://schemas.microsoft.com/office/drawing/2014/main" id="{A6E110D0-9114-414C-95F8-31FD536D7687}"/>
                </a:ext>
              </a:extLst>
            </p:cNvPr>
            <p:cNvSpPr/>
            <p:nvPr/>
          </p:nvSpPr>
          <p:spPr>
            <a:xfrm>
              <a:off x="7877435" y="1287622"/>
              <a:ext cx="3934" cy="3934"/>
            </a:xfrm>
            <a:custGeom>
              <a:avLst/>
              <a:gdLst>
                <a:gd name="connsiteX0" fmla="*/ 0 w 3934"/>
                <a:gd name="connsiteY0" fmla="*/ 393 h 0"/>
                <a:gd name="connsiteX1" fmla="*/ 2754 w 3934"/>
                <a:gd name="connsiteY1" fmla="*/ 787 h 0"/>
                <a:gd name="connsiteX2" fmla="*/ 6295 w 3934"/>
                <a:gd name="connsiteY2" fmla="*/ 787 h 0"/>
                <a:gd name="connsiteX3" fmla="*/ 2754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393"/>
                  </a:moveTo>
                  <a:lnTo>
                    <a:pt x="2754" y="787"/>
                  </a:lnTo>
                  <a:lnTo>
                    <a:pt x="6295" y="78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68" name="Freeform: Shape 2262">
              <a:extLst>
                <a:ext uri="{FF2B5EF4-FFF2-40B4-BE49-F238E27FC236}">
                  <a16:creationId xmlns:a16="http://schemas.microsoft.com/office/drawing/2014/main" id="{60E7A8FD-3E40-4946-9C65-AF67C27FF25C}"/>
                </a:ext>
              </a:extLst>
            </p:cNvPr>
            <p:cNvSpPr/>
            <p:nvPr/>
          </p:nvSpPr>
          <p:spPr>
            <a:xfrm>
              <a:off x="7887664" y="1294311"/>
              <a:ext cx="3934" cy="3934"/>
            </a:xfrm>
            <a:custGeom>
              <a:avLst/>
              <a:gdLst>
                <a:gd name="connsiteX0" fmla="*/ 2754 w 3934"/>
                <a:gd name="connsiteY0" fmla="*/ 787 h 0"/>
                <a:gd name="connsiteX1" fmla="*/ 5508 w 3934"/>
                <a:gd name="connsiteY1" fmla="*/ 1180 h 0"/>
                <a:gd name="connsiteX2" fmla="*/ 6295 w 3934"/>
                <a:gd name="connsiteY2" fmla="*/ 393 h 0"/>
                <a:gd name="connsiteX3" fmla="*/ 3147 w 3934"/>
                <a:gd name="connsiteY3" fmla="*/ 0 h 0"/>
                <a:gd name="connsiteX4" fmla="*/ 0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2754" y="787"/>
                  </a:moveTo>
                  <a:lnTo>
                    <a:pt x="5508" y="1180"/>
                  </a:lnTo>
                  <a:lnTo>
                    <a:pt x="6295" y="393"/>
                  </a:lnTo>
                  <a:lnTo>
                    <a:pt x="314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69" name="Freeform: Shape 2263">
              <a:extLst>
                <a:ext uri="{FF2B5EF4-FFF2-40B4-BE49-F238E27FC236}">
                  <a16:creationId xmlns:a16="http://schemas.microsoft.com/office/drawing/2014/main" id="{CD752FFF-BE9C-4CF5-A517-26200C0C512E}"/>
                </a:ext>
              </a:extLst>
            </p:cNvPr>
            <p:cNvSpPr/>
            <p:nvPr/>
          </p:nvSpPr>
          <p:spPr>
            <a:xfrm>
              <a:off x="7894746" y="1277393"/>
              <a:ext cx="3934" cy="3934"/>
            </a:xfrm>
            <a:custGeom>
              <a:avLst/>
              <a:gdLst>
                <a:gd name="connsiteX0" fmla="*/ 5901 w 3934"/>
                <a:gd name="connsiteY0" fmla="*/ 1574 h 0"/>
                <a:gd name="connsiteX1" fmla="*/ 2754 w 3934"/>
                <a:gd name="connsiteY1" fmla="*/ 393 h 0"/>
                <a:gd name="connsiteX2" fmla="*/ 0 w 3934"/>
                <a:gd name="connsiteY2" fmla="*/ 0 h 0"/>
                <a:gd name="connsiteX3" fmla="*/ 3148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1574"/>
                  </a:moveTo>
                  <a:lnTo>
                    <a:pt x="2754" y="393"/>
                  </a:lnTo>
                  <a:lnTo>
                    <a:pt x="0" y="0"/>
                  </a:lnTo>
                  <a:lnTo>
                    <a:pt x="3148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70" name="Freeform: Shape 2264">
              <a:extLst>
                <a:ext uri="{FF2B5EF4-FFF2-40B4-BE49-F238E27FC236}">
                  <a16:creationId xmlns:a16="http://schemas.microsoft.com/office/drawing/2014/main" id="{3BB20F4F-4C37-422B-8108-157F985CE84C}"/>
                </a:ext>
              </a:extLst>
            </p:cNvPr>
            <p:cNvSpPr/>
            <p:nvPr/>
          </p:nvSpPr>
          <p:spPr>
            <a:xfrm>
              <a:off x="7907335" y="1217199"/>
              <a:ext cx="3934" cy="3934"/>
            </a:xfrm>
            <a:custGeom>
              <a:avLst/>
              <a:gdLst>
                <a:gd name="connsiteX0" fmla="*/ 7475 w 3934"/>
                <a:gd name="connsiteY0" fmla="*/ 787 h 0"/>
                <a:gd name="connsiteX1" fmla="*/ 4328 w 3934"/>
                <a:gd name="connsiteY1" fmla="*/ 393 h 0"/>
                <a:gd name="connsiteX2" fmla="*/ 3541 w 3934"/>
                <a:gd name="connsiteY2" fmla="*/ 0 h 0"/>
                <a:gd name="connsiteX3" fmla="*/ 0 w 3934"/>
                <a:gd name="connsiteY3" fmla="*/ 0 h 0"/>
                <a:gd name="connsiteX4" fmla="*/ 3541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7475" y="787"/>
                  </a:moveTo>
                  <a:lnTo>
                    <a:pt x="4328" y="393"/>
                  </a:lnTo>
                  <a:lnTo>
                    <a:pt x="3541" y="0"/>
                  </a:lnTo>
                  <a:lnTo>
                    <a:pt x="0" y="0"/>
                  </a:lnTo>
                  <a:lnTo>
                    <a:pt x="3541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71" name="Freeform: Shape 2265">
              <a:extLst>
                <a:ext uri="{FF2B5EF4-FFF2-40B4-BE49-F238E27FC236}">
                  <a16:creationId xmlns:a16="http://schemas.microsoft.com/office/drawing/2014/main" id="{5292F608-B9E5-403A-8127-CFE398F912A2}"/>
                </a:ext>
              </a:extLst>
            </p:cNvPr>
            <p:cNvSpPr/>
            <p:nvPr/>
          </p:nvSpPr>
          <p:spPr>
            <a:xfrm>
              <a:off x="8034806" y="1222314"/>
              <a:ext cx="3934" cy="3934"/>
            </a:xfrm>
            <a:custGeom>
              <a:avLst/>
              <a:gdLst>
                <a:gd name="connsiteX0" fmla="*/ 6295 w 3934"/>
                <a:gd name="connsiteY0" fmla="*/ 393 h 0"/>
                <a:gd name="connsiteX1" fmla="*/ 3147 w 3934"/>
                <a:gd name="connsiteY1" fmla="*/ 0 h 0"/>
                <a:gd name="connsiteX2" fmla="*/ 0 w 3934"/>
                <a:gd name="connsiteY2" fmla="*/ 0 h 0"/>
                <a:gd name="connsiteX3" fmla="*/ 3934 w 3934"/>
                <a:gd name="connsiteY3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5" y="393"/>
                  </a:moveTo>
                  <a:lnTo>
                    <a:pt x="3147" y="0"/>
                  </a:lnTo>
                  <a:lnTo>
                    <a:pt x="0" y="0"/>
                  </a:lnTo>
                  <a:lnTo>
                    <a:pt x="393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72" name="Freeform: Shape 2266">
              <a:extLst>
                <a:ext uri="{FF2B5EF4-FFF2-40B4-BE49-F238E27FC236}">
                  <a16:creationId xmlns:a16="http://schemas.microsoft.com/office/drawing/2014/main" id="{33AE30BC-7CDD-4BFB-8D93-69359783ACBE}"/>
                </a:ext>
              </a:extLst>
            </p:cNvPr>
            <p:cNvSpPr/>
            <p:nvPr/>
          </p:nvSpPr>
          <p:spPr>
            <a:xfrm>
              <a:off x="8061558" y="1226641"/>
              <a:ext cx="3934" cy="3934"/>
            </a:xfrm>
            <a:custGeom>
              <a:avLst/>
              <a:gdLst>
                <a:gd name="connsiteX0" fmla="*/ 5901 w 3934"/>
                <a:gd name="connsiteY0" fmla="*/ 787 h 0"/>
                <a:gd name="connsiteX1" fmla="*/ 2754 w 3934"/>
                <a:gd name="connsiteY1" fmla="*/ 0 h 0"/>
                <a:gd name="connsiteX2" fmla="*/ 0 w 3934"/>
                <a:gd name="connsiteY2" fmla="*/ 0 h 0"/>
                <a:gd name="connsiteX3" fmla="*/ 2754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787"/>
                  </a:moveTo>
                  <a:lnTo>
                    <a:pt x="2754" y="0"/>
                  </a:lnTo>
                  <a:lnTo>
                    <a:pt x="0" y="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73" name="Freeform: Shape 2267">
              <a:extLst>
                <a:ext uri="{FF2B5EF4-FFF2-40B4-BE49-F238E27FC236}">
                  <a16:creationId xmlns:a16="http://schemas.microsoft.com/office/drawing/2014/main" id="{A7AE65C3-29D1-4E8E-9FB3-13C25A83E650}"/>
                </a:ext>
              </a:extLst>
            </p:cNvPr>
            <p:cNvSpPr/>
            <p:nvPr/>
          </p:nvSpPr>
          <p:spPr>
            <a:xfrm>
              <a:off x="8375120" y="1235690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74" name="Freeform: Shape 2268">
              <a:extLst>
                <a:ext uri="{FF2B5EF4-FFF2-40B4-BE49-F238E27FC236}">
                  <a16:creationId xmlns:a16="http://schemas.microsoft.com/office/drawing/2014/main" id="{30CAE9F8-6268-401E-80BF-BB85649B7205}"/>
                </a:ext>
              </a:extLst>
            </p:cNvPr>
            <p:cNvSpPr/>
            <p:nvPr/>
          </p:nvSpPr>
          <p:spPr>
            <a:xfrm>
              <a:off x="8731171" y="1308474"/>
              <a:ext cx="3934" cy="3934"/>
            </a:xfrm>
            <a:custGeom>
              <a:avLst/>
              <a:gdLst>
                <a:gd name="connsiteX0" fmla="*/ 4721 w 3934"/>
                <a:gd name="connsiteY0" fmla="*/ 3934 h 3934"/>
                <a:gd name="connsiteX1" fmla="*/ 2754 w 3934"/>
                <a:gd name="connsiteY1" fmla="*/ 2754 h 3934"/>
                <a:gd name="connsiteX2" fmla="*/ 0 w 3934"/>
                <a:gd name="connsiteY2" fmla="*/ 0 h 3934"/>
                <a:gd name="connsiteX3" fmla="*/ 1573 w 3934"/>
                <a:gd name="connsiteY3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4721" y="3934"/>
                  </a:moveTo>
                  <a:lnTo>
                    <a:pt x="2754" y="2754"/>
                  </a:lnTo>
                  <a:lnTo>
                    <a:pt x="0" y="0"/>
                  </a:lnTo>
                  <a:lnTo>
                    <a:pt x="1573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75" name="Freeform: Shape 2269">
              <a:extLst>
                <a:ext uri="{FF2B5EF4-FFF2-40B4-BE49-F238E27FC236}">
                  <a16:creationId xmlns:a16="http://schemas.microsoft.com/office/drawing/2014/main" id="{B8179F29-4C8F-4A7D-B028-9043A96CE993}"/>
                </a:ext>
              </a:extLst>
            </p:cNvPr>
            <p:cNvSpPr/>
            <p:nvPr/>
          </p:nvSpPr>
          <p:spPr>
            <a:xfrm>
              <a:off x="8817331" y="1327752"/>
              <a:ext cx="3934" cy="3934"/>
            </a:xfrm>
            <a:custGeom>
              <a:avLst/>
              <a:gdLst>
                <a:gd name="connsiteX0" fmla="*/ 3148 w 3934"/>
                <a:gd name="connsiteY0" fmla="*/ 1180 h 0"/>
                <a:gd name="connsiteX1" fmla="*/ 3541 w 3934"/>
                <a:gd name="connsiteY1" fmla="*/ 1180 h 0"/>
                <a:gd name="connsiteX2" fmla="*/ 6295 w 3934"/>
                <a:gd name="connsiteY2" fmla="*/ 1180 h 0"/>
                <a:gd name="connsiteX3" fmla="*/ 3148 w 3934"/>
                <a:gd name="connsiteY3" fmla="*/ 0 h 0"/>
                <a:gd name="connsiteX4" fmla="*/ 0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148" y="1180"/>
                  </a:moveTo>
                  <a:lnTo>
                    <a:pt x="3541" y="1180"/>
                  </a:lnTo>
                  <a:lnTo>
                    <a:pt x="6295" y="1180"/>
                  </a:lnTo>
                  <a:lnTo>
                    <a:pt x="3148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76" name="Freeform: Shape 2270">
              <a:extLst>
                <a:ext uri="{FF2B5EF4-FFF2-40B4-BE49-F238E27FC236}">
                  <a16:creationId xmlns:a16="http://schemas.microsoft.com/office/drawing/2014/main" id="{095E6E43-DFF2-41BA-AC7A-8B5ECF2B51D4}"/>
                </a:ext>
              </a:extLst>
            </p:cNvPr>
            <p:cNvSpPr/>
            <p:nvPr/>
          </p:nvSpPr>
          <p:spPr>
            <a:xfrm>
              <a:off x="9059682" y="1361980"/>
              <a:ext cx="3934" cy="3934"/>
            </a:xfrm>
            <a:custGeom>
              <a:avLst/>
              <a:gdLst>
                <a:gd name="connsiteX0" fmla="*/ 6295 w 3934"/>
                <a:gd name="connsiteY0" fmla="*/ 1180 h 0"/>
                <a:gd name="connsiteX1" fmla="*/ 2754 w 3934"/>
                <a:gd name="connsiteY1" fmla="*/ 0 h 0"/>
                <a:gd name="connsiteX2" fmla="*/ 0 w 3934"/>
                <a:gd name="connsiteY2" fmla="*/ 787 h 0"/>
                <a:gd name="connsiteX3" fmla="*/ 3147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5" y="1180"/>
                  </a:moveTo>
                  <a:lnTo>
                    <a:pt x="2754" y="0"/>
                  </a:lnTo>
                  <a:lnTo>
                    <a:pt x="0" y="787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77" name="Freeform: Shape 2271">
              <a:extLst>
                <a:ext uri="{FF2B5EF4-FFF2-40B4-BE49-F238E27FC236}">
                  <a16:creationId xmlns:a16="http://schemas.microsoft.com/office/drawing/2014/main" id="{BD7B7C4B-6B79-4240-8B03-D0A04AF83BCC}"/>
                </a:ext>
              </a:extLst>
            </p:cNvPr>
            <p:cNvSpPr/>
            <p:nvPr/>
          </p:nvSpPr>
          <p:spPr>
            <a:xfrm>
              <a:off x="9178103" y="1240805"/>
              <a:ext cx="3934" cy="3934"/>
            </a:xfrm>
            <a:custGeom>
              <a:avLst/>
              <a:gdLst>
                <a:gd name="connsiteX0" fmla="*/ 6295 w 3934"/>
                <a:gd name="connsiteY0" fmla="*/ 2754 h 0"/>
                <a:gd name="connsiteX1" fmla="*/ 3147 w 3934"/>
                <a:gd name="connsiteY1" fmla="*/ 0 h 0"/>
                <a:gd name="connsiteX2" fmla="*/ 0 w 3934"/>
                <a:gd name="connsiteY2" fmla="*/ 393 h 0"/>
                <a:gd name="connsiteX3" fmla="*/ 3147 w 3934"/>
                <a:gd name="connsiteY3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5" y="2754"/>
                  </a:moveTo>
                  <a:lnTo>
                    <a:pt x="3147" y="0"/>
                  </a:lnTo>
                  <a:lnTo>
                    <a:pt x="0" y="393"/>
                  </a:lnTo>
                  <a:lnTo>
                    <a:pt x="3147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78" name="Freeform: Shape 2272">
              <a:extLst>
                <a:ext uri="{FF2B5EF4-FFF2-40B4-BE49-F238E27FC236}">
                  <a16:creationId xmlns:a16="http://schemas.microsoft.com/office/drawing/2014/main" id="{502B5209-3818-4927-97CF-96EE93F905AD}"/>
                </a:ext>
              </a:extLst>
            </p:cNvPr>
            <p:cNvSpPr/>
            <p:nvPr/>
          </p:nvSpPr>
          <p:spPr>
            <a:xfrm>
              <a:off x="8710319" y="294394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2360 w 0"/>
                <a:gd name="connsiteY1" fmla="*/ 1574 h 0"/>
                <a:gd name="connsiteX2" fmla="*/ 157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2360" y="1574"/>
                  </a:lnTo>
                  <a:lnTo>
                    <a:pt x="157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79" name="Freeform: Shape 2273">
              <a:extLst>
                <a:ext uri="{FF2B5EF4-FFF2-40B4-BE49-F238E27FC236}">
                  <a16:creationId xmlns:a16="http://schemas.microsoft.com/office/drawing/2014/main" id="{5B713CBA-5B5F-45FC-8B1E-E582E07AEDAA}"/>
                </a:ext>
              </a:extLst>
            </p:cNvPr>
            <p:cNvSpPr/>
            <p:nvPr/>
          </p:nvSpPr>
          <p:spPr>
            <a:xfrm>
              <a:off x="8711893" y="2971881"/>
              <a:ext cx="3934" cy="3934"/>
            </a:xfrm>
            <a:custGeom>
              <a:avLst/>
              <a:gdLst>
                <a:gd name="connsiteX0" fmla="*/ 787 w 0"/>
                <a:gd name="connsiteY0" fmla="*/ 787 h 3934"/>
                <a:gd name="connsiteX1" fmla="*/ 787 w 0"/>
                <a:gd name="connsiteY1" fmla="*/ 1574 h 3934"/>
                <a:gd name="connsiteX2" fmla="*/ 0 w 0"/>
                <a:gd name="connsiteY2" fmla="*/ 3147 h 3934"/>
                <a:gd name="connsiteX3" fmla="*/ 787 w 0"/>
                <a:gd name="connsiteY3" fmla="*/ 2754 h 3934"/>
                <a:gd name="connsiteX4" fmla="*/ 787 w 0"/>
                <a:gd name="connsiteY4" fmla="*/ 5114 h 3934"/>
                <a:gd name="connsiteX5" fmla="*/ 1967 w 0"/>
                <a:gd name="connsiteY5" fmla="*/ 3541 h 3934"/>
                <a:gd name="connsiteX6" fmla="*/ 1967 w 0"/>
                <a:gd name="connsiteY6" fmla="*/ 787 h 3934"/>
                <a:gd name="connsiteX7" fmla="*/ 1574 w 0"/>
                <a:gd name="connsiteY7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3934">
                  <a:moveTo>
                    <a:pt x="787" y="787"/>
                  </a:moveTo>
                  <a:lnTo>
                    <a:pt x="787" y="1574"/>
                  </a:lnTo>
                  <a:lnTo>
                    <a:pt x="0" y="3147"/>
                  </a:lnTo>
                  <a:lnTo>
                    <a:pt x="787" y="2754"/>
                  </a:lnTo>
                  <a:lnTo>
                    <a:pt x="787" y="5114"/>
                  </a:lnTo>
                  <a:lnTo>
                    <a:pt x="1967" y="3541"/>
                  </a:lnTo>
                  <a:lnTo>
                    <a:pt x="1967" y="787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0" name="Freeform: Shape 2274">
              <a:extLst>
                <a:ext uri="{FF2B5EF4-FFF2-40B4-BE49-F238E27FC236}">
                  <a16:creationId xmlns:a16="http://schemas.microsoft.com/office/drawing/2014/main" id="{27BFEABD-2728-4261-A89E-DD45C30C66E1}"/>
                </a:ext>
              </a:extLst>
            </p:cNvPr>
            <p:cNvSpPr/>
            <p:nvPr/>
          </p:nvSpPr>
          <p:spPr>
            <a:xfrm>
              <a:off x="8713860" y="2962438"/>
              <a:ext cx="3934" cy="3934"/>
            </a:xfrm>
            <a:custGeom>
              <a:avLst/>
              <a:gdLst>
                <a:gd name="connsiteX0" fmla="*/ 1180 w 0"/>
                <a:gd name="connsiteY0" fmla="*/ 1967 h 3934"/>
                <a:gd name="connsiteX1" fmla="*/ 393 w 0"/>
                <a:gd name="connsiteY1" fmla="*/ 0 h 3934"/>
                <a:gd name="connsiteX2" fmla="*/ 0 w 0"/>
                <a:gd name="connsiteY2" fmla="*/ 1180 h 3934"/>
                <a:gd name="connsiteX3" fmla="*/ 787 w 0"/>
                <a:gd name="connsiteY3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180" y="1967"/>
                  </a:moveTo>
                  <a:lnTo>
                    <a:pt x="393" y="0"/>
                  </a:lnTo>
                  <a:lnTo>
                    <a:pt x="0" y="1180"/>
                  </a:lnTo>
                  <a:lnTo>
                    <a:pt x="787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1" name="Freeform: Shape 2275">
              <a:extLst>
                <a:ext uri="{FF2B5EF4-FFF2-40B4-BE49-F238E27FC236}">
                  <a16:creationId xmlns:a16="http://schemas.microsoft.com/office/drawing/2014/main" id="{19D7FF22-DB16-43C7-A87A-972D865689CD}"/>
                </a:ext>
              </a:extLst>
            </p:cNvPr>
            <p:cNvSpPr/>
            <p:nvPr/>
          </p:nvSpPr>
          <p:spPr>
            <a:xfrm>
              <a:off x="9456649" y="4420476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3147 h 0"/>
                <a:gd name="connsiteX2" fmla="*/ 394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3147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2" name="Freeform: Shape 2276">
              <a:extLst>
                <a:ext uri="{FF2B5EF4-FFF2-40B4-BE49-F238E27FC236}">
                  <a16:creationId xmlns:a16="http://schemas.microsoft.com/office/drawing/2014/main" id="{0D3279E0-1D9B-4C14-93AA-4D198EEE4FEF}"/>
                </a:ext>
              </a:extLst>
            </p:cNvPr>
            <p:cNvSpPr/>
            <p:nvPr/>
          </p:nvSpPr>
          <p:spPr>
            <a:xfrm>
              <a:off x="9495598" y="4419296"/>
              <a:ext cx="3934" cy="3934"/>
            </a:xfrm>
            <a:custGeom>
              <a:avLst/>
              <a:gdLst>
                <a:gd name="connsiteX0" fmla="*/ 3147 w 0"/>
                <a:gd name="connsiteY0" fmla="*/ 1967 h 0"/>
                <a:gd name="connsiteX1" fmla="*/ 3147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1967"/>
                  </a:moveTo>
                  <a:lnTo>
                    <a:pt x="3147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3" name="Freeform: Shape 2277">
              <a:extLst>
                <a:ext uri="{FF2B5EF4-FFF2-40B4-BE49-F238E27FC236}">
                  <a16:creationId xmlns:a16="http://schemas.microsoft.com/office/drawing/2014/main" id="{6FBED7B8-391F-4041-AA46-DBBEA309DAF7}"/>
                </a:ext>
              </a:extLst>
            </p:cNvPr>
            <p:cNvSpPr/>
            <p:nvPr/>
          </p:nvSpPr>
          <p:spPr>
            <a:xfrm>
              <a:off x="9741490" y="4245795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1180 h 0"/>
                <a:gd name="connsiteX2" fmla="*/ 118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1180"/>
                  </a:lnTo>
                  <a:lnTo>
                    <a:pt x="118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4" name="Freeform: Shape 2278">
              <a:extLst>
                <a:ext uri="{FF2B5EF4-FFF2-40B4-BE49-F238E27FC236}">
                  <a16:creationId xmlns:a16="http://schemas.microsoft.com/office/drawing/2014/main" id="{A4B2A8F9-C9F7-4AB5-9DDB-3F22CACD8539}"/>
                </a:ext>
              </a:extLst>
            </p:cNvPr>
            <p:cNvSpPr/>
            <p:nvPr/>
          </p:nvSpPr>
          <p:spPr>
            <a:xfrm>
              <a:off x="9770603" y="4218255"/>
              <a:ext cx="3934" cy="3934"/>
            </a:xfrm>
            <a:custGeom>
              <a:avLst/>
              <a:gdLst>
                <a:gd name="connsiteX0" fmla="*/ 1573 w 3934"/>
                <a:gd name="connsiteY0" fmla="*/ 2754 h 3934"/>
                <a:gd name="connsiteX1" fmla="*/ 394 w 3934"/>
                <a:gd name="connsiteY1" fmla="*/ 2360 h 3934"/>
                <a:gd name="connsiteX2" fmla="*/ 0 w 3934"/>
                <a:gd name="connsiteY2" fmla="*/ 5114 h 3934"/>
                <a:gd name="connsiteX3" fmla="*/ 1573 w 3934"/>
                <a:gd name="connsiteY3" fmla="*/ 5901 h 3934"/>
                <a:gd name="connsiteX4" fmla="*/ 3540 w 3934"/>
                <a:gd name="connsiteY4" fmla="*/ 3541 h 3934"/>
                <a:gd name="connsiteX5" fmla="*/ 4328 w 3934"/>
                <a:gd name="connsiteY5" fmla="*/ 787 h 3934"/>
                <a:gd name="connsiteX6" fmla="*/ 2361 w 3934"/>
                <a:gd name="connsiteY6" fmla="*/ 0 h 3934"/>
                <a:gd name="connsiteX7" fmla="*/ 1573 w 3934"/>
                <a:gd name="connsiteY7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3934">
                  <a:moveTo>
                    <a:pt x="1573" y="2754"/>
                  </a:moveTo>
                  <a:lnTo>
                    <a:pt x="394" y="2360"/>
                  </a:lnTo>
                  <a:lnTo>
                    <a:pt x="0" y="5114"/>
                  </a:lnTo>
                  <a:lnTo>
                    <a:pt x="1573" y="5901"/>
                  </a:lnTo>
                  <a:lnTo>
                    <a:pt x="3540" y="3541"/>
                  </a:lnTo>
                  <a:lnTo>
                    <a:pt x="4328" y="787"/>
                  </a:lnTo>
                  <a:lnTo>
                    <a:pt x="2361" y="0"/>
                  </a:lnTo>
                  <a:lnTo>
                    <a:pt x="1573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5" name="Freeform: Shape 2279">
              <a:extLst>
                <a:ext uri="{FF2B5EF4-FFF2-40B4-BE49-F238E27FC236}">
                  <a16:creationId xmlns:a16="http://schemas.microsoft.com/office/drawing/2014/main" id="{BEDE062C-1FCB-4B60-8A1F-C1B58DF52BDE}"/>
                </a:ext>
              </a:extLst>
            </p:cNvPr>
            <p:cNvSpPr/>
            <p:nvPr/>
          </p:nvSpPr>
          <p:spPr>
            <a:xfrm>
              <a:off x="9950006" y="1659804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393 h 0"/>
                <a:gd name="connsiteX2" fmla="*/ 314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393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6" name="Freeform: Shape 2280">
              <a:extLst>
                <a:ext uri="{FF2B5EF4-FFF2-40B4-BE49-F238E27FC236}">
                  <a16:creationId xmlns:a16="http://schemas.microsoft.com/office/drawing/2014/main" id="{69A92E1B-849A-4BBD-A728-DF78A612E42C}"/>
                </a:ext>
              </a:extLst>
            </p:cNvPr>
            <p:cNvSpPr/>
            <p:nvPr/>
          </p:nvSpPr>
          <p:spPr>
            <a:xfrm>
              <a:off x="10405987" y="1565775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3148 w 3934"/>
                <a:gd name="connsiteY1" fmla="*/ 1574 h 0"/>
                <a:gd name="connsiteX2" fmla="*/ 5901 w 3934"/>
                <a:gd name="connsiteY2" fmla="*/ 1967 h 0"/>
                <a:gd name="connsiteX3" fmla="*/ 2754 w 3934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3148" y="1574"/>
                  </a:lnTo>
                  <a:lnTo>
                    <a:pt x="5901" y="1967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7" name="Freeform: Shape 2281">
              <a:extLst>
                <a:ext uri="{FF2B5EF4-FFF2-40B4-BE49-F238E27FC236}">
                  <a16:creationId xmlns:a16="http://schemas.microsoft.com/office/drawing/2014/main" id="{0B233EA2-0406-4515-B9E9-56E07352CD3B}"/>
                </a:ext>
              </a:extLst>
            </p:cNvPr>
            <p:cNvSpPr/>
            <p:nvPr/>
          </p:nvSpPr>
          <p:spPr>
            <a:xfrm>
              <a:off x="6973734" y="2511178"/>
              <a:ext cx="62948" cy="35408"/>
            </a:xfrm>
            <a:custGeom>
              <a:avLst/>
              <a:gdLst>
                <a:gd name="connsiteX0" fmla="*/ 12196 w 62948"/>
                <a:gd name="connsiteY0" fmla="*/ 16917 h 35408"/>
                <a:gd name="connsiteX1" fmla="*/ 10229 w 62948"/>
                <a:gd name="connsiteY1" fmla="*/ 16524 h 35408"/>
                <a:gd name="connsiteX2" fmla="*/ 10229 w 62948"/>
                <a:gd name="connsiteY2" fmla="*/ 16917 h 35408"/>
                <a:gd name="connsiteX3" fmla="*/ 9442 w 62948"/>
                <a:gd name="connsiteY3" fmla="*/ 17311 h 35408"/>
                <a:gd name="connsiteX4" fmla="*/ 8262 w 62948"/>
                <a:gd name="connsiteY4" fmla="*/ 17311 h 35408"/>
                <a:gd name="connsiteX5" fmla="*/ 7869 w 62948"/>
                <a:gd name="connsiteY5" fmla="*/ 17311 h 35408"/>
                <a:gd name="connsiteX6" fmla="*/ 7475 w 62948"/>
                <a:gd name="connsiteY6" fmla="*/ 17704 h 35408"/>
                <a:gd name="connsiteX7" fmla="*/ 3148 w 62948"/>
                <a:gd name="connsiteY7" fmla="*/ 21638 h 35408"/>
                <a:gd name="connsiteX8" fmla="*/ 0 w 62948"/>
                <a:gd name="connsiteY8" fmla="*/ 20065 h 35408"/>
                <a:gd name="connsiteX9" fmla="*/ 1180 w 62948"/>
                <a:gd name="connsiteY9" fmla="*/ 23212 h 35408"/>
                <a:gd name="connsiteX10" fmla="*/ 2360 w 62948"/>
                <a:gd name="connsiteY10" fmla="*/ 25573 h 35408"/>
                <a:gd name="connsiteX11" fmla="*/ 4328 w 62948"/>
                <a:gd name="connsiteY11" fmla="*/ 28327 h 35408"/>
                <a:gd name="connsiteX12" fmla="*/ 5115 w 62948"/>
                <a:gd name="connsiteY12" fmla="*/ 31474 h 35408"/>
                <a:gd name="connsiteX13" fmla="*/ 7869 w 62948"/>
                <a:gd name="connsiteY13" fmla="*/ 33048 h 35408"/>
                <a:gd name="connsiteX14" fmla="*/ 9442 w 62948"/>
                <a:gd name="connsiteY14" fmla="*/ 33441 h 35408"/>
                <a:gd name="connsiteX15" fmla="*/ 11803 w 62948"/>
                <a:gd name="connsiteY15" fmla="*/ 34621 h 35408"/>
                <a:gd name="connsiteX16" fmla="*/ 14950 w 62948"/>
                <a:gd name="connsiteY16" fmla="*/ 34621 h 35408"/>
                <a:gd name="connsiteX17" fmla="*/ 19278 w 62948"/>
                <a:gd name="connsiteY17" fmla="*/ 34621 h 35408"/>
                <a:gd name="connsiteX18" fmla="*/ 20458 w 62948"/>
                <a:gd name="connsiteY18" fmla="*/ 36589 h 35408"/>
                <a:gd name="connsiteX19" fmla="*/ 23212 w 62948"/>
                <a:gd name="connsiteY19" fmla="*/ 37769 h 35408"/>
                <a:gd name="connsiteX20" fmla="*/ 22426 w 62948"/>
                <a:gd name="connsiteY20" fmla="*/ 35408 h 35408"/>
                <a:gd name="connsiteX21" fmla="*/ 29507 w 62948"/>
                <a:gd name="connsiteY21" fmla="*/ 32654 h 35408"/>
                <a:gd name="connsiteX22" fmla="*/ 31081 w 62948"/>
                <a:gd name="connsiteY22" fmla="*/ 32654 h 35408"/>
                <a:gd name="connsiteX23" fmla="*/ 33835 w 62948"/>
                <a:gd name="connsiteY23" fmla="*/ 31474 h 35408"/>
                <a:gd name="connsiteX24" fmla="*/ 36982 w 62948"/>
                <a:gd name="connsiteY24" fmla="*/ 29507 h 35408"/>
                <a:gd name="connsiteX25" fmla="*/ 39343 w 62948"/>
                <a:gd name="connsiteY25" fmla="*/ 26753 h 35408"/>
                <a:gd name="connsiteX26" fmla="*/ 41310 w 62948"/>
                <a:gd name="connsiteY26" fmla="*/ 23999 h 35408"/>
                <a:gd name="connsiteX27" fmla="*/ 46818 w 62948"/>
                <a:gd name="connsiteY27" fmla="*/ 24392 h 35408"/>
                <a:gd name="connsiteX28" fmla="*/ 51539 w 62948"/>
                <a:gd name="connsiteY28" fmla="*/ 23212 h 35408"/>
                <a:gd name="connsiteX29" fmla="*/ 49572 w 62948"/>
                <a:gd name="connsiteY29" fmla="*/ 20852 h 35408"/>
                <a:gd name="connsiteX30" fmla="*/ 49178 w 62948"/>
                <a:gd name="connsiteY30" fmla="*/ 20458 h 35408"/>
                <a:gd name="connsiteX31" fmla="*/ 46818 w 62948"/>
                <a:gd name="connsiteY31" fmla="*/ 17704 h 35408"/>
                <a:gd name="connsiteX32" fmla="*/ 64129 w 62948"/>
                <a:gd name="connsiteY32" fmla="*/ 0 h 35408"/>
                <a:gd name="connsiteX33" fmla="*/ 62948 w 62948"/>
                <a:gd name="connsiteY33" fmla="*/ 0 h 35408"/>
                <a:gd name="connsiteX34" fmla="*/ 59801 w 62948"/>
                <a:gd name="connsiteY34" fmla="*/ 1180 h 35408"/>
                <a:gd name="connsiteX35" fmla="*/ 57047 w 62948"/>
                <a:gd name="connsiteY35" fmla="*/ 3147 h 35408"/>
                <a:gd name="connsiteX36" fmla="*/ 54293 w 62948"/>
                <a:gd name="connsiteY36" fmla="*/ 4328 h 35408"/>
                <a:gd name="connsiteX37" fmla="*/ 53113 w 62948"/>
                <a:gd name="connsiteY37" fmla="*/ 4328 h 35408"/>
                <a:gd name="connsiteX38" fmla="*/ 51933 w 62948"/>
                <a:gd name="connsiteY38" fmla="*/ 5508 h 35408"/>
                <a:gd name="connsiteX39" fmla="*/ 42097 w 62948"/>
                <a:gd name="connsiteY39" fmla="*/ 9442 h 35408"/>
                <a:gd name="connsiteX40" fmla="*/ 41703 w 62948"/>
                <a:gd name="connsiteY40" fmla="*/ 9442 h 35408"/>
                <a:gd name="connsiteX41" fmla="*/ 38556 w 62948"/>
                <a:gd name="connsiteY41" fmla="*/ 11016 h 35408"/>
                <a:gd name="connsiteX42" fmla="*/ 33835 w 62948"/>
                <a:gd name="connsiteY42" fmla="*/ 11803 h 35408"/>
                <a:gd name="connsiteX43" fmla="*/ 32655 w 62948"/>
                <a:gd name="connsiteY43" fmla="*/ 11803 h 35408"/>
                <a:gd name="connsiteX44" fmla="*/ 29900 w 62948"/>
                <a:gd name="connsiteY44" fmla="*/ 11409 h 35408"/>
                <a:gd name="connsiteX45" fmla="*/ 27147 w 62948"/>
                <a:gd name="connsiteY45" fmla="*/ 11409 h 35408"/>
                <a:gd name="connsiteX46" fmla="*/ 23999 w 62948"/>
                <a:gd name="connsiteY46" fmla="*/ 11016 h 35408"/>
                <a:gd name="connsiteX47" fmla="*/ 21245 w 62948"/>
                <a:gd name="connsiteY47" fmla="*/ 10623 h 35408"/>
                <a:gd name="connsiteX48" fmla="*/ 18098 w 62948"/>
                <a:gd name="connsiteY48" fmla="*/ 11409 h 35408"/>
                <a:gd name="connsiteX49" fmla="*/ 18491 w 62948"/>
                <a:gd name="connsiteY49" fmla="*/ 14163 h 35408"/>
                <a:gd name="connsiteX50" fmla="*/ 12196 w 62948"/>
                <a:gd name="connsiteY50" fmla="*/ 16917 h 35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62948" h="35408">
                  <a:moveTo>
                    <a:pt x="12196" y="16917"/>
                  </a:moveTo>
                  <a:lnTo>
                    <a:pt x="10229" y="16524"/>
                  </a:lnTo>
                  <a:lnTo>
                    <a:pt x="10229" y="16917"/>
                  </a:lnTo>
                  <a:lnTo>
                    <a:pt x="9442" y="17311"/>
                  </a:lnTo>
                  <a:lnTo>
                    <a:pt x="8262" y="17311"/>
                  </a:lnTo>
                  <a:lnTo>
                    <a:pt x="7869" y="17311"/>
                  </a:lnTo>
                  <a:lnTo>
                    <a:pt x="7475" y="17704"/>
                  </a:lnTo>
                  <a:lnTo>
                    <a:pt x="3148" y="21638"/>
                  </a:lnTo>
                  <a:lnTo>
                    <a:pt x="0" y="20065"/>
                  </a:lnTo>
                  <a:lnTo>
                    <a:pt x="1180" y="23212"/>
                  </a:lnTo>
                  <a:lnTo>
                    <a:pt x="2360" y="25573"/>
                  </a:lnTo>
                  <a:lnTo>
                    <a:pt x="4328" y="28327"/>
                  </a:lnTo>
                  <a:lnTo>
                    <a:pt x="5115" y="31474"/>
                  </a:lnTo>
                  <a:lnTo>
                    <a:pt x="7869" y="33048"/>
                  </a:lnTo>
                  <a:lnTo>
                    <a:pt x="9442" y="33441"/>
                  </a:lnTo>
                  <a:lnTo>
                    <a:pt x="11803" y="34621"/>
                  </a:lnTo>
                  <a:lnTo>
                    <a:pt x="14950" y="34621"/>
                  </a:lnTo>
                  <a:lnTo>
                    <a:pt x="19278" y="34621"/>
                  </a:lnTo>
                  <a:lnTo>
                    <a:pt x="20458" y="36589"/>
                  </a:lnTo>
                  <a:lnTo>
                    <a:pt x="23212" y="37769"/>
                  </a:lnTo>
                  <a:lnTo>
                    <a:pt x="22426" y="35408"/>
                  </a:lnTo>
                  <a:lnTo>
                    <a:pt x="29507" y="32654"/>
                  </a:lnTo>
                  <a:lnTo>
                    <a:pt x="31081" y="32654"/>
                  </a:lnTo>
                  <a:lnTo>
                    <a:pt x="33835" y="31474"/>
                  </a:lnTo>
                  <a:lnTo>
                    <a:pt x="36982" y="29507"/>
                  </a:lnTo>
                  <a:lnTo>
                    <a:pt x="39343" y="26753"/>
                  </a:lnTo>
                  <a:lnTo>
                    <a:pt x="41310" y="23999"/>
                  </a:lnTo>
                  <a:lnTo>
                    <a:pt x="46818" y="24392"/>
                  </a:lnTo>
                  <a:lnTo>
                    <a:pt x="51539" y="23212"/>
                  </a:lnTo>
                  <a:lnTo>
                    <a:pt x="49572" y="20852"/>
                  </a:lnTo>
                  <a:lnTo>
                    <a:pt x="49178" y="20458"/>
                  </a:lnTo>
                  <a:lnTo>
                    <a:pt x="46818" y="17704"/>
                  </a:lnTo>
                  <a:lnTo>
                    <a:pt x="64129" y="0"/>
                  </a:lnTo>
                  <a:lnTo>
                    <a:pt x="62948" y="0"/>
                  </a:lnTo>
                  <a:lnTo>
                    <a:pt x="59801" y="1180"/>
                  </a:lnTo>
                  <a:lnTo>
                    <a:pt x="57047" y="3147"/>
                  </a:lnTo>
                  <a:lnTo>
                    <a:pt x="54293" y="4328"/>
                  </a:lnTo>
                  <a:lnTo>
                    <a:pt x="53113" y="4328"/>
                  </a:lnTo>
                  <a:lnTo>
                    <a:pt x="51933" y="5508"/>
                  </a:lnTo>
                  <a:lnTo>
                    <a:pt x="42097" y="9442"/>
                  </a:lnTo>
                  <a:lnTo>
                    <a:pt x="41703" y="9442"/>
                  </a:lnTo>
                  <a:lnTo>
                    <a:pt x="38556" y="11016"/>
                  </a:lnTo>
                  <a:lnTo>
                    <a:pt x="33835" y="11803"/>
                  </a:lnTo>
                  <a:lnTo>
                    <a:pt x="32655" y="11803"/>
                  </a:lnTo>
                  <a:lnTo>
                    <a:pt x="29900" y="11409"/>
                  </a:lnTo>
                  <a:lnTo>
                    <a:pt x="27147" y="11409"/>
                  </a:lnTo>
                  <a:lnTo>
                    <a:pt x="23999" y="11016"/>
                  </a:lnTo>
                  <a:lnTo>
                    <a:pt x="21245" y="10623"/>
                  </a:lnTo>
                  <a:lnTo>
                    <a:pt x="18098" y="11409"/>
                  </a:lnTo>
                  <a:lnTo>
                    <a:pt x="18491" y="14163"/>
                  </a:lnTo>
                  <a:lnTo>
                    <a:pt x="12196" y="1691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8" name="Freeform: Shape 2282">
              <a:extLst>
                <a:ext uri="{FF2B5EF4-FFF2-40B4-BE49-F238E27FC236}">
                  <a16:creationId xmlns:a16="http://schemas.microsoft.com/office/drawing/2014/main" id="{8A045D46-7204-4EB8-9E77-060F1FC417E9}"/>
                </a:ext>
              </a:extLst>
            </p:cNvPr>
            <p:cNvSpPr/>
            <p:nvPr/>
          </p:nvSpPr>
          <p:spPr>
            <a:xfrm>
              <a:off x="7091762" y="4458639"/>
              <a:ext cx="3934" cy="7869"/>
            </a:xfrm>
            <a:custGeom>
              <a:avLst/>
              <a:gdLst>
                <a:gd name="connsiteX0" fmla="*/ 0 w 0"/>
                <a:gd name="connsiteY0" fmla="*/ 5901 h 7868"/>
                <a:gd name="connsiteX1" fmla="*/ 393 w 0"/>
                <a:gd name="connsiteY1" fmla="*/ 8655 h 7868"/>
                <a:gd name="connsiteX2" fmla="*/ 1180 w 0"/>
                <a:gd name="connsiteY2" fmla="*/ 5901 h 7868"/>
                <a:gd name="connsiteX3" fmla="*/ 1967 w 0"/>
                <a:gd name="connsiteY3" fmla="*/ 2754 h 7868"/>
                <a:gd name="connsiteX4" fmla="*/ 1967 w 0"/>
                <a:gd name="connsiteY4" fmla="*/ 0 h 7868"/>
                <a:gd name="connsiteX5" fmla="*/ 787 w 0"/>
                <a:gd name="connsiteY5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7868">
                  <a:moveTo>
                    <a:pt x="0" y="5901"/>
                  </a:moveTo>
                  <a:lnTo>
                    <a:pt x="393" y="8655"/>
                  </a:lnTo>
                  <a:lnTo>
                    <a:pt x="1180" y="5901"/>
                  </a:lnTo>
                  <a:lnTo>
                    <a:pt x="1967" y="2754"/>
                  </a:lnTo>
                  <a:lnTo>
                    <a:pt x="1967" y="0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9" name="Freeform: Shape 2283">
              <a:extLst>
                <a:ext uri="{FF2B5EF4-FFF2-40B4-BE49-F238E27FC236}">
                  <a16:creationId xmlns:a16="http://schemas.microsoft.com/office/drawing/2014/main" id="{C9CD83D3-ED62-4138-AABA-C7A83267EF21}"/>
                </a:ext>
              </a:extLst>
            </p:cNvPr>
            <p:cNvSpPr/>
            <p:nvPr/>
          </p:nvSpPr>
          <p:spPr>
            <a:xfrm>
              <a:off x="7120483" y="4365790"/>
              <a:ext cx="3934" cy="3934"/>
            </a:xfrm>
            <a:custGeom>
              <a:avLst/>
              <a:gdLst>
                <a:gd name="connsiteX0" fmla="*/ 1574 w 0"/>
                <a:gd name="connsiteY0" fmla="*/ 2754 h 0"/>
                <a:gd name="connsiteX1" fmla="*/ 3147 w 0"/>
                <a:gd name="connsiteY1" fmla="*/ 393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2754"/>
                  </a:moveTo>
                  <a:lnTo>
                    <a:pt x="3147" y="39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0" name="Freeform: Shape 2284">
              <a:extLst>
                <a:ext uri="{FF2B5EF4-FFF2-40B4-BE49-F238E27FC236}">
                  <a16:creationId xmlns:a16="http://schemas.microsoft.com/office/drawing/2014/main" id="{7B331D3C-71DE-472C-9DDE-8388B003BC74}"/>
                </a:ext>
              </a:extLst>
            </p:cNvPr>
            <p:cNvSpPr/>
            <p:nvPr/>
          </p:nvSpPr>
          <p:spPr>
            <a:xfrm>
              <a:off x="7256608" y="4145471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393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39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1" name="Freeform: Shape 2285">
              <a:extLst>
                <a:ext uri="{FF2B5EF4-FFF2-40B4-BE49-F238E27FC236}">
                  <a16:creationId xmlns:a16="http://schemas.microsoft.com/office/drawing/2014/main" id="{2EB7E003-EB94-4D52-99B2-E54F919F9C5D}"/>
                </a:ext>
              </a:extLst>
            </p:cNvPr>
            <p:cNvSpPr/>
            <p:nvPr/>
          </p:nvSpPr>
          <p:spPr>
            <a:xfrm>
              <a:off x="4210700" y="3425108"/>
              <a:ext cx="7869" cy="3934"/>
            </a:xfrm>
            <a:custGeom>
              <a:avLst/>
              <a:gdLst>
                <a:gd name="connsiteX0" fmla="*/ 4721 w 7868"/>
                <a:gd name="connsiteY0" fmla="*/ 0 h 3934"/>
                <a:gd name="connsiteX1" fmla="*/ 1967 w 7868"/>
                <a:gd name="connsiteY1" fmla="*/ 1967 h 3934"/>
                <a:gd name="connsiteX2" fmla="*/ 0 w 7868"/>
                <a:gd name="connsiteY2" fmla="*/ 4721 h 3934"/>
                <a:gd name="connsiteX3" fmla="*/ 2754 w 7868"/>
                <a:gd name="connsiteY3" fmla="*/ 3934 h 3934"/>
                <a:gd name="connsiteX4" fmla="*/ 5901 w 7868"/>
                <a:gd name="connsiteY4" fmla="*/ 3541 h 3934"/>
                <a:gd name="connsiteX5" fmla="*/ 7869 w 7868"/>
                <a:gd name="connsiteY5" fmla="*/ 39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4721" y="0"/>
                  </a:moveTo>
                  <a:lnTo>
                    <a:pt x="1967" y="1967"/>
                  </a:lnTo>
                  <a:lnTo>
                    <a:pt x="0" y="4721"/>
                  </a:lnTo>
                  <a:lnTo>
                    <a:pt x="2754" y="3934"/>
                  </a:lnTo>
                  <a:lnTo>
                    <a:pt x="5901" y="3541"/>
                  </a:lnTo>
                  <a:lnTo>
                    <a:pt x="7869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2" name="Freeform: Shape 2286">
              <a:extLst>
                <a:ext uri="{FF2B5EF4-FFF2-40B4-BE49-F238E27FC236}">
                  <a16:creationId xmlns:a16="http://schemas.microsoft.com/office/drawing/2014/main" id="{73427172-5B5B-488B-BA08-D4DDD09C386A}"/>
                </a:ext>
              </a:extLst>
            </p:cNvPr>
            <p:cNvSpPr/>
            <p:nvPr/>
          </p:nvSpPr>
          <p:spPr>
            <a:xfrm>
              <a:off x="4211094" y="3429042"/>
              <a:ext cx="3934" cy="3934"/>
            </a:xfrm>
            <a:custGeom>
              <a:avLst/>
              <a:gdLst>
                <a:gd name="connsiteX0" fmla="*/ 0 w 3934"/>
                <a:gd name="connsiteY0" fmla="*/ 1180 h 0"/>
                <a:gd name="connsiteX1" fmla="*/ 2754 w 3934"/>
                <a:gd name="connsiteY1" fmla="*/ 2361 h 0"/>
                <a:gd name="connsiteX2" fmla="*/ 5901 w 3934"/>
                <a:gd name="connsiteY2" fmla="*/ 787 h 0"/>
                <a:gd name="connsiteX3" fmla="*/ 2754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180"/>
                  </a:moveTo>
                  <a:lnTo>
                    <a:pt x="2754" y="2361"/>
                  </a:lnTo>
                  <a:lnTo>
                    <a:pt x="5901" y="78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3" name="Freeform: Shape 2287">
              <a:extLst>
                <a:ext uri="{FF2B5EF4-FFF2-40B4-BE49-F238E27FC236}">
                  <a16:creationId xmlns:a16="http://schemas.microsoft.com/office/drawing/2014/main" id="{2725B7FB-4826-4D47-8B6A-0EDA844223FA}"/>
                </a:ext>
              </a:extLst>
            </p:cNvPr>
            <p:cNvSpPr/>
            <p:nvPr/>
          </p:nvSpPr>
          <p:spPr>
            <a:xfrm>
              <a:off x="4217782" y="343100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180 h 0"/>
                <a:gd name="connsiteX2" fmla="*/ 3148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180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4" name="Freeform: Shape 2288">
              <a:extLst>
                <a:ext uri="{FF2B5EF4-FFF2-40B4-BE49-F238E27FC236}">
                  <a16:creationId xmlns:a16="http://schemas.microsoft.com/office/drawing/2014/main" id="{E666B5B1-9C95-41F1-8CC9-04EA3334930E}"/>
                </a:ext>
              </a:extLst>
            </p:cNvPr>
            <p:cNvSpPr/>
            <p:nvPr/>
          </p:nvSpPr>
          <p:spPr>
            <a:xfrm>
              <a:off x="5557006" y="331966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180 w 0"/>
                <a:gd name="connsiteY1" fmla="*/ 3147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180" y="3147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5" name="Freeform: Shape 2289">
              <a:extLst>
                <a:ext uri="{FF2B5EF4-FFF2-40B4-BE49-F238E27FC236}">
                  <a16:creationId xmlns:a16="http://schemas.microsoft.com/office/drawing/2014/main" id="{42464921-7147-4EBB-A752-DA9EF785F40E}"/>
                </a:ext>
              </a:extLst>
            </p:cNvPr>
            <p:cNvSpPr/>
            <p:nvPr/>
          </p:nvSpPr>
          <p:spPr>
            <a:xfrm>
              <a:off x="7522958" y="2833001"/>
              <a:ext cx="3934" cy="11803"/>
            </a:xfrm>
            <a:custGeom>
              <a:avLst/>
              <a:gdLst>
                <a:gd name="connsiteX0" fmla="*/ 3541 w 3934"/>
                <a:gd name="connsiteY0" fmla="*/ 11803 h 11802"/>
                <a:gd name="connsiteX1" fmla="*/ 4721 w 3934"/>
                <a:gd name="connsiteY1" fmla="*/ 14557 h 11802"/>
                <a:gd name="connsiteX2" fmla="*/ 5508 w 3934"/>
                <a:gd name="connsiteY2" fmla="*/ 11803 h 11802"/>
                <a:gd name="connsiteX3" fmla="*/ 5508 w 3934"/>
                <a:gd name="connsiteY3" fmla="*/ 5901 h 11802"/>
                <a:gd name="connsiteX4" fmla="*/ 5115 w 3934"/>
                <a:gd name="connsiteY4" fmla="*/ 3147 h 11802"/>
                <a:gd name="connsiteX5" fmla="*/ 4721 w 3934"/>
                <a:gd name="connsiteY5" fmla="*/ 2754 h 11802"/>
                <a:gd name="connsiteX6" fmla="*/ 3148 w 3934"/>
                <a:gd name="connsiteY6" fmla="*/ 0 h 11802"/>
                <a:gd name="connsiteX7" fmla="*/ 0 w 3934"/>
                <a:gd name="connsiteY7" fmla="*/ 1574 h 11802"/>
                <a:gd name="connsiteX8" fmla="*/ 394 w 3934"/>
                <a:gd name="connsiteY8" fmla="*/ 3147 h 11802"/>
                <a:gd name="connsiteX9" fmla="*/ 1574 w 3934"/>
                <a:gd name="connsiteY9" fmla="*/ 6295 h 11802"/>
                <a:gd name="connsiteX10" fmla="*/ 1180 w 3934"/>
                <a:gd name="connsiteY10" fmla="*/ 904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4" h="11802">
                  <a:moveTo>
                    <a:pt x="3541" y="11803"/>
                  </a:moveTo>
                  <a:lnTo>
                    <a:pt x="4721" y="14557"/>
                  </a:lnTo>
                  <a:lnTo>
                    <a:pt x="5508" y="11803"/>
                  </a:lnTo>
                  <a:lnTo>
                    <a:pt x="5508" y="5901"/>
                  </a:lnTo>
                  <a:lnTo>
                    <a:pt x="5115" y="3147"/>
                  </a:lnTo>
                  <a:lnTo>
                    <a:pt x="4721" y="2754"/>
                  </a:lnTo>
                  <a:lnTo>
                    <a:pt x="3148" y="0"/>
                  </a:lnTo>
                  <a:lnTo>
                    <a:pt x="0" y="1574"/>
                  </a:lnTo>
                  <a:lnTo>
                    <a:pt x="394" y="3147"/>
                  </a:lnTo>
                  <a:lnTo>
                    <a:pt x="1574" y="6295"/>
                  </a:lnTo>
                  <a:lnTo>
                    <a:pt x="1180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6" name="Freeform: Shape 2290">
              <a:extLst>
                <a:ext uri="{FF2B5EF4-FFF2-40B4-BE49-F238E27FC236}">
                  <a16:creationId xmlns:a16="http://schemas.microsoft.com/office/drawing/2014/main" id="{E3C5B4C8-EF6A-4513-95F4-8D48B46239AB}"/>
                </a:ext>
              </a:extLst>
            </p:cNvPr>
            <p:cNvSpPr/>
            <p:nvPr/>
          </p:nvSpPr>
          <p:spPr>
            <a:xfrm>
              <a:off x="9308327" y="329527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180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7" name="Freeform: Shape 2291">
              <a:extLst>
                <a:ext uri="{FF2B5EF4-FFF2-40B4-BE49-F238E27FC236}">
                  <a16:creationId xmlns:a16="http://schemas.microsoft.com/office/drawing/2014/main" id="{4B7336A9-9580-4E82-A443-D1C6F5427030}"/>
                </a:ext>
              </a:extLst>
            </p:cNvPr>
            <p:cNvSpPr/>
            <p:nvPr/>
          </p:nvSpPr>
          <p:spPr>
            <a:xfrm>
              <a:off x="9823716" y="2559570"/>
              <a:ext cx="3934" cy="3934"/>
            </a:xfrm>
            <a:custGeom>
              <a:avLst/>
              <a:gdLst>
                <a:gd name="connsiteX0" fmla="*/ 1967 w 0"/>
                <a:gd name="connsiteY0" fmla="*/ 0 h 0"/>
                <a:gd name="connsiteX1" fmla="*/ 0 w 0"/>
                <a:gd name="connsiteY1" fmla="*/ 1180 h 0"/>
                <a:gd name="connsiteX2" fmla="*/ 3148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0"/>
                  </a:moveTo>
                  <a:lnTo>
                    <a:pt x="0" y="1180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8" name="Freeform: Shape 2292">
              <a:extLst>
                <a:ext uri="{FF2B5EF4-FFF2-40B4-BE49-F238E27FC236}">
                  <a16:creationId xmlns:a16="http://schemas.microsoft.com/office/drawing/2014/main" id="{FF5C8D09-4217-46E3-8E3C-8255B206DC6D}"/>
                </a:ext>
              </a:extLst>
            </p:cNvPr>
            <p:cNvSpPr/>
            <p:nvPr/>
          </p:nvSpPr>
          <p:spPr>
            <a:xfrm>
              <a:off x="9870140" y="2549734"/>
              <a:ext cx="3934" cy="3934"/>
            </a:xfrm>
            <a:custGeom>
              <a:avLst/>
              <a:gdLst>
                <a:gd name="connsiteX0" fmla="*/ 5901 w 3934"/>
                <a:gd name="connsiteY0" fmla="*/ 3934 h 3934"/>
                <a:gd name="connsiteX1" fmla="*/ 5115 w 3934"/>
                <a:gd name="connsiteY1" fmla="*/ 1180 h 3934"/>
                <a:gd name="connsiteX2" fmla="*/ 3148 w 3934"/>
                <a:gd name="connsiteY2" fmla="*/ 0 h 3934"/>
                <a:gd name="connsiteX3" fmla="*/ 0 w 3934"/>
                <a:gd name="connsiteY3" fmla="*/ 2754 h 3934"/>
                <a:gd name="connsiteX4" fmla="*/ 3148 w 3934"/>
                <a:gd name="connsiteY4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901" y="3934"/>
                  </a:moveTo>
                  <a:lnTo>
                    <a:pt x="5115" y="1180"/>
                  </a:lnTo>
                  <a:lnTo>
                    <a:pt x="3148" y="0"/>
                  </a:lnTo>
                  <a:lnTo>
                    <a:pt x="0" y="2754"/>
                  </a:lnTo>
                  <a:lnTo>
                    <a:pt x="3148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9" name="Freeform: Shape 2293">
              <a:extLst>
                <a:ext uri="{FF2B5EF4-FFF2-40B4-BE49-F238E27FC236}">
                  <a16:creationId xmlns:a16="http://schemas.microsoft.com/office/drawing/2014/main" id="{D2B41627-2A2B-4D43-9162-D0EE345F36BC}"/>
                </a:ext>
              </a:extLst>
            </p:cNvPr>
            <p:cNvSpPr/>
            <p:nvPr/>
          </p:nvSpPr>
          <p:spPr>
            <a:xfrm>
              <a:off x="3548564" y="2936079"/>
              <a:ext cx="306873" cy="114094"/>
            </a:xfrm>
            <a:custGeom>
              <a:avLst/>
              <a:gdLst>
                <a:gd name="connsiteX0" fmla="*/ 280907 w 306872"/>
                <a:gd name="connsiteY0" fmla="*/ 112520 h 114093"/>
                <a:gd name="connsiteX1" fmla="*/ 282087 w 306872"/>
                <a:gd name="connsiteY1" fmla="*/ 111733 h 114093"/>
                <a:gd name="connsiteX2" fmla="*/ 282874 w 306872"/>
                <a:gd name="connsiteY2" fmla="*/ 111340 h 114093"/>
                <a:gd name="connsiteX3" fmla="*/ 287988 w 306872"/>
                <a:gd name="connsiteY3" fmla="*/ 108586 h 114093"/>
                <a:gd name="connsiteX4" fmla="*/ 287988 w 306872"/>
                <a:gd name="connsiteY4" fmla="*/ 108586 h 114093"/>
                <a:gd name="connsiteX5" fmla="*/ 291136 w 306872"/>
                <a:gd name="connsiteY5" fmla="*/ 107405 h 114093"/>
                <a:gd name="connsiteX6" fmla="*/ 293890 w 306872"/>
                <a:gd name="connsiteY6" fmla="*/ 107405 h 114093"/>
                <a:gd name="connsiteX7" fmla="*/ 296644 w 306872"/>
                <a:gd name="connsiteY7" fmla="*/ 107012 h 114093"/>
                <a:gd name="connsiteX8" fmla="*/ 299791 w 306872"/>
                <a:gd name="connsiteY8" fmla="*/ 106225 h 114093"/>
                <a:gd name="connsiteX9" fmla="*/ 302545 w 306872"/>
                <a:gd name="connsiteY9" fmla="*/ 106225 h 114093"/>
                <a:gd name="connsiteX10" fmla="*/ 305299 w 306872"/>
                <a:gd name="connsiteY10" fmla="*/ 106619 h 114093"/>
                <a:gd name="connsiteX11" fmla="*/ 308053 w 306872"/>
                <a:gd name="connsiteY11" fmla="*/ 103865 h 114093"/>
                <a:gd name="connsiteX12" fmla="*/ 310414 w 306872"/>
                <a:gd name="connsiteY12" fmla="*/ 101111 h 114093"/>
                <a:gd name="connsiteX13" fmla="*/ 308053 w 306872"/>
                <a:gd name="connsiteY13" fmla="*/ 97963 h 114093"/>
                <a:gd name="connsiteX14" fmla="*/ 305299 w 306872"/>
                <a:gd name="connsiteY14" fmla="*/ 98750 h 114093"/>
                <a:gd name="connsiteX15" fmla="*/ 302151 w 306872"/>
                <a:gd name="connsiteY15" fmla="*/ 97963 h 114093"/>
                <a:gd name="connsiteX16" fmla="*/ 299397 w 306872"/>
                <a:gd name="connsiteY16" fmla="*/ 95603 h 114093"/>
                <a:gd name="connsiteX17" fmla="*/ 299004 w 306872"/>
                <a:gd name="connsiteY17" fmla="*/ 94816 h 114093"/>
                <a:gd name="connsiteX18" fmla="*/ 297430 w 306872"/>
                <a:gd name="connsiteY18" fmla="*/ 92062 h 114093"/>
                <a:gd name="connsiteX19" fmla="*/ 294677 w 306872"/>
                <a:gd name="connsiteY19" fmla="*/ 90095 h 114093"/>
                <a:gd name="connsiteX20" fmla="*/ 291922 w 306872"/>
                <a:gd name="connsiteY20" fmla="*/ 87341 h 114093"/>
                <a:gd name="connsiteX21" fmla="*/ 289168 w 306872"/>
                <a:gd name="connsiteY21" fmla="*/ 86160 h 114093"/>
                <a:gd name="connsiteX22" fmla="*/ 286021 w 306872"/>
                <a:gd name="connsiteY22" fmla="*/ 84980 h 114093"/>
                <a:gd name="connsiteX23" fmla="*/ 282874 w 306872"/>
                <a:gd name="connsiteY23" fmla="*/ 84980 h 114093"/>
                <a:gd name="connsiteX24" fmla="*/ 266743 w 306872"/>
                <a:gd name="connsiteY24" fmla="*/ 77505 h 114093"/>
                <a:gd name="connsiteX25" fmla="*/ 269890 w 306872"/>
                <a:gd name="connsiteY25" fmla="*/ 76325 h 114093"/>
                <a:gd name="connsiteX26" fmla="*/ 270677 w 306872"/>
                <a:gd name="connsiteY26" fmla="*/ 73571 h 114093"/>
                <a:gd name="connsiteX27" fmla="*/ 267923 w 306872"/>
                <a:gd name="connsiteY27" fmla="*/ 70817 h 114093"/>
                <a:gd name="connsiteX28" fmla="*/ 265170 w 306872"/>
                <a:gd name="connsiteY28" fmla="*/ 70423 h 114093"/>
                <a:gd name="connsiteX29" fmla="*/ 262416 w 306872"/>
                <a:gd name="connsiteY29" fmla="*/ 70817 h 114093"/>
                <a:gd name="connsiteX30" fmla="*/ 250613 w 306872"/>
                <a:gd name="connsiteY30" fmla="*/ 66096 h 114093"/>
                <a:gd name="connsiteX31" fmla="*/ 235663 w 306872"/>
                <a:gd name="connsiteY31" fmla="*/ 60588 h 114093"/>
                <a:gd name="connsiteX32" fmla="*/ 236056 w 306872"/>
                <a:gd name="connsiteY32" fmla="*/ 60194 h 114093"/>
                <a:gd name="connsiteX33" fmla="*/ 232909 w 306872"/>
                <a:gd name="connsiteY33" fmla="*/ 59407 h 114093"/>
                <a:gd name="connsiteX34" fmla="*/ 232515 w 306872"/>
                <a:gd name="connsiteY34" fmla="*/ 58227 h 114093"/>
                <a:gd name="connsiteX35" fmla="*/ 230548 w 306872"/>
                <a:gd name="connsiteY35" fmla="*/ 55473 h 114093"/>
                <a:gd name="connsiteX36" fmla="*/ 227794 w 306872"/>
                <a:gd name="connsiteY36" fmla="*/ 56260 h 114093"/>
                <a:gd name="connsiteX37" fmla="*/ 225433 w 306872"/>
                <a:gd name="connsiteY37" fmla="*/ 59014 h 114093"/>
                <a:gd name="connsiteX38" fmla="*/ 223466 w 306872"/>
                <a:gd name="connsiteY38" fmla="*/ 57440 h 114093"/>
                <a:gd name="connsiteX39" fmla="*/ 224253 w 306872"/>
                <a:gd name="connsiteY39" fmla="*/ 56653 h 114093"/>
                <a:gd name="connsiteX40" fmla="*/ 222286 w 306872"/>
                <a:gd name="connsiteY40" fmla="*/ 53506 h 114093"/>
                <a:gd name="connsiteX41" fmla="*/ 225040 w 306872"/>
                <a:gd name="connsiteY41" fmla="*/ 54293 h 114093"/>
                <a:gd name="connsiteX42" fmla="*/ 228187 w 306872"/>
                <a:gd name="connsiteY42" fmla="*/ 54686 h 114093"/>
                <a:gd name="connsiteX43" fmla="*/ 228187 w 306872"/>
                <a:gd name="connsiteY43" fmla="*/ 51932 h 114093"/>
                <a:gd name="connsiteX44" fmla="*/ 225433 w 306872"/>
                <a:gd name="connsiteY44" fmla="*/ 50752 h 114093"/>
                <a:gd name="connsiteX45" fmla="*/ 222679 w 306872"/>
                <a:gd name="connsiteY45" fmla="*/ 48391 h 114093"/>
                <a:gd name="connsiteX46" fmla="*/ 219532 w 306872"/>
                <a:gd name="connsiteY46" fmla="*/ 46818 h 114093"/>
                <a:gd name="connsiteX47" fmla="*/ 216778 w 306872"/>
                <a:gd name="connsiteY47" fmla="*/ 45637 h 114093"/>
                <a:gd name="connsiteX48" fmla="*/ 219532 w 306872"/>
                <a:gd name="connsiteY48" fmla="*/ 47211 h 114093"/>
                <a:gd name="connsiteX49" fmla="*/ 222286 w 306872"/>
                <a:gd name="connsiteY49" fmla="*/ 52719 h 114093"/>
                <a:gd name="connsiteX50" fmla="*/ 219532 w 306872"/>
                <a:gd name="connsiteY50" fmla="*/ 51145 h 114093"/>
                <a:gd name="connsiteX51" fmla="*/ 217958 w 306872"/>
                <a:gd name="connsiteY51" fmla="*/ 48391 h 114093"/>
                <a:gd name="connsiteX52" fmla="*/ 215204 w 306872"/>
                <a:gd name="connsiteY52" fmla="*/ 47998 h 114093"/>
                <a:gd name="connsiteX53" fmla="*/ 213237 w 306872"/>
                <a:gd name="connsiteY53" fmla="*/ 47998 h 114093"/>
                <a:gd name="connsiteX54" fmla="*/ 209303 w 306872"/>
                <a:gd name="connsiteY54" fmla="*/ 44064 h 114093"/>
                <a:gd name="connsiteX55" fmla="*/ 209303 w 306872"/>
                <a:gd name="connsiteY55" fmla="*/ 41703 h 114093"/>
                <a:gd name="connsiteX56" fmla="*/ 207729 w 306872"/>
                <a:gd name="connsiteY56" fmla="*/ 42883 h 114093"/>
                <a:gd name="connsiteX57" fmla="*/ 202615 w 306872"/>
                <a:gd name="connsiteY57" fmla="*/ 37769 h 114093"/>
                <a:gd name="connsiteX58" fmla="*/ 201828 w 306872"/>
                <a:gd name="connsiteY58" fmla="*/ 37769 h 114093"/>
                <a:gd name="connsiteX59" fmla="*/ 199074 w 306872"/>
                <a:gd name="connsiteY59" fmla="*/ 35802 h 114093"/>
                <a:gd name="connsiteX60" fmla="*/ 196320 w 306872"/>
                <a:gd name="connsiteY60" fmla="*/ 35015 h 114093"/>
                <a:gd name="connsiteX61" fmla="*/ 195926 w 306872"/>
                <a:gd name="connsiteY61" fmla="*/ 35015 h 114093"/>
                <a:gd name="connsiteX62" fmla="*/ 193566 w 306872"/>
                <a:gd name="connsiteY62" fmla="*/ 31868 h 114093"/>
                <a:gd name="connsiteX63" fmla="*/ 190812 w 306872"/>
                <a:gd name="connsiteY63" fmla="*/ 31474 h 114093"/>
                <a:gd name="connsiteX64" fmla="*/ 187664 w 306872"/>
                <a:gd name="connsiteY64" fmla="*/ 29114 h 114093"/>
                <a:gd name="connsiteX65" fmla="*/ 184910 w 306872"/>
                <a:gd name="connsiteY65" fmla="*/ 29507 h 114093"/>
                <a:gd name="connsiteX66" fmla="*/ 182156 w 306872"/>
                <a:gd name="connsiteY66" fmla="*/ 27540 h 114093"/>
                <a:gd name="connsiteX67" fmla="*/ 179009 w 306872"/>
                <a:gd name="connsiteY67" fmla="*/ 27540 h 114093"/>
                <a:gd name="connsiteX68" fmla="*/ 177435 w 306872"/>
                <a:gd name="connsiteY68" fmla="*/ 26753 h 114093"/>
                <a:gd name="connsiteX69" fmla="*/ 176649 w 306872"/>
                <a:gd name="connsiteY69" fmla="*/ 27146 h 114093"/>
                <a:gd name="connsiteX70" fmla="*/ 165632 w 306872"/>
                <a:gd name="connsiteY70" fmla="*/ 25179 h 114093"/>
                <a:gd name="connsiteX71" fmla="*/ 164452 w 306872"/>
                <a:gd name="connsiteY71" fmla="*/ 23606 h 114093"/>
                <a:gd name="connsiteX72" fmla="*/ 161698 w 306872"/>
                <a:gd name="connsiteY72" fmla="*/ 20852 h 114093"/>
                <a:gd name="connsiteX73" fmla="*/ 159731 w 306872"/>
                <a:gd name="connsiteY73" fmla="*/ 17704 h 114093"/>
                <a:gd name="connsiteX74" fmla="*/ 159731 w 306872"/>
                <a:gd name="connsiteY74" fmla="*/ 14950 h 114093"/>
                <a:gd name="connsiteX75" fmla="*/ 156977 w 306872"/>
                <a:gd name="connsiteY75" fmla="*/ 14163 h 114093"/>
                <a:gd name="connsiteX76" fmla="*/ 153830 w 306872"/>
                <a:gd name="connsiteY76" fmla="*/ 13376 h 114093"/>
                <a:gd name="connsiteX77" fmla="*/ 156190 w 306872"/>
                <a:gd name="connsiteY77" fmla="*/ 10229 h 114093"/>
                <a:gd name="connsiteX78" fmla="*/ 153043 w 306872"/>
                <a:gd name="connsiteY78" fmla="*/ 11409 h 114093"/>
                <a:gd name="connsiteX79" fmla="*/ 150289 w 306872"/>
                <a:gd name="connsiteY79" fmla="*/ 9442 h 114093"/>
                <a:gd name="connsiteX80" fmla="*/ 143601 w 306872"/>
                <a:gd name="connsiteY80" fmla="*/ 7475 h 114093"/>
                <a:gd name="connsiteX81" fmla="*/ 143601 w 306872"/>
                <a:gd name="connsiteY81" fmla="*/ 6295 h 114093"/>
                <a:gd name="connsiteX82" fmla="*/ 142027 w 306872"/>
                <a:gd name="connsiteY82" fmla="*/ 7082 h 114093"/>
                <a:gd name="connsiteX83" fmla="*/ 133372 w 306872"/>
                <a:gd name="connsiteY83" fmla="*/ 4328 h 114093"/>
                <a:gd name="connsiteX84" fmla="*/ 133372 w 306872"/>
                <a:gd name="connsiteY84" fmla="*/ 2361 h 114093"/>
                <a:gd name="connsiteX85" fmla="*/ 130224 w 306872"/>
                <a:gd name="connsiteY85" fmla="*/ 3541 h 114093"/>
                <a:gd name="connsiteX86" fmla="*/ 128650 w 306872"/>
                <a:gd name="connsiteY86" fmla="*/ 3934 h 114093"/>
                <a:gd name="connsiteX87" fmla="*/ 114881 w 306872"/>
                <a:gd name="connsiteY87" fmla="*/ 2754 h 114093"/>
                <a:gd name="connsiteX88" fmla="*/ 114487 w 306872"/>
                <a:gd name="connsiteY88" fmla="*/ 1574 h 114093"/>
                <a:gd name="connsiteX89" fmla="*/ 117241 w 306872"/>
                <a:gd name="connsiteY89" fmla="*/ 0 h 114093"/>
                <a:gd name="connsiteX90" fmla="*/ 114487 w 306872"/>
                <a:gd name="connsiteY90" fmla="*/ 1180 h 114093"/>
                <a:gd name="connsiteX91" fmla="*/ 111733 w 306872"/>
                <a:gd name="connsiteY91" fmla="*/ 2361 h 114093"/>
                <a:gd name="connsiteX92" fmla="*/ 105438 w 306872"/>
                <a:gd name="connsiteY92" fmla="*/ 1574 h 114093"/>
                <a:gd name="connsiteX93" fmla="*/ 105045 w 306872"/>
                <a:gd name="connsiteY93" fmla="*/ 1180 h 114093"/>
                <a:gd name="connsiteX94" fmla="*/ 102291 w 306872"/>
                <a:gd name="connsiteY94" fmla="*/ 1180 h 114093"/>
                <a:gd name="connsiteX95" fmla="*/ 90095 w 306872"/>
                <a:gd name="connsiteY95" fmla="*/ 0 h 114093"/>
                <a:gd name="connsiteX96" fmla="*/ 88521 w 306872"/>
                <a:gd name="connsiteY96" fmla="*/ 393 h 114093"/>
                <a:gd name="connsiteX97" fmla="*/ 85767 w 306872"/>
                <a:gd name="connsiteY97" fmla="*/ 0 h 114093"/>
                <a:gd name="connsiteX98" fmla="*/ 82620 w 306872"/>
                <a:gd name="connsiteY98" fmla="*/ 1180 h 114093"/>
                <a:gd name="connsiteX99" fmla="*/ 79472 w 306872"/>
                <a:gd name="connsiteY99" fmla="*/ 2361 h 114093"/>
                <a:gd name="connsiteX100" fmla="*/ 76718 w 306872"/>
                <a:gd name="connsiteY100" fmla="*/ 4328 h 114093"/>
                <a:gd name="connsiteX101" fmla="*/ 73177 w 306872"/>
                <a:gd name="connsiteY101" fmla="*/ 5114 h 114093"/>
                <a:gd name="connsiteX102" fmla="*/ 72784 w 306872"/>
                <a:gd name="connsiteY102" fmla="*/ 5114 h 114093"/>
                <a:gd name="connsiteX103" fmla="*/ 70030 w 306872"/>
                <a:gd name="connsiteY103" fmla="*/ 5508 h 114093"/>
                <a:gd name="connsiteX104" fmla="*/ 67276 w 306872"/>
                <a:gd name="connsiteY104" fmla="*/ 5508 h 114093"/>
                <a:gd name="connsiteX105" fmla="*/ 64128 w 306872"/>
                <a:gd name="connsiteY105" fmla="*/ 7082 h 114093"/>
                <a:gd name="connsiteX106" fmla="*/ 61374 w 306872"/>
                <a:gd name="connsiteY106" fmla="*/ 6295 h 114093"/>
                <a:gd name="connsiteX107" fmla="*/ 58227 w 306872"/>
                <a:gd name="connsiteY107" fmla="*/ 6688 h 114093"/>
                <a:gd name="connsiteX108" fmla="*/ 55473 w 306872"/>
                <a:gd name="connsiteY108" fmla="*/ 6688 h 114093"/>
                <a:gd name="connsiteX109" fmla="*/ 52719 w 306872"/>
                <a:gd name="connsiteY109" fmla="*/ 8655 h 114093"/>
                <a:gd name="connsiteX110" fmla="*/ 49572 w 306872"/>
                <a:gd name="connsiteY110" fmla="*/ 10229 h 114093"/>
                <a:gd name="connsiteX111" fmla="*/ 46818 w 306872"/>
                <a:gd name="connsiteY111" fmla="*/ 10623 h 114093"/>
                <a:gd name="connsiteX112" fmla="*/ 44064 w 306872"/>
                <a:gd name="connsiteY112" fmla="*/ 12196 h 114093"/>
                <a:gd name="connsiteX113" fmla="*/ 41703 w 306872"/>
                <a:gd name="connsiteY113" fmla="*/ 13376 h 114093"/>
                <a:gd name="connsiteX114" fmla="*/ 38949 w 306872"/>
                <a:gd name="connsiteY114" fmla="*/ 14163 h 114093"/>
                <a:gd name="connsiteX115" fmla="*/ 35802 w 306872"/>
                <a:gd name="connsiteY115" fmla="*/ 14950 h 114093"/>
                <a:gd name="connsiteX116" fmla="*/ 33048 w 306872"/>
                <a:gd name="connsiteY116" fmla="*/ 16524 h 114093"/>
                <a:gd name="connsiteX117" fmla="*/ 29900 w 306872"/>
                <a:gd name="connsiteY117" fmla="*/ 16524 h 114093"/>
                <a:gd name="connsiteX118" fmla="*/ 28720 w 306872"/>
                <a:gd name="connsiteY118" fmla="*/ 19278 h 114093"/>
                <a:gd name="connsiteX119" fmla="*/ 25966 w 306872"/>
                <a:gd name="connsiteY119" fmla="*/ 20852 h 114093"/>
                <a:gd name="connsiteX120" fmla="*/ 23606 w 306872"/>
                <a:gd name="connsiteY120" fmla="*/ 23606 h 114093"/>
                <a:gd name="connsiteX121" fmla="*/ 20852 w 306872"/>
                <a:gd name="connsiteY121" fmla="*/ 25966 h 114093"/>
                <a:gd name="connsiteX122" fmla="*/ 18098 w 306872"/>
                <a:gd name="connsiteY122" fmla="*/ 28720 h 114093"/>
                <a:gd name="connsiteX123" fmla="*/ 17311 w 306872"/>
                <a:gd name="connsiteY123" fmla="*/ 31474 h 114093"/>
                <a:gd name="connsiteX124" fmla="*/ 17311 w 306872"/>
                <a:gd name="connsiteY124" fmla="*/ 32654 h 114093"/>
                <a:gd name="connsiteX125" fmla="*/ 1180 w 306872"/>
                <a:gd name="connsiteY125" fmla="*/ 44851 h 114093"/>
                <a:gd name="connsiteX126" fmla="*/ 0 w 306872"/>
                <a:gd name="connsiteY126" fmla="*/ 43670 h 114093"/>
                <a:gd name="connsiteX127" fmla="*/ 1574 w 306872"/>
                <a:gd name="connsiteY127" fmla="*/ 46818 h 114093"/>
                <a:gd name="connsiteX128" fmla="*/ 4721 w 306872"/>
                <a:gd name="connsiteY128" fmla="*/ 46031 h 114093"/>
                <a:gd name="connsiteX129" fmla="*/ 7475 w 306872"/>
                <a:gd name="connsiteY129" fmla="*/ 44064 h 114093"/>
                <a:gd name="connsiteX130" fmla="*/ 10229 w 306872"/>
                <a:gd name="connsiteY130" fmla="*/ 42883 h 114093"/>
                <a:gd name="connsiteX131" fmla="*/ 13377 w 306872"/>
                <a:gd name="connsiteY131" fmla="*/ 45637 h 114093"/>
                <a:gd name="connsiteX132" fmla="*/ 13770 w 306872"/>
                <a:gd name="connsiteY132" fmla="*/ 48391 h 114093"/>
                <a:gd name="connsiteX133" fmla="*/ 16524 w 306872"/>
                <a:gd name="connsiteY133" fmla="*/ 46031 h 114093"/>
                <a:gd name="connsiteX134" fmla="*/ 19671 w 306872"/>
                <a:gd name="connsiteY134" fmla="*/ 44457 h 114093"/>
                <a:gd name="connsiteX135" fmla="*/ 22425 w 306872"/>
                <a:gd name="connsiteY135" fmla="*/ 43277 h 114093"/>
                <a:gd name="connsiteX136" fmla="*/ 25179 w 306872"/>
                <a:gd name="connsiteY136" fmla="*/ 42883 h 114093"/>
                <a:gd name="connsiteX137" fmla="*/ 27933 w 306872"/>
                <a:gd name="connsiteY137" fmla="*/ 40916 h 114093"/>
                <a:gd name="connsiteX138" fmla="*/ 29114 w 306872"/>
                <a:gd name="connsiteY138" fmla="*/ 38162 h 114093"/>
                <a:gd name="connsiteX139" fmla="*/ 35015 w 306872"/>
                <a:gd name="connsiteY139" fmla="*/ 34621 h 114093"/>
                <a:gd name="connsiteX140" fmla="*/ 36195 w 306872"/>
                <a:gd name="connsiteY140" fmla="*/ 34621 h 114093"/>
                <a:gd name="connsiteX141" fmla="*/ 38949 w 306872"/>
                <a:gd name="connsiteY141" fmla="*/ 34621 h 114093"/>
                <a:gd name="connsiteX142" fmla="*/ 42097 w 306872"/>
                <a:gd name="connsiteY142" fmla="*/ 32654 h 114093"/>
                <a:gd name="connsiteX143" fmla="*/ 44851 w 306872"/>
                <a:gd name="connsiteY143" fmla="*/ 34621 h 114093"/>
                <a:gd name="connsiteX144" fmla="*/ 47605 w 306872"/>
                <a:gd name="connsiteY144" fmla="*/ 33441 h 114093"/>
                <a:gd name="connsiteX145" fmla="*/ 50359 w 306872"/>
                <a:gd name="connsiteY145" fmla="*/ 30687 h 114093"/>
                <a:gd name="connsiteX146" fmla="*/ 53113 w 306872"/>
                <a:gd name="connsiteY146" fmla="*/ 29507 h 114093"/>
                <a:gd name="connsiteX147" fmla="*/ 56260 w 306872"/>
                <a:gd name="connsiteY147" fmla="*/ 26753 h 114093"/>
                <a:gd name="connsiteX148" fmla="*/ 58227 w 306872"/>
                <a:gd name="connsiteY148" fmla="*/ 23999 h 114093"/>
                <a:gd name="connsiteX149" fmla="*/ 61374 w 306872"/>
                <a:gd name="connsiteY149" fmla="*/ 22425 h 114093"/>
                <a:gd name="connsiteX150" fmla="*/ 62555 w 306872"/>
                <a:gd name="connsiteY150" fmla="*/ 22032 h 114093"/>
                <a:gd name="connsiteX151" fmla="*/ 65702 w 306872"/>
                <a:gd name="connsiteY151" fmla="*/ 20065 h 114093"/>
                <a:gd name="connsiteX152" fmla="*/ 87734 w 306872"/>
                <a:gd name="connsiteY152" fmla="*/ 18098 h 114093"/>
                <a:gd name="connsiteX153" fmla="*/ 99930 w 306872"/>
                <a:gd name="connsiteY153" fmla="*/ 20852 h 114093"/>
                <a:gd name="connsiteX154" fmla="*/ 99930 w 306872"/>
                <a:gd name="connsiteY154" fmla="*/ 22425 h 114093"/>
                <a:gd name="connsiteX155" fmla="*/ 96389 w 306872"/>
                <a:gd name="connsiteY155" fmla="*/ 25573 h 114093"/>
                <a:gd name="connsiteX156" fmla="*/ 93635 w 306872"/>
                <a:gd name="connsiteY156" fmla="*/ 25966 h 114093"/>
                <a:gd name="connsiteX157" fmla="*/ 87734 w 306872"/>
                <a:gd name="connsiteY157" fmla="*/ 25966 h 114093"/>
                <a:gd name="connsiteX158" fmla="*/ 84980 w 306872"/>
                <a:gd name="connsiteY158" fmla="*/ 27933 h 114093"/>
                <a:gd name="connsiteX159" fmla="*/ 87734 w 306872"/>
                <a:gd name="connsiteY159" fmla="*/ 30294 h 114093"/>
                <a:gd name="connsiteX160" fmla="*/ 90881 w 306872"/>
                <a:gd name="connsiteY160" fmla="*/ 31474 h 114093"/>
                <a:gd name="connsiteX161" fmla="*/ 93635 w 306872"/>
                <a:gd name="connsiteY161" fmla="*/ 34621 h 114093"/>
                <a:gd name="connsiteX162" fmla="*/ 96389 w 306872"/>
                <a:gd name="connsiteY162" fmla="*/ 34228 h 114093"/>
                <a:gd name="connsiteX163" fmla="*/ 99144 w 306872"/>
                <a:gd name="connsiteY163" fmla="*/ 34228 h 114093"/>
                <a:gd name="connsiteX164" fmla="*/ 102291 w 306872"/>
                <a:gd name="connsiteY164" fmla="*/ 33835 h 114093"/>
                <a:gd name="connsiteX165" fmla="*/ 105045 w 306872"/>
                <a:gd name="connsiteY165" fmla="*/ 34621 h 114093"/>
                <a:gd name="connsiteX166" fmla="*/ 107799 w 306872"/>
                <a:gd name="connsiteY166" fmla="*/ 37376 h 114093"/>
                <a:gd name="connsiteX167" fmla="*/ 110946 w 306872"/>
                <a:gd name="connsiteY167" fmla="*/ 37769 h 114093"/>
                <a:gd name="connsiteX168" fmla="*/ 111340 w 306872"/>
                <a:gd name="connsiteY168" fmla="*/ 35015 h 114093"/>
                <a:gd name="connsiteX169" fmla="*/ 112520 w 306872"/>
                <a:gd name="connsiteY169" fmla="*/ 32261 h 114093"/>
                <a:gd name="connsiteX170" fmla="*/ 112913 w 306872"/>
                <a:gd name="connsiteY170" fmla="*/ 32261 h 114093"/>
                <a:gd name="connsiteX171" fmla="*/ 112913 w 306872"/>
                <a:gd name="connsiteY171" fmla="*/ 34621 h 114093"/>
                <a:gd name="connsiteX172" fmla="*/ 114094 w 306872"/>
                <a:gd name="connsiteY172" fmla="*/ 37769 h 114093"/>
                <a:gd name="connsiteX173" fmla="*/ 116848 w 306872"/>
                <a:gd name="connsiteY173" fmla="*/ 38556 h 114093"/>
                <a:gd name="connsiteX174" fmla="*/ 119995 w 306872"/>
                <a:gd name="connsiteY174" fmla="*/ 39343 h 114093"/>
                <a:gd name="connsiteX175" fmla="*/ 122749 w 306872"/>
                <a:gd name="connsiteY175" fmla="*/ 38556 h 114093"/>
                <a:gd name="connsiteX176" fmla="*/ 125896 w 306872"/>
                <a:gd name="connsiteY176" fmla="*/ 38556 h 114093"/>
                <a:gd name="connsiteX177" fmla="*/ 128650 w 306872"/>
                <a:gd name="connsiteY177" fmla="*/ 38949 h 114093"/>
                <a:gd name="connsiteX178" fmla="*/ 129831 w 306872"/>
                <a:gd name="connsiteY178" fmla="*/ 38556 h 114093"/>
                <a:gd name="connsiteX179" fmla="*/ 132191 w 306872"/>
                <a:gd name="connsiteY179" fmla="*/ 38556 h 114093"/>
                <a:gd name="connsiteX180" fmla="*/ 133372 w 306872"/>
                <a:gd name="connsiteY180" fmla="*/ 35802 h 114093"/>
                <a:gd name="connsiteX181" fmla="*/ 133765 w 306872"/>
                <a:gd name="connsiteY181" fmla="*/ 39736 h 114093"/>
                <a:gd name="connsiteX182" fmla="*/ 134158 w 306872"/>
                <a:gd name="connsiteY182" fmla="*/ 40523 h 114093"/>
                <a:gd name="connsiteX183" fmla="*/ 136125 w 306872"/>
                <a:gd name="connsiteY183" fmla="*/ 43277 h 114093"/>
                <a:gd name="connsiteX184" fmla="*/ 139273 w 306872"/>
                <a:gd name="connsiteY184" fmla="*/ 45637 h 114093"/>
                <a:gd name="connsiteX185" fmla="*/ 142027 w 306872"/>
                <a:gd name="connsiteY185" fmla="*/ 46818 h 114093"/>
                <a:gd name="connsiteX186" fmla="*/ 143207 w 306872"/>
                <a:gd name="connsiteY186" fmla="*/ 47605 h 114093"/>
                <a:gd name="connsiteX187" fmla="*/ 144388 w 306872"/>
                <a:gd name="connsiteY187" fmla="*/ 50359 h 114093"/>
                <a:gd name="connsiteX188" fmla="*/ 144388 w 306872"/>
                <a:gd name="connsiteY188" fmla="*/ 49572 h 114093"/>
                <a:gd name="connsiteX189" fmla="*/ 144388 w 306872"/>
                <a:gd name="connsiteY189" fmla="*/ 49178 h 114093"/>
                <a:gd name="connsiteX190" fmla="*/ 145568 w 306872"/>
                <a:gd name="connsiteY190" fmla="*/ 49572 h 114093"/>
                <a:gd name="connsiteX191" fmla="*/ 147928 w 306872"/>
                <a:gd name="connsiteY191" fmla="*/ 51145 h 114093"/>
                <a:gd name="connsiteX192" fmla="*/ 149895 w 306872"/>
                <a:gd name="connsiteY192" fmla="*/ 50752 h 114093"/>
                <a:gd name="connsiteX193" fmla="*/ 156584 w 306872"/>
                <a:gd name="connsiteY193" fmla="*/ 52719 h 114093"/>
                <a:gd name="connsiteX194" fmla="*/ 156977 w 306872"/>
                <a:gd name="connsiteY194" fmla="*/ 53113 h 114093"/>
                <a:gd name="connsiteX195" fmla="*/ 159731 w 306872"/>
                <a:gd name="connsiteY195" fmla="*/ 54686 h 114093"/>
                <a:gd name="connsiteX196" fmla="*/ 162879 w 306872"/>
                <a:gd name="connsiteY196" fmla="*/ 54686 h 114093"/>
                <a:gd name="connsiteX197" fmla="*/ 165632 w 306872"/>
                <a:gd name="connsiteY197" fmla="*/ 56260 h 114093"/>
                <a:gd name="connsiteX198" fmla="*/ 168780 w 306872"/>
                <a:gd name="connsiteY198" fmla="*/ 55867 h 114093"/>
                <a:gd name="connsiteX199" fmla="*/ 174288 w 306872"/>
                <a:gd name="connsiteY199" fmla="*/ 54293 h 114093"/>
                <a:gd name="connsiteX200" fmla="*/ 174681 w 306872"/>
                <a:gd name="connsiteY200" fmla="*/ 54293 h 114093"/>
                <a:gd name="connsiteX201" fmla="*/ 177829 w 306872"/>
                <a:gd name="connsiteY201" fmla="*/ 53506 h 114093"/>
                <a:gd name="connsiteX202" fmla="*/ 182156 w 306872"/>
                <a:gd name="connsiteY202" fmla="*/ 54293 h 114093"/>
                <a:gd name="connsiteX203" fmla="*/ 180583 w 306872"/>
                <a:gd name="connsiteY203" fmla="*/ 55080 h 114093"/>
                <a:gd name="connsiteX204" fmla="*/ 183337 w 306872"/>
                <a:gd name="connsiteY204" fmla="*/ 56653 h 114093"/>
                <a:gd name="connsiteX205" fmla="*/ 184124 w 306872"/>
                <a:gd name="connsiteY205" fmla="*/ 57440 h 114093"/>
                <a:gd name="connsiteX206" fmla="*/ 184910 w 306872"/>
                <a:gd name="connsiteY206" fmla="*/ 59801 h 114093"/>
                <a:gd name="connsiteX207" fmla="*/ 184910 w 306872"/>
                <a:gd name="connsiteY207" fmla="*/ 62948 h 114093"/>
                <a:gd name="connsiteX208" fmla="*/ 186484 w 306872"/>
                <a:gd name="connsiteY208" fmla="*/ 66096 h 114093"/>
                <a:gd name="connsiteX209" fmla="*/ 185697 w 306872"/>
                <a:gd name="connsiteY209" fmla="*/ 68850 h 114093"/>
                <a:gd name="connsiteX210" fmla="*/ 185697 w 306872"/>
                <a:gd name="connsiteY210" fmla="*/ 71997 h 114093"/>
                <a:gd name="connsiteX211" fmla="*/ 187271 w 306872"/>
                <a:gd name="connsiteY211" fmla="*/ 74751 h 114093"/>
                <a:gd name="connsiteX212" fmla="*/ 190025 w 306872"/>
                <a:gd name="connsiteY212" fmla="*/ 77112 h 114093"/>
                <a:gd name="connsiteX213" fmla="*/ 192779 w 306872"/>
                <a:gd name="connsiteY213" fmla="*/ 80259 h 114093"/>
                <a:gd name="connsiteX214" fmla="*/ 194746 w 306872"/>
                <a:gd name="connsiteY214" fmla="*/ 83013 h 114093"/>
                <a:gd name="connsiteX215" fmla="*/ 197893 w 306872"/>
                <a:gd name="connsiteY215" fmla="*/ 84980 h 114093"/>
                <a:gd name="connsiteX216" fmla="*/ 200647 w 306872"/>
                <a:gd name="connsiteY216" fmla="*/ 84980 h 114093"/>
                <a:gd name="connsiteX217" fmla="*/ 203402 w 306872"/>
                <a:gd name="connsiteY217" fmla="*/ 84193 h 114093"/>
                <a:gd name="connsiteX218" fmla="*/ 206549 w 306872"/>
                <a:gd name="connsiteY218" fmla="*/ 84980 h 114093"/>
                <a:gd name="connsiteX219" fmla="*/ 209303 w 306872"/>
                <a:gd name="connsiteY219" fmla="*/ 84980 h 114093"/>
                <a:gd name="connsiteX220" fmla="*/ 212057 w 306872"/>
                <a:gd name="connsiteY220" fmla="*/ 85374 h 114093"/>
                <a:gd name="connsiteX221" fmla="*/ 215204 w 306872"/>
                <a:gd name="connsiteY221" fmla="*/ 84980 h 114093"/>
                <a:gd name="connsiteX222" fmla="*/ 218352 w 306872"/>
                <a:gd name="connsiteY222" fmla="*/ 84193 h 114093"/>
                <a:gd name="connsiteX223" fmla="*/ 220319 w 306872"/>
                <a:gd name="connsiteY223" fmla="*/ 90095 h 114093"/>
                <a:gd name="connsiteX224" fmla="*/ 221106 w 306872"/>
                <a:gd name="connsiteY224" fmla="*/ 90488 h 114093"/>
                <a:gd name="connsiteX225" fmla="*/ 224253 w 306872"/>
                <a:gd name="connsiteY225" fmla="*/ 92062 h 114093"/>
                <a:gd name="connsiteX226" fmla="*/ 223073 w 306872"/>
                <a:gd name="connsiteY226" fmla="*/ 96389 h 114093"/>
                <a:gd name="connsiteX227" fmla="*/ 222286 w 306872"/>
                <a:gd name="connsiteY227" fmla="*/ 96389 h 114093"/>
                <a:gd name="connsiteX228" fmla="*/ 219532 w 306872"/>
                <a:gd name="connsiteY228" fmla="*/ 98357 h 114093"/>
                <a:gd name="connsiteX229" fmla="*/ 216778 w 306872"/>
                <a:gd name="connsiteY229" fmla="*/ 100717 h 114093"/>
                <a:gd name="connsiteX230" fmla="*/ 214024 w 306872"/>
                <a:gd name="connsiteY230" fmla="*/ 102291 h 114093"/>
                <a:gd name="connsiteX231" fmla="*/ 210876 w 306872"/>
                <a:gd name="connsiteY231" fmla="*/ 104258 h 114093"/>
                <a:gd name="connsiteX232" fmla="*/ 208123 w 306872"/>
                <a:gd name="connsiteY232" fmla="*/ 105832 h 114093"/>
                <a:gd name="connsiteX233" fmla="*/ 206156 w 306872"/>
                <a:gd name="connsiteY233" fmla="*/ 108586 h 114093"/>
                <a:gd name="connsiteX234" fmla="*/ 203402 w 306872"/>
                <a:gd name="connsiteY234" fmla="*/ 111340 h 114093"/>
                <a:gd name="connsiteX235" fmla="*/ 203008 w 306872"/>
                <a:gd name="connsiteY235" fmla="*/ 114487 h 114093"/>
                <a:gd name="connsiteX236" fmla="*/ 205762 w 306872"/>
                <a:gd name="connsiteY236" fmla="*/ 114487 h 114093"/>
                <a:gd name="connsiteX237" fmla="*/ 208516 w 306872"/>
                <a:gd name="connsiteY237" fmla="*/ 114094 h 114093"/>
                <a:gd name="connsiteX238" fmla="*/ 211663 w 306872"/>
                <a:gd name="connsiteY238" fmla="*/ 113700 h 114093"/>
                <a:gd name="connsiteX239" fmla="*/ 214417 w 306872"/>
                <a:gd name="connsiteY239" fmla="*/ 112520 h 114093"/>
                <a:gd name="connsiteX240" fmla="*/ 217171 w 306872"/>
                <a:gd name="connsiteY240" fmla="*/ 112127 h 114093"/>
                <a:gd name="connsiteX241" fmla="*/ 220319 w 306872"/>
                <a:gd name="connsiteY241" fmla="*/ 112520 h 114093"/>
                <a:gd name="connsiteX242" fmla="*/ 223073 w 306872"/>
                <a:gd name="connsiteY242" fmla="*/ 112520 h 114093"/>
                <a:gd name="connsiteX243" fmla="*/ 269104 w 306872"/>
                <a:gd name="connsiteY243" fmla="*/ 112913 h 114093"/>
                <a:gd name="connsiteX244" fmla="*/ 269104 w 306872"/>
                <a:gd name="connsiteY244" fmla="*/ 112913 h 114093"/>
                <a:gd name="connsiteX245" fmla="*/ 271858 w 306872"/>
                <a:gd name="connsiteY245" fmla="*/ 112913 h 114093"/>
                <a:gd name="connsiteX246" fmla="*/ 273825 w 306872"/>
                <a:gd name="connsiteY246" fmla="*/ 112520 h 114093"/>
                <a:gd name="connsiteX247" fmla="*/ 276972 w 306872"/>
                <a:gd name="connsiteY247" fmla="*/ 112127 h 114093"/>
                <a:gd name="connsiteX248" fmla="*/ 278939 w 306872"/>
                <a:gd name="connsiteY248" fmla="*/ 110159 h 114093"/>
                <a:gd name="connsiteX249" fmla="*/ 278546 w 306872"/>
                <a:gd name="connsiteY249" fmla="*/ 108586 h 114093"/>
                <a:gd name="connsiteX250" fmla="*/ 279726 w 306872"/>
                <a:gd name="connsiteY250" fmla="*/ 108586 h 114093"/>
                <a:gd name="connsiteX251" fmla="*/ 280120 w 306872"/>
                <a:gd name="connsiteY251" fmla="*/ 108586 h 114093"/>
                <a:gd name="connsiteX252" fmla="*/ 280907 w 306872"/>
                <a:gd name="connsiteY252" fmla="*/ 108586 h 114093"/>
                <a:gd name="connsiteX253" fmla="*/ 279726 w 306872"/>
                <a:gd name="connsiteY253" fmla="*/ 110159 h 11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</a:cxnLst>
              <a:rect l="l" t="t" r="r" b="b"/>
              <a:pathLst>
                <a:path w="306872" h="114093">
                  <a:moveTo>
                    <a:pt x="280907" y="112520"/>
                  </a:moveTo>
                  <a:lnTo>
                    <a:pt x="282087" y="111733"/>
                  </a:lnTo>
                  <a:lnTo>
                    <a:pt x="282874" y="111340"/>
                  </a:lnTo>
                  <a:lnTo>
                    <a:pt x="287988" y="108586"/>
                  </a:lnTo>
                  <a:lnTo>
                    <a:pt x="287988" y="108586"/>
                  </a:lnTo>
                  <a:lnTo>
                    <a:pt x="291136" y="107405"/>
                  </a:lnTo>
                  <a:lnTo>
                    <a:pt x="293890" y="107405"/>
                  </a:lnTo>
                  <a:lnTo>
                    <a:pt x="296644" y="107012"/>
                  </a:lnTo>
                  <a:lnTo>
                    <a:pt x="299791" y="106225"/>
                  </a:lnTo>
                  <a:lnTo>
                    <a:pt x="302545" y="106225"/>
                  </a:lnTo>
                  <a:lnTo>
                    <a:pt x="305299" y="106619"/>
                  </a:lnTo>
                  <a:lnTo>
                    <a:pt x="308053" y="103865"/>
                  </a:lnTo>
                  <a:lnTo>
                    <a:pt x="310414" y="101111"/>
                  </a:lnTo>
                  <a:lnTo>
                    <a:pt x="308053" y="97963"/>
                  </a:lnTo>
                  <a:lnTo>
                    <a:pt x="305299" y="98750"/>
                  </a:lnTo>
                  <a:lnTo>
                    <a:pt x="302151" y="97963"/>
                  </a:lnTo>
                  <a:lnTo>
                    <a:pt x="299397" y="95603"/>
                  </a:lnTo>
                  <a:lnTo>
                    <a:pt x="299004" y="94816"/>
                  </a:lnTo>
                  <a:lnTo>
                    <a:pt x="297430" y="92062"/>
                  </a:lnTo>
                  <a:lnTo>
                    <a:pt x="294677" y="90095"/>
                  </a:lnTo>
                  <a:lnTo>
                    <a:pt x="291922" y="87341"/>
                  </a:lnTo>
                  <a:lnTo>
                    <a:pt x="289168" y="86160"/>
                  </a:lnTo>
                  <a:lnTo>
                    <a:pt x="286021" y="84980"/>
                  </a:lnTo>
                  <a:lnTo>
                    <a:pt x="282874" y="84980"/>
                  </a:lnTo>
                  <a:lnTo>
                    <a:pt x="266743" y="77505"/>
                  </a:lnTo>
                  <a:lnTo>
                    <a:pt x="269890" y="76325"/>
                  </a:lnTo>
                  <a:lnTo>
                    <a:pt x="270677" y="73571"/>
                  </a:lnTo>
                  <a:lnTo>
                    <a:pt x="267923" y="70817"/>
                  </a:lnTo>
                  <a:lnTo>
                    <a:pt x="265170" y="70423"/>
                  </a:lnTo>
                  <a:lnTo>
                    <a:pt x="262416" y="70817"/>
                  </a:lnTo>
                  <a:lnTo>
                    <a:pt x="250613" y="66096"/>
                  </a:lnTo>
                  <a:lnTo>
                    <a:pt x="235663" y="60588"/>
                  </a:lnTo>
                  <a:lnTo>
                    <a:pt x="236056" y="60194"/>
                  </a:lnTo>
                  <a:lnTo>
                    <a:pt x="232909" y="59407"/>
                  </a:lnTo>
                  <a:lnTo>
                    <a:pt x="232515" y="58227"/>
                  </a:lnTo>
                  <a:lnTo>
                    <a:pt x="230548" y="55473"/>
                  </a:lnTo>
                  <a:lnTo>
                    <a:pt x="227794" y="56260"/>
                  </a:lnTo>
                  <a:lnTo>
                    <a:pt x="225433" y="59014"/>
                  </a:lnTo>
                  <a:lnTo>
                    <a:pt x="223466" y="57440"/>
                  </a:lnTo>
                  <a:lnTo>
                    <a:pt x="224253" y="56653"/>
                  </a:lnTo>
                  <a:lnTo>
                    <a:pt x="222286" y="53506"/>
                  </a:lnTo>
                  <a:lnTo>
                    <a:pt x="225040" y="54293"/>
                  </a:lnTo>
                  <a:lnTo>
                    <a:pt x="228187" y="54686"/>
                  </a:lnTo>
                  <a:lnTo>
                    <a:pt x="228187" y="51932"/>
                  </a:lnTo>
                  <a:lnTo>
                    <a:pt x="225433" y="50752"/>
                  </a:lnTo>
                  <a:lnTo>
                    <a:pt x="222679" y="48391"/>
                  </a:lnTo>
                  <a:lnTo>
                    <a:pt x="219532" y="46818"/>
                  </a:lnTo>
                  <a:lnTo>
                    <a:pt x="216778" y="45637"/>
                  </a:lnTo>
                  <a:lnTo>
                    <a:pt x="219532" y="47211"/>
                  </a:lnTo>
                  <a:lnTo>
                    <a:pt x="222286" y="52719"/>
                  </a:lnTo>
                  <a:lnTo>
                    <a:pt x="219532" y="51145"/>
                  </a:lnTo>
                  <a:lnTo>
                    <a:pt x="217958" y="48391"/>
                  </a:lnTo>
                  <a:lnTo>
                    <a:pt x="215204" y="47998"/>
                  </a:lnTo>
                  <a:lnTo>
                    <a:pt x="213237" y="47998"/>
                  </a:lnTo>
                  <a:lnTo>
                    <a:pt x="209303" y="44064"/>
                  </a:lnTo>
                  <a:lnTo>
                    <a:pt x="209303" y="41703"/>
                  </a:lnTo>
                  <a:lnTo>
                    <a:pt x="207729" y="42883"/>
                  </a:lnTo>
                  <a:lnTo>
                    <a:pt x="202615" y="37769"/>
                  </a:lnTo>
                  <a:lnTo>
                    <a:pt x="201828" y="37769"/>
                  </a:lnTo>
                  <a:lnTo>
                    <a:pt x="199074" y="35802"/>
                  </a:lnTo>
                  <a:lnTo>
                    <a:pt x="196320" y="35015"/>
                  </a:lnTo>
                  <a:lnTo>
                    <a:pt x="195926" y="35015"/>
                  </a:lnTo>
                  <a:lnTo>
                    <a:pt x="193566" y="31868"/>
                  </a:lnTo>
                  <a:lnTo>
                    <a:pt x="190812" y="31474"/>
                  </a:lnTo>
                  <a:lnTo>
                    <a:pt x="187664" y="29114"/>
                  </a:lnTo>
                  <a:lnTo>
                    <a:pt x="184910" y="29507"/>
                  </a:lnTo>
                  <a:lnTo>
                    <a:pt x="182156" y="27540"/>
                  </a:lnTo>
                  <a:lnTo>
                    <a:pt x="179009" y="27540"/>
                  </a:lnTo>
                  <a:lnTo>
                    <a:pt x="177435" y="26753"/>
                  </a:lnTo>
                  <a:lnTo>
                    <a:pt x="176649" y="27146"/>
                  </a:lnTo>
                  <a:lnTo>
                    <a:pt x="165632" y="25179"/>
                  </a:lnTo>
                  <a:lnTo>
                    <a:pt x="164452" y="23606"/>
                  </a:lnTo>
                  <a:lnTo>
                    <a:pt x="161698" y="20852"/>
                  </a:lnTo>
                  <a:lnTo>
                    <a:pt x="159731" y="17704"/>
                  </a:lnTo>
                  <a:lnTo>
                    <a:pt x="159731" y="14950"/>
                  </a:lnTo>
                  <a:lnTo>
                    <a:pt x="156977" y="14163"/>
                  </a:lnTo>
                  <a:lnTo>
                    <a:pt x="153830" y="13376"/>
                  </a:lnTo>
                  <a:lnTo>
                    <a:pt x="156190" y="10229"/>
                  </a:lnTo>
                  <a:lnTo>
                    <a:pt x="153043" y="11409"/>
                  </a:lnTo>
                  <a:lnTo>
                    <a:pt x="150289" y="9442"/>
                  </a:lnTo>
                  <a:lnTo>
                    <a:pt x="143601" y="7475"/>
                  </a:lnTo>
                  <a:lnTo>
                    <a:pt x="143601" y="6295"/>
                  </a:lnTo>
                  <a:lnTo>
                    <a:pt x="142027" y="7082"/>
                  </a:lnTo>
                  <a:lnTo>
                    <a:pt x="133372" y="4328"/>
                  </a:lnTo>
                  <a:lnTo>
                    <a:pt x="133372" y="2361"/>
                  </a:lnTo>
                  <a:lnTo>
                    <a:pt x="130224" y="3541"/>
                  </a:lnTo>
                  <a:lnTo>
                    <a:pt x="128650" y="3934"/>
                  </a:lnTo>
                  <a:lnTo>
                    <a:pt x="114881" y="2754"/>
                  </a:lnTo>
                  <a:lnTo>
                    <a:pt x="114487" y="1574"/>
                  </a:lnTo>
                  <a:lnTo>
                    <a:pt x="117241" y="0"/>
                  </a:lnTo>
                  <a:lnTo>
                    <a:pt x="114487" y="1180"/>
                  </a:lnTo>
                  <a:lnTo>
                    <a:pt x="111733" y="2361"/>
                  </a:lnTo>
                  <a:lnTo>
                    <a:pt x="105438" y="1574"/>
                  </a:lnTo>
                  <a:lnTo>
                    <a:pt x="105045" y="1180"/>
                  </a:lnTo>
                  <a:lnTo>
                    <a:pt x="102291" y="1180"/>
                  </a:lnTo>
                  <a:lnTo>
                    <a:pt x="90095" y="0"/>
                  </a:lnTo>
                  <a:lnTo>
                    <a:pt x="88521" y="393"/>
                  </a:lnTo>
                  <a:lnTo>
                    <a:pt x="85767" y="0"/>
                  </a:lnTo>
                  <a:lnTo>
                    <a:pt x="82620" y="1180"/>
                  </a:lnTo>
                  <a:lnTo>
                    <a:pt x="79472" y="2361"/>
                  </a:lnTo>
                  <a:lnTo>
                    <a:pt x="76718" y="4328"/>
                  </a:lnTo>
                  <a:lnTo>
                    <a:pt x="73177" y="5114"/>
                  </a:lnTo>
                  <a:lnTo>
                    <a:pt x="72784" y="5114"/>
                  </a:lnTo>
                  <a:lnTo>
                    <a:pt x="70030" y="5508"/>
                  </a:lnTo>
                  <a:lnTo>
                    <a:pt x="67276" y="5508"/>
                  </a:lnTo>
                  <a:lnTo>
                    <a:pt x="64128" y="7082"/>
                  </a:lnTo>
                  <a:lnTo>
                    <a:pt x="61374" y="6295"/>
                  </a:lnTo>
                  <a:lnTo>
                    <a:pt x="58227" y="6688"/>
                  </a:lnTo>
                  <a:lnTo>
                    <a:pt x="55473" y="6688"/>
                  </a:lnTo>
                  <a:lnTo>
                    <a:pt x="52719" y="8655"/>
                  </a:lnTo>
                  <a:lnTo>
                    <a:pt x="49572" y="10229"/>
                  </a:lnTo>
                  <a:lnTo>
                    <a:pt x="46818" y="10623"/>
                  </a:lnTo>
                  <a:lnTo>
                    <a:pt x="44064" y="12196"/>
                  </a:lnTo>
                  <a:lnTo>
                    <a:pt x="41703" y="13376"/>
                  </a:lnTo>
                  <a:lnTo>
                    <a:pt x="38949" y="14163"/>
                  </a:lnTo>
                  <a:lnTo>
                    <a:pt x="35802" y="14950"/>
                  </a:lnTo>
                  <a:lnTo>
                    <a:pt x="33048" y="16524"/>
                  </a:lnTo>
                  <a:lnTo>
                    <a:pt x="29900" y="16524"/>
                  </a:lnTo>
                  <a:lnTo>
                    <a:pt x="28720" y="19278"/>
                  </a:lnTo>
                  <a:lnTo>
                    <a:pt x="25966" y="20852"/>
                  </a:lnTo>
                  <a:lnTo>
                    <a:pt x="23606" y="23606"/>
                  </a:lnTo>
                  <a:lnTo>
                    <a:pt x="20852" y="25966"/>
                  </a:lnTo>
                  <a:lnTo>
                    <a:pt x="18098" y="28720"/>
                  </a:lnTo>
                  <a:lnTo>
                    <a:pt x="17311" y="31474"/>
                  </a:lnTo>
                  <a:lnTo>
                    <a:pt x="17311" y="32654"/>
                  </a:lnTo>
                  <a:lnTo>
                    <a:pt x="1180" y="44851"/>
                  </a:lnTo>
                  <a:lnTo>
                    <a:pt x="0" y="43670"/>
                  </a:lnTo>
                  <a:lnTo>
                    <a:pt x="1574" y="46818"/>
                  </a:lnTo>
                  <a:lnTo>
                    <a:pt x="4721" y="46031"/>
                  </a:lnTo>
                  <a:lnTo>
                    <a:pt x="7475" y="44064"/>
                  </a:lnTo>
                  <a:lnTo>
                    <a:pt x="10229" y="42883"/>
                  </a:lnTo>
                  <a:lnTo>
                    <a:pt x="13377" y="45637"/>
                  </a:lnTo>
                  <a:lnTo>
                    <a:pt x="13770" y="48391"/>
                  </a:lnTo>
                  <a:lnTo>
                    <a:pt x="16524" y="46031"/>
                  </a:lnTo>
                  <a:lnTo>
                    <a:pt x="19671" y="44457"/>
                  </a:lnTo>
                  <a:lnTo>
                    <a:pt x="22425" y="43277"/>
                  </a:lnTo>
                  <a:lnTo>
                    <a:pt x="25179" y="42883"/>
                  </a:lnTo>
                  <a:lnTo>
                    <a:pt x="27933" y="40916"/>
                  </a:lnTo>
                  <a:lnTo>
                    <a:pt x="29114" y="38162"/>
                  </a:lnTo>
                  <a:lnTo>
                    <a:pt x="35015" y="34621"/>
                  </a:lnTo>
                  <a:lnTo>
                    <a:pt x="36195" y="34621"/>
                  </a:lnTo>
                  <a:lnTo>
                    <a:pt x="38949" y="34621"/>
                  </a:lnTo>
                  <a:lnTo>
                    <a:pt x="42097" y="32654"/>
                  </a:lnTo>
                  <a:lnTo>
                    <a:pt x="44851" y="34621"/>
                  </a:lnTo>
                  <a:lnTo>
                    <a:pt x="47605" y="33441"/>
                  </a:lnTo>
                  <a:lnTo>
                    <a:pt x="50359" y="30687"/>
                  </a:lnTo>
                  <a:lnTo>
                    <a:pt x="53113" y="29507"/>
                  </a:lnTo>
                  <a:lnTo>
                    <a:pt x="56260" y="26753"/>
                  </a:lnTo>
                  <a:lnTo>
                    <a:pt x="58227" y="23999"/>
                  </a:lnTo>
                  <a:lnTo>
                    <a:pt x="61374" y="22425"/>
                  </a:lnTo>
                  <a:lnTo>
                    <a:pt x="62555" y="22032"/>
                  </a:lnTo>
                  <a:lnTo>
                    <a:pt x="65702" y="20065"/>
                  </a:lnTo>
                  <a:lnTo>
                    <a:pt x="87734" y="18098"/>
                  </a:lnTo>
                  <a:lnTo>
                    <a:pt x="99930" y="20852"/>
                  </a:lnTo>
                  <a:lnTo>
                    <a:pt x="99930" y="22425"/>
                  </a:lnTo>
                  <a:lnTo>
                    <a:pt x="96389" y="25573"/>
                  </a:lnTo>
                  <a:lnTo>
                    <a:pt x="93635" y="25966"/>
                  </a:lnTo>
                  <a:lnTo>
                    <a:pt x="87734" y="25966"/>
                  </a:lnTo>
                  <a:lnTo>
                    <a:pt x="84980" y="27933"/>
                  </a:lnTo>
                  <a:lnTo>
                    <a:pt x="87734" y="30294"/>
                  </a:lnTo>
                  <a:lnTo>
                    <a:pt x="90881" y="31474"/>
                  </a:lnTo>
                  <a:lnTo>
                    <a:pt x="93635" y="34621"/>
                  </a:lnTo>
                  <a:lnTo>
                    <a:pt x="96389" y="34228"/>
                  </a:lnTo>
                  <a:lnTo>
                    <a:pt x="99144" y="34228"/>
                  </a:lnTo>
                  <a:lnTo>
                    <a:pt x="102291" y="33835"/>
                  </a:lnTo>
                  <a:lnTo>
                    <a:pt x="105045" y="34621"/>
                  </a:lnTo>
                  <a:lnTo>
                    <a:pt x="107799" y="37376"/>
                  </a:lnTo>
                  <a:lnTo>
                    <a:pt x="110946" y="37769"/>
                  </a:lnTo>
                  <a:lnTo>
                    <a:pt x="111340" y="35015"/>
                  </a:lnTo>
                  <a:lnTo>
                    <a:pt x="112520" y="32261"/>
                  </a:lnTo>
                  <a:lnTo>
                    <a:pt x="112913" y="32261"/>
                  </a:lnTo>
                  <a:lnTo>
                    <a:pt x="112913" y="34621"/>
                  </a:lnTo>
                  <a:lnTo>
                    <a:pt x="114094" y="37769"/>
                  </a:lnTo>
                  <a:lnTo>
                    <a:pt x="116848" y="38556"/>
                  </a:lnTo>
                  <a:lnTo>
                    <a:pt x="119995" y="39343"/>
                  </a:lnTo>
                  <a:lnTo>
                    <a:pt x="122749" y="38556"/>
                  </a:lnTo>
                  <a:lnTo>
                    <a:pt x="125896" y="38556"/>
                  </a:lnTo>
                  <a:lnTo>
                    <a:pt x="128650" y="38949"/>
                  </a:lnTo>
                  <a:lnTo>
                    <a:pt x="129831" y="38556"/>
                  </a:lnTo>
                  <a:lnTo>
                    <a:pt x="132191" y="38556"/>
                  </a:lnTo>
                  <a:lnTo>
                    <a:pt x="133372" y="35802"/>
                  </a:lnTo>
                  <a:lnTo>
                    <a:pt x="133765" y="39736"/>
                  </a:lnTo>
                  <a:lnTo>
                    <a:pt x="134158" y="40523"/>
                  </a:lnTo>
                  <a:lnTo>
                    <a:pt x="136125" y="43277"/>
                  </a:lnTo>
                  <a:lnTo>
                    <a:pt x="139273" y="45637"/>
                  </a:lnTo>
                  <a:lnTo>
                    <a:pt x="142027" y="46818"/>
                  </a:lnTo>
                  <a:lnTo>
                    <a:pt x="143207" y="47605"/>
                  </a:lnTo>
                  <a:lnTo>
                    <a:pt x="144388" y="50359"/>
                  </a:lnTo>
                  <a:lnTo>
                    <a:pt x="144388" y="49572"/>
                  </a:lnTo>
                  <a:lnTo>
                    <a:pt x="144388" y="49178"/>
                  </a:lnTo>
                  <a:lnTo>
                    <a:pt x="145568" y="49572"/>
                  </a:lnTo>
                  <a:lnTo>
                    <a:pt x="147928" y="51145"/>
                  </a:lnTo>
                  <a:lnTo>
                    <a:pt x="149895" y="50752"/>
                  </a:lnTo>
                  <a:lnTo>
                    <a:pt x="156584" y="52719"/>
                  </a:lnTo>
                  <a:lnTo>
                    <a:pt x="156977" y="53113"/>
                  </a:lnTo>
                  <a:lnTo>
                    <a:pt x="159731" y="54686"/>
                  </a:lnTo>
                  <a:lnTo>
                    <a:pt x="162879" y="54686"/>
                  </a:lnTo>
                  <a:lnTo>
                    <a:pt x="165632" y="56260"/>
                  </a:lnTo>
                  <a:lnTo>
                    <a:pt x="168780" y="55867"/>
                  </a:lnTo>
                  <a:lnTo>
                    <a:pt x="174288" y="54293"/>
                  </a:lnTo>
                  <a:lnTo>
                    <a:pt x="174681" y="54293"/>
                  </a:lnTo>
                  <a:lnTo>
                    <a:pt x="177829" y="53506"/>
                  </a:lnTo>
                  <a:lnTo>
                    <a:pt x="182156" y="54293"/>
                  </a:lnTo>
                  <a:lnTo>
                    <a:pt x="180583" y="55080"/>
                  </a:lnTo>
                  <a:lnTo>
                    <a:pt x="183337" y="56653"/>
                  </a:lnTo>
                  <a:lnTo>
                    <a:pt x="184124" y="57440"/>
                  </a:lnTo>
                  <a:lnTo>
                    <a:pt x="184910" y="59801"/>
                  </a:lnTo>
                  <a:lnTo>
                    <a:pt x="184910" y="62948"/>
                  </a:lnTo>
                  <a:lnTo>
                    <a:pt x="186484" y="66096"/>
                  </a:lnTo>
                  <a:lnTo>
                    <a:pt x="185697" y="68850"/>
                  </a:lnTo>
                  <a:lnTo>
                    <a:pt x="185697" y="71997"/>
                  </a:lnTo>
                  <a:lnTo>
                    <a:pt x="187271" y="74751"/>
                  </a:lnTo>
                  <a:lnTo>
                    <a:pt x="190025" y="77112"/>
                  </a:lnTo>
                  <a:lnTo>
                    <a:pt x="192779" y="80259"/>
                  </a:lnTo>
                  <a:lnTo>
                    <a:pt x="194746" y="83013"/>
                  </a:lnTo>
                  <a:lnTo>
                    <a:pt x="197893" y="84980"/>
                  </a:lnTo>
                  <a:lnTo>
                    <a:pt x="200647" y="84980"/>
                  </a:lnTo>
                  <a:lnTo>
                    <a:pt x="203402" y="84193"/>
                  </a:lnTo>
                  <a:lnTo>
                    <a:pt x="206549" y="84980"/>
                  </a:lnTo>
                  <a:lnTo>
                    <a:pt x="209303" y="84980"/>
                  </a:lnTo>
                  <a:lnTo>
                    <a:pt x="212057" y="85374"/>
                  </a:lnTo>
                  <a:lnTo>
                    <a:pt x="215204" y="84980"/>
                  </a:lnTo>
                  <a:lnTo>
                    <a:pt x="218352" y="84193"/>
                  </a:lnTo>
                  <a:lnTo>
                    <a:pt x="220319" y="90095"/>
                  </a:lnTo>
                  <a:lnTo>
                    <a:pt x="221106" y="90488"/>
                  </a:lnTo>
                  <a:lnTo>
                    <a:pt x="224253" y="92062"/>
                  </a:lnTo>
                  <a:lnTo>
                    <a:pt x="223073" y="96389"/>
                  </a:lnTo>
                  <a:lnTo>
                    <a:pt x="222286" y="96389"/>
                  </a:lnTo>
                  <a:lnTo>
                    <a:pt x="219532" y="98357"/>
                  </a:lnTo>
                  <a:lnTo>
                    <a:pt x="216778" y="100717"/>
                  </a:lnTo>
                  <a:lnTo>
                    <a:pt x="214024" y="102291"/>
                  </a:lnTo>
                  <a:lnTo>
                    <a:pt x="210876" y="104258"/>
                  </a:lnTo>
                  <a:lnTo>
                    <a:pt x="208123" y="105832"/>
                  </a:lnTo>
                  <a:lnTo>
                    <a:pt x="206156" y="108586"/>
                  </a:lnTo>
                  <a:lnTo>
                    <a:pt x="203402" y="111340"/>
                  </a:lnTo>
                  <a:lnTo>
                    <a:pt x="203008" y="114487"/>
                  </a:lnTo>
                  <a:lnTo>
                    <a:pt x="205762" y="114487"/>
                  </a:lnTo>
                  <a:lnTo>
                    <a:pt x="208516" y="114094"/>
                  </a:lnTo>
                  <a:lnTo>
                    <a:pt x="211663" y="113700"/>
                  </a:lnTo>
                  <a:lnTo>
                    <a:pt x="214417" y="112520"/>
                  </a:lnTo>
                  <a:lnTo>
                    <a:pt x="217171" y="112127"/>
                  </a:lnTo>
                  <a:lnTo>
                    <a:pt x="220319" y="112520"/>
                  </a:lnTo>
                  <a:lnTo>
                    <a:pt x="223073" y="112520"/>
                  </a:lnTo>
                  <a:lnTo>
                    <a:pt x="269104" y="112913"/>
                  </a:lnTo>
                  <a:lnTo>
                    <a:pt x="269104" y="112913"/>
                  </a:lnTo>
                  <a:lnTo>
                    <a:pt x="271858" y="112913"/>
                  </a:lnTo>
                  <a:lnTo>
                    <a:pt x="273825" y="112520"/>
                  </a:lnTo>
                  <a:lnTo>
                    <a:pt x="276972" y="112127"/>
                  </a:lnTo>
                  <a:lnTo>
                    <a:pt x="278939" y="110159"/>
                  </a:lnTo>
                  <a:lnTo>
                    <a:pt x="278546" y="108586"/>
                  </a:lnTo>
                  <a:lnTo>
                    <a:pt x="279726" y="108586"/>
                  </a:lnTo>
                  <a:lnTo>
                    <a:pt x="280120" y="108586"/>
                  </a:lnTo>
                  <a:lnTo>
                    <a:pt x="280907" y="108586"/>
                  </a:lnTo>
                  <a:lnTo>
                    <a:pt x="279726" y="11015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0" name="Freeform: Shape 2294">
              <a:extLst>
                <a:ext uri="{FF2B5EF4-FFF2-40B4-BE49-F238E27FC236}">
                  <a16:creationId xmlns:a16="http://schemas.microsoft.com/office/drawing/2014/main" id="{B1B5E0D8-5772-46CD-9F9B-50871BDC9226}"/>
                </a:ext>
              </a:extLst>
            </p:cNvPr>
            <p:cNvSpPr/>
            <p:nvPr/>
          </p:nvSpPr>
          <p:spPr>
            <a:xfrm>
              <a:off x="4165456" y="3368848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0 w 3934"/>
                <a:gd name="connsiteY1" fmla="*/ 0 h 3934"/>
                <a:gd name="connsiteX2" fmla="*/ 787 w 3934"/>
                <a:gd name="connsiteY2" fmla="*/ 3147 h 3934"/>
                <a:gd name="connsiteX3" fmla="*/ 3934 w 3934"/>
                <a:gd name="connsiteY3" fmla="*/ 5901 h 3934"/>
                <a:gd name="connsiteX4" fmla="*/ 2361 w 3934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0" y="0"/>
                  </a:lnTo>
                  <a:lnTo>
                    <a:pt x="787" y="3147"/>
                  </a:lnTo>
                  <a:lnTo>
                    <a:pt x="3934" y="5901"/>
                  </a:lnTo>
                  <a:lnTo>
                    <a:pt x="236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1" name="Freeform: Shape 2295">
              <a:extLst>
                <a:ext uri="{FF2B5EF4-FFF2-40B4-BE49-F238E27FC236}">
                  <a16:creationId xmlns:a16="http://schemas.microsoft.com/office/drawing/2014/main" id="{29ADFA38-FC60-462A-A81B-2A2480678D30}"/>
                </a:ext>
              </a:extLst>
            </p:cNvPr>
            <p:cNvSpPr/>
            <p:nvPr/>
          </p:nvSpPr>
          <p:spPr>
            <a:xfrm>
              <a:off x="3708295" y="3618280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2754 h 0"/>
                <a:gd name="connsiteX2" fmla="*/ 275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2754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2" name="Freeform: Shape 2296">
              <a:extLst>
                <a:ext uri="{FF2B5EF4-FFF2-40B4-BE49-F238E27FC236}">
                  <a16:creationId xmlns:a16="http://schemas.microsoft.com/office/drawing/2014/main" id="{F96F8B5D-062C-474A-95A3-4D6BAB4BC186}"/>
                </a:ext>
              </a:extLst>
            </p:cNvPr>
            <p:cNvSpPr/>
            <p:nvPr/>
          </p:nvSpPr>
          <p:spPr>
            <a:xfrm>
              <a:off x="3713016" y="3583265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0 h 0"/>
                <a:gd name="connsiteX2" fmla="*/ 3147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0"/>
                  </a:lnTo>
                  <a:lnTo>
                    <a:pt x="314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3" name="Freeform: Shape 2297">
              <a:extLst>
                <a:ext uri="{FF2B5EF4-FFF2-40B4-BE49-F238E27FC236}">
                  <a16:creationId xmlns:a16="http://schemas.microsoft.com/office/drawing/2014/main" id="{9D20C73D-15FC-43A7-B5AF-5BCF1DE90AC5}"/>
                </a:ext>
              </a:extLst>
            </p:cNvPr>
            <p:cNvSpPr/>
            <p:nvPr/>
          </p:nvSpPr>
          <p:spPr>
            <a:xfrm>
              <a:off x="2195177" y="1828190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2754" y="0"/>
                  </a:lnTo>
                  <a:lnTo>
                    <a:pt x="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4" name="Freeform: Shape 2298">
              <a:extLst>
                <a:ext uri="{FF2B5EF4-FFF2-40B4-BE49-F238E27FC236}">
                  <a16:creationId xmlns:a16="http://schemas.microsoft.com/office/drawing/2014/main" id="{FD9930E3-0644-40BD-BD8E-76916CA25E20}"/>
                </a:ext>
              </a:extLst>
            </p:cNvPr>
            <p:cNvSpPr/>
            <p:nvPr/>
          </p:nvSpPr>
          <p:spPr>
            <a:xfrm>
              <a:off x="2358055" y="1772324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967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967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5" name="Freeform: Shape 2299">
              <a:extLst>
                <a:ext uri="{FF2B5EF4-FFF2-40B4-BE49-F238E27FC236}">
                  <a16:creationId xmlns:a16="http://schemas.microsoft.com/office/drawing/2014/main" id="{CF67B2BC-DE6E-4BE3-B14A-5682912D91F6}"/>
                </a:ext>
              </a:extLst>
            </p:cNvPr>
            <p:cNvSpPr/>
            <p:nvPr/>
          </p:nvSpPr>
          <p:spPr>
            <a:xfrm>
              <a:off x="2364744" y="1772717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6" name="Freeform: Shape 2300">
              <a:extLst>
                <a:ext uri="{FF2B5EF4-FFF2-40B4-BE49-F238E27FC236}">
                  <a16:creationId xmlns:a16="http://schemas.microsoft.com/office/drawing/2014/main" id="{D60C46C6-1426-4453-B08D-FC2A802A0B96}"/>
                </a:ext>
              </a:extLst>
            </p:cNvPr>
            <p:cNvSpPr/>
            <p:nvPr/>
          </p:nvSpPr>
          <p:spPr>
            <a:xfrm>
              <a:off x="2384808" y="1752259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574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574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7" name="Freeform: Shape 2301">
              <a:extLst>
                <a:ext uri="{FF2B5EF4-FFF2-40B4-BE49-F238E27FC236}">
                  <a16:creationId xmlns:a16="http://schemas.microsoft.com/office/drawing/2014/main" id="{C2606D01-C783-4C37-B12A-BB3B0A2DB4B4}"/>
                </a:ext>
              </a:extLst>
            </p:cNvPr>
            <p:cNvSpPr/>
            <p:nvPr/>
          </p:nvSpPr>
          <p:spPr>
            <a:xfrm>
              <a:off x="2596865" y="1680655"/>
              <a:ext cx="3934" cy="3934"/>
            </a:xfrm>
            <a:custGeom>
              <a:avLst/>
              <a:gdLst>
                <a:gd name="connsiteX0" fmla="*/ 5508 w 3934"/>
                <a:gd name="connsiteY0" fmla="*/ 787 h 0"/>
                <a:gd name="connsiteX1" fmla="*/ 5508 w 3934"/>
                <a:gd name="connsiteY1" fmla="*/ 0 h 0"/>
                <a:gd name="connsiteX2" fmla="*/ 2754 w 3934"/>
                <a:gd name="connsiteY2" fmla="*/ 0 h 0"/>
                <a:gd name="connsiteX3" fmla="*/ 0 w 3934"/>
                <a:gd name="connsiteY3" fmla="*/ 1180 h 0"/>
                <a:gd name="connsiteX4" fmla="*/ 2754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508" y="787"/>
                  </a:moveTo>
                  <a:lnTo>
                    <a:pt x="5508" y="0"/>
                  </a:lnTo>
                  <a:lnTo>
                    <a:pt x="2754" y="0"/>
                  </a:lnTo>
                  <a:lnTo>
                    <a:pt x="0" y="118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8" name="Freeform: Shape 2302">
              <a:extLst>
                <a:ext uri="{FF2B5EF4-FFF2-40B4-BE49-F238E27FC236}">
                  <a16:creationId xmlns:a16="http://schemas.microsoft.com/office/drawing/2014/main" id="{CBA0028F-F03E-47E7-9198-8F3C5D45D68A}"/>
                </a:ext>
              </a:extLst>
            </p:cNvPr>
            <p:cNvSpPr/>
            <p:nvPr/>
          </p:nvSpPr>
          <p:spPr>
            <a:xfrm>
              <a:off x="3301098" y="2726776"/>
              <a:ext cx="7869" cy="7869"/>
            </a:xfrm>
            <a:custGeom>
              <a:avLst/>
              <a:gdLst>
                <a:gd name="connsiteX0" fmla="*/ 7869 w 7868"/>
                <a:gd name="connsiteY0" fmla="*/ 1574 h 7868"/>
                <a:gd name="connsiteX1" fmla="*/ 5901 w 7868"/>
                <a:gd name="connsiteY1" fmla="*/ 3147 h 7868"/>
                <a:gd name="connsiteX2" fmla="*/ 2754 w 7868"/>
                <a:gd name="connsiteY2" fmla="*/ 5115 h 7868"/>
                <a:gd name="connsiteX3" fmla="*/ 0 w 7868"/>
                <a:gd name="connsiteY3" fmla="*/ 7869 h 7868"/>
                <a:gd name="connsiteX4" fmla="*/ 5508 w 7868"/>
                <a:gd name="connsiteY4" fmla="*/ 4328 h 7868"/>
                <a:gd name="connsiteX5" fmla="*/ 8655 w 7868"/>
                <a:gd name="connsiteY5" fmla="*/ 2361 h 7868"/>
                <a:gd name="connsiteX6" fmla="*/ 11409 w 7868"/>
                <a:gd name="connsiteY6" fmla="*/ 0 h 7868"/>
                <a:gd name="connsiteX7" fmla="*/ 8262 w 7868"/>
                <a:gd name="connsiteY7" fmla="*/ 118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7868">
                  <a:moveTo>
                    <a:pt x="7869" y="1574"/>
                  </a:moveTo>
                  <a:lnTo>
                    <a:pt x="5901" y="3147"/>
                  </a:lnTo>
                  <a:lnTo>
                    <a:pt x="2754" y="5115"/>
                  </a:lnTo>
                  <a:lnTo>
                    <a:pt x="0" y="7869"/>
                  </a:lnTo>
                  <a:lnTo>
                    <a:pt x="5508" y="4328"/>
                  </a:lnTo>
                  <a:lnTo>
                    <a:pt x="8655" y="2361"/>
                  </a:lnTo>
                  <a:lnTo>
                    <a:pt x="11409" y="0"/>
                  </a:lnTo>
                  <a:lnTo>
                    <a:pt x="8262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9" name="Freeform: Shape 2303">
              <a:extLst>
                <a:ext uri="{FF2B5EF4-FFF2-40B4-BE49-F238E27FC236}">
                  <a16:creationId xmlns:a16="http://schemas.microsoft.com/office/drawing/2014/main" id="{CCDC6A8C-7742-42E8-A11F-F4E4912D7747}"/>
                </a:ext>
              </a:extLst>
            </p:cNvPr>
            <p:cNvSpPr/>
            <p:nvPr/>
          </p:nvSpPr>
          <p:spPr>
            <a:xfrm>
              <a:off x="8986898" y="3419993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0" name="Freeform: Shape 2304">
              <a:extLst>
                <a:ext uri="{FF2B5EF4-FFF2-40B4-BE49-F238E27FC236}">
                  <a16:creationId xmlns:a16="http://schemas.microsoft.com/office/drawing/2014/main" id="{692E909C-4D8A-4177-ADC9-102A9D29A33E}"/>
                </a:ext>
              </a:extLst>
            </p:cNvPr>
            <p:cNvSpPr/>
            <p:nvPr/>
          </p:nvSpPr>
          <p:spPr>
            <a:xfrm>
              <a:off x="10346186" y="4010133"/>
              <a:ext cx="3934" cy="3934"/>
            </a:xfrm>
            <a:custGeom>
              <a:avLst/>
              <a:gdLst>
                <a:gd name="connsiteX0" fmla="*/ 3148 w 0"/>
                <a:gd name="connsiteY0" fmla="*/ 2754 h 0"/>
                <a:gd name="connsiteX1" fmla="*/ 3148 w 0"/>
                <a:gd name="connsiteY1" fmla="*/ 393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2754"/>
                  </a:moveTo>
                  <a:lnTo>
                    <a:pt x="3148" y="39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1" name="Freeform: Shape 2305">
              <a:extLst>
                <a:ext uri="{FF2B5EF4-FFF2-40B4-BE49-F238E27FC236}">
                  <a16:creationId xmlns:a16="http://schemas.microsoft.com/office/drawing/2014/main" id="{5D713CDC-A680-4F00-8661-C75FC88DE5D6}"/>
                </a:ext>
              </a:extLst>
            </p:cNvPr>
            <p:cNvSpPr/>
            <p:nvPr/>
          </p:nvSpPr>
          <p:spPr>
            <a:xfrm>
              <a:off x="10348546" y="3999904"/>
              <a:ext cx="3934" cy="3934"/>
            </a:xfrm>
            <a:custGeom>
              <a:avLst/>
              <a:gdLst>
                <a:gd name="connsiteX0" fmla="*/ 2755 w 0"/>
                <a:gd name="connsiteY0" fmla="*/ 1574 h 0"/>
                <a:gd name="connsiteX1" fmla="*/ 2755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5" y="1574"/>
                  </a:moveTo>
                  <a:lnTo>
                    <a:pt x="2755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2" name="Freeform: Shape 2306">
              <a:extLst>
                <a:ext uri="{FF2B5EF4-FFF2-40B4-BE49-F238E27FC236}">
                  <a16:creationId xmlns:a16="http://schemas.microsoft.com/office/drawing/2014/main" id="{0353919E-FDB2-4866-BA52-FB06E89F793F}"/>
                </a:ext>
              </a:extLst>
            </p:cNvPr>
            <p:cNvSpPr/>
            <p:nvPr/>
          </p:nvSpPr>
          <p:spPr>
            <a:xfrm>
              <a:off x="10357202" y="3989281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0 w 0"/>
                <a:gd name="connsiteY1" fmla="*/ 0 h 0"/>
                <a:gd name="connsiteX2" fmla="*/ 275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0" y="0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3" name="Freeform: Shape 2307">
              <a:extLst>
                <a:ext uri="{FF2B5EF4-FFF2-40B4-BE49-F238E27FC236}">
                  <a16:creationId xmlns:a16="http://schemas.microsoft.com/office/drawing/2014/main" id="{768B26B2-1B0C-4DAF-A244-DD34A0A0040A}"/>
                </a:ext>
              </a:extLst>
            </p:cNvPr>
            <p:cNvSpPr/>
            <p:nvPr/>
          </p:nvSpPr>
          <p:spPr>
            <a:xfrm>
              <a:off x="10551161" y="3806338"/>
              <a:ext cx="11803" cy="7869"/>
            </a:xfrm>
            <a:custGeom>
              <a:avLst/>
              <a:gdLst>
                <a:gd name="connsiteX0" fmla="*/ 4722 w 11802"/>
                <a:gd name="connsiteY0" fmla="*/ 10229 h 7868"/>
                <a:gd name="connsiteX1" fmla="*/ 7869 w 11802"/>
                <a:gd name="connsiteY1" fmla="*/ 10229 h 7868"/>
                <a:gd name="connsiteX2" fmla="*/ 10623 w 11802"/>
                <a:gd name="connsiteY2" fmla="*/ 10623 h 7868"/>
                <a:gd name="connsiteX3" fmla="*/ 13770 w 11802"/>
                <a:gd name="connsiteY3" fmla="*/ 9049 h 7868"/>
                <a:gd name="connsiteX4" fmla="*/ 13770 w 11802"/>
                <a:gd name="connsiteY4" fmla="*/ 5901 h 7868"/>
                <a:gd name="connsiteX5" fmla="*/ 11803 w 11802"/>
                <a:gd name="connsiteY5" fmla="*/ 3147 h 7868"/>
                <a:gd name="connsiteX6" fmla="*/ 9049 w 11802"/>
                <a:gd name="connsiteY6" fmla="*/ 1967 h 7868"/>
                <a:gd name="connsiteX7" fmla="*/ 5901 w 11802"/>
                <a:gd name="connsiteY7" fmla="*/ 0 h 7868"/>
                <a:gd name="connsiteX8" fmla="*/ 2755 w 11802"/>
                <a:gd name="connsiteY8" fmla="*/ 1574 h 7868"/>
                <a:gd name="connsiteX9" fmla="*/ 0 w 11802"/>
                <a:gd name="connsiteY9" fmla="*/ 3147 h 7868"/>
                <a:gd name="connsiteX10" fmla="*/ 0 w 11802"/>
                <a:gd name="connsiteY10" fmla="*/ 4721 h 7868"/>
                <a:gd name="connsiteX11" fmla="*/ 2755 w 11802"/>
                <a:gd name="connsiteY11" fmla="*/ 708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7868">
                  <a:moveTo>
                    <a:pt x="4722" y="10229"/>
                  </a:moveTo>
                  <a:lnTo>
                    <a:pt x="7869" y="10229"/>
                  </a:lnTo>
                  <a:lnTo>
                    <a:pt x="10623" y="10623"/>
                  </a:lnTo>
                  <a:lnTo>
                    <a:pt x="13770" y="9049"/>
                  </a:lnTo>
                  <a:lnTo>
                    <a:pt x="13770" y="5901"/>
                  </a:lnTo>
                  <a:lnTo>
                    <a:pt x="11803" y="3147"/>
                  </a:lnTo>
                  <a:lnTo>
                    <a:pt x="9049" y="1967"/>
                  </a:lnTo>
                  <a:lnTo>
                    <a:pt x="5901" y="0"/>
                  </a:lnTo>
                  <a:lnTo>
                    <a:pt x="2755" y="1574"/>
                  </a:lnTo>
                  <a:lnTo>
                    <a:pt x="0" y="3147"/>
                  </a:lnTo>
                  <a:lnTo>
                    <a:pt x="0" y="4721"/>
                  </a:lnTo>
                  <a:lnTo>
                    <a:pt x="2755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4" name="Freeform: Shape 2308">
              <a:extLst>
                <a:ext uri="{FF2B5EF4-FFF2-40B4-BE49-F238E27FC236}">
                  <a16:creationId xmlns:a16="http://schemas.microsoft.com/office/drawing/2014/main" id="{5D429086-63BA-49CB-A700-F395BFCCEE0C}"/>
                </a:ext>
              </a:extLst>
            </p:cNvPr>
            <p:cNvSpPr/>
            <p:nvPr/>
          </p:nvSpPr>
          <p:spPr>
            <a:xfrm>
              <a:off x="10575947" y="3813813"/>
              <a:ext cx="66882" cy="74751"/>
            </a:xfrm>
            <a:custGeom>
              <a:avLst/>
              <a:gdLst>
                <a:gd name="connsiteX0" fmla="*/ 1967 w 66882"/>
                <a:gd name="connsiteY0" fmla="*/ 6295 h 74751"/>
                <a:gd name="connsiteX1" fmla="*/ 4328 w 66882"/>
                <a:gd name="connsiteY1" fmla="*/ 6688 h 74751"/>
                <a:gd name="connsiteX2" fmla="*/ 6688 w 66882"/>
                <a:gd name="connsiteY2" fmla="*/ 7869 h 74751"/>
                <a:gd name="connsiteX3" fmla="*/ 7869 w 66882"/>
                <a:gd name="connsiteY3" fmla="*/ 8655 h 74751"/>
                <a:gd name="connsiteX4" fmla="*/ 10622 w 66882"/>
                <a:gd name="connsiteY4" fmla="*/ 11016 h 74751"/>
                <a:gd name="connsiteX5" fmla="*/ 13377 w 66882"/>
                <a:gd name="connsiteY5" fmla="*/ 13377 h 74751"/>
                <a:gd name="connsiteX6" fmla="*/ 16524 w 66882"/>
                <a:gd name="connsiteY6" fmla="*/ 15344 h 74751"/>
                <a:gd name="connsiteX7" fmla="*/ 18885 w 66882"/>
                <a:gd name="connsiteY7" fmla="*/ 18098 h 74751"/>
                <a:gd name="connsiteX8" fmla="*/ 22032 w 66882"/>
                <a:gd name="connsiteY8" fmla="*/ 19671 h 74751"/>
                <a:gd name="connsiteX9" fmla="*/ 24786 w 66882"/>
                <a:gd name="connsiteY9" fmla="*/ 22425 h 74751"/>
                <a:gd name="connsiteX10" fmla="*/ 27147 w 66882"/>
                <a:gd name="connsiteY10" fmla="*/ 25179 h 74751"/>
                <a:gd name="connsiteX11" fmla="*/ 29901 w 66882"/>
                <a:gd name="connsiteY11" fmla="*/ 27540 h 74751"/>
                <a:gd name="connsiteX12" fmla="*/ 32655 w 66882"/>
                <a:gd name="connsiteY12" fmla="*/ 29901 h 74751"/>
                <a:gd name="connsiteX13" fmla="*/ 35802 w 66882"/>
                <a:gd name="connsiteY13" fmla="*/ 30294 h 74751"/>
                <a:gd name="connsiteX14" fmla="*/ 36195 w 66882"/>
                <a:gd name="connsiteY14" fmla="*/ 30294 h 74751"/>
                <a:gd name="connsiteX15" fmla="*/ 40129 w 66882"/>
                <a:gd name="connsiteY15" fmla="*/ 32261 h 74751"/>
                <a:gd name="connsiteX16" fmla="*/ 41704 w 66882"/>
                <a:gd name="connsiteY16" fmla="*/ 33441 h 74751"/>
                <a:gd name="connsiteX17" fmla="*/ 44064 w 66882"/>
                <a:gd name="connsiteY17" fmla="*/ 36195 h 74751"/>
                <a:gd name="connsiteX18" fmla="*/ 44457 w 66882"/>
                <a:gd name="connsiteY18" fmla="*/ 38949 h 74751"/>
                <a:gd name="connsiteX19" fmla="*/ 46818 w 66882"/>
                <a:gd name="connsiteY19" fmla="*/ 42097 h 74751"/>
                <a:gd name="connsiteX20" fmla="*/ 49178 w 66882"/>
                <a:gd name="connsiteY20" fmla="*/ 44851 h 74751"/>
                <a:gd name="connsiteX21" fmla="*/ 50753 w 66882"/>
                <a:gd name="connsiteY21" fmla="*/ 47998 h 74751"/>
                <a:gd name="connsiteX22" fmla="*/ 51539 w 66882"/>
                <a:gd name="connsiteY22" fmla="*/ 50752 h 74751"/>
                <a:gd name="connsiteX23" fmla="*/ 53113 w 66882"/>
                <a:gd name="connsiteY23" fmla="*/ 53506 h 74751"/>
                <a:gd name="connsiteX24" fmla="*/ 53113 w 66882"/>
                <a:gd name="connsiteY24" fmla="*/ 54293 h 74751"/>
                <a:gd name="connsiteX25" fmla="*/ 47605 w 66882"/>
                <a:gd name="connsiteY25" fmla="*/ 45244 h 74751"/>
                <a:gd name="connsiteX26" fmla="*/ 53506 w 66882"/>
                <a:gd name="connsiteY26" fmla="*/ 56260 h 74751"/>
                <a:gd name="connsiteX27" fmla="*/ 53113 w 66882"/>
                <a:gd name="connsiteY27" fmla="*/ 58621 h 74751"/>
                <a:gd name="connsiteX28" fmla="*/ 52720 w 66882"/>
                <a:gd name="connsiteY28" fmla="*/ 61768 h 74751"/>
                <a:gd name="connsiteX29" fmla="*/ 52720 w 66882"/>
                <a:gd name="connsiteY29" fmla="*/ 64522 h 74751"/>
                <a:gd name="connsiteX30" fmla="*/ 53506 w 66882"/>
                <a:gd name="connsiteY30" fmla="*/ 67276 h 74751"/>
                <a:gd name="connsiteX31" fmla="*/ 53899 w 66882"/>
                <a:gd name="connsiteY31" fmla="*/ 70030 h 74751"/>
                <a:gd name="connsiteX32" fmla="*/ 56260 w 66882"/>
                <a:gd name="connsiteY32" fmla="*/ 72784 h 74751"/>
                <a:gd name="connsiteX33" fmla="*/ 56654 w 66882"/>
                <a:gd name="connsiteY33" fmla="*/ 73571 h 74751"/>
                <a:gd name="connsiteX34" fmla="*/ 57833 w 66882"/>
                <a:gd name="connsiteY34" fmla="*/ 75931 h 74751"/>
                <a:gd name="connsiteX35" fmla="*/ 59801 w 66882"/>
                <a:gd name="connsiteY35" fmla="*/ 73964 h 74751"/>
                <a:gd name="connsiteX36" fmla="*/ 60588 w 66882"/>
                <a:gd name="connsiteY36" fmla="*/ 73177 h 74751"/>
                <a:gd name="connsiteX37" fmla="*/ 62162 w 66882"/>
                <a:gd name="connsiteY37" fmla="*/ 70030 h 74751"/>
                <a:gd name="connsiteX38" fmla="*/ 62555 w 66882"/>
                <a:gd name="connsiteY38" fmla="*/ 68850 h 74751"/>
                <a:gd name="connsiteX39" fmla="*/ 64129 w 66882"/>
                <a:gd name="connsiteY39" fmla="*/ 65702 h 74751"/>
                <a:gd name="connsiteX40" fmla="*/ 63735 w 66882"/>
                <a:gd name="connsiteY40" fmla="*/ 62948 h 74751"/>
                <a:gd name="connsiteX41" fmla="*/ 66490 w 66882"/>
                <a:gd name="connsiteY41" fmla="*/ 60194 h 74751"/>
                <a:gd name="connsiteX42" fmla="*/ 66882 w 66882"/>
                <a:gd name="connsiteY42" fmla="*/ 57047 h 74751"/>
                <a:gd name="connsiteX43" fmla="*/ 65309 w 66882"/>
                <a:gd name="connsiteY43" fmla="*/ 54293 h 74751"/>
                <a:gd name="connsiteX44" fmla="*/ 64129 w 66882"/>
                <a:gd name="connsiteY44" fmla="*/ 51539 h 74751"/>
                <a:gd name="connsiteX45" fmla="*/ 62162 w 66882"/>
                <a:gd name="connsiteY45" fmla="*/ 48785 h 74751"/>
                <a:gd name="connsiteX46" fmla="*/ 59408 w 66882"/>
                <a:gd name="connsiteY46" fmla="*/ 46424 h 74751"/>
                <a:gd name="connsiteX47" fmla="*/ 59014 w 66882"/>
                <a:gd name="connsiteY47" fmla="*/ 43277 h 74751"/>
                <a:gd name="connsiteX48" fmla="*/ 55866 w 66882"/>
                <a:gd name="connsiteY48" fmla="*/ 43670 h 74751"/>
                <a:gd name="connsiteX49" fmla="*/ 54293 w 66882"/>
                <a:gd name="connsiteY49" fmla="*/ 42490 h 74751"/>
                <a:gd name="connsiteX50" fmla="*/ 51539 w 66882"/>
                <a:gd name="connsiteY50" fmla="*/ 41310 h 74751"/>
                <a:gd name="connsiteX51" fmla="*/ 50753 w 66882"/>
                <a:gd name="connsiteY51" fmla="*/ 38556 h 74751"/>
                <a:gd name="connsiteX52" fmla="*/ 49178 w 66882"/>
                <a:gd name="connsiteY52" fmla="*/ 35408 h 74751"/>
                <a:gd name="connsiteX53" fmla="*/ 46425 w 66882"/>
                <a:gd name="connsiteY53" fmla="*/ 34228 h 74751"/>
                <a:gd name="connsiteX54" fmla="*/ 44851 w 66882"/>
                <a:gd name="connsiteY54" fmla="*/ 31474 h 74751"/>
                <a:gd name="connsiteX55" fmla="*/ 41704 w 66882"/>
                <a:gd name="connsiteY55" fmla="*/ 29901 h 74751"/>
                <a:gd name="connsiteX56" fmla="*/ 39343 w 66882"/>
                <a:gd name="connsiteY56" fmla="*/ 27147 h 74751"/>
                <a:gd name="connsiteX57" fmla="*/ 37769 w 66882"/>
                <a:gd name="connsiteY57" fmla="*/ 24392 h 74751"/>
                <a:gd name="connsiteX58" fmla="*/ 34622 w 66882"/>
                <a:gd name="connsiteY58" fmla="*/ 21638 h 74751"/>
                <a:gd name="connsiteX59" fmla="*/ 33048 w 66882"/>
                <a:gd name="connsiteY59" fmla="*/ 21245 h 74751"/>
                <a:gd name="connsiteX60" fmla="*/ 27540 w 66882"/>
                <a:gd name="connsiteY60" fmla="*/ 18098 h 74751"/>
                <a:gd name="connsiteX61" fmla="*/ 26359 w 66882"/>
                <a:gd name="connsiteY61" fmla="*/ 16918 h 74751"/>
                <a:gd name="connsiteX62" fmla="*/ 23606 w 66882"/>
                <a:gd name="connsiteY62" fmla="*/ 14557 h 74751"/>
                <a:gd name="connsiteX63" fmla="*/ 20852 w 66882"/>
                <a:gd name="connsiteY63" fmla="*/ 12983 h 74751"/>
                <a:gd name="connsiteX64" fmla="*/ 17704 w 66882"/>
                <a:gd name="connsiteY64" fmla="*/ 10229 h 74751"/>
                <a:gd name="connsiteX65" fmla="*/ 14950 w 66882"/>
                <a:gd name="connsiteY65" fmla="*/ 9049 h 74751"/>
                <a:gd name="connsiteX66" fmla="*/ 12983 w 66882"/>
                <a:gd name="connsiteY66" fmla="*/ 9049 h 74751"/>
                <a:gd name="connsiteX67" fmla="*/ 11803 w 66882"/>
                <a:gd name="connsiteY67" fmla="*/ 8262 h 74751"/>
                <a:gd name="connsiteX68" fmla="*/ 11016 w 66882"/>
                <a:gd name="connsiteY68" fmla="*/ 6295 h 74751"/>
                <a:gd name="connsiteX69" fmla="*/ 8262 w 66882"/>
                <a:gd name="connsiteY69" fmla="*/ 4721 h 74751"/>
                <a:gd name="connsiteX70" fmla="*/ 5115 w 66882"/>
                <a:gd name="connsiteY70" fmla="*/ 2754 h 74751"/>
                <a:gd name="connsiteX71" fmla="*/ 2361 w 66882"/>
                <a:gd name="connsiteY71" fmla="*/ 0 h 74751"/>
                <a:gd name="connsiteX72" fmla="*/ 0 w 66882"/>
                <a:gd name="connsiteY72" fmla="*/ 3541 h 74751"/>
                <a:gd name="connsiteX73" fmla="*/ 1967 w 66882"/>
                <a:gd name="connsiteY73" fmla="*/ 6295 h 74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66882" h="74751">
                  <a:moveTo>
                    <a:pt x="1967" y="6295"/>
                  </a:moveTo>
                  <a:lnTo>
                    <a:pt x="4328" y="6688"/>
                  </a:lnTo>
                  <a:cubicBezTo>
                    <a:pt x="5115" y="7082"/>
                    <a:pt x="5901" y="7475"/>
                    <a:pt x="6688" y="7869"/>
                  </a:cubicBezTo>
                  <a:lnTo>
                    <a:pt x="7869" y="8655"/>
                  </a:lnTo>
                  <a:lnTo>
                    <a:pt x="10622" y="11016"/>
                  </a:lnTo>
                  <a:lnTo>
                    <a:pt x="13377" y="13377"/>
                  </a:lnTo>
                  <a:lnTo>
                    <a:pt x="16524" y="15344"/>
                  </a:lnTo>
                  <a:lnTo>
                    <a:pt x="18885" y="18098"/>
                  </a:lnTo>
                  <a:lnTo>
                    <a:pt x="22032" y="19671"/>
                  </a:lnTo>
                  <a:lnTo>
                    <a:pt x="24786" y="22425"/>
                  </a:lnTo>
                  <a:lnTo>
                    <a:pt x="27147" y="25179"/>
                  </a:lnTo>
                  <a:lnTo>
                    <a:pt x="29901" y="27540"/>
                  </a:lnTo>
                  <a:lnTo>
                    <a:pt x="32655" y="29901"/>
                  </a:lnTo>
                  <a:lnTo>
                    <a:pt x="35802" y="30294"/>
                  </a:lnTo>
                  <a:lnTo>
                    <a:pt x="36195" y="30294"/>
                  </a:lnTo>
                  <a:cubicBezTo>
                    <a:pt x="37376" y="31081"/>
                    <a:pt x="38556" y="31474"/>
                    <a:pt x="40129" y="32261"/>
                  </a:cubicBezTo>
                  <a:lnTo>
                    <a:pt x="41704" y="33441"/>
                  </a:lnTo>
                  <a:lnTo>
                    <a:pt x="44064" y="36195"/>
                  </a:lnTo>
                  <a:lnTo>
                    <a:pt x="44457" y="38949"/>
                  </a:lnTo>
                  <a:lnTo>
                    <a:pt x="46818" y="42097"/>
                  </a:lnTo>
                  <a:lnTo>
                    <a:pt x="49178" y="44851"/>
                  </a:lnTo>
                  <a:lnTo>
                    <a:pt x="50753" y="47998"/>
                  </a:lnTo>
                  <a:lnTo>
                    <a:pt x="51539" y="50752"/>
                  </a:lnTo>
                  <a:lnTo>
                    <a:pt x="53113" y="53506"/>
                  </a:lnTo>
                  <a:lnTo>
                    <a:pt x="53113" y="54293"/>
                  </a:lnTo>
                  <a:lnTo>
                    <a:pt x="47605" y="45244"/>
                  </a:lnTo>
                  <a:cubicBezTo>
                    <a:pt x="49572" y="48785"/>
                    <a:pt x="51539" y="52719"/>
                    <a:pt x="53506" y="56260"/>
                  </a:cubicBezTo>
                  <a:lnTo>
                    <a:pt x="53113" y="58621"/>
                  </a:lnTo>
                  <a:lnTo>
                    <a:pt x="52720" y="61768"/>
                  </a:lnTo>
                  <a:lnTo>
                    <a:pt x="52720" y="64522"/>
                  </a:lnTo>
                  <a:lnTo>
                    <a:pt x="53506" y="67276"/>
                  </a:lnTo>
                  <a:lnTo>
                    <a:pt x="53899" y="70030"/>
                  </a:lnTo>
                  <a:lnTo>
                    <a:pt x="56260" y="72784"/>
                  </a:lnTo>
                  <a:lnTo>
                    <a:pt x="56654" y="73571"/>
                  </a:lnTo>
                  <a:cubicBezTo>
                    <a:pt x="57047" y="74358"/>
                    <a:pt x="57441" y="75145"/>
                    <a:pt x="57833" y="75931"/>
                  </a:cubicBezTo>
                  <a:cubicBezTo>
                    <a:pt x="58621" y="75145"/>
                    <a:pt x="59408" y="74751"/>
                    <a:pt x="59801" y="73964"/>
                  </a:cubicBezTo>
                  <a:lnTo>
                    <a:pt x="60588" y="73177"/>
                  </a:lnTo>
                  <a:lnTo>
                    <a:pt x="62162" y="70030"/>
                  </a:lnTo>
                  <a:lnTo>
                    <a:pt x="62555" y="68850"/>
                  </a:lnTo>
                  <a:lnTo>
                    <a:pt x="64129" y="65702"/>
                  </a:lnTo>
                  <a:lnTo>
                    <a:pt x="63735" y="62948"/>
                  </a:lnTo>
                  <a:lnTo>
                    <a:pt x="66490" y="60194"/>
                  </a:lnTo>
                  <a:lnTo>
                    <a:pt x="66882" y="57047"/>
                  </a:lnTo>
                  <a:lnTo>
                    <a:pt x="65309" y="54293"/>
                  </a:lnTo>
                  <a:lnTo>
                    <a:pt x="64129" y="51539"/>
                  </a:lnTo>
                  <a:lnTo>
                    <a:pt x="62162" y="48785"/>
                  </a:lnTo>
                  <a:lnTo>
                    <a:pt x="59408" y="46424"/>
                  </a:lnTo>
                  <a:lnTo>
                    <a:pt x="59014" y="43277"/>
                  </a:lnTo>
                  <a:lnTo>
                    <a:pt x="55866" y="43670"/>
                  </a:lnTo>
                  <a:lnTo>
                    <a:pt x="54293" y="42490"/>
                  </a:lnTo>
                  <a:lnTo>
                    <a:pt x="51539" y="41310"/>
                  </a:lnTo>
                  <a:lnTo>
                    <a:pt x="50753" y="38556"/>
                  </a:lnTo>
                  <a:lnTo>
                    <a:pt x="49178" y="35408"/>
                  </a:lnTo>
                  <a:lnTo>
                    <a:pt x="46425" y="34228"/>
                  </a:lnTo>
                  <a:lnTo>
                    <a:pt x="44851" y="31474"/>
                  </a:lnTo>
                  <a:lnTo>
                    <a:pt x="41704" y="29901"/>
                  </a:lnTo>
                  <a:lnTo>
                    <a:pt x="39343" y="27147"/>
                  </a:lnTo>
                  <a:lnTo>
                    <a:pt x="37769" y="24392"/>
                  </a:lnTo>
                  <a:lnTo>
                    <a:pt x="34622" y="21638"/>
                  </a:lnTo>
                  <a:lnTo>
                    <a:pt x="33048" y="21245"/>
                  </a:lnTo>
                  <a:cubicBezTo>
                    <a:pt x="31081" y="20065"/>
                    <a:pt x="29507" y="19278"/>
                    <a:pt x="27540" y="18098"/>
                  </a:cubicBezTo>
                  <a:lnTo>
                    <a:pt x="26359" y="16918"/>
                  </a:lnTo>
                  <a:lnTo>
                    <a:pt x="23606" y="14557"/>
                  </a:lnTo>
                  <a:lnTo>
                    <a:pt x="20852" y="12983"/>
                  </a:lnTo>
                  <a:lnTo>
                    <a:pt x="17704" y="10229"/>
                  </a:lnTo>
                  <a:lnTo>
                    <a:pt x="14950" y="9049"/>
                  </a:lnTo>
                  <a:lnTo>
                    <a:pt x="12983" y="9049"/>
                  </a:lnTo>
                  <a:cubicBezTo>
                    <a:pt x="12589" y="8655"/>
                    <a:pt x="12197" y="8655"/>
                    <a:pt x="11803" y="8262"/>
                  </a:cubicBezTo>
                  <a:lnTo>
                    <a:pt x="11016" y="6295"/>
                  </a:lnTo>
                  <a:lnTo>
                    <a:pt x="8262" y="4721"/>
                  </a:lnTo>
                  <a:lnTo>
                    <a:pt x="5115" y="2754"/>
                  </a:lnTo>
                  <a:lnTo>
                    <a:pt x="2361" y="0"/>
                  </a:lnTo>
                  <a:cubicBezTo>
                    <a:pt x="787" y="3541"/>
                    <a:pt x="2754" y="787"/>
                    <a:pt x="0" y="3541"/>
                  </a:cubicBezTo>
                  <a:lnTo>
                    <a:pt x="1967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5" name="Freeform: Shape 2309">
              <a:extLst>
                <a:ext uri="{FF2B5EF4-FFF2-40B4-BE49-F238E27FC236}">
                  <a16:creationId xmlns:a16="http://schemas.microsoft.com/office/drawing/2014/main" id="{55A36F49-B00F-407E-9B73-C9AF3AC5CBD5}"/>
                </a:ext>
              </a:extLst>
            </p:cNvPr>
            <p:cNvSpPr/>
            <p:nvPr/>
          </p:nvSpPr>
          <p:spPr>
            <a:xfrm>
              <a:off x="6472509" y="2220830"/>
              <a:ext cx="3934" cy="3934"/>
            </a:xfrm>
            <a:custGeom>
              <a:avLst/>
              <a:gdLst>
                <a:gd name="connsiteX0" fmla="*/ 2754 w 0"/>
                <a:gd name="connsiteY0" fmla="*/ 2360 h 0"/>
                <a:gd name="connsiteX1" fmla="*/ 2754 w 0"/>
                <a:gd name="connsiteY1" fmla="*/ 157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360"/>
                  </a:moveTo>
                  <a:lnTo>
                    <a:pt x="2754" y="15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6" name="Freeform: Shape 2310">
              <a:extLst>
                <a:ext uri="{FF2B5EF4-FFF2-40B4-BE49-F238E27FC236}">
                  <a16:creationId xmlns:a16="http://schemas.microsoft.com/office/drawing/2014/main" id="{3A06537C-DA33-4E12-B415-5E3901A2258A}"/>
                </a:ext>
              </a:extLst>
            </p:cNvPr>
            <p:cNvSpPr/>
            <p:nvPr/>
          </p:nvSpPr>
          <p:spPr>
            <a:xfrm>
              <a:off x="6478804" y="2218863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2754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2754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7" name="Freeform: Shape 2311">
              <a:extLst>
                <a:ext uri="{FF2B5EF4-FFF2-40B4-BE49-F238E27FC236}">
                  <a16:creationId xmlns:a16="http://schemas.microsoft.com/office/drawing/2014/main" id="{7DFE311E-E6D1-42FB-9E17-E892D86707A9}"/>
                </a:ext>
              </a:extLst>
            </p:cNvPr>
            <p:cNvSpPr/>
            <p:nvPr/>
          </p:nvSpPr>
          <p:spPr>
            <a:xfrm>
              <a:off x="6511852" y="2246402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8" name="Freeform: Shape 2312">
              <a:extLst>
                <a:ext uri="{FF2B5EF4-FFF2-40B4-BE49-F238E27FC236}">
                  <a16:creationId xmlns:a16="http://schemas.microsoft.com/office/drawing/2014/main" id="{FF8E398D-A1CD-418B-948B-CD04508BF049}"/>
                </a:ext>
              </a:extLst>
            </p:cNvPr>
            <p:cNvSpPr/>
            <p:nvPr/>
          </p:nvSpPr>
          <p:spPr>
            <a:xfrm>
              <a:off x="4207553" y="2217289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0 w 0"/>
                <a:gd name="connsiteY1" fmla="*/ 2754 h 0"/>
                <a:gd name="connsiteX2" fmla="*/ 196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0" y="2754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9" name="Freeform: Shape 2313">
              <a:extLst>
                <a:ext uri="{FF2B5EF4-FFF2-40B4-BE49-F238E27FC236}">
                  <a16:creationId xmlns:a16="http://schemas.microsoft.com/office/drawing/2014/main" id="{E106B545-D27D-4B82-A439-8ADF3CCE1E0D}"/>
                </a:ext>
              </a:extLst>
            </p:cNvPr>
            <p:cNvSpPr/>
            <p:nvPr/>
          </p:nvSpPr>
          <p:spPr>
            <a:xfrm>
              <a:off x="4216995" y="2223190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180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18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20" name="Freeform: Shape 2314">
              <a:extLst>
                <a:ext uri="{FF2B5EF4-FFF2-40B4-BE49-F238E27FC236}">
                  <a16:creationId xmlns:a16="http://schemas.microsoft.com/office/drawing/2014/main" id="{FD21B09E-76E3-4343-A5CA-15338EF12EB1}"/>
                </a:ext>
              </a:extLst>
            </p:cNvPr>
            <p:cNvSpPr/>
            <p:nvPr/>
          </p:nvSpPr>
          <p:spPr>
            <a:xfrm>
              <a:off x="2777448" y="1790028"/>
              <a:ext cx="3934" cy="3934"/>
            </a:xfrm>
            <a:custGeom>
              <a:avLst/>
              <a:gdLst>
                <a:gd name="connsiteX0" fmla="*/ 1180 w 0"/>
                <a:gd name="connsiteY0" fmla="*/ 3541 h 0"/>
                <a:gd name="connsiteX1" fmla="*/ 3541 w 0"/>
                <a:gd name="connsiteY1" fmla="*/ 787 h 0"/>
                <a:gd name="connsiteX2" fmla="*/ 2754 w 0"/>
                <a:gd name="connsiteY2" fmla="*/ 0 h 0"/>
                <a:gd name="connsiteX3" fmla="*/ 0 w 0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180" y="3541"/>
                  </a:moveTo>
                  <a:lnTo>
                    <a:pt x="3541" y="787"/>
                  </a:lnTo>
                  <a:lnTo>
                    <a:pt x="2754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21" name="Freeform: Shape 2315">
              <a:extLst>
                <a:ext uri="{FF2B5EF4-FFF2-40B4-BE49-F238E27FC236}">
                  <a16:creationId xmlns:a16="http://schemas.microsoft.com/office/drawing/2014/main" id="{080DCA33-375D-4C7A-9AB7-24B1400D87DA}"/>
                </a:ext>
              </a:extLst>
            </p:cNvPr>
            <p:cNvSpPr/>
            <p:nvPr/>
          </p:nvSpPr>
          <p:spPr>
            <a:xfrm>
              <a:off x="2755416" y="1837632"/>
              <a:ext cx="3934" cy="3934"/>
            </a:xfrm>
            <a:custGeom>
              <a:avLst/>
              <a:gdLst>
                <a:gd name="connsiteX0" fmla="*/ 787 w 0"/>
                <a:gd name="connsiteY0" fmla="*/ 1180 h 0"/>
                <a:gd name="connsiteX1" fmla="*/ 393 w 0"/>
                <a:gd name="connsiteY1" fmla="*/ 1574 h 0"/>
                <a:gd name="connsiteX2" fmla="*/ 0 w 0"/>
                <a:gd name="connsiteY2" fmla="*/ 1967 h 0"/>
                <a:gd name="connsiteX3" fmla="*/ 787 w 0"/>
                <a:gd name="connsiteY3" fmla="*/ 2754 h 0"/>
                <a:gd name="connsiteX4" fmla="*/ 3541 w 0"/>
                <a:gd name="connsiteY4" fmla="*/ 0 h 0"/>
                <a:gd name="connsiteX5" fmla="*/ 2361 w 0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787" y="1180"/>
                  </a:moveTo>
                  <a:lnTo>
                    <a:pt x="393" y="1574"/>
                  </a:lnTo>
                  <a:lnTo>
                    <a:pt x="0" y="1967"/>
                  </a:lnTo>
                  <a:lnTo>
                    <a:pt x="787" y="2754"/>
                  </a:lnTo>
                  <a:lnTo>
                    <a:pt x="3541" y="0"/>
                  </a:lnTo>
                  <a:lnTo>
                    <a:pt x="236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22" name="Freeform: Shape 2316">
              <a:extLst>
                <a:ext uri="{FF2B5EF4-FFF2-40B4-BE49-F238E27FC236}">
                  <a16:creationId xmlns:a16="http://schemas.microsoft.com/office/drawing/2014/main" id="{02B80E8E-62B1-4379-B721-C729A93BF680}"/>
                </a:ext>
              </a:extLst>
            </p:cNvPr>
            <p:cNvSpPr/>
            <p:nvPr/>
          </p:nvSpPr>
          <p:spPr>
            <a:xfrm>
              <a:off x="2769186" y="1835665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574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574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23" name="Freeform: Shape 2317">
              <a:extLst>
                <a:ext uri="{FF2B5EF4-FFF2-40B4-BE49-F238E27FC236}">
                  <a16:creationId xmlns:a16="http://schemas.microsoft.com/office/drawing/2014/main" id="{90C3D597-6E9B-4B1F-A87D-17DC893C4A6D}"/>
                </a:ext>
              </a:extLst>
            </p:cNvPr>
            <p:cNvSpPr/>
            <p:nvPr/>
          </p:nvSpPr>
          <p:spPr>
            <a:xfrm>
              <a:off x="4755203" y="1234510"/>
              <a:ext cx="3934" cy="3934"/>
            </a:xfrm>
            <a:custGeom>
              <a:avLst/>
              <a:gdLst>
                <a:gd name="connsiteX0" fmla="*/ 2754 w 3934"/>
                <a:gd name="connsiteY0" fmla="*/ 0 h 0"/>
                <a:gd name="connsiteX1" fmla="*/ 0 w 3934"/>
                <a:gd name="connsiteY1" fmla="*/ 0 h 0"/>
                <a:gd name="connsiteX2" fmla="*/ 1574 w 3934"/>
                <a:gd name="connsiteY2" fmla="*/ 1967 h 0"/>
                <a:gd name="connsiteX3" fmla="*/ 4721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2754" y="0"/>
                  </a:moveTo>
                  <a:lnTo>
                    <a:pt x="0" y="0"/>
                  </a:lnTo>
                  <a:lnTo>
                    <a:pt x="1574" y="1967"/>
                  </a:lnTo>
                  <a:lnTo>
                    <a:pt x="4721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24" name="Freeform: Shape 2318">
              <a:extLst>
                <a:ext uri="{FF2B5EF4-FFF2-40B4-BE49-F238E27FC236}">
                  <a16:creationId xmlns:a16="http://schemas.microsoft.com/office/drawing/2014/main" id="{99FB9B09-5D40-4514-8910-35E81CBAA090}"/>
                </a:ext>
              </a:extLst>
            </p:cNvPr>
            <p:cNvSpPr/>
            <p:nvPr/>
          </p:nvSpPr>
          <p:spPr>
            <a:xfrm>
              <a:off x="4919655" y="1550431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967 h 0"/>
                <a:gd name="connsiteX2" fmla="*/ 314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967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25" name="Freeform: Shape 2319">
              <a:extLst>
                <a:ext uri="{FF2B5EF4-FFF2-40B4-BE49-F238E27FC236}">
                  <a16:creationId xmlns:a16="http://schemas.microsoft.com/office/drawing/2014/main" id="{B33D8139-C53A-4D78-BAEC-F195B74462F9}"/>
                </a:ext>
              </a:extLst>
            </p:cNvPr>
            <p:cNvSpPr/>
            <p:nvPr/>
          </p:nvSpPr>
          <p:spPr>
            <a:xfrm>
              <a:off x="4921229" y="1131432"/>
              <a:ext cx="3934" cy="3934"/>
            </a:xfrm>
            <a:custGeom>
              <a:avLst/>
              <a:gdLst>
                <a:gd name="connsiteX0" fmla="*/ 0 w 3934"/>
                <a:gd name="connsiteY0" fmla="*/ 1180 h 0"/>
                <a:gd name="connsiteX1" fmla="*/ 2754 w 3934"/>
                <a:gd name="connsiteY1" fmla="*/ 1967 h 0"/>
                <a:gd name="connsiteX2" fmla="*/ 5901 w 3934"/>
                <a:gd name="connsiteY2" fmla="*/ 1574 h 0"/>
                <a:gd name="connsiteX3" fmla="*/ 314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180"/>
                  </a:moveTo>
                  <a:lnTo>
                    <a:pt x="2754" y="1967"/>
                  </a:lnTo>
                  <a:lnTo>
                    <a:pt x="5901" y="157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26" name="Freeform: Shape 2320">
              <a:extLst>
                <a:ext uri="{FF2B5EF4-FFF2-40B4-BE49-F238E27FC236}">
                  <a16:creationId xmlns:a16="http://schemas.microsoft.com/office/drawing/2014/main" id="{0F47019A-613F-45D8-B520-27BAB9816274}"/>
                </a:ext>
              </a:extLst>
            </p:cNvPr>
            <p:cNvSpPr/>
            <p:nvPr/>
          </p:nvSpPr>
          <p:spPr>
            <a:xfrm>
              <a:off x="4926343" y="1575611"/>
              <a:ext cx="3934" cy="3934"/>
            </a:xfrm>
            <a:custGeom>
              <a:avLst/>
              <a:gdLst>
                <a:gd name="connsiteX0" fmla="*/ 2754 w 3934"/>
                <a:gd name="connsiteY0" fmla="*/ 2361 h 0"/>
                <a:gd name="connsiteX1" fmla="*/ 5508 w 3934"/>
                <a:gd name="connsiteY1" fmla="*/ 787 h 0"/>
                <a:gd name="connsiteX2" fmla="*/ 5901 w 3934"/>
                <a:gd name="connsiteY2" fmla="*/ 787 h 0"/>
                <a:gd name="connsiteX3" fmla="*/ 2754 w 3934"/>
                <a:gd name="connsiteY3" fmla="*/ 0 h 0"/>
                <a:gd name="connsiteX4" fmla="*/ 0 w 3934"/>
                <a:gd name="connsiteY4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2754" y="2361"/>
                  </a:moveTo>
                  <a:lnTo>
                    <a:pt x="5508" y="787"/>
                  </a:lnTo>
                  <a:lnTo>
                    <a:pt x="5901" y="787"/>
                  </a:lnTo>
                  <a:lnTo>
                    <a:pt x="275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27" name="Freeform: Shape 2321">
              <a:extLst>
                <a:ext uri="{FF2B5EF4-FFF2-40B4-BE49-F238E27FC236}">
                  <a16:creationId xmlns:a16="http://schemas.microsoft.com/office/drawing/2014/main" id="{E3A1F578-7894-4774-A3AA-2CD93509CC8C}"/>
                </a:ext>
              </a:extLst>
            </p:cNvPr>
            <p:cNvSpPr/>
            <p:nvPr/>
          </p:nvSpPr>
          <p:spPr>
            <a:xfrm>
              <a:off x="4939326" y="1649575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180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18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28" name="Freeform: Shape 2322">
              <a:extLst>
                <a:ext uri="{FF2B5EF4-FFF2-40B4-BE49-F238E27FC236}">
                  <a16:creationId xmlns:a16="http://schemas.microsoft.com/office/drawing/2014/main" id="{4901EB4D-B1D4-4763-BF21-6B9CE739E761}"/>
                </a:ext>
              </a:extLst>
            </p:cNvPr>
            <p:cNvSpPr/>
            <p:nvPr/>
          </p:nvSpPr>
          <p:spPr>
            <a:xfrm>
              <a:off x="4940506" y="1464271"/>
              <a:ext cx="3934" cy="3934"/>
            </a:xfrm>
            <a:custGeom>
              <a:avLst/>
              <a:gdLst>
                <a:gd name="connsiteX0" fmla="*/ 1967 w 0"/>
                <a:gd name="connsiteY0" fmla="*/ 3147 h 0"/>
                <a:gd name="connsiteX1" fmla="*/ 3147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3147"/>
                  </a:moveTo>
                  <a:lnTo>
                    <a:pt x="3147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29" name="Freeform: Shape 2323">
              <a:extLst>
                <a:ext uri="{FF2B5EF4-FFF2-40B4-BE49-F238E27FC236}">
                  <a16:creationId xmlns:a16="http://schemas.microsoft.com/office/drawing/2014/main" id="{E5AAEF2C-748F-457B-9F5D-17C49D4DA797}"/>
                </a:ext>
              </a:extLst>
            </p:cNvPr>
            <p:cNvSpPr/>
            <p:nvPr/>
          </p:nvSpPr>
          <p:spPr>
            <a:xfrm>
              <a:off x="4946801" y="1423355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787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787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30" name="Freeform: Shape 2324">
              <a:extLst>
                <a:ext uri="{FF2B5EF4-FFF2-40B4-BE49-F238E27FC236}">
                  <a16:creationId xmlns:a16="http://schemas.microsoft.com/office/drawing/2014/main" id="{A84FC4C3-C12C-4BEC-AF27-E3AF0054EA3B}"/>
                </a:ext>
              </a:extLst>
            </p:cNvPr>
            <p:cNvSpPr/>
            <p:nvPr/>
          </p:nvSpPr>
          <p:spPr>
            <a:xfrm>
              <a:off x="4957424" y="1451288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1574 h 0"/>
                <a:gd name="connsiteX2" fmla="*/ 3148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1574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31" name="Freeform: Shape 2325">
              <a:extLst>
                <a:ext uri="{FF2B5EF4-FFF2-40B4-BE49-F238E27FC236}">
                  <a16:creationId xmlns:a16="http://schemas.microsoft.com/office/drawing/2014/main" id="{925070C8-B77E-43EE-9C8D-D6566A19E904}"/>
                </a:ext>
              </a:extLst>
            </p:cNvPr>
            <p:cNvSpPr/>
            <p:nvPr/>
          </p:nvSpPr>
          <p:spPr>
            <a:xfrm>
              <a:off x="4960571" y="1447354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180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180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32" name="Freeform: Shape 2326">
              <a:extLst>
                <a:ext uri="{FF2B5EF4-FFF2-40B4-BE49-F238E27FC236}">
                  <a16:creationId xmlns:a16="http://schemas.microsoft.com/office/drawing/2014/main" id="{6849CE64-16F5-4344-884B-85802A79CAA4}"/>
                </a:ext>
              </a:extLst>
            </p:cNvPr>
            <p:cNvSpPr/>
            <p:nvPr/>
          </p:nvSpPr>
          <p:spPr>
            <a:xfrm>
              <a:off x="4961752" y="1337588"/>
              <a:ext cx="3934" cy="3934"/>
            </a:xfrm>
            <a:custGeom>
              <a:avLst/>
              <a:gdLst>
                <a:gd name="connsiteX0" fmla="*/ 0 w 3934"/>
                <a:gd name="connsiteY0" fmla="*/ 1180 h 0"/>
                <a:gd name="connsiteX1" fmla="*/ 3147 w 3934"/>
                <a:gd name="connsiteY1" fmla="*/ 1180 h 0"/>
                <a:gd name="connsiteX2" fmla="*/ 3541 w 3934"/>
                <a:gd name="connsiteY2" fmla="*/ 1180 h 0"/>
                <a:gd name="connsiteX3" fmla="*/ 6688 w 3934"/>
                <a:gd name="connsiteY3" fmla="*/ 0 h 0"/>
                <a:gd name="connsiteX4" fmla="*/ 3541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180"/>
                  </a:moveTo>
                  <a:lnTo>
                    <a:pt x="3147" y="1180"/>
                  </a:lnTo>
                  <a:lnTo>
                    <a:pt x="3541" y="1180"/>
                  </a:lnTo>
                  <a:lnTo>
                    <a:pt x="6688" y="0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33" name="Freeform: Shape 2327">
              <a:extLst>
                <a:ext uri="{FF2B5EF4-FFF2-40B4-BE49-F238E27FC236}">
                  <a16:creationId xmlns:a16="http://schemas.microsoft.com/office/drawing/2014/main" id="{B4929527-86A4-490C-9B51-643F10A0083B}"/>
                </a:ext>
              </a:extLst>
            </p:cNvPr>
            <p:cNvSpPr/>
            <p:nvPr/>
          </p:nvSpPr>
          <p:spPr>
            <a:xfrm>
              <a:off x="4963719" y="1307687"/>
              <a:ext cx="7869" cy="3934"/>
            </a:xfrm>
            <a:custGeom>
              <a:avLst/>
              <a:gdLst>
                <a:gd name="connsiteX0" fmla="*/ 0 w 7868"/>
                <a:gd name="connsiteY0" fmla="*/ 1967 h 0"/>
                <a:gd name="connsiteX1" fmla="*/ 2754 w 7868"/>
                <a:gd name="connsiteY1" fmla="*/ 1967 h 0"/>
                <a:gd name="connsiteX2" fmla="*/ 5508 w 7868"/>
                <a:gd name="connsiteY2" fmla="*/ 1967 h 0"/>
                <a:gd name="connsiteX3" fmla="*/ 8262 w 7868"/>
                <a:gd name="connsiteY3" fmla="*/ 1180 h 0"/>
                <a:gd name="connsiteX4" fmla="*/ 11409 w 7868"/>
                <a:gd name="connsiteY4" fmla="*/ 0 h 0"/>
                <a:gd name="connsiteX5" fmla="*/ 8655 w 7868"/>
                <a:gd name="connsiteY5" fmla="*/ 0 h 0"/>
                <a:gd name="connsiteX6" fmla="*/ 5901 w 7868"/>
                <a:gd name="connsiteY6" fmla="*/ 393 h 0"/>
                <a:gd name="connsiteX7" fmla="*/ 2754 w 7868"/>
                <a:gd name="connsiteY7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>
                  <a:moveTo>
                    <a:pt x="0" y="1967"/>
                  </a:moveTo>
                  <a:lnTo>
                    <a:pt x="2754" y="1967"/>
                  </a:lnTo>
                  <a:lnTo>
                    <a:pt x="5508" y="1967"/>
                  </a:lnTo>
                  <a:lnTo>
                    <a:pt x="8262" y="1180"/>
                  </a:lnTo>
                  <a:lnTo>
                    <a:pt x="11409" y="0"/>
                  </a:lnTo>
                  <a:lnTo>
                    <a:pt x="8655" y="0"/>
                  </a:lnTo>
                  <a:lnTo>
                    <a:pt x="5901" y="393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34" name="Freeform: Shape 2328">
              <a:extLst>
                <a:ext uri="{FF2B5EF4-FFF2-40B4-BE49-F238E27FC236}">
                  <a16:creationId xmlns:a16="http://schemas.microsoft.com/office/drawing/2014/main" id="{30A6C7B6-529D-4EB8-BCA1-DE1A7E229725}"/>
                </a:ext>
              </a:extLst>
            </p:cNvPr>
            <p:cNvSpPr/>
            <p:nvPr/>
          </p:nvSpPr>
          <p:spPr>
            <a:xfrm>
              <a:off x="4964506" y="1446567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18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35" name="Freeform: Shape 2329">
              <a:extLst>
                <a:ext uri="{FF2B5EF4-FFF2-40B4-BE49-F238E27FC236}">
                  <a16:creationId xmlns:a16="http://schemas.microsoft.com/office/drawing/2014/main" id="{4F01773C-4BBE-4841-BF63-B7C64DE6C125}"/>
                </a:ext>
              </a:extLst>
            </p:cNvPr>
            <p:cNvSpPr/>
            <p:nvPr/>
          </p:nvSpPr>
          <p:spPr>
            <a:xfrm>
              <a:off x="4965686" y="1339555"/>
              <a:ext cx="3934" cy="3934"/>
            </a:xfrm>
            <a:custGeom>
              <a:avLst/>
              <a:gdLst>
                <a:gd name="connsiteX0" fmla="*/ 3541 w 0"/>
                <a:gd name="connsiteY0" fmla="*/ 0 h 0"/>
                <a:gd name="connsiteX1" fmla="*/ 787 w 0"/>
                <a:gd name="connsiteY1" fmla="*/ 393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541" y="0"/>
                  </a:moveTo>
                  <a:lnTo>
                    <a:pt x="787" y="393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36" name="Freeform: Shape 2330">
              <a:extLst>
                <a:ext uri="{FF2B5EF4-FFF2-40B4-BE49-F238E27FC236}">
                  <a16:creationId xmlns:a16="http://schemas.microsoft.com/office/drawing/2014/main" id="{CC99C3A0-69DC-480B-80D0-4869B4695ED7}"/>
                </a:ext>
              </a:extLst>
            </p:cNvPr>
            <p:cNvSpPr/>
            <p:nvPr/>
          </p:nvSpPr>
          <p:spPr>
            <a:xfrm>
              <a:off x="4967259" y="1312015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148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14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37" name="Freeform: Shape 2331">
              <a:extLst>
                <a:ext uri="{FF2B5EF4-FFF2-40B4-BE49-F238E27FC236}">
                  <a16:creationId xmlns:a16="http://schemas.microsoft.com/office/drawing/2014/main" id="{D4E75E64-9464-4E23-8DA6-BAA044F41C54}"/>
                </a:ext>
              </a:extLst>
            </p:cNvPr>
            <p:cNvSpPr/>
            <p:nvPr/>
          </p:nvSpPr>
          <p:spPr>
            <a:xfrm>
              <a:off x="4968440" y="1319490"/>
              <a:ext cx="7869" cy="3934"/>
            </a:xfrm>
            <a:custGeom>
              <a:avLst/>
              <a:gdLst>
                <a:gd name="connsiteX0" fmla="*/ 6295 w 7868"/>
                <a:gd name="connsiteY0" fmla="*/ 1967 h 3934"/>
                <a:gd name="connsiteX1" fmla="*/ 9442 w 7868"/>
                <a:gd name="connsiteY1" fmla="*/ 787 h 3934"/>
                <a:gd name="connsiteX2" fmla="*/ 9442 w 7868"/>
                <a:gd name="connsiteY2" fmla="*/ 0 h 3934"/>
                <a:gd name="connsiteX3" fmla="*/ 6295 w 7868"/>
                <a:gd name="connsiteY3" fmla="*/ 393 h 3934"/>
                <a:gd name="connsiteX4" fmla="*/ 3147 w 7868"/>
                <a:gd name="connsiteY4" fmla="*/ 2361 h 3934"/>
                <a:gd name="connsiteX5" fmla="*/ 0 w 7868"/>
                <a:gd name="connsiteY5" fmla="*/ 4721 h 3934"/>
                <a:gd name="connsiteX6" fmla="*/ 3147 w 7868"/>
                <a:gd name="connsiteY6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6295" y="1967"/>
                  </a:moveTo>
                  <a:lnTo>
                    <a:pt x="9442" y="787"/>
                  </a:lnTo>
                  <a:lnTo>
                    <a:pt x="9442" y="0"/>
                  </a:lnTo>
                  <a:lnTo>
                    <a:pt x="6295" y="393"/>
                  </a:lnTo>
                  <a:lnTo>
                    <a:pt x="3147" y="2361"/>
                  </a:lnTo>
                  <a:lnTo>
                    <a:pt x="0" y="4721"/>
                  </a:lnTo>
                  <a:lnTo>
                    <a:pt x="3147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38" name="Freeform: Shape 2332">
              <a:extLst>
                <a:ext uri="{FF2B5EF4-FFF2-40B4-BE49-F238E27FC236}">
                  <a16:creationId xmlns:a16="http://schemas.microsoft.com/office/drawing/2014/main" id="{E77053F5-D59D-4295-8018-A8220299E344}"/>
                </a:ext>
              </a:extLst>
            </p:cNvPr>
            <p:cNvSpPr/>
            <p:nvPr/>
          </p:nvSpPr>
          <p:spPr>
            <a:xfrm>
              <a:off x="4971194" y="1309261"/>
              <a:ext cx="3934" cy="3934"/>
            </a:xfrm>
            <a:custGeom>
              <a:avLst/>
              <a:gdLst>
                <a:gd name="connsiteX0" fmla="*/ 0 w 3934"/>
                <a:gd name="connsiteY0" fmla="*/ 2361 h 0"/>
                <a:gd name="connsiteX1" fmla="*/ 2754 w 3934"/>
                <a:gd name="connsiteY1" fmla="*/ 1180 h 0"/>
                <a:gd name="connsiteX2" fmla="*/ 5901 w 3934"/>
                <a:gd name="connsiteY2" fmla="*/ 0 h 0"/>
                <a:gd name="connsiteX3" fmla="*/ 2754 w 3934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361"/>
                  </a:moveTo>
                  <a:lnTo>
                    <a:pt x="2754" y="1180"/>
                  </a:lnTo>
                  <a:lnTo>
                    <a:pt x="5901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39" name="Freeform: Shape 2333">
              <a:extLst>
                <a:ext uri="{FF2B5EF4-FFF2-40B4-BE49-F238E27FC236}">
                  <a16:creationId xmlns:a16="http://schemas.microsoft.com/office/drawing/2014/main" id="{EB71BA59-BD22-4118-AF5F-39C53D7A8583}"/>
                </a:ext>
              </a:extLst>
            </p:cNvPr>
            <p:cNvSpPr/>
            <p:nvPr/>
          </p:nvSpPr>
          <p:spPr>
            <a:xfrm>
              <a:off x="4973554" y="1315556"/>
              <a:ext cx="3934" cy="3934"/>
            </a:xfrm>
            <a:custGeom>
              <a:avLst/>
              <a:gdLst>
                <a:gd name="connsiteX0" fmla="*/ 0 w 3934"/>
                <a:gd name="connsiteY0" fmla="*/ 2361 h 0"/>
                <a:gd name="connsiteX1" fmla="*/ 2754 w 3934"/>
                <a:gd name="connsiteY1" fmla="*/ 2754 h 0"/>
                <a:gd name="connsiteX2" fmla="*/ 4328 w 3934"/>
                <a:gd name="connsiteY2" fmla="*/ 0 h 0"/>
                <a:gd name="connsiteX3" fmla="*/ 2754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361"/>
                  </a:moveTo>
                  <a:lnTo>
                    <a:pt x="2754" y="2754"/>
                  </a:lnTo>
                  <a:lnTo>
                    <a:pt x="4328" y="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40" name="Freeform: Shape 2334">
              <a:extLst>
                <a:ext uri="{FF2B5EF4-FFF2-40B4-BE49-F238E27FC236}">
                  <a16:creationId xmlns:a16="http://schemas.microsoft.com/office/drawing/2014/main" id="{92625BCE-CFF1-428D-92C5-D3437853AE3A}"/>
                </a:ext>
              </a:extLst>
            </p:cNvPr>
            <p:cNvSpPr/>
            <p:nvPr/>
          </p:nvSpPr>
          <p:spPr>
            <a:xfrm>
              <a:off x="4976702" y="132971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574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574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41" name="Freeform: Shape 2335">
              <a:extLst>
                <a:ext uri="{FF2B5EF4-FFF2-40B4-BE49-F238E27FC236}">
                  <a16:creationId xmlns:a16="http://schemas.microsoft.com/office/drawing/2014/main" id="{81A37FC9-1A4A-4D7A-878F-B9E063996C58}"/>
                </a:ext>
              </a:extLst>
            </p:cNvPr>
            <p:cNvSpPr/>
            <p:nvPr/>
          </p:nvSpPr>
          <p:spPr>
            <a:xfrm>
              <a:off x="4979062" y="1313589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3148 w 0"/>
                <a:gd name="connsiteY1" fmla="*/ 0 h 0"/>
                <a:gd name="connsiteX2" fmla="*/ 39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3148" y="0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42" name="Freeform: Shape 2336">
              <a:extLst>
                <a:ext uri="{FF2B5EF4-FFF2-40B4-BE49-F238E27FC236}">
                  <a16:creationId xmlns:a16="http://schemas.microsoft.com/office/drawing/2014/main" id="{11B276AF-64F5-4C10-80AA-3D341D987084}"/>
                </a:ext>
              </a:extLst>
            </p:cNvPr>
            <p:cNvSpPr/>
            <p:nvPr/>
          </p:nvSpPr>
          <p:spPr>
            <a:xfrm>
              <a:off x="4984964" y="1315162"/>
              <a:ext cx="3934" cy="3934"/>
            </a:xfrm>
            <a:custGeom>
              <a:avLst/>
              <a:gdLst>
                <a:gd name="connsiteX0" fmla="*/ 5901 w 3934"/>
                <a:gd name="connsiteY0" fmla="*/ 0 h 0"/>
                <a:gd name="connsiteX1" fmla="*/ 2754 w 3934"/>
                <a:gd name="connsiteY1" fmla="*/ 1180 h 0"/>
                <a:gd name="connsiteX2" fmla="*/ 0 w 3934"/>
                <a:gd name="connsiteY2" fmla="*/ 2754 h 0"/>
                <a:gd name="connsiteX3" fmla="*/ 2754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0"/>
                  </a:moveTo>
                  <a:lnTo>
                    <a:pt x="2754" y="1180"/>
                  </a:lnTo>
                  <a:lnTo>
                    <a:pt x="0" y="2754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43" name="Freeform: Shape 2337">
              <a:extLst>
                <a:ext uri="{FF2B5EF4-FFF2-40B4-BE49-F238E27FC236}">
                  <a16:creationId xmlns:a16="http://schemas.microsoft.com/office/drawing/2014/main" id="{AFC0E1C4-8AE9-422D-B079-631EFFB900D8}"/>
                </a:ext>
              </a:extLst>
            </p:cNvPr>
            <p:cNvSpPr/>
            <p:nvPr/>
          </p:nvSpPr>
          <p:spPr>
            <a:xfrm>
              <a:off x="5003455" y="1367095"/>
              <a:ext cx="3934" cy="3934"/>
            </a:xfrm>
            <a:custGeom>
              <a:avLst/>
              <a:gdLst>
                <a:gd name="connsiteX0" fmla="*/ 0 w 3934"/>
                <a:gd name="connsiteY0" fmla="*/ 1967 h 0"/>
                <a:gd name="connsiteX1" fmla="*/ 2754 w 3934"/>
                <a:gd name="connsiteY1" fmla="*/ 1180 h 0"/>
                <a:gd name="connsiteX2" fmla="*/ 5901 w 3934"/>
                <a:gd name="connsiteY2" fmla="*/ 393 h 0"/>
                <a:gd name="connsiteX3" fmla="*/ 5901 w 3934"/>
                <a:gd name="connsiteY3" fmla="*/ 0 h 0"/>
                <a:gd name="connsiteX4" fmla="*/ 3147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967"/>
                  </a:moveTo>
                  <a:lnTo>
                    <a:pt x="2754" y="1180"/>
                  </a:lnTo>
                  <a:lnTo>
                    <a:pt x="5901" y="393"/>
                  </a:lnTo>
                  <a:lnTo>
                    <a:pt x="5901" y="0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44" name="Freeform: Shape 2338">
              <a:extLst>
                <a:ext uri="{FF2B5EF4-FFF2-40B4-BE49-F238E27FC236}">
                  <a16:creationId xmlns:a16="http://schemas.microsoft.com/office/drawing/2014/main" id="{E1E384DB-9391-486A-96A5-0F5B1BA331DA}"/>
                </a:ext>
              </a:extLst>
            </p:cNvPr>
            <p:cNvSpPr/>
            <p:nvPr/>
          </p:nvSpPr>
          <p:spPr>
            <a:xfrm>
              <a:off x="5270591" y="1087368"/>
              <a:ext cx="3934" cy="3934"/>
            </a:xfrm>
            <a:custGeom>
              <a:avLst/>
              <a:gdLst>
                <a:gd name="connsiteX0" fmla="*/ 6295 w 3934"/>
                <a:gd name="connsiteY0" fmla="*/ 393 h 0"/>
                <a:gd name="connsiteX1" fmla="*/ 3148 w 3934"/>
                <a:gd name="connsiteY1" fmla="*/ 0 h 0"/>
                <a:gd name="connsiteX2" fmla="*/ 0 w 3934"/>
                <a:gd name="connsiteY2" fmla="*/ 393 h 0"/>
                <a:gd name="connsiteX3" fmla="*/ 2754 w 3934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5" y="393"/>
                  </a:moveTo>
                  <a:lnTo>
                    <a:pt x="3148" y="0"/>
                  </a:lnTo>
                  <a:lnTo>
                    <a:pt x="0" y="393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45" name="Freeform: Shape 2339">
              <a:extLst>
                <a:ext uri="{FF2B5EF4-FFF2-40B4-BE49-F238E27FC236}">
                  <a16:creationId xmlns:a16="http://schemas.microsoft.com/office/drawing/2014/main" id="{86CADD38-03A1-492D-A1F8-B82269C135D8}"/>
                </a:ext>
              </a:extLst>
            </p:cNvPr>
            <p:cNvSpPr/>
            <p:nvPr/>
          </p:nvSpPr>
          <p:spPr>
            <a:xfrm>
              <a:off x="5289869" y="1092090"/>
              <a:ext cx="7869" cy="3934"/>
            </a:xfrm>
            <a:custGeom>
              <a:avLst/>
              <a:gdLst>
                <a:gd name="connsiteX0" fmla="*/ 5901 w 7868"/>
                <a:gd name="connsiteY0" fmla="*/ 2754 h 0"/>
                <a:gd name="connsiteX1" fmla="*/ 6689 w 7868"/>
                <a:gd name="connsiteY1" fmla="*/ 3147 h 0"/>
                <a:gd name="connsiteX2" fmla="*/ 9442 w 7868"/>
                <a:gd name="connsiteY2" fmla="*/ 787 h 0"/>
                <a:gd name="connsiteX3" fmla="*/ 6689 w 7868"/>
                <a:gd name="connsiteY3" fmla="*/ 393 h 0"/>
                <a:gd name="connsiteX4" fmla="*/ 3148 w 7868"/>
                <a:gd name="connsiteY4" fmla="*/ 0 h 0"/>
                <a:gd name="connsiteX5" fmla="*/ 0 w 7868"/>
                <a:gd name="connsiteY5" fmla="*/ 787 h 0"/>
                <a:gd name="connsiteX6" fmla="*/ 3148 w 7868"/>
                <a:gd name="connsiteY6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5901" y="2754"/>
                  </a:moveTo>
                  <a:lnTo>
                    <a:pt x="6689" y="3147"/>
                  </a:lnTo>
                  <a:lnTo>
                    <a:pt x="9442" y="787"/>
                  </a:lnTo>
                  <a:lnTo>
                    <a:pt x="6689" y="393"/>
                  </a:lnTo>
                  <a:lnTo>
                    <a:pt x="3148" y="0"/>
                  </a:lnTo>
                  <a:lnTo>
                    <a:pt x="0" y="787"/>
                  </a:lnTo>
                  <a:lnTo>
                    <a:pt x="3148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46" name="Freeform: Shape 2340">
              <a:extLst>
                <a:ext uri="{FF2B5EF4-FFF2-40B4-BE49-F238E27FC236}">
                  <a16:creationId xmlns:a16="http://schemas.microsoft.com/office/drawing/2014/main" id="{67CB20AA-48D9-4F83-BFFD-9C3C16230C94}"/>
                </a:ext>
              </a:extLst>
            </p:cNvPr>
            <p:cNvSpPr/>
            <p:nvPr/>
          </p:nvSpPr>
          <p:spPr>
            <a:xfrm>
              <a:off x="5323704" y="1085008"/>
              <a:ext cx="11803" cy="3934"/>
            </a:xfrm>
            <a:custGeom>
              <a:avLst/>
              <a:gdLst>
                <a:gd name="connsiteX0" fmla="*/ 6295 w 11802"/>
                <a:gd name="connsiteY0" fmla="*/ 1574 h 0"/>
                <a:gd name="connsiteX1" fmla="*/ 13377 w 11802"/>
                <a:gd name="connsiteY1" fmla="*/ 1574 h 0"/>
                <a:gd name="connsiteX2" fmla="*/ 10229 w 11802"/>
                <a:gd name="connsiteY2" fmla="*/ 1180 h 0"/>
                <a:gd name="connsiteX3" fmla="*/ 6689 w 11802"/>
                <a:gd name="connsiteY3" fmla="*/ 0 h 0"/>
                <a:gd name="connsiteX4" fmla="*/ 3541 w 11802"/>
                <a:gd name="connsiteY4" fmla="*/ 0 h 0"/>
                <a:gd name="connsiteX5" fmla="*/ 0 w 11802"/>
                <a:gd name="connsiteY5" fmla="*/ 0 h 0"/>
                <a:gd name="connsiteX6" fmla="*/ 3148 w 11802"/>
                <a:gd name="connsiteY6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02">
                  <a:moveTo>
                    <a:pt x="6295" y="1574"/>
                  </a:moveTo>
                  <a:lnTo>
                    <a:pt x="13377" y="1574"/>
                  </a:lnTo>
                  <a:lnTo>
                    <a:pt x="10229" y="1180"/>
                  </a:lnTo>
                  <a:lnTo>
                    <a:pt x="6689" y="0"/>
                  </a:lnTo>
                  <a:lnTo>
                    <a:pt x="3541" y="0"/>
                  </a:lnTo>
                  <a:lnTo>
                    <a:pt x="0" y="0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47" name="Freeform: Shape 2341">
              <a:extLst>
                <a:ext uri="{FF2B5EF4-FFF2-40B4-BE49-F238E27FC236}">
                  <a16:creationId xmlns:a16="http://schemas.microsoft.com/office/drawing/2014/main" id="{47E4838C-B511-4591-A096-62BF95CDB02A}"/>
                </a:ext>
              </a:extLst>
            </p:cNvPr>
            <p:cNvSpPr/>
            <p:nvPr/>
          </p:nvSpPr>
          <p:spPr>
            <a:xfrm>
              <a:off x="5428356" y="1078713"/>
              <a:ext cx="7869" cy="3934"/>
            </a:xfrm>
            <a:custGeom>
              <a:avLst/>
              <a:gdLst>
                <a:gd name="connsiteX0" fmla="*/ 5508 w 7868"/>
                <a:gd name="connsiteY0" fmla="*/ 0 h 0"/>
                <a:gd name="connsiteX1" fmla="*/ 1967 w 7868"/>
                <a:gd name="connsiteY1" fmla="*/ 0 h 0"/>
                <a:gd name="connsiteX2" fmla="*/ 0 w 7868"/>
                <a:gd name="connsiteY2" fmla="*/ 393 h 0"/>
                <a:gd name="connsiteX3" fmla="*/ 9049 w 7868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68">
                  <a:moveTo>
                    <a:pt x="5508" y="0"/>
                  </a:moveTo>
                  <a:lnTo>
                    <a:pt x="1967" y="0"/>
                  </a:lnTo>
                  <a:lnTo>
                    <a:pt x="0" y="393"/>
                  </a:lnTo>
                  <a:lnTo>
                    <a:pt x="9049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48" name="Freeform: Shape 2342">
              <a:extLst>
                <a:ext uri="{FF2B5EF4-FFF2-40B4-BE49-F238E27FC236}">
                  <a16:creationId xmlns:a16="http://schemas.microsoft.com/office/drawing/2014/main" id="{F17B2693-3B31-4466-971D-F174AAB888F1}"/>
                </a:ext>
              </a:extLst>
            </p:cNvPr>
            <p:cNvSpPr/>
            <p:nvPr/>
          </p:nvSpPr>
          <p:spPr>
            <a:xfrm>
              <a:off x="5466124" y="1075566"/>
              <a:ext cx="7869" cy="3934"/>
            </a:xfrm>
            <a:custGeom>
              <a:avLst/>
              <a:gdLst>
                <a:gd name="connsiteX0" fmla="*/ 3147 w 7868"/>
                <a:gd name="connsiteY0" fmla="*/ 1574 h 0"/>
                <a:gd name="connsiteX1" fmla="*/ 6295 w 7868"/>
                <a:gd name="connsiteY1" fmla="*/ 2361 h 0"/>
                <a:gd name="connsiteX2" fmla="*/ 9442 w 7868"/>
                <a:gd name="connsiteY2" fmla="*/ 393 h 0"/>
                <a:gd name="connsiteX3" fmla="*/ 6295 w 7868"/>
                <a:gd name="connsiteY3" fmla="*/ 0 h 0"/>
                <a:gd name="connsiteX4" fmla="*/ 3147 w 7868"/>
                <a:gd name="connsiteY4" fmla="*/ 393 h 0"/>
                <a:gd name="connsiteX5" fmla="*/ 0 w 7868"/>
                <a:gd name="connsiteY5" fmla="*/ 1180 h 0"/>
                <a:gd name="connsiteX6" fmla="*/ 393 w 7868"/>
                <a:gd name="connsiteY6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3147" y="1574"/>
                  </a:moveTo>
                  <a:lnTo>
                    <a:pt x="6295" y="2361"/>
                  </a:lnTo>
                  <a:lnTo>
                    <a:pt x="9442" y="393"/>
                  </a:lnTo>
                  <a:lnTo>
                    <a:pt x="6295" y="0"/>
                  </a:lnTo>
                  <a:lnTo>
                    <a:pt x="3147" y="393"/>
                  </a:lnTo>
                  <a:lnTo>
                    <a:pt x="0" y="1180"/>
                  </a:lnTo>
                  <a:lnTo>
                    <a:pt x="393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49" name="Freeform: Shape 2343">
              <a:extLst>
                <a:ext uri="{FF2B5EF4-FFF2-40B4-BE49-F238E27FC236}">
                  <a16:creationId xmlns:a16="http://schemas.microsoft.com/office/drawing/2014/main" id="{C6D51C42-8AFD-4495-9AC7-8807EF6E8EC6}"/>
                </a:ext>
              </a:extLst>
            </p:cNvPr>
            <p:cNvSpPr/>
            <p:nvPr/>
          </p:nvSpPr>
          <p:spPr>
            <a:xfrm>
              <a:off x="5780472" y="1109400"/>
              <a:ext cx="11803" cy="3934"/>
            </a:xfrm>
            <a:custGeom>
              <a:avLst/>
              <a:gdLst>
                <a:gd name="connsiteX0" fmla="*/ 2360 w 11802"/>
                <a:gd name="connsiteY0" fmla="*/ 1967 h 0"/>
                <a:gd name="connsiteX1" fmla="*/ 5508 w 11802"/>
                <a:gd name="connsiteY1" fmla="*/ 1967 h 0"/>
                <a:gd name="connsiteX2" fmla="*/ 8655 w 11802"/>
                <a:gd name="connsiteY2" fmla="*/ 1967 h 0"/>
                <a:gd name="connsiteX3" fmla="*/ 11803 w 11802"/>
                <a:gd name="connsiteY3" fmla="*/ 787 h 0"/>
                <a:gd name="connsiteX4" fmla="*/ 8655 w 11802"/>
                <a:gd name="connsiteY4" fmla="*/ 787 h 0"/>
                <a:gd name="connsiteX5" fmla="*/ 5901 w 11802"/>
                <a:gd name="connsiteY5" fmla="*/ 0 h 0"/>
                <a:gd name="connsiteX6" fmla="*/ 2754 w 11802"/>
                <a:gd name="connsiteY6" fmla="*/ 1574 h 0"/>
                <a:gd name="connsiteX7" fmla="*/ 0 w 11802"/>
                <a:gd name="connsiteY7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>
                  <a:moveTo>
                    <a:pt x="2360" y="1967"/>
                  </a:moveTo>
                  <a:lnTo>
                    <a:pt x="5508" y="1967"/>
                  </a:lnTo>
                  <a:lnTo>
                    <a:pt x="8655" y="1967"/>
                  </a:lnTo>
                  <a:lnTo>
                    <a:pt x="11803" y="787"/>
                  </a:lnTo>
                  <a:lnTo>
                    <a:pt x="8655" y="787"/>
                  </a:lnTo>
                  <a:lnTo>
                    <a:pt x="5901" y="0"/>
                  </a:lnTo>
                  <a:lnTo>
                    <a:pt x="2754" y="1574"/>
                  </a:lnTo>
                  <a:lnTo>
                    <a:pt x="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0" name="Freeform: Shape 2344">
              <a:extLst>
                <a:ext uri="{FF2B5EF4-FFF2-40B4-BE49-F238E27FC236}">
                  <a16:creationId xmlns:a16="http://schemas.microsoft.com/office/drawing/2014/main" id="{D42F8578-2260-462F-9005-8A23EB9B6DEE}"/>
                </a:ext>
              </a:extLst>
            </p:cNvPr>
            <p:cNvSpPr/>
            <p:nvPr/>
          </p:nvSpPr>
          <p:spPr>
            <a:xfrm>
              <a:off x="5816274" y="1101532"/>
              <a:ext cx="3934" cy="3934"/>
            </a:xfrm>
            <a:custGeom>
              <a:avLst/>
              <a:gdLst>
                <a:gd name="connsiteX0" fmla="*/ 3147 w 3934"/>
                <a:gd name="connsiteY0" fmla="*/ 2361 h 0"/>
                <a:gd name="connsiteX1" fmla="*/ 5901 w 3934"/>
                <a:gd name="connsiteY1" fmla="*/ 1574 h 0"/>
                <a:gd name="connsiteX2" fmla="*/ 3147 w 3934"/>
                <a:gd name="connsiteY2" fmla="*/ 0 h 0"/>
                <a:gd name="connsiteX3" fmla="*/ 0 w 3934"/>
                <a:gd name="connsiteY3" fmla="*/ 0 h 0"/>
                <a:gd name="connsiteX4" fmla="*/ 3147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147" y="2361"/>
                  </a:moveTo>
                  <a:lnTo>
                    <a:pt x="5901" y="1574"/>
                  </a:lnTo>
                  <a:lnTo>
                    <a:pt x="3147" y="0"/>
                  </a:lnTo>
                  <a:lnTo>
                    <a:pt x="0" y="0"/>
                  </a:lnTo>
                  <a:lnTo>
                    <a:pt x="314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1" name="Freeform: Shape 2345">
              <a:extLst>
                <a:ext uri="{FF2B5EF4-FFF2-40B4-BE49-F238E27FC236}">
                  <a16:creationId xmlns:a16="http://schemas.microsoft.com/office/drawing/2014/main" id="{7F9EF2DC-0507-49A3-911C-A89184DA3CD8}"/>
                </a:ext>
              </a:extLst>
            </p:cNvPr>
            <p:cNvSpPr/>
            <p:nvPr/>
          </p:nvSpPr>
          <p:spPr>
            <a:xfrm>
              <a:off x="6355661" y="1865959"/>
              <a:ext cx="3934" cy="3934"/>
            </a:xfrm>
            <a:custGeom>
              <a:avLst/>
              <a:gdLst>
                <a:gd name="connsiteX0" fmla="*/ 3148 w 0"/>
                <a:gd name="connsiteY0" fmla="*/ 2361 h 0"/>
                <a:gd name="connsiteX1" fmla="*/ 3148 w 0"/>
                <a:gd name="connsiteY1" fmla="*/ 1574 h 0"/>
                <a:gd name="connsiteX2" fmla="*/ 3148 w 0"/>
                <a:gd name="connsiteY2" fmla="*/ 0 h 0"/>
                <a:gd name="connsiteX3" fmla="*/ 2754 w 0"/>
                <a:gd name="connsiteY3" fmla="*/ 0 h 0"/>
                <a:gd name="connsiteX4" fmla="*/ 0 w 0"/>
                <a:gd name="connsiteY4" fmla="*/ 1574 h 0"/>
                <a:gd name="connsiteX5" fmla="*/ 393 w 0"/>
                <a:gd name="connsiteY5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3148" y="2361"/>
                  </a:moveTo>
                  <a:lnTo>
                    <a:pt x="3148" y="1574"/>
                  </a:lnTo>
                  <a:lnTo>
                    <a:pt x="3148" y="0"/>
                  </a:lnTo>
                  <a:lnTo>
                    <a:pt x="2754" y="0"/>
                  </a:lnTo>
                  <a:lnTo>
                    <a:pt x="0" y="1574"/>
                  </a:lnTo>
                  <a:lnTo>
                    <a:pt x="393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2" name="Freeform: Shape 2346">
              <a:extLst>
                <a:ext uri="{FF2B5EF4-FFF2-40B4-BE49-F238E27FC236}">
                  <a16:creationId xmlns:a16="http://schemas.microsoft.com/office/drawing/2014/main" id="{E1DA7BDC-643E-4998-A987-AA510AD9B5B2}"/>
                </a:ext>
              </a:extLst>
            </p:cNvPr>
            <p:cNvSpPr/>
            <p:nvPr/>
          </p:nvSpPr>
          <p:spPr>
            <a:xfrm>
              <a:off x="7672066" y="281096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2754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2754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3" name="Freeform: Shape 2347">
              <a:extLst>
                <a:ext uri="{FF2B5EF4-FFF2-40B4-BE49-F238E27FC236}">
                  <a16:creationId xmlns:a16="http://schemas.microsoft.com/office/drawing/2014/main" id="{7AF4E552-EE02-4790-B2FC-F237A5F0F428}"/>
                </a:ext>
              </a:extLst>
            </p:cNvPr>
            <p:cNvSpPr/>
            <p:nvPr/>
          </p:nvSpPr>
          <p:spPr>
            <a:xfrm>
              <a:off x="8785463" y="3029714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0 w 0"/>
                <a:gd name="connsiteY1" fmla="*/ 787 h 0"/>
                <a:gd name="connsiteX2" fmla="*/ 2754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0" y="787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4" name="Freeform: Shape 2348">
              <a:extLst>
                <a:ext uri="{FF2B5EF4-FFF2-40B4-BE49-F238E27FC236}">
                  <a16:creationId xmlns:a16="http://schemas.microsoft.com/office/drawing/2014/main" id="{9FC62531-E1AA-4876-9AE3-D1D547B1D463}"/>
                </a:ext>
              </a:extLst>
            </p:cNvPr>
            <p:cNvSpPr/>
            <p:nvPr/>
          </p:nvSpPr>
          <p:spPr>
            <a:xfrm>
              <a:off x="6635781" y="1701507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94 w 0"/>
                <a:gd name="connsiteY1" fmla="*/ 393 h 0"/>
                <a:gd name="connsiteX2" fmla="*/ 39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94" y="393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5" name="Freeform: Shape 2349">
              <a:extLst>
                <a:ext uri="{FF2B5EF4-FFF2-40B4-BE49-F238E27FC236}">
                  <a16:creationId xmlns:a16="http://schemas.microsoft.com/office/drawing/2014/main" id="{A7DD5AE2-881C-46B4-A69D-E6D5E4B3DC15}"/>
                </a:ext>
              </a:extLst>
            </p:cNvPr>
            <p:cNvSpPr/>
            <p:nvPr/>
          </p:nvSpPr>
          <p:spPr>
            <a:xfrm>
              <a:off x="6636568" y="1700720"/>
              <a:ext cx="3934" cy="3934"/>
            </a:xfrm>
            <a:custGeom>
              <a:avLst/>
              <a:gdLst>
                <a:gd name="connsiteX0" fmla="*/ 1180 w 0"/>
                <a:gd name="connsiteY0" fmla="*/ 1967 h 0"/>
                <a:gd name="connsiteX1" fmla="*/ 0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1967"/>
                  </a:moveTo>
                  <a:lnTo>
                    <a:pt x="0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6" name="Freeform: Shape 2350">
              <a:extLst>
                <a:ext uri="{FF2B5EF4-FFF2-40B4-BE49-F238E27FC236}">
                  <a16:creationId xmlns:a16="http://schemas.microsoft.com/office/drawing/2014/main" id="{2CF9361E-EF14-4402-872E-87FBBCD3F41D}"/>
                </a:ext>
              </a:extLst>
            </p:cNvPr>
            <p:cNvSpPr/>
            <p:nvPr/>
          </p:nvSpPr>
          <p:spPr>
            <a:xfrm>
              <a:off x="10765578" y="3977478"/>
              <a:ext cx="3934" cy="3934"/>
            </a:xfrm>
            <a:custGeom>
              <a:avLst/>
              <a:gdLst>
                <a:gd name="connsiteX0" fmla="*/ 2755 w 0"/>
                <a:gd name="connsiteY0" fmla="*/ 1967 h 0"/>
                <a:gd name="connsiteX1" fmla="*/ 2755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5" y="1967"/>
                  </a:moveTo>
                  <a:lnTo>
                    <a:pt x="2755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7" name="Freeform: Shape 2351">
              <a:extLst>
                <a:ext uri="{FF2B5EF4-FFF2-40B4-BE49-F238E27FC236}">
                  <a16:creationId xmlns:a16="http://schemas.microsoft.com/office/drawing/2014/main" id="{962DF56C-71A9-48F2-BD00-819621A61FE2}"/>
                </a:ext>
              </a:extLst>
            </p:cNvPr>
            <p:cNvSpPr/>
            <p:nvPr/>
          </p:nvSpPr>
          <p:spPr>
            <a:xfrm>
              <a:off x="10793906" y="3981806"/>
              <a:ext cx="35408" cy="31474"/>
            </a:xfrm>
            <a:custGeom>
              <a:avLst/>
              <a:gdLst>
                <a:gd name="connsiteX0" fmla="*/ 1967 w 35408"/>
                <a:gd name="connsiteY0" fmla="*/ 3147 h 31474"/>
                <a:gd name="connsiteX1" fmla="*/ 2360 w 35408"/>
                <a:gd name="connsiteY1" fmla="*/ 3934 h 31474"/>
                <a:gd name="connsiteX2" fmla="*/ 4721 w 35408"/>
                <a:gd name="connsiteY2" fmla="*/ 7475 h 31474"/>
                <a:gd name="connsiteX3" fmla="*/ 5508 w 35408"/>
                <a:gd name="connsiteY3" fmla="*/ 9049 h 31474"/>
                <a:gd name="connsiteX4" fmla="*/ 7475 w 35408"/>
                <a:gd name="connsiteY4" fmla="*/ 11803 h 31474"/>
                <a:gd name="connsiteX5" fmla="*/ 8261 w 35408"/>
                <a:gd name="connsiteY5" fmla="*/ 12196 h 31474"/>
                <a:gd name="connsiteX6" fmla="*/ 15343 w 35408"/>
                <a:gd name="connsiteY6" fmla="*/ 18491 h 31474"/>
                <a:gd name="connsiteX7" fmla="*/ 15737 w 35408"/>
                <a:gd name="connsiteY7" fmla="*/ 18884 h 31474"/>
                <a:gd name="connsiteX8" fmla="*/ 18097 w 35408"/>
                <a:gd name="connsiteY8" fmla="*/ 20065 h 31474"/>
                <a:gd name="connsiteX9" fmla="*/ 20851 w 35408"/>
                <a:gd name="connsiteY9" fmla="*/ 22425 h 31474"/>
                <a:gd name="connsiteX10" fmla="*/ 23606 w 35408"/>
                <a:gd name="connsiteY10" fmla="*/ 23606 h 31474"/>
                <a:gd name="connsiteX11" fmla="*/ 26359 w 35408"/>
                <a:gd name="connsiteY11" fmla="*/ 25573 h 31474"/>
                <a:gd name="connsiteX12" fmla="*/ 29507 w 35408"/>
                <a:gd name="connsiteY12" fmla="*/ 27147 h 31474"/>
                <a:gd name="connsiteX13" fmla="*/ 32261 w 35408"/>
                <a:gd name="connsiteY13" fmla="*/ 28327 h 31474"/>
                <a:gd name="connsiteX14" fmla="*/ 35015 w 35408"/>
                <a:gd name="connsiteY14" fmla="*/ 31081 h 31474"/>
                <a:gd name="connsiteX15" fmla="*/ 37768 w 35408"/>
                <a:gd name="connsiteY15" fmla="*/ 33835 h 31474"/>
                <a:gd name="connsiteX16" fmla="*/ 38555 w 35408"/>
                <a:gd name="connsiteY16" fmla="*/ 31081 h 31474"/>
                <a:gd name="connsiteX17" fmla="*/ 38555 w 35408"/>
                <a:gd name="connsiteY17" fmla="*/ 28327 h 31474"/>
                <a:gd name="connsiteX18" fmla="*/ 37768 w 35408"/>
                <a:gd name="connsiteY18" fmla="*/ 25573 h 31474"/>
                <a:gd name="connsiteX19" fmla="*/ 34621 w 35408"/>
                <a:gd name="connsiteY19" fmla="*/ 23212 h 31474"/>
                <a:gd name="connsiteX20" fmla="*/ 32261 w 35408"/>
                <a:gd name="connsiteY20" fmla="*/ 21638 h 31474"/>
                <a:gd name="connsiteX21" fmla="*/ 29900 w 35408"/>
                <a:gd name="connsiteY21" fmla="*/ 18884 h 31474"/>
                <a:gd name="connsiteX22" fmla="*/ 27540 w 35408"/>
                <a:gd name="connsiteY22" fmla="*/ 15737 h 31474"/>
                <a:gd name="connsiteX23" fmla="*/ 25966 w 35408"/>
                <a:gd name="connsiteY23" fmla="*/ 15737 h 31474"/>
                <a:gd name="connsiteX24" fmla="*/ 22425 w 35408"/>
                <a:gd name="connsiteY24" fmla="*/ 13377 h 31474"/>
                <a:gd name="connsiteX25" fmla="*/ 25573 w 35408"/>
                <a:gd name="connsiteY25" fmla="*/ 15737 h 31474"/>
                <a:gd name="connsiteX26" fmla="*/ 24392 w 35408"/>
                <a:gd name="connsiteY26" fmla="*/ 15737 h 31474"/>
                <a:gd name="connsiteX27" fmla="*/ 21638 w 35408"/>
                <a:gd name="connsiteY27" fmla="*/ 13770 h 31474"/>
                <a:gd name="connsiteX28" fmla="*/ 18884 w 35408"/>
                <a:gd name="connsiteY28" fmla="*/ 12983 h 31474"/>
                <a:gd name="connsiteX29" fmla="*/ 16130 w 35408"/>
                <a:gd name="connsiteY29" fmla="*/ 11016 h 31474"/>
                <a:gd name="connsiteX30" fmla="*/ 14557 w 35408"/>
                <a:gd name="connsiteY30" fmla="*/ 8262 h 31474"/>
                <a:gd name="connsiteX31" fmla="*/ 11803 w 35408"/>
                <a:gd name="connsiteY31" fmla="*/ 5901 h 31474"/>
                <a:gd name="connsiteX32" fmla="*/ 10622 w 35408"/>
                <a:gd name="connsiteY32" fmla="*/ 4328 h 31474"/>
                <a:gd name="connsiteX33" fmla="*/ 21638 w 35408"/>
                <a:gd name="connsiteY33" fmla="*/ 12983 h 31474"/>
                <a:gd name="connsiteX34" fmla="*/ 20851 w 35408"/>
                <a:gd name="connsiteY34" fmla="*/ 12590 h 31474"/>
                <a:gd name="connsiteX35" fmla="*/ 22031 w 35408"/>
                <a:gd name="connsiteY35" fmla="*/ 12983 h 31474"/>
                <a:gd name="connsiteX36" fmla="*/ 22425 w 35408"/>
                <a:gd name="connsiteY36" fmla="*/ 13377 h 31474"/>
                <a:gd name="connsiteX37" fmla="*/ 22031 w 35408"/>
                <a:gd name="connsiteY37" fmla="*/ 13377 h 31474"/>
                <a:gd name="connsiteX38" fmla="*/ 24392 w 35408"/>
                <a:gd name="connsiteY38" fmla="*/ 14557 h 31474"/>
                <a:gd name="connsiteX39" fmla="*/ 23212 w 35408"/>
                <a:gd name="connsiteY39" fmla="*/ 13770 h 31474"/>
                <a:gd name="connsiteX40" fmla="*/ 21245 w 35408"/>
                <a:gd name="connsiteY40" fmla="*/ 12983 h 31474"/>
                <a:gd name="connsiteX41" fmla="*/ 9048 w 35408"/>
                <a:gd name="connsiteY41" fmla="*/ 3541 h 31474"/>
                <a:gd name="connsiteX42" fmla="*/ 8655 w 35408"/>
                <a:gd name="connsiteY42" fmla="*/ 3147 h 31474"/>
                <a:gd name="connsiteX43" fmla="*/ 5508 w 35408"/>
                <a:gd name="connsiteY43" fmla="*/ 1967 h 31474"/>
                <a:gd name="connsiteX44" fmla="*/ 1573 w 35408"/>
                <a:gd name="connsiteY44" fmla="*/ 1180 h 31474"/>
                <a:gd name="connsiteX45" fmla="*/ 0 w 35408"/>
                <a:gd name="connsiteY45" fmla="*/ 0 h 31474"/>
                <a:gd name="connsiteX46" fmla="*/ 1967 w 35408"/>
                <a:gd name="connsiteY46" fmla="*/ 3147 h 3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35408" h="31474">
                  <a:moveTo>
                    <a:pt x="1967" y="3147"/>
                  </a:moveTo>
                  <a:lnTo>
                    <a:pt x="2360" y="3934"/>
                  </a:lnTo>
                  <a:cubicBezTo>
                    <a:pt x="3147" y="5114"/>
                    <a:pt x="3934" y="6295"/>
                    <a:pt x="4721" y="7475"/>
                  </a:cubicBezTo>
                  <a:lnTo>
                    <a:pt x="5508" y="9049"/>
                  </a:lnTo>
                  <a:lnTo>
                    <a:pt x="7475" y="11803"/>
                  </a:lnTo>
                  <a:lnTo>
                    <a:pt x="8261" y="12196"/>
                  </a:lnTo>
                  <a:cubicBezTo>
                    <a:pt x="10229" y="14557"/>
                    <a:pt x="12589" y="16917"/>
                    <a:pt x="15343" y="18491"/>
                  </a:cubicBezTo>
                  <a:lnTo>
                    <a:pt x="15737" y="18884"/>
                  </a:lnTo>
                  <a:lnTo>
                    <a:pt x="18097" y="20065"/>
                  </a:lnTo>
                  <a:lnTo>
                    <a:pt x="20851" y="22425"/>
                  </a:lnTo>
                  <a:lnTo>
                    <a:pt x="23606" y="23606"/>
                  </a:lnTo>
                  <a:lnTo>
                    <a:pt x="26359" y="25573"/>
                  </a:lnTo>
                  <a:lnTo>
                    <a:pt x="29507" y="27147"/>
                  </a:lnTo>
                  <a:lnTo>
                    <a:pt x="32261" y="28327"/>
                  </a:lnTo>
                  <a:lnTo>
                    <a:pt x="35015" y="31081"/>
                  </a:lnTo>
                  <a:lnTo>
                    <a:pt x="37768" y="33835"/>
                  </a:lnTo>
                  <a:lnTo>
                    <a:pt x="38555" y="31081"/>
                  </a:lnTo>
                  <a:lnTo>
                    <a:pt x="38555" y="28327"/>
                  </a:lnTo>
                  <a:lnTo>
                    <a:pt x="37768" y="25573"/>
                  </a:lnTo>
                  <a:lnTo>
                    <a:pt x="34621" y="23212"/>
                  </a:lnTo>
                  <a:lnTo>
                    <a:pt x="32261" y="21638"/>
                  </a:lnTo>
                  <a:lnTo>
                    <a:pt x="29900" y="18884"/>
                  </a:lnTo>
                  <a:lnTo>
                    <a:pt x="27540" y="15737"/>
                  </a:lnTo>
                  <a:lnTo>
                    <a:pt x="25966" y="15737"/>
                  </a:lnTo>
                  <a:cubicBezTo>
                    <a:pt x="24785" y="14950"/>
                    <a:pt x="23606" y="14163"/>
                    <a:pt x="22425" y="13377"/>
                  </a:cubicBezTo>
                  <a:lnTo>
                    <a:pt x="25573" y="15737"/>
                  </a:lnTo>
                  <a:lnTo>
                    <a:pt x="24392" y="15737"/>
                  </a:lnTo>
                  <a:lnTo>
                    <a:pt x="21638" y="13770"/>
                  </a:lnTo>
                  <a:lnTo>
                    <a:pt x="18884" y="12983"/>
                  </a:lnTo>
                  <a:lnTo>
                    <a:pt x="16130" y="11016"/>
                  </a:lnTo>
                  <a:lnTo>
                    <a:pt x="14557" y="8262"/>
                  </a:lnTo>
                  <a:lnTo>
                    <a:pt x="11803" y="5901"/>
                  </a:lnTo>
                  <a:lnTo>
                    <a:pt x="10622" y="4328"/>
                  </a:lnTo>
                  <a:cubicBezTo>
                    <a:pt x="14163" y="7869"/>
                    <a:pt x="17704" y="10623"/>
                    <a:pt x="21638" y="12983"/>
                  </a:cubicBezTo>
                  <a:lnTo>
                    <a:pt x="20851" y="12590"/>
                  </a:lnTo>
                  <a:lnTo>
                    <a:pt x="22031" y="12983"/>
                  </a:lnTo>
                  <a:cubicBezTo>
                    <a:pt x="22031" y="12983"/>
                    <a:pt x="22425" y="12983"/>
                    <a:pt x="22425" y="13377"/>
                  </a:cubicBezTo>
                  <a:lnTo>
                    <a:pt x="22031" y="13377"/>
                  </a:lnTo>
                  <a:lnTo>
                    <a:pt x="24392" y="14557"/>
                  </a:lnTo>
                  <a:lnTo>
                    <a:pt x="23212" y="13770"/>
                  </a:lnTo>
                  <a:lnTo>
                    <a:pt x="21245" y="12983"/>
                  </a:lnTo>
                  <a:lnTo>
                    <a:pt x="9048" y="3541"/>
                  </a:lnTo>
                  <a:lnTo>
                    <a:pt x="8655" y="3147"/>
                  </a:lnTo>
                  <a:lnTo>
                    <a:pt x="5508" y="1967"/>
                  </a:lnTo>
                  <a:cubicBezTo>
                    <a:pt x="3934" y="1180"/>
                    <a:pt x="2754" y="1574"/>
                    <a:pt x="1573" y="1180"/>
                  </a:cubicBezTo>
                  <a:lnTo>
                    <a:pt x="0" y="0"/>
                  </a:lnTo>
                  <a:lnTo>
                    <a:pt x="196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8" name="Freeform: Shape 2352">
              <a:extLst>
                <a:ext uri="{FF2B5EF4-FFF2-40B4-BE49-F238E27FC236}">
                  <a16:creationId xmlns:a16="http://schemas.microsoft.com/office/drawing/2014/main" id="{C40077C1-DEF6-4688-87AB-F9126C6810B5}"/>
                </a:ext>
              </a:extLst>
            </p:cNvPr>
            <p:cNvSpPr/>
            <p:nvPr/>
          </p:nvSpPr>
          <p:spPr>
            <a:xfrm>
              <a:off x="10836395" y="402901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39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39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9" name="Freeform: Shape 2353">
              <a:extLst>
                <a:ext uri="{FF2B5EF4-FFF2-40B4-BE49-F238E27FC236}">
                  <a16:creationId xmlns:a16="http://schemas.microsoft.com/office/drawing/2014/main" id="{471A7708-DB8F-4097-A695-645E738C854F}"/>
                </a:ext>
              </a:extLst>
            </p:cNvPr>
            <p:cNvSpPr/>
            <p:nvPr/>
          </p:nvSpPr>
          <p:spPr>
            <a:xfrm>
              <a:off x="3573350" y="3443992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394 w 0"/>
                <a:gd name="connsiteY1" fmla="*/ 2361 h 0"/>
                <a:gd name="connsiteX2" fmla="*/ 1180 w 0"/>
                <a:gd name="connsiteY2" fmla="*/ 1574 h 0"/>
                <a:gd name="connsiteX3" fmla="*/ 2361 w 0"/>
                <a:gd name="connsiteY3" fmla="*/ 394 h 0"/>
                <a:gd name="connsiteX4" fmla="*/ 1180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394" y="2361"/>
                  </a:lnTo>
                  <a:lnTo>
                    <a:pt x="1180" y="1574"/>
                  </a:lnTo>
                  <a:lnTo>
                    <a:pt x="2361" y="394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0" name="Freeform: Shape 2354">
              <a:extLst>
                <a:ext uri="{FF2B5EF4-FFF2-40B4-BE49-F238E27FC236}">
                  <a16:creationId xmlns:a16="http://schemas.microsoft.com/office/drawing/2014/main" id="{1B96CF66-10AA-417D-B12E-8D120F6EF8AB}"/>
                </a:ext>
              </a:extLst>
            </p:cNvPr>
            <p:cNvSpPr/>
            <p:nvPr/>
          </p:nvSpPr>
          <p:spPr>
            <a:xfrm>
              <a:off x="2809709" y="2015855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3147 w 3934"/>
                <a:gd name="connsiteY1" fmla="*/ 1967 h 0"/>
                <a:gd name="connsiteX2" fmla="*/ 5901 w 3934"/>
                <a:gd name="connsiteY2" fmla="*/ 0 h 0"/>
                <a:gd name="connsiteX3" fmla="*/ 3147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3147" y="1967"/>
                  </a:lnTo>
                  <a:lnTo>
                    <a:pt x="5901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1" name="Freeform: Shape 2355">
              <a:extLst>
                <a:ext uri="{FF2B5EF4-FFF2-40B4-BE49-F238E27FC236}">
                  <a16:creationId xmlns:a16="http://schemas.microsoft.com/office/drawing/2014/main" id="{BECA2BFB-2E36-4381-AD1B-C70BEC35C182}"/>
                </a:ext>
              </a:extLst>
            </p:cNvPr>
            <p:cNvSpPr/>
            <p:nvPr/>
          </p:nvSpPr>
          <p:spPr>
            <a:xfrm>
              <a:off x="2813643" y="2043788"/>
              <a:ext cx="3934" cy="3934"/>
            </a:xfrm>
            <a:custGeom>
              <a:avLst/>
              <a:gdLst>
                <a:gd name="connsiteX0" fmla="*/ 1180 w 0"/>
                <a:gd name="connsiteY0" fmla="*/ 3147 h 0"/>
                <a:gd name="connsiteX1" fmla="*/ 118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3147"/>
                  </a:moveTo>
                  <a:lnTo>
                    <a:pt x="118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2" name="Freeform: Shape 2356">
              <a:extLst>
                <a:ext uri="{FF2B5EF4-FFF2-40B4-BE49-F238E27FC236}">
                  <a16:creationId xmlns:a16="http://schemas.microsoft.com/office/drawing/2014/main" id="{047FA6D8-D3A5-4C9F-8AF8-4347F41DB9CC}"/>
                </a:ext>
              </a:extLst>
            </p:cNvPr>
            <p:cNvSpPr/>
            <p:nvPr/>
          </p:nvSpPr>
          <p:spPr>
            <a:xfrm>
              <a:off x="2815610" y="2015068"/>
              <a:ext cx="3934" cy="3934"/>
            </a:xfrm>
            <a:custGeom>
              <a:avLst/>
              <a:gdLst>
                <a:gd name="connsiteX0" fmla="*/ 0 w 3934"/>
                <a:gd name="connsiteY0" fmla="*/ 2754 h 0"/>
                <a:gd name="connsiteX1" fmla="*/ 3147 w 3934"/>
                <a:gd name="connsiteY1" fmla="*/ 3147 h 0"/>
                <a:gd name="connsiteX2" fmla="*/ 5901 w 3934"/>
                <a:gd name="connsiteY2" fmla="*/ 1180 h 0"/>
                <a:gd name="connsiteX3" fmla="*/ 5901 w 3934"/>
                <a:gd name="connsiteY3" fmla="*/ 0 h 0"/>
                <a:gd name="connsiteX4" fmla="*/ 3147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2754"/>
                  </a:moveTo>
                  <a:lnTo>
                    <a:pt x="3147" y="3147"/>
                  </a:lnTo>
                  <a:lnTo>
                    <a:pt x="5901" y="1180"/>
                  </a:lnTo>
                  <a:lnTo>
                    <a:pt x="5901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3" name="Freeform: Shape 2357">
              <a:extLst>
                <a:ext uri="{FF2B5EF4-FFF2-40B4-BE49-F238E27FC236}">
                  <a16:creationId xmlns:a16="http://schemas.microsoft.com/office/drawing/2014/main" id="{1C9EFA5E-DA9E-4D3F-A446-1ED97C640F45}"/>
                </a:ext>
              </a:extLst>
            </p:cNvPr>
            <p:cNvSpPr/>
            <p:nvPr/>
          </p:nvSpPr>
          <p:spPr>
            <a:xfrm>
              <a:off x="2825053" y="2046148"/>
              <a:ext cx="3934" cy="3934"/>
            </a:xfrm>
            <a:custGeom>
              <a:avLst/>
              <a:gdLst>
                <a:gd name="connsiteX0" fmla="*/ 0 w 0"/>
                <a:gd name="connsiteY0" fmla="*/ 1967 h 0"/>
                <a:gd name="connsiteX1" fmla="*/ 2754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967"/>
                  </a:moveTo>
                  <a:lnTo>
                    <a:pt x="2754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4" name="Freeform: Shape 2358">
              <a:extLst>
                <a:ext uri="{FF2B5EF4-FFF2-40B4-BE49-F238E27FC236}">
                  <a16:creationId xmlns:a16="http://schemas.microsoft.com/office/drawing/2014/main" id="{459C7F9E-0A3D-46EA-9649-BB9741850ACD}"/>
                </a:ext>
              </a:extLst>
            </p:cNvPr>
            <p:cNvSpPr/>
            <p:nvPr/>
          </p:nvSpPr>
          <p:spPr>
            <a:xfrm>
              <a:off x="2846691" y="2049296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2754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2754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5" name="Freeform: Shape 2359">
              <a:extLst>
                <a:ext uri="{FF2B5EF4-FFF2-40B4-BE49-F238E27FC236}">
                  <a16:creationId xmlns:a16="http://schemas.microsoft.com/office/drawing/2014/main" id="{F7BA4AAE-773B-4DDA-8C14-A60E2AAA8B49}"/>
                </a:ext>
              </a:extLst>
            </p:cNvPr>
            <p:cNvSpPr/>
            <p:nvPr/>
          </p:nvSpPr>
          <p:spPr>
            <a:xfrm>
              <a:off x="2849445" y="2072115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2754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2754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6" name="Freeform: Shape 2360">
              <a:extLst>
                <a:ext uri="{FF2B5EF4-FFF2-40B4-BE49-F238E27FC236}">
                  <a16:creationId xmlns:a16="http://schemas.microsoft.com/office/drawing/2014/main" id="{B3192135-3A65-4F26-9D62-AEC8F768F79B}"/>
                </a:ext>
              </a:extLst>
            </p:cNvPr>
            <p:cNvSpPr/>
            <p:nvPr/>
          </p:nvSpPr>
          <p:spPr>
            <a:xfrm>
              <a:off x="3174022" y="1424141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393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393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7" name="Freeform: Shape 2361">
              <a:extLst>
                <a:ext uri="{FF2B5EF4-FFF2-40B4-BE49-F238E27FC236}">
                  <a16:creationId xmlns:a16="http://schemas.microsoft.com/office/drawing/2014/main" id="{B77D162C-D4EE-45CC-9681-431B029E2877}"/>
                </a:ext>
              </a:extLst>
            </p:cNvPr>
            <p:cNvSpPr/>
            <p:nvPr/>
          </p:nvSpPr>
          <p:spPr>
            <a:xfrm>
              <a:off x="3214545" y="1420994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2754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8" name="Freeform: Shape 2362">
              <a:extLst>
                <a:ext uri="{FF2B5EF4-FFF2-40B4-BE49-F238E27FC236}">
                  <a16:creationId xmlns:a16="http://schemas.microsoft.com/office/drawing/2014/main" id="{CA41C182-5BE9-486C-8BE3-8F872E9637B9}"/>
                </a:ext>
              </a:extLst>
            </p:cNvPr>
            <p:cNvSpPr/>
            <p:nvPr/>
          </p:nvSpPr>
          <p:spPr>
            <a:xfrm>
              <a:off x="3597349" y="1472533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9" name="Freeform: Shape 2363">
              <a:extLst>
                <a:ext uri="{FF2B5EF4-FFF2-40B4-BE49-F238E27FC236}">
                  <a16:creationId xmlns:a16="http://schemas.microsoft.com/office/drawing/2014/main" id="{E6E4EE34-6545-4A49-9F5C-7BE537CE5378}"/>
                </a:ext>
              </a:extLst>
            </p:cNvPr>
            <p:cNvSpPr/>
            <p:nvPr/>
          </p:nvSpPr>
          <p:spPr>
            <a:xfrm>
              <a:off x="3644560" y="1462304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2754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0" name="Freeform: Shape 2364">
              <a:extLst>
                <a:ext uri="{FF2B5EF4-FFF2-40B4-BE49-F238E27FC236}">
                  <a16:creationId xmlns:a16="http://schemas.microsoft.com/office/drawing/2014/main" id="{E03219CE-8459-47AF-B1B0-B3032EC6D34C}"/>
                </a:ext>
              </a:extLst>
            </p:cNvPr>
            <p:cNvSpPr/>
            <p:nvPr/>
          </p:nvSpPr>
          <p:spPr>
            <a:xfrm>
              <a:off x="3693345" y="1244739"/>
              <a:ext cx="3934" cy="3934"/>
            </a:xfrm>
            <a:custGeom>
              <a:avLst/>
              <a:gdLst>
                <a:gd name="connsiteX0" fmla="*/ 5508 w 3934"/>
                <a:gd name="connsiteY0" fmla="*/ 0 h 0"/>
                <a:gd name="connsiteX1" fmla="*/ 2754 w 3934"/>
                <a:gd name="connsiteY1" fmla="*/ 0 h 0"/>
                <a:gd name="connsiteX2" fmla="*/ 0 w 3934"/>
                <a:gd name="connsiteY2" fmla="*/ 1180 h 0"/>
                <a:gd name="connsiteX3" fmla="*/ 2754 w 3934"/>
                <a:gd name="connsiteY3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508" y="0"/>
                  </a:moveTo>
                  <a:lnTo>
                    <a:pt x="2754" y="0"/>
                  </a:lnTo>
                  <a:lnTo>
                    <a:pt x="0" y="1180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1" name="Freeform: Shape 2365">
              <a:extLst>
                <a:ext uri="{FF2B5EF4-FFF2-40B4-BE49-F238E27FC236}">
                  <a16:creationId xmlns:a16="http://schemas.microsoft.com/office/drawing/2014/main" id="{F33B885C-DEED-4C70-9F5C-BF3996CB08B8}"/>
                </a:ext>
              </a:extLst>
            </p:cNvPr>
            <p:cNvSpPr/>
            <p:nvPr/>
          </p:nvSpPr>
          <p:spPr>
            <a:xfrm>
              <a:off x="3716950" y="1469779"/>
              <a:ext cx="3934" cy="3934"/>
            </a:xfrm>
            <a:custGeom>
              <a:avLst/>
              <a:gdLst>
                <a:gd name="connsiteX0" fmla="*/ 6295 w 3934"/>
                <a:gd name="connsiteY0" fmla="*/ 787 h 0"/>
                <a:gd name="connsiteX1" fmla="*/ 6295 w 3934"/>
                <a:gd name="connsiteY1" fmla="*/ 0 h 0"/>
                <a:gd name="connsiteX2" fmla="*/ 3147 w 3934"/>
                <a:gd name="connsiteY2" fmla="*/ 0 h 0"/>
                <a:gd name="connsiteX3" fmla="*/ 0 w 3934"/>
                <a:gd name="connsiteY3" fmla="*/ 1180 h 0"/>
                <a:gd name="connsiteX4" fmla="*/ 3147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787"/>
                  </a:moveTo>
                  <a:lnTo>
                    <a:pt x="6295" y="0"/>
                  </a:lnTo>
                  <a:lnTo>
                    <a:pt x="3147" y="0"/>
                  </a:lnTo>
                  <a:lnTo>
                    <a:pt x="0" y="118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2" name="Freeform: Shape 2366">
              <a:extLst>
                <a:ext uri="{FF2B5EF4-FFF2-40B4-BE49-F238E27FC236}">
                  <a16:creationId xmlns:a16="http://schemas.microsoft.com/office/drawing/2014/main" id="{F66AA616-1291-468C-B34A-59186AC68B69}"/>
                </a:ext>
              </a:extLst>
            </p:cNvPr>
            <p:cNvSpPr/>
            <p:nvPr/>
          </p:nvSpPr>
          <p:spPr>
            <a:xfrm>
              <a:off x="3921926" y="1217593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180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18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3" name="Freeform: Shape 2367">
              <a:extLst>
                <a:ext uri="{FF2B5EF4-FFF2-40B4-BE49-F238E27FC236}">
                  <a16:creationId xmlns:a16="http://schemas.microsoft.com/office/drawing/2014/main" id="{67CDC860-9ADA-479E-AE6B-1139C0668D94}"/>
                </a:ext>
              </a:extLst>
            </p:cNvPr>
            <p:cNvSpPr/>
            <p:nvPr/>
          </p:nvSpPr>
          <p:spPr>
            <a:xfrm>
              <a:off x="3936482" y="1634231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3148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3148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4" name="Freeform: Shape 2368">
              <a:extLst>
                <a:ext uri="{FF2B5EF4-FFF2-40B4-BE49-F238E27FC236}">
                  <a16:creationId xmlns:a16="http://schemas.microsoft.com/office/drawing/2014/main" id="{633B60D1-6FEF-4D1D-88C8-F213947FCC74}"/>
                </a:ext>
              </a:extLst>
            </p:cNvPr>
            <p:cNvSpPr/>
            <p:nvPr/>
          </p:nvSpPr>
          <p:spPr>
            <a:xfrm>
              <a:off x="4105656" y="1818748"/>
              <a:ext cx="15737" cy="7869"/>
            </a:xfrm>
            <a:custGeom>
              <a:avLst/>
              <a:gdLst>
                <a:gd name="connsiteX0" fmla="*/ 9049 w 15737"/>
                <a:gd name="connsiteY0" fmla="*/ 4721 h 7868"/>
                <a:gd name="connsiteX1" fmla="*/ 5901 w 15737"/>
                <a:gd name="connsiteY1" fmla="*/ 5901 h 7868"/>
                <a:gd name="connsiteX2" fmla="*/ 3148 w 15737"/>
                <a:gd name="connsiteY2" fmla="*/ 5901 h 7868"/>
                <a:gd name="connsiteX3" fmla="*/ 2754 w 15737"/>
                <a:gd name="connsiteY3" fmla="*/ 6295 h 7868"/>
                <a:gd name="connsiteX4" fmla="*/ 0 w 15737"/>
                <a:gd name="connsiteY4" fmla="*/ 8262 h 7868"/>
                <a:gd name="connsiteX5" fmla="*/ 0 w 15737"/>
                <a:gd name="connsiteY5" fmla="*/ 10229 h 7868"/>
                <a:gd name="connsiteX6" fmla="*/ 3148 w 15737"/>
                <a:gd name="connsiteY6" fmla="*/ 9442 h 7868"/>
                <a:gd name="connsiteX7" fmla="*/ 5901 w 15737"/>
                <a:gd name="connsiteY7" fmla="*/ 8262 h 7868"/>
                <a:gd name="connsiteX8" fmla="*/ 9049 w 15737"/>
                <a:gd name="connsiteY8" fmla="*/ 7082 h 7868"/>
                <a:gd name="connsiteX9" fmla="*/ 11803 w 15737"/>
                <a:gd name="connsiteY9" fmla="*/ 5508 h 7868"/>
                <a:gd name="connsiteX10" fmla="*/ 14950 w 15737"/>
                <a:gd name="connsiteY10" fmla="*/ 2754 h 7868"/>
                <a:gd name="connsiteX11" fmla="*/ 17704 w 15737"/>
                <a:gd name="connsiteY11" fmla="*/ 0 h 7868"/>
                <a:gd name="connsiteX12" fmla="*/ 14950 w 15737"/>
                <a:gd name="connsiteY12" fmla="*/ 2361 h 7868"/>
                <a:gd name="connsiteX13" fmla="*/ 12196 w 15737"/>
                <a:gd name="connsiteY13" fmla="*/ 432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737" h="7868">
                  <a:moveTo>
                    <a:pt x="9049" y="4721"/>
                  </a:moveTo>
                  <a:lnTo>
                    <a:pt x="5901" y="5901"/>
                  </a:lnTo>
                  <a:lnTo>
                    <a:pt x="3148" y="5901"/>
                  </a:lnTo>
                  <a:lnTo>
                    <a:pt x="2754" y="6295"/>
                  </a:lnTo>
                  <a:lnTo>
                    <a:pt x="0" y="8262"/>
                  </a:lnTo>
                  <a:lnTo>
                    <a:pt x="0" y="10229"/>
                  </a:lnTo>
                  <a:lnTo>
                    <a:pt x="3148" y="9442"/>
                  </a:lnTo>
                  <a:lnTo>
                    <a:pt x="5901" y="8262"/>
                  </a:lnTo>
                  <a:lnTo>
                    <a:pt x="9049" y="7082"/>
                  </a:lnTo>
                  <a:lnTo>
                    <a:pt x="11803" y="5508"/>
                  </a:lnTo>
                  <a:lnTo>
                    <a:pt x="14950" y="2754"/>
                  </a:lnTo>
                  <a:lnTo>
                    <a:pt x="17704" y="0"/>
                  </a:lnTo>
                  <a:lnTo>
                    <a:pt x="14950" y="2361"/>
                  </a:lnTo>
                  <a:lnTo>
                    <a:pt x="12196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5" name="Freeform: Shape 2369">
              <a:extLst>
                <a:ext uri="{FF2B5EF4-FFF2-40B4-BE49-F238E27FC236}">
                  <a16:creationId xmlns:a16="http://schemas.microsoft.com/office/drawing/2014/main" id="{BB9B7E84-DE40-445D-ABFC-63FACC8D09B5}"/>
                </a:ext>
              </a:extLst>
            </p:cNvPr>
            <p:cNvSpPr/>
            <p:nvPr/>
          </p:nvSpPr>
          <p:spPr>
            <a:xfrm>
              <a:off x="4119819" y="1808126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2754 w 0"/>
                <a:gd name="connsiteY1" fmla="*/ 0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2754" y="0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6" name="Freeform: Shape 2370">
              <a:extLst>
                <a:ext uri="{FF2B5EF4-FFF2-40B4-BE49-F238E27FC236}">
                  <a16:creationId xmlns:a16="http://schemas.microsoft.com/office/drawing/2014/main" id="{D34E07C4-E0C5-406F-A3DC-EA2297C87B3E}"/>
                </a:ext>
              </a:extLst>
            </p:cNvPr>
            <p:cNvSpPr/>
            <p:nvPr/>
          </p:nvSpPr>
          <p:spPr>
            <a:xfrm>
              <a:off x="4121786" y="1805372"/>
              <a:ext cx="3934" cy="3934"/>
            </a:xfrm>
            <a:custGeom>
              <a:avLst/>
              <a:gdLst>
                <a:gd name="connsiteX0" fmla="*/ 3934 w 3934"/>
                <a:gd name="connsiteY0" fmla="*/ 0 h 0"/>
                <a:gd name="connsiteX1" fmla="*/ 3147 w 3934"/>
                <a:gd name="connsiteY1" fmla="*/ 0 h 0"/>
                <a:gd name="connsiteX2" fmla="*/ 0 w 3934"/>
                <a:gd name="connsiteY2" fmla="*/ 1967 h 0"/>
                <a:gd name="connsiteX3" fmla="*/ 3147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934" y="0"/>
                  </a:moveTo>
                  <a:lnTo>
                    <a:pt x="3147" y="0"/>
                  </a:lnTo>
                  <a:lnTo>
                    <a:pt x="0" y="1967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7" name="Freeform: Shape 2371">
              <a:extLst>
                <a:ext uri="{FF2B5EF4-FFF2-40B4-BE49-F238E27FC236}">
                  <a16:creationId xmlns:a16="http://schemas.microsoft.com/office/drawing/2014/main" id="{A28449BA-DE30-4839-BEE9-6F9203A933E8}"/>
                </a:ext>
              </a:extLst>
            </p:cNvPr>
            <p:cNvSpPr/>
            <p:nvPr/>
          </p:nvSpPr>
          <p:spPr>
            <a:xfrm>
              <a:off x="4137523" y="1784126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1574 w 0"/>
                <a:gd name="connsiteY1" fmla="*/ 2754 h 0"/>
                <a:gd name="connsiteX2" fmla="*/ 236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1574" y="2754"/>
                  </a:lnTo>
                  <a:lnTo>
                    <a:pt x="236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8" name="Freeform: Shape 2372">
              <a:extLst>
                <a:ext uri="{FF2B5EF4-FFF2-40B4-BE49-F238E27FC236}">
                  <a16:creationId xmlns:a16="http://schemas.microsoft.com/office/drawing/2014/main" id="{8009496A-290E-4022-B4B1-57FBA2A98FC9}"/>
                </a:ext>
              </a:extLst>
            </p:cNvPr>
            <p:cNvSpPr/>
            <p:nvPr/>
          </p:nvSpPr>
          <p:spPr>
            <a:xfrm>
              <a:off x="4148146" y="1420601"/>
              <a:ext cx="3934" cy="3934"/>
            </a:xfrm>
            <a:custGeom>
              <a:avLst/>
              <a:gdLst>
                <a:gd name="connsiteX0" fmla="*/ 3147 w 0"/>
                <a:gd name="connsiteY0" fmla="*/ 1180 h 0"/>
                <a:gd name="connsiteX1" fmla="*/ 3147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1180"/>
                  </a:move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9" name="Freeform: Shape 2373">
              <a:extLst>
                <a:ext uri="{FF2B5EF4-FFF2-40B4-BE49-F238E27FC236}">
                  <a16:creationId xmlns:a16="http://schemas.microsoft.com/office/drawing/2014/main" id="{F5B01E17-C66D-40AF-B7D2-B6ECF6EB2359}"/>
                </a:ext>
              </a:extLst>
            </p:cNvPr>
            <p:cNvSpPr/>
            <p:nvPr/>
          </p:nvSpPr>
          <p:spPr>
            <a:xfrm>
              <a:off x="4180407" y="1615740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574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574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0" name="Freeform: Shape 2374">
              <a:extLst>
                <a:ext uri="{FF2B5EF4-FFF2-40B4-BE49-F238E27FC236}">
                  <a16:creationId xmlns:a16="http://schemas.microsoft.com/office/drawing/2014/main" id="{5D6DB9F4-F8DE-49E7-A966-7C78A4F5424D}"/>
                </a:ext>
              </a:extLst>
            </p:cNvPr>
            <p:cNvSpPr/>
            <p:nvPr/>
          </p:nvSpPr>
          <p:spPr>
            <a:xfrm>
              <a:off x="4231946" y="1219953"/>
              <a:ext cx="3934" cy="3934"/>
            </a:xfrm>
            <a:custGeom>
              <a:avLst/>
              <a:gdLst>
                <a:gd name="connsiteX0" fmla="*/ 6295 w 3934"/>
                <a:gd name="connsiteY0" fmla="*/ 787 h 0"/>
                <a:gd name="connsiteX1" fmla="*/ 5508 w 3934"/>
                <a:gd name="connsiteY1" fmla="*/ 0 h 0"/>
                <a:gd name="connsiteX2" fmla="*/ 2754 w 3934"/>
                <a:gd name="connsiteY2" fmla="*/ 393 h 0"/>
                <a:gd name="connsiteX3" fmla="*/ 0 w 3934"/>
                <a:gd name="connsiteY3" fmla="*/ 1180 h 0"/>
                <a:gd name="connsiteX4" fmla="*/ 3147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787"/>
                  </a:moveTo>
                  <a:lnTo>
                    <a:pt x="5508" y="0"/>
                  </a:lnTo>
                  <a:lnTo>
                    <a:pt x="2754" y="393"/>
                  </a:lnTo>
                  <a:lnTo>
                    <a:pt x="0" y="118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1" name="Freeform: Shape 2375">
              <a:extLst>
                <a:ext uri="{FF2B5EF4-FFF2-40B4-BE49-F238E27FC236}">
                  <a16:creationId xmlns:a16="http://schemas.microsoft.com/office/drawing/2014/main" id="{267CFCB0-C889-4A1D-A9D4-B8794C046DEC}"/>
                </a:ext>
              </a:extLst>
            </p:cNvPr>
            <p:cNvSpPr/>
            <p:nvPr/>
          </p:nvSpPr>
          <p:spPr>
            <a:xfrm>
              <a:off x="4233126" y="1503614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967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967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2" name="Freeform: Shape 2376">
              <a:extLst>
                <a:ext uri="{FF2B5EF4-FFF2-40B4-BE49-F238E27FC236}">
                  <a16:creationId xmlns:a16="http://schemas.microsoft.com/office/drawing/2014/main" id="{85E34A66-BDBB-4C5F-B388-E69D0F159C0A}"/>
                </a:ext>
              </a:extLst>
            </p:cNvPr>
            <p:cNvSpPr/>
            <p:nvPr/>
          </p:nvSpPr>
          <p:spPr>
            <a:xfrm>
              <a:off x="4287812" y="1600790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967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967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3" name="Freeform: Shape 2377">
              <a:extLst>
                <a:ext uri="{FF2B5EF4-FFF2-40B4-BE49-F238E27FC236}">
                  <a16:creationId xmlns:a16="http://schemas.microsoft.com/office/drawing/2014/main" id="{7D0D0099-175F-45CF-83A5-613770E2CD14}"/>
                </a:ext>
              </a:extLst>
            </p:cNvPr>
            <p:cNvSpPr/>
            <p:nvPr/>
          </p:nvSpPr>
          <p:spPr>
            <a:xfrm>
              <a:off x="4320073" y="1585840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4" name="Freeform: Shape 2378">
              <a:extLst>
                <a:ext uri="{FF2B5EF4-FFF2-40B4-BE49-F238E27FC236}">
                  <a16:creationId xmlns:a16="http://schemas.microsoft.com/office/drawing/2014/main" id="{3F038731-5898-4641-8EFE-007A533A9DD4}"/>
                </a:ext>
              </a:extLst>
            </p:cNvPr>
            <p:cNvSpPr/>
            <p:nvPr/>
          </p:nvSpPr>
          <p:spPr>
            <a:xfrm>
              <a:off x="4448723" y="1618887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3147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3147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5" name="Freeform: Shape 2379">
              <a:extLst>
                <a:ext uri="{FF2B5EF4-FFF2-40B4-BE49-F238E27FC236}">
                  <a16:creationId xmlns:a16="http://schemas.microsoft.com/office/drawing/2014/main" id="{C3131559-F15B-43F2-AC5A-9341F2A1BCD1}"/>
                </a:ext>
              </a:extLst>
            </p:cNvPr>
            <p:cNvSpPr/>
            <p:nvPr/>
          </p:nvSpPr>
          <p:spPr>
            <a:xfrm>
              <a:off x="4449117" y="1618101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787 h 0"/>
                <a:gd name="connsiteX2" fmla="*/ 314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787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6" name="Freeform: Shape 2380">
              <a:extLst>
                <a:ext uri="{FF2B5EF4-FFF2-40B4-BE49-F238E27FC236}">
                  <a16:creationId xmlns:a16="http://schemas.microsoft.com/office/drawing/2014/main" id="{BD69A1EB-3505-4156-8FEC-E0C484BC5FBE}"/>
                </a:ext>
              </a:extLst>
            </p:cNvPr>
            <p:cNvSpPr/>
            <p:nvPr/>
          </p:nvSpPr>
          <p:spPr>
            <a:xfrm>
              <a:off x="4536457" y="1504794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967 h 0"/>
                <a:gd name="connsiteX2" fmla="*/ 275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967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7" name="Freeform: Shape 2381">
              <a:extLst>
                <a:ext uri="{FF2B5EF4-FFF2-40B4-BE49-F238E27FC236}">
                  <a16:creationId xmlns:a16="http://schemas.microsoft.com/office/drawing/2014/main" id="{79C4EF9C-5522-4198-9B21-DEBB25AAA53A}"/>
                </a:ext>
              </a:extLst>
            </p:cNvPr>
            <p:cNvSpPr/>
            <p:nvPr/>
          </p:nvSpPr>
          <p:spPr>
            <a:xfrm>
              <a:off x="4555735" y="1361193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3147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314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8" name="Freeform: Shape 2382">
              <a:extLst>
                <a:ext uri="{FF2B5EF4-FFF2-40B4-BE49-F238E27FC236}">
                  <a16:creationId xmlns:a16="http://schemas.microsoft.com/office/drawing/2014/main" id="{9E47B9B1-49C1-46A6-B453-E4AB50390344}"/>
                </a:ext>
              </a:extLst>
            </p:cNvPr>
            <p:cNvSpPr/>
            <p:nvPr/>
          </p:nvSpPr>
          <p:spPr>
            <a:xfrm>
              <a:off x="4558883" y="1347817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3147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3147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9" name="Freeform: Shape 2383">
              <a:extLst>
                <a:ext uri="{FF2B5EF4-FFF2-40B4-BE49-F238E27FC236}">
                  <a16:creationId xmlns:a16="http://schemas.microsoft.com/office/drawing/2014/main" id="{3ED232A6-77B1-478C-9302-F40DA28DA3F8}"/>
                </a:ext>
              </a:extLst>
            </p:cNvPr>
            <p:cNvSpPr/>
            <p:nvPr/>
          </p:nvSpPr>
          <p:spPr>
            <a:xfrm>
              <a:off x="4568718" y="1666099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3147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3147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0" name="Freeform: Shape 2384">
              <a:extLst>
                <a:ext uri="{FF2B5EF4-FFF2-40B4-BE49-F238E27FC236}">
                  <a16:creationId xmlns:a16="http://schemas.microsoft.com/office/drawing/2014/main" id="{7283F0F4-4F31-4518-A7DA-4EB0DC6052B3}"/>
                </a:ext>
              </a:extLst>
            </p:cNvPr>
            <p:cNvSpPr/>
            <p:nvPr/>
          </p:nvSpPr>
          <p:spPr>
            <a:xfrm>
              <a:off x="4576194" y="1362373"/>
              <a:ext cx="3934" cy="3934"/>
            </a:xfrm>
            <a:custGeom>
              <a:avLst/>
              <a:gdLst>
                <a:gd name="connsiteX0" fmla="*/ 5901 w 3934"/>
                <a:gd name="connsiteY0" fmla="*/ 0 h 3934"/>
                <a:gd name="connsiteX1" fmla="*/ 2754 w 3934"/>
                <a:gd name="connsiteY1" fmla="*/ 787 h 3934"/>
                <a:gd name="connsiteX2" fmla="*/ 0 w 3934"/>
                <a:gd name="connsiteY2" fmla="*/ 3934 h 3934"/>
                <a:gd name="connsiteX3" fmla="*/ 2754 w 3934"/>
                <a:gd name="connsiteY3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5901" y="0"/>
                  </a:moveTo>
                  <a:lnTo>
                    <a:pt x="2754" y="787"/>
                  </a:lnTo>
                  <a:lnTo>
                    <a:pt x="0" y="3934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1" name="Freeform: Shape 2385">
              <a:extLst>
                <a:ext uri="{FF2B5EF4-FFF2-40B4-BE49-F238E27FC236}">
                  <a16:creationId xmlns:a16="http://schemas.microsoft.com/office/drawing/2014/main" id="{D621DD5D-5347-4A6F-85AE-B0EAC7795F11}"/>
                </a:ext>
              </a:extLst>
            </p:cNvPr>
            <p:cNvSpPr/>
            <p:nvPr/>
          </p:nvSpPr>
          <p:spPr>
            <a:xfrm>
              <a:off x="4610028" y="1377324"/>
              <a:ext cx="3934" cy="3934"/>
            </a:xfrm>
            <a:custGeom>
              <a:avLst/>
              <a:gdLst>
                <a:gd name="connsiteX0" fmla="*/ 3147 w 3934"/>
                <a:gd name="connsiteY0" fmla="*/ 1967 h 0"/>
                <a:gd name="connsiteX1" fmla="*/ 5901 w 3934"/>
                <a:gd name="connsiteY1" fmla="*/ 393 h 0"/>
                <a:gd name="connsiteX2" fmla="*/ 5901 w 3934"/>
                <a:gd name="connsiteY2" fmla="*/ 0 h 0"/>
                <a:gd name="connsiteX3" fmla="*/ 3147 w 3934"/>
                <a:gd name="connsiteY3" fmla="*/ 787 h 0"/>
                <a:gd name="connsiteX4" fmla="*/ 0 w 3934"/>
                <a:gd name="connsiteY4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147" y="1967"/>
                  </a:moveTo>
                  <a:lnTo>
                    <a:pt x="5901" y="393"/>
                  </a:lnTo>
                  <a:lnTo>
                    <a:pt x="5901" y="0"/>
                  </a:lnTo>
                  <a:lnTo>
                    <a:pt x="3147" y="787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2" name="Freeform: Shape 2386">
              <a:extLst>
                <a:ext uri="{FF2B5EF4-FFF2-40B4-BE49-F238E27FC236}">
                  <a16:creationId xmlns:a16="http://schemas.microsoft.com/office/drawing/2014/main" id="{E46F0670-224A-419B-BA8F-1149F007E314}"/>
                </a:ext>
              </a:extLst>
            </p:cNvPr>
            <p:cNvSpPr/>
            <p:nvPr/>
          </p:nvSpPr>
          <p:spPr>
            <a:xfrm>
              <a:off x="4611209" y="1514629"/>
              <a:ext cx="3934" cy="3934"/>
            </a:xfrm>
            <a:custGeom>
              <a:avLst/>
              <a:gdLst>
                <a:gd name="connsiteX0" fmla="*/ 5508 w 3934"/>
                <a:gd name="connsiteY0" fmla="*/ 1574 h 0"/>
                <a:gd name="connsiteX1" fmla="*/ 2754 w 3934"/>
                <a:gd name="connsiteY1" fmla="*/ 393 h 0"/>
                <a:gd name="connsiteX2" fmla="*/ 0 w 3934"/>
                <a:gd name="connsiteY2" fmla="*/ 0 h 0"/>
                <a:gd name="connsiteX3" fmla="*/ 2754 w 3934"/>
                <a:gd name="connsiteY3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508" y="1574"/>
                  </a:moveTo>
                  <a:lnTo>
                    <a:pt x="2754" y="393"/>
                  </a:lnTo>
                  <a:lnTo>
                    <a:pt x="0" y="0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3" name="Freeform: Shape 2387">
              <a:extLst>
                <a:ext uri="{FF2B5EF4-FFF2-40B4-BE49-F238E27FC236}">
                  <a16:creationId xmlns:a16="http://schemas.microsoft.com/office/drawing/2014/main" id="{DA4E7AA1-BABA-4112-B736-B4D16A94E619}"/>
                </a:ext>
              </a:extLst>
            </p:cNvPr>
            <p:cNvSpPr/>
            <p:nvPr/>
          </p:nvSpPr>
          <p:spPr>
            <a:xfrm>
              <a:off x="4614356" y="1575611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2754 w 0"/>
                <a:gd name="connsiteY1" fmla="*/ 3541 h 0"/>
                <a:gd name="connsiteX2" fmla="*/ 3541 w 0"/>
                <a:gd name="connsiteY2" fmla="*/ 787 h 0"/>
                <a:gd name="connsiteX3" fmla="*/ 3541 w 0"/>
                <a:gd name="connsiteY3" fmla="*/ 0 h 0"/>
                <a:gd name="connsiteX4" fmla="*/ 787 w 0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2754" y="3541"/>
                  </a:lnTo>
                  <a:lnTo>
                    <a:pt x="3541" y="787"/>
                  </a:lnTo>
                  <a:lnTo>
                    <a:pt x="3541" y="0"/>
                  </a:lnTo>
                  <a:lnTo>
                    <a:pt x="78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4" name="Freeform: Shape 2388">
              <a:extLst>
                <a:ext uri="{FF2B5EF4-FFF2-40B4-BE49-F238E27FC236}">
                  <a16:creationId xmlns:a16="http://schemas.microsoft.com/office/drawing/2014/main" id="{C1C510C6-F652-4B4F-8F51-D6D793568842}"/>
                </a:ext>
              </a:extLst>
            </p:cNvPr>
            <p:cNvSpPr/>
            <p:nvPr/>
          </p:nvSpPr>
          <p:spPr>
            <a:xfrm>
              <a:off x="4619864" y="1573643"/>
              <a:ext cx="3934" cy="3934"/>
            </a:xfrm>
            <a:custGeom>
              <a:avLst/>
              <a:gdLst>
                <a:gd name="connsiteX0" fmla="*/ 787 w 0"/>
                <a:gd name="connsiteY0" fmla="*/ 3147 h 0"/>
                <a:gd name="connsiteX1" fmla="*/ 1574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3147"/>
                  </a:moveTo>
                  <a:lnTo>
                    <a:pt x="157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5" name="Freeform: Shape 2389">
              <a:extLst>
                <a:ext uri="{FF2B5EF4-FFF2-40B4-BE49-F238E27FC236}">
                  <a16:creationId xmlns:a16="http://schemas.microsoft.com/office/drawing/2014/main" id="{D3DA674F-B725-4060-B4EE-12C6566A97AF}"/>
                </a:ext>
              </a:extLst>
            </p:cNvPr>
            <p:cNvSpPr/>
            <p:nvPr/>
          </p:nvSpPr>
          <p:spPr>
            <a:xfrm>
              <a:off x="4625765" y="1594102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147 w 0"/>
                <a:gd name="connsiteY1" fmla="*/ 1180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147" y="118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6" name="Freeform: Shape 2390">
              <a:extLst>
                <a:ext uri="{FF2B5EF4-FFF2-40B4-BE49-F238E27FC236}">
                  <a16:creationId xmlns:a16="http://schemas.microsoft.com/office/drawing/2014/main" id="{FBE5D9B5-FA8D-42CA-98D8-84C7689162A1}"/>
                </a:ext>
              </a:extLst>
            </p:cNvPr>
            <p:cNvSpPr/>
            <p:nvPr/>
          </p:nvSpPr>
          <p:spPr>
            <a:xfrm>
              <a:off x="4647797" y="1458763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2754 w 0"/>
                <a:gd name="connsiteY1" fmla="*/ 393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2754" y="39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7" name="Freeform: Shape 2391">
              <a:extLst>
                <a:ext uri="{FF2B5EF4-FFF2-40B4-BE49-F238E27FC236}">
                  <a16:creationId xmlns:a16="http://schemas.microsoft.com/office/drawing/2014/main" id="{7AFC1589-949C-4C81-AB7D-39F37D28EFA3}"/>
                </a:ext>
              </a:extLst>
            </p:cNvPr>
            <p:cNvSpPr/>
            <p:nvPr/>
          </p:nvSpPr>
          <p:spPr>
            <a:xfrm>
              <a:off x="4672977" y="1462697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1574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1574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8" name="Freeform: Shape 2392">
              <a:extLst>
                <a:ext uri="{FF2B5EF4-FFF2-40B4-BE49-F238E27FC236}">
                  <a16:creationId xmlns:a16="http://schemas.microsoft.com/office/drawing/2014/main" id="{914B2FB4-F34B-4125-8E63-815E2133DAF0}"/>
                </a:ext>
              </a:extLst>
            </p:cNvPr>
            <p:cNvSpPr/>
            <p:nvPr/>
          </p:nvSpPr>
          <p:spPr>
            <a:xfrm>
              <a:off x="4707992" y="1493778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147 w 0"/>
                <a:gd name="connsiteY1" fmla="*/ 0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147" y="0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9" name="Freeform: Shape 2393">
              <a:extLst>
                <a:ext uri="{FF2B5EF4-FFF2-40B4-BE49-F238E27FC236}">
                  <a16:creationId xmlns:a16="http://schemas.microsoft.com/office/drawing/2014/main" id="{44CD58DB-DCB6-48A0-949A-86AA8F534728}"/>
                </a:ext>
              </a:extLst>
            </p:cNvPr>
            <p:cNvSpPr/>
            <p:nvPr/>
          </p:nvSpPr>
          <p:spPr>
            <a:xfrm>
              <a:off x="4709565" y="1494565"/>
              <a:ext cx="3934" cy="3934"/>
            </a:xfrm>
            <a:custGeom>
              <a:avLst/>
              <a:gdLst>
                <a:gd name="connsiteX0" fmla="*/ 3148 w 0"/>
                <a:gd name="connsiteY0" fmla="*/ 787 h 0"/>
                <a:gd name="connsiteX1" fmla="*/ 0 w 0"/>
                <a:gd name="connsiteY1" fmla="*/ 0 h 0"/>
                <a:gd name="connsiteX2" fmla="*/ 3148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787"/>
                  </a:moveTo>
                  <a:lnTo>
                    <a:pt x="0" y="0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0" name="Freeform: Shape 2394">
              <a:extLst>
                <a:ext uri="{FF2B5EF4-FFF2-40B4-BE49-F238E27FC236}">
                  <a16:creationId xmlns:a16="http://schemas.microsoft.com/office/drawing/2014/main" id="{812D979E-8C71-4F31-8CF2-8E4352C60DF0}"/>
                </a:ext>
              </a:extLst>
            </p:cNvPr>
            <p:cNvSpPr/>
            <p:nvPr/>
          </p:nvSpPr>
          <p:spPr>
            <a:xfrm>
              <a:off x="4711926" y="1517777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2754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1" name="Freeform: Shape 2395">
              <a:extLst>
                <a:ext uri="{FF2B5EF4-FFF2-40B4-BE49-F238E27FC236}">
                  <a16:creationId xmlns:a16="http://schemas.microsoft.com/office/drawing/2014/main" id="{DB9C3D61-44C1-47B6-A738-009B683F8B38}"/>
                </a:ext>
              </a:extLst>
            </p:cNvPr>
            <p:cNvSpPr/>
            <p:nvPr/>
          </p:nvSpPr>
          <p:spPr>
            <a:xfrm>
              <a:off x="4723335" y="1489844"/>
              <a:ext cx="3934" cy="3934"/>
            </a:xfrm>
            <a:custGeom>
              <a:avLst/>
              <a:gdLst>
                <a:gd name="connsiteX0" fmla="*/ 3148 w 0"/>
                <a:gd name="connsiteY0" fmla="*/ 787 h 0"/>
                <a:gd name="connsiteX1" fmla="*/ 3148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787"/>
                  </a:moveTo>
                  <a:lnTo>
                    <a:pt x="3148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2" name="Freeform: Shape 2396">
              <a:extLst>
                <a:ext uri="{FF2B5EF4-FFF2-40B4-BE49-F238E27FC236}">
                  <a16:creationId xmlns:a16="http://schemas.microsoft.com/office/drawing/2014/main" id="{6B5476E4-5679-4041-BFD4-F37CF9B65394}"/>
                </a:ext>
              </a:extLst>
            </p:cNvPr>
            <p:cNvSpPr/>
            <p:nvPr/>
          </p:nvSpPr>
          <p:spPr>
            <a:xfrm>
              <a:off x="5838699" y="1927727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0 w 0"/>
                <a:gd name="connsiteY1" fmla="*/ 0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0" y="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3" name="Freeform: Shape 2397">
              <a:extLst>
                <a:ext uri="{FF2B5EF4-FFF2-40B4-BE49-F238E27FC236}">
                  <a16:creationId xmlns:a16="http://schemas.microsoft.com/office/drawing/2014/main" id="{759522AC-CB49-4CCA-B556-2CF48FCD1690}"/>
                </a:ext>
              </a:extLst>
            </p:cNvPr>
            <p:cNvSpPr/>
            <p:nvPr/>
          </p:nvSpPr>
          <p:spPr>
            <a:xfrm>
              <a:off x="5877255" y="1867533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0 h 0"/>
                <a:gd name="connsiteX2" fmla="*/ 393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0"/>
                  </a:lnTo>
                  <a:lnTo>
                    <a:pt x="393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4" name="Freeform: Shape 2398">
              <a:extLst>
                <a:ext uri="{FF2B5EF4-FFF2-40B4-BE49-F238E27FC236}">
                  <a16:creationId xmlns:a16="http://schemas.microsoft.com/office/drawing/2014/main" id="{55C26875-5476-406D-8F2B-6A4049DE29D8}"/>
                </a:ext>
              </a:extLst>
            </p:cNvPr>
            <p:cNvSpPr/>
            <p:nvPr/>
          </p:nvSpPr>
          <p:spPr>
            <a:xfrm>
              <a:off x="7312081" y="3200068"/>
              <a:ext cx="3934" cy="3934"/>
            </a:xfrm>
            <a:custGeom>
              <a:avLst/>
              <a:gdLst>
                <a:gd name="connsiteX0" fmla="*/ 0 w 0"/>
                <a:gd name="connsiteY0" fmla="*/ 2754 h 3934"/>
                <a:gd name="connsiteX1" fmla="*/ 787 w 0"/>
                <a:gd name="connsiteY1" fmla="*/ 5508 h 3934"/>
                <a:gd name="connsiteX2" fmla="*/ 787 w 0"/>
                <a:gd name="connsiteY2" fmla="*/ 5508 h 3934"/>
                <a:gd name="connsiteX3" fmla="*/ 1574 w 0"/>
                <a:gd name="connsiteY3" fmla="*/ 2754 h 3934"/>
                <a:gd name="connsiteX4" fmla="*/ 787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2754"/>
                  </a:moveTo>
                  <a:lnTo>
                    <a:pt x="787" y="5508"/>
                  </a:lnTo>
                  <a:lnTo>
                    <a:pt x="787" y="5508"/>
                  </a:lnTo>
                  <a:lnTo>
                    <a:pt x="1574" y="2754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5" name="Freeform: Shape 2399">
              <a:extLst>
                <a:ext uri="{FF2B5EF4-FFF2-40B4-BE49-F238E27FC236}">
                  <a16:creationId xmlns:a16="http://schemas.microsoft.com/office/drawing/2014/main" id="{8988242A-D3C4-4380-891D-9CC21DCCFB6A}"/>
                </a:ext>
              </a:extLst>
            </p:cNvPr>
            <p:cNvSpPr/>
            <p:nvPr/>
          </p:nvSpPr>
          <p:spPr>
            <a:xfrm>
              <a:off x="8173685" y="2977782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0 w 0"/>
                <a:gd name="connsiteY1" fmla="*/ 0 h 0"/>
                <a:gd name="connsiteX2" fmla="*/ 78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0" y="0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6" name="Freeform: Shape 2400">
              <a:extLst>
                <a:ext uri="{FF2B5EF4-FFF2-40B4-BE49-F238E27FC236}">
                  <a16:creationId xmlns:a16="http://schemas.microsoft.com/office/drawing/2014/main" id="{C8533B0C-C47A-4A9A-A978-CAF26EE47366}"/>
                </a:ext>
              </a:extLst>
            </p:cNvPr>
            <p:cNvSpPr/>
            <p:nvPr/>
          </p:nvSpPr>
          <p:spPr>
            <a:xfrm>
              <a:off x="7288082" y="3148529"/>
              <a:ext cx="3934" cy="3934"/>
            </a:xfrm>
            <a:custGeom>
              <a:avLst/>
              <a:gdLst>
                <a:gd name="connsiteX0" fmla="*/ 2360 w 0"/>
                <a:gd name="connsiteY0" fmla="*/ 0 h 3934"/>
                <a:gd name="connsiteX1" fmla="*/ 0 w 0"/>
                <a:gd name="connsiteY1" fmla="*/ 2754 h 3934"/>
                <a:gd name="connsiteX2" fmla="*/ 2754 w 0"/>
                <a:gd name="connsiteY2" fmla="*/ 4328 h 3934"/>
                <a:gd name="connsiteX3" fmla="*/ 3148 w 0"/>
                <a:gd name="connsiteY3" fmla="*/ 1180 h 3934"/>
                <a:gd name="connsiteX4" fmla="*/ 2360 w 0"/>
                <a:gd name="connsiteY4" fmla="*/ 0 h 3934"/>
                <a:gd name="connsiteX5" fmla="*/ 2360 w 0"/>
                <a:gd name="connsiteY5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3934">
                  <a:moveTo>
                    <a:pt x="2360" y="0"/>
                  </a:moveTo>
                  <a:lnTo>
                    <a:pt x="0" y="2754"/>
                  </a:lnTo>
                  <a:lnTo>
                    <a:pt x="2754" y="4328"/>
                  </a:lnTo>
                  <a:lnTo>
                    <a:pt x="3148" y="1180"/>
                  </a:lnTo>
                  <a:lnTo>
                    <a:pt x="2360" y="0"/>
                  </a:lnTo>
                  <a:lnTo>
                    <a:pt x="236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7" name="Freeform: Shape 2401">
              <a:extLst>
                <a:ext uri="{FF2B5EF4-FFF2-40B4-BE49-F238E27FC236}">
                  <a16:creationId xmlns:a16="http://schemas.microsoft.com/office/drawing/2014/main" id="{B3D18942-81B4-4FC1-8B46-FB0C556BC2A6}"/>
                </a:ext>
              </a:extLst>
            </p:cNvPr>
            <p:cNvSpPr/>
            <p:nvPr/>
          </p:nvSpPr>
          <p:spPr>
            <a:xfrm>
              <a:off x="8187848" y="2988011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2754 w 0"/>
                <a:gd name="connsiteY1" fmla="*/ 0 h 0"/>
                <a:gd name="connsiteX2" fmla="*/ 0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2754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8" name="Freeform: Shape 2402">
              <a:extLst>
                <a:ext uri="{FF2B5EF4-FFF2-40B4-BE49-F238E27FC236}">
                  <a16:creationId xmlns:a16="http://schemas.microsoft.com/office/drawing/2014/main" id="{F1D67DC3-423B-4075-97AA-50051A347887}"/>
                </a:ext>
              </a:extLst>
            </p:cNvPr>
            <p:cNvSpPr/>
            <p:nvPr/>
          </p:nvSpPr>
          <p:spPr>
            <a:xfrm>
              <a:off x="4174899" y="3103678"/>
              <a:ext cx="3934" cy="3934"/>
            </a:xfrm>
            <a:custGeom>
              <a:avLst/>
              <a:gdLst>
                <a:gd name="connsiteX0" fmla="*/ 2754 w 3934"/>
                <a:gd name="connsiteY0" fmla="*/ 1574 h 0"/>
                <a:gd name="connsiteX1" fmla="*/ 0 w 3934"/>
                <a:gd name="connsiteY1" fmla="*/ 3541 h 0"/>
                <a:gd name="connsiteX2" fmla="*/ 2754 w 3934"/>
                <a:gd name="connsiteY2" fmla="*/ 2754 h 0"/>
                <a:gd name="connsiteX3" fmla="*/ 5508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2754" y="1574"/>
                  </a:moveTo>
                  <a:lnTo>
                    <a:pt x="0" y="3541"/>
                  </a:lnTo>
                  <a:lnTo>
                    <a:pt x="2754" y="2754"/>
                  </a:lnTo>
                  <a:lnTo>
                    <a:pt x="550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9" name="Freeform: Shape 2403">
              <a:extLst>
                <a:ext uri="{FF2B5EF4-FFF2-40B4-BE49-F238E27FC236}">
                  <a16:creationId xmlns:a16="http://schemas.microsoft.com/office/drawing/2014/main" id="{259553F6-9C28-4167-B5A7-474270D4A375}"/>
                </a:ext>
              </a:extLst>
            </p:cNvPr>
            <p:cNvSpPr/>
            <p:nvPr/>
          </p:nvSpPr>
          <p:spPr>
            <a:xfrm>
              <a:off x="4645043" y="1880909"/>
              <a:ext cx="3934" cy="3934"/>
            </a:xfrm>
            <a:custGeom>
              <a:avLst/>
              <a:gdLst>
                <a:gd name="connsiteX0" fmla="*/ 2754 w 0"/>
                <a:gd name="connsiteY0" fmla="*/ 1967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967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0" name="Freeform: Shape 2404">
              <a:extLst>
                <a:ext uri="{FF2B5EF4-FFF2-40B4-BE49-F238E27FC236}">
                  <a16:creationId xmlns:a16="http://schemas.microsoft.com/office/drawing/2014/main" id="{AA7A9635-5902-4FD9-A8F1-CE68FCBD41D2}"/>
                </a:ext>
              </a:extLst>
            </p:cNvPr>
            <p:cNvSpPr/>
            <p:nvPr/>
          </p:nvSpPr>
          <p:spPr>
            <a:xfrm>
              <a:off x="4665108" y="1916318"/>
              <a:ext cx="3934" cy="3934"/>
            </a:xfrm>
            <a:custGeom>
              <a:avLst/>
              <a:gdLst>
                <a:gd name="connsiteX0" fmla="*/ 3147 w 3934"/>
                <a:gd name="connsiteY0" fmla="*/ 0 h 0"/>
                <a:gd name="connsiteX1" fmla="*/ 0 w 3934"/>
                <a:gd name="connsiteY1" fmla="*/ 1180 h 0"/>
                <a:gd name="connsiteX2" fmla="*/ 3147 w 3934"/>
                <a:gd name="connsiteY2" fmla="*/ 2361 h 0"/>
                <a:gd name="connsiteX3" fmla="*/ 5901 w 3934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147" y="0"/>
                  </a:moveTo>
                  <a:lnTo>
                    <a:pt x="0" y="1180"/>
                  </a:lnTo>
                  <a:lnTo>
                    <a:pt x="3147" y="2361"/>
                  </a:lnTo>
                  <a:lnTo>
                    <a:pt x="590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1" name="Freeform: Shape 2405">
              <a:extLst>
                <a:ext uri="{FF2B5EF4-FFF2-40B4-BE49-F238E27FC236}">
                  <a16:creationId xmlns:a16="http://schemas.microsoft.com/office/drawing/2014/main" id="{E5A9508B-124A-4AF6-9C2F-3CC1409320BF}"/>
                </a:ext>
              </a:extLst>
            </p:cNvPr>
            <p:cNvSpPr/>
            <p:nvPr/>
          </p:nvSpPr>
          <p:spPr>
            <a:xfrm>
              <a:off x="4207160" y="2115391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574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574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2" name="Freeform: Shape 2406">
              <a:extLst>
                <a:ext uri="{FF2B5EF4-FFF2-40B4-BE49-F238E27FC236}">
                  <a16:creationId xmlns:a16="http://schemas.microsoft.com/office/drawing/2014/main" id="{ED350A7F-33DB-45DA-B7E4-2EAFEB419EC4}"/>
                </a:ext>
              </a:extLst>
            </p:cNvPr>
            <p:cNvSpPr/>
            <p:nvPr/>
          </p:nvSpPr>
          <p:spPr>
            <a:xfrm>
              <a:off x="4230372" y="2099654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275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3" name="Freeform: Shape 2407">
              <a:extLst>
                <a:ext uri="{FF2B5EF4-FFF2-40B4-BE49-F238E27FC236}">
                  <a16:creationId xmlns:a16="http://schemas.microsoft.com/office/drawing/2014/main" id="{E616AF69-A183-4276-932C-3631E4616064}"/>
                </a:ext>
              </a:extLst>
            </p:cNvPr>
            <p:cNvSpPr/>
            <p:nvPr/>
          </p:nvSpPr>
          <p:spPr>
            <a:xfrm>
              <a:off x="4268141" y="2197618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3147 h 0"/>
                <a:gd name="connsiteX2" fmla="*/ 157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3147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4" name="Freeform: Shape 2408">
              <a:extLst>
                <a:ext uri="{FF2B5EF4-FFF2-40B4-BE49-F238E27FC236}">
                  <a16:creationId xmlns:a16="http://schemas.microsoft.com/office/drawing/2014/main" id="{00E7DB62-8791-4DD5-B195-ED850BFE7CD4}"/>
                </a:ext>
              </a:extLst>
            </p:cNvPr>
            <p:cNvSpPr/>
            <p:nvPr/>
          </p:nvSpPr>
          <p:spPr>
            <a:xfrm>
              <a:off x="2778235" y="205559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2754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2754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5" name="Freeform: Shape 2409">
              <a:extLst>
                <a:ext uri="{FF2B5EF4-FFF2-40B4-BE49-F238E27FC236}">
                  <a16:creationId xmlns:a16="http://schemas.microsoft.com/office/drawing/2014/main" id="{052C6E09-A91D-4B02-98A7-75E4E27911A2}"/>
                </a:ext>
              </a:extLst>
            </p:cNvPr>
            <p:cNvSpPr/>
            <p:nvPr/>
          </p:nvSpPr>
          <p:spPr>
            <a:xfrm>
              <a:off x="2782562" y="2008379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18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6" name="Freeform: Shape 2410">
              <a:extLst>
                <a:ext uri="{FF2B5EF4-FFF2-40B4-BE49-F238E27FC236}">
                  <a16:creationId xmlns:a16="http://schemas.microsoft.com/office/drawing/2014/main" id="{8D2F7FF8-B75C-45D2-BCD8-DF5F9D72AB95}"/>
                </a:ext>
              </a:extLst>
            </p:cNvPr>
            <p:cNvSpPr/>
            <p:nvPr/>
          </p:nvSpPr>
          <p:spPr>
            <a:xfrm>
              <a:off x="2793578" y="1897040"/>
              <a:ext cx="3934" cy="3934"/>
            </a:xfrm>
            <a:custGeom>
              <a:avLst/>
              <a:gdLst>
                <a:gd name="connsiteX0" fmla="*/ 2361 w 0"/>
                <a:gd name="connsiteY0" fmla="*/ 0 h 0"/>
                <a:gd name="connsiteX1" fmla="*/ 0 w 0"/>
                <a:gd name="connsiteY1" fmla="*/ 3147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1" y="0"/>
                  </a:moveTo>
                  <a:lnTo>
                    <a:pt x="0" y="3147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7" name="Freeform: Shape 2411">
              <a:extLst>
                <a:ext uri="{FF2B5EF4-FFF2-40B4-BE49-F238E27FC236}">
                  <a16:creationId xmlns:a16="http://schemas.microsoft.com/office/drawing/2014/main" id="{C2738E3E-FFBA-4E0F-9918-A33AEE32BF96}"/>
                </a:ext>
              </a:extLst>
            </p:cNvPr>
            <p:cNvSpPr/>
            <p:nvPr/>
          </p:nvSpPr>
          <p:spPr>
            <a:xfrm>
              <a:off x="2795546" y="2004839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393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393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8" name="Freeform: Shape 2412">
              <a:extLst>
                <a:ext uri="{FF2B5EF4-FFF2-40B4-BE49-F238E27FC236}">
                  <a16:creationId xmlns:a16="http://schemas.microsoft.com/office/drawing/2014/main" id="{C5F10096-5F17-40D4-B726-FABE2DD3A46D}"/>
                </a:ext>
              </a:extLst>
            </p:cNvPr>
            <p:cNvSpPr/>
            <p:nvPr/>
          </p:nvSpPr>
          <p:spPr>
            <a:xfrm>
              <a:off x="2796332" y="1919072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1180 w 0"/>
                <a:gd name="connsiteY1" fmla="*/ 0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1180" y="0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9" name="Freeform: Shape 2413">
              <a:extLst>
                <a:ext uri="{FF2B5EF4-FFF2-40B4-BE49-F238E27FC236}">
                  <a16:creationId xmlns:a16="http://schemas.microsoft.com/office/drawing/2014/main" id="{E03D5BC9-C43C-438A-B3C3-215E17AE1C0E}"/>
                </a:ext>
              </a:extLst>
            </p:cNvPr>
            <p:cNvSpPr/>
            <p:nvPr/>
          </p:nvSpPr>
          <p:spPr>
            <a:xfrm>
              <a:off x="2797513" y="1951333"/>
              <a:ext cx="3934" cy="3934"/>
            </a:xfrm>
            <a:custGeom>
              <a:avLst/>
              <a:gdLst>
                <a:gd name="connsiteX0" fmla="*/ 2361 w 3934"/>
                <a:gd name="connsiteY0" fmla="*/ 1180 h 3934"/>
                <a:gd name="connsiteX1" fmla="*/ 0 w 3934"/>
                <a:gd name="connsiteY1" fmla="*/ 3934 h 3934"/>
                <a:gd name="connsiteX2" fmla="*/ 3147 w 3934"/>
                <a:gd name="connsiteY2" fmla="*/ 2754 h 3934"/>
                <a:gd name="connsiteX3" fmla="*/ 5114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2361" y="1180"/>
                  </a:moveTo>
                  <a:lnTo>
                    <a:pt x="0" y="3934"/>
                  </a:lnTo>
                  <a:lnTo>
                    <a:pt x="3147" y="2754"/>
                  </a:lnTo>
                  <a:lnTo>
                    <a:pt x="511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20" name="Freeform: Shape 2414">
              <a:extLst>
                <a:ext uri="{FF2B5EF4-FFF2-40B4-BE49-F238E27FC236}">
                  <a16:creationId xmlns:a16="http://schemas.microsoft.com/office/drawing/2014/main" id="{8A0F0630-EA20-4800-80D6-52D8633AE947}"/>
                </a:ext>
              </a:extLst>
            </p:cNvPr>
            <p:cNvSpPr/>
            <p:nvPr/>
          </p:nvSpPr>
          <p:spPr>
            <a:xfrm>
              <a:off x="2720008" y="1937563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787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78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21" name="Freeform: Shape 2415">
              <a:extLst>
                <a:ext uri="{FF2B5EF4-FFF2-40B4-BE49-F238E27FC236}">
                  <a16:creationId xmlns:a16="http://schemas.microsoft.com/office/drawing/2014/main" id="{C87ECC9D-DAE6-4685-A48D-DB297EE21D81}"/>
                </a:ext>
              </a:extLst>
            </p:cNvPr>
            <p:cNvSpPr/>
            <p:nvPr/>
          </p:nvSpPr>
          <p:spPr>
            <a:xfrm>
              <a:off x="2784136" y="1914351"/>
              <a:ext cx="3934" cy="3934"/>
            </a:xfrm>
            <a:custGeom>
              <a:avLst/>
              <a:gdLst>
                <a:gd name="connsiteX0" fmla="*/ 393 w 0"/>
                <a:gd name="connsiteY0" fmla="*/ 1180 h 0"/>
                <a:gd name="connsiteX1" fmla="*/ 0 w 0"/>
                <a:gd name="connsiteY1" fmla="*/ 1574 h 0"/>
                <a:gd name="connsiteX2" fmla="*/ 393 w 0"/>
                <a:gd name="connsiteY2" fmla="*/ 1967 h 0"/>
                <a:gd name="connsiteX3" fmla="*/ 3541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93" y="1180"/>
                  </a:moveTo>
                  <a:lnTo>
                    <a:pt x="0" y="1574"/>
                  </a:lnTo>
                  <a:lnTo>
                    <a:pt x="393" y="1967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22" name="Freeform: Shape 2416">
              <a:extLst>
                <a:ext uri="{FF2B5EF4-FFF2-40B4-BE49-F238E27FC236}">
                  <a16:creationId xmlns:a16="http://schemas.microsoft.com/office/drawing/2014/main" id="{BCC99E9F-6EF9-4A9C-AB96-1467534FCE42}"/>
                </a:ext>
              </a:extLst>
            </p:cNvPr>
            <p:cNvSpPr/>
            <p:nvPr/>
          </p:nvSpPr>
          <p:spPr>
            <a:xfrm>
              <a:off x="9605758" y="3091482"/>
              <a:ext cx="141634" cy="204582"/>
            </a:xfrm>
            <a:custGeom>
              <a:avLst/>
              <a:gdLst>
                <a:gd name="connsiteX0" fmla="*/ 12196 w 141633"/>
                <a:gd name="connsiteY0" fmla="*/ 6688 h 204581"/>
                <a:gd name="connsiteX1" fmla="*/ 13376 w 141633"/>
                <a:gd name="connsiteY1" fmla="*/ 9836 h 204581"/>
                <a:gd name="connsiteX2" fmla="*/ 12589 w 141633"/>
                <a:gd name="connsiteY2" fmla="*/ 12590 h 204581"/>
                <a:gd name="connsiteX3" fmla="*/ 11803 w 141633"/>
                <a:gd name="connsiteY3" fmla="*/ 14950 h 204581"/>
                <a:gd name="connsiteX4" fmla="*/ 11803 w 141633"/>
                <a:gd name="connsiteY4" fmla="*/ 15344 h 204581"/>
                <a:gd name="connsiteX5" fmla="*/ 11409 w 141633"/>
                <a:gd name="connsiteY5" fmla="*/ 18491 h 204581"/>
                <a:gd name="connsiteX6" fmla="*/ 11803 w 141633"/>
                <a:gd name="connsiteY6" fmla="*/ 19278 h 204581"/>
                <a:gd name="connsiteX7" fmla="*/ 11409 w 141633"/>
                <a:gd name="connsiteY7" fmla="*/ 24786 h 204581"/>
                <a:gd name="connsiteX8" fmla="*/ 11409 w 141633"/>
                <a:gd name="connsiteY8" fmla="*/ 25179 h 204581"/>
                <a:gd name="connsiteX9" fmla="*/ 11015 w 141633"/>
                <a:gd name="connsiteY9" fmla="*/ 27933 h 204581"/>
                <a:gd name="connsiteX10" fmla="*/ 11803 w 141633"/>
                <a:gd name="connsiteY10" fmla="*/ 31081 h 204581"/>
                <a:gd name="connsiteX11" fmla="*/ 10229 w 141633"/>
                <a:gd name="connsiteY11" fmla="*/ 33835 h 204581"/>
                <a:gd name="connsiteX12" fmla="*/ 12589 w 141633"/>
                <a:gd name="connsiteY12" fmla="*/ 37376 h 204581"/>
                <a:gd name="connsiteX13" fmla="*/ 14163 w 141633"/>
                <a:gd name="connsiteY13" fmla="*/ 39736 h 204581"/>
                <a:gd name="connsiteX14" fmla="*/ 14557 w 141633"/>
                <a:gd name="connsiteY14" fmla="*/ 40916 h 204581"/>
                <a:gd name="connsiteX15" fmla="*/ 12982 w 141633"/>
                <a:gd name="connsiteY15" fmla="*/ 37376 h 204581"/>
                <a:gd name="connsiteX16" fmla="*/ 13770 w 141633"/>
                <a:gd name="connsiteY16" fmla="*/ 44457 h 204581"/>
                <a:gd name="connsiteX17" fmla="*/ 13770 w 141633"/>
                <a:gd name="connsiteY17" fmla="*/ 44457 h 204581"/>
                <a:gd name="connsiteX18" fmla="*/ 13770 w 141633"/>
                <a:gd name="connsiteY18" fmla="*/ 47604 h 204581"/>
                <a:gd name="connsiteX19" fmla="*/ 14163 w 141633"/>
                <a:gd name="connsiteY19" fmla="*/ 47998 h 204581"/>
                <a:gd name="connsiteX20" fmla="*/ 15343 w 141633"/>
                <a:gd name="connsiteY20" fmla="*/ 57440 h 204581"/>
                <a:gd name="connsiteX21" fmla="*/ 15737 w 141633"/>
                <a:gd name="connsiteY21" fmla="*/ 53113 h 204581"/>
                <a:gd name="connsiteX22" fmla="*/ 16130 w 141633"/>
                <a:gd name="connsiteY22" fmla="*/ 54686 h 204581"/>
                <a:gd name="connsiteX23" fmla="*/ 15343 w 141633"/>
                <a:gd name="connsiteY23" fmla="*/ 57440 h 204581"/>
                <a:gd name="connsiteX24" fmla="*/ 15343 w 141633"/>
                <a:gd name="connsiteY24" fmla="*/ 58227 h 204581"/>
                <a:gd name="connsiteX25" fmla="*/ 13770 w 141633"/>
                <a:gd name="connsiteY25" fmla="*/ 61374 h 204581"/>
                <a:gd name="connsiteX26" fmla="*/ 14557 w 141633"/>
                <a:gd name="connsiteY26" fmla="*/ 64915 h 204581"/>
                <a:gd name="connsiteX27" fmla="*/ 13770 w 141633"/>
                <a:gd name="connsiteY27" fmla="*/ 68456 h 204581"/>
                <a:gd name="connsiteX28" fmla="*/ 14557 w 141633"/>
                <a:gd name="connsiteY28" fmla="*/ 71210 h 204581"/>
                <a:gd name="connsiteX29" fmla="*/ 15343 w 141633"/>
                <a:gd name="connsiteY29" fmla="*/ 73177 h 204581"/>
                <a:gd name="connsiteX30" fmla="*/ 15737 w 141633"/>
                <a:gd name="connsiteY30" fmla="*/ 75931 h 204581"/>
                <a:gd name="connsiteX31" fmla="*/ 16524 w 141633"/>
                <a:gd name="connsiteY31" fmla="*/ 79079 h 204581"/>
                <a:gd name="connsiteX32" fmla="*/ 19278 w 141633"/>
                <a:gd name="connsiteY32" fmla="*/ 81833 h 204581"/>
                <a:gd name="connsiteX33" fmla="*/ 18884 w 141633"/>
                <a:gd name="connsiteY33" fmla="*/ 84980 h 204581"/>
                <a:gd name="connsiteX34" fmla="*/ 17310 w 141633"/>
                <a:gd name="connsiteY34" fmla="*/ 86554 h 204581"/>
                <a:gd name="connsiteX35" fmla="*/ 16524 w 141633"/>
                <a:gd name="connsiteY35" fmla="*/ 86554 h 204581"/>
                <a:gd name="connsiteX36" fmla="*/ 13770 w 141633"/>
                <a:gd name="connsiteY36" fmla="*/ 87734 h 204581"/>
                <a:gd name="connsiteX37" fmla="*/ 12196 w 141633"/>
                <a:gd name="connsiteY37" fmla="*/ 87341 h 204581"/>
                <a:gd name="connsiteX38" fmla="*/ 11015 w 141633"/>
                <a:gd name="connsiteY38" fmla="*/ 85767 h 204581"/>
                <a:gd name="connsiteX39" fmla="*/ 10622 w 141633"/>
                <a:gd name="connsiteY39" fmla="*/ 85374 h 204581"/>
                <a:gd name="connsiteX40" fmla="*/ 11409 w 141633"/>
                <a:gd name="connsiteY40" fmla="*/ 84980 h 204581"/>
                <a:gd name="connsiteX41" fmla="*/ 9048 w 141633"/>
                <a:gd name="connsiteY41" fmla="*/ 82226 h 204581"/>
                <a:gd name="connsiteX42" fmla="*/ 10622 w 141633"/>
                <a:gd name="connsiteY42" fmla="*/ 85374 h 204581"/>
                <a:gd name="connsiteX43" fmla="*/ 9442 w 141633"/>
                <a:gd name="connsiteY43" fmla="*/ 83013 h 204581"/>
                <a:gd name="connsiteX44" fmla="*/ 6688 w 141633"/>
                <a:gd name="connsiteY44" fmla="*/ 81833 h 204581"/>
                <a:gd name="connsiteX45" fmla="*/ 3934 w 141633"/>
                <a:gd name="connsiteY45" fmla="*/ 78685 h 204581"/>
                <a:gd name="connsiteX46" fmla="*/ 3934 w 141633"/>
                <a:gd name="connsiteY46" fmla="*/ 78292 h 204581"/>
                <a:gd name="connsiteX47" fmla="*/ 2754 w 141633"/>
                <a:gd name="connsiteY47" fmla="*/ 75538 h 204581"/>
                <a:gd name="connsiteX48" fmla="*/ 0 w 141633"/>
                <a:gd name="connsiteY48" fmla="*/ 77898 h 204581"/>
                <a:gd name="connsiteX49" fmla="*/ 0 w 141633"/>
                <a:gd name="connsiteY49" fmla="*/ 81046 h 204581"/>
                <a:gd name="connsiteX50" fmla="*/ 787 w 141633"/>
                <a:gd name="connsiteY50" fmla="*/ 84193 h 204581"/>
                <a:gd name="connsiteX51" fmla="*/ 393 w 141633"/>
                <a:gd name="connsiteY51" fmla="*/ 85374 h 204581"/>
                <a:gd name="connsiteX52" fmla="*/ 787 w 141633"/>
                <a:gd name="connsiteY52" fmla="*/ 88128 h 204581"/>
                <a:gd name="connsiteX53" fmla="*/ 1573 w 141633"/>
                <a:gd name="connsiteY53" fmla="*/ 90881 h 204581"/>
                <a:gd name="connsiteX54" fmla="*/ 5508 w 141633"/>
                <a:gd name="connsiteY54" fmla="*/ 95603 h 204581"/>
                <a:gd name="connsiteX55" fmla="*/ 5901 w 141633"/>
                <a:gd name="connsiteY55" fmla="*/ 98357 h 204581"/>
                <a:gd name="connsiteX56" fmla="*/ 7869 w 141633"/>
                <a:gd name="connsiteY56" fmla="*/ 104258 h 204581"/>
                <a:gd name="connsiteX57" fmla="*/ 7081 w 141633"/>
                <a:gd name="connsiteY57" fmla="*/ 106618 h 204581"/>
                <a:gd name="connsiteX58" fmla="*/ 8655 w 141633"/>
                <a:gd name="connsiteY58" fmla="*/ 109766 h 204581"/>
                <a:gd name="connsiteX59" fmla="*/ 10622 w 141633"/>
                <a:gd name="connsiteY59" fmla="*/ 112520 h 204581"/>
                <a:gd name="connsiteX60" fmla="*/ 11015 w 141633"/>
                <a:gd name="connsiteY60" fmla="*/ 113700 h 204581"/>
                <a:gd name="connsiteX61" fmla="*/ 11015 w 141633"/>
                <a:gd name="connsiteY61" fmla="*/ 114881 h 204581"/>
                <a:gd name="connsiteX62" fmla="*/ 12196 w 141633"/>
                <a:gd name="connsiteY62" fmla="*/ 117241 h 204581"/>
                <a:gd name="connsiteX63" fmla="*/ 13770 w 141633"/>
                <a:gd name="connsiteY63" fmla="*/ 121569 h 204581"/>
                <a:gd name="connsiteX64" fmla="*/ 13770 w 141633"/>
                <a:gd name="connsiteY64" fmla="*/ 122749 h 204581"/>
                <a:gd name="connsiteX65" fmla="*/ 13770 w 141633"/>
                <a:gd name="connsiteY65" fmla="*/ 124323 h 204581"/>
                <a:gd name="connsiteX66" fmla="*/ 14557 w 141633"/>
                <a:gd name="connsiteY66" fmla="*/ 127077 h 204581"/>
                <a:gd name="connsiteX67" fmla="*/ 15343 w 141633"/>
                <a:gd name="connsiteY67" fmla="*/ 129044 h 204581"/>
                <a:gd name="connsiteX68" fmla="*/ 14949 w 141633"/>
                <a:gd name="connsiteY68" fmla="*/ 128650 h 204581"/>
                <a:gd name="connsiteX69" fmla="*/ 15737 w 141633"/>
                <a:gd name="connsiteY69" fmla="*/ 129437 h 204581"/>
                <a:gd name="connsiteX70" fmla="*/ 15737 w 141633"/>
                <a:gd name="connsiteY70" fmla="*/ 129831 h 204581"/>
                <a:gd name="connsiteX71" fmla="*/ 15737 w 141633"/>
                <a:gd name="connsiteY71" fmla="*/ 129831 h 204581"/>
                <a:gd name="connsiteX72" fmla="*/ 16917 w 141633"/>
                <a:gd name="connsiteY72" fmla="*/ 131404 h 204581"/>
                <a:gd name="connsiteX73" fmla="*/ 17704 w 141633"/>
                <a:gd name="connsiteY73" fmla="*/ 131011 h 204581"/>
                <a:gd name="connsiteX74" fmla="*/ 16130 w 141633"/>
                <a:gd name="connsiteY74" fmla="*/ 129831 h 204581"/>
                <a:gd name="connsiteX75" fmla="*/ 18491 w 141633"/>
                <a:gd name="connsiteY75" fmla="*/ 129831 h 204581"/>
                <a:gd name="connsiteX76" fmla="*/ 18097 w 141633"/>
                <a:gd name="connsiteY76" fmla="*/ 127077 h 204581"/>
                <a:gd name="connsiteX77" fmla="*/ 21245 w 141633"/>
                <a:gd name="connsiteY77" fmla="*/ 129437 h 204581"/>
                <a:gd name="connsiteX78" fmla="*/ 20064 w 141633"/>
                <a:gd name="connsiteY78" fmla="*/ 130618 h 204581"/>
                <a:gd name="connsiteX79" fmla="*/ 20458 w 141633"/>
                <a:gd name="connsiteY79" fmla="*/ 132978 h 204581"/>
                <a:gd name="connsiteX80" fmla="*/ 19671 w 141633"/>
                <a:gd name="connsiteY80" fmla="*/ 131011 h 204581"/>
                <a:gd name="connsiteX81" fmla="*/ 17704 w 141633"/>
                <a:gd name="connsiteY81" fmla="*/ 131404 h 204581"/>
                <a:gd name="connsiteX82" fmla="*/ 20458 w 141633"/>
                <a:gd name="connsiteY82" fmla="*/ 133372 h 204581"/>
                <a:gd name="connsiteX83" fmla="*/ 20458 w 141633"/>
                <a:gd name="connsiteY83" fmla="*/ 133765 h 204581"/>
                <a:gd name="connsiteX84" fmla="*/ 20851 w 141633"/>
                <a:gd name="connsiteY84" fmla="*/ 133765 h 204581"/>
                <a:gd name="connsiteX85" fmla="*/ 20851 w 141633"/>
                <a:gd name="connsiteY85" fmla="*/ 133765 h 204581"/>
                <a:gd name="connsiteX86" fmla="*/ 23998 w 141633"/>
                <a:gd name="connsiteY86" fmla="*/ 135732 h 204581"/>
                <a:gd name="connsiteX87" fmla="*/ 24785 w 141633"/>
                <a:gd name="connsiteY87" fmla="*/ 136912 h 204581"/>
                <a:gd name="connsiteX88" fmla="*/ 25179 w 141633"/>
                <a:gd name="connsiteY88" fmla="*/ 137699 h 204581"/>
                <a:gd name="connsiteX89" fmla="*/ 25966 w 141633"/>
                <a:gd name="connsiteY89" fmla="*/ 140847 h 204581"/>
                <a:gd name="connsiteX90" fmla="*/ 28719 w 141633"/>
                <a:gd name="connsiteY90" fmla="*/ 142420 h 204581"/>
                <a:gd name="connsiteX91" fmla="*/ 27933 w 141633"/>
                <a:gd name="connsiteY91" fmla="*/ 141240 h 204581"/>
                <a:gd name="connsiteX92" fmla="*/ 29113 w 141633"/>
                <a:gd name="connsiteY92" fmla="*/ 141633 h 204581"/>
                <a:gd name="connsiteX93" fmla="*/ 31867 w 141633"/>
                <a:gd name="connsiteY93" fmla="*/ 141240 h 204581"/>
                <a:gd name="connsiteX94" fmla="*/ 31867 w 141633"/>
                <a:gd name="connsiteY94" fmla="*/ 138486 h 204581"/>
                <a:gd name="connsiteX95" fmla="*/ 31080 w 141633"/>
                <a:gd name="connsiteY95" fmla="*/ 135339 h 204581"/>
                <a:gd name="connsiteX96" fmla="*/ 29507 w 141633"/>
                <a:gd name="connsiteY96" fmla="*/ 131798 h 204581"/>
                <a:gd name="connsiteX97" fmla="*/ 29113 w 141633"/>
                <a:gd name="connsiteY97" fmla="*/ 128257 h 204581"/>
                <a:gd name="connsiteX98" fmla="*/ 29900 w 141633"/>
                <a:gd name="connsiteY98" fmla="*/ 128257 h 204581"/>
                <a:gd name="connsiteX99" fmla="*/ 31474 w 141633"/>
                <a:gd name="connsiteY99" fmla="*/ 128650 h 204581"/>
                <a:gd name="connsiteX100" fmla="*/ 32654 w 141633"/>
                <a:gd name="connsiteY100" fmla="*/ 130224 h 204581"/>
                <a:gd name="connsiteX101" fmla="*/ 33047 w 141633"/>
                <a:gd name="connsiteY101" fmla="*/ 130224 h 204581"/>
                <a:gd name="connsiteX102" fmla="*/ 36982 w 141633"/>
                <a:gd name="connsiteY102" fmla="*/ 130618 h 204581"/>
                <a:gd name="connsiteX103" fmla="*/ 41310 w 141633"/>
                <a:gd name="connsiteY103" fmla="*/ 133372 h 204581"/>
                <a:gd name="connsiteX104" fmla="*/ 42489 w 141633"/>
                <a:gd name="connsiteY104" fmla="*/ 134945 h 204581"/>
                <a:gd name="connsiteX105" fmla="*/ 42883 w 141633"/>
                <a:gd name="connsiteY105" fmla="*/ 136519 h 204581"/>
                <a:gd name="connsiteX106" fmla="*/ 43670 w 141633"/>
                <a:gd name="connsiteY106" fmla="*/ 140453 h 204581"/>
                <a:gd name="connsiteX107" fmla="*/ 40916 w 141633"/>
                <a:gd name="connsiteY107" fmla="*/ 140847 h 204581"/>
                <a:gd name="connsiteX108" fmla="*/ 39343 w 141633"/>
                <a:gd name="connsiteY108" fmla="*/ 143601 h 204581"/>
                <a:gd name="connsiteX109" fmla="*/ 37768 w 141633"/>
                <a:gd name="connsiteY109" fmla="*/ 145174 h 204581"/>
                <a:gd name="connsiteX110" fmla="*/ 33441 w 141633"/>
                <a:gd name="connsiteY110" fmla="*/ 148715 h 204581"/>
                <a:gd name="connsiteX111" fmla="*/ 33834 w 141633"/>
                <a:gd name="connsiteY111" fmla="*/ 150682 h 204581"/>
                <a:gd name="connsiteX112" fmla="*/ 35015 w 141633"/>
                <a:gd name="connsiteY112" fmla="*/ 153436 h 204581"/>
                <a:gd name="connsiteX113" fmla="*/ 35015 w 141633"/>
                <a:gd name="connsiteY113" fmla="*/ 153830 h 204581"/>
                <a:gd name="connsiteX114" fmla="*/ 35408 w 141633"/>
                <a:gd name="connsiteY114" fmla="*/ 156584 h 204581"/>
                <a:gd name="connsiteX115" fmla="*/ 35408 w 141633"/>
                <a:gd name="connsiteY115" fmla="*/ 157764 h 204581"/>
                <a:gd name="connsiteX116" fmla="*/ 35015 w 141633"/>
                <a:gd name="connsiteY116" fmla="*/ 156190 h 204581"/>
                <a:gd name="connsiteX117" fmla="*/ 35015 w 141633"/>
                <a:gd name="connsiteY117" fmla="*/ 158944 h 204581"/>
                <a:gd name="connsiteX118" fmla="*/ 35408 w 141633"/>
                <a:gd name="connsiteY118" fmla="*/ 162092 h 204581"/>
                <a:gd name="connsiteX119" fmla="*/ 36982 w 141633"/>
                <a:gd name="connsiteY119" fmla="*/ 163665 h 204581"/>
                <a:gd name="connsiteX120" fmla="*/ 36588 w 141633"/>
                <a:gd name="connsiteY120" fmla="*/ 162092 h 204581"/>
                <a:gd name="connsiteX121" fmla="*/ 38555 w 141633"/>
                <a:gd name="connsiteY121" fmla="*/ 161305 h 204581"/>
                <a:gd name="connsiteX122" fmla="*/ 37768 w 141633"/>
                <a:gd name="connsiteY122" fmla="*/ 158551 h 204581"/>
                <a:gd name="connsiteX123" fmla="*/ 40522 w 141633"/>
                <a:gd name="connsiteY123" fmla="*/ 158944 h 204581"/>
                <a:gd name="connsiteX124" fmla="*/ 43277 w 141633"/>
                <a:gd name="connsiteY124" fmla="*/ 160125 h 204581"/>
                <a:gd name="connsiteX125" fmla="*/ 43670 w 141633"/>
                <a:gd name="connsiteY125" fmla="*/ 160911 h 204581"/>
                <a:gd name="connsiteX126" fmla="*/ 44064 w 141633"/>
                <a:gd name="connsiteY126" fmla="*/ 164059 h 204581"/>
                <a:gd name="connsiteX127" fmla="*/ 43670 w 141633"/>
                <a:gd name="connsiteY127" fmla="*/ 166813 h 204581"/>
                <a:gd name="connsiteX128" fmla="*/ 45244 w 141633"/>
                <a:gd name="connsiteY128" fmla="*/ 164059 h 204581"/>
                <a:gd name="connsiteX129" fmla="*/ 47998 w 141633"/>
                <a:gd name="connsiteY129" fmla="*/ 166026 h 204581"/>
                <a:gd name="connsiteX130" fmla="*/ 47604 w 141633"/>
                <a:gd name="connsiteY130" fmla="*/ 169173 h 204581"/>
                <a:gd name="connsiteX131" fmla="*/ 50358 w 141633"/>
                <a:gd name="connsiteY131" fmla="*/ 168780 h 204581"/>
                <a:gd name="connsiteX132" fmla="*/ 53113 w 141633"/>
                <a:gd name="connsiteY132" fmla="*/ 169173 h 204581"/>
                <a:gd name="connsiteX133" fmla="*/ 56259 w 141633"/>
                <a:gd name="connsiteY133" fmla="*/ 168780 h 204581"/>
                <a:gd name="connsiteX134" fmla="*/ 59407 w 141633"/>
                <a:gd name="connsiteY134" fmla="*/ 165632 h 204581"/>
                <a:gd name="connsiteX135" fmla="*/ 59407 w 141633"/>
                <a:gd name="connsiteY135" fmla="*/ 162879 h 204581"/>
                <a:gd name="connsiteX136" fmla="*/ 62161 w 141633"/>
                <a:gd name="connsiteY136" fmla="*/ 160911 h 204581"/>
                <a:gd name="connsiteX137" fmla="*/ 73963 w 141633"/>
                <a:gd name="connsiteY137" fmla="*/ 162879 h 204581"/>
                <a:gd name="connsiteX138" fmla="*/ 80652 w 141633"/>
                <a:gd name="connsiteY138" fmla="*/ 167600 h 204581"/>
                <a:gd name="connsiteX139" fmla="*/ 79472 w 141633"/>
                <a:gd name="connsiteY139" fmla="*/ 166026 h 204581"/>
                <a:gd name="connsiteX140" fmla="*/ 76324 w 141633"/>
                <a:gd name="connsiteY140" fmla="*/ 164059 h 204581"/>
                <a:gd name="connsiteX141" fmla="*/ 74357 w 141633"/>
                <a:gd name="connsiteY141" fmla="*/ 162879 h 204581"/>
                <a:gd name="connsiteX142" fmla="*/ 75931 w 141633"/>
                <a:gd name="connsiteY142" fmla="*/ 163272 h 204581"/>
                <a:gd name="connsiteX143" fmla="*/ 80652 w 141633"/>
                <a:gd name="connsiteY143" fmla="*/ 166813 h 204581"/>
                <a:gd name="connsiteX144" fmla="*/ 81045 w 141633"/>
                <a:gd name="connsiteY144" fmla="*/ 167206 h 204581"/>
                <a:gd name="connsiteX145" fmla="*/ 82226 w 141633"/>
                <a:gd name="connsiteY145" fmla="*/ 168780 h 204581"/>
                <a:gd name="connsiteX146" fmla="*/ 81045 w 141633"/>
                <a:gd name="connsiteY146" fmla="*/ 167993 h 204581"/>
                <a:gd name="connsiteX147" fmla="*/ 81832 w 141633"/>
                <a:gd name="connsiteY147" fmla="*/ 169567 h 204581"/>
                <a:gd name="connsiteX148" fmla="*/ 83012 w 141633"/>
                <a:gd name="connsiteY148" fmla="*/ 170354 h 204581"/>
                <a:gd name="connsiteX149" fmla="*/ 83012 w 141633"/>
                <a:gd name="connsiteY149" fmla="*/ 170354 h 204581"/>
                <a:gd name="connsiteX150" fmla="*/ 83012 w 141633"/>
                <a:gd name="connsiteY150" fmla="*/ 170354 h 204581"/>
                <a:gd name="connsiteX151" fmla="*/ 84587 w 141633"/>
                <a:gd name="connsiteY151" fmla="*/ 171534 h 204581"/>
                <a:gd name="connsiteX152" fmla="*/ 84980 w 141633"/>
                <a:gd name="connsiteY152" fmla="*/ 171140 h 204581"/>
                <a:gd name="connsiteX153" fmla="*/ 84193 w 141633"/>
                <a:gd name="connsiteY153" fmla="*/ 170354 h 204581"/>
                <a:gd name="connsiteX154" fmla="*/ 85766 w 141633"/>
                <a:gd name="connsiteY154" fmla="*/ 170747 h 204581"/>
                <a:gd name="connsiteX155" fmla="*/ 86160 w 141633"/>
                <a:gd name="connsiteY155" fmla="*/ 171534 h 204581"/>
                <a:gd name="connsiteX156" fmla="*/ 86947 w 141633"/>
                <a:gd name="connsiteY156" fmla="*/ 172321 h 204581"/>
                <a:gd name="connsiteX157" fmla="*/ 93635 w 141633"/>
                <a:gd name="connsiteY157" fmla="*/ 182943 h 204581"/>
                <a:gd name="connsiteX158" fmla="*/ 95602 w 141633"/>
                <a:gd name="connsiteY158" fmla="*/ 185304 h 204581"/>
                <a:gd name="connsiteX159" fmla="*/ 98749 w 141633"/>
                <a:gd name="connsiteY159" fmla="*/ 182943 h 204581"/>
                <a:gd name="connsiteX160" fmla="*/ 97569 w 141633"/>
                <a:gd name="connsiteY160" fmla="*/ 180189 h 204581"/>
                <a:gd name="connsiteX161" fmla="*/ 97176 w 141633"/>
                <a:gd name="connsiteY161" fmla="*/ 178222 h 204581"/>
                <a:gd name="connsiteX162" fmla="*/ 97963 w 141633"/>
                <a:gd name="connsiteY162" fmla="*/ 180976 h 204581"/>
                <a:gd name="connsiteX163" fmla="*/ 97569 w 141633"/>
                <a:gd name="connsiteY163" fmla="*/ 178222 h 204581"/>
                <a:gd name="connsiteX164" fmla="*/ 95996 w 141633"/>
                <a:gd name="connsiteY164" fmla="*/ 175075 h 204581"/>
                <a:gd name="connsiteX165" fmla="*/ 96782 w 141633"/>
                <a:gd name="connsiteY165" fmla="*/ 177042 h 204581"/>
                <a:gd name="connsiteX166" fmla="*/ 95209 w 141633"/>
                <a:gd name="connsiteY166" fmla="*/ 174681 h 204581"/>
                <a:gd name="connsiteX167" fmla="*/ 93242 w 141633"/>
                <a:gd name="connsiteY167" fmla="*/ 171534 h 204581"/>
                <a:gd name="connsiteX168" fmla="*/ 94029 w 141633"/>
                <a:gd name="connsiteY168" fmla="*/ 171927 h 204581"/>
                <a:gd name="connsiteX169" fmla="*/ 91275 w 141633"/>
                <a:gd name="connsiteY169" fmla="*/ 169173 h 204581"/>
                <a:gd name="connsiteX170" fmla="*/ 90881 w 141633"/>
                <a:gd name="connsiteY170" fmla="*/ 167600 h 204581"/>
                <a:gd name="connsiteX171" fmla="*/ 90881 w 141633"/>
                <a:gd name="connsiteY171" fmla="*/ 164452 h 204581"/>
                <a:gd name="connsiteX172" fmla="*/ 89700 w 141633"/>
                <a:gd name="connsiteY172" fmla="*/ 161698 h 204581"/>
                <a:gd name="connsiteX173" fmla="*/ 87733 w 141633"/>
                <a:gd name="connsiteY173" fmla="*/ 158944 h 204581"/>
                <a:gd name="connsiteX174" fmla="*/ 88521 w 141633"/>
                <a:gd name="connsiteY174" fmla="*/ 159338 h 204581"/>
                <a:gd name="connsiteX175" fmla="*/ 91668 w 141633"/>
                <a:gd name="connsiteY175" fmla="*/ 158944 h 204581"/>
                <a:gd name="connsiteX176" fmla="*/ 92455 w 141633"/>
                <a:gd name="connsiteY176" fmla="*/ 160125 h 204581"/>
                <a:gd name="connsiteX177" fmla="*/ 95209 w 141633"/>
                <a:gd name="connsiteY177" fmla="*/ 162879 h 204581"/>
                <a:gd name="connsiteX178" fmla="*/ 97963 w 141633"/>
                <a:gd name="connsiteY178" fmla="*/ 163665 h 204581"/>
                <a:gd name="connsiteX179" fmla="*/ 98357 w 141633"/>
                <a:gd name="connsiteY179" fmla="*/ 163665 h 204581"/>
                <a:gd name="connsiteX180" fmla="*/ 98749 w 141633"/>
                <a:gd name="connsiteY180" fmla="*/ 164452 h 204581"/>
                <a:gd name="connsiteX181" fmla="*/ 101503 w 141633"/>
                <a:gd name="connsiteY181" fmla="*/ 167206 h 204581"/>
                <a:gd name="connsiteX182" fmla="*/ 101897 w 141633"/>
                <a:gd name="connsiteY182" fmla="*/ 169960 h 204581"/>
                <a:gd name="connsiteX183" fmla="*/ 104651 w 141633"/>
                <a:gd name="connsiteY183" fmla="*/ 171927 h 204581"/>
                <a:gd name="connsiteX184" fmla="*/ 107405 w 141633"/>
                <a:gd name="connsiteY184" fmla="*/ 173501 h 204581"/>
                <a:gd name="connsiteX185" fmla="*/ 107798 w 141633"/>
                <a:gd name="connsiteY185" fmla="*/ 173894 h 204581"/>
                <a:gd name="connsiteX186" fmla="*/ 107798 w 141633"/>
                <a:gd name="connsiteY186" fmla="*/ 173894 h 204581"/>
                <a:gd name="connsiteX187" fmla="*/ 114880 w 141633"/>
                <a:gd name="connsiteY187" fmla="*/ 181369 h 204581"/>
                <a:gd name="connsiteX188" fmla="*/ 113700 w 141633"/>
                <a:gd name="connsiteY188" fmla="*/ 179402 h 204581"/>
                <a:gd name="connsiteX189" fmla="*/ 116454 w 141633"/>
                <a:gd name="connsiteY189" fmla="*/ 182156 h 204581"/>
                <a:gd name="connsiteX190" fmla="*/ 117240 w 141633"/>
                <a:gd name="connsiteY190" fmla="*/ 183730 h 204581"/>
                <a:gd name="connsiteX191" fmla="*/ 116847 w 141633"/>
                <a:gd name="connsiteY191" fmla="*/ 186878 h 204581"/>
                <a:gd name="connsiteX192" fmla="*/ 117634 w 141633"/>
                <a:gd name="connsiteY192" fmla="*/ 189632 h 204581"/>
                <a:gd name="connsiteX193" fmla="*/ 120782 w 141633"/>
                <a:gd name="connsiteY193" fmla="*/ 189238 h 204581"/>
                <a:gd name="connsiteX194" fmla="*/ 123536 w 141633"/>
                <a:gd name="connsiteY194" fmla="*/ 191599 h 204581"/>
                <a:gd name="connsiteX195" fmla="*/ 126289 w 141633"/>
                <a:gd name="connsiteY195" fmla="*/ 193959 h 204581"/>
                <a:gd name="connsiteX196" fmla="*/ 129043 w 141633"/>
                <a:gd name="connsiteY196" fmla="*/ 193566 h 204581"/>
                <a:gd name="connsiteX197" fmla="*/ 130617 w 141633"/>
                <a:gd name="connsiteY197" fmla="*/ 196320 h 204581"/>
                <a:gd name="connsiteX198" fmla="*/ 133371 w 141633"/>
                <a:gd name="connsiteY198" fmla="*/ 195139 h 204581"/>
                <a:gd name="connsiteX199" fmla="*/ 133765 w 141633"/>
                <a:gd name="connsiteY199" fmla="*/ 194746 h 204581"/>
                <a:gd name="connsiteX200" fmla="*/ 138092 w 141633"/>
                <a:gd name="connsiteY200" fmla="*/ 195533 h 204581"/>
                <a:gd name="connsiteX201" fmla="*/ 137305 w 141633"/>
                <a:gd name="connsiteY201" fmla="*/ 192386 h 204581"/>
                <a:gd name="connsiteX202" fmla="*/ 138879 w 141633"/>
                <a:gd name="connsiteY202" fmla="*/ 192386 h 204581"/>
                <a:gd name="connsiteX203" fmla="*/ 138879 w 141633"/>
                <a:gd name="connsiteY203" fmla="*/ 192779 h 204581"/>
                <a:gd name="connsiteX204" fmla="*/ 138092 w 141633"/>
                <a:gd name="connsiteY204" fmla="*/ 195533 h 204581"/>
                <a:gd name="connsiteX205" fmla="*/ 136912 w 141633"/>
                <a:gd name="connsiteY205" fmla="*/ 195533 h 204581"/>
                <a:gd name="connsiteX206" fmla="*/ 134158 w 141633"/>
                <a:gd name="connsiteY206" fmla="*/ 197500 h 204581"/>
                <a:gd name="connsiteX207" fmla="*/ 134552 w 141633"/>
                <a:gd name="connsiteY207" fmla="*/ 200647 h 204581"/>
                <a:gd name="connsiteX208" fmla="*/ 136912 w 141633"/>
                <a:gd name="connsiteY208" fmla="*/ 203401 h 204581"/>
                <a:gd name="connsiteX209" fmla="*/ 139666 w 141633"/>
                <a:gd name="connsiteY209" fmla="*/ 206549 h 204581"/>
                <a:gd name="connsiteX210" fmla="*/ 142813 w 141633"/>
                <a:gd name="connsiteY210" fmla="*/ 206549 h 204581"/>
                <a:gd name="connsiteX211" fmla="*/ 142813 w 141633"/>
                <a:gd name="connsiteY211" fmla="*/ 204188 h 204581"/>
                <a:gd name="connsiteX212" fmla="*/ 143207 w 141633"/>
                <a:gd name="connsiteY212" fmla="*/ 206155 h 204581"/>
                <a:gd name="connsiteX213" fmla="*/ 142813 w 141633"/>
                <a:gd name="connsiteY213" fmla="*/ 203401 h 204581"/>
                <a:gd name="connsiteX214" fmla="*/ 143601 w 141633"/>
                <a:gd name="connsiteY214" fmla="*/ 200647 h 204581"/>
                <a:gd name="connsiteX215" fmla="*/ 143601 w 141633"/>
                <a:gd name="connsiteY215" fmla="*/ 197500 h 204581"/>
                <a:gd name="connsiteX216" fmla="*/ 143601 w 141633"/>
                <a:gd name="connsiteY216" fmla="*/ 197500 h 204581"/>
                <a:gd name="connsiteX217" fmla="*/ 143601 w 141633"/>
                <a:gd name="connsiteY217" fmla="*/ 197500 h 204581"/>
                <a:gd name="connsiteX218" fmla="*/ 143601 w 141633"/>
                <a:gd name="connsiteY218" fmla="*/ 197500 h 204581"/>
                <a:gd name="connsiteX219" fmla="*/ 143207 w 141633"/>
                <a:gd name="connsiteY219" fmla="*/ 194353 h 204581"/>
                <a:gd name="connsiteX220" fmla="*/ 143601 w 141633"/>
                <a:gd name="connsiteY220" fmla="*/ 191599 h 204581"/>
                <a:gd name="connsiteX221" fmla="*/ 143207 w 141633"/>
                <a:gd name="connsiteY221" fmla="*/ 188451 h 204581"/>
                <a:gd name="connsiteX222" fmla="*/ 141634 w 141633"/>
                <a:gd name="connsiteY222" fmla="*/ 189238 h 204581"/>
                <a:gd name="connsiteX223" fmla="*/ 141240 w 141633"/>
                <a:gd name="connsiteY223" fmla="*/ 188451 h 204581"/>
                <a:gd name="connsiteX224" fmla="*/ 138879 w 141633"/>
                <a:gd name="connsiteY224" fmla="*/ 188845 h 204581"/>
                <a:gd name="connsiteX225" fmla="*/ 137305 w 141633"/>
                <a:gd name="connsiteY225" fmla="*/ 187664 h 204581"/>
                <a:gd name="connsiteX226" fmla="*/ 137699 w 141633"/>
                <a:gd name="connsiteY226" fmla="*/ 188451 h 204581"/>
                <a:gd name="connsiteX227" fmla="*/ 135732 w 141633"/>
                <a:gd name="connsiteY227" fmla="*/ 187271 h 204581"/>
                <a:gd name="connsiteX228" fmla="*/ 131404 w 141633"/>
                <a:gd name="connsiteY228" fmla="*/ 182156 h 204581"/>
                <a:gd name="connsiteX229" fmla="*/ 131404 w 141633"/>
                <a:gd name="connsiteY229" fmla="*/ 181763 h 204581"/>
                <a:gd name="connsiteX230" fmla="*/ 128650 w 141633"/>
                <a:gd name="connsiteY230" fmla="*/ 178616 h 204581"/>
                <a:gd name="connsiteX231" fmla="*/ 127076 w 141633"/>
                <a:gd name="connsiteY231" fmla="*/ 175862 h 204581"/>
                <a:gd name="connsiteX232" fmla="*/ 124322 w 141633"/>
                <a:gd name="connsiteY232" fmla="*/ 173501 h 204581"/>
                <a:gd name="connsiteX233" fmla="*/ 122355 w 141633"/>
                <a:gd name="connsiteY233" fmla="*/ 172321 h 204581"/>
                <a:gd name="connsiteX234" fmla="*/ 131798 w 141633"/>
                <a:gd name="connsiteY234" fmla="*/ 166419 h 204581"/>
                <a:gd name="connsiteX235" fmla="*/ 134552 w 141633"/>
                <a:gd name="connsiteY235" fmla="*/ 167206 h 204581"/>
                <a:gd name="connsiteX236" fmla="*/ 133371 w 141633"/>
                <a:gd name="connsiteY236" fmla="*/ 164452 h 204581"/>
                <a:gd name="connsiteX237" fmla="*/ 130617 w 141633"/>
                <a:gd name="connsiteY237" fmla="*/ 163665 h 204581"/>
                <a:gd name="connsiteX238" fmla="*/ 125896 w 141633"/>
                <a:gd name="connsiteY238" fmla="*/ 161305 h 204581"/>
                <a:gd name="connsiteX239" fmla="*/ 125503 w 141633"/>
                <a:gd name="connsiteY239" fmla="*/ 161305 h 204581"/>
                <a:gd name="connsiteX240" fmla="*/ 119995 w 141633"/>
                <a:gd name="connsiteY240" fmla="*/ 158944 h 204581"/>
                <a:gd name="connsiteX241" fmla="*/ 121568 w 141633"/>
                <a:gd name="connsiteY241" fmla="*/ 158551 h 204581"/>
                <a:gd name="connsiteX242" fmla="*/ 124716 w 141633"/>
                <a:gd name="connsiteY242" fmla="*/ 158944 h 204581"/>
                <a:gd name="connsiteX243" fmla="*/ 113306 w 141633"/>
                <a:gd name="connsiteY243" fmla="*/ 153436 h 204581"/>
                <a:gd name="connsiteX244" fmla="*/ 116061 w 141633"/>
                <a:gd name="connsiteY244" fmla="*/ 156584 h 204581"/>
                <a:gd name="connsiteX245" fmla="*/ 116847 w 141633"/>
                <a:gd name="connsiteY245" fmla="*/ 157371 h 204581"/>
                <a:gd name="connsiteX246" fmla="*/ 115667 w 141633"/>
                <a:gd name="connsiteY246" fmla="*/ 156977 h 204581"/>
                <a:gd name="connsiteX247" fmla="*/ 115667 w 141633"/>
                <a:gd name="connsiteY247" fmla="*/ 156584 h 204581"/>
                <a:gd name="connsiteX248" fmla="*/ 112913 w 141633"/>
                <a:gd name="connsiteY248" fmla="*/ 155403 h 204581"/>
                <a:gd name="connsiteX249" fmla="*/ 111733 w 141633"/>
                <a:gd name="connsiteY249" fmla="*/ 155010 h 204581"/>
                <a:gd name="connsiteX250" fmla="*/ 112127 w 141633"/>
                <a:gd name="connsiteY250" fmla="*/ 153436 h 204581"/>
                <a:gd name="connsiteX251" fmla="*/ 109766 w 141633"/>
                <a:gd name="connsiteY251" fmla="*/ 156190 h 204581"/>
                <a:gd name="connsiteX252" fmla="*/ 111339 w 141633"/>
                <a:gd name="connsiteY252" fmla="*/ 156977 h 204581"/>
                <a:gd name="connsiteX253" fmla="*/ 111733 w 141633"/>
                <a:gd name="connsiteY253" fmla="*/ 155403 h 204581"/>
                <a:gd name="connsiteX254" fmla="*/ 111339 w 141633"/>
                <a:gd name="connsiteY254" fmla="*/ 157764 h 204581"/>
                <a:gd name="connsiteX255" fmla="*/ 112913 w 141633"/>
                <a:gd name="connsiteY255" fmla="*/ 160518 h 204581"/>
                <a:gd name="connsiteX256" fmla="*/ 112913 w 141633"/>
                <a:gd name="connsiteY256" fmla="*/ 160911 h 204581"/>
                <a:gd name="connsiteX257" fmla="*/ 114487 w 141633"/>
                <a:gd name="connsiteY257" fmla="*/ 163665 h 204581"/>
                <a:gd name="connsiteX258" fmla="*/ 111733 w 141633"/>
                <a:gd name="connsiteY258" fmla="*/ 166813 h 204581"/>
                <a:gd name="connsiteX259" fmla="*/ 108979 w 141633"/>
                <a:gd name="connsiteY259" fmla="*/ 167206 h 204581"/>
                <a:gd name="connsiteX260" fmla="*/ 108585 w 141633"/>
                <a:gd name="connsiteY260" fmla="*/ 166813 h 204581"/>
                <a:gd name="connsiteX261" fmla="*/ 106225 w 141633"/>
                <a:gd name="connsiteY261" fmla="*/ 163665 h 204581"/>
                <a:gd name="connsiteX262" fmla="*/ 107012 w 141633"/>
                <a:gd name="connsiteY262" fmla="*/ 160911 h 204581"/>
                <a:gd name="connsiteX263" fmla="*/ 106618 w 141633"/>
                <a:gd name="connsiteY263" fmla="*/ 157764 h 204581"/>
                <a:gd name="connsiteX264" fmla="*/ 103470 w 141633"/>
                <a:gd name="connsiteY264" fmla="*/ 153043 h 204581"/>
                <a:gd name="connsiteX265" fmla="*/ 103078 w 141633"/>
                <a:gd name="connsiteY265" fmla="*/ 152649 h 204581"/>
                <a:gd name="connsiteX266" fmla="*/ 100324 w 141633"/>
                <a:gd name="connsiteY266" fmla="*/ 149895 h 204581"/>
                <a:gd name="connsiteX267" fmla="*/ 98749 w 141633"/>
                <a:gd name="connsiteY267" fmla="*/ 147928 h 204581"/>
                <a:gd name="connsiteX268" fmla="*/ 99143 w 141633"/>
                <a:gd name="connsiteY268" fmla="*/ 147928 h 204581"/>
                <a:gd name="connsiteX269" fmla="*/ 97569 w 141633"/>
                <a:gd name="connsiteY269" fmla="*/ 147142 h 204581"/>
                <a:gd name="connsiteX270" fmla="*/ 97176 w 141633"/>
                <a:gd name="connsiteY270" fmla="*/ 147142 h 204581"/>
                <a:gd name="connsiteX271" fmla="*/ 95996 w 141633"/>
                <a:gd name="connsiteY271" fmla="*/ 146355 h 204581"/>
                <a:gd name="connsiteX272" fmla="*/ 95996 w 141633"/>
                <a:gd name="connsiteY272" fmla="*/ 146355 h 204581"/>
                <a:gd name="connsiteX273" fmla="*/ 94815 w 141633"/>
                <a:gd name="connsiteY273" fmla="*/ 145568 h 204581"/>
                <a:gd name="connsiteX274" fmla="*/ 91668 w 141633"/>
                <a:gd name="connsiteY274" fmla="*/ 144388 h 204581"/>
                <a:gd name="connsiteX275" fmla="*/ 88914 w 141633"/>
                <a:gd name="connsiteY275" fmla="*/ 144781 h 204581"/>
                <a:gd name="connsiteX276" fmla="*/ 85766 w 141633"/>
                <a:gd name="connsiteY276" fmla="*/ 145568 h 204581"/>
                <a:gd name="connsiteX277" fmla="*/ 83799 w 141633"/>
                <a:gd name="connsiteY277" fmla="*/ 148322 h 204581"/>
                <a:gd name="connsiteX278" fmla="*/ 83799 w 141633"/>
                <a:gd name="connsiteY278" fmla="*/ 149502 h 204581"/>
                <a:gd name="connsiteX279" fmla="*/ 83799 w 141633"/>
                <a:gd name="connsiteY279" fmla="*/ 149895 h 204581"/>
                <a:gd name="connsiteX280" fmla="*/ 83799 w 141633"/>
                <a:gd name="connsiteY280" fmla="*/ 151469 h 204581"/>
                <a:gd name="connsiteX281" fmla="*/ 81045 w 141633"/>
                <a:gd name="connsiteY281" fmla="*/ 149502 h 204581"/>
                <a:gd name="connsiteX282" fmla="*/ 78291 w 141633"/>
                <a:gd name="connsiteY282" fmla="*/ 150682 h 204581"/>
                <a:gd name="connsiteX283" fmla="*/ 79865 w 141633"/>
                <a:gd name="connsiteY283" fmla="*/ 154223 h 204581"/>
                <a:gd name="connsiteX284" fmla="*/ 83012 w 141633"/>
                <a:gd name="connsiteY284" fmla="*/ 156584 h 204581"/>
                <a:gd name="connsiteX285" fmla="*/ 83012 w 141633"/>
                <a:gd name="connsiteY285" fmla="*/ 156190 h 204581"/>
                <a:gd name="connsiteX286" fmla="*/ 83799 w 141633"/>
                <a:gd name="connsiteY286" fmla="*/ 157764 h 204581"/>
                <a:gd name="connsiteX287" fmla="*/ 79865 w 141633"/>
                <a:gd name="connsiteY287" fmla="*/ 156190 h 204581"/>
                <a:gd name="connsiteX288" fmla="*/ 79865 w 141633"/>
                <a:gd name="connsiteY288" fmla="*/ 155797 h 204581"/>
                <a:gd name="connsiteX289" fmla="*/ 77111 w 141633"/>
                <a:gd name="connsiteY289" fmla="*/ 153043 h 204581"/>
                <a:gd name="connsiteX290" fmla="*/ 73963 w 141633"/>
                <a:gd name="connsiteY290" fmla="*/ 150682 h 204581"/>
                <a:gd name="connsiteX291" fmla="*/ 71210 w 141633"/>
                <a:gd name="connsiteY291" fmla="*/ 149502 h 204581"/>
                <a:gd name="connsiteX292" fmla="*/ 73571 w 141633"/>
                <a:gd name="connsiteY292" fmla="*/ 152256 h 204581"/>
                <a:gd name="connsiteX293" fmla="*/ 76718 w 141633"/>
                <a:gd name="connsiteY293" fmla="*/ 154223 h 204581"/>
                <a:gd name="connsiteX294" fmla="*/ 78291 w 141633"/>
                <a:gd name="connsiteY294" fmla="*/ 155403 h 204581"/>
                <a:gd name="connsiteX295" fmla="*/ 65702 w 141633"/>
                <a:gd name="connsiteY295" fmla="*/ 149895 h 204581"/>
                <a:gd name="connsiteX296" fmla="*/ 65308 w 141633"/>
                <a:gd name="connsiteY296" fmla="*/ 147142 h 204581"/>
                <a:gd name="connsiteX297" fmla="*/ 64128 w 141633"/>
                <a:gd name="connsiteY297" fmla="*/ 144388 h 204581"/>
                <a:gd name="connsiteX298" fmla="*/ 61374 w 141633"/>
                <a:gd name="connsiteY298" fmla="*/ 133372 h 204581"/>
                <a:gd name="connsiteX299" fmla="*/ 63735 w 141633"/>
                <a:gd name="connsiteY299" fmla="*/ 132585 h 204581"/>
                <a:gd name="connsiteX300" fmla="*/ 60587 w 141633"/>
                <a:gd name="connsiteY300" fmla="*/ 129831 h 204581"/>
                <a:gd name="connsiteX301" fmla="*/ 57047 w 141633"/>
                <a:gd name="connsiteY301" fmla="*/ 121962 h 204581"/>
                <a:gd name="connsiteX302" fmla="*/ 55473 w 141633"/>
                <a:gd name="connsiteY302" fmla="*/ 119208 h 204581"/>
                <a:gd name="connsiteX303" fmla="*/ 55080 w 141633"/>
                <a:gd name="connsiteY303" fmla="*/ 118815 h 204581"/>
                <a:gd name="connsiteX304" fmla="*/ 57440 w 141633"/>
                <a:gd name="connsiteY304" fmla="*/ 122355 h 204581"/>
                <a:gd name="connsiteX305" fmla="*/ 57047 w 141633"/>
                <a:gd name="connsiteY305" fmla="*/ 121175 h 204581"/>
                <a:gd name="connsiteX306" fmla="*/ 55473 w 141633"/>
                <a:gd name="connsiteY306" fmla="*/ 118028 h 204581"/>
                <a:gd name="connsiteX307" fmla="*/ 53113 w 141633"/>
                <a:gd name="connsiteY307" fmla="*/ 115274 h 204581"/>
                <a:gd name="connsiteX308" fmla="*/ 53113 w 141633"/>
                <a:gd name="connsiteY308" fmla="*/ 115274 h 204581"/>
                <a:gd name="connsiteX309" fmla="*/ 67275 w 141633"/>
                <a:gd name="connsiteY309" fmla="*/ 85767 h 204581"/>
                <a:gd name="connsiteX310" fmla="*/ 67669 w 141633"/>
                <a:gd name="connsiteY310" fmla="*/ 84587 h 204581"/>
                <a:gd name="connsiteX311" fmla="*/ 67669 w 141633"/>
                <a:gd name="connsiteY311" fmla="*/ 84587 h 204581"/>
                <a:gd name="connsiteX312" fmla="*/ 68456 w 141633"/>
                <a:gd name="connsiteY312" fmla="*/ 83013 h 204581"/>
                <a:gd name="connsiteX313" fmla="*/ 68062 w 141633"/>
                <a:gd name="connsiteY313" fmla="*/ 83800 h 204581"/>
                <a:gd name="connsiteX314" fmla="*/ 68850 w 141633"/>
                <a:gd name="connsiteY314" fmla="*/ 82226 h 204581"/>
                <a:gd name="connsiteX315" fmla="*/ 69636 w 141633"/>
                <a:gd name="connsiteY315" fmla="*/ 81046 h 204581"/>
                <a:gd name="connsiteX316" fmla="*/ 68456 w 141633"/>
                <a:gd name="connsiteY316" fmla="*/ 82620 h 204581"/>
                <a:gd name="connsiteX317" fmla="*/ 70029 w 141633"/>
                <a:gd name="connsiteY317" fmla="*/ 80652 h 204581"/>
                <a:gd name="connsiteX318" fmla="*/ 71603 w 141633"/>
                <a:gd name="connsiteY318" fmla="*/ 77898 h 204581"/>
                <a:gd name="connsiteX319" fmla="*/ 70423 w 141633"/>
                <a:gd name="connsiteY319" fmla="*/ 79865 h 204581"/>
                <a:gd name="connsiteX320" fmla="*/ 71603 w 141633"/>
                <a:gd name="connsiteY320" fmla="*/ 77505 h 204581"/>
                <a:gd name="connsiteX321" fmla="*/ 71603 w 141633"/>
                <a:gd name="connsiteY321" fmla="*/ 77111 h 204581"/>
                <a:gd name="connsiteX322" fmla="*/ 71210 w 141633"/>
                <a:gd name="connsiteY322" fmla="*/ 72784 h 204581"/>
                <a:gd name="connsiteX323" fmla="*/ 71996 w 141633"/>
                <a:gd name="connsiteY323" fmla="*/ 76325 h 204581"/>
                <a:gd name="connsiteX324" fmla="*/ 71603 w 141633"/>
                <a:gd name="connsiteY324" fmla="*/ 74751 h 204581"/>
                <a:gd name="connsiteX325" fmla="*/ 71210 w 141633"/>
                <a:gd name="connsiteY325" fmla="*/ 72784 h 204581"/>
                <a:gd name="connsiteX326" fmla="*/ 70817 w 141633"/>
                <a:gd name="connsiteY326" fmla="*/ 70030 h 204581"/>
                <a:gd name="connsiteX327" fmla="*/ 71210 w 141633"/>
                <a:gd name="connsiteY327" fmla="*/ 69637 h 204581"/>
                <a:gd name="connsiteX328" fmla="*/ 72784 w 141633"/>
                <a:gd name="connsiteY328" fmla="*/ 66882 h 204581"/>
                <a:gd name="connsiteX329" fmla="*/ 73963 w 141633"/>
                <a:gd name="connsiteY329" fmla="*/ 63342 h 204581"/>
                <a:gd name="connsiteX330" fmla="*/ 74357 w 141633"/>
                <a:gd name="connsiteY330" fmla="*/ 62161 h 204581"/>
                <a:gd name="connsiteX331" fmla="*/ 74357 w 141633"/>
                <a:gd name="connsiteY331" fmla="*/ 62948 h 204581"/>
                <a:gd name="connsiteX332" fmla="*/ 75538 w 141633"/>
                <a:gd name="connsiteY332" fmla="*/ 60588 h 204581"/>
                <a:gd name="connsiteX333" fmla="*/ 75931 w 141633"/>
                <a:gd name="connsiteY333" fmla="*/ 57834 h 204581"/>
                <a:gd name="connsiteX334" fmla="*/ 75931 w 141633"/>
                <a:gd name="connsiteY334" fmla="*/ 57047 h 204581"/>
                <a:gd name="connsiteX335" fmla="*/ 76324 w 141633"/>
                <a:gd name="connsiteY335" fmla="*/ 55080 h 204581"/>
                <a:gd name="connsiteX336" fmla="*/ 76718 w 141633"/>
                <a:gd name="connsiteY336" fmla="*/ 54293 h 204581"/>
                <a:gd name="connsiteX337" fmla="*/ 75931 w 141633"/>
                <a:gd name="connsiteY337" fmla="*/ 50359 h 204581"/>
                <a:gd name="connsiteX338" fmla="*/ 75931 w 141633"/>
                <a:gd name="connsiteY338" fmla="*/ 50752 h 204581"/>
                <a:gd name="connsiteX339" fmla="*/ 74357 w 141633"/>
                <a:gd name="connsiteY339" fmla="*/ 51145 h 204581"/>
                <a:gd name="connsiteX340" fmla="*/ 73177 w 141633"/>
                <a:gd name="connsiteY340" fmla="*/ 49572 h 204581"/>
                <a:gd name="connsiteX341" fmla="*/ 73177 w 141633"/>
                <a:gd name="connsiteY341" fmla="*/ 48391 h 204581"/>
                <a:gd name="connsiteX342" fmla="*/ 73571 w 141633"/>
                <a:gd name="connsiteY342" fmla="*/ 46818 h 204581"/>
                <a:gd name="connsiteX343" fmla="*/ 72390 w 141633"/>
                <a:gd name="connsiteY343" fmla="*/ 44064 h 204581"/>
                <a:gd name="connsiteX344" fmla="*/ 69636 w 141633"/>
                <a:gd name="connsiteY344" fmla="*/ 43277 h 204581"/>
                <a:gd name="connsiteX345" fmla="*/ 66882 w 141633"/>
                <a:gd name="connsiteY345" fmla="*/ 40916 h 204581"/>
                <a:gd name="connsiteX346" fmla="*/ 68850 w 141633"/>
                <a:gd name="connsiteY346" fmla="*/ 43277 h 204581"/>
                <a:gd name="connsiteX347" fmla="*/ 67275 w 141633"/>
                <a:gd name="connsiteY347" fmla="*/ 42097 h 204581"/>
                <a:gd name="connsiteX348" fmla="*/ 64522 w 141633"/>
                <a:gd name="connsiteY348" fmla="*/ 36982 h 204581"/>
                <a:gd name="connsiteX349" fmla="*/ 64915 w 141633"/>
                <a:gd name="connsiteY349" fmla="*/ 11016 h 204581"/>
                <a:gd name="connsiteX350" fmla="*/ 64128 w 141633"/>
                <a:gd name="connsiteY350" fmla="*/ 8655 h 204581"/>
                <a:gd name="connsiteX351" fmla="*/ 62948 w 141633"/>
                <a:gd name="connsiteY351" fmla="*/ 7475 h 204581"/>
                <a:gd name="connsiteX352" fmla="*/ 61768 w 141633"/>
                <a:gd name="connsiteY352" fmla="*/ 5508 h 204581"/>
                <a:gd name="connsiteX353" fmla="*/ 63735 w 141633"/>
                <a:gd name="connsiteY353" fmla="*/ 7475 h 204581"/>
                <a:gd name="connsiteX354" fmla="*/ 61374 w 141633"/>
                <a:gd name="connsiteY354" fmla="*/ 4328 h 204581"/>
                <a:gd name="connsiteX355" fmla="*/ 60587 w 141633"/>
                <a:gd name="connsiteY355" fmla="*/ 3934 h 204581"/>
                <a:gd name="connsiteX356" fmla="*/ 60981 w 141633"/>
                <a:gd name="connsiteY356" fmla="*/ 4328 h 204581"/>
                <a:gd name="connsiteX357" fmla="*/ 58620 w 141633"/>
                <a:gd name="connsiteY357" fmla="*/ 5508 h 204581"/>
                <a:gd name="connsiteX358" fmla="*/ 52325 w 141633"/>
                <a:gd name="connsiteY358" fmla="*/ 11803 h 204581"/>
                <a:gd name="connsiteX359" fmla="*/ 51145 w 141633"/>
                <a:gd name="connsiteY359" fmla="*/ 11803 h 204581"/>
                <a:gd name="connsiteX360" fmla="*/ 47998 w 141633"/>
                <a:gd name="connsiteY360" fmla="*/ 10623 h 204581"/>
                <a:gd name="connsiteX361" fmla="*/ 44850 w 141633"/>
                <a:gd name="connsiteY361" fmla="*/ 11016 h 204581"/>
                <a:gd name="connsiteX362" fmla="*/ 44850 w 141633"/>
                <a:gd name="connsiteY362" fmla="*/ 11016 h 204581"/>
                <a:gd name="connsiteX363" fmla="*/ 43277 w 141633"/>
                <a:gd name="connsiteY363" fmla="*/ 8655 h 204581"/>
                <a:gd name="connsiteX364" fmla="*/ 37768 w 141633"/>
                <a:gd name="connsiteY364" fmla="*/ 5901 h 204581"/>
                <a:gd name="connsiteX365" fmla="*/ 38162 w 141633"/>
                <a:gd name="connsiteY365" fmla="*/ 5508 h 204581"/>
                <a:gd name="connsiteX366" fmla="*/ 35408 w 141633"/>
                <a:gd name="connsiteY366" fmla="*/ 4328 h 204581"/>
                <a:gd name="connsiteX367" fmla="*/ 32654 w 141633"/>
                <a:gd name="connsiteY367" fmla="*/ 2360 h 204581"/>
                <a:gd name="connsiteX368" fmla="*/ 29113 w 141633"/>
                <a:gd name="connsiteY368" fmla="*/ 393 h 204581"/>
                <a:gd name="connsiteX369" fmla="*/ 26359 w 141633"/>
                <a:gd name="connsiteY369" fmla="*/ 0 h 204581"/>
                <a:gd name="connsiteX370" fmla="*/ 23606 w 141633"/>
                <a:gd name="connsiteY370" fmla="*/ 1180 h 204581"/>
                <a:gd name="connsiteX371" fmla="*/ 23212 w 141633"/>
                <a:gd name="connsiteY371" fmla="*/ 1574 h 204581"/>
                <a:gd name="connsiteX372" fmla="*/ 20851 w 141633"/>
                <a:gd name="connsiteY372" fmla="*/ 787 h 204581"/>
                <a:gd name="connsiteX373" fmla="*/ 20064 w 141633"/>
                <a:gd name="connsiteY373" fmla="*/ 0 h 204581"/>
                <a:gd name="connsiteX374" fmla="*/ 18884 w 141633"/>
                <a:gd name="connsiteY374" fmla="*/ 393 h 204581"/>
                <a:gd name="connsiteX375" fmla="*/ 17310 w 141633"/>
                <a:gd name="connsiteY375" fmla="*/ 393 h 204581"/>
                <a:gd name="connsiteX376" fmla="*/ 16524 w 141633"/>
                <a:gd name="connsiteY376" fmla="*/ 3147 h 204581"/>
                <a:gd name="connsiteX377" fmla="*/ 14949 w 141633"/>
                <a:gd name="connsiteY377" fmla="*/ 3147 h 204581"/>
                <a:gd name="connsiteX378" fmla="*/ 12196 w 141633"/>
                <a:gd name="connsiteY378" fmla="*/ 3541 h 204581"/>
                <a:gd name="connsiteX379" fmla="*/ 12196 w 141633"/>
                <a:gd name="connsiteY379" fmla="*/ 6688 h 204581"/>
                <a:gd name="connsiteX380" fmla="*/ 21638 w 141633"/>
                <a:gd name="connsiteY380" fmla="*/ 134945 h 204581"/>
                <a:gd name="connsiteX381" fmla="*/ 23606 w 141633"/>
                <a:gd name="connsiteY381" fmla="*/ 136125 h 204581"/>
                <a:gd name="connsiteX382" fmla="*/ 23998 w 141633"/>
                <a:gd name="connsiteY382" fmla="*/ 136519 h 204581"/>
                <a:gd name="connsiteX383" fmla="*/ 21638 w 141633"/>
                <a:gd name="connsiteY383" fmla="*/ 134945 h 204581"/>
                <a:gd name="connsiteX384" fmla="*/ 53505 w 141633"/>
                <a:gd name="connsiteY384" fmla="*/ 116454 h 204581"/>
                <a:gd name="connsiteX385" fmla="*/ 53505 w 141633"/>
                <a:gd name="connsiteY385" fmla="*/ 116454 h 204581"/>
                <a:gd name="connsiteX386" fmla="*/ 53505 w 141633"/>
                <a:gd name="connsiteY386" fmla="*/ 116454 h 204581"/>
                <a:gd name="connsiteX387" fmla="*/ 53505 w 141633"/>
                <a:gd name="connsiteY387" fmla="*/ 116454 h 204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</a:cxnLst>
              <a:rect l="l" t="t" r="r" b="b"/>
              <a:pathLst>
                <a:path w="141633" h="204581">
                  <a:moveTo>
                    <a:pt x="12196" y="6688"/>
                  </a:moveTo>
                  <a:lnTo>
                    <a:pt x="13376" y="9836"/>
                  </a:lnTo>
                  <a:lnTo>
                    <a:pt x="12589" y="12590"/>
                  </a:lnTo>
                  <a:lnTo>
                    <a:pt x="11803" y="14950"/>
                  </a:lnTo>
                  <a:lnTo>
                    <a:pt x="11803" y="15344"/>
                  </a:lnTo>
                  <a:lnTo>
                    <a:pt x="11409" y="18491"/>
                  </a:lnTo>
                  <a:lnTo>
                    <a:pt x="11803" y="19278"/>
                  </a:lnTo>
                  <a:lnTo>
                    <a:pt x="11409" y="24786"/>
                  </a:lnTo>
                  <a:lnTo>
                    <a:pt x="11409" y="25179"/>
                  </a:lnTo>
                  <a:lnTo>
                    <a:pt x="11015" y="27933"/>
                  </a:lnTo>
                  <a:lnTo>
                    <a:pt x="11803" y="31081"/>
                  </a:lnTo>
                  <a:lnTo>
                    <a:pt x="10229" y="33835"/>
                  </a:lnTo>
                  <a:lnTo>
                    <a:pt x="12589" y="37376"/>
                  </a:lnTo>
                  <a:lnTo>
                    <a:pt x="14163" y="39736"/>
                  </a:lnTo>
                  <a:lnTo>
                    <a:pt x="14557" y="40916"/>
                  </a:lnTo>
                  <a:cubicBezTo>
                    <a:pt x="14163" y="39343"/>
                    <a:pt x="13770" y="38162"/>
                    <a:pt x="12982" y="37376"/>
                  </a:cubicBezTo>
                  <a:lnTo>
                    <a:pt x="13770" y="44457"/>
                  </a:lnTo>
                  <a:lnTo>
                    <a:pt x="13770" y="44457"/>
                  </a:lnTo>
                  <a:lnTo>
                    <a:pt x="13770" y="47604"/>
                  </a:lnTo>
                  <a:lnTo>
                    <a:pt x="14163" y="47998"/>
                  </a:lnTo>
                  <a:lnTo>
                    <a:pt x="15343" y="57440"/>
                  </a:lnTo>
                  <a:cubicBezTo>
                    <a:pt x="15737" y="56260"/>
                    <a:pt x="15737" y="55080"/>
                    <a:pt x="15737" y="53113"/>
                  </a:cubicBezTo>
                  <a:lnTo>
                    <a:pt x="16130" y="54686"/>
                  </a:lnTo>
                  <a:lnTo>
                    <a:pt x="15343" y="57440"/>
                  </a:lnTo>
                  <a:lnTo>
                    <a:pt x="15343" y="58227"/>
                  </a:lnTo>
                  <a:lnTo>
                    <a:pt x="13770" y="61374"/>
                  </a:lnTo>
                  <a:lnTo>
                    <a:pt x="14557" y="64915"/>
                  </a:lnTo>
                  <a:lnTo>
                    <a:pt x="13770" y="68456"/>
                  </a:lnTo>
                  <a:lnTo>
                    <a:pt x="14557" y="71210"/>
                  </a:lnTo>
                  <a:lnTo>
                    <a:pt x="15343" y="73177"/>
                  </a:lnTo>
                  <a:lnTo>
                    <a:pt x="15737" y="75931"/>
                  </a:lnTo>
                  <a:lnTo>
                    <a:pt x="16524" y="79079"/>
                  </a:lnTo>
                  <a:lnTo>
                    <a:pt x="19278" y="81833"/>
                  </a:lnTo>
                  <a:lnTo>
                    <a:pt x="18884" y="84980"/>
                  </a:lnTo>
                  <a:lnTo>
                    <a:pt x="17310" y="86554"/>
                  </a:lnTo>
                  <a:lnTo>
                    <a:pt x="16524" y="86554"/>
                  </a:lnTo>
                  <a:lnTo>
                    <a:pt x="13770" y="87734"/>
                  </a:lnTo>
                  <a:lnTo>
                    <a:pt x="12196" y="87341"/>
                  </a:lnTo>
                  <a:lnTo>
                    <a:pt x="11015" y="85767"/>
                  </a:lnTo>
                  <a:lnTo>
                    <a:pt x="10622" y="85374"/>
                  </a:lnTo>
                  <a:lnTo>
                    <a:pt x="11409" y="84980"/>
                  </a:lnTo>
                  <a:lnTo>
                    <a:pt x="9048" y="82226"/>
                  </a:lnTo>
                  <a:lnTo>
                    <a:pt x="10622" y="85374"/>
                  </a:lnTo>
                  <a:lnTo>
                    <a:pt x="9442" y="83013"/>
                  </a:lnTo>
                  <a:lnTo>
                    <a:pt x="6688" y="81833"/>
                  </a:lnTo>
                  <a:lnTo>
                    <a:pt x="3934" y="78685"/>
                  </a:lnTo>
                  <a:lnTo>
                    <a:pt x="3934" y="78292"/>
                  </a:lnTo>
                  <a:lnTo>
                    <a:pt x="2754" y="75538"/>
                  </a:lnTo>
                  <a:lnTo>
                    <a:pt x="0" y="77898"/>
                  </a:lnTo>
                  <a:lnTo>
                    <a:pt x="0" y="81046"/>
                  </a:lnTo>
                  <a:lnTo>
                    <a:pt x="787" y="84193"/>
                  </a:lnTo>
                  <a:lnTo>
                    <a:pt x="393" y="85374"/>
                  </a:lnTo>
                  <a:lnTo>
                    <a:pt x="787" y="88128"/>
                  </a:lnTo>
                  <a:lnTo>
                    <a:pt x="1573" y="90881"/>
                  </a:lnTo>
                  <a:lnTo>
                    <a:pt x="5508" y="95603"/>
                  </a:lnTo>
                  <a:lnTo>
                    <a:pt x="5901" y="98357"/>
                  </a:lnTo>
                  <a:lnTo>
                    <a:pt x="7869" y="104258"/>
                  </a:lnTo>
                  <a:lnTo>
                    <a:pt x="7081" y="106618"/>
                  </a:lnTo>
                  <a:lnTo>
                    <a:pt x="8655" y="109766"/>
                  </a:lnTo>
                  <a:lnTo>
                    <a:pt x="10622" y="112520"/>
                  </a:lnTo>
                  <a:lnTo>
                    <a:pt x="11015" y="113700"/>
                  </a:lnTo>
                  <a:lnTo>
                    <a:pt x="11015" y="114881"/>
                  </a:lnTo>
                  <a:lnTo>
                    <a:pt x="12196" y="117241"/>
                  </a:lnTo>
                  <a:lnTo>
                    <a:pt x="13770" y="121569"/>
                  </a:lnTo>
                  <a:lnTo>
                    <a:pt x="13770" y="122749"/>
                  </a:lnTo>
                  <a:lnTo>
                    <a:pt x="13770" y="124323"/>
                  </a:lnTo>
                  <a:lnTo>
                    <a:pt x="14557" y="127077"/>
                  </a:lnTo>
                  <a:lnTo>
                    <a:pt x="15343" y="129044"/>
                  </a:lnTo>
                  <a:lnTo>
                    <a:pt x="14949" y="128650"/>
                  </a:lnTo>
                  <a:lnTo>
                    <a:pt x="15737" y="129437"/>
                  </a:lnTo>
                  <a:lnTo>
                    <a:pt x="15737" y="129831"/>
                  </a:lnTo>
                  <a:lnTo>
                    <a:pt x="15737" y="129831"/>
                  </a:lnTo>
                  <a:lnTo>
                    <a:pt x="16917" y="131404"/>
                  </a:lnTo>
                  <a:lnTo>
                    <a:pt x="17704" y="131011"/>
                  </a:lnTo>
                  <a:lnTo>
                    <a:pt x="16130" y="129831"/>
                  </a:lnTo>
                  <a:lnTo>
                    <a:pt x="18491" y="129831"/>
                  </a:lnTo>
                  <a:lnTo>
                    <a:pt x="18097" y="127077"/>
                  </a:lnTo>
                  <a:lnTo>
                    <a:pt x="21245" y="129437"/>
                  </a:lnTo>
                  <a:lnTo>
                    <a:pt x="20064" y="130618"/>
                  </a:lnTo>
                  <a:lnTo>
                    <a:pt x="20458" y="132978"/>
                  </a:lnTo>
                  <a:lnTo>
                    <a:pt x="19671" y="131011"/>
                  </a:lnTo>
                  <a:lnTo>
                    <a:pt x="17704" y="131404"/>
                  </a:lnTo>
                  <a:lnTo>
                    <a:pt x="20458" y="133372"/>
                  </a:lnTo>
                  <a:lnTo>
                    <a:pt x="20458" y="133765"/>
                  </a:lnTo>
                  <a:lnTo>
                    <a:pt x="20851" y="133765"/>
                  </a:lnTo>
                  <a:lnTo>
                    <a:pt x="20851" y="133765"/>
                  </a:lnTo>
                  <a:lnTo>
                    <a:pt x="23998" y="135732"/>
                  </a:lnTo>
                  <a:lnTo>
                    <a:pt x="24785" y="136912"/>
                  </a:lnTo>
                  <a:lnTo>
                    <a:pt x="25179" y="137699"/>
                  </a:lnTo>
                  <a:lnTo>
                    <a:pt x="25966" y="140847"/>
                  </a:lnTo>
                  <a:lnTo>
                    <a:pt x="28719" y="142420"/>
                  </a:lnTo>
                  <a:lnTo>
                    <a:pt x="27933" y="141240"/>
                  </a:lnTo>
                  <a:lnTo>
                    <a:pt x="29113" y="141633"/>
                  </a:lnTo>
                  <a:lnTo>
                    <a:pt x="31867" y="141240"/>
                  </a:lnTo>
                  <a:lnTo>
                    <a:pt x="31867" y="138486"/>
                  </a:lnTo>
                  <a:lnTo>
                    <a:pt x="31080" y="135339"/>
                  </a:lnTo>
                  <a:lnTo>
                    <a:pt x="29507" y="131798"/>
                  </a:lnTo>
                  <a:lnTo>
                    <a:pt x="29113" y="128257"/>
                  </a:lnTo>
                  <a:lnTo>
                    <a:pt x="29900" y="128257"/>
                  </a:lnTo>
                  <a:lnTo>
                    <a:pt x="31474" y="128650"/>
                  </a:lnTo>
                  <a:lnTo>
                    <a:pt x="32654" y="130224"/>
                  </a:lnTo>
                  <a:lnTo>
                    <a:pt x="33047" y="130224"/>
                  </a:lnTo>
                  <a:lnTo>
                    <a:pt x="36982" y="130618"/>
                  </a:lnTo>
                  <a:lnTo>
                    <a:pt x="41310" y="133372"/>
                  </a:lnTo>
                  <a:lnTo>
                    <a:pt x="42489" y="134945"/>
                  </a:lnTo>
                  <a:lnTo>
                    <a:pt x="42883" y="136519"/>
                  </a:lnTo>
                  <a:lnTo>
                    <a:pt x="43670" y="140453"/>
                  </a:lnTo>
                  <a:lnTo>
                    <a:pt x="40916" y="140847"/>
                  </a:lnTo>
                  <a:lnTo>
                    <a:pt x="39343" y="143601"/>
                  </a:lnTo>
                  <a:lnTo>
                    <a:pt x="37768" y="145174"/>
                  </a:lnTo>
                  <a:lnTo>
                    <a:pt x="33441" y="148715"/>
                  </a:lnTo>
                  <a:lnTo>
                    <a:pt x="33834" y="150682"/>
                  </a:lnTo>
                  <a:lnTo>
                    <a:pt x="35015" y="153436"/>
                  </a:lnTo>
                  <a:lnTo>
                    <a:pt x="35015" y="153830"/>
                  </a:lnTo>
                  <a:lnTo>
                    <a:pt x="35408" y="156584"/>
                  </a:lnTo>
                  <a:lnTo>
                    <a:pt x="35408" y="157764"/>
                  </a:lnTo>
                  <a:lnTo>
                    <a:pt x="35015" y="156190"/>
                  </a:lnTo>
                  <a:lnTo>
                    <a:pt x="35015" y="158944"/>
                  </a:lnTo>
                  <a:lnTo>
                    <a:pt x="35408" y="162092"/>
                  </a:lnTo>
                  <a:lnTo>
                    <a:pt x="36982" y="163665"/>
                  </a:lnTo>
                  <a:lnTo>
                    <a:pt x="36588" y="162092"/>
                  </a:lnTo>
                  <a:lnTo>
                    <a:pt x="38555" y="161305"/>
                  </a:lnTo>
                  <a:lnTo>
                    <a:pt x="37768" y="158551"/>
                  </a:lnTo>
                  <a:lnTo>
                    <a:pt x="40522" y="158944"/>
                  </a:lnTo>
                  <a:lnTo>
                    <a:pt x="43277" y="160125"/>
                  </a:lnTo>
                  <a:lnTo>
                    <a:pt x="43670" y="160911"/>
                  </a:lnTo>
                  <a:lnTo>
                    <a:pt x="44064" y="164059"/>
                  </a:lnTo>
                  <a:lnTo>
                    <a:pt x="43670" y="166813"/>
                  </a:lnTo>
                  <a:lnTo>
                    <a:pt x="45244" y="164059"/>
                  </a:lnTo>
                  <a:lnTo>
                    <a:pt x="47998" y="166026"/>
                  </a:lnTo>
                  <a:lnTo>
                    <a:pt x="47604" y="169173"/>
                  </a:lnTo>
                  <a:lnTo>
                    <a:pt x="50358" y="168780"/>
                  </a:lnTo>
                  <a:lnTo>
                    <a:pt x="53113" y="169173"/>
                  </a:lnTo>
                  <a:lnTo>
                    <a:pt x="56259" y="168780"/>
                  </a:lnTo>
                  <a:lnTo>
                    <a:pt x="59407" y="165632"/>
                  </a:lnTo>
                  <a:lnTo>
                    <a:pt x="59407" y="162879"/>
                  </a:lnTo>
                  <a:lnTo>
                    <a:pt x="62161" y="160911"/>
                  </a:lnTo>
                  <a:lnTo>
                    <a:pt x="73963" y="162879"/>
                  </a:lnTo>
                  <a:lnTo>
                    <a:pt x="80652" y="167600"/>
                  </a:lnTo>
                  <a:lnTo>
                    <a:pt x="79472" y="166026"/>
                  </a:lnTo>
                  <a:lnTo>
                    <a:pt x="76324" y="164059"/>
                  </a:lnTo>
                  <a:lnTo>
                    <a:pt x="74357" y="162879"/>
                  </a:lnTo>
                  <a:lnTo>
                    <a:pt x="75931" y="163272"/>
                  </a:lnTo>
                  <a:lnTo>
                    <a:pt x="80652" y="166813"/>
                  </a:lnTo>
                  <a:lnTo>
                    <a:pt x="81045" y="167206"/>
                  </a:lnTo>
                  <a:lnTo>
                    <a:pt x="82226" y="168780"/>
                  </a:lnTo>
                  <a:lnTo>
                    <a:pt x="81045" y="167993"/>
                  </a:lnTo>
                  <a:lnTo>
                    <a:pt x="81832" y="169567"/>
                  </a:lnTo>
                  <a:lnTo>
                    <a:pt x="83012" y="170354"/>
                  </a:lnTo>
                  <a:lnTo>
                    <a:pt x="83012" y="170354"/>
                  </a:lnTo>
                  <a:lnTo>
                    <a:pt x="83012" y="170354"/>
                  </a:lnTo>
                  <a:lnTo>
                    <a:pt x="84587" y="171534"/>
                  </a:lnTo>
                  <a:lnTo>
                    <a:pt x="84980" y="171140"/>
                  </a:lnTo>
                  <a:lnTo>
                    <a:pt x="84193" y="170354"/>
                  </a:lnTo>
                  <a:lnTo>
                    <a:pt x="85766" y="170747"/>
                  </a:lnTo>
                  <a:lnTo>
                    <a:pt x="86160" y="171534"/>
                  </a:lnTo>
                  <a:lnTo>
                    <a:pt x="86947" y="172321"/>
                  </a:lnTo>
                  <a:lnTo>
                    <a:pt x="93635" y="182943"/>
                  </a:lnTo>
                  <a:lnTo>
                    <a:pt x="95602" y="185304"/>
                  </a:lnTo>
                  <a:lnTo>
                    <a:pt x="98749" y="182943"/>
                  </a:lnTo>
                  <a:lnTo>
                    <a:pt x="97569" y="180189"/>
                  </a:lnTo>
                  <a:lnTo>
                    <a:pt x="97176" y="178222"/>
                  </a:lnTo>
                  <a:lnTo>
                    <a:pt x="97963" y="180976"/>
                  </a:lnTo>
                  <a:lnTo>
                    <a:pt x="97569" y="178222"/>
                  </a:lnTo>
                  <a:lnTo>
                    <a:pt x="95996" y="175075"/>
                  </a:lnTo>
                  <a:lnTo>
                    <a:pt x="96782" y="177042"/>
                  </a:lnTo>
                  <a:lnTo>
                    <a:pt x="95209" y="174681"/>
                  </a:lnTo>
                  <a:lnTo>
                    <a:pt x="93242" y="171534"/>
                  </a:lnTo>
                  <a:lnTo>
                    <a:pt x="94029" y="171927"/>
                  </a:lnTo>
                  <a:lnTo>
                    <a:pt x="91275" y="169173"/>
                  </a:lnTo>
                  <a:lnTo>
                    <a:pt x="90881" y="167600"/>
                  </a:lnTo>
                  <a:lnTo>
                    <a:pt x="90881" y="164452"/>
                  </a:lnTo>
                  <a:lnTo>
                    <a:pt x="89700" y="161698"/>
                  </a:lnTo>
                  <a:lnTo>
                    <a:pt x="87733" y="158944"/>
                  </a:lnTo>
                  <a:lnTo>
                    <a:pt x="88521" y="159338"/>
                  </a:lnTo>
                  <a:lnTo>
                    <a:pt x="91668" y="158944"/>
                  </a:lnTo>
                  <a:lnTo>
                    <a:pt x="92455" y="160125"/>
                  </a:lnTo>
                  <a:lnTo>
                    <a:pt x="95209" y="162879"/>
                  </a:lnTo>
                  <a:lnTo>
                    <a:pt x="97963" y="163665"/>
                  </a:lnTo>
                  <a:lnTo>
                    <a:pt x="98357" y="163665"/>
                  </a:lnTo>
                  <a:lnTo>
                    <a:pt x="98749" y="164452"/>
                  </a:lnTo>
                  <a:lnTo>
                    <a:pt x="101503" y="167206"/>
                  </a:lnTo>
                  <a:lnTo>
                    <a:pt x="101897" y="169960"/>
                  </a:lnTo>
                  <a:lnTo>
                    <a:pt x="104651" y="171927"/>
                  </a:lnTo>
                  <a:lnTo>
                    <a:pt x="107405" y="173501"/>
                  </a:lnTo>
                  <a:lnTo>
                    <a:pt x="107798" y="173894"/>
                  </a:lnTo>
                  <a:lnTo>
                    <a:pt x="107798" y="173894"/>
                  </a:lnTo>
                  <a:lnTo>
                    <a:pt x="114880" y="181369"/>
                  </a:lnTo>
                  <a:lnTo>
                    <a:pt x="113700" y="179402"/>
                  </a:lnTo>
                  <a:lnTo>
                    <a:pt x="116454" y="182156"/>
                  </a:lnTo>
                  <a:lnTo>
                    <a:pt x="117240" y="183730"/>
                  </a:lnTo>
                  <a:lnTo>
                    <a:pt x="116847" y="186878"/>
                  </a:lnTo>
                  <a:lnTo>
                    <a:pt x="117634" y="189632"/>
                  </a:lnTo>
                  <a:lnTo>
                    <a:pt x="120782" y="189238"/>
                  </a:lnTo>
                  <a:lnTo>
                    <a:pt x="123536" y="191599"/>
                  </a:lnTo>
                  <a:lnTo>
                    <a:pt x="126289" y="193959"/>
                  </a:lnTo>
                  <a:lnTo>
                    <a:pt x="129043" y="193566"/>
                  </a:lnTo>
                  <a:lnTo>
                    <a:pt x="130617" y="196320"/>
                  </a:lnTo>
                  <a:lnTo>
                    <a:pt x="133371" y="195139"/>
                  </a:lnTo>
                  <a:lnTo>
                    <a:pt x="133765" y="194746"/>
                  </a:lnTo>
                  <a:lnTo>
                    <a:pt x="138092" y="195533"/>
                  </a:lnTo>
                  <a:lnTo>
                    <a:pt x="137305" y="192386"/>
                  </a:lnTo>
                  <a:lnTo>
                    <a:pt x="138879" y="192386"/>
                  </a:lnTo>
                  <a:lnTo>
                    <a:pt x="138879" y="192779"/>
                  </a:lnTo>
                  <a:lnTo>
                    <a:pt x="138092" y="195533"/>
                  </a:lnTo>
                  <a:lnTo>
                    <a:pt x="136912" y="195533"/>
                  </a:lnTo>
                  <a:lnTo>
                    <a:pt x="134158" y="197500"/>
                  </a:lnTo>
                  <a:lnTo>
                    <a:pt x="134552" y="200647"/>
                  </a:lnTo>
                  <a:lnTo>
                    <a:pt x="136912" y="203401"/>
                  </a:lnTo>
                  <a:lnTo>
                    <a:pt x="139666" y="206549"/>
                  </a:lnTo>
                  <a:lnTo>
                    <a:pt x="142813" y="206549"/>
                  </a:lnTo>
                  <a:lnTo>
                    <a:pt x="142813" y="204188"/>
                  </a:lnTo>
                  <a:lnTo>
                    <a:pt x="143207" y="206155"/>
                  </a:lnTo>
                  <a:lnTo>
                    <a:pt x="142813" y="203401"/>
                  </a:lnTo>
                  <a:lnTo>
                    <a:pt x="143601" y="200647"/>
                  </a:lnTo>
                  <a:lnTo>
                    <a:pt x="143601" y="197500"/>
                  </a:lnTo>
                  <a:lnTo>
                    <a:pt x="143601" y="197500"/>
                  </a:lnTo>
                  <a:lnTo>
                    <a:pt x="143601" y="197500"/>
                  </a:lnTo>
                  <a:lnTo>
                    <a:pt x="143601" y="197500"/>
                  </a:lnTo>
                  <a:lnTo>
                    <a:pt x="143207" y="194353"/>
                  </a:lnTo>
                  <a:lnTo>
                    <a:pt x="143601" y="191599"/>
                  </a:lnTo>
                  <a:lnTo>
                    <a:pt x="143207" y="188451"/>
                  </a:lnTo>
                  <a:lnTo>
                    <a:pt x="141634" y="189238"/>
                  </a:lnTo>
                  <a:lnTo>
                    <a:pt x="141240" y="188451"/>
                  </a:lnTo>
                  <a:lnTo>
                    <a:pt x="138879" y="188845"/>
                  </a:lnTo>
                  <a:lnTo>
                    <a:pt x="137305" y="187664"/>
                  </a:lnTo>
                  <a:lnTo>
                    <a:pt x="137699" y="188451"/>
                  </a:lnTo>
                  <a:lnTo>
                    <a:pt x="135732" y="187271"/>
                  </a:lnTo>
                  <a:lnTo>
                    <a:pt x="131404" y="182156"/>
                  </a:lnTo>
                  <a:lnTo>
                    <a:pt x="131404" y="181763"/>
                  </a:lnTo>
                  <a:lnTo>
                    <a:pt x="128650" y="178616"/>
                  </a:lnTo>
                  <a:lnTo>
                    <a:pt x="127076" y="175862"/>
                  </a:lnTo>
                  <a:lnTo>
                    <a:pt x="124322" y="173501"/>
                  </a:lnTo>
                  <a:lnTo>
                    <a:pt x="122355" y="172321"/>
                  </a:lnTo>
                  <a:lnTo>
                    <a:pt x="131798" y="166419"/>
                  </a:lnTo>
                  <a:lnTo>
                    <a:pt x="134552" y="167206"/>
                  </a:lnTo>
                  <a:lnTo>
                    <a:pt x="133371" y="164452"/>
                  </a:lnTo>
                  <a:lnTo>
                    <a:pt x="130617" y="163665"/>
                  </a:lnTo>
                  <a:lnTo>
                    <a:pt x="125896" y="161305"/>
                  </a:lnTo>
                  <a:lnTo>
                    <a:pt x="125503" y="161305"/>
                  </a:lnTo>
                  <a:lnTo>
                    <a:pt x="119995" y="158944"/>
                  </a:lnTo>
                  <a:lnTo>
                    <a:pt x="121568" y="158551"/>
                  </a:lnTo>
                  <a:lnTo>
                    <a:pt x="124716" y="158944"/>
                  </a:lnTo>
                  <a:lnTo>
                    <a:pt x="113306" y="153436"/>
                  </a:lnTo>
                  <a:lnTo>
                    <a:pt x="116061" y="156584"/>
                  </a:lnTo>
                  <a:lnTo>
                    <a:pt x="116847" y="157371"/>
                  </a:lnTo>
                  <a:lnTo>
                    <a:pt x="115667" y="156977"/>
                  </a:lnTo>
                  <a:lnTo>
                    <a:pt x="115667" y="156584"/>
                  </a:lnTo>
                  <a:lnTo>
                    <a:pt x="112913" y="155403"/>
                  </a:lnTo>
                  <a:lnTo>
                    <a:pt x="111733" y="155010"/>
                  </a:lnTo>
                  <a:lnTo>
                    <a:pt x="112127" y="153436"/>
                  </a:lnTo>
                  <a:lnTo>
                    <a:pt x="109766" y="156190"/>
                  </a:lnTo>
                  <a:lnTo>
                    <a:pt x="111339" y="156977"/>
                  </a:lnTo>
                  <a:lnTo>
                    <a:pt x="111733" y="155403"/>
                  </a:lnTo>
                  <a:lnTo>
                    <a:pt x="111339" y="157764"/>
                  </a:lnTo>
                  <a:lnTo>
                    <a:pt x="112913" y="160518"/>
                  </a:lnTo>
                  <a:lnTo>
                    <a:pt x="112913" y="160911"/>
                  </a:lnTo>
                  <a:lnTo>
                    <a:pt x="114487" y="163665"/>
                  </a:lnTo>
                  <a:lnTo>
                    <a:pt x="111733" y="166813"/>
                  </a:lnTo>
                  <a:lnTo>
                    <a:pt x="108979" y="167206"/>
                  </a:lnTo>
                  <a:lnTo>
                    <a:pt x="108585" y="166813"/>
                  </a:lnTo>
                  <a:lnTo>
                    <a:pt x="106225" y="163665"/>
                  </a:lnTo>
                  <a:lnTo>
                    <a:pt x="107012" y="160911"/>
                  </a:lnTo>
                  <a:lnTo>
                    <a:pt x="106618" y="157764"/>
                  </a:lnTo>
                  <a:lnTo>
                    <a:pt x="103470" y="153043"/>
                  </a:lnTo>
                  <a:lnTo>
                    <a:pt x="103078" y="152649"/>
                  </a:lnTo>
                  <a:lnTo>
                    <a:pt x="100324" y="149895"/>
                  </a:lnTo>
                  <a:lnTo>
                    <a:pt x="98749" y="147928"/>
                  </a:lnTo>
                  <a:lnTo>
                    <a:pt x="99143" y="147928"/>
                  </a:lnTo>
                  <a:lnTo>
                    <a:pt x="97569" y="147142"/>
                  </a:lnTo>
                  <a:lnTo>
                    <a:pt x="97176" y="147142"/>
                  </a:lnTo>
                  <a:lnTo>
                    <a:pt x="95996" y="146355"/>
                  </a:lnTo>
                  <a:lnTo>
                    <a:pt x="95996" y="146355"/>
                  </a:lnTo>
                  <a:lnTo>
                    <a:pt x="94815" y="145568"/>
                  </a:lnTo>
                  <a:lnTo>
                    <a:pt x="91668" y="144388"/>
                  </a:lnTo>
                  <a:lnTo>
                    <a:pt x="88914" y="144781"/>
                  </a:lnTo>
                  <a:lnTo>
                    <a:pt x="85766" y="145568"/>
                  </a:lnTo>
                  <a:lnTo>
                    <a:pt x="83799" y="148322"/>
                  </a:lnTo>
                  <a:lnTo>
                    <a:pt x="83799" y="149502"/>
                  </a:lnTo>
                  <a:lnTo>
                    <a:pt x="83799" y="149895"/>
                  </a:lnTo>
                  <a:lnTo>
                    <a:pt x="83799" y="151469"/>
                  </a:lnTo>
                  <a:lnTo>
                    <a:pt x="81045" y="149502"/>
                  </a:lnTo>
                  <a:lnTo>
                    <a:pt x="78291" y="150682"/>
                  </a:lnTo>
                  <a:lnTo>
                    <a:pt x="79865" y="154223"/>
                  </a:lnTo>
                  <a:lnTo>
                    <a:pt x="83012" y="156584"/>
                  </a:lnTo>
                  <a:lnTo>
                    <a:pt x="83012" y="156190"/>
                  </a:lnTo>
                  <a:lnTo>
                    <a:pt x="83799" y="157764"/>
                  </a:lnTo>
                  <a:lnTo>
                    <a:pt x="79865" y="156190"/>
                  </a:lnTo>
                  <a:lnTo>
                    <a:pt x="79865" y="155797"/>
                  </a:lnTo>
                  <a:lnTo>
                    <a:pt x="77111" y="153043"/>
                  </a:lnTo>
                  <a:lnTo>
                    <a:pt x="73963" y="150682"/>
                  </a:lnTo>
                  <a:lnTo>
                    <a:pt x="71210" y="149502"/>
                  </a:lnTo>
                  <a:lnTo>
                    <a:pt x="73571" y="152256"/>
                  </a:lnTo>
                  <a:lnTo>
                    <a:pt x="76718" y="154223"/>
                  </a:lnTo>
                  <a:lnTo>
                    <a:pt x="78291" y="155403"/>
                  </a:lnTo>
                  <a:lnTo>
                    <a:pt x="65702" y="149895"/>
                  </a:lnTo>
                  <a:lnTo>
                    <a:pt x="65308" y="147142"/>
                  </a:lnTo>
                  <a:lnTo>
                    <a:pt x="64128" y="144388"/>
                  </a:lnTo>
                  <a:lnTo>
                    <a:pt x="61374" y="133372"/>
                  </a:lnTo>
                  <a:lnTo>
                    <a:pt x="63735" y="132585"/>
                  </a:lnTo>
                  <a:lnTo>
                    <a:pt x="60587" y="129831"/>
                  </a:lnTo>
                  <a:lnTo>
                    <a:pt x="57047" y="121962"/>
                  </a:lnTo>
                  <a:lnTo>
                    <a:pt x="55473" y="119208"/>
                  </a:lnTo>
                  <a:lnTo>
                    <a:pt x="55080" y="118815"/>
                  </a:lnTo>
                  <a:lnTo>
                    <a:pt x="57440" y="122355"/>
                  </a:lnTo>
                  <a:lnTo>
                    <a:pt x="57047" y="121175"/>
                  </a:lnTo>
                  <a:lnTo>
                    <a:pt x="55473" y="118028"/>
                  </a:lnTo>
                  <a:lnTo>
                    <a:pt x="53113" y="115274"/>
                  </a:lnTo>
                  <a:lnTo>
                    <a:pt x="53113" y="115274"/>
                  </a:lnTo>
                  <a:lnTo>
                    <a:pt x="67275" y="85767"/>
                  </a:lnTo>
                  <a:lnTo>
                    <a:pt x="67669" y="84587"/>
                  </a:lnTo>
                  <a:lnTo>
                    <a:pt x="67669" y="84587"/>
                  </a:lnTo>
                  <a:lnTo>
                    <a:pt x="68456" y="83013"/>
                  </a:lnTo>
                  <a:lnTo>
                    <a:pt x="68062" y="83800"/>
                  </a:lnTo>
                  <a:lnTo>
                    <a:pt x="68850" y="82226"/>
                  </a:lnTo>
                  <a:lnTo>
                    <a:pt x="69636" y="81046"/>
                  </a:lnTo>
                  <a:lnTo>
                    <a:pt x="68456" y="82620"/>
                  </a:lnTo>
                  <a:lnTo>
                    <a:pt x="70029" y="80652"/>
                  </a:lnTo>
                  <a:lnTo>
                    <a:pt x="71603" y="77898"/>
                  </a:lnTo>
                  <a:lnTo>
                    <a:pt x="70423" y="79865"/>
                  </a:lnTo>
                  <a:lnTo>
                    <a:pt x="71603" y="77505"/>
                  </a:lnTo>
                  <a:lnTo>
                    <a:pt x="71603" y="77111"/>
                  </a:lnTo>
                  <a:lnTo>
                    <a:pt x="71210" y="72784"/>
                  </a:lnTo>
                  <a:lnTo>
                    <a:pt x="71996" y="76325"/>
                  </a:lnTo>
                  <a:lnTo>
                    <a:pt x="71603" y="74751"/>
                  </a:lnTo>
                  <a:lnTo>
                    <a:pt x="71210" y="72784"/>
                  </a:lnTo>
                  <a:lnTo>
                    <a:pt x="70817" y="70030"/>
                  </a:lnTo>
                  <a:lnTo>
                    <a:pt x="71210" y="69637"/>
                  </a:lnTo>
                  <a:lnTo>
                    <a:pt x="72784" y="66882"/>
                  </a:lnTo>
                  <a:lnTo>
                    <a:pt x="73963" y="63342"/>
                  </a:lnTo>
                  <a:lnTo>
                    <a:pt x="74357" y="62161"/>
                  </a:lnTo>
                  <a:lnTo>
                    <a:pt x="74357" y="62948"/>
                  </a:lnTo>
                  <a:lnTo>
                    <a:pt x="75538" y="60588"/>
                  </a:lnTo>
                  <a:lnTo>
                    <a:pt x="75931" y="57834"/>
                  </a:lnTo>
                  <a:lnTo>
                    <a:pt x="75931" y="57047"/>
                  </a:lnTo>
                  <a:lnTo>
                    <a:pt x="76324" y="55080"/>
                  </a:lnTo>
                  <a:lnTo>
                    <a:pt x="76718" y="54293"/>
                  </a:lnTo>
                  <a:lnTo>
                    <a:pt x="75931" y="50359"/>
                  </a:lnTo>
                  <a:lnTo>
                    <a:pt x="75931" y="50752"/>
                  </a:lnTo>
                  <a:lnTo>
                    <a:pt x="74357" y="51145"/>
                  </a:lnTo>
                  <a:lnTo>
                    <a:pt x="73177" y="49572"/>
                  </a:lnTo>
                  <a:lnTo>
                    <a:pt x="73177" y="48391"/>
                  </a:lnTo>
                  <a:lnTo>
                    <a:pt x="73571" y="46818"/>
                  </a:lnTo>
                  <a:lnTo>
                    <a:pt x="72390" y="44064"/>
                  </a:lnTo>
                  <a:lnTo>
                    <a:pt x="69636" y="43277"/>
                  </a:lnTo>
                  <a:lnTo>
                    <a:pt x="66882" y="40916"/>
                  </a:lnTo>
                  <a:lnTo>
                    <a:pt x="68850" y="43277"/>
                  </a:lnTo>
                  <a:lnTo>
                    <a:pt x="67275" y="42097"/>
                  </a:lnTo>
                  <a:lnTo>
                    <a:pt x="64522" y="36982"/>
                  </a:lnTo>
                  <a:lnTo>
                    <a:pt x="64915" y="11016"/>
                  </a:lnTo>
                  <a:lnTo>
                    <a:pt x="64128" y="8655"/>
                  </a:lnTo>
                  <a:lnTo>
                    <a:pt x="62948" y="7475"/>
                  </a:lnTo>
                  <a:lnTo>
                    <a:pt x="61768" y="5508"/>
                  </a:lnTo>
                  <a:lnTo>
                    <a:pt x="63735" y="7475"/>
                  </a:lnTo>
                  <a:lnTo>
                    <a:pt x="61374" y="4328"/>
                  </a:lnTo>
                  <a:lnTo>
                    <a:pt x="60587" y="3934"/>
                  </a:lnTo>
                  <a:lnTo>
                    <a:pt x="60981" y="4328"/>
                  </a:lnTo>
                  <a:lnTo>
                    <a:pt x="58620" y="5508"/>
                  </a:lnTo>
                  <a:lnTo>
                    <a:pt x="52325" y="11803"/>
                  </a:lnTo>
                  <a:lnTo>
                    <a:pt x="51145" y="11803"/>
                  </a:lnTo>
                  <a:lnTo>
                    <a:pt x="47998" y="10623"/>
                  </a:lnTo>
                  <a:lnTo>
                    <a:pt x="44850" y="11016"/>
                  </a:lnTo>
                  <a:lnTo>
                    <a:pt x="44850" y="11016"/>
                  </a:lnTo>
                  <a:lnTo>
                    <a:pt x="43277" y="8655"/>
                  </a:lnTo>
                  <a:lnTo>
                    <a:pt x="37768" y="5901"/>
                  </a:lnTo>
                  <a:lnTo>
                    <a:pt x="38162" y="5508"/>
                  </a:lnTo>
                  <a:lnTo>
                    <a:pt x="35408" y="4328"/>
                  </a:lnTo>
                  <a:lnTo>
                    <a:pt x="32654" y="2360"/>
                  </a:lnTo>
                  <a:lnTo>
                    <a:pt x="29113" y="393"/>
                  </a:lnTo>
                  <a:lnTo>
                    <a:pt x="26359" y="0"/>
                  </a:lnTo>
                  <a:lnTo>
                    <a:pt x="23606" y="1180"/>
                  </a:lnTo>
                  <a:lnTo>
                    <a:pt x="23212" y="1574"/>
                  </a:lnTo>
                  <a:lnTo>
                    <a:pt x="20851" y="787"/>
                  </a:lnTo>
                  <a:lnTo>
                    <a:pt x="20064" y="0"/>
                  </a:lnTo>
                  <a:lnTo>
                    <a:pt x="18884" y="393"/>
                  </a:lnTo>
                  <a:lnTo>
                    <a:pt x="17310" y="393"/>
                  </a:lnTo>
                  <a:lnTo>
                    <a:pt x="16524" y="3147"/>
                  </a:lnTo>
                  <a:lnTo>
                    <a:pt x="14949" y="3147"/>
                  </a:lnTo>
                  <a:lnTo>
                    <a:pt x="12196" y="3541"/>
                  </a:lnTo>
                  <a:lnTo>
                    <a:pt x="12196" y="6688"/>
                  </a:lnTo>
                  <a:close/>
                  <a:moveTo>
                    <a:pt x="21638" y="134945"/>
                  </a:moveTo>
                  <a:lnTo>
                    <a:pt x="23606" y="136125"/>
                  </a:lnTo>
                  <a:lnTo>
                    <a:pt x="23998" y="136519"/>
                  </a:lnTo>
                  <a:lnTo>
                    <a:pt x="21638" y="134945"/>
                  </a:lnTo>
                  <a:close/>
                  <a:moveTo>
                    <a:pt x="53505" y="116454"/>
                  </a:moveTo>
                  <a:lnTo>
                    <a:pt x="53505" y="116454"/>
                  </a:lnTo>
                  <a:lnTo>
                    <a:pt x="53505" y="116454"/>
                  </a:lnTo>
                  <a:lnTo>
                    <a:pt x="53505" y="1164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23" name="Freeform: Shape 2417">
              <a:extLst>
                <a:ext uri="{FF2B5EF4-FFF2-40B4-BE49-F238E27FC236}">
                  <a16:creationId xmlns:a16="http://schemas.microsoft.com/office/drawing/2014/main" id="{3F38903A-617B-451D-B362-DC88F21F7EAA}"/>
                </a:ext>
              </a:extLst>
            </p:cNvPr>
            <p:cNvSpPr/>
            <p:nvPr/>
          </p:nvSpPr>
          <p:spPr>
            <a:xfrm>
              <a:off x="9609298" y="3169381"/>
              <a:ext cx="3934" cy="3934"/>
            </a:xfrm>
            <a:custGeom>
              <a:avLst/>
              <a:gdLst>
                <a:gd name="connsiteX0" fmla="*/ 2754 w 0"/>
                <a:gd name="connsiteY0" fmla="*/ 1180 h 3934"/>
                <a:gd name="connsiteX1" fmla="*/ 1967 w 0"/>
                <a:gd name="connsiteY1" fmla="*/ 0 h 3934"/>
                <a:gd name="connsiteX2" fmla="*/ 0 w 0"/>
                <a:gd name="connsiteY2" fmla="*/ 1574 h 3934"/>
                <a:gd name="connsiteX3" fmla="*/ 2754 w 0"/>
                <a:gd name="connsiteY3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2754" y="1180"/>
                  </a:moveTo>
                  <a:lnTo>
                    <a:pt x="1967" y="0"/>
                  </a:lnTo>
                  <a:lnTo>
                    <a:pt x="0" y="1574"/>
                  </a:lnTo>
                  <a:lnTo>
                    <a:pt x="2754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24" name="Freeform: Shape 2418">
              <a:extLst>
                <a:ext uri="{FF2B5EF4-FFF2-40B4-BE49-F238E27FC236}">
                  <a16:creationId xmlns:a16="http://schemas.microsoft.com/office/drawing/2014/main" id="{2880235D-8B71-46D4-8E5F-B83A74D7B80A}"/>
                </a:ext>
              </a:extLst>
            </p:cNvPr>
            <p:cNvSpPr/>
            <p:nvPr/>
          </p:nvSpPr>
          <p:spPr>
            <a:xfrm>
              <a:off x="9625429" y="3319669"/>
              <a:ext cx="3934" cy="7869"/>
            </a:xfrm>
            <a:custGeom>
              <a:avLst/>
              <a:gdLst>
                <a:gd name="connsiteX0" fmla="*/ 3934 w 3934"/>
                <a:gd name="connsiteY0" fmla="*/ 0 h 7868"/>
                <a:gd name="connsiteX1" fmla="*/ 3147 w 3934"/>
                <a:gd name="connsiteY1" fmla="*/ 0 h 7868"/>
                <a:gd name="connsiteX2" fmla="*/ 0 w 3934"/>
                <a:gd name="connsiteY2" fmla="*/ 787 h 7868"/>
                <a:gd name="connsiteX3" fmla="*/ 1573 w 3934"/>
                <a:gd name="connsiteY3" fmla="*/ 3934 h 7868"/>
                <a:gd name="connsiteX4" fmla="*/ 4327 w 3934"/>
                <a:gd name="connsiteY4" fmla="*/ 5114 h 7868"/>
                <a:gd name="connsiteX5" fmla="*/ 4327 w 3934"/>
                <a:gd name="connsiteY5" fmla="*/ 5114 h 7868"/>
                <a:gd name="connsiteX6" fmla="*/ 3934 w 3934"/>
                <a:gd name="connsiteY6" fmla="*/ 5508 h 7868"/>
                <a:gd name="connsiteX7" fmla="*/ 4721 w 3934"/>
                <a:gd name="connsiteY7" fmla="*/ 8262 h 7868"/>
                <a:gd name="connsiteX8" fmla="*/ 5901 w 3934"/>
                <a:gd name="connsiteY8" fmla="*/ 7082 h 7868"/>
                <a:gd name="connsiteX9" fmla="*/ 5114 w 3934"/>
                <a:gd name="connsiteY9" fmla="*/ 3934 h 7868"/>
                <a:gd name="connsiteX10" fmla="*/ 3934 w 3934"/>
                <a:gd name="connsiteY10" fmla="*/ 1180 h 7868"/>
                <a:gd name="connsiteX11" fmla="*/ 3934 w 3934"/>
                <a:gd name="connsiteY11" fmla="*/ 78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934" h="7868">
                  <a:moveTo>
                    <a:pt x="3934" y="0"/>
                  </a:moveTo>
                  <a:lnTo>
                    <a:pt x="3147" y="0"/>
                  </a:lnTo>
                  <a:lnTo>
                    <a:pt x="0" y="787"/>
                  </a:lnTo>
                  <a:lnTo>
                    <a:pt x="1573" y="3934"/>
                  </a:lnTo>
                  <a:lnTo>
                    <a:pt x="4327" y="5114"/>
                  </a:lnTo>
                  <a:lnTo>
                    <a:pt x="4327" y="5114"/>
                  </a:lnTo>
                  <a:lnTo>
                    <a:pt x="3934" y="5508"/>
                  </a:lnTo>
                  <a:lnTo>
                    <a:pt x="4721" y="8262"/>
                  </a:lnTo>
                  <a:lnTo>
                    <a:pt x="5901" y="7082"/>
                  </a:lnTo>
                  <a:lnTo>
                    <a:pt x="5114" y="3934"/>
                  </a:lnTo>
                  <a:lnTo>
                    <a:pt x="3934" y="1180"/>
                  </a:lnTo>
                  <a:lnTo>
                    <a:pt x="393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25" name="Freeform: Shape 2419">
              <a:extLst>
                <a:ext uri="{FF2B5EF4-FFF2-40B4-BE49-F238E27FC236}">
                  <a16:creationId xmlns:a16="http://schemas.microsoft.com/office/drawing/2014/main" id="{94ED68DA-52C3-4BB4-957A-CCE4488C89CA}"/>
                </a:ext>
              </a:extLst>
            </p:cNvPr>
            <p:cNvSpPr/>
            <p:nvPr/>
          </p:nvSpPr>
          <p:spPr>
            <a:xfrm>
              <a:off x="9687983" y="3225640"/>
              <a:ext cx="3934" cy="3934"/>
            </a:xfrm>
            <a:custGeom>
              <a:avLst/>
              <a:gdLst>
                <a:gd name="connsiteX0" fmla="*/ 0 w 0"/>
                <a:gd name="connsiteY0" fmla="*/ 394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4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26" name="Freeform: Shape 2420">
              <a:extLst>
                <a:ext uri="{FF2B5EF4-FFF2-40B4-BE49-F238E27FC236}">
                  <a16:creationId xmlns:a16="http://schemas.microsoft.com/office/drawing/2014/main" id="{432FF97D-E1D4-4C33-B499-F261A4F36DF6}"/>
                </a:ext>
              </a:extLst>
            </p:cNvPr>
            <p:cNvSpPr/>
            <p:nvPr/>
          </p:nvSpPr>
          <p:spPr>
            <a:xfrm>
              <a:off x="9697032" y="3518743"/>
              <a:ext cx="3934" cy="3934"/>
            </a:xfrm>
            <a:custGeom>
              <a:avLst/>
              <a:gdLst>
                <a:gd name="connsiteX0" fmla="*/ 0 w 3934"/>
                <a:gd name="connsiteY0" fmla="*/ 394 h 0"/>
                <a:gd name="connsiteX1" fmla="*/ 2360 w 3934"/>
                <a:gd name="connsiteY1" fmla="*/ 2754 h 0"/>
                <a:gd name="connsiteX2" fmla="*/ 3148 w 3934"/>
                <a:gd name="connsiteY2" fmla="*/ 2754 h 0"/>
                <a:gd name="connsiteX3" fmla="*/ 3540 w 3934"/>
                <a:gd name="connsiteY3" fmla="*/ 3148 h 0"/>
                <a:gd name="connsiteX4" fmla="*/ 4327 w 3934"/>
                <a:gd name="connsiteY4" fmla="*/ 2361 h 0"/>
                <a:gd name="connsiteX5" fmla="*/ 4327 w 3934"/>
                <a:gd name="connsiteY5" fmla="*/ 2361 h 0"/>
                <a:gd name="connsiteX6" fmla="*/ 787 w 3934"/>
                <a:gd name="connsiteY6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>
                  <a:moveTo>
                    <a:pt x="0" y="394"/>
                  </a:moveTo>
                  <a:lnTo>
                    <a:pt x="2360" y="2754"/>
                  </a:lnTo>
                  <a:lnTo>
                    <a:pt x="3148" y="2754"/>
                  </a:lnTo>
                  <a:lnTo>
                    <a:pt x="3540" y="3148"/>
                  </a:lnTo>
                  <a:lnTo>
                    <a:pt x="4327" y="2361"/>
                  </a:lnTo>
                  <a:lnTo>
                    <a:pt x="4327" y="2361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27" name="Freeform: Shape 2421">
              <a:extLst>
                <a:ext uri="{FF2B5EF4-FFF2-40B4-BE49-F238E27FC236}">
                  <a16:creationId xmlns:a16="http://schemas.microsoft.com/office/drawing/2014/main" id="{E9A74190-CFF8-4107-9EC7-C162789B380D}"/>
                </a:ext>
              </a:extLst>
            </p:cNvPr>
            <p:cNvSpPr/>
            <p:nvPr/>
          </p:nvSpPr>
          <p:spPr>
            <a:xfrm>
              <a:off x="9708835" y="3360979"/>
              <a:ext cx="3934" cy="7869"/>
            </a:xfrm>
            <a:custGeom>
              <a:avLst/>
              <a:gdLst>
                <a:gd name="connsiteX0" fmla="*/ 1573 w 3934"/>
                <a:gd name="connsiteY0" fmla="*/ 10229 h 7868"/>
                <a:gd name="connsiteX1" fmla="*/ 4327 w 3934"/>
                <a:gd name="connsiteY1" fmla="*/ 8262 h 7868"/>
                <a:gd name="connsiteX2" fmla="*/ 5508 w 3934"/>
                <a:gd name="connsiteY2" fmla="*/ 5114 h 7868"/>
                <a:gd name="connsiteX3" fmla="*/ 6294 w 3934"/>
                <a:gd name="connsiteY3" fmla="*/ 4328 h 7868"/>
                <a:gd name="connsiteX4" fmla="*/ 5901 w 3934"/>
                <a:gd name="connsiteY4" fmla="*/ 1180 h 7868"/>
                <a:gd name="connsiteX5" fmla="*/ 3148 w 3934"/>
                <a:gd name="connsiteY5" fmla="*/ 0 h 7868"/>
                <a:gd name="connsiteX6" fmla="*/ 1180 w 3934"/>
                <a:gd name="connsiteY6" fmla="*/ 2754 h 7868"/>
                <a:gd name="connsiteX7" fmla="*/ 393 w 3934"/>
                <a:gd name="connsiteY7" fmla="*/ 5508 h 7868"/>
                <a:gd name="connsiteX8" fmla="*/ 0 w 3934"/>
                <a:gd name="connsiteY8" fmla="*/ 8262 h 7868"/>
                <a:gd name="connsiteX9" fmla="*/ 1573 w 3934"/>
                <a:gd name="connsiteY9" fmla="*/ 1022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7868">
                  <a:moveTo>
                    <a:pt x="1573" y="10229"/>
                  </a:moveTo>
                  <a:lnTo>
                    <a:pt x="4327" y="8262"/>
                  </a:lnTo>
                  <a:lnTo>
                    <a:pt x="5508" y="5114"/>
                  </a:lnTo>
                  <a:lnTo>
                    <a:pt x="6294" y="4328"/>
                  </a:lnTo>
                  <a:lnTo>
                    <a:pt x="5901" y="1180"/>
                  </a:lnTo>
                  <a:lnTo>
                    <a:pt x="3148" y="0"/>
                  </a:lnTo>
                  <a:lnTo>
                    <a:pt x="1180" y="2754"/>
                  </a:lnTo>
                  <a:lnTo>
                    <a:pt x="393" y="5508"/>
                  </a:lnTo>
                  <a:lnTo>
                    <a:pt x="0" y="8262"/>
                  </a:lnTo>
                  <a:lnTo>
                    <a:pt x="1573" y="1022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28" name="Freeform: Shape 2422">
              <a:extLst>
                <a:ext uri="{FF2B5EF4-FFF2-40B4-BE49-F238E27FC236}">
                  <a16:creationId xmlns:a16="http://schemas.microsoft.com/office/drawing/2014/main" id="{E2106341-7152-49B7-8F92-6012481D91E9}"/>
                </a:ext>
              </a:extLst>
            </p:cNvPr>
            <p:cNvSpPr/>
            <p:nvPr/>
          </p:nvSpPr>
          <p:spPr>
            <a:xfrm>
              <a:off x="9752505" y="3374356"/>
              <a:ext cx="3934" cy="3934"/>
            </a:xfrm>
            <a:custGeom>
              <a:avLst/>
              <a:gdLst>
                <a:gd name="connsiteX0" fmla="*/ 394 w 0"/>
                <a:gd name="connsiteY0" fmla="*/ 2754 h 0"/>
                <a:gd name="connsiteX1" fmla="*/ 2755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2754"/>
                  </a:moveTo>
                  <a:lnTo>
                    <a:pt x="2755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29" name="Freeform: Shape 2423">
              <a:extLst>
                <a:ext uri="{FF2B5EF4-FFF2-40B4-BE49-F238E27FC236}">
                  <a16:creationId xmlns:a16="http://schemas.microsoft.com/office/drawing/2014/main" id="{82B85BD0-1B46-4BE9-B63E-C875FBFBA5FD}"/>
                </a:ext>
              </a:extLst>
            </p:cNvPr>
            <p:cNvSpPr/>
            <p:nvPr/>
          </p:nvSpPr>
          <p:spPr>
            <a:xfrm>
              <a:off x="9776504" y="3297638"/>
              <a:ext cx="3934" cy="3934"/>
            </a:xfrm>
            <a:custGeom>
              <a:avLst/>
              <a:gdLst>
                <a:gd name="connsiteX0" fmla="*/ 1573 w 0"/>
                <a:gd name="connsiteY0" fmla="*/ 787 h 0"/>
                <a:gd name="connsiteX1" fmla="*/ 1573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3" y="787"/>
                  </a:moveTo>
                  <a:lnTo>
                    <a:pt x="157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30" name="Freeform: Shape 2424">
              <a:extLst>
                <a:ext uri="{FF2B5EF4-FFF2-40B4-BE49-F238E27FC236}">
                  <a16:creationId xmlns:a16="http://schemas.microsoft.com/office/drawing/2014/main" id="{3F8892A1-57EA-457E-A8ED-8C283FCBFEFE}"/>
                </a:ext>
              </a:extLst>
            </p:cNvPr>
            <p:cNvSpPr/>
            <p:nvPr/>
          </p:nvSpPr>
          <p:spPr>
            <a:xfrm>
              <a:off x="9805618" y="3541562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394 w 0"/>
                <a:gd name="connsiteY1" fmla="*/ 1574 h 0"/>
                <a:gd name="connsiteX2" fmla="*/ 788 w 0"/>
                <a:gd name="connsiteY2" fmla="*/ 1574 h 0"/>
                <a:gd name="connsiteX3" fmla="*/ 1180 w 0"/>
                <a:gd name="connsiteY3" fmla="*/ 1574 h 0"/>
                <a:gd name="connsiteX4" fmla="*/ 1967 w 0"/>
                <a:gd name="connsiteY4" fmla="*/ 1180 h 0"/>
                <a:gd name="connsiteX5" fmla="*/ 2755 w 0"/>
                <a:gd name="connsiteY5" fmla="*/ 1180 h 0"/>
                <a:gd name="connsiteX6" fmla="*/ 394 w 0"/>
                <a:gd name="connsiteY6" fmla="*/ 0 h 0"/>
                <a:gd name="connsiteX7" fmla="*/ 0 w 0"/>
                <a:gd name="connsiteY7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394" y="1574"/>
                  </a:lnTo>
                  <a:lnTo>
                    <a:pt x="788" y="1574"/>
                  </a:lnTo>
                  <a:lnTo>
                    <a:pt x="1180" y="1574"/>
                  </a:lnTo>
                  <a:lnTo>
                    <a:pt x="1967" y="1180"/>
                  </a:lnTo>
                  <a:lnTo>
                    <a:pt x="2755" y="1180"/>
                  </a:lnTo>
                  <a:lnTo>
                    <a:pt x="394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31" name="Freeform: Shape 2425">
              <a:extLst>
                <a:ext uri="{FF2B5EF4-FFF2-40B4-BE49-F238E27FC236}">
                  <a16:creationId xmlns:a16="http://schemas.microsoft.com/office/drawing/2014/main" id="{67FAFB4F-1C2E-4EC7-9BBB-E8620EF16421}"/>
                </a:ext>
              </a:extLst>
            </p:cNvPr>
            <p:cNvSpPr/>
            <p:nvPr/>
          </p:nvSpPr>
          <p:spPr>
            <a:xfrm>
              <a:off x="6311991" y="3746537"/>
              <a:ext cx="3934" cy="3934"/>
            </a:xfrm>
            <a:custGeom>
              <a:avLst/>
              <a:gdLst>
                <a:gd name="connsiteX0" fmla="*/ 1967 w 0"/>
                <a:gd name="connsiteY0" fmla="*/ 3541 h 3934"/>
                <a:gd name="connsiteX1" fmla="*/ 1967 w 0"/>
                <a:gd name="connsiteY1" fmla="*/ 3147 h 3934"/>
                <a:gd name="connsiteX2" fmla="*/ 0 w 0"/>
                <a:gd name="connsiteY2" fmla="*/ 0 h 3934"/>
                <a:gd name="connsiteX3" fmla="*/ 0 w 0"/>
                <a:gd name="connsiteY3" fmla="*/ 3147 h 3934"/>
                <a:gd name="connsiteX4" fmla="*/ 1180 w 0"/>
                <a:gd name="connsiteY4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1967" y="3541"/>
                  </a:moveTo>
                  <a:lnTo>
                    <a:pt x="1967" y="3147"/>
                  </a:lnTo>
                  <a:lnTo>
                    <a:pt x="0" y="0"/>
                  </a:lnTo>
                  <a:lnTo>
                    <a:pt x="0" y="3147"/>
                  </a:lnTo>
                  <a:lnTo>
                    <a:pt x="1180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32" name="Freeform: Shape 2426">
              <a:extLst>
                <a:ext uri="{FF2B5EF4-FFF2-40B4-BE49-F238E27FC236}">
                  <a16:creationId xmlns:a16="http://schemas.microsoft.com/office/drawing/2014/main" id="{2ED0315E-B341-46B0-AE9D-2F829F72AA37}"/>
                </a:ext>
              </a:extLst>
            </p:cNvPr>
            <p:cNvSpPr/>
            <p:nvPr/>
          </p:nvSpPr>
          <p:spPr>
            <a:xfrm>
              <a:off x="6102688" y="2407707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3148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3148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33" name="Freeform: Shape 2427">
              <a:extLst>
                <a:ext uri="{FF2B5EF4-FFF2-40B4-BE49-F238E27FC236}">
                  <a16:creationId xmlns:a16="http://schemas.microsoft.com/office/drawing/2014/main" id="{8C1246F0-DEC0-4990-A9F4-14DE0D028865}"/>
                </a:ext>
              </a:extLst>
            </p:cNvPr>
            <p:cNvSpPr/>
            <p:nvPr/>
          </p:nvSpPr>
          <p:spPr>
            <a:xfrm>
              <a:off x="9619528" y="2482458"/>
              <a:ext cx="3934" cy="3934"/>
            </a:xfrm>
            <a:custGeom>
              <a:avLst/>
              <a:gdLst>
                <a:gd name="connsiteX0" fmla="*/ 3934 w 3934"/>
                <a:gd name="connsiteY0" fmla="*/ 4328 h 3934"/>
                <a:gd name="connsiteX1" fmla="*/ 4327 w 3934"/>
                <a:gd name="connsiteY1" fmla="*/ 4328 h 3934"/>
                <a:gd name="connsiteX2" fmla="*/ 2754 w 3934"/>
                <a:gd name="connsiteY2" fmla="*/ 2360 h 3934"/>
                <a:gd name="connsiteX3" fmla="*/ 0 w 3934"/>
                <a:gd name="connsiteY3" fmla="*/ 0 h 3934"/>
                <a:gd name="connsiteX4" fmla="*/ 1180 w 3934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934" y="4328"/>
                  </a:moveTo>
                  <a:lnTo>
                    <a:pt x="4327" y="4328"/>
                  </a:lnTo>
                  <a:lnTo>
                    <a:pt x="2754" y="2360"/>
                  </a:lnTo>
                  <a:lnTo>
                    <a:pt x="0" y="0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34" name="Freeform: Shape 2428">
              <a:extLst>
                <a:ext uri="{FF2B5EF4-FFF2-40B4-BE49-F238E27FC236}">
                  <a16:creationId xmlns:a16="http://schemas.microsoft.com/office/drawing/2014/main" id="{19758B41-4937-46AC-8840-3D2D93872CB4}"/>
                </a:ext>
              </a:extLst>
            </p:cNvPr>
            <p:cNvSpPr/>
            <p:nvPr/>
          </p:nvSpPr>
          <p:spPr>
            <a:xfrm>
              <a:off x="9640378" y="2537538"/>
              <a:ext cx="3934" cy="3934"/>
            </a:xfrm>
            <a:custGeom>
              <a:avLst/>
              <a:gdLst>
                <a:gd name="connsiteX0" fmla="*/ 0 w 0"/>
                <a:gd name="connsiteY0" fmla="*/ 1967 h 0"/>
                <a:gd name="connsiteX1" fmla="*/ 3148 w 0"/>
                <a:gd name="connsiteY1" fmla="*/ 3147 h 0"/>
                <a:gd name="connsiteX2" fmla="*/ 157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967"/>
                  </a:moveTo>
                  <a:lnTo>
                    <a:pt x="3148" y="3147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35" name="Freeform: Shape 2429">
              <a:extLst>
                <a:ext uri="{FF2B5EF4-FFF2-40B4-BE49-F238E27FC236}">
                  <a16:creationId xmlns:a16="http://schemas.microsoft.com/office/drawing/2014/main" id="{9E25AC9C-C1BA-4072-95F2-1F9BC0E9B240}"/>
                </a:ext>
              </a:extLst>
            </p:cNvPr>
            <p:cNvSpPr/>
            <p:nvPr/>
          </p:nvSpPr>
          <p:spPr>
            <a:xfrm>
              <a:off x="9658083" y="2554849"/>
              <a:ext cx="3934" cy="3934"/>
            </a:xfrm>
            <a:custGeom>
              <a:avLst/>
              <a:gdLst>
                <a:gd name="connsiteX0" fmla="*/ 3934 w 3934"/>
                <a:gd name="connsiteY0" fmla="*/ 3147 h 0"/>
                <a:gd name="connsiteX1" fmla="*/ 1180 w 3934"/>
                <a:gd name="connsiteY1" fmla="*/ 0 h 0"/>
                <a:gd name="connsiteX2" fmla="*/ 0 w 3934"/>
                <a:gd name="connsiteY2" fmla="*/ 1180 h 0"/>
                <a:gd name="connsiteX3" fmla="*/ 1180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934" y="3147"/>
                  </a:moveTo>
                  <a:lnTo>
                    <a:pt x="1180" y="0"/>
                  </a:lnTo>
                  <a:lnTo>
                    <a:pt x="0" y="1180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36" name="Freeform: Shape 2430">
              <a:extLst>
                <a:ext uri="{FF2B5EF4-FFF2-40B4-BE49-F238E27FC236}">
                  <a16:creationId xmlns:a16="http://schemas.microsoft.com/office/drawing/2014/main" id="{83A425E6-D984-4E5F-BADE-7653C6F0BF24}"/>
                </a:ext>
              </a:extLst>
            </p:cNvPr>
            <p:cNvSpPr/>
            <p:nvPr/>
          </p:nvSpPr>
          <p:spPr>
            <a:xfrm>
              <a:off x="4057264" y="5223853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2754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37" name="Freeform: Shape 2431">
              <a:extLst>
                <a:ext uri="{FF2B5EF4-FFF2-40B4-BE49-F238E27FC236}">
                  <a16:creationId xmlns:a16="http://schemas.microsoft.com/office/drawing/2014/main" id="{A765E772-1EB5-442B-A29A-0A03F0260F05}"/>
                </a:ext>
              </a:extLst>
            </p:cNvPr>
            <p:cNvSpPr/>
            <p:nvPr/>
          </p:nvSpPr>
          <p:spPr>
            <a:xfrm>
              <a:off x="4058444" y="5225427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38" name="Freeform: Shape 2432">
              <a:extLst>
                <a:ext uri="{FF2B5EF4-FFF2-40B4-BE49-F238E27FC236}">
                  <a16:creationId xmlns:a16="http://schemas.microsoft.com/office/drawing/2014/main" id="{D3A2E803-7939-4502-96DC-383241E554E5}"/>
                </a:ext>
              </a:extLst>
            </p:cNvPr>
            <p:cNvSpPr/>
            <p:nvPr/>
          </p:nvSpPr>
          <p:spPr>
            <a:xfrm>
              <a:off x="4065133" y="5234082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314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39" name="Freeform: Shape 2433">
              <a:extLst>
                <a:ext uri="{FF2B5EF4-FFF2-40B4-BE49-F238E27FC236}">
                  <a16:creationId xmlns:a16="http://schemas.microsoft.com/office/drawing/2014/main" id="{96DC1A1C-B497-4992-83B7-807B7F247537}"/>
                </a:ext>
              </a:extLst>
            </p:cNvPr>
            <p:cNvSpPr/>
            <p:nvPr/>
          </p:nvSpPr>
          <p:spPr>
            <a:xfrm>
              <a:off x="4066706" y="5219919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40" name="Freeform: Shape 2434">
              <a:extLst>
                <a:ext uri="{FF2B5EF4-FFF2-40B4-BE49-F238E27FC236}">
                  <a16:creationId xmlns:a16="http://schemas.microsoft.com/office/drawing/2014/main" id="{C6B907AE-6AF5-4CA9-8B89-2A8EBE949142}"/>
                </a:ext>
              </a:extLst>
            </p:cNvPr>
            <p:cNvSpPr/>
            <p:nvPr/>
          </p:nvSpPr>
          <p:spPr>
            <a:xfrm>
              <a:off x="4092672" y="5356437"/>
              <a:ext cx="3934" cy="3934"/>
            </a:xfrm>
            <a:custGeom>
              <a:avLst/>
              <a:gdLst>
                <a:gd name="connsiteX0" fmla="*/ 5901 w 3934"/>
                <a:gd name="connsiteY0" fmla="*/ 2754 h 0"/>
                <a:gd name="connsiteX1" fmla="*/ 5508 w 3934"/>
                <a:gd name="connsiteY1" fmla="*/ 1574 h 0"/>
                <a:gd name="connsiteX2" fmla="*/ 2754 w 3934"/>
                <a:gd name="connsiteY2" fmla="*/ 0 h 0"/>
                <a:gd name="connsiteX3" fmla="*/ 0 w 3934"/>
                <a:gd name="connsiteY3" fmla="*/ 0 h 0"/>
                <a:gd name="connsiteX4" fmla="*/ 2754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2754"/>
                  </a:moveTo>
                  <a:lnTo>
                    <a:pt x="5508" y="1574"/>
                  </a:lnTo>
                  <a:lnTo>
                    <a:pt x="2754" y="0"/>
                  </a:lnTo>
                  <a:lnTo>
                    <a:pt x="0" y="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41" name="Freeform: Shape 2435">
              <a:extLst>
                <a:ext uri="{FF2B5EF4-FFF2-40B4-BE49-F238E27FC236}">
                  <a16:creationId xmlns:a16="http://schemas.microsoft.com/office/drawing/2014/main" id="{B481F0AE-E687-4510-9C6D-52748A64CDD8}"/>
                </a:ext>
              </a:extLst>
            </p:cNvPr>
            <p:cNvSpPr/>
            <p:nvPr/>
          </p:nvSpPr>
          <p:spPr>
            <a:xfrm>
              <a:off x="4093459" y="5389485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393 h 0"/>
                <a:gd name="connsiteX2" fmla="*/ 3147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393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42" name="Freeform: Shape 2436">
              <a:extLst>
                <a:ext uri="{FF2B5EF4-FFF2-40B4-BE49-F238E27FC236}">
                  <a16:creationId xmlns:a16="http://schemas.microsoft.com/office/drawing/2014/main" id="{DE72A92E-3A21-4F06-A66C-32A3AD7C9FBD}"/>
                </a:ext>
              </a:extLst>
            </p:cNvPr>
            <p:cNvSpPr/>
            <p:nvPr/>
          </p:nvSpPr>
          <p:spPr>
            <a:xfrm>
              <a:off x="4093459" y="5277359"/>
              <a:ext cx="3934" cy="3934"/>
            </a:xfrm>
            <a:custGeom>
              <a:avLst/>
              <a:gdLst>
                <a:gd name="connsiteX0" fmla="*/ 2754 w 0"/>
                <a:gd name="connsiteY0" fmla="*/ 3148 h 0"/>
                <a:gd name="connsiteX1" fmla="*/ 3147 w 0"/>
                <a:gd name="connsiteY1" fmla="*/ 236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148"/>
                  </a:moveTo>
                  <a:lnTo>
                    <a:pt x="3147" y="236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43" name="Freeform: Shape 2437">
              <a:extLst>
                <a:ext uri="{FF2B5EF4-FFF2-40B4-BE49-F238E27FC236}">
                  <a16:creationId xmlns:a16="http://schemas.microsoft.com/office/drawing/2014/main" id="{DBC17A1D-5B49-467E-817D-472C34636BF0}"/>
                </a:ext>
              </a:extLst>
            </p:cNvPr>
            <p:cNvSpPr/>
            <p:nvPr/>
          </p:nvSpPr>
          <p:spPr>
            <a:xfrm>
              <a:off x="4094246" y="5265949"/>
              <a:ext cx="3934" cy="3934"/>
            </a:xfrm>
            <a:custGeom>
              <a:avLst/>
              <a:gdLst>
                <a:gd name="connsiteX0" fmla="*/ 393 w 0"/>
                <a:gd name="connsiteY0" fmla="*/ 394 h 0"/>
                <a:gd name="connsiteX1" fmla="*/ 3147 w 0"/>
                <a:gd name="connsiteY1" fmla="*/ 0 h 0"/>
                <a:gd name="connsiteX2" fmla="*/ 0 w 0"/>
                <a:gd name="connsiteY2" fmla="*/ 3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394"/>
                  </a:moveTo>
                  <a:lnTo>
                    <a:pt x="3147" y="0"/>
                  </a:lnTo>
                  <a:lnTo>
                    <a:pt x="0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44" name="Freeform: Shape 2438">
              <a:extLst>
                <a:ext uri="{FF2B5EF4-FFF2-40B4-BE49-F238E27FC236}">
                  <a16:creationId xmlns:a16="http://schemas.microsoft.com/office/drawing/2014/main" id="{2550964D-E39E-4BD7-ACD4-D7709D45C8E3}"/>
                </a:ext>
              </a:extLst>
            </p:cNvPr>
            <p:cNvSpPr/>
            <p:nvPr/>
          </p:nvSpPr>
          <p:spPr>
            <a:xfrm>
              <a:off x="4095427" y="5257294"/>
              <a:ext cx="3934" cy="3934"/>
            </a:xfrm>
            <a:custGeom>
              <a:avLst/>
              <a:gdLst>
                <a:gd name="connsiteX0" fmla="*/ 3147 w 0"/>
                <a:gd name="connsiteY0" fmla="*/ 2360 h 0"/>
                <a:gd name="connsiteX1" fmla="*/ 0 w 0"/>
                <a:gd name="connsiteY1" fmla="*/ 0 h 0"/>
                <a:gd name="connsiteX2" fmla="*/ 275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2360"/>
                  </a:moveTo>
                  <a:lnTo>
                    <a:pt x="0" y="0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45" name="Freeform: Shape 2439">
              <a:extLst>
                <a:ext uri="{FF2B5EF4-FFF2-40B4-BE49-F238E27FC236}">
                  <a16:creationId xmlns:a16="http://schemas.microsoft.com/office/drawing/2014/main" id="{82A6ABB6-F431-4CE7-B3DB-C521B8C8BE91}"/>
                </a:ext>
              </a:extLst>
            </p:cNvPr>
            <p:cNvSpPr/>
            <p:nvPr/>
          </p:nvSpPr>
          <p:spPr>
            <a:xfrm>
              <a:off x="4099361" y="535289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2360 w 0"/>
                <a:gd name="connsiteY1" fmla="*/ 3147 h 0"/>
                <a:gd name="connsiteX2" fmla="*/ 236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2360" y="3147"/>
                  </a:lnTo>
                  <a:lnTo>
                    <a:pt x="236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46" name="Freeform: Shape 2440">
              <a:extLst>
                <a:ext uri="{FF2B5EF4-FFF2-40B4-BE49-F238E27FC236}">
                  <a16:creationId xmlns:a16="http://schemas.microsoft.com/office/drawing/2014/main" id="{A3EF18B5-7127-4055-9643-3059ED841B74}"/>
                </a:ext>
              </a:extLst>
            </p:cNvPr>
            <p:cNvSpPr/>
            <p:nvPr/>
          </p:nvSpPr>
          <p:spPr>
            <a:xfrm>
              <a:off x="4105656" y="5347782"/>
              <a:ext cx="3934" cy="3934"/>
            </a:xfrm>
            <a:custGeom>
              <a:avLst/>
              <a:gdLst>
                <a:gd name="connsiteX0" fmla="*/ 0 w 0"/>
                <a:gd name="connsiteY0" fmla="*/ 3148 h 0"/>
                <a:gd name="connsiteX1" fmla="*/ 787 w 0"/>
                <a:gd name="connsiteY1" fmla="*/ 2754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8"/>
                  </a:moveTo>
                  <a:lnTo>
                    <a:pt x="787" y="2754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47" name="Freeform: Shape 2441">
              <a:extLst>
                <a:ext uri="{FF2B5EF4-FFF2-40B4-BE49-F238E27FC236}">
                  <a16:creationId xmlns:a16="http://schemas.microsoft.com/office/drawing/2014/main" id="{51BC1E2C-9E9C-4998-ABD8-F0ED7F5A63E7}"/>
                </a:ext>
              </a:extLst>
            </p:cNvPr>
            <p:cNvSpPr/>
            <p:nvPr/>
          </p:nvSpPr>
          <p:spPr>
            <a:xfrm>
              <a:off x="4106442" y="5395780"/>
              <a:ext cx="3934" cy="3934"/>
            </a:xfrm>
            <a:custGeom>
              <a:avLst/>
              <a:gdLst>
                <a:gd name="connsiteX0" fmla="*/ 3147 w 0"/>
                <a:gd name="connsiteY0" fmla="*/ 787 h 0"/>
                <a:gd name="connsiteX1" fmla="*/ 3147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787"/>
                  </a:moveTo>
                  <a:lnTo>
                    <a:pt x="314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48" name="Freeform: Shape 2442">
              <a:extLst>
                <a:ext uri="{FF2B5EF4-FFF2-40B4-BE49-F238E27FC236}">
                  <a16:creationId xmlns:a16="http://schemas.microsoft.com/office/drawing/2014/main" id="{922B1D38-EB47-4AD6-A752-5A5EFAE9ED2F}"/>
                </a:ext>
              </a:extLst>
            </p:cNvPr>
            <p:cNvSpPr/>
            <p:nvPr/>
          </p:nvSpPr>
          <p:spPr>
            <a:xfrm>
              <a:off x="4126114" y="5352897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0 w 0"/>
                <a:gd name="connsiteY1" fmla="*/ 0 h 0"/>
                <a:gd name="connsiteX2" fmla="*/ 2754 w 0"/>
                <a:gd name="connsiteY2" fmla="*/ 23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0" y="0"/>
                  </a:lnTo>
                  <a:lnTo>
                    <a:pt x="2754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49" name="Freeform: Shape 2443">
              <a:extLst>
                <a:ext uri="{FF2B5EF4-FFF2-40B4-BE49-F238E27FC236}">
                  <a16:creationId xmlns:a16="http://schemas.microsoft.com/office/drawing/2014/main" id="{5D467255-4459-43EC-A014-5140879FC824}"/>
                </a:ext>
              </a:extLst>
            </p:cNvPr>
            <p:cNvSpPr/>
            <p:nvPr/>
          </p:nvSpPr>
          <p:spPr>
            <a:xfrm>
              <a:off x="4128081" y="5433155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3147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50" name="Freeform: Shape 2444">
              <a:extLst>
                <a:ext uri="{FF2B5EF4-FFF2-40B4-BE49-F238E27FC236}">
                  <a16:creationId xmlns:a16="http://schemas.microsoft.com/office/drawing/2014/main" id="{A095FE01-1448-48E9-A0EF-D1D02666C89E}"/>
                </a:ext>
              </a:extLst>
            </p:cNvPr>
            <p:cNvSpPr/>
            <p:nvPr/>
          </p:nvSpPr>
          <p:spPr>
            <a:xfrm>
              <a:off x="4130835" y="5357224"/>
              <a:ext cx="3934" cy="3934"/>
            </a:xfrm>
            <a:custGeom>
              <a:avLst/>
              <a:gdLst>
                <a:gd name="connsiteX0" fmla="*/ 3147 w 0"/>
                <a:gd name="connsiteY0" fmla="*/ 1180 h 0"/>
                <a:gd name="connsiteX1" fmla="*/ 0 w 0"/>
                <a:gd name="connsiteY1" fmla="*/ 0 h 0"/>
                <a:gd name="connsiteX2" fmla="*/ 3147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1180"/>
                  </a:moveTo>
                  <a:lnTo>
                    <a:pt x="0" y="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51" name="Freeform: Shape 2445">
              <a:extLst>
                <a:ext uri="{FF2B5EF4-FFF2-40B4-BE49-F238E27FC236}">
                  <a16:creationId xmlns:a16="http://schemas.microsoft.com/office/drawing/2014/main" id="{402DFA9C-3EC2-4DEE-9B7A-3BB56DF5398C}"/>
                </a:ext>
              </a:extLst>
            </p:cNvPr>
            <p:cNvSpPr/>
            <p:nvPr/>
          </p:nvSpPr>
          <p:spPr>
            <a:xfrm>
              <a:off x="4137130" y="5422140"/>
              <a:ext cx="3934" cy="3934"/>
            </a:xfrm>
            <a:custGeom>
              <a:avLst/>
              <a:gdLst>
                <a:gd name="connsiteX0" fmla="*/ 0 w 0"/>
                <a:gd name="connsiteY0" fmla="*/ 1967 h 0"/>
                <a:gd name="connsiteX1" fmla="*/ 2754 w 0"/>
                <a:gd name="connsiteY1" fmla="*/ 0 h 0"/>
                <a:gd name="connsiteX2" fmla="*/ 0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967"/>
                  </a:moveTo>
                  <a:lnTo>
                    <a:pt x="2754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52" name="Freeform: Shape 2446">
              <a:extLst>
                <a:ext uri="{FF2B5EF4-FFF2-40B4-BE49-F238E27FC236}">
                  <a16:creationId xmlns:a16="http://schemas.microsoft.com/office/drawing/2014/main" id="{46AE10DD-7E2A-4390-8309-E86E47B5F2E9}"/>
                </a:ext>
              </a:extLst>
            </p:cNvPr>
            <p:cNvSpPr/>
            <p:nvPr/>
          </p:nvSpPr>
          <p:spPr>
            <a:xfrm>
              <a:off x="5753719" y="1578758"/>
              <a:ext cx="7869" cy="3934"/>
            </a:xfrm>
            <a:custGeom>
              <a:avLst/>
              <a:gdLst>
                <a:gd name="connsiteX0" fmla="*/ 3148 w 7868"/>
                <a:gd name="connsiteY0" fmla="*/ 0 h 0"/>
                <a:gd name="connsiteX1" fmla="*/ 0 w 7868"/>
                <a:gd name="connsiteY1" fmla="*/ 787 h 0"/>
                <a:gd name="connsiteX2" fmla="*/ 3148 w 7868"/>
                <a:gd name="connsiteY2" fmla="*/ 393 h 0"/>
                <a:gd name="connsiteX3" fmla="*/ 5901 w 7868"/>
                <a:gd name="connsiteY3" fmla="*/ 0 h 0"/>
                <a:gd name="connsiteX4" fmla="*/ 9049 w 7868"/>
                <a:gd name="connsiteY4" fmla="*/ 393 h 0"/>
                <a:gd name="connsiteX5" fmla="*/ 5901 w 7868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3148" y="0"/>
                  </a:moveTo>
                  <a:lnTo>
                    <a:pt x="0" y="787"/>
                  </a:lnTo>
                  <a:lnTo>
                    <a:pt x="3148" y="393"/>
                  </a:lnTo>
                  <a:lnTo>
                    <a:pt x="5901" y="0"/>
                  </a:lnTo>
                  <a:lnTo>
                    <a:pt x="9049" y="393"/>
                  </a:lnTo>
                  <a:lnTo>
                    <a:pt x="590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53" name="Freeform: Shape 2447">
              <a:extLst>
                <a:ext uri="{FF2B5EF4-FFF2-40B4-BE49-F238E27FC236}">
                  <a16:creationId xmlns:a16="http://schemas.microsoft.com/office/drawing/2014/main" id="{25EDE87A-C2FF-4D3C-8FED-89A2123518A6}"/>
                </a:ext>
              </a:extLst>
            </p:cNvPr>
            <p:cNvSpPr/>
            <p:nvPr/>
          </p:nvSpPr>
          <p:spPr>
            <a:xfrm>
              <a:off x="6184914" y="1969824"/>
              <a:ext cx="11803" cy="3934"/>
            </a:xfrm>
            <a:custGeom>
              <a:avLst/>
              <a:gdLst>
                <a:gd name="connsiteX0" fmla="*/ 7869 w 11802"/>
                <a:gd name="connsiteY0" fmla="*/ 5115 h 3934"/>
                <a:gd name="connsiteX1" fmla="*/ 9442 w 11802"/>
                <a:gd name="connsiteY1" fmla="*/ 5901 h 3934"/>
                <a:gd name="connsiteX2" fmla="*/ 12196 w 11802"/>
                <a:gd name="connsiteY2" fmla="*/ 4721 h 3934"/>
                <a:gd name="connsiteX3" fmla="*/ 11803 w 11802"/>
                <a:gd name="connsiteY3" fmla="*/ 4328 h 3934"/>
                <a:gd name="connsiteX4" fmla="*/ 9836 w 11802"/>
                <a:gd name="connsiteY4" fmla="*/ 3541 h 3934"/>
                <a:gd name="connsiteX5" fmla="*/ 7869 w 11802"/>
                <a:gd name="connsiteY5" fmla="*/ 1967 h 3934"/>
                <a:gd name="connsiteX6" fmla="*/ 4721 w 11802"/>
                <a:gd name="connsiteY6" fmla="*/ 393 h 3934"/>
                <a:gd name="connsiteX7" fmla="*/ 3148 w 11802"/>
                <a:gd name="connsiteY7" fmla="*/ 0 h 3934"/>
                <a:gd name="connsiteX8" fmla="*/ 0 w 11802"/>
                <a:gd name="connsiteY8" fmla="*/ 1967 h 3934"/>
                <a:gd name="connsiteX9" fmla="*/ 1967 w 11802"/>
                <a:gd name="connsiteY9" fmla="*/ 1180 h 3934"/>
                <a:gd name="connsiteX10" fmla="*/ 1967 w 11802"/>
                <a:gd name="connsiteY10" fmla="*/ 1180 h 3934"/>
                <a:gd name="connsiteX11" fmla="*/ 0 w 11802"/>
                <a:gd name="connsiteY11" fmla="*/ 1967 h 3934"/>
                <a:gd name="connsiteX12" fmla="*/ 7475 w 11802"/>
                <a:gd name="connsiteY12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3934">
                  <a:moveTo>
                    <a:pt x="7869" y="5115"/>
                  </a:moveTo>
                  <a:lnTo>
                    <a:pt x="9442" y="5901"/>
                  </a:lnTo>
                  <a:lnTo>
                    <a:pt x="12196" y="4721"/>
                  </a:lnTo>
                  <a:lnTo>
                    <a:pt x="11803" y="4328"/>
                  </a:lnTo>
                  <a:lnTo>
                    <a:pt x="9836" y="3541"/>
                  </a:lnTo>
                  <a:lnTo>
                    <a:pt x="7869" y="1967"/>
                  </a:lnTo>
                  <a:lnTo>
                    <a:pt x="4721" y="393"/>
                  </a:lnTo>
                  <a:lnTo>
                    <a:pt x="3148" y="0"/>
                  </a:lnTo>
                  <a:lnTo>
                    <a:pt x="0" y="1967"/>
                  </a:lnTo>
                  <a:lnTo>
                    <a:pt x="1967" y="1180"/>
                  </a:lnTo>
                  <a:lnTo>
                    <a:pt x="1967" y="1180"/>
                  </a:lnTo>
                  <a:lnTo>
                    <a:pt x="0" y="1967"/>
                  </a:lnTo>
                  <a:lnTo>
                    <a:pt x="7475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54" name="Freeform: Shape 2448">
              <a:extLst>
                <a:ext uri="{FF2B5EF4-FFF2-40B4-BE49-F238E27FC236}">
                  <a16:creationId xmlns:a16="http://schemas.microsoft.com/office/drawing/2014/main" id="{E31AE382-4438-412A-AECF-805C089EA1DC}"/>
                </a:ext>
              </a:extLst>
            </p:cNvPr>
            <p:cNvSpPr/>
            <p:nvPr/>
          </p:nvSpPr>
          <p:spPr>
            <a:xfrm>
              <a:off x="4146965" y="5460302"/>
              <a:ext cx="7869" cy="7869"/>
            </a:xfrm>
            <a:custGeom>
              <a:avLst/>
              <a:gdLst>
                <a:gd name="connsiteX0" fmla="*/ 7869 w 7868"/>
                <a:gd name="connsiteY0" fmla="*/ 8262 h 7868"/>
                <a:gd name="connsiteX1" fmla="*/ 7082 w 7868"/>
                <a:gd name="connsiteY1" fmla="*/ 5901 h 7868"/>
                <a:gd name="connsiteX2" fmla="*/ 7475 w 7868"/>
                <a:gd name="connsiteY2" fmla="*/ 4721 h 7868"/>
                <a:gd name="connsiteX3" fmla="*/ 10623 w 7868"/>
                <a:gd name="connsiteY3" fmla="*/ 6689 h 7868"/>
                <a:gd name="connsiteX4" fmla="*/ 9049 w 7868"/>
                <a:gd name="connsiteY4" fmla="*/ 3541 h 7868"/>
                <a:gd name="connsiteX5" fmla="*/ 7869 w 7868"/>
                <a:gd name="connsiteY5" fmla="*/ 787 h 7868"/>
                <a:gd name="connsiteX6" fmla="*/ 5115 w 7868"/>
                <a:gd name="connsiteY6" fmla="*/ 0 h 7868"/>
                <a:gd name="connsiteX7" fmla="*/ 1967 w 7868"/>
                <a:gd name="connsiteY7" fmla="*/ 1574 h 7868"/>
                <a:gd name="connsiteX8" fmla="*/ 0 w 7868"/>
                <a:gd name="connsiteY8" fmla="*/ 4328 h 7868"/>
                <a:gd name="connsiteX9" fmla="*/ 2754 w 7868"/>
                <a:gd name="connsiteY9" fmla="*/ 6295 h 7868"/>
                <a:gd name="connsiteX10" fmla="*/ 1574 w 7868"/>
                <a:gd name="connsiteY10" fmla="*/ 9049 h 7868"/>
                <a:gd name="connsiteX11" fmla="*/ 3148 w 7868"/>
                <a:gd name="connsiteY11" fmla="*/ 8262 h 7868"/>
                <a:gd name="connsiteX12" fmla="*/ 6295 w 7868"/>
                <a:gd name="connsiteY12" fmla="*/ 7869 h 7868"/>
                <a:gd name="connsiteX13" fmla="*/ 7082 w 7868"/>
                <a:gd name="connsiteY13" fmla="*/ 6295 h 7868"/>
                <a:gd name="connsiteX14" fmla="*/ 7475 w 7868"/>
                <a:gd name="connsiteY14" fmla="*/ 826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68" h="7868">
                  <a:moveTo>
                    <a:pt x="7869" y="8262"/>
                  </a:moveTo>
                  <a:lnTo>
                    <a:pt x="7082" y="5901"/>
                  </a:lnTo>
                  <a:lnTo>
                    <a:pt x="7475" y="4721"/>
                  </a:lnTo>
                  <a:lnTo>
                    <a:pt x="10623" y="6689"/>
                  </a:lnTo>
                  <a:lnTo>
                    <a:pt x="9049" y="3541"/>
                  </a:lnTo>
                  <a:lnTo>
                    <a:pt x="7869" y="787"/>
                  </a:lnTo>
                  <a:lnTo>
                    <a:pt x="5115" y="0"/>
                  </a:lnTo>
                  <a:lnTo>
                    <a:pt x="1967" y="1574"/>
                  </a:lnTo>
                  <a:lnTo>
                    <a:pt x="0" y="4328"/>
                  </a:lnTo>
                  <a:lnTo>
                    <a:pt x="2754" y="6295"/>
                  </a:lnTo>
                  <a:lnTo>
                    <a:pt x="1574" y="9049"/>
                  </a:lnTo>
                  <a:lnTo>
                    <a:pt x="3148" y="8262"/>
                  </a:lnTo>
                  <a:lnTo>
                    <a:pt x="6295" y="7869"/>
                  </a:lnTo>
                  <a:lnTo>
                    <a:pt x="7082" y="6295"/>
                  </a:lnTo>
                  <a:lnTo>
                    <a:pt x="7475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55" name="Freeform: Shape 2449">
              <a:extLst>
                <a:ext uri="{FF2B5EF4-FFF2-40B4-BE49-F238E27FC236}">
                  <a16:creationId xmlns:a16="http://schemas.microsoft.com/office/drawing/2014/main" id="{9BEAEACB-B7F2-486F-9885-84422A07EA75}"/>
                </a:ext>
              </a:extLst>
            </p:cNvPr>
            <p:cNvSpPr/>
            <p:nvPr/>
          </p:nvSpPr>
          <p:spPr>
            <a:xfrm>
              <a:off x="6814003" y="2460426"/>
              <a:ext cx="3934" cy="3934"/>
            </a:xfrm>
            <a:custGeom>
              <a:avLst/>
              <a:gdLst>
                <a:gd name="connsiteX0" fmla="*/ 2754 w 0"/>
                <a:gd name="connsiteY0" fmla="*/ 2361 h 0"/>
                <a:gd name="connsiteX1" fmla="*/ 2754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361"/>
                  </a:moveTo>
                  <a:lnTo>
                    <a:pt x="2754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56" name="Freeform: Shape 2450">
              <a:extLst>
                <a:ext uri="{FF2B5EF4-FFF2-40B4-BE49-F238E27FC236}">
                  <a16:creationId xmlns:a16="http://schemas.microsoft.com/office/drawing/2014/main" id="{E7CEAFC2-DD7A-449C-B0E0-2AFA2C481BE2}"/>
                </a:ext>
              </a:extLst>
            </p:cNvPr>
            <p:cNvSpPr/>
            <p:nvPr/>
          </p:nvSpPr>
          <p:spPr>
            <a:xfrm>
              <a:off x="6226617" y="1727473"/>
              <a:ext cx="3934" cy="7869"/>
            </a:xfrm>
            <a:custGeom>
              <a:avLst/>
              <a:gdLst>
                <a:gd name="connsiteX0" fmla="*/ 1180 w 0"/>
                <a:gd name="connsiteY0" fmla="*/ 2754 h 7868"/>
                <a:gd name="connsiteX1" fmla="*/ 0 w 0"/>
                <a:gd name="connsiteY1" fmla="*/ 5901 h 7868"/>
                <a:gd name="connsiteX2" fmla="*/ 2754 w 0"/>
                <a:gd name="connsiteY2" fmla="*/ 7869 h 7868"/>
                <a:gd name="connsiteX3" fmla="*/ 3541 w 0"/>
                <a:gd name="connsiteY3" fmla="*/ 4721 h 7868"/>
                <a:gd name="connsiteX4" fmla="*/ 3541 w 0"/>
                <a:gd name="connsiteY4" fmla="*/ 2754 h 7868"/>
                <a:gd name="connsiteX5" fmla="*/ 2754 w 0"/>
                <a:gd name="connsiteY5" fmla="*/ 787 h 7868"/>
                <a:gd name="connsiteX6" fmla="*/ 1574 w 0"/>
                <a:gd name="connsiteY6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7868">
                  <a:moveTo>
                    <a:pt x="1180" y="2754"/>
                  </a:moveTo>
                  <a:lnTo>
                    <a:pt x="0" y="5901"/>
                  </a:lnTo>
                  <a:lnTo>
                    <a:pt x="2754" y="7869"/>
                  </a:lnTo>
                  <a:lnTo>
                    <a:pt x="3541" y="4721"/>
                  </a:lnTo>
                  <a:lnTo>
                    <a:pt x="3541" y="2754"/>
                  </a:lnTo>
                  <a:lnTo>
                    <a:pt x="2754" y="787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57" name="Freeform: Shape 2451">
              <a:extLst>
                <a:ext uri="{FF2B5EF4-FFF2-40B4-BE49-F238E27FC236}">
                  <a16:creationId xmlns:a16="http://schemas.microsoft.com/office/drawing/2014/main" id="{E8029CD1-3364-4724-8ED7-87149F89D3FE}"/>
                </a:ext>
              </a:extLst>
            </p:cNvPr>
            <p:cNvSpPr/>
            <p:nvPr/>
          </p:nvSpPr>
          <p:spPr>
            <a:xfrm>
              <a:off x="6230945" y="173022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393 h 0"/>
                <a:gd name="connsiteX2" fmla="*/ 78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393"/>
                  </a:lnTo>
                  <a:lnTo>
                    <a:pt x="78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58" name="Freeform: Shape 2452">
              <a:extLst>
                <a:ext uri="{FF2B5EF4-FFF2-40B4-BE49-F238E27FC236}">
                  <a16:creationId xmlns:a16="http://schemas.microsoft.com/office/drawing/2014/main" id="{34BEF5B4-44AE-4B61-8F2F-05935635043A}"/>
                </a:ext>
              </a:extLst>
            </p:cNvPr>
            <p:cNvSpPr/>
            <p:nvPr/>
          </p:nvSpPr>
          <p:spPr>
            <a:xfrm>
              <a:off x="6299795" y="1606691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2754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59" name="Freeform: Shape 2453">
              <a:extLst>
                <a:ext uri="{FF2B5EF4-FFF2-40B4-BE49-F238E27FC236}">
                  <a16:creationId xmlns:a16="http://schemas.microsoft.com/office/drawing/2014/main" id="{1589A880-A628-485B-B99B-46CDD5F382BA}"/>
                </a:ext>
              </a:extLst>
            </p:cNvPr>
            <p:cNvSpPr/>
            <p:nvPr/>
          </p:nvSpPr>
          <p:spPr>
            <a:xfrm>
              <a:off x="6407200" y="1464271"/>
              <a:ext cx="3934" cy="3934"/>
            </a:xfrm>
            <a:custGeom>
              <a:avLst/>
              <a:gdLst>
                <a:gd name="connsiteX0" fmla="*/ 5508 w 3934"/>
                <a:gd name="connsiteY0" fmla="*/ 4328 h 3934"/>
                <a:gd name="connsiteX1" fmla="*/ 6689 w 3934"/>
                <a:gd name="connsiteY1" fmla="*/ 3147 h 3934"/>
                <a:gd name="connsiteX2" fmla="*/ 6295 w 3934"/>
                <a:gd name="connsiteY2" fmla="*/ 0 h 3934"/>
                <a:gd name="connsiteX3" fmla="*/ 3148 w 3934"/>
                <a:gd name="connsiteY3" fmla="*/ 1967 h 3934"/>
                <a:gd name="connsiteX4" fmla="*/ 1967 w 3934"/>
                <a:gd name="connsiteY4" fmla="*/ 3147 h 3934"/>
                <a:gd name="connsiteX5" fmla="*/ 0 w 3934"/>
                <a:gd name="connsiteY5" fmla="*/ 5901 h 3934"/>
                <a:gd name="connsiteX6" fmla="*/ 3148 w 3934"/>
                <a:gd name="connsiteY6" fmla="*/ 6688 h 3934"/>
                <a:gd name="connsiteX7" fmla="*/ 5115 w 3934"/>
                <a:gd name="connsiteY7" fmla="*/ 511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3934">
                  <a:moveTo>
                    <a:pt x="5508" y="4328"/>
                  </a:moveTo>
                  <a:lnTo>
                    <a:pt x="6689" y="3147"/>
                  </a:lnTo>
                  <a:lnTo>
                    <a:pt x="6295" y="0"/>
                  </a:lnTo>
                  <a:lnTo>
                    <a:pt x="3148" y="1967"/>
                  </a:lnTo>
                  <a:lnTo>
                    <a:pt x="1967" y="3147"/>
                  </a:lnTo>
                  <a:lnTo>
                    <a:pt x="0" y="5901"/>
                  </a:lnTo>
                  <a:lnTo>
                    <a:pt x="3148" y="6688"/>
                  </a:lnTo>
                  <a:lnTo>
                    <a:pt x="5115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0" name="Freeform: Shape 2454">
              <a:extLst>
                <a:ext uri="{FF2B5EF4-FFF2-40B4-BE49-F238E27FC236}">
                  <a16:creationId xmlns:a16="http://schemas.microsoft.com/office/drawing/2014/main" id="{AAF4C02C-A277-4C32-9DBF-865E34AA789F}"/>
                </a:ext>
              </a:extLst>
            </p:cNvPr>
            <p:cNvSpPr/>
            <p:nvPr/>
          </p:nvSpPr>
          <p:spPr>
            <a:xfrm>
              <a:off x="6433953" y="1457189"/>
              <a:ext cx="3934" cy="3934"/>
            </a:xfrm>
            <a:custGeom>
              <a:avLst/>
              <a:gdLst>
                <a:gd name="connsiteX0" fmla="*/ 3541 w 0"/>
                <a:gd name="connsiteY0" fmla="*/ 2754 h 0"/>
                <a:gd name="connsiteX1" fmla="*/ 3147 w 0"/>
                <a:gd name="connsiteY1" fmla="*/ 787 h 0"/>
                <a:gd name="connsiteX2" fmla="*/ 0 w 0"/>
                <a:gd name="connsiteY2" fmla="*/ 0 h 0"/>
                <a:gd name="connsiteX3" fmla="*/ 2754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541" y="2754"/>
                  </a:moveTo>
                  <a:lnTo>
                    <a:pt x="3147" y="787"/>
                  </a:lnTo>
                  <a:lnTo>
                    <a:pt x="0" y="0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1" name="Freeform: Shape 2455">
              <a:extLst>
                <a:ext uri="{FF2B5EF4-FFF2-40B4-BE49-F238E27FC236}">
                  <a16:creationId xmlns:a16="http://schemas.microsoft.com/office/drawing/2014/main" id="{8B77BA75-0968-4737-890B-213ABB7F9818}"/>
                </a:ext>
              </a:extLst>
            </p:cNvPr>
            <p:cNvSpPr/>
            <p:nvPr/>
          </p:nvSpPr>
          <p:spPr>
            <a:xfrm>
              <a:off x="6449297" y="1440665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180 h 0"/>
                <a:gd name="connsiteX2" fmla="*/ 3147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18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2" name="Freeform: Shape 2456">
              <a:extLst>
                <a:ext uri="{FF2B5EF4-FFF2-40B4-BE49-F238E27FC236}">
                  <a16:creationId xmlns:a16="http://schemas.microsoft.com/office/drawing/2014/main" id="{433B8920-E802-4A4F-9810-105FFB39CFDC}"/>
                </a:ext>
              </a:extLst>
            </p:cNvPr>
            <p:cNvSpPr/>
            <p:nvPr/>
          </p:nvSpPr>
          <p:spPr>
            <a:xfrm>
              <a:off x="6449690" y="1459156"/>
              <a:ext cx="3934" cy="3934"/>
            </a:xfrm>
            <a:custGeom>
              <a:avLst/>
              <a:gdLst>
                <a:gd name="connsiteX0" fmla="*/ 0 w 0"/>
                <a:gd name="connsiteY0" fmla="*/ 1574 h 0"/>
                <a:gd name="connsiteX1" fmla="*/ 3147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574"/>
                  </a:move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3" name="Freeform: Shape 2457">
              <a:extLst>
                <a:ext uri="{FF2B5EF4-FFF2-40B4-BE49-F238E27FC236}">
                  <a16:creationId xmlns:a16="http://schemas.microsoft.com/office/drawing/2014/main" id="{6E36A002-89F6-4374-8FAA-574EAEBC8A32}"/>
                </a:ext>
              </a:extLst>
            </p:cNvPr>
            <p:cNvSpPr/>
            <p:nvPr/>
          </p:nvSpPr>
          <p:spPr>
            <a:xfrm>
              <a:off x="6673156" y="1142842"/>
              <a:ext cx="3934" cy="3934"/>
            </a:xfrm>
            <a:custGeom>
              <a:avLst/>
              <a:gdLst>
                <a:gd name="connsiteX0" fmla="*/ 5901 w 3934"/>
                <a:gd name="connsiteY0" fmla="*/ 787 h 0"/>
                <a:gd name="connsiteX1" fmla="*/ 2754 w 3934"/>
                <a:gd name="connsiteY1" fmla="*/ 0 h 0"/>
                <a:gd name="connsiteX2" fmla="*/ 0 w 3934"/>
                <a:gd name="connsiteY2" fmla="*/ 1574 h 0"/>
                <a:gd name="connsiteX3" fmla="*/ 2754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787"/>
                  </a:moveTo>
                  <a:lnTo>
                    <a:pt x="2754" y="0"/>
                  </a:lnTo>
                  <a:lnTo>
                    <a:pt x="0" y="1574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4" name="Freeform: Shape 2458">
              <a:extLst>
                <a:ext uri="{FF2B5EF4-FFF2-40B4-BE49-F238E27FC236}">
                  <a16:creationId xmlns:a16="http://schemas.microsoft.com/office/drawing/2014/main" id="{974A9EB1-60B2-442D-B9FB-0355D4482BBB}"/>
                </a:ext>
              </a:extLst>
            </p:cNvPr>
            <p:cNvSpPr/>
            <p:nvPr/>
          </p:nvSpPr>
          <p:spPr>
            <a:xfrm>
              <a:off x="6291927" y="1612986"/>
              <a:ext cx="3934" cy="3934"/>
            </a:xfrm>
            <a:custGeom>
              <a:avLst/>
              <a:gdLst>
                <a:gd name="connsiteX0" fmla="*/ 1573 w 0"/>
                <a:gd name="connsiteY0" fmla="*/ 2361 h 0"/>
                <a:gd name="connsiteX1" fmla="*/ 1180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3" y="2361"/>
                  </a:moveTo>
                  <a:lnTo>
                    <a:pt x="1180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5" name="Freeform: Shape 2459">
              <a:extLst>
                <a:ext uri="{FF2B5EF4-FFF2-40B4-BE49-F238E27FC236}">
                  <a16:creationId xmlns:a16="http://schemas.microsoft.com/office/drawing/2014/main" id="{CDA23FEF-C88C-4FA4-9CEC-2C8ABC9426FD}"/>
                </a:ext>
              </a:extLst>
            </p:cNvPr>
            <p:cNvSpPr/>
            <p:nvPr/>
          </p:nvSpPr>
          <p:spPr>
            <a:xfrm>
              <a:off x="7234576" y="3178823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0 w 0"/>
                <a:gd name="connsiteY1" fmla="*/ 1574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0" y="157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6" name="Freeform: Shape 2460">
              <a:extLst>
                <a:ext uri="{FF2B5EF4-FFF2-40B4-BE49-F238E27FC236}">
                  <a16:creationId xmlns:a16="http://schemas.microsoft.com/office/drawing/2014/main" id="{CFA4ADDA-4C78-475E-939D-D8AFCA2C4589}"/>
                </a:ext>
              </a:extLst>
            </p:cNvPr>
            <p:cNvSpPr/>
            <p:nvPr/>
          </p:nvSpPr>
          <p:spPr>
            <a:xfrm>
              <a:off x="2803808" y="1871467"/>
              <a:ext cx="7869" cy="3934"/>
            </a:xfrm>
            <a:custGeom>
              <a:avLst/>
              <a:gdLst>
                <a:gd name="connsiteX0" fmla="*/ 5901 w 7868"/>
                <a:gd name="connsiteY0" fmla="*/ 1574 h 3934"/>
                <a:gd name="connsiteX1" fmla="*/ 2754 w 7868"/>
                <a:gd name="connsiteY1" fmla="*/ 2754 h 3934"/>
                <a:gd name="connsiteX2" fmla="*/ 0 w 7868"/>
                <a:gd name="connsiteY2" fmla="*/ 5508 h 3934"/>
                <a:gd name="connsiteX3" fmla="*/ 9442 w 7868"/>
                <a:gd name="connsiteY3" fmla="*/ 0 h 3934"/>
                <a:gd name="connsiteX4" fmla="*/ 9049 w 7868"/>
                <a:gd name="connsiteY4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 h="3934">
                  <a:moveTo>
                    <a:pt x="5901" y="1574"/>
                  </a:moveTo>
                  <a:lnTo>
                    <a:pt x="2754" y="2754"/>
                  </a:lnTo>
                  <a:lnTo>
                    <a:pt x="0" y="5508"/>
                  </a:lnTo>
                  <a:lnTo>
                    <a:pt x="9442" y="0"/>
                  </a:lnTo>
                  <a:lnTo>
                    <a:pt x="9049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7" name="Freeform: Shape 2461">
              <a:extLst>
                <a:ext uri="{FF2B5EF4-FFF2-40B4-BE49-F238E27FC236}">
                  <a16:creationId xmlns:a16="http://schemas.microsoft.com/office/drawing/2014/main" id="{3BD00742-8D10-412A-AB80-12820E643A0F}"/>
                </a:ext>
              </a:extLst>
            </p:cNvPr>
            <p:cNvSpPr/>
            <p:nvPr/>
          </p:nvSpPr>
          <p:spPr>
            <a:xfrm>
              <a:off x="2843544" y="2063066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2361 w 0"/>
                <a:gd name="connsiteY1" fmla="*/ 0 h 0"/>
                <a:gd name="connsiteX2" fmla="*/ 118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2361" y="0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8" name="Freeform: Shape 2462">
              <a:extLst>
                <a:ext uri="{FF2B5EF4-FFF2-40B4-BE49-F238E27FC236}">
                  <a16:creationId xmlns:a16="http://schemas.microsoft.com/office/drawing/2014/main" id="{E0F6F13A-42DB-4172-90C0-53F3407C238A}"/>
                </a:ext>
              </a:extLst>
            </p:cNvPr>
            <p:cNvSpPr/>
            <p:nvPr/>
          </p:nvSpPr>
          <p:spPr>
            <a:xfrm>
              <a:off x="2747548" y="2001691"/>
              <a:ext cx="94422" cy="86554"/>
            </a:xfrm>
            <a:custGeom>
              <a:avLst/>
              <a:gdLst>
                <a:gd name="connsiteX0" fmla="*/ 88521 w 94422"/>
                <a:gd name="connsiteY0" fmla="*/ 64522 h 86553"/>
                <a:gd name="connsiteX1" fmla="*/ 88128 w 94422"/>
                <a:gd name="connsiteY1" fmla="*/ 64129 h 86553"/>
                <a:gd name="connsiteX2" fmla="*/ 85374 w 94422"/>
                <a:gd name="connsiteY2" fmla="*/ 61768 h 86553"/>
                <a:gd name="connsiteX3" fmla="*/ 86947 w 94422"/>
                <a:gd name="connsiteY3" fmla="*/ 64522 h 86553"/>
                <a:gd name="connsiteX4" fmla="*/ 87341 w 94422"/>
                <a:gd name="connsiteY4" fmla="*/ 64915 h 86553"/>
                <a:gd name="connsiteX5" fmla="*/ 84980 w 94422"/>
                <a:gd name="connsiteY5" fmla="*/ 65309 h 86553"/>
                <a:gd name="connsiteX6" fmla="*/ 84193 w 94422"/>
                <a:gd name="connsiteY6" fmla="*/ 63735 h 86553"/>
                <a:gd name="connsiteX7" fmla="*/ 82620 w 94422"/>
                <a:gd name="connsiteY7" fmla="*/ 64915 h 86553"/>
                <a:gd name="connsiteX8" fmla="*/ 82620 w 94422"/>
                <a:gd name="connsiteY8" fmla="*/ 66096 h 86553"/>
                <a:gd name="connsiteX9" fmla="*/ 80652 w 94422"/>
                <a:gd name="connsiteY9" fmla="*/ 66882 h 86553"/>
                <a:gd name="connsiteX10" fmla="*/ 80652 w 94422"/>
                <a:gd name="connsiteY10" fmla="*/ 64915 h 86553"/>
                <a:gd name="connsiteX11" fmla="*/ 79079 w 94422"/>
                <a:gd name="connsiteY11" fmla="*/ 62161 h 86553"/>
                <a:gd name="connsiteX12" fmla="*/ 81833 w 94422"/>
                <a:gd name="connsiteY12" fmla="*/ 60588 h 86553"/>
                <a:gd name="connsiteX13" fmla="*/ 82226 w 94422"/>
                <a:gd name="connsiteY13" fmla="*/ 57440 h 86553"/>
                <a:gd name="connsiteX14" fmla="*/ 80652 w 94422"/>
                <a:gd name="connsiteY14" fmla="*/ 54686 h 86553"/>
                <a:gd name="connsiteX15" fmla="*/ 77505 w 94422"/>
                <a:gd name="connsiteY15" fmla="*/ 53113 h 86553"/>
                <a:gd name="connsiteX16" fmla="*/ 74751 w 94422"/>
                <a:gd name="connsiteY16" fmla="*/ 50752 h 86553"/>
                <a:gd name="connsiteX17" fmla="*/ 71604 w 94422"/>
                <a:gd name="connsiteY17" fmla="*/ 49572 h 86553"/>
                <a:gd name="connsiteX18" fmla="*/ 68850 w 94422"/>
                <a:gd name="connsiteY18" fmla="*/ 48785 h 86553"/>
                <a:gd name="connsiteX19" fmla="*/ 65702 w 94422"/>
                <a:gd name="connsiteY19" fmla="*/ 46424 h 86553"/>
                <a:gd name="connsiteX20" fmla="*/ 64915 w 94422"/>
                <a:gd name="connsiteY20" fmla="*/ 43670 h 86553"/>
                <a:gd name="connsiteX21" fmla="*/ 65309 w 94422"/>
                <a:gd name="connsiteY21" fmla="*/ 40916 h 86553"/>
                <a:gd name="connsiteX22" fmla="*/ 68063 w 94422"/>
                <a:gd name="connsiteY22" fmla="*/ 38556 h 86553"/>
                <a:gd name="connsiteX23" fmla="*/ 67276 w 94422"/>
                <a:gd name="connsiteY23" fmla="*/ 35802 h 86553"/>
                <a:gd name="connsiteX24" fmla="*/ 66096 w 94422"/>
                <a:gd name="connsiteY24" fmla="*/ 32654 h 86553"/>
                <a:gd name="connsiteX25" fmla="*/ 65702 w 94422"/>
                <a:gd name="connsiteY25" fmla="*/ 29900 h 86553"/>
                <a:gd name="connsiteX26" fmla="*/ 66489 w 94422"/>
                <a:gd name="connsiteY26" fmla="*/ 28327 h 86553"/>
                <a:gd name="connsiteX27" fmla="*/ 66882 w 94422"/>
                <a:gd name="connsiteY27" fmla="*/ 27933 h 86553"/>
                <a:gd name="connsiteX28" fmla="*/ 66882 w 94422"/>
                <a:gd name="connsiteY28" fmla="*/ 22032 h 86553"/>
                <a:gd name="connsiteX29" fmla="*/ 68063 w 94422"/>
                <a:gd name="connsiteY29" fmla="*/ 19278 h 86553"/>
                <a:gd name="connsiteX30" fmla="*/ 66096 w 94422"/>
                <a:gd name="connsiteY30" fmla="*/ 16524 h 86553"/>
                <a:gd name="connsiteX31" fmla="*/ 63342 w 94422"/>
                <a:gd name="connsiteY31" fmla="*/ 16917 h 86553"/>
                <a:gd name="connsiteX32" fmla="*/ 60194 w 94422"/>
                <a:gd name="connsiteY32" fmla="*/ 16131 h 86553"/>
                <a:gd name="connsiteX33" fmla="*/ 57047 w 94422"/>
                <a:gd name="connsiteY33" fmla="*/ 16131 h 86553"/>
                <a:gd name="connsiteX34" fmla="*/ 54293 w 94422"/>
                <a:gd name="connsiteY34" fmla="*/ 13770 h 86553"/>
                <a:gd name="connsiteX35" fmla="*/ 51145 w 94422"/>
                <a:gd name="connsiteY35" fmla="*/ 12983 h 86553"/>
                <a:gd name="connsiteX36" fmla="*/ 48392 w 94422"/>
                <a:gd name="connsiteY36" fmla="*/ 12590 h 86553"/>
                <a:gd name="connsiteX37" fmla="*/ 45637 w 94422"/>
                <a:gd name="connsiteY37" fmla="*/ 12590 h 86553"/>
                <a:gd name="connsiteX38" fmla="*/ 42883 w 94422"/>
                <a:gd name="connsiteY38" fmla="*/ 12983 h 86553"/>
                <a:gd name="connsiteX39" fmla="*/ 39736 w 94422"/>
                <a:gd name="connsiteY39" fmla="*/ 10622 h 86553"/>
                <a:gd name="connsiteX40" fmla="*/ 36982 w 94422"/>
                <a:gd name="connsiteY40" fmla="*/ 10229 h 86553"/>
                <a:gd name="connsiteX41" fmla="*/ 33835 w 94422"/>
                <a:gd name="connsiteY41" fmla="*/ 9049 h 86553"/>
                <a:gd name="connsiteX42" fmla="*/ 31081 w 94422"/>
                <a:gd name="connsiteY42" fmla="*/ 8262 h 86553"/>
                <a:gd name="connsiteX43" fmla="*/ 27933 w 94422"/>
                <a:gd name="connsiteY43" fmla="*/ 5901 h 86553"/>
                <a:gd name="connsiteX44" fmla="*/ 25966 w 94422"/>
                <a:gd name="connsiteY44" fmla="*/ 2754 h 86553"/>
                <a:gd name="connsiteX45" fmla="*/ 22819 w 94422"/>
                <a:gd name="connsiteY45" fmla="*/ 1574 h 86553"/>
                <a:gd name="connsiteX46" fmla="*/ 20065 w 94422"/>
                <a:gd name="connsiteY46" fmla="*/ 393 h 86553"/>
                <a:gd name="connsiteX47" fmla="*/ 17311 w 94422"/>
                <a:gd name="connsiteY47" fmla="*/ 0 h 86553"/>
                <a:gd name="connsiteX48" fmla="*/ 14163 w 94422"/>
                <a:gd name="connsiteY48" fmla="*/ 0 h 86553"/>
                <a:gd name="connsiteX49" fmla="*/ 11409 w 94422"/>
                <a:gd name="connsiteY49" fmla="*/ 787 h 86553"/>
                <a:gd name="connsiteX50" fmla="*/ 8262 w 94422"/>
                <a:gd name="connsiteY50" fmla="*/ 1967 h 86553"/>
                <a:gd name="connsiteX51" fmla="*/ 5115 w 94422"/>
                <a:gd name="connsiteY51" fmla="*/ 2361 h 86553"/>
                <a:gd name="connsiteX52" fmla="*/ 2361 w 94422"/>
                <a:gd name="connsiteY52" fmla="*/ 4721 h 86553"/>
                <a:gd name="connsiteX53" fmla="*/ 1574 w 94422"/>
                <a:gd name="connsiteY53" fmla="*/ 7869 h 86553"/>
                <a:gd name="connsiteX54" fmla="*/ 1967 w 94422"/>
                <a:gd name="connsiteY54" fmla="*/ 10622 h 86553"/>
                <a:gd name="connsiteX55" fmla="*/ 3541 w 94422"/>
                <a:gd name="connsiteY55" fmla="*/ 13376 h 86553"/>
                <a:gd name="connsiteX56" fmla="*/ 6688 w 94422"/>
                <a:gd name="connsiteY56" fmla="*/ 12983 h 86553"/>
                <a:gd name="connsiteX57" fmla="*/ 9442 w 94422"/>
                <a:gd name="connsiteY57" fmla="*/ 12590 h 86553"/>
                <a:gd name="connsiteX58" fmla="*/ 12196 w 94422"/>
                <a:gd name="connsiteY58" fmla="*/ 12196 h 86553"/>
                <a:gd name="connsiteX59" fmla="*/ 15344 w 94422"/>
                <a:gd name="connsiteY59" fmla="*/ 11409 h 86553"/>
                <a:gd name="connsiteX60" fmla="*/ 18098 w 94422"/>
                <a:gd name="connsiteY60" fmla="*/ 9442 h 86553"/>
                <a:gd name="connsiteX61" fmla="*/ 15344 w 94422"/>
                <a:gd name="connsiteY61" fmla="*/ 8655 h 86553"/>
                <a:gd name="connsiteX62" fmla="*/ 18098 w 94422"/>
                <a:gd name="connsiteY62" fmla="*/ 8655 h 86553"/>
                <a:gd name="connsiteX63" fmla="*/ 21245 w 94422"/>
                <a:gd name="connsiteY63" fmla="*/ 9442 h 86553"/>
                <a:gd name="connsiteX64" fmla="*/ 23999 w 94422"/>
                <a:gd name="connsiteY64" fmla="*/ 9442 h 86553"/>
                <a:gd name="connsiteX65" fmla="*/ 21245 w 94422"/>
                <a:gd name="connsiteY65" fmla="*/ 9836 h 86553"/>
                <a:gd name="connsiteX66" fmla="*/ 18098 w 94422"/>
                <a:gd name="connsiteY66" fmla="*/ 12590 h 86553"/>
                <a:gd name="connsiteX67" fmla="*/ 17311 w 94422"/>
                <a:gd name="connsiteY67" fmla="*/ 15344 h 86553"/>
                <a:gd name="connsiteX68" fmla="*/ 17311 w 94422"/>
                <a:gd name="connsiteY68" fmla="*/ 12590 h 86553"/>
                <a:gd name="connsiteX69" fmla="*/ 14557 w 94422"/>
                <a:gd name="connsiteY69" fmla="*/ 12196 h 86553"/>
                <a:gd name="connsiteX70" fmla="*/ 11409 w 94422"/>
                <a:gd name="connsiteY70" fmla="*/ 12983 h 86553"/>
                <a:gd name="connsiteX71" fmla="*/ 8655 w 94422"/>
                <a:gd name="connsiteY71" fmla="*/ 13376 h 86553"/>
                <a:gd name="connsiteX72" fmla="*/ 5508 w 94422"/>
                <a:gd name="connsiteY72" fmla="*/ 14950 h 86553"/>
                <a:gd name="connsiteX73" fmla="*/ 4328 w 94422"/>
                <a:gd name="connsiteY73" fmla="*/ 18098 h 86553"/>
                <a:gd name="connsiteX74" fmla="*/ 7475 w 94422"/>
                <a:gd name="connsiteY74" fmla="*/ 18098 h 86553"/>
                <a:gd name="connsiteX75" fmla="*/ 5508 w 94422"/>
                <a:gd name="connsiteY75" fmla="*/ 20852 h 86553"/>
                <a:gd name="connsiteX76" fmla="*/ 2754 w 94422"/>
                <a:gd name="connsiteY76" fmla="*/ 22819 h 86553"/>
                <a:gd name="connsiteX77" fmla="*/ 0 w 94422"/>
                <a:gd name="connsiteY77" fmla="*/ 25179 h 86553"/>
                <a:gd name="connsiteX78" fmla="*/ 2754 w 94422"/>
                <a:gd name="connsiteY78" fmla="*/ 25179 h 86553"/>
                <a:gd name="connsiteX79" fmla="*/ 5508 w 94422"/>
                <a:gd name="connsiteY79" fmla="*/ 23606 h 86553"/>
                <a:gd name="connsiteX80" fmla="*/ 8655 w 94422"/>
                <a:gd name="connsiteY80" fmla="*/ 24392 h 86553"/>
                <a:gd name="connsiteX81" fmla="*/ 11409 w 94422"/>
                <a:gd name="connsiteY81" fmla="*/ 24786 h 86553"/>
                <a:gd name="connsiteX82" fmla="*/ 11803 w 94422"/>
                <a:gd name="connsiteY82" fmla="*/ 27540 h 86553"/>
                <a:gd name="connsiteX83" fmla="*/ 14557 w 94422"/>
                <a:gd name="connsiteY83" fmla="*/ 25966 h 86553"/>
                <a:gd name="connsiteX84" fmla="*/ 17704 w 94422"/>
                <a:gd name="connsiteY84" fmla="*/ 25573 h 86553"/>
                <a:gd name="connsiteX85" fmla="*/ 20852 w 94422"/>
                <a:gd name="connsiteY85" fmla="*/ 24786 h 86553"/>
                <a:gd name="connsiteX86" fmla="*/ 17704 w 94422"/>
                <a:gd name="connsiteY86" fmla="*/ 25966 h 86553"/>
                <a:gd name="connsiteX87" fmla="*/ 14950 w 94422"/>
                <a:gd name="connsiteY87" fmla="*/ 28327 h 86553"/>
                <a:gd name="connsiteX88" fmla="*/ 12590 w 94422"/>
                <a:gd name="connsiteY88" fmla="*/ 31081 h 86553"/>
                <a:gd name="connsiteX89" fmla="*/ 15737 w 94422"/>
                <a:gd name="connsiteY89" fmla="*/ 33048 h 86553"/>
                <a:gd name="connsiteX90" fmla="*/ 18491 w 94422"/>
                <a:gd name="connsiteY90" fmla="*/ 32654 h 86553"/>
                <a:gd name="connsiteX91" fmla="*/ 20065 w 94422"/>
                <a:gd name="connsiteY91" fmla="*/ 31081 h 86553"/>
                <a:gd name="connsiteX92" fmla="*/ 20458 w 94422"/>
                <a:gd name="connsiteY92" fmla="*/ 31081 h 86553"/>
                <a:gd name="connsiteX93" fmla="*/ 20065 w 94422"/>
                <a:gd name="connsiteY93" fmla="*/ 32654 h 86553"/>
                <a:gd name="connsiteX94" fmla="*/ 21638 w 94422"/>
                <a:gd name="connsiteY94" fmla="*/ 31868 h 86553"/>
                <a:gd name="connsiteX95" fmla="*/ 22819 w 94422"/>
                <a:gd name="connsiteY95" fmla="*/ 32261 h 86553"/>
                <a:gd name="connsiteX96" fmla="*/ 22032 w 94422"/>
                <a:gd name="connsiteY96" fmla="*/ 32654 h 86553"/>
                <a:gd name="connsiteX97" fmla="*/ 19278 w 94422"/>
                <a:gd name="connsiteY97" fmla="*/ 33441 h 86553"/>
                <a:gd name="connsiteX98" fmla="*/ 17704 w 94422"/>
                <a:gd name="connsiteY98" fmla="*/ 36195 h 86553"/>
                <a:gd name="connsiteX99" fmla="*/ 14557 w 94422"/>
                <a:gd name="connsiteY99" fmla="*/ 39343 h 86553"/>
                <a:gd name="connsiteX100" fmla="*/ 17704 w 94422"/>
                <a:gd name="connsiteY100" fmla="*/ 42097 h 86553"/>
                <a:gd name="connsiteX101" fmla="*/ 20458 w 94422"/>
                <a:gd name="connsiteY101" fmla="*/ 41310 h 86553"/>
                <a:gd name="connsiteX102" fmla="*/ 23606 w 94422"/>
                <a:gd name="connsiteY102" fmla="*/ 35408 h 86553"/>
                <a:gd name="connsiteX103" fmla="*/ 22819 w 94422"/>
                <a:gd name="connsiteY103" fmla="*/ 32654 h 86553"/>
                <a:gd name="connsiteX104" fmla="*/ 25179 w 94422"/>
                <a:gd name="connsiteY104" fmla="*/ 33835 h 86553"/>
                <a:gd name="connsiteX105" fmla="*/ 24786 w 94422"/>
                <a:gd name="connsiteY105" fmla="*/ 35015 h 86553"/>
                <a:gd name="connsiteX106" fmla="*/ 23606 w 94422"/>
                <a:gd name="connsiteY106" fmla="*/ 38162 h 86553"/>
                <a:gd name="connsiteX107" fmla="*/ 26753 w 94422"/>
                <a:gd name="connsiteY107" fmla="*/ 37769 h 86553"/>
                <a:gd name="connsiteX108" fmla="*/ 26360 w 94422"/>
                <a:gd name="connsiteY108" fmla="*/ 38162 h 86553"/>
                <a:gd name="connsiteX109" fmla="*/ 29507 w 94422"/>
                <a:gd name="connsiteY109" fmla="*/ 40129 h 86553"/>
                <a:gd name="connsiteX110" fmla="*/ 32261 w 94422"/>
                <a:gd name="connsiteY110" fmla="*/ 39343 h 86553"/>
                <a:gd name="connsiteX111" fmla="*/ 35015 w 94422"/>
                <a:gd name="connsiteY111" fmla="*/ 38949 h 86553"/>
                <a:gd name="connsiteX112" fmla="*/ 32654 w 94422"/>
                <a:gd name="connsiteY112" fmla="*/ 40129 h 86553"/>
                <a:gd name="connsiteX113" fmla="*/ 29900 w 94422"/>
                <a:gd name="connsiteY113" fmla="*/ 40523 h 86553"/>
                <a:gd name="connsiteX114" fmla="*/ 26753 w 94422"/>
                <a:gd name="connsiteY114" fmla="*/ 40129 h 86553"/>
                <a:gd name="connsiteX115" fmla="*/ 23606 w 94422"/>
                <a:gd name="connsiteY115" fmla="*/ 41310 h 86553"/>
                <a:gd name="connsiteX116" fmla="*/ 20852 w 94422"/>
                <a:gd name="connsiteY116" fmla="*/ 42097 h 86553"/>
                <a:gd name="connsiteX117" fmla="*/ 18885 w 94422"/>
                <a:gd name="connsiteY117" fmla="*/ 45244 h 86553"/>
                <a:gd name="connsiteX118" fmla="*/ 16524 w 94422"/>
                <a:gd name="connsiteY118" fmla="*/ 48391 h 86553"/>
                <a:gd name="connsiteX119" fmla="*/ 19671 w 94422"/>
                <a:gd name="connsiteY119" fmla="*/ 48391 h 86553"/>
                <a:gd name="connsiteX120" fmla="*/ 22425 w 94422"/>
                <a:gd name="connsiteY120" fmla="*/ 48785 h 86553"/>
                <a:gd name="connsiteX121" fmla="*/ 25573 w 94422"/>
                <a:gd name="connsiteY121" fmla="*/ 47605 h 86553"/>
                <a:gd name="connsiteX122" fmla="*/ 28327 w 94422"/>
                <a:gd name="connsiteY122" fmla="*/ 47605 h 86553"/>
                <a:gd name="connsiteX123" fmla="*/ 31474 w 94422"/>
                <a:gd name="connsiteY123" fmla="*/ 46818 h 86553"/>
                <a:gd name="connsiteX124" fmla="*/ 28720 w 94422"/>
                <a:gd name="connsiteY124" fmla="*/ 49965 h 86553"/>
                <a:gd name="connsiteX125" fmla="*/ 31868 w 94422"/>
                <a:gd name="connsiteY125" fmla="*/ 49572 h 86553"/>
                <a:gd name="connsiteX126" fmla="*/ 34622 w 94422"/>
                <a:gd name="connsiteY126" fmla="*/ 47211 h 86553"/>
                <a:gd name="connsiteX127" fmla="*/ 31868 w 94422"/>
                <a:gd name="connsiteY127" fmla="*/ 50359 h 86553"/>
                <a:gd name="connsiteX128" fmla="*/ 28720 w 94422"/>
                <a:gd name="connsiteY128" fmla="*/ 51932 h 86553"/>
                <a:gd name="connsiteX129" fmla="*/ 31868 w 94422"/>
                <a:gd name="connsiteY129" fmla="*/ 52326 h 86553"/>
                <a:gd name="connsiteX130" fmla="*/ 34622 w 94422"/>
                <a:gd name="connsiteY130" fmla="*/ 50752 h 86553"/>
                <a:gd name="connsiteX131" fmla="*/ 34228 w 94422"/>
                <a:gd name="connsiteY131" fmla="*/ 53899 h 86553"/>
                <a:gd name="connsiteX132" fmla="*/ 36982 w 94422"/>
                <a:gd name="connsiteY132" fmla="*/ 54293 h 86553"/>
                <a:gd name="connsiteX133" fmla="*/ 34228 w 94422"/>
                <a:gd name="connsiteY133" fmla="*/ 56260 h 86553"/>
                <a:gd name="connsiteX134" fmla="*/ 31081 w 94422"/>
                <a:gd name="connsiteY134" fmla="*/ 58227 h 86553"/>
                <a:gd name="connsiteX135" fmla="*/ 27933 w 94422"/>
                <a:gd name="connsiteY135" fmla="*/ 57834 h 86553"/>
                <a:gd name="connsiteX136" fmla="*/ 30687 w 94422"/>
                <a:gd name="connsiteY136" fmla="*/ 60981 h 86553"/>
                <a:gd name="connsiteX137" fmla="*/ 32654 w 94422"/>
                <a:gd name="connsiteY137" fmla="*/ 63735 h 86553"/>
                <a:gd name="connsiteX138" fmla="*/ 35802 w 94422"/>
                <a:gd name="connsiteY138" fmla="*/ 63342 h 86553"/>
                <a:gd name="connsiteX139" fmla="*/ 38949 w 94422"/>
                <a:gd name="connsiteY139" fmla="*/ 61375 h 86553"/>
                <a:gd name="connsiteX140" fmla="*/ 42097 w 94422"/>
                <a:gd name="connsiteY140" fmla="*/ 60588 h 86553"/>
                <a:gd name="connsiteX141" fmla="*/ 38949 w 94422"/>
                <a:gd name="connsiteY141" fmla="*/ 62555 h 86553"/>
                <a:gd name="connsiteX142" fmla="*/ 41703 w 94422"/>
                <a:gd name="connsiteY142" fmla="*/ 62948 h 86553"/>
                <a:gd name="connsiteX143" fmla="*/ 44851 w 94422"/>
                <a:gd name="connsiteY143" fmla="*/ 61375 h 86553"/>
                <a:gd name="connsiteX144" fmla="*/ 47605 w 94422"/>
                <a:gd name="connsiteY144" fmla="*/ 61768 h 86553"/>
                <a:gd name="connsiteX145" fmla="*/ 50359 w 94422"/>
                <a:gd name="connsiteY145" fmla="*/ 61375 h 86553"/>
                <a:gd name="connsiteX146" fmla="*/ 53506 w 94422"/>
                <a:gd name="connsiteY146" fmla="*/ 59014 h 86553"/>
                <a:gd name="connsiteX147" fmla="*/ 56653 w 94422"/>
                <a:gd name="connsiteY147" fmla="*/ 56653 h 86553"/>
                <a:gd name="connsiteX148" fmla="*/ 58621 w 94422"/>
                <a:gd name="connsiteY148" fmla="*/ 53506 h 86553"/>
                <a:gd name="connsiteX149" fmla="*/ 57440 w 94422"/>
                <a:gd name="connsiteY149" fmla="*/ 56653 h 86553"/>
                <a:gd name="connsiteX150" fmla="*/ 54293 w 94422"/>
                <a:gd name="connsiteY150" fmla="*/ 59407 h 86553"/>
                <a:gd name="connsiteX151" fmla="*/ 51539 w 94422"/>
                <a:gd name="connsiteY151" fmla="*/ 61375 h 86553"/>
                <a:gd name="connsiteX152" fmla="*/ 48785 w 94422"/>
                <a:gd name="connsiteY152" fmla="*/ 62555 h 86553"/>
                <a:gd name="connsiteX153" fmla="*/ 46031 w 94422"/>
                <a:gd name="connsiteY153" fmla="*/ 64129 h 86553"/>
                <a:gd name="connsiteX154" fmla="*/ 42883 w 94422"/>
                <a:gd name="connsiteY154" fmla="*/ 65702 h 86553"/>
                <a:gd name="connsiteX155" fmla="*/ 39736 w 94422"/>
                <a:gd name="connsiteY155" fmla="*/ 67669 h 86553"/>
                <a:gd name="connsiteX156" fmla="*/ 38949 w 94422"/>
                <a:gd name="connsiteY156" fmla="*/ 70423 h 86553"/>
                <a:gd name="connsiteX157" fmla="*/ 42097 w 94422"/>
                <a:gd name="connsiteY157" fmla="*/ 71604 h 86553"/>
                <a:gd name="connsiteX158" fmla="*/ 44851 w 94422"/>
                <a:gd name="connsiteY158" fmla="*/ 72784 h 86553"/>
                <a:gd name="connsiteX159" fmla="*/ 47605 w 94422"/>
                <a:gd name="connsiteY159" fmla="*/ 75538 h 86553"/>
                <a:gd name="connsiteX160" fmla="*/ 48785 w 94422"/>
                <a:gd name="connsiteY160" fmla="*/ 76325 h 86553"/>
                <a:gd name="connsiteX161" fmla="*/ 42883 w 94422"/>
                <a:gd name="connsiteY161" fmla="*/ 77898 h 86553"/>
                <a:gd name="connsiteX162" fmla="*/ 46031 w 94422"/>
                <a:gd name="connsiteY162" fmla="*/ 79472 h 86553"/>
                <a:gd name="connsiteX163" fmla="*/ 49178 w 94422"/>
                <a:gd name="connsiteY163" fmla="*/ 80652 h 86553"/>
                <a:gd name="connsiteX164" fmla="*/ 51932 w 94422"/>
                <a:gd name="connsiteY164" fmla="*/ 82226 h 86553"/>
                <a:gd name="connsiteX165" fmla="*/ 55080 w 94422"/>
                <a:gd name="connsiteY165" fmla="*/ 83800 h 86553"/>
                <a:gd name="connsiteX166" fmla="*/ 56260 w 94422"/>
                <a:gd name="connsiteY166" fmla="*/ 84193 h 86553"/>
                <a:gd name="connsiteX167" fmla="*/ 59014 w 94422"/>
                <a:gd name="connsiteY167" fmla="*/ 85374 h 86553"/>
                <a:gd name="connsiteX168" fmla="*/ 62161 w 94422"/>
                <a:gd name="connsiteY168" fmla="*/ 86160 h 86553"/>
                <a:gd name="connsiteX169" fmla="*/ 64915 w 94422"/>
                <a:gd name="connsiteY169" fmla="*/ 86947 h 86553"/>
                <a:gd name="connsiteX170" fmla="*/ 68063 w 94422"/>
                <a:gd name="connsiteY170" fmla="*/ 86947 h 86553"/>
                <a:gd name="connsiteX171" fmla="*/ 70817 w 94422"/>
                <a:gd name="connsiteY171" fmla="*/ 86947 h 86553"/>
                <a:gd name="connsiteX172" fmla="*/ 73964 w 94422"/>
                <a:gd name="connsiteY172" fmla="*/ 86160 h 86553"/>
                <a:gd name="connsiteX173" fmla="*/ 76718 w 94422"/>
                <a:gd name="connsiteY173" fmla="*/ 85767 h 86553"/>
                <a:gd name="connsiteX174" fmla="*/ 79472 w 94422"/>
                <a:gd name="connsiteY174" fmla="*/ 83800 h 86553"/>
                <a:gd name="connsiteX175" fmla="*/ 82620 w 94422"/>
                <a:gd name="connsiteY175" fmla="*/ 81833 h 86553"/>
                <a:gd name="connsiteX176" fmla="*/ 84193 w 94422"/>
                <a:gd name="connsiteY176" fmla="*/ 78685 h 86553"/>
                <a:gd name="connsiteX177" fmla="*/ 84980 w 94422"/>
                <a:gd name="connsiteY177" fmla="*/ 75538 h 86553"/>
                <a:gd name="connsiteX178" fmla="*/ 86554 w 94422"/>
                <a:gd name="connsiteY178" fmla="*/ 72784 h 86553"/>
                <a:gd name="connsiteX179" fmla="*/ 89308 w 94422"/>
                <a:gd name="connsiteY179" fmla="*/ 71210 h 86553"/>
                <a:gd name="connsiteX180" fmla="*/ 95209 w 94422"/>
                <a:gd name="connsiteY180" fmla="*/ 69636 h 86553"/>
                <a:gd name="connsiteX181" fmla="*/ 95996 w 94422"/>
                <a:gd name="connsiteY181" fmla="*/ 66489 h 86553"/>
                <a:gd name="connsiteX182" fmla="*/ 94029 w 94422"/>
                <a:gd name="connsiteY182" fmla="*/ 63342 h 86553"/>
                <a:gd name="connsiteX183" fmla="*/ 95996 w 94422"/>
                <a:gd name="connsiteY183" fmla="*/ 62161 h 86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94422" h="86553">
                  <a:moveTo>
                    <a:pt x="88521" y="64522"/>
                  </a:moveTo>
                  <a:lnTo>
                    <a:pt x="88128" y="64129"/>
                  </a:lnTo>
                  <a:lnTo>
                    <a:pt x="85374" y="61768"/>
                  </a:lnTo>
                  <a:lnTo>
                    <a:pt x="86947" y="64522"/>
                  </a:lnTo>
                  <a:lnTo>
                    <a:pt x="87341" y="64915"/>
                  </a:lnTo>
                  <a:lnTo>
                    <a:pt x="84980" y="65309"/>
                  </a:lnTo>
                  <a:lnTo>
                    <a:pt x="84193" y="63735"/>
                  </a:lnTo>
                  <a:lnTo>
                    <a:pt x="82620" y="64915"/>
                  </a:lnTo>
                  <a:lnTo>
                    <a:pt x="82620" y="66096"/>
                  </a:lnTo>
                  <a:lnTo>
                    <a:pt x="80652" y="66882"/>
                  </a:lnTo>
                  <a:lnTo>
                    <a:pt x="80652" y="64915"/>
                  </a:lnTo>
                  <a:lnTo>
                    <a:pt x="79079" y="62161"/>
                  </a:lnTo>
                  <a:lnTo>
                    <a:pt x="81833" y="60588"/>
                  </a:lnTo>
                  <a:lnTo>
                    <a:pt x="82226" y="57440"/>
                  </a:lnTo>
                  <a:lnTo>
                    <a:pt x="80652" y="54686"/>
                  </a:lnTo>
                  <a:lnTo>
                    <a:pt x="77505" y="53113"/>
                  </a:lnTo>
                  <a:lnTo>
                    <a:pt x="74751" y="50752"/>
                  </a:lnTo>
                  <a:lnTo>
                    <a:pt x="71604" y="49572"/>
                  </a:lnTo>
                  <a:lnTo>
                    <a:pt x="68850" y="48785"/>
                  </a:lnTo>
                  <a:lnTo>
                    <a:pt x="65702" y="46424"/>
                  </a:lnTo>
                  <a:lnTo>
                    <a:pt x="64915" y="43670"/>
                  </a:lnTo>
                  <a:lnTo>
                    <a:pt x="65309" y="40916"/>
                  </a:lnTo>
                  <a:lnTo>
                    <a:pt x="68063" y="38556"/>
                  </a:lnTo>
                  <a:lnTo>
                    <a:pt x="67276" y="35802"/>
                  </a:lnTo>
                  <a:lnTo>
                    <a:pt x="66096" y="32654"/>
                  </a:lnTo>
                  <a:lnTo>
                    <a:pt x="65702" y="29900"/>
                  </a:lnTo>
                  <a:lnTo>
                    <a:pt x="66489" y="28327"/>
                  </a:lnTo>
                  <a:lnTo>
                    <a:pt x="66882" y="27933"/>
                  </a:lnTo>
                  <a:lnTo>
                    <a:pt x="66882" y="22032"/>
                  </a:lnTo>
                  <a:lnTo>
                    <a:pt x="68063" y="19278"/>
                  </a:lnTo>
                  <a:lnTo>
                    <a:pt x="66096" y="16524"/>
                  </a:lnTo>
                  <a:lnTo>
                    <a:pt x="63342" y="16917"/>
                  </a:lnTo>
                  <a:lnTo>
                    <a:pt x="60194" y="16131"/>
                  </a:lnTo>
                  <a:lnTo>
                    <a:pt x="57047" y="16131"/>
                  </a:lnTo>
                  <a:lnTo>
                    <a:pt x="54293" y="13770"/>
                  </a:lnTo>
                  <a:lnTo>
                    <a:pt x="51145" y="12983"/>
                  </a:lnTo>
                  <a:lnTo>
                    <a:pt x="48392" y="12590"/>
                  </a:lnTo>
                  <a:lnTo>
                    <a:pt x="45637" y="12590"/>
                  </a:lnTo>
                  <a:lnTo>
                    <a:pt x="42883" y="12983"/>
                  </a:lnTo>
                  <a:lnTo>
                    <a:pt x="39736" y="10622"/>
                  </a:lnTo>
                  <a:lnTo>
                    <a:pt x="36982" y="10229"/>
                  </a:lnTo>
                  <a:lnTo>
                    <a:pt x="33835" y="9049"/>
                  </a:lnTo>
                  <a:lnTo>
                    <a:pt x="31081" y="8262"/>
                  </a:lnTo>
                  <a:lnTo>
                    <a:pt x="27933" y="5901"/>
                  </a:lnTo>
                  <a:lnTo>
                    <a:pt x="25966" y="2754"/>
                  </a:lnTo>
                  <a:lnTo>
                    <a:pt x="22819" y="1574"/>
                  </a:lnTo>
                  <a:lnTo>
                    <a:pt x="20065" y="393"/>
                  </a:lnTo>
                  <a:lnTo>
                    <a:pt x="17311" y="0"/>
                  </a:lnTo>
                  <a:lnTo>
                    <a:pt x="14163" y="0"/>
                  </a:lnTo>
                  <a:lnTo>
                    <a:pt x="11409" y="787"/>
                  </a:lnTo>
                  <a:lnTo>
                    <a:pt x="8262" y="1967"/>
                  </a:lnTo>
                  <a:lnTo>
                    <a:pt x="5115" y="2361"/>
                  </a:lnTo>
                  <a:lnTo>
                    <a:pt x="2361" y="4721"/>
                  </a:lnTo>
                  <a:lnTo>
                    <a:pt x="1574" y="7869"/>
                  </a:lnTo>
                  <a:lnTo>
                    <a:pt x="1967" y="10622"/>
                  </a:lnTo>
                  <a:lnTo>
                    <a:pt x="3541" y="13376"/>
                  </a:lnTo>
                  <a:lnTo>
                    <a:pt x="6688" y="12983"/>
                  </a:lnTo>
                  <a:lnTo>
                    <a:pt x="9442" y="12590"/>
                  </a:lnTo>
                  <a:lnTo>
                    <a:pt x="12196" y="12196"/>
                  </a:lnTo>
                  <a:lnTo>
                    <a:pt x="15344" y="11409"/>
                  </a:lnTo>
                  <a:lnTo>
                    <a:pt x="18098" y="9442"/>
                  </a:lnTo>
                  <a:lnTo>
                    <a:pt x="15344" y="8655"/>
                  </a:lnTo>
                  <a:lnTo>
                    <a:pt x="18098" y="8655"/>
                  </a:lnTo>
                  <a:lnTo>
                    <a:pt x="21245" y="9442"/>
                  </a:lnTo>
                  <a:lnTo>
                    <a:pt x="23999" y="9442"/>
                  </a:lnTo>
                  <a:lnTo>
                    <a:pt x="21245" y="9836"/>
                  </a:lnTo>
                  <a:lnTo>
                    <a:pt x="18098" y="12590"/>
                  </a:lnTo>
                  <a:lnTo>
                    <a:pt x="17311" y="15344"/>
                  </a:lnTo>
                  <a:lnTo>
                    <a:pt x="17311" y="12590"/>
                  </a:lnTo>
                  <a:lnTo>
                    <a:pt x="14557" y="12196"/>
                  </a:lnTo>
                  <a:lnTo>
                    <a:pt x="11409" y="12983"/>
                  </a:lnTo>
                  <a:lnTo>
                    <a:pt x="8655" y="13376"/>
                  </a:lnTo>
                  <a:lnTo>
                    <a:pt x="5508" y="14950"/>
                  </a:lnTo>
                  <a:lnTo>
                    <a:pt x="4328" y="18098"/>
                  </a:lnTo>
                  <a:lnTo>
                    <a:pt x="7475" y="18098"/>
                  </a:lnTo>
                  <a:lnTo>
                    <a:pt x="5508" y="20852"/>
                  </a:lnTo>
                  <a:lnTo>
                    <a:pt x="2754" y="22819"/>
                  </a:lnTo>
                  <a:lnTo>
                    <a:pt x="0" y="25179"/>
                  </a:lnTo>
                  <a:lnTo>
                    <a:pt x="2754" y="25179"/>
                  </a:lnTo>
                  <a:lnTo>
                    <a:pt x="5508" y="23606"/>
                  </a:lnTo>
                  <a:lnTo>
                    <a:pt x="8655" y="24392"/>
                  </a:lnTo>
                  <a:lnTo>
                    <a:pt x="11409" y="24786"/>
                  </a:lnTo>
                  <a:lnTo>
                    <a:pt x="11803" y="27540"/>
                  </a:lnTo>
                  <a:lnTo>
                    <a:pt x="14557" y="25966"/>
                  </a:lnTo>
                  <a:lnTo>
                    <a:pt x="17704" y="25573"/>
                  </a:lnTo>
                  <a:lnTo>
                    <a:pt x="20852" y="24786"/>
                  </a:lnTo>
                  <a:lnTo>
                    <a:pt x="17704" y="25966"/>
                  </a:lnTo>
                  <a:lnTo>
                    <a:pt x="14950" y="28327"/>
                  </a:lnTo>
                  <a:lnTo>
                    <a:pt x="12590" y="31081"/>
                  </a:lnTo>
                  <a:lnTo>
                    <a:pt x="15737" y="33048"/>
                  </a:lnTo>
                  <a:lnTo>
                    <a:pt x="18491" y="32654"/>
                  </a:lnTo>
                  <a:lnTo>
                    <a:pt x="20065" y="31081"/>
                  </a:lnTo>
                  <a:lnTo>
                    <a:pt x="20458" y="31081"/>
                  </a:lnTo>
                  <a:lnTo>
                    <a:pt x="20065" y="32654"/>
                  </a:lnTo>
                  <a:lnTo>
                    <a:pt x="21638" y="31868"/>
                  </a:lnTo>
                  <a:lnTo>
                    <a:pt x="22819" y="32261"/>
                  </a:lnTo>
                  <a:lnTo>
                    <a:pt x="22032" y="32654"/>
                  </a:lnTo>
                  <a:lnTo>
                    <a:pt x="19278" y="33441"/>
                  </a:lnTo>
                  <a:lnTo>
                    <a:pt x="17704" y="36195"/>
                  </a:lnTo>
                  <a:lnTo>
                    <a:pt x="14557" y="39343"/>
                  </a:lnTo>
                  <a:lnTo>
                    <a:pt x="17704" y="42097"/>
                  </a:lnTo>
                  <a:lnTo>
                    <a:pt x="20458" y="41310"/>
                  </a:lnTo>
                  <a:lnTo>
                    <a:pt x="23606" y="35408"/>
                  </a:lnTo>
                  <a:lnTo>
                    <a:pt x="22819" y="32654"/>
                  </a:lnTo>
                  <a:lnTo>
                    <a:pt x="25179" y="33835"/>
                  </a:lnTo>
                  <a:lnTo>
                    <a:pt x="24786" y="35015"/>
                  </a:lnTo>
                  <a:lnTo>
                    <a:pt x="23606" y="38162"/>
                  </a:lnTo>
                  <a:lnTo>
                    <a:pt x="26753" y="37769"/>
                  </a:lnTo>
                  <a:lnTo>
                    <a:pt x="26360" y="38162"/>
                  </a:lnTo>
                  <a:lnTo>
                    <a:pt x="29507" y="40129"/>
                  </a:lnTo>
                  <a:lnTo>
                    <a:pt x="32261" y="39343"/>
                  </a:lnTo>
                  <a:lnTo>
                    <a:pt x="35015" y="38949"/>
                  </a:lnTo>
                  <a:lnTo>
                    <a:pt x="32654" y="40129"/>
                  </a:lnTo>
                  <a:lnTo>
                    <a:pt x="29900" y="40523"/>
                  </a:lnTo>
                  <a:lnTo>
                    <a:pt x="26753" y="40129"/>
                  </a:lnTo>
                  <a:lnTo>
                    <a:pt x="23606" y="41310"/>
                  </a:lnTo>
                  <a:lnTo>
                    <a:pt x="20852" y="42097"/>
                  </a:lnTo>
                  <a:lnTo>
                    <a:pt x="18885" y="45244"/>
                  </a:lnTo>
                  <a:lnTo>
                    <a:pt x="16524" y="48391"/>
                  </a:lnTo>
                  <a:lnTo>
                    <a:pt x="19671" y="48391"/>
                  </a:lnTo>
                  <a:lnTo>
                    <a:pt x="22425" y="48785"/>
                  </a:lnTo>
                  <a:lnTo>
                    <a:pt x="25573" y="47605"/>
                  </a:lnTo>
                  <a:lnTo>
                    <a:pt x="28327" y="47605"/>
                  </a:lnTo>
                  <a:lnTo>
                    <a:pt x="31474" y="46818"/>
                  </a:lnTo>
                  <a:lnTo>
                    <a:pt x="28720" y="49965"/>
                  </a:lnTo>
                  <a:lnTo>
                    <a:pt x="31868" y="49572"/>
                  </a:lnTo>
                  <a:lnTo>
                    <a:pt x="34622" y="47211"/>
                  </a:lnTo>
                  <a:lnTo>
                    <a:pt x="31868" y="50359"/>
                  </a:lnTo>
                  <a:lnTo>
                    <a:pt x="28720" y="51932"/>
                  </a:lnTo>
                  <a:lnTo>
                    <a:pt x="31868" y="52326"/>
                  </a:lnTo>
                  <a:lnTo>
                    <a:pt x="34622" y="50752"/>
                  </a:lnTo>
                  <a:lnTo>
                    <a:pt x="34228" y="53899"/>
                  </a:lnTo>
                  <a:lnTo>
                    <a:pt x="36982" y="54293"/>
                  </a:lnTo>
                  <a:lnTo>
                    <a:pt x="34228" y="56260"/>
                  </a:lnTo>
                  <a:lnTo>
                    <a:pt x="31081" y="58227"/>
                  </a:lnTo>
                  <a:lnTo>
                    <a:pt x="27933" y="57834"/>
                  </a:lnTo>
                  <a:lnTo>
                    <a:pt x="30687" y="60981"/>
                  </a:lnTo>
                  <a:lnTo>
                    <a:pt x="32654" y="63735"/>
                  </a:lnTo>
                  <a:lnTo>
                    <a:pt x="35802" y="63342"/>
                  </a:lnTo>
                  <a:lnTo>
                    <a:pt x="38949" y="61375"/>
                  </a:lnTo>
                  <a:lnTo>
                    <a:pt x="42097" y="60588"/>
                  </a:lnTo>
                  <a:lnTo>
                    <a:pt x="38949" y="62555"/>
                  </a:lnTo>
                  <a:lnTo>
                    <a:pt x="41703" y="62948"/>
                  </a:lnTo>
                  <a:lnTo>
                    <a:pt x="44851" y="61375"/>
                  </a:lnTo>
                  <a:lnTo>
                    <a:pt x="47605" y="61768"/>
                  </a:lnTo>
                  <a:lnTo>
                    <a:pt x="50359" y="61375"/>
                  </a:lnTo>
                  <a:lnTo>
                    <a:pt x="53506" y="59014"/>
                  </a:lnTo>
                  <a:lnTo>
                    <a:pt x="56653" y="56653"/>
                  </a:lnTo>
                  <a:lnTo>
                    <a:pt x="58621" y="53506"/>
                  </a:lnTo>
                  <a:lnTo>
                    <a:pt x="57440" y="56653"/>
                  </a:lnTo>
                  <a:lnTo>
                    <a:pt x="54293" y="59407"/>
                  </a:lnTo>
                  <a:lnTo>
                    <a:pt x="51539" y="61375"/>
                  </a:lnTo>
                  <a:lnTo>
                    <a:pt x="48785" y="62555"/>
                  </a:lnTo>
                  <a:lnTo>
                    <a:pt x="46031" y="64129"/>
                  </a:lnTo>
                  <a:lnTo>
                    <a:pt x="42883" y="65702"/>
                  </a:lnTo>
                  <a:lnTo>
                    <a:pt x="39736" y="67669"/>
                  </a:lnTo>
                  <a:lnTo>
                    <a:pt x="38949" y="70423"/>
                  </a:lnTo>
                  <a:lnTo>
                    <a:pt x="42097" y="71604"/>
                  </a:lnTo>
                  <a:lnTo>
                    <a:pt x="44851" y="72784"/>
                  </a:lnTo>
                  <a:lnTo>
                    <a:pt x="47605" y="75538"/>
                  </a:lnTo>
                  <a:lnTo>
                    <a:pt x="48785" y="76325"/>
                  </a:lnTo>
                  <a:lnTo>
                    <a:pt x="42883" y="77898"/>
                  </a:lnTo>
                  <a:lnTo>
                    <a:pt x="46031" y="79472"/>
                  </a:lnTo>
                  <a:lnTo>
                    <a:pt x="49178" y="80652"/>
                  </a:lnTo>
                  <a:lnTo>
                    <a:pt x="51932" y="82226"/>
                  </a:lnTo>
                  <a:lnTo>
                    <a:pt x="55080" y="83800"/>
                  </a:lnTo>
                  <a:lnTo>
                    <a:pt x="56260" y="84193"/>
                  </a:lnTo>
                  <a:lnTo>
                    <a:pt x="59014" y="85374"/>
                  </a:lnTo>
                  <a:lnTo>
                    <a:pt x="62161" y="86160"/>
                  </a:lnTo>
                  <a:lnTo>
                    <a:pt x="64915" y="86947"/>
                  </a:lnTo>
                  <a:lnTo>
                    <a:pt x="68063" y="86947"/>
                  </a:lnTo>
                  <a:lnTo>
                    <a:pt x="70817" y="86947"/>
                  </a:lnTo>
                  <a:lnTo>
                    <a:pt x="73964" y="86160"/>
                  </a:lnTo>
                  <a:lnTo>
                    <a:pt x="76718" y="85767"/>
                  </a:lnTo>
                  <a:lnTo>
                    <a:pt x="79472" y="83800"/>
                  </a:lnTo>
                  <a:lnTo>
                    <a:pt x="82620" y="81833"/>
                  </a:lnTo>
                  <a:lnTo>
                    <a:pt x="84193" y="78685"/>
                  </a:lnTo>
                  <a:lnTo>
                    <a:pt x="84980" y="75538"/>
                  </a:lnTo>
                  <a:lnTo>
                    <a:pt x="86554" y="72784"/>
                  </a:lnTo>
                  <a:lnTo>
                    <a:pt x="89308" y="71210"/>
                  </a:lnTo>
                  <a:lnTo>
                    <a:pt x="95209" y="69636"/>
                  </a:lnTo>
                  <a:lnTo>
                    <a:pt x="95996" y="66489"/>
                  </a:lnTo>
                  <a:lnTo>
                    <a:pt x="94029" y="63342"/>
                  </a:lnTo>
                  <a:lnTo>
                    <a:pt x="95996" y="621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9" name="Freeform: Shape 2463">
              <a:extLst>
                <a:ext uri="{FF2B5EF4-FFF2-40B4-BE49-F238E27FC236}">
                  <a16:creationId xmlns:a16="http://schemas.microsoft.com/office/drawing/2014/main" id="{D1C14A8B-16DA-4F61-9DE9-DC3D643C29EB}"/>
                </a:ext>
              </a:extLst>
            </p:cNvPr>
            <p:cNvSpPr/>
            <p:nvPr/>
          </p:nvSpPr>
          <p:spPr>
            <a:xfrm>
              <a:off x="4266567" y="2196437"/>
              <a:ext cx="3934" cy="3934"/>
            </a:xfrm>
            <a:custGeom>
              <a:avLst/>
              <a:gdLst>
                <a:gd name="connsiteX0" fmla="*/ 1180 w 0"/>
                <a:gd name="connsiteY0" fmla="*/ 5508 h 3934"/>
                <a:gd name="connsiteX1" fmla="*/ 787 w 0"/>
                <a:gd name="connsiteY1" fmla="*/ 2754 h 3934"/>
                <a:gd name="connsiteX2" fmla="*/ 0 w 0"/>
                <a:gd name="connsiteY2" fmla="*/ 0 h 3934"/>
                <a:gd name="connsiteX3" fmla="*/ 0 w 0"/>
                <a:gd name="connsiteY3" fmla="*/ 747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180" y="5508"/>
                  </a:moveTo>
                  <a:lnTo>
                    <a:pt x="787" y="2754"/>
                  </a:lnTo>
                  <a:lnTo>
                    <a:pt x="0" y="0"/>
                  </a:lnTo>
                  <a:lnTo>
                    <a:pt x="0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0" name="Freeform: Shape 2464">
              <a:extLst>
                <a:ext uri="{FF2B5EF4-FFF2-40B4-BE49-F238E27FC236}">
                  <a16:creationId xmlns:a16="http://schemas.microsoft.com/office/drawing/2014/main" id="{F5FBB558-10DE-40B7-B5A4-AD95D62FB370}"/>
                </a:ext>
              </a:extLst>
            </p:cNvPr>
            <p:cNvSpPr/>
            <p:nvPr/>
          </p:nvSpPr>
          <p:spPr>
            <a:xfrm>
              <a:off x="4421577" y="3529366"/>
              <a:ext cx="3934" cy="3934"/>
            </a:xfrm>
            <a:custGeom>
              <a:avLst/>
              <a:gdLst>
                <a:gd name="connsiteX0" fmla="*/ 0 w 0"/>
                <a:gd name="connsiteY0" fmla="*/ 2361 h 0"/>
                <a:gd name="connsiteX1" fmla="*/ 0 w 0"/>
                <a:gd name="connsiteY1" fmla="*/ 2754 h 0"/>
                <a:gd name="connsiteX2" fmla="*/ 118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361"/>
                  </a:moveTo>
                  <a:lnTo>
                    <a:pt x="0" y="2754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1" name="Freeform: Shape 2465">
              <a:extLst>
                <a:ext uri="{FF2B5EF4-FFF2-40B4-BE49-F238E27FC236}">
                  <a16:creationId xmlns:a16="http://schemas.microsoft.com/office/drawing/2014/main" id="{6899EC8F-D682-4F1E-89CE-EDE051B0E414}"/>
                </a:ext>
              </a:extLst>
            </p:cNvPr>
            <p:cNvSpPr/>
            <p:nvPr/>
          </p:nvSpPr>
          <p:spPr>
            <a:xfrm>
              <a:off x="6664108" y="1531940"/>
              <a:ext cx="3934" cy="7869"/>
            </a:xfrm>
            <a:custGeom>
              <a:avLst/>
              <a:gdLst>
                <a:gd name="connsiteX0" fmla="*/ 1180 w 0"/>
                <a:gd name="connsiteY0" fmla="*/ 3147 h 7868"/>
                <a:gd name="connsiteX1" fmla="*/ 0 w 0"/>
                <a:gd name="connsiteY1" fmla="*/ 0 h 7868"/>
                <a:gd name="connsiteX2" fmla="*/ 0 w 0"/>
                <a:gd name="connsiteY2" fmla="*/ 904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7868">
                  <a:moveTo>
                    <a:pt x="1180" y="3147"/>
                  </a:moveTo>
                  <a:lnTo>
                    <a:pt x="0" y="0"/>
                  </a:lnTo>
                  <a:lnTo>
                    <a:pt x="0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2" name="Freeform: Shape 2466">
              <a:extLst>
                <a:ext uri="{FF2B5EF4-FFF2-40B4-BE49-F238E27FC236}">
                  <a16:creationId xmlns:a16="http://schemas.microsoft.com/office/drawing/2014/main" id="{D062AE61-F8FB-4714-AD21-0D2E71C05B6B}"/>
                </a:ext>
              </a:extLst>
            </p:cNvPr>
            <p:cNvSpPr/>
            <p:nvPr/>
          </p:nvSpPr>
          <p:spPr>
            <a:xfrm>
              <a:off x="6762071" y="1696392"/>
              <a:ext cx="3934" cy="3934"/>
            </a:xfrm>
            <a:custGeom>
              <a:avLst/>
              <a:gdLst>
                <a:gd name="connsiteX0" fmla="*/ 5114 w 3934"/>
                <a:gd name="connsiteY0" fmla="*/ 393 h 3934"/>
                <a:gd name="connsiteX1" fmla="*/ 5114 w 3934"/>
                <a:gd name="connsiteY1" fmla="*/ 0 h 3934"/>
                <a:gd name="connsiteX2" fmla="*/ 0 w 3934"/>
                <a:gd name="connsiteY2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5114" y="393"/>
                  </a:moveTo>
                  <a:lnTo>
                    <a:pt x="5114" y="0"/>
                  </a:lnTo>
                  <a:lnTo>
                    <a:pt x="0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3" name="Freeform: Shape 2467">
              <a:extLst>
                <a:ext uri="{FF2B5EF4-FFF2-40B4-BE49-F238E27FC236}">
                  <a16:creationId xmlns:a16="http://schemas.microsoft.com/office/drawing/2014/main" id="{79BFCD15-7183-4CD7-B055-EDC8A4762ECA}"/>
                </a:ext>
              </a:extLst>
            </p:cNvPr>
            <p:cNvSpPr/>
            <p:nvPr/>
          </p:nvSpPr>
          <p:spPr>
            <a:xfrm>
              <a:off x="6365890" y="1740063"/>
              <a:ext cx="3934" cy="3934"/>
            </a:xfrm>
            <a:custGeom>
              <a:avLst/>
              <a:gdLst>
                <a:gd name="connsiteX0" fmla="*/ 1574 w 3934"/>
                <a:gd name="connsiteY0" fmla="*/ 1574 h 0"/>
                <a:gd name="connsiteX1" fmla="*/ 4721 w 3934"/>
                <a:gd name="connsiteY1" fmla="*/ 0 h 0"/>
                <a:gd name="connsiteX2" fmla="*/ 4721 w 3934"/>
                <a:gd name="connsiteY2" fmla="*/ 0 h 0"/>
                <a:gd name="connsiteX3" fmla="*/ 0 w 3934"/>
                <a:gd name="connsiteY3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574" y="1574"/>
                  </a:moveTo>
                  <a:lnTo>
                    <a:pt x="4721" y="0"/>
                  </a:lnTo>
                  <a:lnTo>
                    <a:pt x="4721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4" name="Freeform: Shape 2468">
              <a:extLst>
                <a:ext uri="{FF2B5EF4-FFF2-40B4-BE49-F238E27FC236}">
                  <a16:creationId xmlns:a16="http://schemas.microsoft.com/office/drawing/2014/main" id="{9FABC1A1-DC3E-46E6-9EB5-D71715EE8198}"/>
                </a:ext>
              </a:extLst>
            </p:cNvPr>
            <p:cNvSpPr/>
            <p:nvPr/>
          </p:nvSpPr>
          <p:spPr>
            <a:xfrm>
              <a:off x="7059108" y="2181880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3541 h 0"/>
                <a:gd name="connsiteX2" fmla="*/ 393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3541"/>
                  </a:lnTo>
                  <a:lnTo>
                    <a:pt x="393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5" name="Freeform: Shape 2469">
              <a:extLst>
                <a:ext uri="{FF2B5EF4-FFF2-40B4-BE49-F238E27FC236}">
                  <a16:creationId xmlns:a16="http://schemas.microsoft.com/office/drawing/2014/main" id="{E51D925A-3B90-4594-AE76-FDB1DB09B5DE}"/>
                </a:ext>
              </a:extLst>
            </p:cNvPr>
            <p:cNvSpPr/>
            <p:nvPr/>
          </p:nvSpPr>
          <p:spPr>
            <a:xfrm>
              <a:off x="7057141" y="2185421"/>
              <a:ext cx="3934" cy="3934"/>
            </a:xfrm>
            <a:custGeom>
              <a:avLst/>
              <a:gdLst>
                <a:gd name="connsiteX0" fmla="*/ 1180 w 0"/>
                <a:gd name="connsiteY0" fmla="*/ 2360 h 3934"/>
                <a:gd name="connsiteX1" fmla="*/ 393 w 0"/>
                <a:gd name="connsiteY1" fmla="*/ 5114 h 3934"/>
                <a:gd name="connsiteX2" fmla="*/ 0 w 0"/>
                <a:gd name="connsiteY2" fmla="*/ 6295 h 3934"/>
                <a:gd name="connsiteX3" fmla="*/ 1967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180" y="2360"/>
                  </a:moveTo>
                  <a:lnTo>
                    <a:pt x="393" y="5114"/>
                  </a:lnTo>
                  <a:lnTo>
                    <a:pt x="0" y="6295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6" name="Freeform: Shape 2470">
              <a:extLst>
                <a:ext uri="{FF2B5EF4-FFF2-40B4-BE49-F238E27FC236}">
                  <a16:creationId xmlns:a16="http://schemas.microsoft.com/office/drawing/2014/main" id="{56BB2193-42CB-4B5C-B9BF-86F1CA007FFC}"/>
                </a:ext>
              </a:extLst>
            </p:cNvPr>
            <p:cNvSpPr/>
            <p:nvPr/>
          </p:nvSpPr>
          <p:spPr>
            <a:xfrm>
              <a:off x="7455682" y="2705531"/>
              <a:ext cx="3934" cy="3934"/>
            </a:xfrm>
            <a:custGeom>
              <a:avLst/>
              <a:gdLst>
                <a:gd name="connsiteX0" fmla="*/ 6295 w 3934"/>
                <a:gd name="connsiteY0" fmla="*/ 3934 h 3934"/>
                <a:gd name="connsiteX1" fmla="*/ 0 w 3934"/>
                <a:gd name="connsiteY1" fmla="*/ 0 h 3934"/>
                <a:gd name="connsiteX2" fmla="*/ 3148 w 3934"/>
                <a:gd name="connsiteY2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6295" y="3934"/>
                  </a:moveTo>
                  <a:lnTo>
                    <a:pt x="0" y="0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7" name="Freeform: Shape 2471">
              <a:extLst>
                <a:ext uri="{FF2B5EF4-FFF2-40B4-BE49-F238E27FC236}">
                  <a16:creationId xmlns:a16="http://schemas.microsoft.com/office/drawing/2014/main" id="{0B93C062-69A6-407C-85BD-E967A0E057A1}"/>
                </a:ext>
              </a:extLst>
            </p:cNvPr>
            <p:cNvSpPr/>
            <p:nvPr/>
          </p:nvSpPr>
          <p:spPr>
            <a:xfrm>
              <a:off x="8048182" y="2916407"/>
              <a:ext cx="3934" cy="3934"/>
            </a:xfrm>
            <a:custGeom>
              <a:avLst/>
              <a:gdLst>
                <a:gd name="connsiteX0" fmla="*/ 1574 w 0"/>
                <a:gd name="connsiteY0" fmla="*/ 1180 h 3934"/>
                <a:gd name="connsiteX1" fmla="*/ 1574 w 0"/>
                <a:gd name="connsiteY1" fmla="*/ 0 h 3934"/>
                <a:gd name="connsiteX2" fmla="*/ 0 w 0"/>
                <a:gd name="connsiteY2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574" y="1180"/>
                  </a:moveTo>
                  <a:lnTo>
                    <a:pt x="1574" y="0"/>
                  </a:lnTo>
                  <a:lnTo>
                    <a:pt x="0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8" name="Freeform: Shape 2472">
              <a:extLst>
                <a:ext uri="{FF2B5EF4-FFF2-40B4-BE49-F238E27FC236}">
                  <a16:creationId xmlns:a16="http://schemas.microsoft.com/office/drawing/2014/main" id="{307A2B7C-8627-4D23-A3AF-EA8C03A38217}"/>
                </a:ext>
              </a:extLst>
            </p:cNvPr>
            <p:cNvSpPr/>
            <p:nvPr/>
          </p:nvSpPr>
          <p:spPr>
            <a:xfrm>
              <a:off x="6335203" y="1873041"/>
              <a:ext cx="7869" cy="3934"/>
            </a:xfrm>
            <a:custGeom>
              <a:avLst/>
              <a:gdLst>
                <a:gd name="connsiteX0" fmla="*/ 6295 w 7868"/>
                <a:gd name="connsiteY0" fmla="*/ 393 h 0"/>
                <a:gd name="connsiteX1" fmla="*/ 3147 w 7868"/>
                <a:gd name="connsiteY1" fmla="*/ 0 h 0"/>
                <a:gd name="connsiteX2" fmla="*/ 0 w 7868"/>
                <a:gd name="connsiteY2" fmla="*/ 0 h 0"/>
                <a:gd name="connsiteX3" fmla="*/ 7869 w 7868"/>
                <a:gd name="connsiteY3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68">
                  <a:moveTo>
                    <a:pt x="6295" y="393"/>
                  </a:moveTo>
                  <a:lnTo>
                    <a:pt x="3147" y="0"/>
                  </a:lnTo>
                  <a:lnTo>
                    <a:pt x="0" y="0"/>
                  </a:lnTo>
                  <a:lnTo>
                    <a:pt x="7869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9" name="Freeform: Shape 2473">
              <a:extLst>
                <a:ext uri="{FF2B5EF4-FFF2-40B4-BE49-F238E27FC236}">
                  <a16:creationId xmlns:a16="http://schemas.microsoft.com/office/drawing/2014/main" id="{ED4BDDF9-C643-46FC-8358-65BC4FDB7058}"/>
                </a:ext>
              </a:extLst>
            </p:cNvPr>
            <p:cNvSpPr/>
            <p:nvPr/>
          </p:nvSpPr>
          <p:spPr>
            <a:xfrm>
              <a:off x="6335203" y="187304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0" name="Freeform: Shape 2474">
              <a:extLst>
                <a:ext uri="{FF2B5EF4-FFF2-40B4-BE49-F238E27FC236}">
                  <a16:creationId xmlns:a16="http://schemas.microsoft.com/office/drawing/2014/main" id="{DF7EDDC4-D9A2-4F92-8A37-E6D449A90C6B}"/>
                </a:ext>
              </a:extLst>
            </p:cNvPr>
            <p:cNvSpPr/>
            <p:nvPr/>
          </p:nvSpPr>
          <p:spPr>
            <a:xfrm>
              <a:off x="6435133" y="3924759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787 h 0"/>
                <a:gd name="connsiteX2" fmla="*/ 39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787"/>
                  </a:lnTo>
                  <a:lnTo>
                    <a:pt x="39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1" name="Freeform: Shape 2475">
              <a:extLst>
                <a:ext uri="{FF2B5EF4-FFF2-40B4-BE49-F238E27FC236}">
                  <a16:creationId xmlns:a16="http://schemas.microsoft.com/office/drawing/2014/main" id="{4338382A-077C-4C89-B316-ED6ED0CE3A8D}"/>
                </a:ext>
              </a:extLst>
            </p:cNvPr>
            <p:cNvSpPr/>
            <p:nvPr/>
          </p:nvSpPr>
          <p:spPr>
            <a:xfrm>
              <a:off x="6414282" y="3927120"/>
              <a:ext cx="11803" cy="3934"/>
            </a:xfrm>
            <a:custGeom>
              <a:avLst/>
              <a:gdLst>
                <a:gd name="connsiteX0" fmla="*/ 393 w 11802"/>
                <a:gd name="connsiteY0" fmla="*/ 4721 h 3934"/>
                <a:gd name="connsiteX1" fmla="*/ 3541 w 11802"/>
                <a:gd name="connsiteY1" fmla="*/ 4328 h 3934"/>
                <a:gd name="connsiteX2" fmla="*/ 6295 w 11802"/>
                <a:gd name="connsiteY2" fmla="*/ 3147 h 3934"/>
                <a:gd name="connsiteX3" fmla="*/ 9049 w 11802"/>
                <a:gd name="connsiteY3" fmla="*/ 2360 h 3934"/>
                <a:gd name="connsiteX4" fmla="*/ 12196 w 11802"/>
                <a:gd name="connsiteY4" fmla="*/ 1574 h 3934"/>
                <a:gd name="connsiteX5" fmla="*/ 14557 w 11802"/>
                <a:gd name="connsiteY5" fmla="*/ 0 h 3934"/>
                <a:gd name="connsiteX6" fmla="*/ 0 w 11802"/>
                <a:gd name="connsiteY6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02" h="3934">
                  <a:moveTo>
                    <a:pt x="393" y="4721"/>
                  </a:moveTo>
                  <a:lnTo>
                    <a:pt x="3541" y="4328"/>
                  </a:lnTo>
                  <a:lnTo>
                    <a:pt x="6295" y="3147"/>
                  </a:lnTo>
                  <a:lnTo>
                    <a:pt x="9049" y="2360"/>
                  </a:lnTo>
                  <a:lnTo>
                    <a:pt x="12196" y="1574"/>
                  </a:lnTo>
                  <a:lnTo>
                    <a:pt x="14557" y="0"/>
                  </a:lnTo>
                  <a:lnTo>
                    <a:pt x="0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2" name="Freeform: Shape 2476">
              <a:extLst>
                <a:ext uri="{FF2B5EF4-FFF2-40B4-BE49-F238E27FC236}">
                  <a16:creationId xmlns:a16="http://schemas.microsoft.com/office/drawing/2014/main" id="{106DD776-0678-412A-A164-FF7D501494B2}"/>
                </a:ext>
              </a:extLst>
            </p:cNvPr>
            <p:cNvSpPr/>
            <p:nvPr/>
          </p:nvSpPr>
          <p:spPr>
            <a:xfrm>
              <a:off x="9577037" y="2990372"/>
              <a:ext cx="15737" cy="23606"/>
            </a:xfrm>
            <a:custGeom>
              <a:avLst/>
              <a:gdLst>
                <a:gd name="connsiteX0" fmla="*/ 0 w 15737"/>
                <a:gd name="connsiteY0" fmla="*/ 1967 h 23605"/>
                <a:gd name="connsiteX1" fmla="*/ 18885 w 15737"/>
                <a:gd name="connsiteY1" fmla="*/ 24392 h 23605"/>
                <a:gd name="connsiteX2" fmla="*/ 18885 w 15737"/>
                <a:gd name="connsiteY2" fmla="*/ 0 h 23605"/>
                <a:gd name="connsiteX3" fmla="*/ 0 w 15737"/>
                <a:gd name="connsiteY3" fmla="*/ 0 h 23605"/>
                <a:gd name="connsiteX4" fmla="*/ 0 w 15737"/>
                <a:gd name="connsiteY4" fmla="*/ 1967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37" h="23605">
                  <a:moveTo>
                    <a:pt x="0" y="1967"/>
                  </a:moveTo>
                  <a:cubicBezTo>
                    <a:pt x="7475" y="8655"/>
                    <a:pt x="13376" y="16131"/>
                    <a:pt x="18885" y="24392"/>
                  </a:cubicBezTo>
                  <a:lnTo>
                    <a:pt x="18885" y="0"/>
                  </a:lnTo>
                  <a:lnTo>
                    <a:pt x="0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3" name="Freeform: Shape 2477">
              <a:extLst>
                <a:ext uri="{FF2B5EF4-FFF2-40B4-BE49-F238E27FC236}">
                  <a16:creationId xmlns:a16="http://schemas.microsoft.com/office/drawing/2014/main" id="{CFB1E4D6-68DD-427F-96E1-DD163AA42455}"/>
                </a:ext>
              </a:extLst>
            </p:cNvPr>
            <p:cNvSpPr/>
            <p:nvPr/>
          </p:nvSpPr>
          <p:spPr>
            <a:xfrm>
              <a:off x="2450511" y="1455616"/>
              <a:ext cx="7869" cy="3934"/>
            </a:xfrm>
            <a:custGeom>
              <a:avLst/>
              <a:gdLst>
                <a:gd name="connsiteX0" fmla="*/ 3147 w 7868"/>
                <a:gd name="connsiteY0" fmla="*/ 787 h 0"/>
                <a:gd name="connsiteX1" fmla="*/ 0 w 7868"/>
                <a:gd name="connsiteY1" fmla="*/ 1574 h 0"/>
                <a:gd name="connsiteX2" fmla="*/ 1967 w 7868"/>
                <a:gd name="connsiteY2" fmla="*/ 1574 h 0"/>
                <a:gd name="connsiteX3" fmla="*/ 9049 w 7868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68">
                  <a:moveTo>
                    <a:pt x="3147" y="787"/>
                  </a:moveTo>
                  <a:lnTo>
                    <a:pt x="0" y="1574"/>
                  </a:lnTo>
                  <a:lnTo>
                    <a:pt x="1967" y="1574"/>
                  </a:lnTo>
                  <a:lnTo>
                    <a:pt x="9049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4" name="Freeform: Shape 2478">
              <a:extLst>
                <a:ext uri="{FF2B5EF4-FFF2-40B4-BE49-F238E27FC236}">
                  <a16:creationId xmlns:a16="http://schemas.microsoft.com/office/drawing/2014/main" id="{C3567D2A-08E3-4D9C-8BDF-9CED15080AB2}"/>
                </a:ext>
              </a:extLst>
            </p:cNvPr>
            <p:cNvSpPr/>
            <p:nvPr/>
          </p:nvSpPr>
          <p:spPr>
            <a:xfrm>
              <a:off x="4742220" y="1070845"/>
              <a:ext cx="1199951" cy="637351"/>
            </a:xfrm>
            <a:custGeom>
              <a:avLst/>
              <a:gdLst>
                <a:gd name="connsiteX0" fmla="*/ 777804 w 1199950"/>
                <a:gd name="connsiteY0" fmla="*/ 381230 h 637350"/>
                <a:gd name="connsiteX1" fmla="*/ 778591 w 1199950"/>
                <a:gd name="connsiteY1" fmla="*/ 380837 h 637350"/>
                <a:gd name="connsiteX2" fmla="*/ 786853 w 1199950"/>
                <a:gd name="connsiteY2" fmla="*/ 380050 h 637350"/>
                <a:gd name="connsiteX3" fmla="*/ 792754 w 1199950"/>
                <a:gd name="connsiteY3" fmla="*/ 378083 h 637350"/>
                <a:gd name="connsiteX4" fmla="*/ 795508 w 1199950"/>
                <a:gd name="connsiteY4" fmla="*/ 377689 h 637350"/>
                <a:gd name="connsiteX5" fmla="*/ 801410 w 1199950"/>
                <a:gd name="connsiteY5" fmla="*/ 377689 h 637350"/>
                <a:gd name="connsiteX6" fmla="*/ 804557 w 1199950"/>
                <a:gd name="connsiteY6" fmla="*/ 376902 h 637350"/>
                <a:gd name="connsiteX7" fmla="*/ 806918 w 1199950"/>
                <a:gd name="connsiteY7" fmla="*/ 374148 h 637350"/>
                <a:gd name="connsiteX8" fmla="*/ 812819 w 1199950"/>
                <a:gd name="connsiteY8" fmla="*/ 374148 h 637350"/>
                <a:gd name="connsiteX9" fmla="*/ 815573 w 1199950"/>
                <a:gd name="connsiteY9" fmla="*/ 372575 h 637350"/>
                <a:gd name="connsiteX10" fmla="*/ 818720 w 1199950"/>
                <a:gd name="connsiteY10" fmla="*/ 371788 h 637350"/>
                <a:gd name="connsiteX11" fmla="*/ 821474 w 1199950"/>
                <a:gd name="connsiteY11" fmla="*/ 369427 h 637350"/>
                <a:gd name="connsiteX12" fmla="*/ 824622 w 1199950"/>
                <a:gd name="connsiteY12" fmla="*/ 368247 h 637350"/>
                <a:gd name="connsiteX13" fmla="*/ 823441 w 1199950"/>
                <a:gd name="connsiteY13" fmla="*/ 368247 h 637350"/>
                <a:gd name="connsiteX14" fmla="*/ 827769 w 1199950"/>
                <a:gd name="connsiteY14" fmla="*/ 366673 h 637350"/>
                <a:gd name="connsiteX15" fmla="*/ 830130 w 1199950"/>
                <a:gd name="connsiteY15" fmla="*/ 367460 h 637350"/>
                <a:gd name="connsiteX16" fmla="*/ 829736 w 1199950"/>
                <a:gd name="connsiteY16" fmla="*/ 365886 h 637350"/>
                <a:gd name="connsiteX17" fmla="*/ 832097 w 1199950"/>
                <a:gd name="connsiteY17" fmla="*/ 365100 h 637350"/>
                <a:gd name="connsiteX18" fmla="*/ 835244 w 1199950"/>
                <a:gd name="connsiteY18" fmla="*/ 364706 h 637350"/>
                <a:gd name="connsiteX19" fmla="*/ 836031 w 1199950"/>
                <a:gd name="connsiteY19" fmla="*/ 363526 h 637350"/>
                <a:gd name="connsiteX20" fmla="*/ 841539 w 1199950"/>
                <a:gd name="connsiteY20" fmla="*/ 361165 h 637350"/>
                <a:gd name="connsiteX21" fmla="*/ 842719 w 1199950"/>
                <a:gd name="connsiteY21" fmla="*/ 361559 h 637350"/>
                <a:gd name="connsiteX22" fmla="*/ 845474 w 1199950"/>
                <a:gd name="connsiteY22" fmla="*/ 361165 h 637350"/>
                <a:gd name="connsiteX23" fmla="*/ 843506 w 1199950"/>
                <a:gd name="connsiteY23" fmla="*/ 360772 h 637350"/>
                <a:gd name="connsiteX24" fmla="*/ 849408 w 1199950"/>
                <a:gd name="connsiteY24" fmla="*/ 358411 h 637350"/>
                <a:gd name="connsiteX25" fmla="*/ 850194 w 1199950"/>
                <a:gd name="connsiteY25" fmla="*/ 358805 h 637350"/>
                <a:gd name="connsiteX26" fmla="*/ 852555 w 1199950"/>
                <a:gd name="connsiteY26" fmla="*/ 357231 h 637350"/>
                <a:gd name="connsiteX27" fmla="*/ 854915 w 1199950"/>
                <a:gd name="connsiteY27" fmla="*/ 356444 h 637350"/>
                <a:gd name="connsiteX28" fmla="*/ 857670 w 1199950"/>
                <a:gd name="connsiteY28" fmla="*/ 357231 h 637350"/>
                <a:gd name="connsiteX29" fmla="*/ 859243 w 1199950"/>
                <a:gd name="connsiteY29" fmla="*/ 354871 h 637350"/>
                <a:gd name="connsiteX30" fmla="*/ 863571 w 1199950"/>
                <a:gd name="connsiteY30" fmla="*/ 353297 h 637350"/>
                <a:gd name="connsiteX31" fmla="*/ 865538 w 1199950"/>
                <a:gd name="connsiteY31" fmla="*/ 354871 h 637350"/>
                <a:gd name="connsiteX32" fmla="*/ 868292 w 1199950"/>
                <a:gd name="connsiteY32" fmla="*/ 353690 h 637350"/>
                <a:gd name="connsiteX33" fmla="*/ 871440 w 1199950"/>
                <a:gd name="connsiteY33" fmla="*/ 351330 h 637350"/>
                <a:gd name="connsiteX34" fmla="*/ 871046 w 1199950"/>
                <a:gd name="connsiteY34" fmla="*/ 350543 h 637350"/>
                <a:gd name="connsiteX35" fmla="*/ 874587 w 1199950"/>
                <a:gd name="connsiteY35" fmla="*/ 349363 h 637350"/>
                <a:gd name="connsiteX36" fmla="*/ 873407 w 1199950"/>
                <a:gd name="connsiteY36" fmla="*/ 350149 h 637350"/>
                <a:gd name="connsiteX37" fmla="*/ 876554 w 1199950"/>
                <a:gd name="connsiteY37" fmla="*/ 350543 h 637350"/>
                <a:gd name="connsiteX38" fmla="*/ 879701 w 1199950"/>
                <a:gd name="connsiteY38" fmla="*/ 348182 h 637350"/>
                <a:gd name="connsiteX39" fmla="*/ 879701 w 1199950"/>
                <a:gd name="connsiteY39" fmla="*/ 347789 h 637350"/>
                <a:gd name="connsiteX40" fmla="*/ 878128 w 1199950"/>
                <a:gd name="connsiteY40" fmla="*/ 347789 h 637350"/>
                <a:gd name="connsiteX41" fmla="*/ 882849 w 1199950"/>
                <a:gd name="connsiteY41" fmla="*/ 346215 h 637350"/>
                <a:gd name="connsiteX42" fmla="*/ 884816 w 1199950"/>
                <a:gd name="connsiteY42" fmla="*/ 347002 h 637350"/>
                <a:gd name="connsiteX43" fmla="*/ 887570 w 1199950"/>
                <a:gd name="connsiteY43" fmla="*/ 346215 h 637350"/>
                <a:gd name="connsiteX44" fmla="*/ 885603 w 1199950"/>
                <a:gd name="connsiteY44" fmla="*/ 345035 h 637350"/>
                <a:gd name="connsiteX45" fmla="*/ 890324 w 1199950"/>
                <a:gd name="connsiteY45" fmla="*/ 343461 h 637350"/>
                <a:gd name="connsiteX46" fmla="*/ 890718 w 1199950"/>
                <a:gd name="connsiteY46" fmla="*/ 343461 h 637350"/>
                <a:gd name="connsiteX47" fmla="*/ 891898 w 1199950"/>
                <a:gd name="connsiteY47" fmla="*/ 342674 h 637350"/>
                <a:gd name="connsiteX48" fmla="*/ 894258 w 1199950"/>
                <a:gd name="connsiteY48" fmla="*/ 341888 h 637350"/>
                <a:gd name="connsiteX49" fmla="*/ 896225 w 1199950"/>
                <a:gd name="connsiteY49" fmla="*/ 341888 h 637350"/>
                <a:gd name="connsiteX50" fmla="*/ 898979 w 1199950"/>
                <a:gd name="connsiteY50" fmla="*/ 340314 h 637350"/>
                <a:gd name="connsiteX51" fmla="*/ 900159 w 1199950"/>
                <a:gd name="connsiteY51" fmla="*/ 340314 h 637350"/>
                <a:gd name="connsiteX52" fmla="*/ 902914 w 1199950"/>
                <a:gd name="connsiteY52" fmla="*/ 340314 h 637350"/>
                <a:gd name="connsiteX53" fmla="*/ 905668 w 1199950"/>
                <a:gd name="connsiteY53" fmla="*/ 338740 h 637350"/>
                <a:gd name="connsiteX54" fmla="*/ 902914 w 1199950"/>
                <a:gd name="connsiteY54" fmla="*/ 336773 h 637350"/>
                <a:gd name="connsiteX55" fmla="*/ 899766 w 1199950"/>
                <a:gd name="connsiteY55" fmla="*/ 337166 h 637350"/>
                <a:gd name="connsiteX56" fmla="*/ 896619 w 1199950"/>
                <a:gd name="connsiteY56" fmla="*/ 337560 h 637350"/>
                <a:gd name="connsiteX57" fmla="*/ 893865 w 1199950"/>
                <a:gd name="connsiteY57" fmla="*/ 337953 h 637350"/>
                <a:gd name="connsiteX58" fmla="*/ 890718 w 1199950"/>
                <a:gd name="connsiteY58" fmla="*/ 337953 h 637350"/>
                <a:gd name="connsiteX59" fmla="*/ 887963 w 1199950"/>
                <a:gd name="connsiteY59" fmla="*/ 337560 h 637350"/>
                <a:gd name="connsiteX60" fmla="*/ 884422 w 1199950"/>
                <a:gd name="connsiteY60" fmla="*/ 337560 h 637350"/>
                <a:gd name="connsiteX61" fmla="*/ 881669 w 1199950"/>
                <a:gd name="connsiteY61" fmla="*/ 337166 h 637350"/>
                <a:gd name="connsiteX62" fmla="*/ 878521 w 1199950"/>
                <a:gd name="connsiteY62" fmla="*/ 337166 h 637350"/>
                <a:gd name="connsiteX63" fmla="*/ 875374 w 1199950"/>
                <a:gd name="connsiteY63" fmla="*/ 336773 h 637350"/>
                <a:gd name="connsiteX64" fmla="*/ 872620 w 1199950"/>
                <a:gd name="connsiteY64" fmla="*/ 335986 h 637350"/>
                <a:gd name="connsiteX65" fmla="*/ 869866 w 1199950"/>
                <a:gd name="connsiteY65" fmla="*/ 336380 h 637350"/>
                <a:gd name="connsiteX66" fmla="*/ 866718 w 1199950"/>
                <a:gd name="connsiteY66" fmla="*/ 334806 h 637350"/>
                <a:gd name="connsiteX67" fmla="*/ 863964 w 1199950"/>
                <a:gd name="connsiteY67" fmla="*/ 334412 h 637350"/>
                <a:gd name="connsiteX68" fmla="*/ 861211 w 1199950"/>
                <a:gd name="connsiteY68" fmla="*/ 334019 h 637350"/>
                <a:gd name="connsiteX69" fmla="*/ 858063 w 1199950"/>
                <a:gd name="connsiteY69" fmla="*/ 334019 h 637350"/>
                <a:gd name="connsiteX70" fmla="*/ 855309 w 1199950"/>
                <a:gd name="connsiteY70" fmla="*/ 332445 h 637350"/>
                <a:gd name="connsiteX71" fmla="*/ 852162 w 1199950"/>
                <a:gd name="connsiteY71" fmla="*/ 331265 h 637350"/>
                <a:gd name="connsiteX72" fmla="*/ 849014 w 1199950"/>
                <a:gd name="connsiteY72" fmla="*/ 330085 h 637350"/>
                <a:gd name="connsiteX73" fmla="*/ 846260 w 1199950"/>
                <a:gd name="connsiteY73" fmla="*/ 330085 h 637350"/>
                <a:gd name="connsiteX74" fmla="*/ 843113 w 1199950"/>
                <a:gd name="connsiteY74" fmla="*/ 331658 h 637350"/>
                <a:gd name="connsiteX75" fmla="*/ 840359 w 1199950"/>
                <a:gd name="connsiteY75" fmla="*/ 332445 h 637350"/>
                <a:gd name="connsiteX76" fmla="*/ 843113 w 1199950"/>
                <a:gd name="connsiteY76" fmla="*/ 329298 h 637350"/>
                <a:gd name="connsiteX77" fmla="*/ 840359 w 1199950"/>
                <a:gd name="connsiteY77" fmla="*/ 328904 h 637350"/>
                <a:gd name="connsiteX78" fmla="*/ 837605 w 1199950"/>
                <a:gd name="connsiteY78" fmla="*/ 329298 h 637350"/>
                <a:gd name="connsiteX79" fmla="*/ 834457 w 1199950"/>
                <a:gd name="connsiteY79" fmla="*/ 329691 h 637350"/>
                <a:gd name="connsiteX80" fmla="*/ 831310 w 1199950"/>
                <a:gd name="connsiteY80" fmla="*/ 330478 h 637350"/>
                <a:gd name="connsiteX81" fmla="*/ 828556 w 1199950"/>
                <a:gd name="connsiteY81" fmla="*/ 330872 h 637350"/>
                <a:gd name="connsiteX82" fmla="*/ 825408 w 1199950"/>
                <a:gd name="connsiteY82" fmla="*/ 332052 h 637350"/>
                <a:gd name="connsiteX83" fmla="*/ 822655 w 1199950"/>
                <a:gd name="connsiteY83" fmla="*/ 332445 h 637350"/>
                <a:gd name="connsiteX84" fmla="*/ 819507 w 1199950"/>
                <a:gd name="connsiteY84" fmla="*/ 333626 h 637350"/>
                <a:gd name="connsiteX85" fmla="*/ 816753 w 1199950"/>
                <a:gd name="connsiteY85" fmla="*/ 333626 h 637350"/>
                <a:gd name="connsiteX86" fmla="*/ 813999 w 1199950"/>
                <a:gd name="connsiteY86" fmla="*/ 333232 h 637350"/>
                <a:gd name="connsiteX87" fmla="*/ 810459 w 1199950"/>
                <a:gd name="connsiteY87" fmla="*/ 332052 h 637350"/>
                <a:gd name="connsiteX88" fmla="*/ 807311 w 1199950"/>
                <a:gd name="connsiteY88" fmla="*/ 332052 h 637350"/>
                <a:gd name="connsiteX89" fmla="*/ 804164 w 1199950"/>
                <a:gd name="connsiteY89" fmla="*/ 333626 h 637350"/>
                <a:gd name="connsiteX90" fmla="*/ 801410 w 1199950"/>
                <a:gd name="connsiteY90" fmla="*/ 334019 h 637350"/>
                <a:gd name="connsiteX91" fmla="*/ 798656 w 1199950"/>
                <a:gd name="connsiteY91" fmla="*/ 336773 h 637350"/>
                <a:gd name="connsiteX92" fmla="*/ 795901 w 1199950"/>
                <a:gd name="connsiteY92" fmla="*/ 339133 h 637350"/>
                <a:gd name="connsiteX93" fmla="*/ 790394 w 1199950"/>
                <a:gd name="connsiteY93" fmla="*/ 339133 h 637350"/>
                <a:gd name="connsiteX94" fmla="*/ 802197 w 1199950"/>
                <a:gd name="connsiteY94" fmla="*/ 331265 h 637350"/>
                <a:gd name="connsiteX95" fmla="*/ 804557 w 1199950"/>
                <a:gd name="connsiteY95" fmla="*/ 330478 h 637350"/>
                <a:gd name="connsiteX96" fmla="*/ 807311 w 1199950"/>
                <a:gd name="connsiteY96" fmla="*/ 330872 h 637350"/>
                <a:gd name="connsiteX97" fmla="*/ 810459 w 1199950"/>
                <a:gd name="connsiteY97" fmla="*/ 331265 h 637350"/>
                <a:gd name="connsiteX98" fmla="*/ 813212 w 1199950"/>
                <a:gd name="connsiteY98" fmla="*/ 330872 h 637350"/>
                <a:gd name="connsiteX99" fmla="*/ 815967 w 1199950"/>
                <a:gd name="connsiteY99" fmla="*/ 330085 h 637350"/>
                <a:gd name="connsiteX100" fmla="*/ 819114 w 1199950"/>
                <a:gd name="connsiteY100" fmla="*/ 328118 h 637350"/>
                <a:gd name="connsiteX101" fmla="*/ 816360 w 1199950"/>
                <a:gd name="connsiteY101" fmla="*/ 326150 h 637350"/>
                <a:gd name="connsiteX102" fmla="*/ 813212 w 1199950"/>
                <a:gd name="connsiteY102" fmla="*/ 325757 h 637350"/>
                <a:gd name="connsiteX103" fmla="*/ 810459 w 1199950"/>
                <a:gd name="connsiteY103" fmla="*/ 326150 h 637350"/>
                <a:gd name="connsiteX104" fmla="*/ 810459 w 1199950"/>
                <a:gd name="connsiteY104" fmla="*/ 326150 h 637350"/>
                <a:gd name="connsiteX105" fmla="*/ 812426 w 1199950"/>
                <a:gd name="connsiteY105" fmla="*/ 324577 h 637350"/>
                <a:gd name="connsiteX106" fmla="*/ 815179 w 1199950"/>
                <a:gd name="connsiteY106" fmla="*/ 324577 h 637350"/>
                <a:gd name="connsiteX107" fmla="*/ 818327 w 1199950"/>
                <a:gd name="connsiteY107" fmla="*/ 323790 h 637350"/>
                <a:gd name="connsiteX108" fmla="*/ 821474 w 1199950"/>
                <a:gd name="connsiteY108" fmla="*/ 323396 h 637350"/>
                <a:gd name="connsiteX109" fmla="*/ 824228 w 1199950"/>
                <a:gd name="connsiteY109" fmla="*/ 323003 h 637350"/>
                <a:gd name="connsiteX110" fmla="*/ 827376 w 1199950"/>
                <a:gd name="connsiteY110" fmla="*/ 324577 h 637350"/>
                <a:gd name="connsiteX111" fmla="*/ 830130 w 1199950"/>
                <a:gd name="connsiteY111" fmla="*/ 323790 h 637350"/>
                <a:gd name="connsiteX112" fmla="*/ 833277 w 1199950"/>
                <a:gd name="connsiteY112" fmla="*/ 322216 h 637350"/>
                <a:gd name="connsiteX113" fmla="*/ 836031 w 1199950"/>
                <a:gd name="connsiteY113" fmla="*/ 322216 h 637350"/>
                <a:gd name="connsiteX114" fmla="*/ 839178 w 1199950"/>
                <a:gd name="connsiteY114" fmla="*/ 321429 h 637350"/>
                <a:gd name="connsiteX115" fmla="*/ 841933 w 1199950"/>
                <a:gd name="connsiteY115" fmla="*/ 321036 h 637350"/>
                <a:gd name="connsiteX116" fmla="*/ 844686 w 1199950"/>
                <a:gd name="connsiteY116" fmla="*/ 320249 h 637350"/>
                <a:gd name="connsiteX117" fmla="*/ 841933 w 1199950"/>
                <a:gd name="connsiteY117" fmla="*/ 317888 h 637350"/>
                <a:gd name="connsiteX118" fmla="*/ 844686 w 1199950"/>
                <a:gd name="connsiteY118" fmla="*/ 316708 h 637350"/>
                <a:gd name="connsiteX119" fmla="*/ 844293 w 1199950"/>
                <a:gd name="connsiteY119" fmla="*/ 313561 h 637350"/>
                <a:gd name="connsiteX120" fmla="*/ 841539 w 1199950"/>
                <a:gd name="connsiteY120" fmla="*/ 311987 h 637350"/>
                <a:gd name="connsiteX121" fmla="*/ 838785 w 1199950"/>
                <a:gd name="connsiteY121" fmla="*/ 311987 h 637350"/>
                <a:gd name="connsiteX122" fmla="*/ 839965 w 1199950"/>
                <a:gd name="connsiteY122" fmla="*/ 309627 h 637350"/>
                <a:gd name="connsiteX123" fmla="*/ 836818 w 1199950"/>
                <a:gd name="connsiteY123" fmla="*/ 310020 h 637350"/>
                <a:gd name="connsiteX124" fmla="*/ 834064 w 1199950"/>
                <a:gd name="connsiteY124" fmla="*/ 311200 h 637350"/>
                <a:gd name="connsiteX125" fmla="*/ 832884 w 1199950"/>
                <a:gd name="connsiteY125" fmla="*/ 311594 h 637350"/>
                <a:gd name="connsiteX126" fmla="*/ 837211 w 1199950"/>
                <a:gd name="connsiteY126" fmla="*/ 308840 h 637350"/>
                <a:gd name="connsiteX127" fmla="*/ 837605 w 1199950"/>
                <a:gd name="connsiteY127" fmla="*/ 308446 h 637350"/>
                <a:gd name="connsiteX128" fmla="*/ 840359 w 1199950"/>
                <a:gd name="connsiteY128" fmla="*/ 307659 h 637350"/>
                <a:gd name="connsiteX129" fmla="*/ 841145 w 1199950"/>
                <a:gd name="connsiteY129" fmla="*/ 304905 h 637350"/>
                <a:gd name="connsiteX130" fmla="*/ 844293 w 1199950"/>
                <a:gd name="connsiteY130" fmla="*/ 305692 h 637350"/>
                <a:gd name="connsiteX131" fmla="*/ 847047 w 1199950"/>
                <a:gd name="connsiteY131" fmla="*/ 304119 h 637350"/>
                <a:gd name="connsiteX132" fmla="*/ 846654 w 1199950"/>
                <a:gd name="connsiteY132" fmla="*/ 301365 h 637350"/>
                <a:gd name="connsiteX133" fmla="*/ 843506 w 1199950"/>
                <a:gd name="connsiteY133" fmla="*/ 299397 h 637350"/>
                <a:gd name="connsiteX134" fmla="*/ 842326 w 1199950"/>
                <a:gd name="connsiteY134" fmla="*/ 299004 h 637350"/>
                <a:gd name="connsiteX135" fmla="*/ 843506 w 1199950"/>
                <a:gd name="connsiteY135" fmla="*/ 297037 h 637350"/>
                <a:gd name="connsiteX136" fmla="*/ 846260 w 1199950"/>
                <a:gd name="connsiteY136" fmla="*/ 297824 h 637350"/>
                <a:gd name="connsiteX137" fmla="*/ 847047 w 1199950"/>
                <a:gd name="connsiteY137" fmla="*/ 298217 h 637350"/>
                <a:gd name="connsiteX138" fmla="*/ 849801 w 1199950"/>
                <a:gd name="connsiteY138" fmla="*/ 299791 h 637350"/>
                <a:gd name="connsiteX139" fmla="*/ 852948 w 1199950"/>
                <a:gd name="connsiteY139" fmla="*/ 302151 h 637350"/>
                <a:gd name="connsiteX140" fmla="*/ 855703 w 1199950"/>
                <a:gd name="connsiteY140" fmla="*/ 302938 h 637350"/>
                <a:gd name="connsiteX141" fmla="*/ 858850 w 1199950"/>
                <a:gd name="connsiteY141" fmla="*/ 303332 h 637350"/>
                <a:gd name="connsiteX142" fmla="*/ 860817 w 1199950"/>
                <a:gd name="connsiteY142" fmla="*/ 302938 h 637350"/>
                <a:gd name="connsiteX143" fmla="*/ 863964 w 1199950"/>
                <a:gd name="connsiteY143" fmla="*/ 304119 h 637350"/>
                <a:gd name="connsiteX144" fmla="*/ 864751 w 1199950"/>
                <a:gd name="connsiteY144" fmla="*/ 304512 h 637350"/>
                <a:gd name="connsiteX145" fmla="*/ 866718 w 1199950"/>
                <a:gd name="connsiteY145" fmla="*/ 307659 h 637350"/>
                <a:gd name="connsiteX146" fmla="*/ 869472 w 1199950"/>
                <a:gd name="connsiteY146" fmla="*/ 310020 h 637350"/>
                <a:gd name="connsiteX147" fmla="*/ 869472 w 1199950"/>
                <a:gd name="connsiteY147" fmla="*/ 312774 h 637350"/>
                <a:gd name="connsiteX148" fmla="*/ 869079 w 1199950"/>
                <a:gd name="connsiteY148" fmla="*/ 315528 h 637350"/>
                <a:gd name="connsiteX149" fmla="*/ 869472 w 1199950"/>
                <a:gd name="connsiteY149" fmla="*/ 318675 h 637350"/>
                <a:gd name="connsiteX150" fmla="*/ 871046 w 1199950"/>
                <a:gd name="connsiteY150" fmla="*/ 321429 h 637350"/>
                <a:gd name="connsiteX151" fmla="*/ 873800 w 1199950"/>
                <a:gd name="connsiteY151" fmla="*/ 323396 h 637350"/>
                <a:gd name="connsiteX152" fmla="*/ 876554 w 1199950"/>
                <a:gd name="connsiteY152" fmla="*/ 324183 h 637350"/>
                <a:gd name="connsiteX153" fmla="*/ 879701 w 1199950"/>
                <a:gd name="connsiteY153" fmla="*/ 325757 h 637350"/>
                <a:gd name="connsiteX154" fmla="*/ 882455 w 1199950"/>
                <a:gd name="connsiteY154" fmla="*/ 326937 h 637350"/>
                <a:gd name="connsiteX155" fmla="*/ 885603 w 1199950"/>
                <a:gd name="connsiteY155" fmla="*/ 327331 h 637350"/>
                <a:gd name="connsiteX156" fmla="*/ 888750 w 1199950"/>
                <a:gd name="connsiteY156" fmla="*/ 327724 h 637350"/>
                <a:gd name="connsiteX157" fmla="*/ 891898 w 1199950"/>
                <a:gd name="connsiteY157" fmla="*/ 327331 h 637350"/>
                <a:gd name="connsiteX158" fmla="*/ 897406 w 1199950"/>
                <a:gd name="connsiteY158" fmla="*/ 327331 h 637350"/>
                <a:gd name="connsiteX159" fmla="*/ 900159 w 1199950"/>
                <a:gd name="connsiteY159" fmla="*/ 324970 h 637350"/>
                <a:gd name="connsiteX160" fmla="*/ 900947 w 1199950"/>
                <a:gd name="connsiteY160" fmla="*/ 322216 h 637350"/>
                <a:gd name="connsiteX161" fmla="*/ 901340 w 1199950"/>
                <a:gd name="connsiteY161" fmla="*/ 319069 h 637350"/>
                <a:gd name="connsiteX162" fmla="*/ 903307 w 1199950"/>
                <a:gd name="connsiteY162" fmla="*/ 316315 h 637350"/>
                <a:gd name="connsiteX163" fmla="*/ 906061 w 1199950"/>
                <a:gd name="connsiteY163" fmla="*/ 317102 h 637350"/>
                <a:gd name="connsiteX164" fmla="*/ 905668 w 1199950"/>
                <a:gd name="connsiteY164" fmla="*/ 317888 h 637350"/>
                <a:gd name="connsiteX165" fmla="*/ 904094 w 1199950"/>
                <a:gd name="connsiteY165" fmla="*/ 320642 h 637350"/>
                <a:gd name="connsiteX166" fmla="*/ 904488 w 1199950"/>
                <a:gd name="connsiteY166" fmla="*/ 323396 h 637350"/>
                <a:gd name="connsiteX167" fmla="*/ 906455 w 1199950"/>
                <a:gd name="connsiteY167" fmla="*/ 326150 h 637350"/>
                <a:gd name="connsiteX168" fmla="*/ 909208 w 1199950"/>
                <a:gd name="connsiteY168" fmla="*/ 325757 h 637350"/>
                <a:gd name="connsiteX169" fmla="*/ 912356 w 1199950"/>
                <a:gd name="connsiteY169" fmla="*/ 324970 h 637350"/>
                <a:gd name="connsiteX170" fmla="*/ 913929 w 1199950"/>
                <a:gd name="connsiteY170" fmla="*/ 327724 h 637350"/>
                <a:gd name="connsiteX171" fmla="*/ 916684 w 1199950"/>
                <a:gd name="connsiteY171" fmla="*/ 326937 h 637350"/>
                <a:gd name="connsiteX172" fmla="*/ 919437 w 1199950"/>
                <a:gd name="connsiteY172" fmla="*/ 326937 h 637350"/>
                <a:gd name="connsiteX173" fmla="*/ 922192 w 1199950"/>
                <a:gd name="connsiteY173" fmla="*/ 325364 h 637350"/>
                <a:gd name="connsiteX174" fmla="*/ 921405 w 1199950"/>
                <a:gd name="connsiteY174" fmla="*/ 322610 h 637350"/>
                <a:gd name="connsiteX175" fmla="*/ 918651 w 1199950"/>
                <a:gd name="connsiteY175" fmla="*/ 322216 h 637350"/>
                <a:gd name="connsiteX176" fmla="*/ 920225 w 1199950"/>
                <a:gd name="connsiteY176" fmla="*/ 319069 h 637350"/>
                <a:gd name="connsiteX177" fmla="*/ 923372 w 1199950"/>
                <a:gd name="connsiteY177" fmla="*/ 318675 h 637350"/>
                <a:gd name="connsiteX178" fmla="*/ 920225 w 1199950"/>
                <a:gd name="connsiteY178" fmla="*/ 317102 h 637350"/>
                <a:gd name="connsiteX179" fmla="*/ 917470 w 1199950"/>
                <a:gd name="connsiteY179" fmla="*/ 316315 h 637350"/>
                <a:gd name="connsiteX180" fmla="*/ 920225 w 1199950"/>
                <a:gd name="connsiteY180" fmla="*/ 316708 h 637350"/>
                <a:gd name="connsiteX181" fmla="*/ 922192 w 1199950"/>
                <a:gd name="connsiteY181" fmla="*/ 313561 h 637350"/>
                <a:gd name="connsiteX182" fmla="*/ 924946 w 1199950"/>
                <a:gd name="connsiteY182" fmla="*/ 311987 h 637350"/>
                <a:gd name="connsiteX183" fmla="*/ 922192 w 1199950"/>
                <a:gd name="connsiteY183" fmla="*/ 311594 h 637350"/>
                <a:gd name="connsiteX184" fmla="*/ 918651 w 1199950"/>
                <a:gd name="connsiteY184" fmla="*/ 311987 h 637350"/>
                <a:gd name="connsiteX185" fmla="*/ 921405 w 1199950"/>
                <a:gd name="connsiteY185" fmla="*/ 309233 h 637350"/>
                <a:gd name="connsiteX186" fmla="*/ 918257 w 1199950"/>
                <a:gd name="connsiteY186" fmla="*/ 309627 h 637350"/>
                <a:gd name="connsiteX187" fmla="*/ 915503 w 1199950"/>
                <a:gd name="connsiteY187" fmla="*/ 310020 h 637350"/>
                <a:gd name="connsiteX188" fmla="*/ 914323 w 1199950"/>
                <a:gd name="connsiteY188" fmla="*/ 310020 h 637350"/>
                <a:gd name="connsiteX189" fmla="*/ 914717 w 1199950"/>
                <a:gd name="connsiteY189" fmla="*/ 309627 h 637350"/>
                <a:gd name="connsiteX190" fmla="*/ 915110 w 1199950"/>
                <a:gd name="connsiteY190" fmla="*/ 309627 h 637350"/>
                <a:gd name="connsiteX191" fmla="*/ 918257 w 1199950"/>
                <a:gd name="connsiteY191" fmla="*/ 309233 h 637350"/>
                <a:gd name="connsiteX192" fmla="*/ 921011 w 1199950"/>
                <a:gd name="connsiteY192" fmla="*/ 306479 h 637350"/>
                <a:gd name="connsiteX193" fmla="*/ 923765 w 1199950"/>
                <a:gd name="connsiteY193" fmla="*/ 307266 h 637350"/>
                <a:gd name="connsiteX194" fmla="*/ 923372 w 1199950"/>
                <a:gd name="connsiteY194" fmla="*/ 304512 h 637350"/>
                <a:gd name="connsiteX195" fmla="*/ 921405 w 1199950"/>
                <a:gd name="connsiteY195" fmla="*/ 304512 h 637350"/>
                <a:gd name="connsiteX196" fmla="*/ 921798 w 1199950"/>
                <a:gd name="connsiteY196" fmla="*/ 304119 h 637350"/>
                <a:gd name="connsiteX197" fmla="*/ 923372 w 1199950"/>
                <a:gd name="connsiteY197" fmla="*/ 303725 h 637350"/>
                <a:gd name="connsiteX198" fmla="*/ 926519 w 1199950"/>
                <a:gd name="connsiteY198" fmla="*/ 302545 h 637350"/>
                <a:gd name="connsiteX199" fmla="*/ 924552 w 1199950"/>
                <a:gd name="connsiteY199" fmla="*/ 301758 h 637350"/>
                <a:gd name="connsiteX200" fmla="*/ 926519 w 1199950"/>
                <a:gd name="connsiteY200" fmla="*/ 300184 h 637350"/>
                <a:gd name="connsiteX201" fmla="*/ 915503 w 1199950"/>
                <a:gd name="connsiteY201" fmla="*/ 295463 h 637350"/>
                <a:gd name="connsiteX202" fmla="*/ 917470 w 1199950"/>
                <a:gd name="connsiteY202" fmla="*/ 295463 h 637350"/>
                <a:gd name="connsiteX203" fmla="*/ 920225 w 1199950"/>
                <a:gd name="connsiteY203" fmla="*/ 293103 h 637350"/>
                <a:gd name="connsiteX204" fmla="*/ 923765 w 1199950"/>
                <a:gd name="connsiteY204" fmla="*/ 291922 h 637350"/>
                <a:gd name="connsiteX205" fmla="*/ 920618 w 1199950"/>
                <a:gd name="connsiteY205" fmla="*/ 291529 h 637350"/>
                <a:gd name="connsiteX206" fmla="*/ 917864 w 1199950"/>
                <a:gd name="connsiteY206" fmla="*/ 290742 h 637350"/>
                <a:gd name="connsiteX207" fmla="*/ 914717 w 1199950"/>
                <a:gd name="connsiteY207" fmla="*/ 293103 h 637350"/>
                <a:gd name="connsiteX208" fmla="*/ 911962 w 1199950"/>
                <a:gd name="connsiteY208" fmla="*/ 293889 h 637350"/>
                <a:gd name="connsiteX209" fmla="*/ 909208 w 1199950"/>
                <a:gd name="connsiteY209" fmla="*/ 292709 h 637350"/>
                <a:gd name="connsiteX210" fmla="*/ 911962 w 1199950"/>
                <a:gd name="connsiteY210" fmla="*/ 291529 h 637350"/>
                <a:gd name="connsiteX211" fmla="*/ 908815 w 1199950"/>
                <a:gd name="connsiteY211" fmla="*/ 291135 h 637350"/>
                <a:gd name="connsiteX212" fmla="*/ 906455 w 1199950"/>
                <a:gd name="connsiteY212" fmla="*/ 291922 h 637350"/>
                <a:gd name="connsiteX213" fmla="*/ 904094 w 1199950"/>
                <a:gd name="connsiteY213" fmla="*/ 290742 h 637350"/>
                <a:gd name="connsiteX214" fmla="*/ 904881 w 1199950"/>
                <a:gd name="connsiteY214" fmla="*/ 290742 h 637350"/>
                <a:gd name="connsiteX215" fmla="*/ 907635 w 1199950"/>
                <a:gd name="connsiteY215" fmla="*/ 289562 h 637350"/>
                <a:gd name="connsiteX216" fmla="*/ 910389 w 1199950"/>
                <a:gd name="connsiteY216" fmla="*/ 287988 h 637350"/>
                <a:gd name="connsiteX217" fmla="*/ 913143 w 1199950"/>
                <a:gd name="connsiteY217" fmla="*/ 287595 h 637350"/>
                <a:gd name="connsiteX218" fmla="*/ 910389 w 1199950"/>
                <a:gd name="connsiteY218" fmla="*/ 285628 h 637350"/>
                <a:gd name="connsiteX219" fmla="*/ 907241 w 1199950"/>
                <a:gd name="connsiteY219" fmla="*/ 284841 h 637350"/>
                <a:gd name="connsiteX220" fmla="*/ 904488 w 1199950"/>
                <a:gd name="connsiteY220" fmla="*/ 284447 h 637350"/>
                <a:gd name="connsiteX221" fmla="*/ 901340 w 1199950"/>
                <a:gd name="connsiteY221" fmla="*/ 284841 h 637350"/>
                <a:gd name="connsiteX222" fmla="*/ 898979 w 1199950"/>
                <a:gd name="connsiteY222" fmla="*/ 282087 h 637350"/>
                <a:gd name="connsiteX223" fmla="*/ 896225 w 1199950"/>
                <a:gd name="connsiteY223" fmla="*/ 281693 h 637350"/>
                <a:gd name="connsiteX224" fmla="*/ 893078 w 1199950"/>
                <a:gd name="connsiteY224" fmla="*/ 280906 h 637350"/>
                <a:gd name="connsiteX225" fmla="*/ 890324 w 1199950"/>
                <a:gd name="connsiteY225" fmla="*/ 281300 h 637350"/>
                <a:gd name="connsiteX226" fmla="*/ 890718 w 1199950"/>
                <a:gd name="connsiteY226" fmla="*/ 278546 h 637350"/>
                <a:gd name="connsiteX227" fmla="*/ 887963 w 1199950"/>
                <a:gd name="connsiteY227" fmla="*/ 278939 h 637350"/>
                <a:gd name="connsiteX228" fmla="*/ 885603 w 1199950"/>
                <a:gd name="connsiteY228" fmla="*/ 275792 h 637350"/>
                <a:gd name="connsiteX229" fmla="*/ 882849 w 1199950"/>
                <a:gd name="connsiteY229" fmla="*/ 274218 h 637350"/>
                <a:gd name="connsiteX230" fmla="*/ 880095 w 1199950"/>
                <a:gd name="connsiteY230" fmla="*/ 273825 h 637350"/>
                <a:gd name="connsiteX231" fmla="*/ 876948 w 1199950"/>
                <a:gd name="connsiteY231" fmla="*/ 271858 h 637350"/>
                <a:gd name="connsiteX232" fmla="*/ 873800 w 1199950"/>
                <a:gd name="connsiteY232" fmla="*/ 271858 h 637350"/>
                <a:gd name="connsiteX233" fmla="*/ 871046 w 1199950"/>
                <a:gd name="connsiteY233" fmla="*/ 271464 h 637350"/>
                <a:gd name="connsiteX234" fmla="*/ 868292 w 1199950"/>
                <a:gd name="connsiteY234" fmla="*/ 272644 h 637350"/>
                <a:gd name="connsiteX235" fmla="*/ 866325 w 1199950"/>
                <a:gd name="connsiteY235" fmla="*/ 273038 h 637350"/>
                <a:gd name="connsiteX236" fmla="*/ 863964 w 1199950"/>
                <a:gd name="connsiteY236" fmla="*/ 273431 h 637350"/>
                <a:gd name="connsiteX237" fmla="*/ 860817 w 1199950"/>
                <a:gd name="connsiteY237" fmla="*/ 275005 h 637350"/>
                <a:gd name="connsiteX238" fmla="*/ 858063 w 1199950"/>
                <a:gd name="connsiteY238" fmla="*/ 277366 h 637350"/>
                <a:gd name="connsiteX239" fmla="*/ 857670 w 1199950"/>
                <a:gd name="connsiteY239" fmla="*/ 276185 h 637350"/>
                <a:gd name="connsiteX240" fmla="*/ 857670 w 1199950"/>
                <a:gd name="connsiteY240" fmla="*/ 276185 h 637350"/>
                <a:gd name="connsiteX241" fmla="*/ 859243 w 1199950"/>
                <a:gd name="connsiteY241" fmla="*/ 273038 h 637350"/>
                <a:gd name="connsiteX242" fmla="*/ 856883 w 1199950"/>
                <a:gd name="connsiteY242" fmla="*/ 273038 h 637350"/>
                <a:gd name="connsiteX243" fmla="*/ 856489 w 1199950"/>
                <a:gd name="connsiteY243" fmla="*/ 272251 h 637350"/>
                <a:gd name="connsiteX244" fmla="*/ 865145 w 1199950"/>
                <a:gd name="connsiteY244" fmla="*/ 272251 h 637350"/>
                <a:gd name="connsiteX245" fmla="*/ 868685 w 1199950"/>
                <a:gd name="connsiteY245" fmla="*/ 271858 h 637350"/>
                <a:gd name="connsiteX246" fmla="*/ 871440 w 1199950"/>
                <a:gd name="connsiteY246" fmla="*/ 271464 h 637350"/>
                <a:gd name="connsiteX247" fmla="*/ 874587 w 1199950"/>
                <a:gd name="connsiteY247" fmla="*/ 270677 h 637350"/>
                <a:gd name="connsiteX248" fmla="*/ 875374 w 1199950"/>
                <a:gd name="connsiteY248" fmla="*/ 267923 h 637350"/>
                <a:gd name="connsiteX249" fmla="*/ 873800 w 1199950"/>
                <a:gd name="connsiteY249" fmla="*/ 265169 h 637350"/>
                <a:gd name="connsiteX250" fmla="*/ 871046 w 1199950"/>
                <a:gd name="connsiteY250" fmla="*/ 264776 h 637350"/>
                <a:gd name="connsiteX251" fmla="*/ 867899 w 1199950"/>
                <a:gd name="connsiteY251" fmla="*/ 264382 h 637350"/>
                <a:gd name="connsiteX252" fmla="*/ 864751 w 1199950"/>
                <a:gd name="connsiteY252" fmla="*/ 262809 h 637350"/>
                <a:gd name="connsiteX253" fmla="*/ 861604 w 1199950"/>
                <a:gd name="connsiteY253" fmla="*/ 262415 h 637350"/>
                <a:gd name="connsiteX254" fmla="*/ 858850 w 1199950"/>
                <a:gd name="connsiteY254" fmla="*/ 262415 h 637350"/>
                <a:gd name="connsiteX255" fmla="*/ 855309 w 1199950"/>
                <a:gd name="connsiteY255" fmla="*/ 263596 h 637350"/>
                <a:gd name="connsiteX256" fmla="*/ 854129 w 1199950"/>
                <a:gd name="connsiteY256" fmla="*/ 263989 h 637350"/>
                <a:gd name="connsiteX257" fmla="*/ 853735 w 1199950"/>
                <a:gd name="connsiteY257" fmla="*/ 262022 h 637350"/>
                <a:gd name="connsiteX258" fmla="*/ 854915 w 1199950"/>
                <a:gd name="connsiteY258" fmla="*/ 261629 h 637350"/>
                <a:gd name="connsiteX259" fmla="*/ 858063 w 1199950"/>
                <a:gd name="connsiteY259" fmla="*/ 260842 h 637350"/>
                <a:gd name="connsiteX260" fmla="*/ 860817 w 1199950"/>
                <a:gd name="connsiteY260" fmla="*/ 260842 h 637350"/>
                <a:gd name="connsiteX261" fmla="*/ 864358 w 1199950"/>
                <a:gd name="connsiteY261" fmla="*/ 261235 h 637350"/>
                <a:gd name="connsiteX262" fmla="*/ 867112 w 1199950"/>
                <a:gd name="connsiteY262" fmla="*/ 260448 h 637350"/>
                <a:gd name="connsiteX263" fmla="*/ 870259 w 1199950"/>
                <a:gd name="connsiteY263" fmla="*/ 259661 h 637350"/>
                <a:gd name="connsiteX264" fmla="*/ 873013 w 1199950"/>
                <a:gd name="connsiteY264" fmla="*/ 257301 h 637350"/>
                <a:gd name="connsiteX265" fmla="*/ 870259 w 1199950"/>
                <a:gd name="connsiteY265" fmla="*/ 256121 h 637350"/>
                <a:gd name="connsiteX266" fmla="*/ 867112 w 1199950"/>
                <a:gd name="connsiteY266" fmla="*/ 256121 h 637350"/>
                <a:gd name="connsiteX267" fmla="*/ 864358 w 1199950"/>
                <a:gd name="connsiteY267" fmla="*/ 255727 h 637350"/>
                <a:gd name="connsiteX268" fmla="*/ 861211 w 1199950"/>
                <a:gd name="connsiteY268" fmla="*/ 255334 h 637350"/>
                <a:gd name="connsiteX269" fmla="*/ 858063 w 1199950"/>
                <a:gd name="connsiteY269" fmla="*/ 254153 h 637350"/>
                <a:gd name="connsiteX270" fmla="*/ 855309 w 1199950"/>
                <a:gd name="connsiteY270" fmla="*/ 252973 h 637350"/>
                <a:gd name="connsiteX271" fmla="*/ 852555 w 1199950"/>
                <a:gd name="connsiteY271" fmla="*/ 252973 h 637350"/>
                <a:gd name="connsiteX272" fmla="*/ 851375 w 1199950"/>
                <a:gd name="connsiteY272" fmla="*/ 252973 h 637350"/>
                <a:gd name="connsiteX273" fmla="*/ 850981 w 1199950"/>
                <a:gd name="connsiteY273" fmla="*/ 251399 h 637350"/>
                <a:gd name="connsiteX274" fmla="*/ 854129 w 1199950"/>
                <a:gd name="connsiteY274" fmla="*/ 251793 h 637350"/>
                <a:gd name="connsiteX275" fmla="*/ 857276 w 1199950"/>
                <a:gd name="connsiteY275" fmla="*/ 251399 h 637350"/>
                <a:gd name="connsiteX276" fmla="*/ 860423 w 1199950"/>
                <a:gd name="connsiteY276" fmla="*/ 251006 h 637350"/>
                <a:gd name="connsiteX277" fmla="*/ 862391 w 1199950"/>
                <a:gd name="connsiteY277" fmla="*/ 250219 h 637350"/>
                <a:gd name="connsiteX278" fmla="*/ 873407 w 1199950"/>
                <a:gd name="connsiteY278" fmla="*/ 249432 h 637350"/>
                <a:gd name="connsiteX279" fmla="*/ 876554 w 1199950"/>
                <a:gd name="connsiteY279" fmla="*/ 249826 h 637350"/>
                <a:gd name="connsiteX280" fmla="*/ 879308 w 1199950"/>
                <a:gd name="connsiteY280" fmla="*/ 249432 h 637350"/>
                <a:gd name="connsiteX281" fmla="*/ 882062 w 1199950"/>
                <a:gd name="connsiteY281" fmla="*/ 249826 h 637350"/>
                <a:gd name="connsiteX282" fmla="*/ 888357 w 1199950"/>
                <a:gd name="connsiteY282" fmla="*/ 250219 h 637350"/>
                <a:gd name="connsiteX283" fmla="*/ 891111 w 1199950"/>
                <a:gd name="connsiteY283" fmla="*/ 250219 h 637350"/>
                <a:gd name="connsiteX284" fmla="*/ 893865 w 1199950"/>
                <a:gd name="connsiteY284" fmla="*/ 250613 h 637350"/>
                <a:gd name="connsiteX285" fmla="*/ 897012 w 1199950"/>
                <a:gd name="connsiteY285" fmla="*/ 251399 h 637350"/>
                <a:gd name="connsiteX286" fmla="*/ 899766 w 1199950"/>
                <a:gd name="connsiteY286" fmla="*/ 251793 h 637350"/>
                <a:gd name="connsiteX287" fmla="*/ 902520 w 1199950"/>
                <a:gd name="connsiteY287" fmla="*/ 252186 h 637350"/>
                <a:gd name="connsiteX288" fmla="*/ 905274 w 1199950"/>
                <a:gd name="connsiteY288" fmla="*/ 252186 h 637350"/>
                <a:gd name="connsiteX289" fmla="*/ 908422 w 1199950"/>
                <a:gd name="connsiteY289" fmla="*/ 251793 h 637350"/>
                <a:gd name="connsiteX290" fmla="*/ 911569 w 1199950"/>
                <a:gd name="connsiteY290" fmla="*/ 251006 h 637350"/>
                <a:gd name="connsiteX291" fmla="*/ 908815 w 1199950"/>
                <a:gd name="connsiteY291" fmla="*/ 250613 h 637350"/>
                <a:gd name="connsiteX292" fmla="*/ 905668 w 1199950"/>
                <a:gd name="connsiteY292" fmla="*/ 249432 h 637350"/>
                <a:gd name="connsiteX293" fmla="*/ 902914 w 1199950"/>
                <a:gd name="connsiteY293" fmla="*/ 249039 h 637350"/>
                <a:gd name="connsiteX294" fmla="*/ 899766 w 1199950"/>
                <a:gd name="connsiteY294" fmla="*/ 248645 h 637350"/>
                <a:gd name="connsiteX295" fmla="*/ 896619 w 1199950"/>
                <a:gd name="connsiteY295" fmla="*/ 248252 h 637350"/>
                <a:gd name="connsiteX296" fmla="*/ 895045 w 1199950"/>
                <a:gd name="connsiteY296" fmla="*/ 247859 h 637350"/>
                <a:gd name="connsiteX297" fmla="*/ 909208 w 1199950"/>
                <a:gd name="connsiteY297" fmla="*/ 246678 h 637350"/>
                <a:gd name="connsiteX298" fmla="*/ 911176 w 1199950"/>
                <a:gd name="connsiteY298" fmla="*/ 247465 h 637350"/>
                <a:gd name="connsiteX299" fmla="*/ 914323 w 1199950"/>
                <a:gd name="connsiteY299" fmla="*/ 247859 h 637350"/>
                <a:gd name="connsiteX300" fmla="*/ 917470 w 1199950"/>
                <a:gd name="connsiteY300" fmla="*/ 249039 h 637350"/>
                <a:gd name="connsiteX301" fmla="*/ 920225 w 1199950"/>
                <a:gd name="connsiteY301" fmla="*/ 249432 h 637350"/>
                <a:gd name="connsiteX302" fmla="*/ 922978 w 1199950"/>
                <a:gd name="connsiteY302" fmla="*/ 249826 h 637350"/>
                <a:gd name="connsiteX303" fmla="*/ 926126 w 1199950"/>
                <a:gd name="connsiteY303" fmla="*/ 250613 h 637350"/>
                <a:gd name="connsiteX304" fmla="*/ 929273 w 1199950"/>
                <a:gd name="connsiteY304" fmla="*/ 251399 h 637350"/>
                <a:gd name="connsiteX305" fmla="*/ 932421 w 1199950"/>
                <a:gd name="connsiteY305" fmla="*/ 251793 h 637350"/>
                <a:gd name="connsiteX306" fmla="*/ 935174 w 1199950"/>
                <a:gd name="connsiteY306" fmla="*/ 251006 h 637350"/>
                <a:gd name="connsiteX307" fmla="*/ 938322 w 1199950"/>
                <a:gd name="connsiteY307" fmla="*/ 249432 h 637350"/>
                <a:gd name="connsiteX308" fmla="*/ 941863 w 1199950"/>
                <a:gd name="connsiteY308" fmla="*/ 248645 h 637350"/>
                <a:gd name="connsiteX309" fmla="*/ 944617 w 1199950"/>
                <a:gd name="connsiteY309" fmla="*/ 248252 h 637350"/>
                <a:gd name="connsiteX310" fmla="*/ 947764 w 1199950"/>
                <a:gd name="connsiteY310" fmla="*/ 247859 h 637350"/>
                <a:gd name="connsiteX311" fmla="*/ 950518 w 1199950"/>
                <a:gd name="connsiteY311" fmla="*/ 245498 h 637350"/>
                <a:gd name="connsiteX312" fmla="*/ 953272 w 1199950"/>
                <a:gd name="connsiteY312" fmla="*/ 245891 h 637350"/>
                <a:gd name="connsiteX313" fmla="*/ 956420 w 1199950"/>
                <a:gd name="connsiteY313" fmla="*/ 246285 h 637350"/>
                <a:gd name="connsiteX314" fmla="*/ 959173 w 1199950"/>
                <a:gd name="connsiteY314" fmla="*/ 245891 h 637350"/>
                <a:gd name="connsiteX315" fmla="*/ 965075 w 1199950"/>
                <a:gd name="connsiteY315" fmla="*/ 245891 h 637350"/>
                <a:gd name="connsiteX316" fmla="*/ 968222 w 1199950"/>
                <a:gd name="connsiteY316" fmla="*/ 246285 h 637350"/>
                <a:gd name="connsiteX317" fmla="*/ 971370 w 1199950"/>
                <a:gd name="connsiteY317" fmla="*/ 245891 h 637350"/>
                <a:gd name="connsiteX318" fmla="*/ 970583 w 1199950"/>
                <a:gd name="connsiteY318" fmla="*/ 243137 h 637350"/>
                <a:gd name="connsiteX319" fmla="*/ 972157 w 1199950"/>
                <a:gd name="connsiteY319" fmla="*/ 241564 h 637350"/>
                <a:gd name="connsiteX320" fmla="*/ 975698 w 1199950"/>
                <a:gd name="connsiteY320" fmla="*/ 237630 h 637350"/>
                <a:gd name="connsiteX321" fmla="*/ 976091 w 1199950"/>
                <a:gd name="connsiteY321" fmla="*/ 237630 h 637350"/>
                <a:gd name="connsiteX322" fmla="*/ 976091 w 1199950"/>
                <a:gd name="connsiteY322" fmla="*/ 237236 h 637350"/>
                <a:gd name="connsiteX323" fmla="*/ 987107 w 1199950"/>
                <a:gd name="connsiteY323" fmla="*/ 224646 h 637350"/>
                <a:gd name="connsiteX324" fmla="*/ 989074 w 1199950"/>
                <a:gd name="connsiteY324" fmla="*/ 225040 h 637350"/>
                <a:gd name="connsiteX325" fmla="*/ 992221 w 1199950"/>
                <a:gd name="connsiteY325" fmla="*/ 225433 h 637350"/>
                <a:gd name="connsiteX326" fmla="*/ 995369 w 1199950"/>
                <a:gd name="connsiteY326" fmla="*/ 225827 h 637350"/>
                <a:gd name="connsiteX327" fmla="*/ 998516 w 1199950"/>
                <a:gd name="connsiteY327" fmla="*/ 225433 h 637350"/>
                <a:gd name="connsiteX328" fmla="*/ 1001270 w 1199950"/>
                <a:gd name="connsiteY328" fmla="*/ 225040 h 637350"/>
                <a:gd name="connsiteX329" fmla="*/ 1004417 w 1199950"/>
                <a:gd name="connsiteY329" fmla="*/ 223466 h 637350"/>
                <a:gd name="connsiteX330" fmla="*/ 1007172 w 1199950"/>
                <a:gd name="connsiteY330" fmla="*/ 221106 h 637350"/>
                <a:gd name="connsiteX331" fmla="*/ 1010713 w 1199950"/>
                <a:gd name="connsiteY331" fmla="*/ 219138 h 637350"/>
                <a:gd name="connsiteX332" fmla="*/ 1007565 w 1199950"/>
                <a:gd name="connsiteY332" fmla="*/ 218745 h 637350"/>
                <a:gd name="connsiteX333" fmla="*/ 1004811 w 1199950"/>
                <a:gd name="connsiteY333" fmla="*/ 216778 h 637350"/>
                <a:gd name="connsiteX334" fmla="*/ 1004811 w 1199950"/>
                <a:gd name="connsiteY334" fmla="*/ 214024 h 637350"/>
                <a:gd name="connsiteX335" fmla="*/ 1002057 w 1199950"/>
                <a:gd name="connsiteY335" fmla="*/ 214417 h 637350"/>
                <a:gd name="connsiteX336" fmla="*/ 999303 w 1199950"/>
                <a:gd name="connsiteY336" fmla="*/ 215204 h 637350"/>
                <a:gd name="connsiteX337" fmla="*/ 996156 w 1199950"/>
                <a:gd name="connsiteY337" fmla="*/ 216778 h 637350"/>
                <a:gd name="connsiteX338" fmla="*/ 993402 w 1199950"/>
                <a:gd name="connsiteY338" fmla="*/ 215991 h 637350"/>
                <a:gd name="connsiteX339" fmla="*/ 990254 w 1199950"/>
                <a:gd name="connsiteY339" fmla="*/ 215598 h 637350"/>
                <a:gd name="connsiteX340" fmla="*/ 991041 w 1199950"/>
                <a:gd name="connsiteY340" fmla="*/ 212844 h 637350"/>
                <a:gd name="connsiteX341" fmla="*/ 991435 w 1199950"/>
                <a:gd name="connsiteY341" fmla="*/ 212844 h 637350"/>
                <a:gd name="connsiteX342" fmla="*/ 994188 w 1199950"/>
                <a:gd name="connsiteY342" fmla="*/ 211663 h 637350"/>
                <a:gd name="connsiteX343" fmla="*/ 997336 w 1199950"/>
                <a:gd name="connsiteY343" fmla="*/ 210090 h 637350"/>
                <a:gd name="connsiteX344" fmla="*/ 994188 w 1199950"/>
                <a:gd name="connsiteY344" fmla="*/ 208123 h 637350"/>
                <a:gd name="connsiteX345" fmla="*/ 993008 w 1199950"/>
                <a:gd name="connsiteY345" fmla="*/ 207729 h 637350"/>
                <a:gd name="connsiteX346" fmla="*/ 993402 w 1199950"/>
                <a:gd name="connsiteY346" fmla="*/ 205762 h 637350"/>
                <a:gd name="connsiteX347" fmla="*/ 994976 w 1199950"/>
                <a:gd name="connsiteY347" fmla="*/ 201041 h 637350"/>
                <a:gd name="connsiteX348" fmla="*/ 998123 w 1199950"/>
                <a:gd name="connsiteY348" fmla="*/ 201828 h 637350"/>
                <a:gd name="connsiteX349" fmla="*/ 1000877 w 1199950"/>
                <a:gd name="connsiteY349" fmla="*/ 202221 h 637350"/>
                <a:gd name="connsiteX350" fmla="*/ 1004024 w 1199950"/>
                <a:gd name="connsiteY350" fmla="*/ 201434 h 637350"/>
                <a:gd name="connsiteX351" fmla="*/ 1007172 w 1199950"/>
                <a:gd name="connsiteY351" fmla="*/ 199861 h 637350"/>
                <a:gd name="connsiteX352" fmla="*/ 1009139 w 1199950"/>
                <a:gd name="connsiteY352" fmla="*/ 197107 h 637350"/>
                <a:gd name="connsiteX353" fmla="*/ 1010319 w 1199950"/>
                <a:gd name="connsiteY353" fmla="*/ 193959 h 637350"/>
                <a:gd name="connsiteX354" fmla="*/ 1010713 w 1199950"/>
                <a:gd name="connsiteY354" fmla="*/ 191205 h 637350"/>
                <a:gd name="connsiteX355" fmla="*/ 1007958 w 1199950"/>
                <a:gd name="connsiteY355" fmla="*/ 188451 h 637350"/>
                <a:gd name="connsiteX356" fmla="*/ 1010713 w 1199950"/>
                <a:gd name="connsiteY356" fmla="*/ 186878 h 637350"/>
                <a:gd name="connsiteX357" fmla="*/ 1007958 w 1199950"/>
                <a:gd name="connsiteY357" fmla="*/ 184517 h 637350"/>
                <a:gd name="connsiteX358" fmla="*/ 1004811 w 1199950"/>
                <a:gd name="connsiteY358" fmla="*/ 182156 h 637350"/>
                <a:gd name="connsiteX359" fmla="*/ 1002057 w 1199950"/>
                <a:gd name="connsiteY359" fmla="*/ 181763 h 637350"/>
                <a:gd name="connsiteX360" fmla="*/ 1003237 w 1199950"/>
                <a:gd name="connsiteY360" fmla="*/ 178222 h 637350"/>
                <a:gd name="connsiteX361" fmla="*/ 1008746 w 1199950"/>
                <a:gd name="connsiteY361" fmla="*/ 178222 h 637350"/>
                <a:gd name="connsiteX362" fmla="*/ 1009532 w 1199950"/>
                <a:gd name="connsiteY362" fmla="*/ 175468 h 637350"/>
                <a:gd name="connsiteX363" fmla="*/ 1005991 w 1199950"/>
                <a:gd name="connsiteY363" fmla="*/ 173108 h 637350"/>
                <a:gd name="connsiteX364" fmla="*/ 1004417 w 1199950"/>
                <a:gd name="connsiteY364" fmla="*/ 173108 h 637350"/>
                <a:gd name="connsiteX365" fmla="*/ 1011106 w 1199950"/>
                <a:gd name="connsiteY365" fmla="*/ 155403 h 637350"/>
                <a:gd name="connsiteX366" fmla="*/ 1013860 w 1199950"/>
                <a:gd name="connsiteY366" fmla="*/ 155403 h 637350"/>
                <a:gd name="connsiteX367" fmla="*/ 1017007 w 1199950"/>
                <a:gd name="connsiteY367" fmla="*/ 156190 h 637350"/>
                <a:gd name="connsiteX368" fmla="*/ 1019761 w 1199950"/>
                <a:gd name="connsiteY368" fmla="*/ 156584 h 637350"/>
                <a:gd name="connsiteX369" fmla="*/ 1023302 w 1199950"/>
                <a:gd name="connsiteY369" fmla="*/ 157764 h 637350"/>
                <a:gd name="connsiteX370" fmla="*/ 1026450 w 1199950"/>
                <a:gd name="connsiteY370" fmla="*/ 157764 h 637350"/>
                <a:gd name="connsiteX371" fmla="*/ 1029204 w 1199950"/>
                <a:gd name="connsiteY371" fmla="*/ 158157 h 637350"/>
                <a:gd name="connsiteX372" fmla="*/ 1031957 w 1199950"/>
                <a:gd name="connsiteY372" fmla="*/ 158157 h 637350"/>
                <a:gd name="connsiteX373" fmla="*/ 1035105 w 1199950"/>
                <a:gd name="connsiteY373" fmla="*/ 158944 h 637350"/>
                <a:gd name="connsiteX374" fmla="*/ 1037859 w 1199950"/>
                <a:gd name="connsiteY374" fmla="*/ 159338 h 637350"/>
                <a:gd name="connsiteX375" fmla="*/ 1040613 w 1199950"/>
                <a:gd name="connsiteY375" fmla="*/ 158944 h 637350"/>
                <a:gd name="connsiteX376" fmla="*/ 1043367 w 1199950"/>
                <a:gd name="connsiteY376" fmla="*/ 158157 h 637350"/>
                <a:gd name="connsiteX377" fmla="*/ 1046908 w 1199950"/>
                <a:gd name="connsiteY377" fmla="*/ 157371 h 637350"/>
                <a:gd name="connsiteX378" fmla="*/ 1048482 w 1199950"/>
                <a:gd name="connsiteY378" fmla="*/ 154617 h 637350"/>
                <a:gd name="connsiteX379" fmla="*/ 1048875 w 1199950"/>
                <a:gd name="connsiteY379" fmla="*/ 151863 h 637350"/>
                <a:gd name="connsiteX380" fmla="*/ 1048482 w 1199950"/>
                <a:gd name="connsiteY380" fmla="*/ 149109 h 637350"/>
                <a:gd name="connsiteX381" fmla="*/ 1046121 w 1199950"/>
                <a:gd name="connsiteY381" fmla="*/ 145961 h 637350"/>
                <a:gd name="connsiteX382" fmla="*/ 1040220 w 1199950"/>
                <a:gd name="connsiteY382" fmla="*/ 145961 h 637350"/>
                <a:gd name="connsiteX383" fmla="*/ 1037072 w 1199950"/>
                <a:gd name="connsiteY383" fmla="*/ 145568 h 637350"/>
                <a:gd name="connsiteX384" fmla="*/ 1033924 w 1199950"/>
                <a:gd name="connsiteY384" fmla="*/ 145961 h 637350"/>
                <a:gd name="connsiteX385" fmla="*/ 1030777 w 1199950"/>
                <a:gd name="connsiteY385" fmla="*/ 148715 h 637350"/>
                <a:gd name="connsiteX386" fmla="*/ 1027630 w 1199950"/>
                <a:gd name="connsiteY386" fmla="*/ 148322 h 637350"/>
                <a:gd name="connsiteX387" fmla="*/ 1024483 w 1199950"/>
                <a:gd name="connsiteY387" fmla="*/ 148715 h 637350"/>
                <a:gd name="connsiteX388" fmla="*/ 1023302 w 1199950"/>
                <a:gd name="connsiteY388" fmla="*/ 145961 h 637350"/>
                <a:gd name="connsiteX389" fmla="*/ 1020548 w 1199950"/>
                <a:gd name="connsiteY389" fmla="*/ 145174 h 637350"/>
                <a:gd name="connsiteX390" fmla="*/ 1017794 w 1199950"/>
                <a:gd name="connsiteY390" fmla="*/ 144781 h 637350"/>
                <a:gd name="connsiteX391" fmla="*/ 1015040 w 1199950"/>
                <a:gd name="connsiteY391" fmla="*/ 145174 h 637350"/>
                <a:gd name="connsiteX392" fmla="*/ 1018187 w 1199950"/>
                <a:gd name="connsiteY392" fmla="*/ 136912 h 637350"/>
                <a:gd name="connsiteX393" fmla="*/ 1020942 w 1199950"/>
                <a:gd name="connsiteY393" fmla="*/ 137699 h 637350"/>
                <a:gd name="connsiteX394" fmla="*/ 1024089 w 1199950"/>
                <a:gd name="connsiteY394" fmla="*/ 138486 h 637350"/>
                <a:gd name="connsiteX395" fmla="*/ 1026843 w 1199950"/>
                <a:gd name="connsiteY395" fmla="*/ 139666 h 637350"/>
                <a:gd name="connsiteX396" fmla="*/ 1029990 w 1199950"/>
                <a:gd name="connsiteY396" fmla="*/ 140060 h 637350"/>
                <a:gd name="connsiteX397" fmla="*/ 1033138 w 1199950"/>
                <a:gd name="connsiteY397" fmla="*/ 139666 h 637350"/>
                <a:gd name="connsiteX398" fmla="*/ 1035892 w 1199950"/>
                <a:gd name="connsiteY398" fmla="*/ 139273 h 637350"/>
                <a:gd name="connsiteX399" fmla="*/ 1034318 w 1199950"/>
                <a:gd name="connsiteY399" fmla="*/ 136519 h 637350"/>
                <a:gd name="connsiteX400" fmla="*/ 1031564 w 1199950"/>
                <a:gd name="connsiteY400" fmla="*/ 135339 h 637350"/>
                <a:gd name="connsiteX401" fmla="*/ 1028023 w 1199950"/>
                <a:gd name="connsiteY401" fmla="*/ 134945 h 637350"/>
                <a:gd name="connsiteX402" fmla="*/ 1024876 w 1199950"/>
                <a:gd name="connsiteY402" fmla="*/ 134945 h 637350"/>
                <a:gd name="connsiteX403" fmla="*/ 1021728 w 1199950"/>
                <a:gd name="connsiteY403" fmla="*/ 134552 h 637350"/>
                <a:gd name="connsiteX404" fmla="*/ 1018975 w 1199950"/>
                <a:gd name="connsiteY404" fmla="*/ 134158 h 637350"/>
                <a:gd name="connsiteX405" fmla="*/ 1019368 w 1199950"/>
                <a:gd name="connsiteY405" fmla="*/ 133765 h 637350"/>
                <a:gd name="connsiteX406" fmla="*/ 1019368 w 1199950"/>
                <a:gd name="connsiteY406" fmla="*/ 133765 h 637350"/>
                <a:gd name="connsiteX407" fmla="*/ 1022515 w 1199950"/>
                <a:gd name="connsiteY407" fmla="*/ 134158 h 637350"/>
                <a:gd name="connsiteX408" fmla="*/ 1028810 w 1199950"/>
                <a:gd name="connsiteY408" fmla="*/ 134552 h 637350"/>
                <a:gd name="connsiteX409" fmla="*/ 1032351 w 1199950"/>
                <a:gd name="connsiteY409" fmla="*/ 134945 h 637350"/>
                <a:gd name="connsiteX410" fmla="*/ 1029597 w 1199950"/>
                <a:gd name="connsiteY410" fmla="*/ 132585 h 637350"/>
                <a:gd name="connsiteX411" fmla="*/ 1026450 w 1199950"/>
                <a:gd name="connsiteY411" fmla="*/ 132978 h 637350"/>
                <a:gd name="connsiteX412" fmla="*/ 1023302 w 1199950"/>
                <a:gd name="connsiteY412" fmla="*/ 132191 h 637350"/>
                <a:gd name="connsiteX413" fmla="*/ 1020548 w 1199950"/>
                <a:gd name="connsiteY413" fmla="*/ 131404 h 637350"/>
                <a:gd name="connsiteX414" fmla="*/ 1029597 w 1199950"/>
                <a:gd name="connsiteY414" fmla="*/ 108192 h 637350"/>
                <a:gd name="connsiteX415" fmla="*/ 1031171 w 1199950"/>
                <a:gd name="connsiteY415" fmla="*/ 105438 h 637350"/>
                <a:gd name="connsiteX416" fmla="*/ 1030777 w 1199950"/>
                <a:gd name="connsiteY416" fmla="*/ 105045 h 637350"/>
                <a:gd name="connsiteX417" fmla="*/ 1031171 w 1199950"/>
                <a:gd name="connsiteY417" fmla="*/ 103471 h 637350"/>
                <a:gd name="connsiteX418" fmla="*/ 1032744 w 1199950"/>
                <a:gd name="connsiteY418" fmla="*/ 103078 h 637350"/>
                <a:gd name="connsiteX419" fmla="*/ 1035892 w 1199950"/>
                <a:gd name="connsiteY419" fmla="*/ 102684 h 637350"/>
                <a:gd name="connsiteX420" fmla="*/ 1039433 w 1199950"/>
                <a:gd name="connsiteY420" fmla="*/ 102684 h 637350"/>
                <a:gd name="connsiteX421" fmla="*/ 1042580 w 1199950"/>
                <a:gd name="connsiteY421" fmla="*/ 100324 h 637350"/>
                <a:gd name="connsiteX422" fmla="*/ 1045727 w 1199950"/>
                <a:gd name="connsiteY422" fmla="*/ 99143 h 637350"/>
                <a:gd name="connsiteX423" fmla="*/ 1048482 w 1199950"/>
                <a:gd name="connsiteY423" fmla="*/ 100324 h 637350"/>
                <a:gd name="connsiteX424" fmla="*/ 1051629 w 1199950"/>
                <a:gd name="connsiteY424" fmla="*/ 98357 h 637350"/>
                <a:gd name="connsiteX425" fmla="*/ 1048875 w 1199950"/>
                <a:gd name="connsiteY425" fmla="*/ 97963 h 637350"/>
                <a:gd name="connsiteX426" fmla="*/ 1045727 w 1199950"/>
                <a:gd name="connsiteY426" fmla="*/ 98357 h 637350"/>
                <a:gd name="connsiteX427" fmla="*/ 1045334 w 1199950"/>
                <a:gd name="connsiteY427" fmla="*/ 98357 h 637350"/>
                <a:gd name="connsiteX428" fmla="*/ 1073267 w 1199950"/>
                <a:gd name="connsiteY428" fmla="*/ 87341 h 637350"/>
                <a:gd name="connsiteX429" fmla="*/ 1074448 w 1199950"/>
                <a:gd name="connsiteY429" fmla="*/ 86947 h 637350"/>
                <a:gd name="connsiteX430" fmla="*/ 1077201 w 1199950"/>
                <a:gd name="connsiteY430" fmla="*/ 86160 h 637350"/>
                <a:gd name="connsiteX431" fmla="*/ 1079956 w 1199950"/>
                <a:gd name="connsiteY431" fmla="*/ 84980 h 637350"/>
                <a:gd name="connsiteX432" fmla="*/ 1082709 w 1199950"/>
                <a:gd name="connsiteY432" fmla="*/ 83406 h 637350"/>
                <a:gd name="connsiteX433" fmla="*/ 1086250 w 1199950"/>
                <a:gd name="connsiteY433" fmla="*/ 81833 h 637350"/>
                <a:gd name="connsiteX434" fmla="*/ 1086644 w 1199950"/>
                <a:gd name="connsiteY434" fmla="*/ 81439 h 637350"/>
                <a:gd name="connsiteX435" fmla="*/ 1089398 w 1199950"/>
                <a:gd name="connsiteY435" fmla="*/ 80259 h 637350"/>
                <a:gd name="connsiteX436" fmla="*/ 1086250 w 1199950"/>
                <a:gd name="connsiteY436" fmla="*/ 78685 h 637350"/>
                <a:gd name="connsiteX437" fmla="*/ 1082709 w 1199950"/>
                <a:gd name="connsiteY437" fmla="*/ 78292 h 637350"/>
                <a:gd name="connsiteX438" fmla="*/ 1079562 w 1199950"/>
                <a:gd name="connsiteY438" fmla="*/ 77898 h 637350"/>
                <a:gd name="connsiteX439" fmla="*/ 1076415 w 1199950"/>
                <a:gd name="connsiteY439" fmla="*/ 78292 h 637350"/>
                <a:gd name="connsiteX440" fmla="*/ 1073267 w 1199950"/>
                <a:gd name="connsiteY440" fmla="*/ 78292 h 637350"/>
                <a:gd name="connsiteX441" fmla="*/ 1069727 w 1199950"/>
                <a:gd name="connsiteY441" fmla="*/ 78685 h 637350"/>
                <a:gd name="connsiteX442" fmla="*/ 1066972 w 1199950"/>
                <a:gd name="connsiteY442" fmla="*/ 79079 h 637350"/>
                <a:gd name="connsiteX443" fmla="*/ 1063825 w 1199950"/>
                <a:gd name="connsiteY443" fmla="*/ 79472 h 637350"/>
                <a:gd name="connsiteX444" fmla="*/ 1060678 w 1199950"/>
                <a:gd name="connsiteY444" fmla="*/ 79866 h 637350"/>
                <a:gd name="connsiteX445" fmla="*/ 1057530 w 1199950"/>
                <a:gd name="connsiteY445" fmla="*/ 79472 h 637350"/>
                <a:gd name="connsiteX446" fmla="*/ 1054776 w 1199950"/>
                <a:gd name="connsiteY446" fmla="*/ 79079 h 637350"/>
                <a:gd name="connsiteX447" fmla="*/ 1051629 w 1199950"/>
                <a:gd name="connsiteY447" fmla="*/ 79472 h 637350"/>
                <a:gd name="connsiteX448" fmla="*/ 1048088 w 1199950"/>
                <a:gd name="connsiteY448" fmla="*/ 80259 h 637350"/>
                <a:gd name="connsiteX449" fmla="*/ 1044547 w 1199950"/>
                <a:gd name="connsiteY449" fmla="*/ 80652 h 637350"/>
                <a:gd name="connsiteX450" fmla="*/ 1041400 w 1199950"/>
                <a:gd name="connsiteY450" fmla="*/ 81046 h 637350"/>
                <a:gd name="connsiteX451" fmla="*/ 1040613 w 1199950"/>
                <a:gd name="connsiteY451" fmla="*/ 81439 h 637350"/>
                <a:gd name="connsiteX452" fmla="*/ 1039433 w 1199950"/>
                <a:gd name="connsiteY452" fmla="*/ 81439 h 637350"/>
                <a:gd name="connsiteX453" fmla="*/ 1037072 w 1199950"/>
                <a:gd name="connsiteY453" fmla="*/ 83013 h 637350"/>
                <a:gd name="connsiteX454" fmla="*/ 1035892 w 1199950"/>
                <a:gd name="connsiteY454" fmla="*/ 84587 h 637350"/>
                <a:gd name="connsiteX455" fmla="*/ 1030384 w 1199950"/>
                <a:gd name="connsiteY455" fmla="*/ 81439 h 637350"/>
                <a:gd name="connsiteX456" fmla="*/ 1030777 w 1199950"/>
                <a:gd name="connsiteY456" fmla="*/ 81439 h 637350"/>
                <a:gd name="connsiteX457" fmla="*/ 1048875 w 1199950"/>
                <a:gd name="connsiteY457" fmla="*/ 74751 h 637350"/>
                <a:gd name="connsiteX458" fmla="*/ 1052416 w 1199950"/>
                <a:gd name="connsiteY458" fmla="*/ 74751 h 637350"/>
                <a:gd name="connsiteX459" fmla="*/ 1055563 w 1199950"/>
                <a:gd name="connsiteY459" fmla="*/ 75144 h 637350"/>
                <a:gd name="connsiteX460" fmla="*/ 1058317 w 1199950"/>
                <a:gd name="connsiteY460" fmla="*/ 75538 h 637350"/>
                <a:gd name="connsiteX461" fmla="*/ 1061464 w 1199950"/>
                <a:gd name="connsiteY461" fmla="*/ 75931 h 637350"/>
                <a:gd name="connsiteX462" fmla="*/ 1065005 w 1199950"/>
                <a:gd name="connsiteY462" fmla="*/ 75931 h 637350"/>
                <a:gd name="connsiteX463" fmla="*/ 1068546 w 1199950"/>
                <a:gd name="connsiteY463" fmla="*/ 76325 h 637350"/>
                <a:gd name="connsiteX464" fmla="*/ 1071694 w 1199950"/>
                <a:gd name="connsiteY464" fmla="*/ 76718 h 637350"/>
                <a:gd name="connsiteX465" fmla="*/ 1074841 w 1199950"/>
                <a:gd name="connsiteY465" fmla="*/ 76718 h 637350"/>
                <a:gd name="connsiteX466" fmla="*/ 1077989 w 1199950"/>
                <a:gd name="connsiteY466" fmla="*/ 76325 h 637350"/>
                <a:gd name="connsiteX467" fmla="*/ 1081136 w 1199950"/>
                <a:gd name="connsiteY467" fmla="*/ 75931 h 637350"/>
                <a:gd name="connsiteX468" fmla="*/ 1087431 w 1199950"/>
                <a:gd name="connsiteY468" fmla="*/ 75931 h 637350"/>
                <a:gd name="connsiteX469" fmla="*/ 1090578 w 1199950"/>
                <a:gd name="connsiteY469" fmla="*/ 76325 h 637350"/>
                <a:gd name="connsiteX470" fmla="*/ 1093726 w 1199950"/>
                <a:gd name="connsiteY470" fmla="*/ 76325 h 637350"/>
                <a:gd name="connsiteX471" fmla="*/ 1096873 w 1199950"/>
                <a:gd name="connsiteY471" fmla="*/ 75931 h 637350"/>
                <a:gd name="connsiteX472" fmla="*/ 1100414 w 1199950"/>
                <a:gd name="connsiteY472" fmla="*/ 75538 h 637350"/>
                <a:gd name="connsiteX473" fmla="*/ 1103168 w 1199950"/>
                <a:gd name="connsiteY473" fmla="*/ 75144 h 637350"/>
                <a:gd name="connsiteX474" fmla="*/ 1105922 w 1199950"/>
                <a:gd name="connsiteY474" fmla="*/ 71997 h 637350"/>
                <a:gd name="connsiteX475" fmla="*/ 1109463 w 1199950"/>
                <a:gd name="connsiteY475" fmla="*/ 72784 h 637350"/>
                <a:gd name="connsiteX476" fmla="*/ 1112216 w 1199950"/>
                <a:gd name="connsiteY476" fmla="*/ 71210 h 637350"/>
                <a:gd name="connsiteX477" fmla="*/ 1114971 w 1199950"/>
                <a:gd name="connsiteY477" fmla="*/ 70817 h 637350"/>
                <a:gd name="connsiteX478" fmla="*/ 1118118 w 1199950"/>
                <a:gd name="connsiteY478" fmla="*/ 69636 h 637350"/>
                <a:gd name="connsiteX479" fmla="*/ 1115364 w 1199950"/>
                <a:gd name="connsiteY479" fmla="*/ 69243 h 637350"/>
                <a:gd name="connsiteX480" fmla="*/ 1112216 w 1199950"/>
                <a:gd name="connsiteY480" fmla="*/ 68850 h 637350"/>
                <a:gd name="connsiteX481" fmla="*/ 1108675 w 1199950"/>
                <a:gd name="connsiteY481" fmla="*/ 68850 h 637350"/>
                <a:gd name="connsiteX482" fmla="*/ 1105135 w 1199950"/>
                <a:gd name="connsiteY482" fmla="*/ 68456 h 637350"/>
                <a:gd name="connsiteX483" fmla="*/ 1102381 w 1199950"/>
                <a:gd name="connsiteY483" fmla="*/ 68456 h 637350"/>
                <a:gd name="connsiteX484" fmla="*/ 1098840 w 1199950"/>
                <a:gd name="connsiteY484" fmla="*/ 68063 h 637350"/>
                <a:gd name="connsiteX485" fmla="*/ 1095693 w 1199950"/>
                <a:gd name="connsiteY485" fmla="*/ 67669 h 637350"/>
                <a:gd name="connsiteX486" fmla="*/ 1092545 w 1199950"/>
                <a:gd name="connsiteY486" fmla="*/ 67276 h 637350"/>
                <a:gd name="connsiteX487" fmla="*/ 1089398 w 1199950"/>
                <a:gd name="connsiteY487" fmla="*/ 67669 h 637350"/>
                <a:gd name="connsiteX488" fmla="*/ 1086250 w 1199950"/>
                <a:gd name="connsiteY488" fmla="*/ 68063 h 637350"/>
                <a:gd name="connsiteX489" fmla="*/ 1083497 w 1199950"/>
                <a:gd name="connsiteY489" fmla="*/ 68456 h 637350"/>
                <a:gd name="connsiteX490" fmla="*/ 1079956 w 1199950"/>
                <a:gd name="connsiteY490" fmla="*/ 68850 h 637350"/>
                <a:gd name="connsiteX491" fmla="*/ 1076808 w 1199950"/>
                <a:gd name="connsiteY491" fmla="*/ 68850 h 637350"/>
                <a:gd name="connsiteX492" fmla="*/ 1073267 w 1199950"/>
                <a:gd name="connsiteY492" fmla="*/ 69243 h 637350"/>
                <a:gd name="connsiteX493" fmla="*/ 1070120 w 1199950"/>
                <a:gd name="connsiteY493" fmla="*/ 68850 h 637350"/>
                <a:gd name="connsiteX494" fmla="*/ 1067366 w 1199950"/>
                <a:gd name="connsiteY494" fmla="*/ 68850 h 637350"/>
                <a:gd name="connsiteX495" fmla="*/ 1066186 w 1199950"/>
                <a:gd name="connsiteY495" fmla="*/ 68456 h 637350"/>
                <a:gd name="connsiteX496" fmla="*/ 1068546 w 1199950"/>
                <a:gd name="connsiteY496" fmla="*/ 67669 h 637350"/>
                <a:gd name="connsiteX497" fmla="*/ 1072087 w 1199950"/>
                <a:gd name="connsiteY497" fmla="*/ 67276 h 637350"/>
                <a:gd name="connsiteX498" fmla="*/ 1075628 w 1199950"/>
                <a:gd name="connsiteY498" fmla="*/ 66882 h 637350"/>
                <a:gd name="connsiteX499" fmla="*/ 1078382 w 1199950"/>
                <a:gd name="connsiteY499" fmla="*/ 66096 h 637350"/>
                <a:gd name="connsiteX500" fmla="*/ 1081529 w 1199950"/>
                <a:gd name="connsiteY500" fmla="*/ 65702 h 637350"/>
                <a:gd name="connsiteX501" fmla="*/ 1084283 w 1199950"/>
                <a:gd name="connsiteY501" fmla="*/ 63735 h 637350"/>
                <a:gd name="connsiteX502" fmla="*/ 1087431 w 1199950"/>
                <a:gd name="connsiteY502" fmla="*/ 63735 h 637350"/>
                <a:gd name="connsiteX503" fmla="*/ 1090185 w 1199950"/>
                <a:gd name="connsiteY503" fmla="*/ 64915 h 637350"/>
                <a:gd name="connsiteX504" fmla="*/ 1099627 w 1199950"/>
                <a:gd name="connsiteY504" fmla="*/ 64915 h 637350"/>
                <a:gd name="connsiteX505" fmla="*/ 1102774 w 1199950"/>
                <a:gd name="connsiteY505" fmla="*/ 65309 h 637350"/>
                <a:gd name="connsiteX506" fmla="*/ 1105922 w 1199950"/>
                <a:gd name="connsiteY506" fmla="*/ 65702 h 637350"/>
                <a:gd name="connsiteX507" fmla="*/ 1109069 w 1199950"/>
                <a:gd name="connsiteY507" fmla="*/ 66096 h 637350"/>
                <a:gd name="connsiteX508" fmla="*/ 1112216 w 1199950"/>
                <a:gd name="connsiteY508" fmla="*/ 65702 h 637350"/>
                <a:gd name="connsiteX509" fmla="*/ 1115364 w 1199950"/>
                <a:gd name="connsiteY509" fmla="*/ 65309 h 637350"/>
                <a:gd name="connsiteX510" fmla="*/ 1118118 w 1199950"/>
                <a:gd name="connsiteY510" fmla="*/ 65309 h 637350"/>
                <a:gd name="connsiteX511" fmla="*/ 1121265 w 1199950"/>
                <a:gd name="connsiteY511" fmla="*/ 65702 h 637350"/>
                <a:gd name="connsiteX512" fmla="*/ 1124413 w 1199950"/>
                <a:gd name="connsiteY512" fmla="*/ 63342 h 637350"/>
                <a:gd name="connsiteX513" fmla="*/ 1127953 w 1199950"/>
                <a:gd name="connsiteY513" fmla="*/ 62948 h 637350"/>
                <a:gd name="connsiteX514" fmla="*/ 1131101 w 1199950"/>
                <a:gd name="connsiteY514" fmla="*/ 62555 h 637350"/>
                <a:gd name="connsiteX515" fmla="*/ 1134642 w 1199950"/>
                <a:gd name="connsiteY515" fmla="*/ 62161 h 637350"/>
                <a:gd name="connsiteX516" fmla="*/ 1141330 w 1199950"/>
                <a:gd name="connsiteY516" fmla="*/ 62161 h 637350"/>
                <a:gd name="connsiteX517" fmla="*/ 1144478 w 1199950"/>
                <a:gd name="connsiteY517" fmla="*/ 61768 h 637350"/>
                <a:gd name="connsiteX518" fmla="*/ 1147231 w 1199950"/>
                <a:gd name="connsiteY518" fmla="*/ 59407 h 637350"/>
                <a:gd name="connsiteX519" fmla="*/ 1144478 w 1199950"/>
                <a:gd name="connsiteY519" fmla="*/ 59014 h 637350"/>
                <a:gd name="connsiteX520" fmla="*/ 1141723 w 1199950"/>
                <a:gd name="connsiteY520" fmla="*/ 57047 h 637350"/>
                <a:gd name="connsiteX521" fmla="*/ 1144478 w 1199950"/>
                <a:gd name="connsiteY521" fmla="*/ 56260 h 637350"/>
                <a:gd name="connsiteX522" fmla="*/ 1147625 w 1199950"/>
                <a:gd name="connsiteY522" fmla="*/ 55867 h 637350"/>
                <a:gd name="connsiteX523" fmla="*/ 1151166 w 1199950"/>
                <a:gd name="connsiteY523" fmla="*/ 56260 h 637350"/>
                <a:gd name="connsiteX524" fmla="*/ 1160608 w 1199950"/>
                <a:gd name="connsiteY524" fmla="*/ 56260 h 637350"/>
                <a:gd name="connsiteX525" fmla="*/ 1164149 w 1199950"/>
                <a:gd name="connsiteY525" fmla="*/ 55867 h 637350"/>
                <a:gd name="connsiteX526" fmla="*/ 1167296 w 1199950"/>
                <a:gd name="connsiteY526" fmla="*/ 55080 h 637350"/>
                <a:gd name="connsiteX527" fmla="*/ 1170837 w 1199950"/>
                <a:gd name="connsiteY527" fmla="*/ 53506 h 637350"/>
                <a:gd name="connsiteX528" fmla="*/ 1173591 w 1199950"/>
                <a:gd name="connsiteY528" fmla="*/ 53113 h 637350"/>
                <a:gd name="connsiteX529" fmla="*/ 1177132 w 1199950"/>
                <a:gd name="connsiteY529" fmla="*/ 52719 h 637350"/>
                <a:gd name="connsiteX530" fmla="*/ 1180279 w 1199950"/>
                <a:gd name="connsiteY530" fmla="*/ 51539 h 637350"/>
                <a:gd name="connsiteX531" fmla="*/ 1183033 w 1199950"/>
                <a:gd name="connsiteY531" fmla="*/ 50752 h 637350"/>
                <a:gd name="connsiteX532" fmla="*/ 1186574 w 1199950"/>
                <a:gd name="connsiteY532" fmla="*/ 50359 h 637350"/>
                <a:gd name="connsiteX533" fmla="*/ 1189722 w 1199950"/>
                <a:gd name="connsiteY533" fmla="*/ 49965 h 637350"/>
                <a:gd name="connsiteX534" fmla="*/ 1192476 w 1199950"/>
                <a:gd name="connsiteY534" fmla="*/ 49572 h 637350"/>
                <a:gd name="connsiteX535" fmla="*/ 1195623 w 1199950"/>
                <a:gd name="connsiteY535" fmla="*/ 49178 h 637350"/>
                <a:gd name="connsiteX536" fmla="*/ 1198377 w 1199950"/>
                <a:gd name="connsiteY536" fmla="*/ 48785 h 637350"/>
                <a:gd name="connsiteX537" fmla="*/ 1201525 w 1199950"/>
                <a:gd name="connsiteY537" fmla="*/ 46818 h 637350"/>
                <a:gd name="connsiteX538" fmla="*/ 1197984 w 1199950"/>
                <a:gd name="connsiteY538" fmla="*/ 46424 h 637350"/>
                <a:gd name="connsiteX539" fmla="*/ 1194836 w 1199950"/>
                <a:gd name="connsiteY539" fmla="*/ 46031 h 637350"/>
                <a:gd name="connsiteX540" fmla="*/ 1192082 w 1199950"/>
                <a:gd name="connsiteY540" fmla="*/ 44457 h 637350"/>
                <a:gd name="connsiteX541" fmla="*/ 1189328 w 1199950"/>
                <a:gd name="connsiteY541" fmla="*/ 44064 h 637350"/>
                <a:gd name="connsiteX542" fmla="*/ 1186574 w 1199950"/>
                <a:gd name="connsiteY542" fmla="*/ 43670 h 637350"/>
                <a:gd name="connsiteX543" fmla="*/ 1183033 w 1199950"/>
                <a:gd name="connsiteY543" fmla="*/ 43277 h 637350"/>
                <a:gd name="connsiteX544" fmla="*/ 1180279 w 1199950"/>
                <a:gd name="connsiteY544" fmla="*/ 42883 h 637350"/>
                <a:gd name="connsiteX545" fmla="*/ 1177525 w 1199950"/>
                <a:gd name="connsiteY545" fmla="*/ 42490 h 637350"/>
                <a:gd name="connsiteX546" fmla="*/ 1174771 w 1199950"/>
                <a:gd name="connsiteY546" fmla="*/ 42097 h 637350"/>
                <a:gd name="connsiteX547" fmla="*/ 1171624 w 1199950"/>
                <a:gd name="connsiteY547" fmla="*/ 42097 h 637350"/>
                <a:gd name="connsiteX548" fmla="*/ 1168870 w 1199950"/>
                <a:gd name="connsiteY548" fmla="*/ 41703 h 637350"/>
                <a:gd name="connsiteX549" fmla="*/ 1165722 w 1199950"/>
                <a:gd name="connsiteY549" fmla="*/ 41310 h 637350"/>
                <a:gd name="connsiteX550" fmla="*/ 1162969 w 1199950"/>
                <a:gd name="connsiteY550" fmla="*/ 41310 h 637350"/>
                <a:gd name="connsiteX551" fmla="*/ 1159821 w 1199950"/>
                <a:gd name="connsiteY551" fmla="*/ 40916 h 637350"/>
                <a:gd name="connsiteX552" fmla="*/ 1157067 w 1199950"/>
                <a:gd name="connsiteY552" fmla="*/ 40523 h 637350"/>
                <a:gd name="connsiteX553" fmla="*/ 1153526 w 1199950"/>
                <a:gd name="connsiteY553" fmla="*/ 40129 h 637350"/>
                <a:gd name="connsiteX554" fmla="*/ 1150772 w 1199950"/>
                <a:gd name="connsiteY554" fmla="*/ 39736 h 637350"/>
                <a:gd name="connsiteX555" fmla="*/ 1148018 w 1199950"/>
                <a:gd name="connsiteY555" fmla="*/ 39736 h 637350"/>
                <a:gd name="connsiteX556" fmla="*/ 1144871 w 1199950"/>
                <a:gd name="connsiteY556" fmla="*/ 40129 h 637350"/>
                <a:gd name="connsiteX557" fmla="*/ 1142117 w 1199950"/>
                <a:gd name="connsiteY557" fmla="*/ 40129 h 637350"/>
                <a:gd name="connsiteX558" fmla="*/ 1138576 w 1199950"/>
                <a:gd name="connsiteY558" fmla="*/ 40523 h 637350"/>
                <a:gd name="connsiteX559" fmla="*/ 1135035 w 1199950"/>
                <a:gd name="connsiteY559" fmla="*/ 40523 h 637350"/>
                <a:gd name="connsiteX560" fmla="*/ 1131494 w 1199950"/>
                <a:gd name="connsiteY560" fmla="*/ 40129 h 637350"/>
                <a:gd name="connsiteX561" fmla="*/ 1128741 w 1199950"/>
                <a:gd name="connsiteY561" fmla="*/ 40523 h 637350"/>
                <a:gd name="connsiteX562" fmla="*/ 1122052 w 1199950"/>
                <a:gd name="connsiteY562" fmla="*/ 40523 h 637350"/>
                <a:gd name="connsiteX563" fmla="*/ 1118511 w 1199950"/>
                <a:gd name="connsiteY563" fmla="*/ 40129 h 637350"/>
                <a:gd name="connsiteX564" fmla="*/ 1114971 w 1199950"/>
                <a:gd name="connsiteY564" fmla="*/ 41703 h 637350"/>
                <a:gd name="connsiteX565" fmla="*/ 1109069 w 1199950"/>
                <a:gd name="connsiteY565" fmla="*/ 41703 h 637350"/>
                <a:gd name="connsiteX566" fmla="*/ 1105922 w 1199950"/>
                <a:gd name="connsiteY566" fmla="*/ 35802 h 637350"/>
                <a:gd name="connsiteX567" fmla="*/ 1102774 w 1199950"/>
                <a:gd name="connsiteY567" fmla="*/ 36195 h 637350"/>
                <a:gd name="connsiteX568" fmla="*/ 1104741 w 1199950"/>
                <a:gd name="connsiteY568" fmla="*/ 38949 h 637350"/>
                <a:gd name="connsiteX569" fmla="*/ 1101594 w 1199950"/>
                <a:gd name="connsiteY569" fmla="*/ 38556 h 637350"/>
                <a:gd name="connsiteX570" fmla="*/ 1098840 w 1199950"/>
                <a:gd name="connsiteY570" fmla="*/ 38162 h 637350"/>
                <a:gd name="connsiteX571" fmla="*/ 1095693 w 1199950"/>
                <a:gd name="connsiteY571" fmla="*/ 40523 h 637350"/>
                <a:gd name="connsiteX572" fmla="*/ 1099234 w 1199950"/>
                <a:gd name="connsiteY572" fmla="*/ 40916 h 637350"/>
                <a:gd name="connsiteX573" fmla="*/ 1095693 w 1199950"/>
                <a:gd name="connsiteY573" fmla="*/ 42097 h 637350"/>
                <a:gd name="connsiteX574" fmla="*/ 1092545 w 1199950"/>
                <a:gd name="connsiteY574" fmla="*/ 41703 h 637350"/>
                <a:gd name="connsiteX575" fmla="*/ 1089398 w 1199950"/>
                <a:gd name="connsiteY575" fmla="*/ 43670 h 637350"/>
                <a:gd name="connsiteX576" fmla="*/ 1086644 w 1199950"/>
                <a:gd name="connsiteY576" fmla="*/ 44064 h 637350"/>
                <a:gd name="connsiteX577" fmla="*/ 1083497 w 1199950"/>
                <a:gd name="connsiteY577" fmla="*/ 44064 h 637350"/>
                <a:gd name="connsiteX578" fmla="*/ 1080349 w 1199950"/>
                <a:gd name="connsiteY578" fmla="*/ 42883 h 637350"/>
                <a:gd name="connsiteX579" fmla="*/ 1077595 w 1199950"/>
                <a:gd name="connsiteY579" fmla="*/ 42490 h 637350"/>
                <a:gd name="connsiteX580" fmla="*/ 1074448 w 1199950"/>
                <a:gd name="connsiteY580" fmla="*/ 42883 h 637350"/>
                <a:gd name="connsiteX581" fmla="*/ 1071300 w 1199950"/>
                <a:gd name="connsiteY581" fmla="*/ 41703 h 637350"/>
                <a:gd name="connsiteX582" fmla="*/ 1068153 w 1199950"/>
                <a:gd name="connsiteY582" fmla="*/ 42097 h 637350"/>
                <a:gd name="connsiteX583" fmla="*/ 1064612 w 1199950"/>
                <a:gd name="connsiteY583" fmla="*/ 41703 h 637350"/>
                <a:gd name="connsiteX584" fmla="*/ 1061464 w 1199950"/>
                <a:gd name="connsiteY584" fmla="*/ 42097 h 637350"/>
                <a:gd name="connsiteX585" fmla="*/ 1058317 w 1199950"/>
                <a:gd name="connsiteY585" fmla="*/ 42490 h 637350"/>
                <a:gd name="connsiteX586" fmla="*/ 1054776 w 1199950"/>
                <a:gd name="connsiteY586" fmla="*/ 42883 h 637350"/>
                <a:gd name="connsiteX587" fmla="*/ 1052022 w 1199950"/>
                <a:gd name="connsiteY587" fmla="*/ 44064 h 637350"/>
                <a:gd name="connsiteX588" fmla="*/ 1048482 w 1199950"/>
                <a:gd name="connsiteY588" fmla="*/ 44457 h 637350"/>
                <a:gd name="connsiteX589" fmla="*/ 1050055 w 1199950"/>
                <a:gd name="connsiteY589" fmla="*/ 41703 h 637350"/>
                <a:gd name="connsiteX590" fmla="*/ 1052809 w 1199950"/>
                <a:gd name="connsiteY590" fmla="*/ 40129 h 637350"/>
                <a:gd name="connsiteX591" fmla="*/ 1055957 w 1199950"/>
                <a:gd name="connsiteY591" fmla="*/ 39343 h 637350"/>
                <a:gd name="connsiteX592" fmla="*/ 1053202 w 1199950"/>
                <a:gd name="connsiteY592" fmla="*/ 39736 h 637350"/>
                <a:gd name="connsiteX593" fmla="*/ 1050055 w 1199950"/>
                <a:gd name="connsiteY593" fmla="*/ 39736 h 637350"/>
                <a:gd name="connsiteX594" fmla="*/ 1047301 w 1199950"/>
                <a:gd name="connsiteY594" fmla="*/ 40129 h 637350"/>
                <a:gd name="connsiteX595" fmla="*/ 1044154 w 1199950"/>
                <a:gd name="connsiteY595" fmla="*/ 40523 h 637350"/>
                <a:gd name="connsiteX596" fmla="*/ 1041006 w 1199950"/>
                <a:gd name="connsiteY596" fmla="*/ 40916 h 637350"/>
                <a:gd name="connsiteX597" fmla="*/ 1038253 w 1199950"/>
                <a:gd name="connsiteY597" fmla="*/ 41703 h 637350"/>
                <a:gd name="connsiteX598" fmla="*/ 1035105 w 1199950"/>
                <a:gd name="connsiteY598" fmla="*/ 42490 h 637350"/>
                <a:gd name="connsiteX599" fmla="*/ 1031957 w 1199950"/>
                <a:gd name="connsiteY599" fmla="*/ 43277 h 637350"/>
                <a:gd name="connsiteX600" fmla="*/ 1029204 w 1199950"/>
                <a:gd name="connsiteY600" fmla="*/ 43670 h 637350"/>
                <a:gd name="connsiteX601" fmla="*/ 1012680 w 1199950"/>
                <a:gd name="connsiteY601" fmla="*/ 43277 h 637350"/>
                <a:gd name="connsiteX602" fmla="*/ 1015040 w 1199950"/>
                <a:gd name="connsiteY602" fmla="*/ 41703 h 637350"/>
                <a:gd name="connsiteX603" fmla="*/ 1017794 w 1199950"/>
                <a:gd name="connsiteY603" fmla="*/ 39343 h 637350"/>
                <a:gd name="connsiteX604" fmla="*/ 1020548 w 1199950"/>
                <a:gd name="connsiteY604" fmla="*/ 36589 h 637350"/>
                <a:gd name="connsiteX605" fmla="*/ 1020942 w 1199950"/>
                <a:gd name="connsiteY605" fmla="*/ 33835 h 637350"/>
                <a:gd name="connsiteX606" fmla="*/ 1018187 w 1199950"/>
                <a:gd name="connsiteY606" fmla="*/ 31081 h 637350"/>
                <a:gd name="connsiteX607" fmla="*/ 1015434 w 1199950"/>
                <a:gd name="connsiteY607" fmla="*/ 30687 h 637350"/>
                <a:gd name="connsiteX608" fmla="*/ 1012286 w 1199950"/>
                <a:gd name="connsiteY608" fmla="*/ 30687 h 637350"/>
                <a:gd name="connsiteX609" fmla="*/ 1009532 w 1199950"/>
                <a:gd name="connsiteY609" fmla="*/ 31081 h 637350"/>
                <a:gd name="connsiteX610" fmla="*/ 1005991 w 1199950"/>
                <a:gd name="connsiteY610" fmla="*/ 31081 h 637350"/>
                <a:gd name="connsiteX611" fmla="*/ 1002450 w 1199950"/>
                <a:gd name="connsiteY611" fmla="*/ 31474 h 637350"/>
                <a:gd name="connsiteX612" fmla="*/ 995762 w 1199950"/>
                <a:gd name="connsiteY612" fmla="*/ 31474 h 637350"/>
                <a:gd name="connsiteX613" fmla="*/ 992221 w 1199950"/>
                <a:gd name="connsiteY613" fmla="*/ 31868 h 637350"/>
                <a:gd name="connsiteX614" fmla="*/ 989468 w 1199950"/>
                <a:gd name="connsiteY614" fmla="*/ 32261 h 637350"/>
                <a:gd name="connsiteX615" fmla="*/ 986713 w 1199950"/>
                <a:gd name="connsiteY615" fmla="*/ 32654 h 637350"/>
                <a:gd name="connsiteX616" fmla="*/ 983566 w 1199950"/>
                <a:gd name="connsiteY616" fmla="*/ 33441 h 637350"/>
                <a:gd name="connsiteX617" fmla="*/ 981599 w 1199950"/>
                <a:gd name="connsiteY617" fmla="*/ 36195 h 637350"/>
                <a:gd name="connsiteX618" fmla="*/ 978058 w 1199950"/>
                <a:gd name="connsiteY618" fmla="*/ 38556 h 637350"/>
                <a:gd name="connsiteX619" fmla="*/ 975304 w 1199950"/>
                <a:gd name="connsiteY619" fmla="*/ 38556 h 637350"/>
                <a:gd name="connsiteX620" fmla="*/ 972157 w 1199950"/>
                <a:gd name="connsiteY620" fmla="*/ 38162 h 637350"/>
                <a:gd name="connsiteX621" fmla="*/ 968616 w 1199950"/>
                <a:gd name="connsiteY621" fmla="*/ 38949 h 637350"/>
                <a:gd name="connsiteX622" fmla="*/ 965469 w 1199950"/>
                <a:gd name="connsiteY622" fmla="*/ 38556 h 637350"/>
                <a:gd name="connsiteX623" fmla="*/ 962714 w 1199950"/>
                <a:gd name="connsiteY623" fmla="*/ 38949 h 637350"/>
                <a:gd name="connsiteX624" fmla="*/ 959173 w 1199950"/>
                <a:gd name="connsiteY624" fmla="*/ 39736 h 637350"/>
                <a:gd name="connsiteX625" fmla="*/ 955633 w 1199950"/>
                <a:gd name="connsiteY625" fmla="*/ 40129 h 637350"/>
                <a:gd name="connsiteX626" fmla="*/ 952485 w 1199950"/>
                <a:gd name="connsiteY626" fmla="*/ 40523 h 637350"/>
                <a:gd name="connsiteX627" fmla="*/ 949732 w 1199950"/>
                <a:gd name="connsiteY627" fmla="*/ 40916 h 637350"/>
                <a:gd name="connsiteX628" fmla="*/ 948551 w 1199950"/>
                <a:gd name="connsiteY628" fmla="*/ 40916 h 637350"/>
                <a:gd name="connsiteX629" fmla="*/ 933995 w 1199950"/>
                <a:gd name="connsiteY629" fmla="*/ 40523 h 637350"/>
                <a:gd name="connsiteX630" fmla="*/ 937142 w 1199950"/>
                <a:gd name="connsiteY630" fmla="*/ 40129 h 637350"/>
                <a:gd name="connsiteX631" fmla="*/ 940289 w 1199950"/>
                <a:gd name="connsiteY631" fmla="*/ 39736 h 637350"/>
                <a:gd name="connsiteX632" fmla="*/ 943830 w 1199950"/>
                <a:gd name="connsiteY632" fmla="*/ 39343 h 637350"/>
                <a:gd name="connsiteX633" fmla="*/ 946977 w 1199950"/>
                <a:gd name="connsiteY633" fmla="*/ 38949 h 637350"/>
                <a:gd name="connsiteX634" fmla="*/ 950518 w 1199950"/>
                <a:gd name="connsiteY634" fmla="*/ 38556 h 637350"/>
                <a:gd name="connsiteX635" fmla="*/ 953272 w 1199950"/>
                <a:gd name="connsiteY635" fmla="*/ 38162 h 637350"/>
                <a:gd name="connsiteX636" fmla="*/ 956420 w 1199950"/>
                <a:gd name="connsiteY636" fmla="*/ 37769 h 637350"/>
                <a:gd name="connsiteX637" fmla="*/ 959173 w 1199950"/>
                <a:gd name="connsiteY637" fmla="*/ 36982 h 637350"/>
                <a:gd name="connsiteX638" fmla="*/ 961534 w 1199950"/>
                <a:gd name="connsiteY638" fmla="*/ 34228 h 637350"/>
                <a:gd name="connsiteX639" fmla="*/ 958387 w 1199950"/>
                <a:gd name="connsiteY639" fmla="*/ 32654 h 637350"/>
                <a:gd name="connsiteX640" fmla="*/ 955239 w 1199950"/>
                <a:gd name="connsiteY640" fmla="*/ 32654 h 637350"/>
                <a:gd name="connsiteX641" fmla="*/ 952092 w 1199950"/>
                <a:gd name="connsiteY641" fmla="*/ 32261 h 637350"/>
                <a:gd name="connsiteX642" fmla="*/ 935962 w 1199950"/>
                <a:gd name="connsiteY642" fmla="*/ 32261 h 637350"/>
                <a:gd name="connsiteX643" fmla="*/ 932814 w 1199950"/>
                <a:gd name="connsiteY643" fmla="*/ 31868 h 637350"/>
                <a:gd name="connsiteX644" fmla="*/ 923372 w 1199950"/>
                <a:gd name="connsiteY644" fmla="*/ 31868 h 637350"/>
                <a:gd name="connsiteX645" fmla="*/ 920618 w 1199950"/>
                <a:gd name="connsiteY645" fmla="*/ 32261 h 637350"/>
                <a:gd name="connsiteX646" fmla="*/ 904881 w 1199950"/>
                <a:gd name="connsiteY646" fmla="*/ 32261 h 637350"/>
                <a:gd name="connsiteX647" fmla="*/ 901733 w 1199950"/>
                <a:gd name="connsiteY647" fmla="*/ 32654 h 637350"/>
                <a:gd name="connsiteX648" fmla="*/ 895045 w 1199950"/>
                <a:gd name="connsiteY648" fmla="*/ 32654 h 637350"/>
                <a:gd name="connsiteX649" fmla="*/ 891504 w 1199950"/>
                <a:gd name="connsiteY649" fmla="*/ 33048 h 637350"/>
                <a:gd name="connsiteX650" fmla="*/ 887963 w 1199950"/>
                <a:gd name="connsiteY650" fmla="*/ 33441 h 637350"/>
                <a:gd name="connsiteX651" fmla="*/ 884422 w 1199950"/>
                <a:gd name="connsiteY651" fmla="*/ 33835 h 637350"/>
                <a:gd name="connsiteX652" fmla="*/ 881669 w 1199950"/>
                <a:gd name="connsiteY652" fmla="*/ 35015 h 637350"/>
                <a:gd name="connsiteX653" fmla="*/ 878915 w 1199950"/>
                <a:gd name="connsiteY653" fmla="*/ 35408 h 637350"/>
                <a:gd name="connsiteX654" fmla="*/ 876161 w 1199950"/>
                <a:gd name="connsiteY654" fmla="*/ 34228 h 637350"/>
                <a:gd name="connsiteX655" fmla="*/ 873013 w 1199950"/>
                <a:gd name="connsiteY655" fmla="*/ 34622 h 637350"/>
                <a:gd name="connsiteX656" fmla="*/ 870259 w 1199950"/>
                <a:gd name="connsiteY656" fmla="*/ 34622 h 637350"/>
                <a:gd name="connsiteX657" fmla="*/ 866718 w 1199950"/>
                <a:gd name="connsiteY657" fmla="*/ 35015 h 637350"/>
                <a:gd name="connsiteX658" fmla="*/ 866325 w 1199950"/>
                <a:gd name="connsiteY658" fmla="*/ 35015 h 637350"/>
                <a:gd name="connsiteX659" fmla="*/ 850981 w 1199950"/>
                <a:gd name="connsiteY659" fmla="*/ 33441 h 637350"/>
                <a:gd name="connsiteX660" fmla="*/ 853735 w 1199950"/>
                <a:gd name="connsiteY660" fmla="*/ 33441 h 637350"/>
                <a:gd name="connsiteX661" fmla="*/ 857276 w 1199950"/>
                <a:gd name="connsiteY661" fmla="*/ 33048 h 637350"/>
                <a:gd name="connsiteX662" fmla="*/ 860423 w 1199950"/>
                <a:gd name="connsiteY662" fmla="*/ 32654 h 637350"/>
                <a:gd name="connsiteX663" fmla="*/ 863178 w 1199950"/>
                <a:gd name="connsiteY663" fmla="*/ 32261 h 637350"/>
                <a:gd name="connsiteX664" fmla="*/ 865932 w 1199950"/>
                <a:gd name="connsiteY664" fmla="*/ 31868 h 637350"/>
                <a:gd name="connsiteX665" fmla="*/ 869472 w 1199950"/>
                <a:gd name="connsiteY665" fmla="*/ 31474 h 637350"/>
                <a:gd name="connsiteX666" fmla="*/ 873013 w 1199950"/>
                <a:gd name="connsiteY666" fmla="*/ 31474 h 637350"/>
                <a:gd name="connsiteX667" fmla="*/ 876554 w 1199950"/>
                <a:gd name="connsiteY667" fmla="*/ 31081 h 637350"/>
                <a:gd name="connsiteX668" fmla="*/ 874587 w 1199950"/>
                <a:gd name="connsiteY668" fmla="*/ 29900 h 637350"/>
                <a:gd name="connsiteX669" fmla="*/ 879308 w 1199950"/>
                <a:gd name="connsiteY669" fmla="*/ 29114 h 637350"/>
                <a:gd name="connsiteX670" fmla="*/ 882455 w 1199950"/>
                <a:gd name="connsiteY670" fmla="*/ 29507 h 637350"/>
                <a:gd name="connsiteX671" fmla="*/ 885996 w 1199950"/>
                <a:gd name="connsiteY671" fmla="*/ 29114 h 637350"/>
                <a:gd name="connsiteX672" fmla="*/ 889537 w 1199950"/>
                <a:gd name="connsiteY672" fmla="*/ 29507 h 637350"/>
                <a:gd name="connsiteX673" fmla="*/ 892685 w 1199950"/>
                <a:gd name="connsiteY673" fmla="*/ 29507 h 637350"/>
                <a:gd name="connsiteX674" fmla="*/ 896225 w 1199950"/>
                <a:gd name="connsiteY674" fmla="*/ 29114 h 637350"/>
                <a:gd name="connsiteX675" fmla="*/ 899766 w 1199950"/>
                <a:gd name="connsiteY675" fmla="*/ 28720 h 637350"/>
                <a:gd name="connsiteX676" fmla="*/ 902520 w 1199950"/>
                <a:gd name="connsiteY676" fmla="*/ 28327 h 637350"/>
                <a:gd name="connsiteX677" fmla="*/ 911176 w 1199950"/>
                <a:gd name="connsiteY677" fmla="*/ 28327 h 637350"/>
                <a:gd name="connsiteX678" fmla="*/ 914717 w 1199950"/>
                <a:gd name="connsiteY678" fmla="*/ 27933 h 637350"/>
                <a:gd name="connsiteX679" fmla="*/ 917864 w 1199950"/>
                <a:gd name="connsiteY679" fmla="*/ 27933 h 637350"/>
                <a:gd name="connsiteX680" fmla="*/ 920618 w 1199950"/>
                <a:gd name="connsiteY680" fmla="*/ 28327 h 637350"/>
                <a:gd name="connsiteX681" fmla="*/ 927306 w 1199950"/>
                <a:gd name="connsiteY681" fmla="*/ 28327 h 637350"/>
                <a:gd name="connsiteX682" fmla="*/ 930454 w 1199950"/>
                <a:gd name="connsiteY682" fmla="*/ 28720 h 637350"/>
                <a:gd name="connsiteX683" fmla="*/ 939896 w 1199950"/>
                <a:gd name="connsiteY683" fmla="*/ 28720 h 637350"/>
                <a:gd name="connsiteX684" fmla="*/ 943043 w 1199950"/>
                <a:gd name="connsiteY684" fmla="*/ 29114 h 637350"/>
                <a:gd name="connsiteX685" fmla="*/ 967829 w 1199950"/>
                <a:gd name="connsiteY685" fmla="*/ 29114 h 637350"/>
                <a:gd name="connsiteX686" fmla="*/ 970976 w 1199950"/>
                <a:gd name="connsiteY686" fmla="*/ 28720 h 637350"/>
                <a:gd name="connsiteX687" fmla="*/ 973730 w 1199950"/>
                <a:gd name="connsiteY687" fmla="*/ 28327 h 637350"/>
                <a:gd name="connsiteX688" fmla="*/ 977271 w 1199950"/>
                <a:gd name="connsiteY688" fmla="*/ 27933 h 637350"/>
                <a:gd name="connsiteX689" fmla="*/ 980812 w 1199950"/>
                <a:gd name="connsiteY689" fmla="*/ 27540 h 637350"/>
                <a:gd name="connsiteX690" fmla="*/ 984353 w 1199950"/>
                <a:gd name="connsiteY690" fmla="*/ 27146 h 637350"/>
                <a:gd name="connsiteX691" fmla="*/ 987107 w 1199950"/>
                <a:gd name="connsiteY691" fmla="*/ 26753 h 637350"/>
                <a:gd name="connsiteX692" fmla="*/ 989861 w 1199950"/>
                <a:gd name="connsiteY692" fmla="*/ 26360 h 637350"/>
                <a:gd name="connsiteX693" fmla="*/ 993402 w 1199950"/>
                <a:gd name="connsiteY693" fmla="*/ 25966 h 637350"/>
                <a:gd name="connsiteX694" fmla="*/ 1005991 w 1199950"/>
                <a:gd name="connsiteY694" fmla="*/ 25966 h 637350"/>
                <a:gd name="connsiteX695" fmla="*/ 1008746 w 1199950"/>
                <a:gd name="connsiteY695" fmla="*/ 25573 h 637350"/>
                <a:gd name="connsiteX696" fmla="*/ 1011893 w 1199950"/>
                <a:gd name="connsiteY696" fmla="*/ 25179 h 637350"/>
                <a:gd name="connsiteX697" fmla="*/ 1015040 w 1199950"/>
                <a:gd name="connsiteY697" fmla="*/ 24786 h 637350"/>
                <a:gd name="connsiteX698" fmla="*/ 1017794 w 1199950"/>
                <a:gd name="connsiteY698" fmla="*/ 24392 h 637350"/>
                <a:gd name="connsiteX699" fmla="*/ 1020548 w 1199950"/>
                <a:gd name="connsiteY699" fmla="*/ 23999 h 637350"/>
                <a:gd name="connsiteX700" fmla="*/ 1024089 w 1199950"/>
                <a:gd name="connsiteY700" fmla="*/ 22032 h 637350"/>
                <a:gd name="connsiteX701" fmla="*/ 1027236 w 1199950"/>
                <a:gd name="connsiteY701" fmla="*/ 22032 h 637350"/>
                <a:gd name="connsiteX702" fmla="*/ 1030384 w 1199950"/>
                <a:gd name="connsiteY702" fmla="*/ 21638 h 637350"/>
                <a:gd name="connsiteX703" fmla="*/ 1033138 w 1199950"/>
                <a:gd name="connsiteY703" fmla="*/ 21245 h 637350"/>
                <a:gd name="connsiteX704" fmla="*/ 1036679 w 1199950"/>
                <a:gd name="connsiteY704" fmla="*/ 20852 h 637350"/>
                <a:gd name="connsiteX705" fmla="*/ 1039433 w 1199950"/>
                <a:gd name="connsiteY705" fmla="*/ 19671 h 637350"/>
                <a:gd name="connsiteX706" fmla="*/ 1036285 w 1199950"/>
                <a:gd name="connsiteY706" fmla="*/ 18491 h 637350"/>
                <a:gd name="connsiteX707" fmla="*/ 1032744 w 1199950"/>
                <a:gd name="connsiteY707" fmla="*/ 18098 h 637350"/>
                <a:gd name="connsiteX708" fmla="*/ 1029204 w 1199950"/>
                <a:gd name="connsiteY708" fmla="*/ 17311 h 637350"/>
                <a:gd name="connsiteX709" fmla="*/ 1026056 w 1199950"/>
                <a:gd name="connsiteY709" fmla="*/ 16917 h 637350"/>
                <a:gd name="connsiteX710" fmla="*/ 1022909 w 1199950"/>
                <a:gd name="connsiteY710" fmla="*/ 16524 h 637350"/>
                <a:gd name="connsiteX711" fmla="*/ 1019761 w 1199950"/>
                <a:gd name="connsiteY711" fmla="*/ 16130 h 637350"/>
                <a:gd name="connsiteX712" fmla="*/ 1016614 w 1199950"/>
                <a:gd name="connsiteY712" fmla="*/ 16524 h 637350"/>
                <a:gd name="connsiteX713" fmla="*/ 1013466 w 1199950"/>
                <a:gd name="connsiteY713" fmla="*/ 16524 h 637350"/>
                <a:gd name="connsiteX714" fmla="*/ 1010319 w 1199950"/>
                <a:gd name="connsiteY714" fmla="*/ 16130 h 637350"/>
                <a:gd name="connsiteX715" fmla="*/ 1006778 w 1199950"/>
                <a:gd name="connsiteY715" fmla="*/ 15344 h 637350"/>
                <a:gd name="connsiteX716" fmla="*/ 1003237 w 1199950"/>
                <a:gd name="connsiteY716" fmla="*/ 14950 h 637350"/>
                <a:gd name="connsiteX717" fmla="*/ 999697 w 1199950"/>
                <a:gd name="connsiteY717" fmla="*/ 15344 h 637350"/>
                <a:gd name="connsiteX718" fmla="*/ 996156 w 1199950"/>
                <a:gd name="connsiteY718" fmla="*/ 16524 h 637350"/>
                <a:gd name="connsiteX719" fmla="*/ 992615 w 1199950"/>
                <a:gd name="connsiteY719" fmla="*/ 16917 h 637350"/>
                <a:gd name="connsiteX720" fmla="*/ 996156 w 1199950"/>
                <a:gd name="connsiteY720" fmla="*/ 14557 h 637350"/>
                <a:gd name="connsiteX721" fmla="*/ 993402 w 1199950"/>
                <a:gd name="connsiteY721" fmla="*/ 14163 h 637350"/>
                <a:gd name="connsiteX722" fmla="*/ 990254 w 1199950"/>
                <a:gd name="connsiteY722" fmla="*/ 14557 h 637350"/>
                <a:gd name="connsiteX723" fmla="*/ 986713 w 1199950"/>
                <a:gd name="connsiteY723" fmla="*/ 14163 h 637350"/>
                <a:gd name="connsiteX724" fmla="*/ 983566 w 1199950"/>
                <a:gd name="connsiteY724" fmla="*/ 14163 h 637350"/>
                <a:gd name="connsiteX725" fmla="*/ 980025 w 1199950"/>
                <a:gd name="connsiteY725" fmla="*/ 14557 h 637350"/>
                <a:gd name="connsiteX726" fmla="*/ 976484 w 1199950"/>
                <a:gd name="connsiteY726" fmla="*/ 14950 h 637350"/>
                <a:gd name="connsiteX727" fmla="*/ 972943 w 1199950"/>
                <a:gd name="connsiteY727" fmla="*/ 15344 h 637350"/>
                <a:gd name="connsiteX728" fmla="*/ 969403 w 1199950"/>
                <a:gd name="connsiteY728" fmla="*/ 15737 h 637350"/>
                <a:gd name="connsiteX729" fmla="*/ 965075 w 1199950"/>
                <a:gd name="connsiteY729" fmla="*/ 15344 h 637350"/>
                <a:gd name="connsiteX730" fmla="*/ 965469 w 1199950"/>
                <a:gd name="connsiteY730" fmla="*/ 15344 h 637350"/>
                <a:gd name="connsiteX731" fmla="*/ 968616 w 1199950"/>
                <a:gd name="connsiteY731" fmla="*/ 14950 h 637350"/>
                <a:gd name="connsiteX732" fmla="*/ 971763 w 1199950"/>
                <a:gd name="connsiteY732" fmla="*/ 14557 h 637350"/>
                <a:gd name="connsiteX733" fmla="*/ 974910 w 1199950"/>
                <a:gd name="connsiteY733" fmla="*/ 13376 h 637350"/>
                <a:gd name="connsiteX734" fmla="*/ 978058 w 1199950"/>
                <a:gd name="connsiteY734" fmla="*/ 12590 h 637350"/>
                <a:gd name="connsiteX735" fmla="*/ 980812 w 1199950"/>
                <a:gd name="connsiteY735" fmla="*/ 11803 h 637350"/>
                <a:gd name="connsiteX736" fmla="*/ 978058 w 1199950"/>
                <a:gd name="connsiteY736" fmla="*/ 10229 h 637350"/>
                <a:gd name="connsiteX737" fmla="*/ 974517 w 1199950"/>
                <a:gd name="connsiteY737" fmla="*/ 8262 h 637350"/>
                <a:gd name="connsiteX738" fmla="*/ 971763 w 1199950"/>
                <a:gd name="connsiteY738" fmla="*/ 8655 h 637350"/>
                <a:gd name="connsiteX739" fmla="*/ 968222 w 1199950"/>
                <a:gd name="connsiteY739" fmla="*/ 9049 h 637350"/>
                <a:gd name="connsiteX740" fmla="*/ 965469 w 1199950"/>
                <a:gd name="connsiteY740" fmla="*/ 9442 h 637350"/>
                <a:gd name="connsiteX741" fmla="*/ 962714 w 1199950"/>
                <a:gd name="connsiteY741" fmla="*/ 9442 h 637350"/>
                <a:gd name="connsiteX742" fmla="*/ 959567 w 1199950"/>
                <a:gd name="connsiteY742" fmla="*/ 9836 h 637350"/>
                <a:gd name="connsiteX743" fmla="*/ 956026 w 1199950"/>
                <a:gd name="connsiteY743" fmla="*/ 9836 h 637350"/>
                <a:gd name="connsiteX744" fmla="*/ 952879 w 1199950"/>
                <a:gd name="connsiteY744" fmla="*/ 10229 h 637350"/>
                <a:gd name="connsiteX745" fmla="*/ 949732 w 1199950"/>
                <a:gd name="connsiteY745" fmla="*/ 10623 h 637350"/>
                <a:gd name="connsiteX746" fmla="*/ 946977 w 1199950"/>
                <a:gd name="connsiteY746" fmla="*/ 10623 h 637350"/>
                <a:gd name="connsiteX747" fmla="*/ 943436 w 1199950"/>
                <a:gd name="connsiteY747" fmla="*/ 11016 h 637350"/>
                <a:gd name="connsiteX748" fmla="*/ 939896 w 1199950"/>
                <a:gd name="connsiteY748" fmla="*/ 11016 h 637350"/>
                <a:gd name="connsiteX749" fmla="*/ 936355 w 1199950"/>
                <a:gd name="connsiteY749" fmla="*/ 10623 h 637350"/>
                <a:gd name="connsiteX750" fmla="*/ 929666 w 1199950"/>
                <a:gd name="connsiteY750" fmla="*/ 10623 h 637350"/>
                <a:gd name="connsiteX751" fmla="*/ 926519 w 1199950"/>
                <a:gd name="connsiteY751" fmla="*/ 10229 h 637350"/>
                <a:gd name="connsiteX752" fmla="*/ 923372 w 1199950"/>
                <a:gd name="connsiteY752" fmla="*/ 10623 h 637350"/>
                <a:gd name="connsiteX753" fmla="*/ 920618 w 1199950"/>
                <a:gd name="connsiteY753" fmla="*/ 11016 h 637350"/>
                <a:gd name="connsiteX754" fmla="*/ 917077 w 1199950"/>
                <a:gd name="connsiteY754" fmla="*/ 10229 h 637350"/>
                <a:gd name="connsiteX755" fmla="*/ 913536 w 1199950"/>
                <a:gd name="connsiteY755" fmla="*/ 9836 h 637350"/>
                <a:gd name="connsiteX756" fmla="*/ 909995 w 1199950"/>
                <a:gd name="connsiteY756" fmla="*/ 9836 h 637350"/>
                <a:gd name="connsiteX757" fmla="*/ 906455 w 1199950"/>
                <a:gd name="connsiteY757" fmla="*/ 9442 h 637350"/>
                <a:gd name="connsiteX758" fmla="*/ 903700 w 1199950"/>
                <a:gd name="connsiteY758" fmla="*/ 9442 h 637350"/>
                <a:gd name="connsiteX759" fmla="*/ 900159 w 1199950"/>
                <a:gd name="connsiteY759" fmla="*/ 9049 h 637350"/>
                <a:gd name="connsiteX760" fmla="*/ 896619 w 1199950"/>
                <a:gd name="connsiteY760" fmla="*/ 9049 h 637350"/>
                <a:gd name="connsiteX761" fmla="*/ 893078 w 1199950"/>
                <a:gd name="connsiteY761" fmla="*/ 9442 h 637350"/>
                <a:gd name="connsiteX762" fmla="*/ 889930 w 1199950"/>
                <a:gd name="connsiteY762" fmla="*/ 9442 h 637350"/>
                <a:gd name="connsiteX763" fmla="*/ 886390 w 1199950"/>
                <a:gd name="connsiteY763" fmla="*/ 9836 h 637350"/>
                <a:gd name="connsiteX764" fmla="*/ 882849 w 1199950"/>
                <a:gd name="connsiteY764" fmla="*/ 10229 h 637350"/>
                <a:gd name="connsiteX765" fmla="*/ 876161 w 1199950"/>
                <a:gd name="connsiteY765" fmla="*/ 10229 h 637350"/>
                <a:gd name="connsiteX766" fmla="*/ 872620 w 1199950"/>
                <a:gd name="connsiteY766" fmla="*/ 10623 h 637350"/>
                <a:gd name="connsiteX767" fmla="*/ 869866 w 1199950"/>
                <a:gd name="connsiteY767" fmla="*/ 11016 h 637350"/>
                <a:gd name="connsiteX768" fmla="*/ 867505 w 1199950"/>
                <a:gd name="connsiteY768" fmla="*/ 11409 h 637350"/>
                <a:gd name="connsiteX769" fmla="*/ 856096 w 1199950"/>
                <a:gd name="connsiteY769" fmla="*/ 11016 h 637350"/>
                <a:gd name="connsiteX770" fmla="*/ 859637 w 1199950"/>
                <a:gd name="connsiteY770" fmla="*/ 11016 h 637350"/>
                <a:gd name="connsiteX771" fmla="*/ 862784 w 1199950"/>
                <a:gd name="connsiteY771" fmla="*/ 10623 h 637350"/>
                <a:gd name="connsiteX772" fmla="*/ 865538 w 1199950"/>
                <a:gd name="connsiteY772" fmla="*/ 10229 h 637350"/>
                <a:gd name="connsiteX773" fmla="*/ 869079 w 1199950"/>
                <a:gd name="connsiteY773" fmla="*/ 9836 h 637350"/>
                <a:gd name="connsiteX774" fmla="*/ 874981 w 1199950"/>
                <a:gd name="connsiteY774" fmla="*/ 9836 h 637350"/>
                <a:gd name="connsiteX775" fmla="*/ 877734 w 1199950"/>
                <a:gd name="connsiteY775" fmla="*/ 9442 h 637350"/>
                <a:gd name="connsiteX776" fmla="*/ 880488 w 1199950"/>
                <a:gd name="connsiteY776" fmla="*/ 9049 h 637350"/>
                <a:gd name="connsiteX777" fmla="*/ 883636 w 1199950"/>
                <a:gd name="connsiteY777" fmla="*/ 9049 h 637350"/>
                <a:gd name="connsiteX778" fmla="*/ 887177 w 1199950"/>
                <a:gd name="connsiteY778" fmla="*/ 8655 h 637350"/>
                <a:gd name="connsiteX779" fmla="*/ 914323 w 1199950"/>
                <a:gd name="connsiteY779" fmla="*/ 8655 h 637350"/>
                <a:gd name="connsiteX780" fmla="*/ 917864 w 1199950"/>
                <a:gd name="connsiteY780" fmla="*/ 9049 h 637350"/>
                <a:gd name="connsiteX781" fmla="*/ 921405 w 1199950"/>
                <a:gd name="connsiteY781" fmla="*/ 9442 h 637350"/>
                <a:gd name="connsiteX782" fmla="*/ 942256 w 1199950"/>
                <a:gd name="connsiteY782" fmla="*/ 9442 h 637350"/>
                <a:gd name="connsiteX783" fmla="*/ 945403 w 1199950"/>
                <a:gd name="connsiteY783" fmla="*/ 9049 h 637350"/>
                <a:gd name="connsiteX784" fmla="*/ 948551 w 1199950"/>
                <a:gd name="connsiteY784" fmla="*/ 8655 h 637350"/>
                <a:gd name="connsiteX785" fmla="*/ 951699 w 1199950"/>
                <a:gd name="connsiteY785" fmla="*/ 8655 h 637350"/>
                <a:gd name="connsiteX786" fmla="*/ 954846 w 1199950"/>
                <a:gd name="connsiteY786" fmla="*/ 8262 h 637350"/>
                <a:gd name="connsiteX787" fmla="*/ 957600 w 1199950"/>
                <a:gd name="connsiteY787" fmla="*/ 8262 h 637350"/>
                <a:gd name="connsiteX788" fmla="*/ 961141 w 1199950"/>
                <a:gd name="connsiteY788" fmla="*/ 7869 h 637350"/>
                <a:gd name="connsiteX789" fmla="*/ 963895 w 1199950"/>
                <a:gd name="connsiteY789" fmla="*/ 7475 h 637350"/>
                <a:gd name="connsiteX790" fmla="*/ 967436 w 1199950"/>
                <a:gd name="connsiteY790" fmla="*/ 7082 h 637350"/>
                <a:gd name="connsiteX791" fmla="*/ 963895 w 1199950"/>
                <a:gd name="connsiteY791" fmla="*/ 5508 h 637350"/>
                <a:gd name="connsiteX792" fmla="*/ 960747 w 1199950"/>
                <a:gd name="connsiteY792" fmla="*/ 5115 h 637350"/>
                <a:gd name="connsiteX793" fmla="*/ 957206 w 1199950"/>
                <a:gd name="connsiteY793" fmla="*/ 4721 h 637350"/>
                <a:gd name="connsiteX794" fmla="*/ 954452 w 1199950"/>
                <a:gd name="connsiteY794" fmla="*/ 4328 h 637350"/>
                <a:gd name="connsiteX795" fmla="*/ 950912 w 1199950"/>
                <a:gd name="connsiteY795" fmla="*/ 3934 h 637350"/>
                <a:gd name="connsiteX796" fmla="*/ 947371 w 1199950"/>
                <a:gd name="connsiteY796" fmla="*/ 3541 h 637350"/>
                <a:gd name="connsiteX797" fmla="*/ 943830 w 1199950"/>
                <a:gd name="connsiteY797" fmla="*/ 3147 h 637350"/>
                <a:gd name="connsiteX798" fmla="*/ 940289 w 1199950"/>
                <a:gd name="connsiteY798" fmla="*/ 2754 h 637350"/>
                <a:gd name="connsiteX799" fmla="*/ 938715 w 1199950"/>
                <a:gd name="connsiteY799" fmla="*/ 2754 h 637350"/>
                <a:gd name="connsiteX800" fmla="*/ 935174 w 1199950"/>
                <a:gd name="connsiteY800" fmla="*/ 2361 h 637350"/>
                <a:gd name="connsiteX801" fmla="*/ 928880 w 1199950"/>
                <a:gd name="connsiteY801" fmla="*/ 2361 h 637350"/>
                <a:gd name="connsiteX802" fmla="*/ 925339 w 1199950"/>
                <a:gd name="connsiteY802" fmla="*/ 2754 h 637350"/>
                <a:gd name="connsiteX803" fmla="*/ 921798 w 1199950"/>
                <a:gd name="connsiteY803" fmla="*/ 2754 h 637350"/>
                <a:gd name="connsiteX804" fmla="*/ 924159 w 1199950"/>
                <a:gd name="connsiteY804" fmla="*/ 3147 h 637350"/>
                <a:gd name="connsiteX805" fmla="*/ 916684 w 1199950"/>
                <a:gd name="connsiteY805" fmla="*/ 3541 h 637350"/>
                <a:gd name="connsiteX806" fmla="*/ 915503 w 1199950"/>
                <a:gd name="connsiteY806" fmla="*/ 3541 h 637350"/>
                <a:gd name="connsiteX807" fmla="*/ 912749 w 1199950"/>
                <a:gd name="connsiteY807" fmla="*/ 3147 h 637350"/>
                <a:gd name="connsiteX808" fmla="*/ 915503 w 1199950"/>
                <a:gd name="connsiteY808" fmla="*/ 2754 h 637350"/>
                <a:gd name="connsiteX809" fmla="*/ 919044 w 1199950"/>
                <a:gd name="connsiteY809" fmla="*/ 2754 h 637350"/>
                <a:gd name="connsiteX810" fmla="*/ 915897 w 1199950"/>
                <a:gd name="connsiteY810" fmla="*/ 1967 h 637350"/>
                <a:gd name="connsiteX811" fmla="*/ 912356 w 1199950"/>
                <a:gd name="connsiteY811" fmla="*/ 2361 h 637350"/>
                <a:gd name="connsiteX812" fmla="*/ 908815 w 1199950"/>
                <a:gd name="connsiteY812" fmla="*/ 2754 h 637350"/>
                <a:gd name="connsiteX813" fmla="*/ 906061 w 1199950"/>
                <a:gd name="connsiteY813" fmla="*/ 1574 h 637350"/>
                <a:gd name="connsiteX814" fmla="*/ 902520 w 1199950"/>
                <a:gd name="connsiteY814" fmla="*/ 1180 h 637350"/>
                <a:gd name="connsiteX815" fmla="*/ 898979 w 1199950"/>
                <a:gd name="connsiteY815" fmla="*/ 787 h 637350"/>
                <a:gd name="connsiteX816" fmla="*/ 896225 w 1199950"/>
                <a:gd name="connsiteY816" fmla="*/ 787 h 637350"/>
                <a:gd name="connsiteX817" fmla="*/ 893078 w 1199950"/>
                <a:gd name="connsiteY817" fmla="*/ 393 h 637350"/>
                <a:gd name="connsiteX818" fmla="*/ 883636 w 1199950"/>
                <a:gd name="connsiteY818" fmla="*/ 393 h 637350"/>
                <a:gd name="connsiteX819" fmla="*/ 880488 w 1199950"/>
                <a:gd name="connsiteY819" fmla="*/ 787 h 637350"/>
                <a:gd name="connsiteX820" fmla="*/ 876948 w 1199950"/>
                <a:gd name="connsiteY820" fmla="*/ 1180 h 637350"/>
                <a:gd name="connsiteX821" fmla="*/ 873407 w 1199950"/>
                <a:gd name="connsiteY821" fmla="*/ 1180 h 637350"/>
                <a:gd name="connsiteX822" fmla="*/ 870259 w 1199950"/>
                <a:gd name="connsiteY822" fmla="*/ 787 h 637350"/>
                <a:gd name="connsiteX823" fmla="*/ 866718 w 1199950"/>
                <a:gd name="connsiteY823" fmla="*/ 393 h 637350"/>
                <a:gd name="connsiteX824" fmla="*/ 860423 w 1199950"/>
                <a:gd name="connsiteY824" fmla="*/ 393 h 637350"/>
                <a:gd name="connsiteX825" fmla="*/ 857276 w 1199950"/>
                <a:gd name="connsiteY825" fmla="*/ 787 h 637350"/>
                <a:gd name="connsiteX826" fmla="*/ 853735 w 1199950"/>
                <a:gd name="connsiteY826" fmla="*/ 393 h 637350"/>
                <a:gd name="connsiteX827" fmla="*/ 850588 w 1199950"/>
                <a:gd name="connsiteY827" fmla="*/ 0 h 637350"/>
                <a:gd name="connsiteX828" fmla="*/ 841145 w 1199950"/>
                <a:gd name="connsiteY828" fmla="*/ 0 h 637350"/>
                <a:gd name="connsiteX829" fmla="*/ 838392 w 1199950"/>
                <a:gd name="connsiteY829" fmla="*/ 393 h 637350"/>
                <a:gd name="connsiteX830" fmla="*/ 831310 w 1199950"/>
                <a:gd name="connsiteY830" fmla="*/ 393 h 637350"/>
                <a:gd name="connsiteX831" fmla="*/ 827769 w 1199950"/>
                <a:gd name="connsiteY831" fmla="*/ 787 h 637350"/>
                <a:gd name="connsiteX832" fmla="*/ 824622 w 1199950"/>
                <a:gd name="connsiteY832" fmla="*/ 1180 h 637350"/>
                <a:gd name="connsiteX833" fmla="*/ 828163 w 1199950"/>
                <a:gd name="connsiteY833" fmla="*/ 2754 h 637350"/>
                <a:gd name="connsiteX834" fmla="*/ 825408 w 1199950"/>
                <a:gd name="connsiteY834" fmla="*/ 3147 h 637350"/>
                <a:gd name="connsiteX835" fmla="*/ 822261 w 1199950"/>
                <a:gd name="connsiteY835" fmla="*/ 2361 h 637350"/>
                <a:gd name="connsiteX836" fmla="*/ 819114 w 1199950"/>
                <a:gd name="connsiteY836" fmla="*/ 787 h 637350"/>
                <a:gd name="connsiteX837" fmla="*/ 816360 w 1199950"/>
                <a:gd name="connsiteY837" fmla="*/ 1967 h 637350"/>
                <a:gd name="connsiteX838" fmla="*/ 812819 w 1199950"/>
                <a:gd name="connsiteY838" fmla="*/ 787 h 637350"/>
                <a:gd name="connsiteX839" fmla="*/ 809671 w 1199950"/>
                <a:gd name="connsiteY839" fmla="*/ 1180 h 637350"/>
                <a:gd name="connsiteX840" fmla="*/ 806131 w 1199950"/>
                <a:gd name="connsiteY840" fmla="*/ 1574 h 637350"/>
                <a:gd name="connsiteX841" fmla="*/ 803377 w 1199950"/>
                <a:gd name="connsiteY841" fmla="*/ 1967 h 637350"/>
                <a:gd name="connsiteX842" fmla="*/ 799836 w 1199950"/>
                <a:gd name="connsiteY842" fmla="*/ 1574 h 637350"/>
                <a:gd name="connsiteX843" fmla="*/ 780164 w 1199950"/>
                <a:gd name="connsiteY843" fmla="*/ 1574 h 637350"/>
                <a:gd name="connsiteX844" fmla="*/ 777017 w 1199950"/>
                <a:gd name="connsiteY844" fmla="*/ 1967 h 637350"/>
                <a:gd name="connsiteX845" fmla="*/ 773870 w 1199950"/>
                <a:gd name="connsiteY845" fmla="*/ 2754 h 637350"/>
                <a:gd name="connsiteX846" fmla="*/ 776624 w 1199950"/>
                <a:gd name="connsiteY846" fmla="*/ 3147 h 637350"/>
                <a:gd name="connsiteX847" fmla="*/ 779771 w 1199950"/>
                <a:gd name="connsiteY847" fmla="*/ 4721 h 637350"/>
                <a:gd name="connsiteX848" fmla="*/ 776230 w 1199950"/>
                <a:gd name="connsiteY848" fmla="*/ 4721 h 637350"/>
                <a:gd name="connsiteX849" fmla="*/ 773083 w 1199950"/>
                <a:gd name="connsiteY849" fmla="*/ 3541 h 637350"/>
                <a:gd name="connsiteX850" fmla="*/ 769542 w 1199950"/>
                <a:gd name="connsiteY850" fmla="*/ 3147 h 637350"/>
                <a:gd name="connsiteX851" fmla="*/ 766788 w 1199950"/>
                <a:gd name="connsiteY851" fmla="*/ 3147 h 637350"/>
                <a:gd name="connsiteX852" fmla="*/ 763641 w 1199950"/>
                <a:gd name="connsiteY852" fmla="*/ 2754 h 637350"/>
                <a:gd name="connsiteX853" fmla="*/ 760100 w 1199950"/>
                <a:gd name="connsiteY853" fmla="*/ 2361 h 637350"/>
                <a:gd name="connsiteX854" fmla="*/ 756559 w 1199950"/>
                <a:gd name="connsiteY854" fmla="*/ 2754 h 637350"/>
                <a:gd name="connsiteX855" fmla="*/ 753805 w 1199950"/>
                <a:gd name="connsiteY855" fmla="*/ 3147 h 637350"/>
                <a:gd name="connsiteX856" fmla="*/ 750657 w 1199950"/>
                <a:gd name="connsiteY856" fmla="*/ 4721 h 637350"/>
                <a:gd name="connsiteX857" fmla="*/ 747904 w 1199950"/>
                <a:gd name="connsiteY857" fmla="*/ 4328 h 637350"/>
                <a:gd name="connsiteX858" fmla="*/ 744363 w 1199950"/>
                <a:gd name="connsiteY858" fmla="*/ 3934 h 637350"/>
                <a:gd name="connsiteX859" fmla="*/ 740822 w 1199950"/>
                <a:gd name="connsiteY859" fmla="*/ 3934 h 637350"/>
                <a:gd name="connsiteX860" fmla="*/ 737281 w 1199950"/>
                <a:gd name="connsiteY860" fmla="*/ 3541 h 637350"/>
                <a:gd name="connsiteX861" fmla="*/ 737281 w 1199950"/>
                <a:gd name="connsiteY861" fmla="*/ 6295 h 637350"/>
                <a:gd name="connsiteX862" fmla="*/ 740428 w 1199950"/>
                <a:gd name="connsiteY862" fmla="*/ 7869 h 637350"/>
                <a:gd name="connsiteX863" fmla="*/ 749871 w 1199950"/>
                <a:gd name="connsiteY863" fmla="*/ 7869 h 637350"/>
                <a:gd name="connsiteX864" fmla="*/ 753018 w 1199950"/>
                <a:gd name="connsiteY864" fmla="*/ 8262 h 637350"/>
                <a:gd name="connsiteX865" fmla="*/ 756165 w 1199950"/>
                <a:gd name="connsiteY865" fmla="*/ 8262 h 637350"/>
                <a:gd name="connsiteX866" fmla="*/ 756953 w 1199950"/>
                <a:gd name="connsiteY866" fmla="*/ 8262 h 637350"/>
                <a:gd name="connsiteX867" fmla="*/ 736494 w 1199950"/>
                <a:gd name="connsiteY867" fmla="*/ 9049 h 637350"/>
                <a:gd name="connsiteX868" fmla="*/ 733740 w 1199950"/>
                <a:gd name="connsiteY868" fmla="*/ 8262 h 637350"/>
                <a:gd name="connsiteX869" fmla="*/ 730199 w 1199950"/>
                <a:gd name="connsiteY869" fmla="*/ 7869 h 637350"/>
                <a:gd name="connsiteX870" fmla="*/ 727446 w 1199950"/>
                <a:gd name="connsiteY870" fmla="*/ 7475 h 637350"/>
                <a:gd name="connsiteX871" fmla="*/ 724691 w 1199950"/>
                <a:gd name="connsiteY871" fmla="*/ 7082 h 637350"/>
                <a:gd name="connsiteX872" fmla="*/ 721544 w 1199950"/>
                <a:gd name="connsiteY872" fmla="*/ 6295 h 637350"/>
                <a:gd name="connsiteX873" fmla="*/ 718790 w 1199950"/>
                <a:gd name="connsiteY873" fmla="*/ 5508 h 637350"/>
                <a:gd name="connsiteX874" fmla="*/ 715249 w 1199950"/>
                <a:gd name="connsiteY874" fmla="*/ 5508 h 637350"/>
                <a:gd name="connsiteX875" fmla="*/ 711709 w 1199950"/>
                <a:gd name="connsiteY875" fmla="*/ 5115 h 637350"/>
                <a:gd name="connsiteX876" fmla="*/ 708954 w 1199950"/>
                <a:gd name="connsiteY876" fmla="*/ 5115 h 637350"/>
                <a:gd name="connsiteX877" fmla="*/ 705807 w 1199950"/>
                <a:gd name="connsiteY877" fmla="*/ 6688 h 637350"/>
                <a:gd name="connsiteX878" fmla="*/ 713282 w 1199950"/>
                <a:gd name="connsiteY878" fmla="*/ 6688 h 637350"/>
                <a:gd name="connsiteX879" fmla="*/ 716429 w 1199950"/>
                <a:gd name="connsiteY879" fmla="*/ 7082 h 637350"/>
                <a:gd name="connsiteX880" fmla="*/ 719577 w 1199950"/>
                <a:gd name="connsiteY880" fmla="*/ 7869 h 637350"/>
                <a:gd name="connsiteX881" fmla="*/ 722724 w 1199950"/>
                <a:gd name="connsiteY881" fmla="*/ 8262 h 637350"/>
                <a:gd name="connsiteX882" fmla="*/ 725872 w 1199950"/>
                <a:gd name="connsiteY882" fmla="*/ 8655 h 637350"/>
                <a:gd name="connsiteX883" fmla="*/ 728626 w 1199950"/>
                <a:gd name="connsiteY883" fmla="*/ 9049 h 637350"/>
                <a:gd name="connsiteX884" fmla="*/ 730593 w 1199950"/>
                <a:gd name="connsiteY884" fmla="*/ 9049 h 637350"/>
                <a:gd name="connsiteX885" fmla="*/ 722724 w 1199950"/>
                <a:gd name="connsiteY885" fmla="*/ 9442 h 637350"/>
                <a:gd name="connsiteX886" fmla="*/ 721544 w 1199950"/>
                <a:gd name="connsiteY886" fmla="*/ 9442 h 637350"/>
                <a:gd name="connsiteX887" fmla="*/ 718003 w 1199950"/>
                <a:gd name="connsiteY887" fmla="*/ 9442 h 637350"/>
                <a:gd name="connsiteX888" fmla="*/ 714462 w 1199950"/>
                <a:gd name="connsiteY888" fmla="*/ 8655 h 637350"/>
                <a:gd name="connsiteX889" fmla="*/ 710921 w 1199950"/>
                <a:gd name="connsiteY889" fmla="*/ 8262 h 637350"/>
                <a:gd name="connsiteX890" fmla="*/ 708168 w 1199950"/>
                <a:gd name="connsiteY890" fmla="*/ 8262 h 637350"/>
                <a:gd name="connsiteX891" fmla="*/ 705020 w 1199950"/>
                <a:gd name="connsiteY891" fmla="*/ 9049 h 637350"/>
                <a:gd name="connsiteX892" fmla="*/ 708168 w 1199950"/>
                <a:gd name="connsiteY892" fmla="*/ 9836 h 637350"/>
                <a:gd name="connsiteX893" fmla="*/ 708168 w 1199950"/>
                <a:gd name="connsiteY893" fmla="*/ 9836 h 637350"/>
                <a:gd name="connsiteX894" fmla="*/ 704233 w 1199950"/>
                <a:gd name="connsiteY894" fmla="*/ 9836 h 637350"/>
                <a:gd name="connsiteX895" fmla="*/ 701086 w 1199950"/>
                <a:gd name="connsiteY895" fmla="*/ 9049 h 637350"/>
                <a:gd name="connsiteX896" fmla="*/ 698332 w 1199950"/>
                <a:gd name="connsiteY896" fmla="*/ 7869 h 637350"/>
                <a:gd name="connsiteX897" fmla="*/ 691250 w 1199950"/>
                <a:gd name="connsiteY897" fmla="*/ 7869 h 637350"/>
                <a:gd name="connsiteX898" fmla="*/ 687709 w 1199950"/>
                <a:gd name="connsiteY898" fmla="*/ 8262 h 637350"/>
                <a:gd name="connsiteX899" fmla="*/ 690857 w 1199950"/>
                <a:gd name="connsiteY899" fmla="*/ 8655 h 637350"/>
                <a:gd name="connsiteX900" fmla="*/ 694398 w 1199950"/>
                <a:gd name="connsiteY900" fmla="*/ 9442 h 637350"/>
                <a:gd name="connsiteX901" fmla="*/ 695972 w 1199950"/>
                <a:gd name="connsiteY901" fmla="*/ 9836 h 637350"/>
                <a:gd name="connsiteX902" fmla="*/ 692824 w 1199950"/>
                <a:gd name="connsiteY902" fmla="*/ 9836 h 637350"/>
                <a:gd name="connsiteX903" fmla="*/ 691643 w 1199950"/>
                <a:gd name="connsiteY903" fmla="*/ 9442 h 637350"/>
                <a:gd name="connsiteX904" fmla="*/ 688890 w 1199950"/>
                <a:gd name="connsiteY904" fmla="*/ 8655 h 637350"/>
                <a:gd name="connsiteX905" fmla="*/ 685742 w 1199950"/>
                <a:gd name="connsiteY905" fmla="*/ 8262 h 637350"/>
                <a:gd name="connsiteX906" fmla="*/ 682595 w 1199950"/>
                <a:gd name="connsiteY906" fmla="*/ 8262 h 637350"/>
                <a:gd name="connsiteX907" fmla="*/ 679054 w 1199950"/>
                <a:gd name="connsiteY907" fmla="*/ 8655 h 637350"/>
                <a:gd name="connsiteX908" fmla="*/ 682595 w 1199950"/>
                <a:gd name="connsiteY908" fmla="*/ 7475 h 637350"/>
                <a:gd name="connsiteX909" fmla="*/ 679841 w 1199950"/>
                <a:gd name="connsiteY909" fmla="*/ 5901 h 637350"/>
                <a:gd name="connsiteX910" fmla="*/ 672366 w 1199950"/>
                <a:gd name="connsiteY910" fmla="*/ 5901 h 637350"/>
                <a:gd name="connsiteX911" fmla="*/ 669218 w 1199950"/>
                <a:gd name="connsiteY911" fmla="*/ 5115 h 637350"/>
                <a:gd name="connsiteX912" fmla="*/ 658596 w 1199950"/>
                <a:gd name="connsiteY912" fmla="*/ 5115 h 637350"/>
                <a:gd name="connsiteX913" fmla="*/ 655842 w 1199950"/>
                <a:gd name="connsiteY913" fmla="*/ 5901 h 637350"/>
                <a:gd name="connsiteX914" fmla="*/ 659383 w 1199950"/>
                <a:gd name="connsiteY914" fmla="*/ 5901 h 637350"/>
                <a:gd name="connsiteX915" fmla="*/ 662924 w 1199950"/>
                <a:gd name="connsiteY915" fmla="*/ 6295 h 637350"/>
                <a:gd name="connsiteX916" fmla="*/ 659383 w 1199950"/>
                <a:gd name="connsiteY916" fmla="*/ 6688 h 637350"/>
                <a:gd name="connsiteX917" fmla="*/ 656235 w 1199950"/>
                <a:gd name="connsiteY917" fmla="*/ 6295 h 637350"/>
                <a:gd name="connsiteX918" fmla="*/ 645613 w 1199950"/>
                <a:gd name="connsiteY918" fmla="*/ 6295 h 637350"/>
                <a:gd name="connsiteX919" fmla="*/ 648760 w 1199950"/>
                <a:gd name="connsiteY919" fmla="*/ 7082 h 637350"/>
                <a:gd name="connsiteX920" fmla="*/ 652301 w 1199950"/>
                <a:gd name="connsiteY920" fmla="*/ 7082 h 637350"/>
                <a:gd name="connsiteX921" fmla="*/ 655448 w 1199950"/>
                <a:gd name="connsiteY921" fmla="*/ 7475 h 637350"/>
                <a:gd name="connsiteX922" fmla="*/ 658989 w 1199950"/>
                <a:gd name="connsiteY922" fmla="*/ 7869 h 637350"/>
                <a:gd name="connsiteX923" fmla="*/ 661743 w 1199950"/>
                <a:gd name="connsiteY923" fmla="*/ 8262 h 637350"/>
                <a:gd name="connsiteX924" fmla="*/ 658596 w 1199950"/>
                <a:gd name="connsiteY924" fmla="*/ 7869 h 637350"/>
                <a:gd name="connsiteX925" fmla="*/ 655842 w 1199950"/>
                <a:gd name="connsiteY925" fmla="*/ 7475 h 637350"/>
                <a:gd name="connsiteX926" fmla="*/ 649547 w 1199950"/>
                <a:gd name="connsiteY926" fmla="*/ 7475 h 637350"/>
                <a:gd name="connsiteX927" fmla="*/ 646399 w 1199950"/>
                <a:gd name="connsiteY927" fmla="*/ 7869 h 637350"/>
                <a:gd name="connsiteX928" fmla="*/ 642859 w 1199950"/>
                <a:gd name="connsiteY928" fmla="*/ 7475 h 637350"/>
                <a:gd name="connsiteX929" fmla="*/ 639318 w 1199950"/>
                <a:gd name="connsiteY929" fmla="*/ 7082 h 637350"/>
                <a:gd name="connsiteX930" fmla="*/ 636170 w 1199950"/>
                <a:gd name="connsiteY930" fmla="*/ 6688 h 637350"/>
                <a:gd name="connsiteX931" fmla="*/ 629482 w 1199950"/>
                <a:gd name="connsiteY931" fmla="*/ 6688 h 637350"/>
                <a:gd name="connsiteX932" fmla="*/ 626728 w 1199950"/>
                <a:gd name="connsiteY932" fmla="*/ 7869 h 637350"/>
                <a:gd name="connsiteX933" fmla="*/ 623974 w 1199950"/>
                <a:gd name="connsiteY933" fmla="*/ 7475 h 637350"/>
                <a:gd name="connsiteX934" fmla="*/ 620827 w 1199950"/>
                <a:gd name="connsiteY934" fmla="*/ 7475 h 637350"/>
                <a:gd name="connsiteX935" fmla="*/ 618073 w 1199950"/>
                <a:gd name="connsiteY935" fmla="*/ 7869 h 637350"/>
                <a:gd name="connsiteX936" fmla="*/ 614925 w 1199950"/>
                <a:gd name="connsiteY936" fmla="*/ 7475 h 637350"/>
                <a:gd name="connsiteX937" fmla="*/ 618073 w 1199950"/>
                <a:gd name="connsiteY937" fmla="*/ 8655 h 637350"/>
                <a:gd name="connsiteX938" fmla="*/ 620827 w 1199950"/>
                <a:gd name="connsiteY938" fmla="*/ 9836 h 637350"/>
                <a:gd name="connsiteX939" fmla="*/ 623974 w 1199950"/>
                <a:gd name="connsiteY939" fmla="*/ 10229 h 637350"/>
                <a:gd name="connsiteX940" fmla="*/ 626728 w 1199950"/>
                <a:gd name="connsiteY940" fmla="*/ 10623 h 637350"/>
                <a:gd name="connsiteX941" fmla="*/ 630269 w 1199950"/>
                <a:gd name="connsiteY941" fmla="*/ 11016 h 637350"/>
                <a:gd name="connsiteX942" fmla="*/ 631843 w 1199950"/>
                <a:gd name="connsiteY942" fmla="*/ 11016 h 637350"/>
                <a:gd name="connsiteX943" fmla="*/ 627515 w 1199950"/>
                <a:gd name="connsiteY943" fmla="*/ 11016 h 637350"/>
                <a:gd name="connsiteX944" fmla="*/ 625941 w 1199950"/>
                <a:gd name="connsiteY944" fmla="*/ 10623 h 637350"/>
                <a:gd name="connsiteX945" fmla="*/ 622794 w 1199950"/>
                <a:gd name="connsiteY945" fmla="*/ 11016 h 637350"/>
                <a:gd name="connsiteX946" fmla="*/ 622007 w 1199950"/>
                <a:gd name="connsiteY946" fmla="*/ 11016 h 637350"/>
                <a:gd name="connsiteX947" fmla="*/ 618466 w 1199950"/>
                <a:gd name="connsiteY947" fmla="*/ 11016 h 637350"/>
                <a:gd name="connsiteX948" fmla="*/ 617680 w 1199950"/>
                <a:gd name="connsiteY948" fmla="*/ 9836 h 637350"/>
                <a:gd name="connsiteX949" fmla="*/ 614532 w 1199950"/>
                <a:gd name="connsiteY949" fmla="*/ 9442 h 637350"/>
                <a:gd name="connsiteX950" fmla="*/ 611778 w 1199950"/>
                <a:gd name="connsiteY950" fmla="*/ 9049 h 637350"/>
                <a:gd name="connsiteX951" fmla="*/ 608631 w 1199950"/>
                <a:gd name="connsiteY951" fmla="*/ 8655 h 637350"/>
                <a:gd name="connsiteX952" fmla="*/ 605483 w 1199950"/>
                <a:gd name="connsiteY952" fmla="*/ 8262 h 637350"/>
                <a:gd name="connsiteX953" fmla="*/ 602336 w 1199950"/>
                <a:gd name="connsiteY953" fmla="*/ 8655 h 637350"/>
                <a:gd name="connsiteX954" fmla="*/ 599188 w 1199950"/>
                <a:gd name="connsiteY954" fmla="*/ 8655 h 637350"/>
                <a:gd name="connsiteX955" fmla="*/ 596434 w 1199950"/>
                <a:gd name="connsiteY955" fmla="*/ 9049 h 637350"/>
                <a:gd name="connsiteX956" fmla="*/ 593287 w 1199950"/>
                <a:gd name="connsiteY956" fmla="*/ 10229 h 637350"/>
                <a:gd name="connsiteX957" fmla="*/ 596041 w 1199950"/>
                <a:gd name="connsiteY957" fmla="*/ 10229 h 637350"/>
                <a:gd name="connsiteX958" fmla="*/ 599582 w 1199950"/>
                <a:gd name="connsiteY958" fmla="*/ 10623 h 637350"/>
                <a:gd name="connsiteX959" fmla="*/ 602336 w 1199950"/>
                <a:gd name="connsiteY959" fmla="*/ 11803 h 637350"/>
                <a:gd name="connsiteX960" fmla="*/ 599188 w 1199950"/>
                <a:gd name="connsiteY960" fmla="*/ 11409 h 637350"/>
                <a:gd name="connsiteX961" fmla="*/ 596041 w 1199950"/>
                <a:gd name="connsiteY961" fmla="*/ 11016 h 637350"/>
                <a:gd name="connsiteX962" fmla="*/ 592500 w 1199950"/>
                <a:gd name="connsiteY962" fmla="*/ 10623 h 637350"/>
                <a:gd name="connsiteX963" fmla="*/ 588959 w 1199950"/>
                <a:gd name="connsiteY963" fmla="*/ 11016 h 637350"/>
                <a:gd name="connsiteX964" fmla="*/ 592107 w 1199950"/>
                <a:gd name="connsiteY964" fmla="*/ 12196 h 637350"/>
                <a:gd name="connsiteX965" fmla="*/ 594861 w 1199950"/>
                <a:gd name="connsiteY965" fmla="*/ 12590 h 637350"/>
                <a:gd name="connsiteX966" fmla="*/ 598402 w 1199950"/>
                <a:gd name="connsiteY966" fmla="*/ 12983 h 637350"/>
                <a:gd name="connsiteX967" fmla="*/ 601942 w 1199950"/>
                <a:gd name="connsiteY967" fmla="*/ 13376 h 637350"/>
                <a:gd name="connsiteX968" fmla="*/ 605090 w 1199950"/>
                <a:gd name="connsiteY968" fmla="*/ 13376 h 637350"/>
                <a:gd name="connsiteX969" fmla="*/ 608237 w 1199950"/>
                <a:gd name="connsiteY969" fmla="*/ 12590 h 637350"/>
                <a:gd name="connsiteX970" fmla="*/ 610991 w 1199950"/>
                <a:gd name="connsiteY970" fmla="*/ 12983 h 637350"/>
                <a:gd name="connsiteX971" fmla="*/ 618466 w 1199950"/>
                <a:gd name="connsiteY971" fmla="*/ 12983 h 637350"/>
                <a:gd name="connsiteX972" fmla="*/ 621220 w 1199950"/>
                <a:gd name="connsiteY972" fmla="*/ 12590 h 637350"/>
                <a:gd name="connsiteX973" fmla="*/ 618466 w 1199950"/>
                <a:gd name="connsiteY973" fmla="*/ 11803 h 637350"/>
                <a:gd name="connsiteX974" fmla="*/ 621220 w 1199950"/>
                <a:gd name="connsiteY974" fmla="*/ 12196 h 637350"/>
                <a:gd name="connsiteX975" fmla="*/ 624368 w 1199950"/>
                <a:gd name="connsiteY975" fmla="*/ 12983 h 637350"/>
                <a:gd name="connsiteX976" fmla="*/ 631056 w 1199950"/>
                <a:gd name="connsiteY976" fmla="*/ 12983 h 637350"/>
                <a:gd name="connsiteX977" fmla="*/ 634597 w 1199950"/>
                <a:gd name="connsiteY977" fmla="*/ 13376 h 637350"/>
                <a:gd name="connsiteX978" fmla="*/ 638925 w 1199950"/>
                <a:gd name="connsiteY978" fmla="*/ 13376 h 637350"/>
                <a:gd name="connsiteX979" fmla="*/ 651121 w 1199950"/>
                <a:gd name="connsiteY979" fmla="*/ 14557 h 637350"/>
                <a:gd name="connsiteX980" fmla="*/ 637351 w 1199950"/>
                <a:gd name="connsiteY980" fmla="*/ 14557 h 637350"/>
                <a:gd name="connsiteX981" fmla="*/ 633810 w 1199950"/>
                <a:gd name="connsiteY981" fmla="*/ 14950 h 637350"/>
                <a:gd name="connsiteX982" fmla="*/ 621614 w 1199950"/>
                <a:gd name="connsiteY982" fmla="*/ 14950 h 637350"/>
                <a:gd name="connsiteX983" fmla="*/ 618073 w 1199950"/>
                <a:gd name="connsiteY983" fmla="*/ 14557 h 637350"/>
                <a:gd name="connsiteX984" fmla="*/ 614925 w 1199950"/>
                <a:gd name="connsiteY984" fmla="*/ 14163 h 637350"/>
                <a:gd name="connsiteX985" fmla="*/ 612171 w 1199950"/>
                <a:gd name="connsiteY985" fmla="*/ 14557 h 637350"/>
                <a:gd name="connsiteX986" fmla="*/ 608631 w 1199950"/>
                <a:gd name="connsiteY986" fmla="*/ 14557 h 637350"/>
                <a:gd name="connsiteX987" fmla="*/ 605090 w 1199950"/>
                <a:gd name="connsiteY987" fmla="*/ 15737 h 637350"/>
                <a:gd name="connsiteX988" fmla="*/ 608631 w 1199950"/>
                <a:gd name="connsiteY988" fmla="*/ 16524 h 637350"/>
                <a:gd name="connsiteX989" fmla="*/ 612171 w 1199950"/>
                <a:gd name="connsiteY989" fmla="*/ 16917 h 637350"/>
                <a:gd name="connsiteX990" fmla="*/ 615319 w 1199950"/>
                <a:gd name="connsiteY990" fmla="*/ 18098 h 637350"/>
                <a:gd name="connsiteX991" fmla="*/ 618860 w 1199950"/>
                <a:gd name="connsiteY991" fmla="*/ 18491 h 637350"/>
                <a:gd name="connsiteX992" fmla="*/ 622007 w 1199950"/>
                <a:gd name="connsiteY992" fmla="*/ 19671 h 637350"/>
                <a:gd name="connsiteX993" fmla="*/ 624761 w 1199950"/>
                <a:gd name="connsiteY993" fmla="*/ 20458 h 637350"/>
                <a:gd name="connsiteX994" fmla="*/ 627515 w 1199950"/>
                <a:gd name="connsiteY994" fmla="*/ 20852 h 637350"/>
                <a:gd name="connsiteX995" fmla="*/ 629089 w 1199950"/>
                <a:gd name="connsiteY995" fmla="*/ 21245 h 637350"/>
                <a:gd name="connsiteX996" fmla="*/ 618073 w 1199950"/>
                <a:gd name="connsiteY996" fmla="*/ 23999 h 637350"/>
                <a:gd name="connsiteX997" fmla="*/ 617286 w 1199950"/>
                <a:gd name="connsiteY997" fmla="*/ 23212 h 637350"/>
                <a:gd name="connsiteX998" fmla="*/ 614532 w 1199950"/>
                <a:gd name="connsiteY998" fmla="*/ 22032 h 637350"/>
                <a:gd name="connsiteX999" fmla="*/ 611778 w 1199950"/>
                <a:gd name="connsiteY999" fmla="*/ 21638 h 637350"/>
                <a:gd name="connsiteX1000" fmla="*/ 608631 w 1199950"/>
                <a:gd name="connsiteY1000" fmla="*/ 21245 h 637350"/>
                <a:gd name="connsiteX1001" fmla="*/ 605483 w 1199950"/>
                <a:gd name="connsiteY1001" fmla="*/ 20852 h 637350"/>
                <a:gd name="connsiteX1002" fmla="*/ 602336 w 1199950"/>
                <a:gd name="connsiteY1002" fmla="*/ 20065 h 637350"/>
                <a:gd name="connsiteX1003" fmla="*/ 599188 w 1199950"/>
                <a:gd name="connsiteY1003" fmla="*/ 19671 h 637350"/>
                <a:gd name="connsiteX1004" fmla="*/ 596434 w 1199950"/>
                <a:gd name="connsiteY1004" fmla="*/ 19278 h 637350"/>
                <a:gd name="connsiteX1005" fmla="*/ 592893 w 1199950"/>
                <a:gd name="connsiteY1005" fmla="*/ 19278 h 637350"/>
                <a:gd name="connsiteX1006" fmla="*/ 589353 w 1199950"/>
                <a:gd name="connsiteY1006" fmla="*/ 18884 h 637350"/>
                <a:gd name="connsiteX1007" fmla="*/ 586599 w 1199950"/>
                <a:gd name="connsiteY1007" fmla="*/ 18884 h 637350"/>
                <a:gd name="connsiteX1008" fmla="*/ 583451 w 1199950"/>
                <a:gd name="connsiteY1008" fmla="*/ 19671 h 637350"/>
                <a:gd name="connsiteX1009" fmla="*/ 579911 w 1199950"/>
                <a:gd name="connsiteY1009" fmla="*/ 19278 h 637350"/>
                <a:gd name="connsiteX1010" fmla="*/ 573222 w 1199950"/>
                <a:gd name="connsiteY1010" fmla="*/ 19278 h 637350"/>
                <a:gd name="connsiteX1011" fmla="*/ 569681 w 1199950"/>
                <a:gd name="connsiteY1011" fmla="*/ 19671 h 637350"/>
                <a:gd name="connsiteX1012" fmla="*/ 572829 w 1199950"/>
                <a:gd name="connsiteY1012" fmla="*/ 21245 h 637350"/>
                <a:gd name="connsiteX1013" fmla="*/ 575189 w 1199950"/>
                <a:gd name="connsiteY1013" fmla="*/ 22032 h 637350"/>
                <a:gd name="connsiteX1014" fmla="*/ 577944 w 1199950"/>
                <a:gd name="connsiteY1014" fmla="*/ 24786 h 637350"/>
                <a:gd name="connsiteX1015" fmla="*/ 577944 w 1199950"/>
                <a:gd name="connsiteY1015" fmla="*/ 24786 h 637350"/>
                <a:gd name="connsiteX1016" fmla="*/ 546863 w 1199950"/>
                <a:gd name="connsiteY1016" fmla="*/ 25573 h 637350"/>
                <a:gd name="connsiteX1017" fmla="*/ 544109 w 1199950"/>
                <a:gd name="connsiteY1017" fmla="*/ 24392 h 637350"/>
                <a:gd name="connsiteX1018" fmla="*/ 540961 w 1199950"/>
                <a:gd name="connsiteY1018" fmla="*/ 22819 h 637350"/>
                <a:gd name="connsiteX1019" fmla="*/ 537814 w 1199950"/>
                <a:gd name="connsiteY1019" fmla="*/ 22425 h 637350"/>
                <a:gd name="connsiteX1020" fmla="*/ 534273 w 1199950"/>
                <a:gd name="connsiteY1020" fmla="*/ 22032 h 637350"/>
                <a:gd name="connsiteX1021" fmla="*/ 531519 w 1199950"/>
                <a:gd name="connsiteY1021" fmla="*/ 21638 h 637350"/>
                <a:gd name="connsiteX1022" fmla="*/ 508700 w 1199950"/>
                <a:gd name="connsiteY1022" fmla="*/ 21638 h 637350"/>
                <a:gd name="connsiteX1023" fmla="*/ 505553 w 1199950"/>
                <a:gd name="connsiteY1023" fmla="*/ 22032 h 637350"/>
                <a:gd name="connsiteX1024" fmla="*/ 507913 w 1199950"/>
                <a:gd name="connsiteY1024" fmla="*/ 24786 h 637350"/>
                <a:gd name="connsiteX1025" fmla="*/ 507520 w 1199950"/>
                <a:gd name="connsiteY1025" fmla="*/ 26360 h 637350"/>
                <a:gd name="connsiteX1026" fmla="*/ 486668 w 1199950"/>
                <a:gd name="connsiteY1026" fmla="*/ 26753 h 637350"/>
                <a:gd name="connsiteX1027" fmla="*/ 487455 w 1199950"/>
                <a:gd name="connsiteY1027" fmla="*/ 26360 h 637350"/>
                <a:gd name="connsiteX1028" fmla="*/ 484308 w 1199950"/>
                <a:gd name="connsiteY1028" fmla="*/ 25966 h 637350"/>
                <a:gd name="connsiteX1029" fmla="*/ 482341 w 1199950"/>
                <a:gd name="connsiteY1029" fmla="*/ 26753 h 637350"/>
                <a:gd name="connsiteX1030" fmla="*/ 476439 w 1199950"/>
                <a:gd name="connsiteY1030" fmla="*/ 26753 h 637350"/>
                <a:gd name="connsiteX1031" fmla="*/ 475259 w 1199950"/>
                <a:gd name="connsiteY1031" fmla="*/ 25573 h 637350"/>
                <a:gd name="connsiteX1032" fmla="*/ 472112 w 1199950"/>
                <a:gd name="connsiteY1032" fmla="*/ 25179 h 637350"/>
                <a:gd name="connsiteX1033" fmla="*/ 468964 w 1199950"/>
                <a:gd name="connsiteY1033" fmla="*/ 24786 h 637350"/>
                <a:gd name="connsiteX1034" fmla="*/ 465817 w 1199950"/>
                <a:gd name="connsiteY1034" fmla="*/ 24786 h 637350"/>
                <a:gd name="connsiteX1035" fmla="*/ 463063 w 1199950"/>
                <a:gd name="connsiteY1035" fmla="*/ 25573 h 637350"/>
                <a:gd name="connsiteX1036" fmla="*/ 461096 w 1199950"/>
                <a:gd name="connsiteY1036" fmla="*/ 27146 h 637350"/>
                <a:gd name="connsiteX1037" fmla="*/ 452440 w 1199950"/>
                <a:gd name="connsiteY1037" fmla="*/ 27540 h 637350"/>
                <a:gd name="connsiteX1038" fmla="*/ 450473 w 1199950"/>
                <a:gd name="connsiteY1038" fmla="*/ 25966 h 637350"/>
                <a:gd name="connsiteX1039" fmla="*/ 447326 w 1199950"/>
                <a:gd name="connsiteY1039" fmla="*/ 24786 h 637350"/>
                <a:gd name="connsiteX1040" fmla="*/ 444179 w 1199950"/>
                <a:gd name="connsiteY1040" fmla="*/ 24392 h 637350"/>
                <a:gd name="connsiteX1041" fmla="*/ 441031 w 1199950"/>
                <a:gd name="connsiteY1041" fmla="*/ 24392 h 637350"/>
                <a:gd name="connsiteX1042" fmla="*/ 438277 w 1199950"/>
                <a:gd name="connsiteY1042" fmla="*/ 24786 h 637350"/>
                <a:gd name="connsiteX1043" fmla="*/ 435523 w 1199950"/>
                <a:gd name="connsiteY1043" fmla="*/ 24786 h 637350"/>
                <a:gd name="connsiteX1044" fmla="*/ 432376 w 1199950"/>
                <a:gd name="connsiteY1044" fmla="*/ 25179 h 637350"/>
                <a:gd name="connsiteX1045" fmla="*/ 429228 w 1199950"/>
                <a:gd name="connsiteY1045" fmla="*/ 25573 h 637350"/>
                <a:gd name="connsiteX1046" fmla="*/ 426474 w 1199950"/>
                <a:gd name="connsiteY1046" fmla="*/ 25966 h 637350"/>
                <a:gd name="connsiteX1047" fmla="*/ 423327 w 1199950"/>
                <a:gd name="connsiteY1047" fmla="*/ 26360 h 637350"/>
                <a:gd name="connsiteX1048" fmla="*/ 426868 w 1199950"/>
                <a:gd name="connsiteY1048" fmla="*/ 26360 h 637350"/>
                <a:gd name="connsiteX1049" fmla="*/ 423327 w 1199950"/>
                <a:gd name="connsiteY1049" fmla="*/ 27146 h 637350"/>
                <a:gd name="connsiteX1050" fmla="*/ 420179 w 1199950"/>
                <a:gd name="connsiteY1050" fmla="*/ 27146 h 637350"/>
                <a:gd name="connsiteX1051" fmla="*/ 416639 w 1199950"/>
                <a:gd name="connsiteY1051" fmla="*/ 26753 h 637350"/>
                <a:gd name="connsiteX1052" fmla="*/ 413098 w 1199950"/>
                <a:gd name="connsiteY1052" fmla="*/ 26753 h 637350"/>
                <a:gd name="connsiteX1053" fmla="*/ 409950 w 1199950"/>
                <a:gd name="connsiteY1053" fmla="*/ 27933 h 637350"/>
                <a:gd name="connsiteX1054" fmla="*/ 406409 w 1199950"/>
                <a:gd name="connsiteY1054" fmla="*/ 28720 h 637350"/>
                <a:gd name="connsiteX1055" fmla="*/ 401688 w 1199950"/>
                <a:gd name="connsiteY1055" fmla="*/ 27933 h 637350"/>
                <a:gd name="connsiteX1056" fmla="*/ 398147 w 1199950"/>
                <a:gd name="connsiteY1056" fmla="*/ 28327 h 637350"/>
                <a:gd name="connsiteX1057" fmla="*/ 395000 w 1199950"/>
                <a:gd name="connsiteY1057" fmla="*/ 28720 h 637350"/>
                <a:gd name="connsiteX1058" fmla="*/ 392246 w 1199950"/>
                <a:gd name="connsiteY1058" fmla="*/ 29114 h 637350"/>
                <a:gd name="connsiteX1059" fmla="*/ 389099 w 1199950"/>
                <a:gd name="connsiteY1059" fmla="*/ 29507 h 637350"/>
                <a:gd name="connsiteX1060" fmla="*/ 385558 w 1199950"/>
                <a:gd name="connsiteY1060" fmla="*/ 29507 h 637350"/>
                <a:gd name="connsiteX1061" fmla="*/ 382410 w 1199950"/>
                <a:gd name="connsiteY1061" fmla="*/ 29900 h 637350"/>
                <a:gd name="connsiteX1062" fmla="*/ 379263 w 1199950"/>
                <a:gd name="connsiteY1062" fmla="*/ 29900 h 637350"/>
                <a:gd name="connsiteX1063" fmla="*/ 376509 w 1199950"/>
                <a:gd name="connsiteY1063" fmla="*/ 30294 h 637350"/>
                <a:gd name="connsiteX1064" fmla="*/ 372968 w 1199950"/>
                <a:gd name="connsiteY1064" fmla="*/ 30687 h 637350"/>
                <a:gd name="connsiteX1065" fmla="*/ 369427 w 1199950"/>
                <a:gd name="connsiteY1065" fmla="*/ 31081 h 637350"/>
                <a:gd name="connsiteX1066" fmla="*/ 366280 w 1199950"/>
                <a:gd name="connsiteY1066" fmla="*/ 31474 h 637350"/>
                <a:gd name="connsiteX1067" fmla="*/ 363526 w 1199950"/>
                <a:gd name="connsiteY1067" fmla="*/ 31474 h 637350"/>
                <a:gd name="connsiteX1068" fmla="*/ 360379 w 1199950"/>
                <a:gd name="connsiteY1068" fmla="*/ 31868 h 637350"/>
                <a:gd name="connsiteX1069" fmla="*/ 357231 w 1199950"/>
                <a:gd name="connsiteY1069" fmla="*/ 32261 h 637350"/>
                <a:gd name="connsiteX1070" fmla="*/ 332445 w 1199950"/>
                <a:gd name="connsiteY1070" fmla="*/ 35015 h 637350"/>
                <a:gd name="connsiteX1071" fmla="*/ 330085 w 1199950"/>
                <a:gd name="connsiteY1071" fmla="*/ 35408 h 637350"/>
                <a:gd name="connsiteX1072" fmla="*/ 326544 w 1199950"/>
                <a:gd name="connsiteY1072" fmla="*/ 35802 h 637350"/>
                <a:gd name="connsiteX1073" fmla="*/ 323396 w 1199950"/>
                <a:gd name="connsiteY1073" fmla="*/ 35802 h 637350"/>
                <a:gd name="connsiteX1074" fmla="*/ 319856 w 1199950"/>
                <a:gd name="connsiteY1074" fmla="*/ 36195 h 637350"/>
                <a:gd name="connsiteX1075" fmla="*/ 317102 w 1199950"/>
                <a:gd name="connsiteY1075" fmla="*/ 36589 h 637350"/>
                <a:gd name="connsiteX1076" fmla="*/ 313954 w 1199950"/>
                <a:gd name="connsiteY1076" fmla="*/ 35802 h 637350"/>
                <a:gd name="connsiteX1077" fmla="*/ 310807 w 1199950"/>
                <a:gd name="connsiteY1077" fmla="*/ 36195 h 637350"/>
                <a:gd name="connsiteX1078" fmla="*/ 308053 w 1199950"/>
                <a:gd name="connsiteY1078" fmla="*/ 36589 h 637350"/>
                <a:gd name="connsiteX1079" fmla="*/ 304512 w 1199950"/>
                <a:gd name="connsiteY1079" fmla="*/ 39343 h 637350"/>
                <a:gd name="connsiteX1080" fmla="*/ 306873 w 1199950"/>
                <a:gd name="connsiteY1080" fmla="*/ 41703 h 637350"/>
                <a:gd name="connsiteX1081" fmla="*/ 280119 w 1199950"/>
                <a:gd name="connsiteY1081" fmla="*/ 49965 h 637350"/>
                <a:gd name="connsiteX1082" fmla="*/ 277759 w 1199950"/>
                <a:gd name="connsiteY1082" fmla="*/ 49178 h 637350"/>
                <a:gd name="connsiteX1083" fmla="*/ 275005 w 1199950"/>
                <a:gd name="connsiteY1083" fmla="*/ 48785 h 637350"/>
                <a:gd name="connsiteX1084" fmla="*/ 267923 w 1199950"/>
                <a:gd name="connsiteY1084" fmla="*/ 48785 h 637350"/>
                <a:gd name="connsiteX1085" fmla="*/ 265169 w 1199950"/>
                <a:gd name="connsiteY1085" fmla="*/ 48391 h 637350"/>
                <a:gd name="connsiteX1086" fmla="*/ 261629 w 1199950"/>
                <a:gd name="connsiteY1086" fmla="*/ 48391 h 637350"/>
                <a:gd name="connsiteX1087" fmla="*/ 258875 w 1199950"/>
                <a:gd name="connsiteY1087" fmla="*/ 48785 h 637350"/>
                <a:gd name="connsiteX1088" fmla="*/ 255727 w 1199950"/>
                <a:gd name="connsiteY1088" fmla="*/ 49178 h 637350"/>
                <a:gd name="connsiteX1089" fmla="*/ 254153 w 1199950"/>
                <a:gd name="connsiteY1089" fmla="*/ 51932 h 637350"/>
                <a:gd name="connsiteX1090" fmla="*/ 256121 w 1199950"/>
                <a:gd name="connsiteY1090" fmla="*/ 54686 h 637350"/>
                <a:gd name="connsiteX1091" fmla="*/ 256907 w 1199950"/>
                <a:gd name="connsiteY1091" fmla="*/ 56260 h 637350"/>
                <a:gd name="connsiteX1092" fmla="*/ 256121 w 1199950"/>
                <a:gd name="connsiteY1092" fmla="*/ 56653 h 637350"/>
                <a:gd name="connsiteX1093" fmla="*/ 254940 w 1199950"/>
                <a:gd name="connsiteY1093" fmla="*/ 55867 h 637350"/>
                <a:gd name="connsiteX1094" fmla="*/ 251793 w 1199950"/>
                <a:gd name="connsiteY1094" fmla="*/ 53113 h 637350"/>
                <a:gd name="connsiteX1095" fmla="*/ 252186 w 1199950"/>
                <a:gd name="connsiteY1095" fmla="*/ 50359 h 637350"/>
                <a:gd name="connsiteX1096" fmla="*/ 249432 w 1199950"/>
                <a:gd name="connsiteY1096" fmla="*/ 49965 h 637350"/>
                <a:gd name="connsiteX1097" fmla="*/ 246285 w 1199950"/>
                <a:gd name="connsiteY1097" fmla="*/ 50752 h 637350"/>
                <a:gd name="connsiteX1098" fmla="*/ 242744 w 1199950"/>
                <a:gd name="connsiteY1098" fmla="*/ 51932 h 637350"/>
                <a:gd name="connsiteX1099" fmla="*/ 239990 w 1199950"/>
                <a:gd name="connsiteY1099" fmla="*/ 52326 h 637350"/>
                <a:gd name="connsiteX1100" fmla="*/ 236843 w 1199950"/>
                <a:gd name="connsiteY1100" fmla="*/ 52719 h 637350"/>
                <a:gd name="connsiteX1101" fmla="*/ 233695 w 1199950"/>
                <a:gd name="connsiteY1101" fmla="*/ 53113 h 637350"/>
                <a:gd name="connsiteX1102" fmla="*/ 230548 w 1199950"/>
                <a:gd name="connsiteY1102" fmla="*/ 53506 h 637350"/>
                <a:gd name="connsiteX1103" fmla="*/ 227794 w 1199950"/>
                <a:gd name="connsiteY1103" fmla="*/ 53899 h 637350"/>
                <a:gd name="connsiteX1104" fmla="*/ 224646 w 1199950"/>
                <a:gd name="connsiteY1104" fmla="*/ 55473 h 637350"/>
                <a:gd name="connsiteX1105" fmla="*/ 221499 w 1199950"/>
                <a:gd name="connsiteY1105" fmla="*/ 55867 h 637350"/>
                <a:gd name="connsiteX1106" fmla="*/ 218352 w 1199950"/>
                <a:gd name="connsiteY1106" fmla="*/ 57047 h 637350"/>
                <a:gd name="connsiteX1107" fmla="*/ 215598 w 1199950"/>
                <a:gd name="connsiteY1107" fmla="*/ 58621 h 637350"/>
                <a:gd name="connsiteX1108" fmla="*/ 212844 w 1199950"/>
                <a:gd name="connsiteY1108" fmla="*/ 59014 h 637350"/>
                <a:gd name="connsiteX1109" fmla="*/ 209696 w 1199950"/>
                <a:gd name="connsiteY1109" fmla="*/ 59407 h 637350"/>
                <a:gd name="connsiteX1110" fmla="*/ 206155 w 1199950"/>
                <a:gd name="connsiteY1110" fmla="*/ 59801 h 637350"/>
                <a:gd name="connsiteX1111" fmla="*/ 203008 w 1199950"/>
                <a:gd name="connsiteY1111" fmla="*/ 61375 h 637350"/>
                <a:gd name="connsiteX1112" fmla="*/ 197107 w 1199950"/>
                <a:gd name="connsiteY1112" fmla="*/ 61375 h 637350"/>
                <a:gd name="connsiteX1113" fmla="*/ 193566 w 1199950"/>
                <a:gd name="connsiteY1113" fmla="*/ 62161 h 637350"/>
                <a:gd name="connsiteX1114" fmla="*/ 190418 w 1199950"/>
                <a:gd name="connsiteY1114" fmla="*/ 62555 h 637350"/>
                <a:gd name="connsiteX1115" fmla="*/ 187664 w 1199950"/>
                <a:gd name="connsiteY1115" fmla="*/ 62948 h 637350"/>
                <a:gd name="connsiteX1116" fmla="*/ 184517 w 1199950"/>
                <a:gd name="connsiteY1116" fmla="*/ 63342 h 637350"/>
                <a:gd name="connsiteX1117" fmla="*/ 181370 w 1199950"/>
                <a:gd name="connsiteY1117" fmla="*/ 63735 h 637350"/>
                <a:gd name="connsiteX1118" fmla="*/ 178615 w 1199950"/>
                <a:gd name="connsiteY1118" fmla="*/ 64915 h 637350"/>
                <a:gd name="connsiteX1119" fmla="*/ 175861 w 1199950"/>
                <a:gd name="connsiteY1119" fmla="*/ 66096 h 637350"/>
                <a:gd name="connsiteX1120" fmla="*/ 172714 w 1199950"/>
                <a:gd name="connsiteY1120" fmla="*/ 66489 h 637350"/>
                <a:gd name="connsiteX1121" fmla="*/ 169960 w 1199950"/>
                <a:gd name="connsiteY1121" fmla="*/ 67276 h 637350"/>
                <a:gd name="connsiteX1122" fmla="*/ 166419 w 1199950"/>
                <a:gd name="connsiteY1122" fmla="*/ 67669 h 637350"/>
                <a:gd name="connsiteX1123" fmla="*/ 163272 w 1199950"/>
                <a:gd name="connsiteY1123" fmla="*/ 68063 h 637350"/>
                <a:gd name="connsiteX1124" fmla="*/ 159731 w 1199950"/>
                <a:gd name="connsiteY1124" fmla="*/ 69636 h 637350"/>
                <a:gd name="connsiteX1125" fmla="*/ 157764 w 1199950"/>
                <a:gd name="connsiteY1125" fmla="*/ 72390 h 637350"/>
                <a:gd name="connsiteX1126" fmla="*/ 160911 w 1199950"/>
                <a:gd name="connsiteY1126" fmla="*/ 72784 h 637350"/>
                <a:gd name="connsiteX1127" fmla="*/ 164059 w 1199950"/>
                <a:gd name="connsiteY1127" fmla="*/ 75144 h 637350"/>
                <a:gd name="connsiteX1128" fmla="*/ 167600 w 1199950"/>
                <a:gd name="connsiteY1128" fmla="*/ 75144 h 637350"/>
                <a:gd name="connsiteX1129" fmla="*/ 170354 w 1199950"/>
                <a:gd name="connsiteY1129" fmla="*/ 74751 h 637350"/>
                <a:gd name="connsiteX1130" fmla="*/ 173108 w 1199950"/>
                <a:gd name="connsiteY1130" fmla="*/ 74358 h 637350"/>
                <a:gd name="connsiteX1131" fmla="*/ 176255 w 1199950"/>
                <a:gd name="connsiteY1131" fmla="*/ 73964 h 637350"/>
                <a:gd name="connsiteX1132" fmla="*/ 179402 w 1199950"/>
                <a:gd name="connsiteY1132" fmla="*/ 75538 h 637350"/>
                <a:gd name="connsiteX1133" fmla="*/ 182550 w 1199950"/>
                <a:gd name="connsiteY1133" fmla="*/ 75931 h 637350"/>
                <a:gd name="connsiteX1134" fmla="*/ 185697 w 1199950"/>
                <a:gd name="connsiteY1134" fmla="*/ 75538 h 637350"/>
                <a:gd name="connsiteX1135" fmla="*/ 188451 w 1199950"/>
                <a:gd name="connsiteY1135" fmla="*/ 75144 h 637350"/>
                <a:gd name="connsiteX1136" fmla="*/ 191598 w 1199950"/>
                <a:gd name="connsiteY1136" fmla="*/ 74751 h 637350"/>
                <a:gd name="connsiteX1137" fmla="*/ 194746 w 1199950"/>
                <a:gd name="connsiteY1137" fmla="*/ 74358 h 637350"/>
                <a:gd name="connsiteX1138" fmla="*/ 197500 w 1199950"/>
                <a:gd name="connsiteY1138" fmla="*/ 74358 h 637350"/>
                <a:gd name="connsiteX1139" fmla="*/ 200647 w 1199950"/>
                <a:gd name="connsiteY1139" fmla="*/ 74751 h 637350"/>
                <a:gd name="connsiteX1140" fmla="*/ 203401 w 1199950"/>
                <a:gd name="connsiteY1140" fmla="*/ 74751 h 637350"/>
                <a:gd name="connsiteX1141" fmla="*/ 197893 w 1199950"/>
                <a:gd name="connsiteY1141" fmla="*/ 76325 h 637350"/>
                <a:gd name="connsiteX1142" fmla="*/ 201434 w 1199950"/>
                <a:gd name="connsiteY1142" fmla="*/ 75931 h 637350"/>
                <a:gd name="connsiteX1143" fmla="*/ 198287 w 1199950"/>
                <a:gd name="connsiteY1143" fmla="*/ 76325 h 637350"/>
                <a:gd name="connsiteX1144" fmla="*/ 74357 w 1199950"/>
                <a:gd name="connsiteY1144" fmla="*/ 105832 h 637350"/>
                <a:gd name="connsiteX1145" fmla="*/ 73964 w 1199950"/>
                <a:gd name="connsiteY1145" fmla="*/ 106225 h 637350"/>
                <a:gd name="connsiteX1146" fmla="*/ 73571 w 1199950"/>
                <a:gd name="connsiteY1146" fmla="*/ 106619 h 637350"/>
                <a:gd name="connsiteX1147" fmla="*/ 70030 w 1199950"/>
                <a:gd name="connsiteY1147" fmla="*/ 107012 h 637350"/>
                <a:gd name="connsiteX1148" fmla="*/ 66489 w 1199950"/>
                <a:gd name="connsiteY1148" fmla="*/ 107405 h 637350"/>
                <a:gd name="connsiteX1149" fmla="*/ 63735 w 1199950"/>
                <a:gd name="connsiteY1149" fmla="*/ 107405 h 637350"/>
                <a:gd name="connsiteX1150" fmla="*/ 60194 w 1199950"/>
                <a:gd name="connsiteY1150" fmla="*/ 107799 h 637350"/>
                <a:gd name="connsiteX1151" fmla="*/ 57047 w 1199950"/>
                <a:gd name="connsiteY1151" fmla="*/ 108192 h 637350"/>
                <a:gd name="connsiteX1152" fmla="*/ 53899 w 1199950"/>
                <a:gd name="connsiteY1152" fmla="*/ 110553 h 637350"/>
                <a:gd name="connsiteX1153" fmla="*/ 50752 w 1199950"/>
                <a:gd name="connsiteY1153" fmla="*/ 110159 h 637350"/>
                <a:gd name="connsiteX1154" fmla="*/ 47998 w 1199950"/>
                <a:gd name="connsiteY1154" fmla="*/ 109766 h 637350"/>
                <a:gd name="connsiteX1155" fmla="*/ 44457 w 1199950"/>
                <a:gd name="connsiteY1155" fmla="*/ 109373 h 637350"/>
                <a:gd name="connsiteX1156" fmla="*/ 41703 w 1199950"/>
                <a:gd name="connsiteY1156" fmla="*/ 109766 h 637350"/>
                <a:gd name="connsiteX1157" fmla="*/ 38556 w 1199950"/>
                <a:gd name="connsiteY1157" fmla="*/ 110159 h 637350"/>
                <a:gd name="connsiteX1158" fmla="*/ 35802 w 1199950"/>
                <a:gd name="connsiteY1158" fmla="*/ 110553 h 637350"/>
                <a:gd name="connsiteX1159" fmla="*/ 33048 w 1199950"/>
                <a:gd name="connsiteY1159" fmla="*/ 110946 h 637350"/>
                <a:gd name="connsiteX1160" fmla="*/ 30294 w 1199950"/>
                <a:gd name="connsiteY1160" fmla="*/ 111340 h 637350"/>
                <a:gd name="connsiteX1161" fmla="*/ 26753 w 1199950"/>
                <a:gd name="connsiteY1161" fmla="*/ 111733 h 637350"/>
                <a:gd name="connsiteX1162" fmla="*/ 23999 w 1199950"/>
                <a:gd name="connsiteY1162" fmla="*/ 111733 h 637350"/>
                <a:gd name="connsiteX1163" fmla="*/ 20852 w 1199950"/>
                <a:gd name="connsiteY1163" fmla="*/ 112127 h 637350"/>
                <a:gd name="connsiteX1164" fmla="*/ 17704 w 1199950"/>
                <a:gd name="connsiteY1164" fmla="*/ 112520 h 637350"/>
                <a:gd name="connsiteX1165" fmla="*/ 14557 w 1199950"/>
                <a:gd name="connsiteY1165" fmla="*/ 114094 h 637350"/>
                <a:gd name="connsiteX1166" fmla="*/ 11409 w 1199950"/>
                <a:gd name="connsiteY1166" fmla="*/ 116061 h 637350"/>
                <a:gd name="connsiteX1167" fmla="*/ 8655 w 1199950"/>
                <a:gd name="connsiteY1167" fmla="*/ 116454 h 637350"/>
                <a:gd name="connsiteX1168" fmla="*/ 11803 w 1199950"/>
                <a:gd name="connsiteY1168" fmla="*/ 117634 h 637350"/>
                <a:gd name="connsiteX1169" fmla="*/ 9049 w 1199950"/>
                <a:gd name="connsiteY1169" fmla="*/ 118421 h 637350"/>
                <a:gd name="connsiteX1170" fmla="*/ 6295 w 1199950"/>
                <a:gd name="connsiteY1170" fmla="*/ 119602 h 637350"/>
                <a:gd name="connsiteX1171" fmla="*/ 3147 w 1199950"/>
                <a:gd name="connsiteY1171" fmla="*/ 121175 h 637350"/>
                <a:gd name="connsiteX1172" fmla="*/ 0 w 1199950"/>
                <a:gd name="connsiteY1172" fmla="*/ 120782 h 637350"/>
                <a:gd name="connsiteX1173" fmla="*/ 2754 w 1199950"/>
                <a:gd name="connsiteY1173" fmla="*/ 121569 h 637350"/>
                <a:gd name="connsiteX1174" fmla="*/ 5901 w 1199950"/>
                <a:gd name="connsiteY1174" fmla="*/ 123536 h 637350"/>
                <a:gd name="connsiteX1175" fmla="*/ 8655 w 1199950"/>
                <a:gd name="connsiteY1175" fmla="*/ 123536 h 637350"/>
                <a:gd name="connsiteX1176" fmla="*/ 9442 w 1199950"/>
                <a:gd name="connsiteY1176" fmla="*/ 126290 h 637350"/>
                <a:gd name="connsiteX1177" fmla="*/ 12196 w 1199950"/>
                <a:gd name="connsiteY1177" fmla="*/ 126683 h 637350"/>
                <a:gd name="connsiteX1178" fmla="*/ 14950 w 1199950"/>
                <a:gd name="connsiteY1178" fmla="*/ 127470 h 637350"/>
                <a:gd name="connsiteX1179" fmla="*/ 17704 w 1199950"/>
                <a:gd name="connsiteY1179" fmla="*/ 127077 h 637350"/>
                <a:gd name="connsiteX1180" fmla="*/ 20852 w 1199950"/>
                <a:gd name="connsiteY1180" fmla="*/ 126683 h 637350"/>
                <a:gd name="connsiteX1181" fmla="*/ 23999 w 1199950"/>
                <a:gd name="connsiteY1181" fmla="*/ 127864 h 637350"/>
                <a:gd name="connsiteX1182" fmla="*/ 26753 w 1199950"/>
                <a:gd name="connsiteY1182" fmla="*/ 127864 h 637350"/>
                <a:gd name="connsiteX1183" fmla="*/ 23606 w 1199950"/>
                <a:gd name="connsiteY1183" fmla="*/ 129044 h 637350"/>
                <a:gd name="connsiteX1184" fmla="*/ 20852 w 1199950"/>
                <a:gd name="connsiteY1184" fmla="*/ 130224 h 637350"/>
                <a:gd name="connsiteX1185" fmla="*/ 23999 w 1199950"/>
                <a:gd name="connsiteY1185" fmla="*/ 130618 h 637350"/>
                <a:gd name="connsiteX1186" fmla="*/ 27146 w 1199950"/>
                <a:gd name="connsiteY1186" fmla="*/ 130618 h 637350"/>
                <a:gd name="connsiteX1187" fmla="*/ 30687 w 1199950"/>
                <a:gd name="connsiteY1187" fmla="*/ 130224 h 637350"/>
                <a:gd name="connsiteX1188" fmla="*/ 34228 w 1199950"/>
                <a:gd name="connsiteY1188" fmla="*/ 130224 h 637350"/>
                <a:gd name="connsiteX1189" fmla="*/ 37376 w 1199950"/>
                <a:gd name="connsiteY1189" fmla="*/ 129831 h 637350"/>
                <a:gd name="connsiteX1190" fmla="*/ 40916 w 1199950"/>
                <a:gd name="connsiteY1190" fmla="*/ 128650 h 637350"/>
                <a:gd name="connsiteX1191" fmla="*/ 43670 w 1199950"/>
                <a:gd name="connsiteY1191" fmla="*/ 128257 h 637350"/>
                <a:gd name="connsiteX1192" fmla="*/ 46424 w 1199950"/>
                <a:gd name="connsiteY1192" fmla="*/ 128257 h 637350"/>
                <a:gd name="connsiteX1193" fmla="*/ 49965 w 1199950"/>
                <a:gd name="connsiteY1193" fmla="*/ 128650 h 637350"/>
                <a:gd name="connsiteX1194" fmla="*/ 50359 w 1199950"/>
                <a:gd name="connsiteY1194" fmla="*/ 128650 h 637350"/>
                <a:gd name="connsiteX1195" fmla="*/ 49965 w 1199950"/>
                <a:gd name="connsiteY1195" fmla="*/ 129044 h 637350"/>
                <a:gd name="connsiteX1196" fmla="*/ 46818 w 1199950"/>
                <a:gd name="connsiteY1196" fmla="*/ 129044 h 637350"/>
                <a:gd name="connsiteX1197" fmla="*/ 43670 w 1199950"/>
                <a:gd name="connsiteY1197" fmla="*/ 129437 h 637350"/>
                <a:gd name="connsiteX1198" fmla="*/ 40523 w 1199950"/>
                <a:gd name="connsiteY1198" fmla="*/ 130224 h 637350"/>
                <a:gd name="connsiteX1199" fmla="*/ 37769 w 1199950"/>
                <a:gd name="connsiteY1199" fmla="*/ 131011 h 637350"/>
                <a:gd name="connsiteX1200" fmla="*/ 34621 w 1199950"/>
                <a:gd name="connsiteY1200" fmla="*/ 131404 h 637350"/>
                <a:gd name="connsiteX1201" fmla="*/ 38162 w 1199950"/>
                <a:gd name="connsiteY1201" fmla="*/ 132585 h 637350"/>
                <a:gd name="connsiteX1202" fmla="*/ 41703 w 1199950"/>
                <a:gd name="connsiteY1202" fmla="*/ 132585 h 637350"/>
                <a:gd name="connsiteX1203" fmla="*/ 44850 w 1199950"/>
                <a:gd name="connsiteY1203" fmla="*/ 132191 h 637350"/>
                <a:gd name="connsiteX1204" fmla="*/ 46818 w 1199950"/>
                <a:gd name="connsiteY1204" fmla="*/ 131798 h 637350"/>
                <a:gd name="connsiteX1205" fmla="*/ 44850 w 1199950"/>
                <a:gd name="connsiteY1205" fmla="*/ 133372 h 637350"/>
                <a:gd name="connsiteX1206" fmla="*/ 41703 w 1199950"/>
                <a:gd name="connsiteY1206" fmla="*/ 133765 h 637350"/>
                <a:gd name="connsiteX1207" fmla="*/ 38556 w 1199950"/>
                <a:gd name="connsiteY1207" fmla="*/ 134158 h 637350"/>
                <a:gd name="connsiteX1208" fmla="*/ 41310 w 1199950"/>
                <a:gd name="connsiteY1208" fmla="*/ 134945 h 637350"/>
                <a:gd name="connsiteX1209" fmla="*/ 42883 w 1199950"/>
                <a:gd name="connsiteY1209" fmla="*/ 134945 h 637350"/>
                <a:gd name="connsiteX1210" fmla="*/ 35408 w 1199950"/>
                <a:gd name="connsiteY1210" fmla="*/ 142420 h 637350"/>
                <a:gd name="connsiteX1211" fmla="*/ 32654 w 1199950"/>
                <a:gd name="connsiteY1211" fmla="*/ 142420 h 637350"/>
                <a:gd name="connsiteX1212" fmla="*/ 29900 w 1199950"/>
                <a:gd name="connsiteY1212" fmla="*/ 142814 h 637350"/>
                <a:gd name="connsiteX1213" fmla="*/ 26753 w 1199950"/>
                <a:gd name="connsiteY1213" fmla="*/ 142814 h 637350"/>
                <a:gd name="connsiteX1214" fmla="*/ 23606 w 1199950"/>
                <a:gd name="connsiteY1214" fmla="*/ 143207 h 637350"/>
                <a:gd name="connsiteX1215" fmla="*/ 17311 w 1199950"/>
                <a:gd name="connsiteY1215" fmla="*/ 143601 h 637350"/>
                <a:gd name="connsiteX1216" fmla="*/ 14163 w 1199950"/>
                <a:gd name="connsiteY1216" fmla="*/ 144781 h 637350"/>
                <a:gd name="connsiteX1217" fmla="*/ 11409 w 1199950"/>
                <a:gd name="connsiteY1217" fmla="*/ 145174 h 637350"/>
                <a:gd name="connsiteX1218" fmla="*/ 8262 w 1199950"/>
                <a:gd name="connsiteY1218" fmla="*/ 145568 h 637350"/>
                <a:gd name="connsiteX1219" fmla="*/ 5508 w 1199950"/>
                <a:gd name="connsiteY1219" fmla="*/ 146748 h 637350"/>
                <a:gd name="connsiteX1220" fmla="*/ 5114 w 1199950"/>
                <a:gd name="connsiteY1220" fmla="*/ 149502 h 637350"/>
                <a:gd name="connsiteX1221" fmla="*/ 7869 w 1199950"/>
                <a:gd name="connsiteY1221" fmla="*/ 149109 h 637350"/>
                <a:gd name="connsiteX1222" fmla="*/ 11016 w 1199950"/>
                <a:gd name="connsiteY1222" fmla="*/ 149895 h 637350"/>
                <a:gd name="connsiteX1223" fmla="*/ 14163 w 1199950"/>
                <a:gd name="connsiteY1223" fmla="*/ 149895 h 637350"/>
                <a:gd name="connsiteX1224" fmla="*/ 11016 w 1199950"/>
                <a:gd name="connsiteY1224" fmla="*/ 150289 h 637350"/>
                <a:gd name="connsiteX1225" fmla="*/ 7869 w 1199950"/>
                <a:gd name="connsiteY1225" fmla="*/ 150682 h 637350"/>
                <a:gd name="connsiteX1226" fmla="*/ 11016 w 1199950"/>
                <a:gd name="connsiteY1226" fmla="*/ 153043 h 637350"/>
                <a:gd name="connsiteX1227" fmla="*/ 14163 w 1199950"/>
                <a:gd name="connsiteY1227" fmla="*/ 153436 h 637350"/>
                <a:gd name="connsiteX1228" fmla="*/ 16917 w 1199950"/>
                <a:gd name="connsiteY1228" fmla="*/ 153043 h 637350"/>
                <a:gd name="connsiteX1229" fmla="*/ 20065 w 1199950"/>
                <a:gd name="connsiteY1229" fmla="*/ 152256 h 637350"/>
                <a:gd name="connsiteX1230" fmla="*/ 23212 w 1199950"/>
                <a:gd name="connsiteY1230" fmla="*/ 151469 h 637350"/>
                <a:gd name="connsiteX1231" fmla="*/ 25966 w 1199950"/>
                <a:gd name="connsiteY1231" fmla="*/ 150682 h 637350"/>
                <a:gd name="connsiteX1232" fmla="*/ 27540 w 1199950"/>
                <a:gd name="connsiteY1232" fmla="*/ 150289 h 637350"/>
                <a:gd name="connsiteX1233" fmla="*/ 25966 w 1199950"/>
                <a:gd name="connsiteY1233" fmla="*/ 151863 h 637350"/>
                <a:gd name="connsiteX1234" fmla="*/ 23999 w 1199950"/>
                <a:gd name="connsiteY1234" fmla="*/ 153830 h 637350"/>
                <a:gd name="connsiteX1235" fmla="*/ 31081 w 1199950"/>
                <a:gd name="connsiteY1235" fmla="*/ 161698 h 637350"/>
                <a:gd name="connsiteX1236" fmla="*/ 28720 w 1199950"/>
                <a:gd name="connsiteY1236" fmla="*/ 162092 h 637350"/>
                <a:gd name="connsiteX1237" fmla="*/ 25573 w 1199950"/>
                <a:gd name="connsiteY1237" fmla="*/ 162485 h 637350"/>
                <a:gd name="connsiteX1238" fmla="*/ 22425 w 1199950"/>
                <a:gd name="connsiteY1238" fmla="*/ 163665 h 637350"/>
                <a:gd name="connsiteX1239" fmla="*/ 25179 w 1199950"/>
                <a:gd name="connsiteY1239" fmla="*/ 165632 h 637350"/>
                <a:gd name="connsiteX1240" fmla="*/ 28327 w 1199950"/>
                <a:gd name="connsiteY1240" fmla="*/ 166026 h 637350"/>
                <a:gd name="connsiteX1241" fmla="*/ 31081 w 1199950"/>
                <a:gd name="connsiteY1241" fmla="*/ 166419 h 637350"/>
                <a:gd name="connsiteX1242" fmla="*/ 34228 w 1199950"/>
                <a:gd name="connsiteY1242" fmla="*/ 168386 h 637350"/>
                <a:gd name="connsiteX1243" fmla="*/ 36982 w 1199950"/>
                <a:gd name="connsiteY1243" fmla="*/ 169173 h 637350"/>
                <a:gd name="connsiteX1244" fmla="*/ 37769 w 1199950"/>
                <a:gd name="connsiteY1244" fmla="*/ 169173 h 637350"/>
                <a:gd name="connsiteX1245" fmla="*/ 38162 w 1199950"/>
                <a:gd name="connsiteY1245" fmla="*/ 169567 h 637350"/>
                <a:gd name="connsiteX1246" fmla="*/ 36982 w 1199950"/>
                <a:gd name="connsiteY1246" fmla="*/ 169960 h 637350"/>
                <a:gd name="connsiteX1247" fmla="*/ 39736 w 1199950"/>
                <a:gd name="connsiteY1247" fmla="*/ 171534 h 637350"/>
                <a:gd name="connsiteX1248" fmla="*/ 41703 w 1199950"/>
                <a:gd name="connsiteY1248" fmla="*/ 171534 h 637350"/>
                <a:gd name="connsiteX1249" fmla="*/ 44850 w 1199950"/>
                <a:gd name="connsiteY1249" fmla="*/ 171927 h 637350"/>
                <a:gd name="connsiteX1250" fmla="*/ 48391 w 1199950"/>
                <a:gd name="connsiteY1250" fmla="*/ 171927 h 637350"/>
                <a:gd name="connsiteX1251" fmla="*/ 51539 w 1199950"/>
                <a:gd name="connsiteY1251" fmla="*/ 172321 h 637350"/>
                <a:gd name="connsiteX1252" fmla="*/ 54686 w 1199950"/>
                <a:gd name="connsiteY1252" fmla="*/ 172321 h 637350"/>
                <a:gd name="connsiteX1253" fmla="*/ 57833 w 1199950"/>
                <a:gd name="connsiteY1253" fmla="*/ 172714 h 637350"/>
                <a:gd name="connsiteX1254" fmla="*/ 60981 w 1199950"/>
                <a:gd name="connsiteY1254" fmla="*/ 173108 h 637350"/>
                <a:gd name="connsiteX1255" fmla="*/ 64128 w 1199950"/>
                <a:gd name="connsiteY1255" fmla="*/ 173501 h 637350"/>
                <a:gd name="connsiteX1256" fmla="*/ 66882 w 1199950"/>
                <a:gd name="connsiteY1256" fmla="*/ 173894 h 637350"/>
                <a:gd name="connsiteX1257" fmla="*/ 69636 w 1199950"/>
                <a:gd name="connsiteY1257" fmla="*/ 174288 h 637350"/>
                <a:gd name="connsiteX1258" fmla="*/ 72784 w 1199950"/>
                <a:gd name="connsiteY1258" fmla="*/ 173501 h 637350"/>
                <a:gd name="connsiteX1259" fmla="*/ 70030 w 1199950"/>
                <a:gd name="connsiteY1259" fmla="*/ 171927 h 637350"/>
                <a:gd name="connsiteX1260" fmla="*/ 68850 w 1199950"/>
                <a:gd name="connsiteY1260" fmla="*/ 170747 h 637350"/>
                <a:gd name="connsiteX1261" fmla="*/ 78292 w 1199950"/>
                <a:gd name="connsiteY1261" fmla="*/ 170747 h 637350"/>
                <a:gd name="connsiteX1262" fmla="*/ 78685 w 1199950"/>
                <a:gd name="connsiteY1262" fmla="*/ 171140 h 637350"/>
                <a:gd name="connsiteX1263" fmla="*/ 79079 w 1199950"/>
                <a:gd name="connsiteY1263" fmla="*/ 170747 h 637350"/>
                <a:gd name="connsiteX1264" fmla="*/ 91668 w 1199950"/>
                <a:gd name="connsiteY1264" fmla="*/ 170354 h 637350"/>
                <a:gd name="connsiteX1265" fmla="*/ 90881 w 1199950"/>
                <a:gd name="connsiteY1265" fmla="*/ 170747 h 637350"/>
                <a:gd name="connsiteX1266" fmla="*/ 93635 w 1199950"/>
                <a:gd name="connsiteY1266" fmla="*/ 172321 h 637350"/>
                <a:gd name="connsiteX1267" fmla="*/ 96783 w 1199950"/>
                <a:gd name="connsiteY1267" fmla="*/ 172321 h 637350"/>
                <a:gd name="connsiteX1268" fmla="*/ 99930 w 1199950"/>
                <a:gd name="connsiteY1268" fmla="*/ 171534 h 637350"/>
                <a:gd name="connsiteX1269" fmla="*/ 100717 w 1199950"/>
                <a:gd name="connsiteY1269" fmla="*/ 170354 h 637350"/>
                <a:gd name="connsiteX1270" fmla="*/ 108192 w 1199950"/>
                <a:gd name="connsiteY1270" fmla="*/ 170354 h 637350"/>
                <a:gd name="connsiteX1271" fmla="*/ 204188 w 1199950"/>
                <a:gd name="connsiteY1271" fmla="*/ 173894 h 637350"/>
                <a:gd name="connsiteX1272" fmla="*/ 203795 w 1199950"/>
                <a:gd name="connsiteY1272" fmla="*/ 174288 h 637350"/>
                <a:gd name="connsiteX1273" fmla="*/ 203008 w 1199950"/>
                <a:gd name="connsiteY1273" fmla="*/ 174681 h 637350"/>
                <a:gd name="connsiteX1274" fmla="*/ 219925 w 1199950"/>
                <a:gd name="connsiteY1274" fmla="*/ 188845 h 637350"/>
                <a:gd name="connsiteX1275" fmla="*/ 217565 w 1199950"/>
                <a:gd name="connsiteY1275" fmla="*/ 189631 h 637350"/>
                <a:gd name="connsiteX1276" fmla="*/ 220712 w 1199950"/>
                <a:gd name="connsiteY1276" fmla="*/ 190025 h 637350"/>
                <a:gd name="connsiteX1277" fmla="*/ 221105 w 1199950"/>
                <a:gd name="connsiteY1277" fmla="*/ 190025 h 637350"/>
                <a:gd name="connsiteX1278" fmla="*/ 223860 w 1199950"/>
                <a:gd name="connsiteY1278" fmla="*/ 192385 h 637350"/>
                <a:gd name="connsiteX1279" fmla="*/ 223860 w 1199950"/>
                <a:gd name="connsiteY1279" fmla="*/ 193959 h 637350"/>
                <a:gd name="connsiteX1280" fmla="*/ 226220 w 1199950"/>
                <a:gd name="connsiteY1280" fmla="*/ 194353 h 637350"/>
                <a:gd name="connsiteX1281" fmla="*/ 226614 w 1199950"/>
                <a:gd name="connsiteY1281" fmla="*/ 194746 h 637350"/>
                <a:gd name="connsiteX1282" fmla="*/ 224253 w 1199950"/>
                <a:gd name="connsiteY1282" fmla="*/ 196713 h 637350"/>
                <a:gd name="connsiteX1283" fmla="*/ 227007 w 1199950"/>
                <a:gd name="connsiteY1283" fmla="*/ 198287 h 637350"/>
                <a:gd name="connsiteX1284" fmla="*/ 230154 w 1199950"/>
                <a:gd name="connsiteY1284" fmla="*/ 199074 h 637350"/>
                <a:gd name="connsiteX1285" fmla="*/ 232908 w 1199950"/>
                <a:gd name="connsiteY1285" fmla="*/ 199861 h 637350"/>
                <a:gd name="connsiteX1286" fmla="*/ 233302 w 1199950"/>
                <a:gd name="connsiteY1286" fmla="*/ 200254 h 637350"/>
                <a:gd name="connsiteX1287" fmla="*/ 237629 w 1199950"/>
                <a:gd name="connsiteY1287" fmla="*/ 210090 h 637350"/>
                <a:gd name="connsiteX1288" fmla="*/ 234875 w 1199950"/>
                <a:gd name="connsiteY1288" fmla="*/ 211270 h 637350"/>
                <a:gd name="connsiteX1289" fmla="*/ 238023 w 1199950"/>
                <a:gd name="connsiteY1289" fmla="*/ 211663 h 637350"/>
                <a:gd name="connsiteX1290" fmla="*/ 238023 w 1199950"/>
                <a:gd name="connsiteY1290" fmla="*/ 212844 h 637350"/>
                <a:gd name="connsiteX1291" fmla="*/ 238416 w 1199950"/>
                <a:gd name="connsiteY1291" fmla="*/ 213631 h 637350"/>
                <a:gd name="connsiteX1292" fmla="*/ 237629 w 1199950"/>
                <a:gd name="connsiteY1292" fmla="*/ 213631 h 637350"/>
                <a:gd name="connsiteX1293" fmla="*/ 234482 w 1199950"/>
                <a:gd name="connsiteY1293" fmla="*/ 214024 h 637350"/>
                <a:gd name="connsiteX1294" fmla="*/ 230941 w 1199950"/>
                <a:gd name="connsiteY1294" fmla="*/ 214417 h 637350"/>
                <a:gd name="connsiteX1295" fmla="*/ 228187 w 1199950"/>
                <a:gd name="connsiteY1295" fmla="*/ 214417 h 637350"/>
                <a:gd name="connsiteX1296" fmla="*/ 227794 w 1199950"/>
                <a:gd name="connsiteY1296" fmla="*/ 214417 h 637350"/>
                <a:gd name="connsiteX1297" fmla="*/ 225040 w 1199950"/>
                <a:gd name="connsiteY1297" fmla="*/ 215598 h 637350"/>
                <a:gd name="connsiteX1298" fmla="*/ 228187 w 1199950"/>
                <a:gd name="connsiteY1298" fmla="*/ 215204 h 637350"/>
                <a:gd name="connsiteX1299" fmla="*/ 231335 w 1199950"/>
                <a:gd name="connsiteY1299" fmla="*/ 215598 h 637350"/>
                <a:gd name="connsiteX1300" fmla="*/ 234875 w 1199950"/>
                <a:gd name="connsiteY1300" fmla="*/ 215204 h 637350"/>
                <a:gd name="connsiteX1301" fmla="*/ 239203 w 1199950"/>
                <a:gd name="connsiteY1301" fmla="*/ 215204 h 637350"/>
                <a:gd name="connsiteX1302" fmla="*/ 239597 w 1199950"/>
                <a:gd name="connsiteY1302" fmla="*/ 215991 h 637350"/>
                <a:gd name="connsiteX1303" fmla="*/ 239597 w 1199950"/>
                <a:gd name="connsiteY1303" fmla="*/ 215991 h 637350"/>
                <a:gd name="connsiteX1304" fmla="*/ 239597 w 1199950"/>
                <a:gd name="connsiteY1304" fmla="*/ 215991 h 637350"/>
                <a:gd name="connsiteX1305" fmla="*/ 240777 w 1199950"/>
                <a:gd name="connsiteY1305" fmla="*/ 218745 h 637350"/>
                <a:gd name="connsiteX1306" fmla="*/ 239597 w 1199950"/>
                <a:gd name="connsiteY1306" fmla="*/ 218745 h 637350"/>
                <a:gd name="connsiteX1307" fmla="*/ 241170 w 1199950"/>
                <a:gd name="connsiteY1307" fmla="*/ 219532 h 637350"/>
                <a:gd name="connsiteX1308" fmla="*/ 241957 w 1199950"/>
                <a:gd name="connsiteY1308" fmla="*/ 221106 h 637350"/>
                <a:gd name="connsiteX1309" fmla="*/ 239990 w 1199950"/>
                <a:gd name="connsiteY1309" fmla="*/ 221499 h 637350"/>
                <a:gd name="connsiteX1310" fmla="*/ 237236 w 1199950"/>
                <a:gd name="connsiteY1310" fmla="*/ 222286 h 637350"/>
                <a:gd name="connsiteX1311" fmla="*/ 234089 w 1199950"/>
                <a:gd name="connsiteY1311" fmla="*/ 222679 h 637350"/>
                <a:gd name="connsiteX1312" fmla="*/ 230941 w 1199950"/>
                <a:gd name="connsiteY1312" fmla="*/ 223073 h 637350"/>
                <a:gd name="connsiteX1313" fmla="*/ 227400 w 1199950"/>
                <a:gd name="connsiteY1313" fmla="*/ 223860 h 637350"/>
                <a:gd name="connsiteX1314" fmla="*/ 224253 w 1199950"/>
                <a:gd name="connsiteY1314" fmla="*/ 224253 h 637350"/>
                <a:gd name="connsiteX1315" fmla="*/ 221499 w 1199950"/>
                <a:gd name="connsiteY1315" fmla="*/ 225040 h 637350"/>
                <a:gd name="connsiteX1316" fmla="*/ 224646 w 1199950"/>
                <a:gd name="connsiteY1316" fmla="*/ 225433 h 637350"/>
                <a:gd name="connsiteX1317" fmla="*/ 227794 w 1199950"/>
                <a:gd name="connsiteY1317" fmla="*/ 225040 h 637350"/>
                <a:gd name="connsiteX1318" fmla="*/ 230941 w 1199950"/>
                <a:gd name="connsiteY1318" fmla="*/ 224646 h 637350"/>
                <a:gd name="connsiteX1319" fmla="*/ 234089 w 1199950"/>
                <a:gd name="connsiteY1319" fmla="*/ 224646 h 637350"/>
                <a:gd name="connsiteX1320" fmla="*/ 237236 w 1199950"/>
                <a:gd name="connsiteY1320" fmla="*/ 224253 h 637350"/>
                <a:gd name="connsiteX1321" fmla="*/ 239990 w 1199950"/>
                <a:gd name="connsiteY1321" fmla="*/ 223466 h 637350"/>
                <a:gd name="connsiteX1322" fmla="*/ 242351 w 1199950"/>
                <a:gd name="connsiteY1322" fmla="*/ 222679 h 637350"/>
                <a:gd name="connsiteX1323" fmla="*/ 243138 w 1199950"/>
                <a:gd name="connsiteY1323" fmla="*/ 224646 h 637350"/>
                <a:gd name="connsiteX1324" fmla="*/ 239990 w 1199950"/>
                <a:gd name="connsiteY1324" fmla="*/ 226220 h 637350"/>
                <a:gd name="connsiteX1325" fmla="*/ 243531 w 1199950"/>
                <a:gd name="connsiteY1325" fmla="*/ 227400 h 637350"/>
                <a:gd name="connsiteX1326" fmla="*/ 244318 w 1199950"/>
                <a:gd name="connsiteY1326" fmla="*/ 227400 h 637350"/>
                <a:gd name="connsiteX1327" fmla="*/ 244711 w 1199950"/>
                <a:gd name="connsiteY1327" fmla="*/ 228187 h 637350"/>
                <a:gd name="connsiteX1328" fmla="*/ 243924 w 1199950"/>
                <a:gd name="connsiteY1328" fmla="*/ 228581 h 637350"/>
                <a:gd name="connsiteX1329" fmla="*/ 245498 w 1199950"/>
                <a:gd name="connsiteY1329" fmla="*/ 229761 h 637350"/>
                <a:gd name="connsiteX1330" fmla="*/ 246678 w 1199950"/>
                <a:gd name="connsiteY1330" fmla="*/ 232515 h 637350"/>
                <a:gd name="connsiteX1331" fmla="*/ 246285 w 1199950"/>
                <a:gd name="connsiteY1331" fmla="*/ 232515 h 637350"/>
                <a:gd name="connsiteX1332" fmla="*/ 245892 w 1199950"/>
                <a:gd name="connsiteY1332" fmla="*/ 235269 h 637350"/>
                <a:gd name="connsiteX1333" fmla="*/ 247859 w 1199950"/>
                <a:gd name="connsiteY1333" fmla="*/ 235662 h 637350"/>
                <a:gd name="connsiteX1334" fmla="*/ 247859 w 1199950"/>
                <a:gd name="connsiteY1334" fmla="*/ 235662 h 637350"/>
                <a:gd name="connsiteX1335" fmla="*/ 245498 w 1199950"/>
                <a:gd name="connsiteY1335" fmla="*/ 236056 h 637350"/>
                <a:gd name="connsiteX1336" fmla="*/ 242351 w 1199950"/>
                <a:gd name="connsiteY1336" fmla="*/ 234482 h 637350"/>
                <a:gd name="connsiteX1337" fmla="*/ 239597 w 1199950"/>
                <a:gd name="connsiteY1337" fmla="*/ 236056 h 637350"/>
                <a:gd name="connsiteX1338" fmla="*/ 242351 w 1199950"/>
                <a:gd name="connsiteY1338" fmla="*/ 236449 h 637350"/>
                <a:gd name="connsiteX1339" fmla="*/ 239597 w 1199950"/>
                <a:gd name="connsiteY1339" fmla="*/ 237236 h 637350"/>
                <a:gd name="connsiteX1340" fmla="*/ 242351 w 1199950"/>
                <a:gd name="connsiteY1340" fmla="*/ 238416 h 637350"/>
                <a:gd name="connsiteX1341" fmla="*/ 245105 w 1199950"/>
                <a:gd name="connsiteY1341" fmla="*/ 239597 h 637350"/>
                <a:gd name="connsiteX1342" fmla="*/ 246285 w 1199950"/>
                <a:gd name="connsiteY1342" fmla="*/ 242351 h 637350"/>
                <a:gd name="connsiteX1343" fmla="*/ 249039 w 1199950"/>
                <a:gd name="connsiteY1343" fmla="*/ 243137 h 637350"/>
                <a:gd name="connsiteX1344" fmla="*/ 251793 w 1199950"/>
                <a:gd name="connsiteY1344" fmla="*/ 243531 h 637350"/>
                <a:gd name="connsiteX1345" fmla="*/ 252580 w 1199950"/>
                <a:gd name="connsiteY1345" fmla="*/ 245105 h 637350"/>
                <a:gd name="connsiteX1346" fmla="*/ 249826 w 1199950"/>
                <a:gd name="connsiteY1346" fmla="*/ 244318 h 637350"/>
                <a:gd name="connsiteX1347" fmla="*/ 246678 w 1199950"/>
                <a:gd name="connsiteY1347" fmla="*/ 245891 h 637350"/>
                <a:gd name="connsiteX1348" fmla="*/ 243531 w 1199950"/>
                <a:gd name="connsiteY1348" fmla="*/ 247859 h 637350"/>
                <a:gd name="connsiteX1349" fmla="*/ 246285 w 1199950"/>
                <a:gd name="connsiteY1349" fmla="*/ 248252 h 637350"/>
                <a:gd name="connsiteX1350" fmla="*/ 243138 w 1199950"/>
                <a:gd name="connsiteY1350" fmla="*/ 249432 h 637350"/>
                <a:gd name="connsiteX1351" fmla="*/ 239990 w 1199950"/>
                <a:gd name="connsiteY1351" fmla="*/ 251793 h 637350"/>
                <a:gd name="connsiteX1352" fmla="*/ 236449 w 1199950"/>
                <a:gd name="connsiteY1352" fmla="*/ 251399 h 637350"/>
                <a:gd name="connsiteX1353" fmla="*/ 239597 w 1199950"/>
                <a:gd name="connsiteY1353" fmla="*/ 252973 h 637350"/>
                <a:gd name="connsiteX1354" fmla="*/ 242351 w 1199950"/>
                <a:gd name="connsiteY1354" fmla="*/ 253760 h 637350"/>
                <a:gd name="connsiteX1355" fmla="*/ 245105 w 1199950"/>
                <a:gd name="connsiteY1355" fmla="*/ 254153 h 637350"/>
                <a:gd name="connsiteX1356" fmla="*/ 246678 w 1199950"/>
                <a:gd name="connsiteY1356" fmla="*/ 253760 h 637350"/>
                <a:gd name="connsiteX1357" fmla="*/ 242744 w 1199950"/>
                <a:gd name="connsiteY1357" fmla="*/ 260055 h 637350"/>
                <a:gd name="connsiteX1358" fmla="*/ 240777 w 1199950"/>
                <a:gd name="connsiteY1358" fmla="*/ 259268 h 637350"/>
                <a:gd name="connsiteX1359" fmla="*/ 237629 w 1199950"/>
                <a:gd name="connsiteY1359" fmla="*/ 260448 h 637350"/>
                <a:gd name="connsiteX1360" fmla="*/ 234482 w 1199950"/>
                <a:gd name="connsiteY1360" fmla="*/ 260842 h 637350"/>
                <a:gd name="connsiteX1361" fmla="*/ 231335 w 1199950"/>
                <a:gd name="connsiteY1361" fmla="*/ 261235 h 637350"/>
                <a:gd name="connsiteX1362" fmla="*/ 228187 w 1199950"/>
                <a:gd name="connsiteY1362" fmla="*/ 263596 h 637350"/>
                <a:gd name="connsiteX1363" fmla="*/ 225040 w 1199950"/>
                <a:gd name="connsiteY1363" fmla="*/ 263989 h 637350"/>
                <a:gd name="connsiteX1364" fmla="*/ 228187 w 1199950"/>
                <a:gd name="connsiteY1364" fmla="*/ 264382 h 637350"/>
                <a:gd name="connsiteX1365" fmla="*/ 230941 w 1199950"/>
                <a:gd name="connsiteY1365" fmla="*/ 265956 h 637350"/>
                <a:gd name="connsiteX1366" fmla="*/ 234089 w 1199950"/>
                <a:gd name="connsiteY1366" fmla="*/ 264776 h 637350"/>
                <a:gd name="connsiteX1367" fmla="*/ 237236 w 1199950"/>
                <a:gd name="connsiteY1367" fmla="*/ 263202 h 637350"/>
                <a:gd name="connsiteX1368" fmla="*/ 240383 w 1199950"/>
                <a:gd name="connsiteY1368" fmla="*/ 262809 h 637350"/>
                <a:gd name="connsiteX1369" fmla="*/ 241170 w 1199950"/>
                <a:gd name="connsiteY1369" fmla="*/ 262415 h 637350"/>
                <a:gd name="connsiteX1370" fmla="*/ 239990 w 1199950"/>
                <a:gd name="connsiteY1370" fmla="*/ 263989 h 637350"/>
                <a:gd name="connsiteX1371" fmla="*/ 239203 w 1199950"/>
                <a:gd name="connsiteY1371" fmla="*/ 263989 h 637350"/>
                <a:gd name="connsiteX1372" fmla="*/ 236056 w 1199950"/>
                <a:gd name="connsiteY1372" fmla="*/ 266350 h 637350"/>
                <a:gd name="connsiteX1373" fmla="*/ 238810 w 1199950"/>
                <a:gd name="connsiteY1373" fmla="*/ 265956 h 637350"/>
                <a:gd name="connsiteX1374" fmla="*/ 238416 w 1199950"/>
                <a:gd name="connsiteY1374" fmla="*/ 266743 h 637350"/>
                <a:gd name="connsiteX1375" fmla="*/ 236449 w 1199950"/>
                <a:gd name="connsiteY1375" fmla="*/ 266743 h 637350"/>
                <a:gd name="connsiteX1376" fmla="*/ 233302 w 1199950"/>
                <a:gd name="connsiteY1376" fmla="*/ 267530 h 637350"/>
                <a:gd name="connsiteX1377" fmla="*/ 236056 w 1199950"/>
                <a:gd name="connsiteY1377" fmla="*/ 267923 h 637350"/>
                <a:gd name="connsiteX1378" fmla="*/ 238023 w 1199950"/>
                <a:gd name="connsiteY1378" fmla="*/ 267136 h 637350"/>
                <a:gd name="connsiteX1379" fmla="*/ 236843 w 1199950"/>
                <a:gd name="connsiteY1379" fmla="*/ 269104 h 637350"/>
                <a:gd name="connsiteX1380" fmla="*/ 234089 w 1199950"/>
                <a:gd name="connsiteY1380" fmla="*/ 269104 h 637350"/>
                <a:gd name="connsiteX1381" fmla="*/ 230941 w 1199950"/>
                <a:gd name="connsiteY1381" fmla="*/ 268710 h 637350"/>
                <a:gd name="connsiteX1382" fmla="*/ 227794 w 1199950"/>
                <a:gd name="connsiteY1382" fmla="*/ 269104 h 637350"/>
                <a:gd name="connsiteX1383" fmla="*/ 224646 w 1199950"/>
                <a:gd name="connsiteY1383" fmla="*/ 270284 h 637350"/>
                <a:gd name="connsiteX1384" fmla="*/ 227794 w 1199950"/>
                <a:gd name="connsiteY1384" fmla="*/ 271858 h 637350"/>
                <a:gd name="connsiteX1385" fmla="*/ 230548 w 1199950"/>
                <a:gd name="connsiteY1385" fmla="*/ 270284 h 637350"/>
                <a:gd name="connsiteX1386" fmla="*/ 233302 w 1199950"/>
                <a:gd name="connsiteY1386" fmla="*/ 271858 h 637350"/>
                <a:gd name="connsiteX1387" fmla="*/ 234875 w 1199950"/>
                <a:gd name="connsiteY1387" fmla="*/ 271464 h 637350"/>
                <a:gd name="connsiteX1388" fmla="*/ 234482 w 1199950"/>
                <a:gd name="connsiteY1388" fmla="*/ 271858 h 637350"/>
                <a:gd name="connsiteX1389" fmla="*/ 232908 w 1199950"/>
                <a:gd name="connsiteY1389" fmla="*/ 271858 h 637350"/>
                <a:gd name="connsiteX1390" fmla="*/ 229761 w 1199950"/>
                <a:gd name="connsiteY1390" fmla="*/ 273038 h 637350"/>
                <a:gd name="connsiteX1391" fmla="*/ 226614 w 1199950"/>
                <a:gd name="connsiteY1391" fmla="*/ 273825 h 637350"/>
                <a:gd name="connsiteX1392" fmla="*/ 223860 w 1199950"/>
                <a:gd name="connsiteY1392" fmla="*/ 274218 h 637350"/>
                <a:gd name="connsiteX1393" fmla="*/ 220712 w 1199950"/>
                <a:gd name="connsiteY1393" fmla="*/ 275792 h 637350"/>
                <a:gd name="connsiteX1394" fmla="*/ 224253 w 1199950"/>
                <a:gd name="connsiteY1394" fmla="*/ 277759 h 637350"/>
                <a:gd name="connsiteX1395" fmla="*/ 227007 w 1199950"/>
                <a:gd name="connsiteY1395" fmla="*/ 276579 h 637350"/>
                <a:gd name="connsiteX1396" fmla="*/ 229761 w 1199950"/>
                <a:gd name="connsiteY1396" fmla="*/ 275005 h 637350"/>
                <a:gd name="connsiteX1397" fmla="*/ 232908 w 1199950"/>
                <a:gd name="connsiteY1397" fmla="*/ 273431 h 637350"/>
                <a:gd name="connsiteX1398" fmla="*/ 233302 w 1199950"/>
                <a:gd name="connsiteY1398" fmla="*/ 273038 h 637350"/>
                <a:gd name="connsiteX1399" fmla="*/ 230941 w 1199950"/>
                <a:gd name="connsiteY1399" fmla="*/ 276579 h 637350"/>
                <a:gd name="connsiteX1400" fmla="*/ 230154 w 1199950"/>
                <a:gd name="connsiteY1400" fmla="*/ 276972 h 637350"/>
                <a:gd name="connsiteX1401" fmla="*/ 227400 w 1199950"/>
                <a:gd name="connsiteY1401" fmla="*/ 278152 h 637350"/>
                <a:gd name="connsiteX1402" fmla="*/ 224253 w 1199950"/>
                <a:gd name="connsiteY1402" fmla="*/ 280513 h 637350"/>
                <a:gd name="connsiteX1403" fmla="*/ 221105 w 1199950"/>
                <a:gd name="connsiteY1403" fmla="*/ 280513 h 637350"/>
                <a:gd name="connsiteX1404" fmla="*/ 218352 w 1199950"/>
                <a:gd name="connsiteY1404" fmla="*/ 282480 h 637350"/>
                <a:gd name="connsiteX1405" fmla="*/ 221105 w 1199950"/>
                <a:gd name="connsiteY1405" fmla="*/ 283660 h 637350"/>
                <a:gd name="connsiteX1406" fmla="*/ 223860 w 1199950"/>
                <a:gd name="connsiteY1406" fmla="*/ 284054 h 637350"/>
                <a:gd name="connsiteX1407" fmla="*/ 227007 w 1199950"/>
                <a:gd name="connsiteY1407" fmla="*/ 283660 h 637350"/>
                <a:gd name="connsiteX1408" fmla="*/ 230154 w 1199950"/>
                <a:gd name="connsiteY1408" fmla="*/ 283660 h 637350"/>
                <a:gd name="connsiteX1409" fmla="*/ 232908 w 1199950"/>
                <a:gd name="connsiteY1409" fmla="*/ 282874 h 637350"/>
                <a:gd name="connsiteX1410" fmla="*/ 235662 w 1199950"/>
                <a:gd name="connsiteY1410" fmla="*/ 281300 h 637350"/>
                <a:gd name="connsiteX1411" fmla="*/ 237236 w 1199950"/>
                <a:gd name="connsiteY1411" fmla="*/ 281693 h 637350"/>
                <a:gd name="connsiteX1412" fmla="*/ 235662 w 1199950"/>
                <a:gd name="connsiteY1412" fmla="*/ 282087 h 637350"/>
                <a:gd name="connsiteX1413" fmla="*/ 230154 w 1199950"/>
                <a:gd name="connsiteY1413" fmla="*/ 284447 h 637350"/>
                <a:gd name="connsiteX1414" fmla="*/ 226614 w 1199950"/>
                <a:gd name="connsiteY1414" fmla="*/ 284841 h 637350"/>
                <a:gd name="connsiteX1415" fmla="*/ 223860 w 1199950"/>
                <a:gd name="connsiteY1415" fmla="*/ 284841 h 637350"/>
                <a:gd name="connsiteX1416" fmla="*/ 220712 w 1199950"/>
                <a:gd name="connsiteY1416" fmla="*/ 285234 h 637350"/>
                <a:gd name="connsiteX1417" fmla="*/ 217565 w 1199950"/>
                <a:gd name="connsiteY1417" fmla="*/ 287595 h 637350"/>
                <a:gd name="connsiteX1418" fmla="*/ 214417 w 1199950"/>
                <a:gd name="connsiteY1418" fmla="*/ 287988 h 637350"/>
                <a:gd name="connsiteX1419" fmla="*/ 211663 w 1199950"/>
                <a:gd name="connsiteY1419" fmla="*/ 288775 h 637350"/>
                <a:gd name="connsiteX1420" fmla="*/ 208516 w 1199950"/>
                <a:gd name="connsiteY1420" fmla="*/ 289168 h 637350"/>
                <a:gd name="connsiteX1421" fmla="*/ 205762 w 1199950"/>
                <a:gd name="connsiteY1421" fmla="*/ 290742 h 637350"/>
                <a:gd name="connsiteX1422" fmla="*/ 208516 w 1199950"/>
                <a:gd name="connsiteY1422" fmla="*/ 292316 h 637350"/>
                <a:gd name="connsiteX1423" fmla="*/ 208516 w 1199950"/>
                <a:gd name="connsiteY1423" fmla="*/ 295070 h 637350"/>
                <a:gd name="connsiteX1424" fmla="*/ 210090 w 1199950"/>
                <a:gd name="connsiteY1424" fmla="*/ 298217 h 637350"/>
                <a:gd name="connsiteX1425" fmla="*/ 213237 w 1199950"/>
                <a:gd name="connsiteY1425" fmla="*/ 299004 h 637350"/>
                <a:gd name="connsiteX1426" fmla="*/ 215991 w 1199950"/>
                <a:gd name="connsiteY1426" fmla="*/ 298611 h 637350"/>
                <a:gd name="connsiteX1427" fmla="*/ 214811 w 1199950"/>
                <a:gd name="connsiteY1427" fmla="*/ 295857 h 637350"/>
                <a:gd name="connsiteX1428" fmla="*/ 217565 w 1199950"/>
                <a:gd name="connsiteY1428" fmla="*/ 297824 h 637350"/>
                <a:gd name="connsiteX1429" fmla="*/ 220319 w 1199950"/>
                <a:gd name="connsiteY1429" fmla="*/ 299397 h 637350"/>
                <a:gd name="connsiteX1430" fmla="*/ 223073 w 1199950"/>
                <a:gd name="connsiteY1430" fmla="*/ 299791 h 637350"/>
                <a:gd name="connsiteX1431" fmla="*/ 226614 w 1199950"/>
                <a:gd name="connsiteY1431" fmla="*/ 299397 h 637350"/>
                <a:gd name="connsiteX1432" fmla="*/ 229368 w 1199950"/>
                <a:gd name="connsiteY1432" fmla="*/ 299397 h 637350"/>
                <a:gd name="connsiteX1433" fmla="*/ 232908 w 1199950"/>
                <a:gd name="connsiteY1433" fmla="*/ 299004 h 637350"/>
                <a:gd name="connsiteX1434" fmla="*/ 235662 w 1199950"/>
                <a:gd name="connsiteY1434" fmla="*/ 298611 h 637350"/>
                <a:gd name="connsiteX1435" fmla="*/ 240383 w 1199950"/>
                <a:gd name="connsiteY1435" fmla="*/ 299397 h 637350"/>
                <a:gd name="connsiteX1436" fmla="*/ 243138 w 1199950"/>
                <a:gd name="connsiteY1436" fmla="*/ 299004 h 637350"/>
                <a:gd name="connsiteX1437" fmla="*/ 246285 w 1199950"/>
                <a:gd name="connsiteY1437" fmla="*/ 297037 h 637350"/>
                <a:gd name="connsiteX1438" fmla="*/ 244318 w 1199950"/>
                <a:gd name="connsiteY1438" fmla="*/ 294283 h 637350"/>
                <a:gd name="connsiteX1439" fmla="*/ 245105 w 1199950"/>
                <a:gd name="connsiteY1439" fmla="*/ 291529 h 637350"/>
                <a:gd name="connsiteX1440" fmla="*/ 248252 w 1199950"/>
                <a:gd name="connsiteY1440" fmla="*/ 293889 h 637350"/>
                <a:gd name="connsiteX1441" fmla="*/ 251006 w 1199950"/>
                <a:gd name="connsiteY1441" fmla="*/ 293496 h 637350"/>
                <a:gd name="connsiteX1442" fmla="*/ 249826 w 1199950"/>
                <a:gd name="connsiteY1442" fmla="*/ 290742 h 637350"/>
                <a:gd name="connsiteX1443" fmla="*/ 252973 w 1199950"/>
                <a:gd name="connsiteY1443" fmla="*/ 290742 h 637350"/>
                <a:gd name="connsiteX1444" fmla="*/ 256121 w 1199950"/>
                <a:gd name="connsiteY1444" fmla="*/ 290349 h 637350"/>
                <a:gd name="connsiteX1445" fmla="*/ 258875 w 1199950"/>
                <a:gd name="connsiteY1445" fmla="*/ 289562 h 637350"/>
                <a:gd name="connsiteX1446" fmla="*/ 260055 w 1199950"/>
                <a:gd name="connsiteY1446" fmla="*/ 288775 h 637350"/>
                <a:gd name="connsiteX1447" fmla="*/ 262415 w 1199950"/>
                <a:gd name="connsiteY1447" fmla="*/ 289168 h 637350"/>
                <a:gd name="connsiteX1448" fmla="*/ 262415 w 1199950"/>
                <a:gd name="connsiteY1448" fmla="*/ 289562 h 637350"/>
                <a:gd name="connsiteX1449" fmla="*/ 263202 w 1199950"/>
                <a:gd name="connsiteY1449" fmla="*/ 289168 h 637350"/>
                <a:gd name="connsiteX1450" fmla="*/ 265956 w 1199950"/>
                <a:gd name="connsiteY1450" fmla="*/ 289955 h 637350"/>
                <a:gd name="connsiteX1451" fmla="*/ 263202 w 1199950"/>
                <a:gd name="connsiteY1451" fmla="*/ 291922 h 637350"/>
                <a:gd name="connsiteX1452" fmla="*/ 265956 w 1199950"/>
                <a:gd name="connsiteY1452" fmla="*/ 292316 h 637350"/>
                <a:gd name="connsiteX1453" fmla="*/ 275399 w 1199950"/>
                <a:gd name="connsiteY1453" fmla="*/ 292316 h 637350"/>
                <a:gd name="connsiteX1454" fmla="*/ 278546 w 1199950"/>
                <a:gd name="connsiteY1454" fmla="*/ 293889 h 637350"/>
                <a:gd name="connsiteX1455" fmla="*/ 281693 w 1199950"/>
                <a:gd name="connsiteY1455" fmla="*/ 294283 h 637350"/>
                <a:gd name="connsiteX1456" fmla="*/ 284054 w 1199950"/>
                <a:gd name="connsiteY1456" fmla="*/ 294283 h 637350"/>
                <a:gd name="connsiteX1457" fmla="*/ 287595 w 1199950"/>
                <a:gd name="connsiteY1457" fmla="*/ 295070 h 637350"/>
                <a:gd name="connsiteX1458" fmla="*/ 284841 w 1199950"/>
                <a:gd name="connsiteY1458" fmla="*/ 295463 h 637350"/>
                <a:gd name="connsiteX1459" fmla="*/ 281693 w 1199950"/>
                <a:gd name="connsiteY1459" fmla="*/ 295463 h 637350"/>
                <a:gd name="connsiteX1460" fmla="*/ 278546 w 1199950"/>
                <a:gd name="connsiteY1460" fmla="*/ 295857 h 637350"/>
                <a:gd name="connsiteX1461" fmla="*/ 275792 w 1199950"/>
                <a:gd name="connsiteY1461" fmla="*/ 296250 h 637350"/>
                <a:gd name="connsiteX1462" fmla="*/ 272644 w 1199950"/>
                <a:gd name="connsiteY1462" fmla="*/ 296643 h 637350"/>
                <a:gd name="connsiteX1463" fmla="*/ 269890 w 1199950"/>
                <a:gd name="connsiteY1463" fmla="*/ 297430 h 637350"/>
                <a:gd name="connsiteX1464" fmla="*/ 266743 w 1199950"/>
                <a:gd name="connsiteY1464" fmla="*/ 298611 h 637350"/>
                <a:gd name="connsiteX1465" fmla="*/ 263989 w 1199950"/>
                <a:gd name="connsiteY1465" fmla="*/ 300184 h 637350"/>
                <a:gd name="connsiteX1466" fmla="*/ 266743 w 1199950"/>
                <a:gd name="connsiteY1466" fmla="*/ 300578 h 637350"/>
                <a:gd name="connsiteX1467" fmla="*/ 269497 w 1199950"/>
                <a:gd name="connsiteY1467" fmla="*/ 300971 h 637350"/>
                <a:gd name="connsiteX1468" fmla="*/ 272644 w 1199950"/>
                <a:gd name="connsiteY1468" fmla="*/ 301365 h 637350"/>
                <a:gd name="connsiteX1469" fmla="*/ 275792 w 1199950"/>
                <a:gd name="connsiteY1469" fmla="*/ 300971 h 637350"/>
                <a:gd name="connsiteX1470" fmla="*/ 278546 w 1199950"/>
                <a:gd name="connsiteY1470" fmla="*/ 300578 h 637350"/>
                <a:gd name="connsiteX1471" fmla="*/ 281300 w 1199950"/>
                <a:gd name="connsiteY1471" fmla="*/ 299791 h 637350"/>
                <a:gd name="connsiteX1472" fmla="*/ 284447 w 1199950"/>
                <a:gd name="connsiteY1472" fmla="*/ 299397 h 637350"/>
                <a:gd name="connsiteX1473" fmla="*/ 287595 w 1199950"/>
                <a:gd name="connsiteY1473" fmla="*/ 299004 h 637350"/>
                <a:gd name="connsiteX1474" fmla="*/ 290349 w 1199950"/>
                <a:gd name="connsiteY1474" fmla="*/ 298611 h 637350"/>
                <a:gd name="connsiteX1475" fmla="*/ 293103 w 1199950"/>
                <a:gd name="connsiteY1475" fmla="*/ 298217 h 637350"/>
                <a:gd name="connsiteX1476" fmla="*/ 296250 w 1199950"/>
                <a:gd name="connsiteY1476" fmla="*/ 298217 h 637350"/>
                <a:gd name="connsiteX1477" fmla="*/ 299397 w 1199950"/>
                <a:gd name="connsiteY1477" fmla="*/ 298611 h 637350"/>
                <a:gd name="connsiteX1478" fmla="*/ 295463 w 1199950"/>
                <a:gd name="connsiteY1478" fmla="*/ 299791 h 637350"/>
                <a:gd name="connsiteX1479" fmla="*/ 293496 w 1199950"/>
                <a:gd name="connsiteY1479" fmla="*/ 299397 h 637350"/>
                <a:gd name="connsiteX1480" fmla="*/ 290349 w 1199950"/>
                <a:gd name="connsiteY1480" fmla="*/ 299791 h 637350"/>
                <a:gd name="connsiteX1481" fmla="*/ 287595 w 1199950"/>
                <a:gd name="connsiteY1481" fmla="*/ 300184 h 637350"/>
                <a:gd name="connsiteX1482" fmla="*/ 284447 w 1199950"/>
                <a:gd name="connsiteY1482" fmla="*/ 300578 h 637350"/>
                <a:gd name="connsiteX1483" fmla="*/ 281300 w 1199950"/>
                <a:gd name="connsiteY1483" fmla="*/ 301365 h 637350"/>
                <a:gd name="connsiteX1484" fmla="*/ 278546 w 1199950"/>
                <a:gd name="connsiteY1484" fmla="*/ 302151 h 637350"/>
                <a:gd name="connsiteX1485" fmla="*/ 276185 w 1199950"/>
                <a:gd name="connsiteY1485" fmla="*/ 304905 h 637350"/>
                <a:gd name="connsiteX1486" fmla="*/ 270677 w 1199950"/>
                <a:gd name="connsiteY1486" fmla="*/ 306479 h 637350"/>
                <a:gd name="connsiteX1487" fmla="*/ 269890 w 1199950"/>
                <a:gd name="connsiteY1487" fmla="*/ 306479 h 637350"/>
                <a:gd name="connsiteX1488" fmla="*/ 269890 w 1199950"/>
                <a:gd name="connsiteY1488" fmla="*/ 306479 h 637350"/>
                <a:gd name="connsiteX1489" fmla="*/ 228581 w 1199950"/>
                <a:gd name="connsiteY1489" fmla="*/ 315921 h 637350"/>
                <a:gd name="connsiteX1490" fmla="*/ 228187 w 1199950"/>
                <a:gd name="connsiteY1490" fmla="*/ 315921 h 637350"/>
                <a:gd name="connsiteX1491" fmla="*/ 225433 w 1199950"/>
                <a:gd name="connsiteY1491" fmla="*/ 316315 h 637350"/>
                <a:gd name="connsiteX1492" fmla="*/ 222286 w 1199950"/>
                <a:gd name="connsiteY1492" fmla="*/ 317495 h 637350"/>
                <a:gd name="connsiteX1493" fmla="*/ 219138 w 1199950"/>
                <a:gd name="connsiteY1493" fmla="*/ 318282 h 637350"/>
                <a:gd name="connsiteX1494" fmla="*/ 216385 w 1199950"/>
                <a:gd name="connsiteY1494" fmla="*/ 319856 h 637350"/>
                <a:gd name="connsiteX1495" fmla="*/ 219138 w 1199950"/>
                <a:gd name="connsiteY1495" fmla="*/ 322216 h 637350"/>
                <a:gd name="connsiteX1496" fmla="*/ 221499 w 1199950"/>
                <a:gd name="connsiteY1496" fmla="*/ 324970 h 637350"/>
                <a:gd name="connsiteX1497" fmla="*/ 224253 w 1199950"/>
                <a:gd name="connsiteY1497" fmla="*/ 327331 h 637350"/>
                <a:gd name="connsiteX1498" fmla="*/ 227794 w 1199950"/>
                <a:gd name="connsiteY1498" fmla="*/ 328118 h 637350"/>
                <a:gd name="connsiteX1499" fmla="*/ 230941 w 1199950"/>
                <a:gd name="connsiteY1499" fmla="*/ 328511 h 637350"/>
                <a:gd name="connsiteX1500" fmla="*/ 233695 w 1199950"/>
                <a:gd name="connsiteY1500" fmla="*/ 328904 h 637350"/>
                <a:gd name="connsiteX1501" fmla="*/ 236843 w 1199950"/>
                <a:gd name="connsiteY1501" fmla="*/ 329298 h 637350"/>
                <a:gd name="connsiteX1502" fmla="*/ 239990 w 1199950"/>
                <a:gd name="connsiteY1502" fmla="*/ 329298 h 637350"/>
                <a:gd name="connsiteX1503" fmla="*/ 242744 w 1199950"/>
                <a:gd name="connsiteY1503" fmla="*/ 330478 h 637350"/>
                <a:gd name="connsiteX1504" fmla="*/ 246285 w 1199950"/>
                <a:gd name="connsiteY1504" fmla="*/ 331265 h 637350"/>
                <a:gd name="connsiteX1505" fmla="*/ 249039 w 1199950"/>
                <a:gd name="connsiteY1505" fmla="*/ 332445 h 637350"/>
                <a:gd name="connsiteX1506" fmla="*/ 252186 w 1199950"/>
                <a:gd name="connsiteY1506" fmla="*/ 334806 h 637350"/>
                <a:gd name="connsiteX1507" fmla="*/ 254940 w 1199950"/>
                <a:gd name="connsiteY1507" fmla="*/ 337560 h 637350"/>
                <a:gd name="connsiteX1508" fmla="*/ 258088 w 1199950"/>
                <a:gd name="connsiteY1508" fmla="*/ 337953 h 637350"/>
                <a:gd name="connsiteX1509" fmla="*/ 260842 w 1199950"/>
                <a:gd name="connsiteY1509" fmla="*/ 337560 h 637350"/>
                <a:gd name="connsiteX1510" fmla="*/ 263989 w 1199950"/>
                <a:gd name="connsiteY1510" fmla="*/ 338740 h 637350"/>
                <a:gd name="connsiteX1511" fmla="*/ 270284 w 1199950"/>
                <a:gd name="connsiteY1511" fmla="*/ 338740 h 637350"/>
                <a:gd name="connsiteX1512" fmla="*/ 271071 w 1199950"/>
                <a:gd name="connsiteY1512" fmla="*/ 339133 h 637350"/>
                <a:gd name="connsiteX1513" fmla="*/ 271858 w 1199950"/>
                <a:gd name="connsiteY1513" fmla="*/ 340314 h 637350"/>
                <a:gd name="connsiteX1514" fmla="*/ 275005 w 1199950"/>
                <a:gd name="connsiteY1514" fmla="*/ 339133 h 637350"/>
                <a:gd name="connsiteX1515" fmla="*/ 279726 w 1199950"/>
                <a:gd name="connsiteY1515" fmla="*/ 339133 h 637350"/>
                <a:gd name="connsiteX1516" fmla="*/ 276579 w 1199950"/>
                <a:gd name="connsiteY1516" fmla="*/ 339920 h 637350"/>
                <a:gd name="connsiteX1517" fmla="*/ 279333 w 1199950"/>
                <a:gd name="connsiteY1517" fmla="*/ 340314 h 637350"/>
                <a:gd name="connsiteX1518" fmla="*/ 282480 w 1199950"/>
                <a:gd name="connsiteY1518" fmla="*/ 340314 h 637350"/>
                <a:gd name="connsiteX1519" fmla="*/ 287988 w 1199950"/>
                <a:gd name="connsiteY1519" fmla="*/ 339133 h 637350"/>
                <a:gd name="connsiteX1520" fmla="*/ 289562 w 1199950"/>
                <a:gd name="connsiteY1520" fmla="*/ 339133 h 637350"/>
                <a:gd name="connsiteX1521" fmla="*/ 298611 w 1199950"/>
                <a:gd name="connsiteY1521" fmla="*/ 339133 h 637350"/>
                <a:gd name="connsiteX1522" fmla="*/ 295857 w 1199950"/>
                <a:gd name="connsiteY1522" fmla="*/ 339920 h 637350"/>
                <a:gd name="connsiteX1523" fmla="*/ 292709 w 1199950"/>
                <a:gd name="connsiteY1523" fmla="*/ 341888 h 637350"/>
                <a:gd name="connsiteX1524" fmla="*/ 294676 w 1199950"/>
                <a:gd name="connsiteY1524" fmla="*/ 342674 h 637350"/>
                <a:gd name="connsiteX1525" fmla="*/ 291529 w 1199950"/>
                <a:gd name="connsiteY1525" fmla="*/ 345428 h 637350"/>
                <a:gd name="connsiteX1526" fmla="*/ 289562 w 1199950"/>
                <a:gd name="connsiteY1526" fmla="*/ 345035 h 637350"/>
                <a:gd name="connsiteX1527" fmla="*/ 286414 w 1199950"/>
                <a:gd name="connsiteY1527" fmla="*/ 346215 h 637350"/>
                <a:gd name="connsiteX1528" fmla="*/ 283267 w 1199950"/>
                <a:gd name="connsiteY1528" fmla="*/ 348576 h 637350"/>
                <a:gd name="connsiteX1529" fmla="*/ 286414 w 1199950"/>
                <a:gd name="connsiteY1529" fmla="*/ 348182 h 637350"/>
                <a:gd name="connsiteX1530" fmla="*/ 287595 w 1199950"/>
                <a:gd name="connsiteY1530" fmla="*/ 348969 h 637350"/>
                <a:gd name="connsiteX1531" fmla="*/ 286808 w 1199950"/>
                <a:gd name="connsiteY1531" fmla="*/ 349756 h 637350"/>
                <a:gd name="connsiteX1532" fmla="*/ 286414 w 1199950"/>
                <a:gd name="connsiteY1532" fmla="*/ 349756 h 637350"/>
                <a:gd name="connsiteX1533" fmla="*/ 283267 w 1199950"/>
                <a:gd name="connsiteY1533" fmla="*/ 349363 h 637350"/>
                <a:gd name="connsiteX1534" fmla="*/ 280119 w 1199950"/>
                <a:gd name="connsiteY1534" fmla="*/ 350543 h 637350"/>
                <a:gd name="connsiteX1535" fmla="*/ 279333 w 1199950"/>
                <a:gd name="connsiteY1535" fmla="*/ 353297 h 637350"/>
                <a:gd name="connsiteX1536" fmla="*/ 283267 w 1199950"/>
                <a:gd name="connsiteY1536" fmla="*/ 353297 h 637350"/>
                <a:gd name="connsiteX1537" fmla="*/ 282480 w 1199950"/>
                <a:gd name="connsiteY1537" fmla="*/ 354084 h 637350"/>
                <a:gd name="connsiteX1538" fmla="*/ 281693 w 1199950"/>
                <a:gd name="connsiteY1538" fmla="*/ 353690 h 637350"/>
                <a:gd name="connsiteX1539" fmla="*/ 278546 w 1199950"/>
                <a:gd name="connsiteY1539" fmla="*/ 354084 h 637350"/>
                <a:gd name="connsiteX1540" fmla="*/ 275399 w 1199950"/>
                <a:gd name="connsiteY1540" fmla="*/ 356444 h 637350"/>
                <a:gd name="connsiteX1541" fmla="*/ 274218 w 1199950"/>
                <a:gd name="connsiteY1541" fmla="*/ 359198 h 637350"/>
                <a:gd name="connsiteX1542" fmla="*/ 271464 w 1199950"/>
                <a:gd name="connsiteY1542" fmla="*/ 359592 h 637350"/>
                <a:gd name="connsiteX1543" fmla="*/ 268710 w 1199950"/>
                <a:gd name="connsiteY1543" fmla="*/ 361559 h 637350"/>
                <a:gd name="connsiteX1544" fmla="*/ 271464 w 1199950"/>
                <a:gd name="connsiteY1544" fmla="*/ 361952 h 637350"/>
                <a:gd name="connsiteX1545" fmla="*/ 273431 w 1199950"/>
                <a:gd name="connsiteY1545" fmla="*/ 361952 h 637350"/>
                <a:gd name="connsiteX1546" fmla="*/ 271464 w 1199950"/>
                <a:gd name="connsiteY1546" fmla="*/ 363919 h 637350"/>
                <a:gd name="connsiteX1547" fmla="*/ 269104 w 1199950"/>
                <a:gd name="connsiteY1547" fmla="*/ 363526 h 637350"/>
                <a:gd name="connsiteX1548" fmla="*/ 266350 w 1199950"/>
                <a:gd name="connsiteY1548" fmla="*/ 364706 h 637350"/>
                <a:gd name="connsiteX1549" fmla="*/ 265563 w 1199950"/>
                <a:gd name="connsiteY1549" fmla="*/ 367460 h 637350"/>
                <a:gd name="connsiteX1550" fmla="*/ 263989 w 1199950"/>
                <a:gd name="connsiteY1550" fmla="*/ 370608 h 637350"/>
                <a:gd name="connsiteX1551" fmla="*/ 263596 w 1199950"/>
                <a:gd name="connsiteY1551" fmla="*/ 371001 h 637350"/>
                <a:gd name="connsiteX1552" fmla="*/ 260448 w 1199950"/>
                <a:gd name="connsiteY1552" fmla="*/ 371788 h 637350"/>
                <a:gd name="connsiteX1553" fmla="*/ 260055 w 1199950"/>
                <a:gd name="connsiteY1553" fmla="*/ 372181 h 637350"/>
                <a:gd name="connsiteX1554" fmla="*/ 241170 w 1199950"/>
                <a:gd name="connsiteY1554" fmla="*/ 379656 h 637350"/>
                <a:gd name="connsiteX1555" fmla="*/ 240383 w 1199950"/>
                <a:gd name="connsiteY1555" fmla="*/ 379263 h 637350"/>
                <a:gd name="connsiteX1556" fmla="*/ 238023 w 1199950"/>
                <a:gd name="connsiteY1556" fmla="*/ 379656 h 637350"/>
                <a:gd name="connsiteX1557" fmla="*/ 240777 w 1199950"/>
                <a:gd name="connsiteY1557" fmla="*/ 378870 h 637350"/>
                <a:gd name="connsiteX1558" fmla="*/ 243531 w 1199950"/>
                <a:gd name="connsiteY1558" fmla="*/ 377689 h 637350"/>
                <a:gd name="connsiteX1559" fmla="*/ 243138 w 1199950"/>
                <a:gd name="connsiteY1559" fmla="*/ 377689 h 637350"/>
                <a:gd name="connsiteX1560" fmla="*/ 240383 w 1199950"/>
                <a:gd name="connsiteY1560" fmla="*/ 378476 h 637350"/>
                <a:gd name="connsiteX1561" fmla="*/ 237629 w 1199950"/>
                <a:gd name="connsiteY1561" fmla="*/ 377689 h 637350"/>
                <a:gd name="connsiteX1562" fmla="*/ 234482 w 1199950"/>
                <a:gd name="connsiteY1562" fmla="*/ 378083 h 637350"/>
                <a:gd name="connsiteX1563" fmla="*/ 231335 w 1199950"/>
                <a:gd name="connsiteY1563" fmla="*/ 379656 h 637350"/>
                <a:gd name="connsiteX1564" fmla="*/ 234875 w 1199950"/>
                <a:gd name="connsiteY1564" fmla="*/ 379656 h 637350"/>
                <a:gd name="connsiteX1565" fmla="*/ 237629 w 1199950"/>
                <a:gd name="connsiteY1565" fmla="*/ 380050 h 637350"/>
                <a:gd name="connsiteX1566" fmla="*/ 234875 w 1199950"/>
                <a:gd name="connsiteY1566" fmla="*/ 380050 h 637350"/>
                <a:gd name="connsiteX1567" fmla="*/ 231728 w 1199950"/>
                <a:gd name="connsiteY1567" fmla="*/ 380443 h 637350"/>
                <a:gd name="connsiteX1568" fmla="*/ 228581 w 1199950"/>
                <a:gd name="connsiteY1568" fmla="*/ 380837 h 637350"/>
                <a:gd name="connsiteX1569" fmla="*/ 225433 w 1199950"/>
                <a:gd name="connsiteY1569" fmla="*/ 382017 h 637350"/>
                <a:gd name="connsiteX1570" fmla="*/ 228187 w 1199950"/>
                <a:gd name="connsiteY1570" fmla="*/ 382017 h 637350"/>
                <a:gd name="connsiteX1571" fmla="*/ 225433 w 1199950"/>
                <a:gd name="connsiteY1571" fmla="*/ 383591 h 637350"/>
                <a:gd name="connsiteX1572" fmla="*/ 222286 w 1199950"/>
                <a:gd name="connsiteY1572" fmla="*/ 383984 h 637350"/>
                <a:gd name="connsiteX1573" fmla="*/ 219138 w 1199950"/>
                <a:gd name="connsiteY1573" fmla="*/ 384378 h 637350"/>
                <a:gd name="connsiteX1574" fmla="*/ 216385 w 1199950"/>
                <a:gd name="connsiteY1574" fmla="*/ 385951 h 637350"/>
                <a:gd name="connsiteX1575" fmla="*/ 213237 w 1199950"/>
                <a:gd name="connsiteY1575" fmla="*/ 386345 h 637350"/>
                <a:gd name="connsiteX1576" fmla="*/ 210090 w 1199950"/>
                <a:gd name="connsiteY1576" fmla="*/ 386738 h 637350"/>
                <a:gd name="connsiteX1577" fmla="*/ 206942 w 1199950"/>
                <a:gd name="connsiteY1577" fmla="*/ 387918 h 637350"/>
                <a:gd name="connsiteX1578" fmla="*/ 209696 w 1199950"/>
                <a:gd name="connsiteY1578" fmla="*/ 387918 h 637350"/>
                <a:gd name="connsiteX1579" fmla="*/ 212450 w 1199950"/>
                <a:gd name="connsiteY1579" fmla="*/ 387525 h 637350"/>
                <a:gd name="connsiteX1580" fmla="*/ 215598 w 1199950"/>
                <a:gd name="connsiteY1580" fmla="*/ 387132 h 637350"/>
                <a:gd name="connsiteX1581" fmla="*/ 218352 w 1199950"/>
                <a:gd name="connsiteY1581" fmla="*/ 386345 h 637350"/>
                <a:gd name="connsiteX1582" fmla="*/ 221892 w 1199950"/>
                <a:gd name="connsiteY1582" fmla="*/ 386738 h 637350"/>
                <a:gd name="connsiteX1583" fmla="*/ 218352 w 1199950"/>
                <a:gd name="connsiteY1583" fmla="*/ 387132 h 637350"/>
                <a:gd name="connsiteX1584" fmla="*/ 215991 w 1199950"/>
                <a:gd name="connsiteY1584" fmla="*/ 389099 h 637350"/>
                <a:gd name="connsiteX1585" fmla="*/ 210483 w 1199950"/>
                <a:gd name="connsiteY1585" fmla="*/ 391459 h 637350"/>
                <a:gd name="connsiteX1586" fmla="*/ 207729 w 1199950"/>
                <a:gd name="connsiteY1586" fmla="*/ 390279 h 637350"/>
                <a:gd name="connsiteX1587" fmla="*/ 204582 w 1199950"/>
                <a:gd name="connsiteY1587" fmla="*/ 390672 h 637350"/>
                <a:gd name="connsiteX1588" fmla="*/ 201828 w 1199950"/>
                <a:gd name="connsiteY1588" fmla="*/ 391066 h 637350"/>
                <a:gd name="connsiteX1589" fmla="*/ 207729 w 1199950"/>
                <a:gd name="connsiteY1589" fmla="*/ 391066 h 637350"/>
                <a:gd name="connsiteX1590" fmla="*/ 208909 w 1199950"/>
                <a:gd name="connsiteY1590" fmla="*/ 393820 h 637350"/>
                <a:gd name="connsiteX1591" fmla="*/ 211663 w 1199950"/>
                <a:gd name="connsiteY1591" fmla="*/ 395787 h 637350"/>
                <a:gd name="connsiteX1592" fmla="*/ 214811 w 1199950"/>
                <a:gd name="connsiteY1592" fmla="*/ 396574 h 637350"/>
                <a:gd name="connsiteX1593" fmla="*/ 217565 w 1199950"/>
                <a:gd name="connsiteY1593" fmla="*/ 396967 h 637350"/>
                <a:gd name="connsiteX1594" fmla="*/ 220319 w 1199950"/>
                <a:gd name="connsiteY1594" fmla="*/ 396967 h 637350"/>
                <a:gd name="connsiteX1595" fmla="*/ 223466 w 1199950"/>
                <a:gd name="connsiteY1595" fmla="*/ 397361 h 637350"/>
                <a:gd name="connsiteX1596" fmla="*/ 226220 w 1199950"/>
                <a:gd name="connsiteY1596" fmla="*/ 397361 h 637350"/>
                <a:gd name="connsiteX1597" fmla="*/ 223073 w 1199950"/>
                <a:gd name="connsiteY1597" fmla="*/ 397754 h 637350"/>
                <a:gd name="connsiteX1598" fmla="*/ 220319 w 1199950"/>
                <a:gd name="connsiteY1598" fmla="*/ 397361 h 637350"/>
                <a:gd name="connsiteX1599" fmla="*/ 217565 w 1199950"/>
                <a:gd name="connsiteY1599" fmla="*/ 396967 h 637350"/>
                <a:gd name="connsiteX1600" fmla="*/ 214417 w 1199950"/>
                <a:gd name="connsiteY1600" fmla="*/ 396967 h 637350"/>
                <a:gd name="connsiteX1601" fmla="*/ 211663 w 1199950"/>
                <a:gd name="connsiteY1601" fmla="*/ 395787 h 637350"/>
                <a:gd name="connsiteX1602" fmla="*/ 208516 w 1199950"/>
                <a:gd name="connsiteY1602" fmla="*/ 394213 h 637350"/>
                <a:gd name="connsiteX1603" fmla="*/ 205762 w 1199950"/>
                <a:gd name="connsiteY1603" fmla="*/ 394607 h 637350"/>
                <a:gd name="connsiteX1604" fmla="*/ 202615 w 1199950"/>
                <a:gd name="connsiteY1604" fmla="*/ 395000 h 637350"/>
                <a:gd name="connsiteX1605" fmla="*/ 205762 w 1199950"/>
                <a:gd name="connsiteY1605" fmla="*/ 395787 h 637350"/>
                <a:gd name="connsiteX1606" fmla="*/ 208516 w 1199950"/>
                <a:gd name="connsiteY1606" fmla="*/ 395787 h 637350"/>
                <a:gd name="connsiteX1607" fmla="*/ 205762 w 1199950"/>
                <a:gd name="connsiteY1607" fmla="*/ 396180 h 637350"/>
                <a:gd name="connsiteX1608" fmla="*/ 202615 w 1199950"/>
                <a:gd name="connsiteY1608" fmla="*/ 396574 h 637350"/>
                <a:gd name="connsiteX1609" fmla="*/ 199861 w 1199950"/>
                <a:gd name="connsiteY1609" fmla="*/ 397754 h 637350"/>
                <a:gd name="connsiteX1610" fmla="*/ 203008 w 1199950"/>
                <a:gd name="connsiteY1610" fmla="*/ 398147 h 637350"/>
                <a:gd name="connsiteX1611" fmla="*/ 200254 w 1199950"/>
                <a:gd name="connsiteY1611" fmla="*/ 399721 h 637350"/>
                <a:gd name="connsiteX1612" fmla="*/ 197107 w 1199950"/>
                <a:gd name="connsiteY1612" fmla="*/ 398541 h 637350"/>
                <a:gd name="connsiteX1613" fmla="*/ 198680 w 1199950"/>
                <a:gd name="connsiteY1613" fmla="*/ 401295 h 637350"/>
                <a:gd name="connsiteX1614" fmla="*/ 195926 w 1199950"/>
                <a:gd name="connsiteY1614" fmla="*/ 401688 h 637350"/>
                <a:gd name="connsiteX1615" fmla="*/ 192779 w 1199950"/>
                <a:gd name="connsiteY1615" fmla="*/ 400508 h 637350"/>
                <a:gd name="connsiteX1616" fmla="*/ 190025 w 1199950"/>
                <a:gd name="connsiteY1616" fmla="*/ 400901 h 637350"/>
                <a:gd name="connsiteX1617" fmla="*/ 190812 w 1199950"/>
                <a:gd name="connsiteY1617" fmla="*/ 402475 h 637350"/>
                <a:gd name="connsiteX1618" fmla="*/ 187664 w 1199950"/>
                <a:gd name="connsiteY1618" fmla="*/ 402082 h 637350"/>
                <a:gd name="connsiteX1619" fmla="*/ 188058 w 1199950"/>
                <a:gd name="connsiteY1619" fmla="*/ 404836 h 637350"/>
                <a:gd name="connsiteX1620" fmla="*/ 190418 w 1199950"/>
                <a:gd name="connsiteY1620" fmla="*/ 402475 h 637350"/>
                <a:gd name="connsiteX1621" fmla="*/ 191205 w 1199950"/>
                <a:gd name="connsiteY1621" fmla="*/ 404049 h 637350"/>
                <a:gd name="connsiteX1622" fmla="*/ 188451 w 1199950"/>
                <a:gd name="connsiteY1622" fmla="*/ 405623 h 637350"/>
                <a:gd name="connsiteX1623" fmla="*/ 185304 w 1199950"/>
                <a:gd name="connsiteY1623" fmla="*/ 406803 h 637350"/>
                <a:gd name="connsiteX1624" fmla="*/ 184910 w 1199950"/>
                <a:gd name="connsiteY1624" fmla="*/ 409950 h 637350"/>
                <a:gd name="connsiteX1625" fmla="*/ 188058 w 1199950"/>
                <a:gd name="connsiteY1625" fmla="*/ 409557 h 637350"/>
                <a:gd name="connsiteX1626" fmla="*/ 190812 w 1199950"/>
                <a:gd name="connsiteY1626" fmla="*/ 408377 h 637350"/>
                <a:gd name="connsiteX1627" fmla="*/ 193959 w 1199950"/>
                <a:gd name="connsiteY1627" fmla="*/ 407590 h 637350"/>
                <a:gd name="connsiteX1628" fmla="*/ 196713 w 1199950"/>
                <a:gd name="connsiteY1628" fmla="*/ 406016 h 637350"/>
                <a:gd name="connsiteX1629" fmla="*/ 199861 w 1199950"/>
                <a:gd name="connsiteY1629" fmla="*/ 404442 h 637350"/>
                <a:gd name="connsiteX1630" fmla="*/ 203008 w 1199950"/>
                <a:gd name="connsiteY1630" fmla="*/ 402869 h 637350"/>
                <a:gd name="connsiteX1631" fmla="*/ 205762 w 1199950"/>
                <a:gd name="connsiteY1631" fmla="*/ 402475 h 637350"/>
                <a:gd name="connsiteX1632" fmla="*/ 208909 w 1199950"/>
                <a:gd name="connsiteY1632" fmla="*/ 401688 h 637350"/>
                <a:gd name="connsiteX1633" fmla="*/ 211663 w 1199950"/>
                <a:gd name="connsiteY1633" fmla="*/ 401688 h 637350"/>
                <a:gd name="connsiteX1634" fmla="*/ 214811 w 1199950"/>
                <a:gd name="connsiteY1634" fmla="*/ 401295 h 637350"/>
                <a:gd name="connsiteX1635" fmla="*/ 217565 w 1199950"/>
                <a:gd name="connsiteY1635" fmla="*/ 400508 h 637350"/>
                <a:gd name="connsiteX1636" fmla="*/ 220712 w 1199950"/>
                <a:gd name="connsiteY1636" fmla="*/ 399328 h 637350"/>
                <a:gd name="connsiteX1637" fmla="*/ 223466 w 1199950"/>
                <a:gd name="connsiteY1637" fmla="*/ 398934 h 637350"/>
                <a:gd name="connsiteX1638" fmla="*/ 226614 w 1199950"/>
                <a:gd name="connsiteY1638" fmla="*/ 398934 h 637350"/>
                <a:gd name="connsiteX1639" fmla="*/ 229368 w 1199950"/>
                <a:gd name="connsiteY1639" fmla="*/ 398541 h 637350"/>
                <a:gd name="connsiteX1640" fmla="*/ 230154 w 1199950"/>
                <a:gd name="connsiteY1640" fmla="*/ 398147 h 637350"/>
                <a:gd name="connsiteX1641" fmla="*/ 231335 w 1199950"/>
                <a:gd name="connsiteY1641" fmla="*/ 398541 h 637350"/>
                <a:gd name="connsiteX1642" fmla="*/ 229368 w 1199950"/>
                <a:gd name="connsiteY1642" fmla="*/ 399328 h 637350"/>
                <a:gd name="connsiteX1643" fmla="*/ 223466 w 1199950"/>
                <a:gd name="connsiteY1643" fmla="*/ 399328 h 637350"/>
                <a:gd name="connsiteX1644" fmla="*/ 220712 w 1199950"/>
                <a:gd name="connsiteY1644" fmla="*/ 400115 h 637350"/>
                <a:gd name="connsiteX1645" fmla="*/ 223860 w 1199950"/>
                <a:gd name="connsiteY1645" fmla="*/ 402475 h 637350"/>
                <a:gd name="connsiteX1646" fmla="*/ 226614 w 1199950"/>
                <a:gd name="connsiteY1646" fmla="*/ 402869 h 637350"/>
                <a:gd name="connsiteX1647" fmla="*/ 229368 w 1199950"/>
                <a:gd name="connsiteY1647" fmla="*/ 402475 h 637350"/>
                <a:gd name="connsiteX1648" fmla="*/ 232515 w 1199950"/>
                <a:gd name="connsiteY1648" fmla="*/ 401688 h 637350"/>
                <a:gd name="connsiteX1649" fmla="*/ 229368 w 1199950"/>
                <a:gd name="connsiteY1649" fmla="*/ 403262 h 637350"/>
                <a:gd name="connsiteX1650" fmla="*/ 232515 w 1199950"/>
                <a:gd name="connsiteY1650" fmla="*/ 404442 h 637350"/>
                <a:gd name="connsiteX1651" fmla="*/ 235269 w 1199950"/>
                <a:gd name="connsiteY1651" fmla="*/ 402869 h 637350"/>
                <a:gd name="connsiteX1652" fmla="*/ 238023 w 1199950"/>
                <a:gd name="connsiteY1652" fmla="*/ 403262 h 637350"/>
                <a:gd name="connsiteX1653" fmla="*/ 240383 w 1199950"/>
                <a:gd name="connsiteY1653" fmla="*/ 402082 h 637350"/>
                <a:gd name="connsiteX1654" fmla="*/ 245892 w 1199950"/>
                <a:gd name="connsiteY1654" fmla="*/ 404049 h 637350"/>
                <a:gd name="connsiteX1655" fmla="*/ 240777 w 1199950"/>
                <a:gd name="connsiteY1655" fmla="*/ 404049 h 637350"/>
                <a:gd name="connsiteX1656" fmla="*/ 243531 w 1199950"/>
                <a:gd name="connsiteY1656" fmla="*/ 405623 h 637350"/>
                <a:gd name="connsiteX1657" fmla="*/ 246285 w 1199950"/>
                <a:gd name="connsiteY1657" fmla="*/ 406016 h 637350"/>
                <a:gd name="connsiteX1658" fmla="*/ 249039 w 1199950"/>
                <a:gd name="connsiteY1658" fmla="*/ 406409 h 637350"/>
                <a:gd name="connsiteX1659" fmla="*/ 252186 w 1199950"/>
                <a:gd name="connsiteY1659" fmla="*/ 406016 h 637350"/>
                <a:gd name="connsiteX1660" fmla="*/ 255334 w 1199950"/>
                <a:gd name="connsiteY1660" fmla="*/ 405623 h 637350"/>
                <a:gd name="connsiteX1661" fmla="*/ 254153 w 1199950"/>
                <a:gd name="connsiteY1661" fmla="*/ 406016 h 637350"/>
                <a:gd name="connsiteX1662" fmla="*/ 251399 w 1199950"/>
                <a:gd name="connsiteY1662" fmla="*/ 406409 h 637350"/>
                <a:gd name="connsiteX1663" fmla="*/ 248252 w 1199950"/>
                <a:gd name="connsiteY1663" fmla="*/ 407196 h 637350"/>
                <a:gd name="connsiteX1664" fmla="*/ 249432 w 1199950"/>
                <a:gd name="connsiteY1664" fmla="*/ 407983 h 637350"/>
                <a:gd name="connsiteX1665" fmla="*/ 247465 w 1199950"/>
                <a:gd name="connsiteY1665" fmla="*/ 408377 h 637350"/>
                <a:gd name="connsiteX1666" fmla="*/ 245105 w 1199950"/>
                <a:gd name="connsiteY1666" fmla="*/ 407196 h 637350"/>
                <a:gd name="connsiteX1667" fmla="*/ 241957 w 1199950"/>
                <a:gd name="connsiteY1667" fmla="*/ 406409 h 637350"/>
                <a:gd name="connsiteX1668" fmla="*/ 238810 w 1199950"/>
                <a:gd name="connsiteY1668" fmla="*/ 405229 h 637350"/>
                <a:gd name="connsiteX1669" fmla="*/ 236056 w 1199950"/>
                <a:gd name="connsiteY1669" fmla="*/ 405623 h 637350"/>
                <a:gd name="connsiteX1670" fmla="*/ 233302 w 1199950"/>
                <a:gd name="connsiteY1670" fmla="*/ 406016 h 637350"/>
                <a:gd name="connsiteX1671" fmla="*/ 230154 w 1199950"/>
                <a:gd name="connsiteY1671" fmla="*/ 406409 h 637350"/>
                <a:gd name="connsiteX1672" fmla="*/ 227007 w 1199950"/>
                <a:gd name="connsiteY1672" fmla="*/ 406409 h 637350"/>
                <a:gd name="connsiteX1673" fmla="*/ 224253 w 1199950"/>
                <a:gd name="connsiteY1673" fmla="*/ 404049 h 637350"/>
                <a:gd name="connsiteX1674" fmla="*/ 221499 w 1199950"/>
                <a:gd name="connsiteY1674" fmla="*/ 403655 h 637350"/>
                <a:gd name="connsiteX1675" fmla="*/ 218352 w 1199950"/>
                <a:gd name="connsiteY1675" fmla="*/ 403262 h 637350"/>
                <a:gd name="connsiteX1676" fmla="*/ 215598 w 1199950"/>
                <a:gd name="connsiteY1676" fmla="*/ 402475 h 637350"/>
                <a:gd name="connsiteX1677" fmla="*/ 212450 w 1199950"/>
                <a:gd name="connsiteY1677" fmla="*/ 402869 h 637350"/>
                <a:gd name="connsiteX1678" fmla="*/ 209696 w 1199950"/>
                <a:gd name="connsiteY1678" fmla="*/ 402869 h 637350"/>
                <a:gd name="connsiteX1679" fmla="*/ 212844 w 1199950"/>
                <a:gd name="connsiteY1679" fmla="*/ 403262 h 637350"/>
                <a:gd name="connsiteX1680" fmla="*/ 210090 w 1199950"/>
                <a:gd name="connsiteY1680" fmla="*/ 404049 h 637350"/>
                <a:gd name="connsiteX1681" fmla="*/ 206942 w 1199950"/>
                <a:gd name="connsiteY1681" fmla="*/ 403655 h 637350"/>
                <a:gd name="connsiteX1682" fmla="*/ 204188 w 1199950"/>
                <a:gd name="connsiteY1682" fmla="*/ 404049 h 637350"/>
                <a:gd name="connsiteX1683" fmla="*/ 201041 w 1199950"/>
                <a:gd name="connsiteY1683" fmla="*/ 405229 h 637350"/>
                <a:gd name="connsiteX1684" fmla="*/ 204188 w 1199950"/>
                <a:gd name="connsiteY1684" fmla="*/ 404836 h 637350"/>
                <a:gd name="connsiteX1685" fmla="*/ 201041 w 1199950"/>
                <a:gd name="connsiteY1685" fmla="*/ 406016 h 637350"/>
                <a:gd name="connsiteX1686" fmla="*/ 198287 w 1199950"/>
                <a:gd name="connsiteY1686" fmla="*/ 406803 h 637350"/>
                <a:gd name="connsiteX1687" fmla="*/ 195533 w 1199950"/>
                <a:gd name="connsiteY1687" fmla="*/ 408377 h 637350"/>
                <a:gd name="connsiteX1688" fmla="*/ 192779 w 1199950"/>
                <a:gd name="connsiteY1688" fmla="*/ 409163 h 637350"/>
                <a:gd name="connsiteX1689" fmla="*/ 189631 w 1199950"/>
                <a:gd name="connsiteY1689" fmla="*/ 409950 h 637350"/>
                <a:gd name="connsiteX1690" fmla="*/ 186484 w 1199950"/>
                <a:gd name="connsiteY1690" fmla="*/ 410737 h 637350"/>
                <a:gd name="connsiteX1691" fmla="*/ 183730 w 1199950"/>
                <a:gd name="connsiteY1691" fmla="*/ 411524 h 637350"/>
                <a:gd name="connsiteX1692" fmla="*/ 180976 w 1199950"/>
                <a:gd name="connsiteY1692" fmla="*/ 412704 h 637350"/>
                <a:gd name="connsiteX1693" fmla="*/ 178222 w 1199950"/>
                <a:gd name="connsiteY1693" fmla="*/ 415852 h 637350"/>
                <a:gd name="connsiteX1694" fmla="*/ 178222 w 1199950"/>
                <a:gd name="connsiteY1694" fmla="*/ 418606 h 637350"/>
                <a:gd name="connsiteX1695" fmla="*/ 180976 w 1199950"/>
                <a:gd name="connsiteY1695" fmla="*/ 418212 h 637350"/>
                <a:gd name="connsiteX1696" fmla="*/ 184124 w 1199950"/>
                <a:gd name="connsiteY1696" fmla="*/ 417425 h 637350"/>
                <a:gd name="connsiteX1697" fmla="*/ 187271 w 1199950"/>
                <a:gd name="connsiteY1697" fmla="*/ 417032 h 637350"/>
                <a:gd name="connsiteX1698" fmla="*/ 190025 w 1199950"/>
                <a:gd name="connsiteY1698" fmla="*/ 416639 h 637350"/>
                <a:gd name="connsiteX1699" fmla="*/ 193172 w 1199950"/>
                <a:gd name="connsiteY1699" fmla="*/ 415065 h 637350"/>
                <a:gd name="connsiteX1700" fmla="*/ 195926 w 1199950"/>
                <a:gd name="connsiteY1700" fmla="*/ 416639 h 637350"/>
                <a:gd name="connsiteX1701" fmla="*/ 199074 w 1199950"/>
                <a:gd name="connsiteY1701" fmla="*/ 416245 h 637350"/>
                <a:gd name="connsiteX1702" fmla="*/ 201828 w 1199950"/>
                <a:gd name="connsiteY1702" fmla="*/ 415852 h 637350"/>
                <a:gd name="connsiteX1703" fmla="*/ 204975 w 1199950"/>
                <a:gd name="connsiteY1703" fmla="*/ 415458 h 637350"/>
                <a:gd name="connsiteX1704" fmla="*/ 208122 w 1199950"/>
                <a:gd name="connsiteY1704" fmla="*/ 414671 h 637350"/>
                <a:gd name="connsiteX1705" fmla="*/ 211270 w 1199950"/>
                <a:gd name="connsiteY1705" fmla="*/ 414278 h 637350"/>
                <a:gd name="connsiteX1706" fmla="*/ 214024 w 1199950"/>
                <a:gd name="connsiteY1706" fmla="*/ 413884 h 637350"/>
                <a:gd name="connsiteX1707" fmla="*/ 215991 w 1199950"/>
                <a:gd name="connsiteY1707" fmla="*/ 413491 h 637350"/>
                <a:gd name="connsiteX1708" fmla="*/ 191598 w 1199950"/>
                <a:gd name="connsiteY1708" fmla="*/ 417425 h 637350"/>
                <a:gd name="connsiteX1709" fmla="*/ 188845 w 1199950"/>
                <a:gd name="connsiteY1709" fmla="*/ 417819 h 637350"/>
                <a:gd name="connsiteX1710" fmla="*/ 185304 w 1199950"/>
                <a:gd name="connsiteY1710" fmla="*/ 417819 h 637350"/>
                <a:gd name="connsiteX1711" fmla="*/ 182156 w 1199950"/>
                <a:gd name="connsiteY1711" fmla="*/ 418212 h 637350"/>
                <a:gd name="connsiteX1712" fmla="*/ 185304 w 1199950"/>
                <a:gd name="connsiteY1712" fmla="*/ 418606 h 637350"/>
                <a:gd name="connsiteX1713" fmla="*/ 182156 w 1199950"/>
                <a:gd name="connsiteY1713" fmla="*/ 418999 h 637350"/>
                <a:gd name="connsiteX1714" fmla="*/ 179402 w 1199950"/>
                <a:gd name="connsiteY1714" fmla="*/ 418999 h 637350"/>
                <a:gd name="connsiteX1715" fmla="*/ 176648 w 1199950"/>
                <a:gd name="connsiteY1715" fmla="*/ 419392 h 637350"/>
                <a:gd name="connsiteX1716" fmla="*/ 173894 w 1199950"/>
                <a:gd name="connsiteY1716" fmla="*/ 420966 h 637350"/>
                <a:gd name="connsiteX1717" fmla="*/ 176648 w 1199950"/>
                <a:gd name="connsiteY1717" fmla="*/ 422146 h 637350"/>
                <a:gd name="connsiteX1718" fmla="*/ 179402 w 1199950"/>
                <a:gd name="connsiteY1718" fmla="*/ 422540 h 637350"/>
                <a:gd name="connsiteX1719" fmla="*/ 182156 w 1199950"/>
                <a:gd name="connsiteY1719" fmla="*/ 422146 h 637350"/>
                <a:gd name="connsiteX1720" fmla="*/ 185304 w 1199950"/>
                <a:gd name="connsiteY1720" fmla="*/ 421753 h 637350"/>
                <a:gd name="connsiteX1721" fmla="*/ 182156 w 1199950"/>
                <a:gd name="connsiteY1721" fmla="*/ 422540 h 637350"/>
                <a:gd name="connsiteX1722" fmla="*/ 179402 w 1199950"/>
                <a:gd name="connsiteY1722" fmla="*/ 422933 h 637350"/>
                <a:gd name="connsiteX1723" fmla="*/ 176648 w 1199950"/>
                <a:gd name="connsiteY1723" fmla="*/ 422933 h 637350"/>
                <a:gd name="connsiteX1724" fmla="*/ 179402 w 1199950"/>
                <a:gd name="connsiteY1724" fmla="*/ 424507 h 637350"/>
                <a:gd name="connsiteX1725" fmla="*/ 182156 w 1199950"/>
                <a:gd name="connsiteY1725" fmla="*/ 424507 h 637350"/>
                <a:gd name="connsiteX1726" fmla="*/ 184910 w 1199950"/>
                <a:gd name="connsiteY1726" fmla="*/ 424900 h 637350"/>
                <a:gd name="connsiteX1727" fmla="*/ 184910 w 1199950"/>
                <a:gd name="connsiteY1727" fmla="*/ 424900 h 637350"/>
                <a:gd name="connsiteX1728" fmla="*/ 182156 w 1199950"/>
                <a:gd name="connsiteY1728" fmla="*/ 425294 h 637350"/>
                <a:gd name="connsiteX1729" fmla="*/ 179402 w 1199950"/>
                <a:gd name="connsiteY1729" fmla="*/ 425687 h 637350"/>
                <a:gd name="connsiteX1730" fmla="*/ 173501 w 1199950"/>
                <a:gd name="connsiteY1730" fmla="*/ 425687 h 637350"/>
                <a:gd name="connsiteX1731" fmla="*/ 176255 w 1199950"/>
                <a:gd name="connsiteY1731" fmla="*/ 426868 h 637350"/>
                <a:gd name="connsiteX1732" fmla="*/ 179402 w 1199950"/>
                <a:gd name="connsiteY1732" fmla="*/ 428048 h 637350"/>
                <a:gd name="connsiteX1733" fmla="*/ 182156 w 1199950"/>
                <a:gd name="connsiteY1733" fmla="*/ 428048 h 637350"/>
                <a:gd name="connsiteX1734" fmla="*/ 182943 w 1199950"/>
                <a:gd name="connsiteY1734" fmla="*/ 428048 h 637350"/>
                <a:gd name="connsiteX1735" fmla="*/ 182156 w 1199950"/>
                <a:gd name="connsiteY1735" fmla="*/ 429228 h 637350"/>
                <a:gd name="connsiteX1736" fmla="*/ 181763 w 1199950"/>
                <a:gd name="connsiteY1736" fmla="*/ 429228 h 637350"/>
                <a:gd name="connsiteX1737" fmla="*/ 178615 w 1199950"/>
                <a:gd name="connsiteY1737" fmla="*/ 431195 h 637350"/>
                <a:gd name="connsiteX1738" fmla="*/ 180976 w 1199950"/>
                <a:gd name="connsiteY1738" fmla="*/ 430802 h 637350"/>
                <a:gd name="connsiteX1739" fmla="*/ 173894 w 1199950"/>
                <a:gd name="connsiteY1739" fmla="*/ 439851 h 637350"/>
                <a:gd name="connsiteX1740" fmla="*/ 171141 w 1199950"/>
                <a:gd name="connsiteY1740" fmla="*/ 440244 h 637350"/>
                <a:gd name="connsiteX1741" fmla="*/ 169567 w 1199950"/>
                <a:gd name="connsiteY1741" fmla="*/ 442998 h 637350"/>
                <a:gd name="connsiteX1742" fmla="*/ 166419 w 1199950"/>
                <a:gd name="connsiteY1742" fmla="*/ 444965 h 637350"/>
                <a:gd name="connsiteX1743" fmla="*/ 167206 w 1199950"/>
                <a:gd name="connsiteY1743" fmla="*/ 447719 h 637350"/>
                <a:gd name="connsiteX1744" fmla="*/ 167993 w 1199950"/>
                <a:gd name="connsiteY1744" fmla="*/ 447719 h 637350"/>
                <a:gd name="connsiteX1745" fmla="*/ 165239 w 1199950"/>
                <a:gd name="connsiteY1745" fmla="*/ 451260 h 637350"/>
                <a:gd name="connsiteX1746" fmla="*/ 167993 w 1199950"/>
                <a:gd name="connsiteY1746" fmla="*/ 452047 h 637350"/>
                <a:gd name="connsiteX1747" fmla="*/ 170354 w 1199950"/>
                <a:gd name="connsiteY1747" fmla="*/ 451653 h 637350"/>
                <a:gd name="connsiteX1748" fmla="*/ 171927 w 1199950"/>
                <a:gd name="connsiteY1748" fmla="*/ 452047 h 637350"/>
                <a:gd name="connsiteX1749" fmla="*/ 170747 w 1199950"/>
                <a:gd name="connsiteY1749" fmla="*/ 452440 h 637350"/>
                <a:gd name="connsiteX1750" fmla="*/ 167600 w 1199950"/>
                <a:gd name="connsiteY1750" fmla="*/ 453621 h 637350"/>
                <a:gd name="connsiteX1751" fmla="*/ 170354 w 1199950"/>
                <a:gd name="connsiteY1751" fmla="*/ 454014 h 637350"/>
                <a:gd name="connsiteX1752" fmla="*/ 173501 w 1199950"/>
                <a:gd name="connsiteY1752" fmla="*/ 454407 h 637350"/>
                <a:gd name="connsiteX1753" fmla="*/ 170354 w 1199950"/>
                <a:gd name="connsiteY1753" fmla="*/ 455194 h 637350"/>
                <a:gd name="connsiteX1754" fmla="*/ 167600 w 1199950"/>
                <a:gd name="connsiteY1754" fmla="*/ 455194 h 637350"/>
                <a:gd name="connsiteX1755" fmla="*/ 170354 w 1199950"/>
                <a:gd name="connsiteY1755" fmla="*/ 456768 h 637350"/>
                <a:gd name="connsiteX1756" fmla="*/ 173108 w 1199950"/>
                <a:gd name="connsiteY1756" fmla="*/ 455981 h 637350"/>
                <a:gd name="connsiteX1757" fmla="*/ 175861 w 1199950"/>
                <a:gd name="connsiteY1757" fmla="*/ 455194 h 637350"/>
                <a:gd name="connsiteX1758" fmla="*/ 178615 w 1199950"/>
                <a:gd name="connsiteY1758" fmla="*/ 454407 h 637350"/>
                <a:gd name="connsiteX1759" fmla="*/ 175861 w 1199950"/>
                <a:gd name="connsiteY1759" fmla="*/ 455588 h 637350"/>
                <a:gd name="connsiteX1760" fmla="*/ 172714 w 1199950"/>
                <a:gd name="connsiteY1760" fmla="*/ 456768 h 637350"/>
                <a:gd name="connsiteX1761" fmla="*/ 169960 w 1199950"/>
                <a:gd name="connsiteY1761" fmla="*/ 457555 h 637350"/>
                <a:gd name="connsiteX1762" fmla="*/ 172714 w 1199950"/>
                <a:gd name="connsiteY1762" fmla="*/ 459129 h 637350"/>
                <a:gd name="connsiteX1763" fmla="*/ 175468 w 1199950"/>
                <a:gd name="connsiteY1763" fmla="*/ 458342 h 637350"/>
                <a:gd name="connsiteX1764" fmla="*/ 178615 w 1199950"/>
                <a:gd name="connsiteY1764" fmla="*/ 457948 h 637350"/>
                <a:gd name="connsiteX1765" fmla="*/ 181370 w 1199950"/>
                <a:gd name="connsiteY1765" fmla="*/ 455981 h 637350"/>
                <a:gd name="connsiteX1766" fmla="*/ 184124 w 1199950"/>
                <a:gd name="connsiteY1766" fmla="*/ 456375 h 637350"/>
                <a:gd name="connsiteX1767" fmla="*/ 187271 w 1199950"/>
                <a:gd name="connsiteY1767" fmla="*/ 455981 h 637350"/>
                <a:gd name="connsiteX1768" fmla="*/ 190025 w 1199950"/>
                <a:gd name="connsiteY1768" fmla="*/ 458735 h 637350"/>
                <a:gd name="connsiteX1769" fmla="*/ 192779 w 1199950"/>
                <a:gd name="connsiteY1769" fmla="*/ 456768 h 637350"/>
                <a:gd name="connsiteX1770" fmla="*/ 195926 w 1199950"/>
                <a:gd name="connsiteY1770" fmla="*/ 455981 h 637350"/>
                <a:gd name="connsiteX1771" fmla="*/ 196713 w 1199950"/>
                <a:gd name="connsiteY1771" fmla="*/ 455981 h 637350"/>
                <a:gd name="connsiteX1772" fmla="*/ 198287 w 1199950"/>
                <a:gd name="connsiteY1772" fmla="*/ 455981 h 637350"/>
                <a:gd name="connsiteX1773" fmla="*/ 195533 w 1199950"/>
                <a:gd name="connsiteY1773" fmla="*/ 456768 h 637350"/>
                <a:gd name="connsiteX1774" fmla="*/ 192779 w 1199950"/>
                <a:gd name="connsiteY1774" fmla="*/ 457948 h 637350"/>
                <a:gd name="connsiteX1775" fmla="*/ 190025 w 1199950"/>
                <a:gd name="connsiteY1775" fmla="*/ 460702 h 637350"/>
                <a:gd name="connsiteX1776" fmla="*/ 186878 w 1199950"/>
                <a:gd name="connsiteY1776" fmla="*/ 459129 h 637350"/>
                <a:gd name="connsiteX1777" fmla="*/ 184124 w 1199950"/>
                <a:gd name="connsiteY1777" fmla="*/ 458342 h 637350"/>
                <a:gd name="connsiteX1778" fmla="*/ 180976 w 1199950"/>
                <a:gd name="connsiteY1778" fmla="*/ 457948 h 637350"/>
                <a:gd name="connsiteX1779" fmla="*/ 178222 w 1199950"/>
                <a:gd name="connsiteY1779" fmla="*/ 459129 h 637350"/>
                <a:gd name="connsiteX1780" fmla="*/ 175468 w 1199950"/>
                <a:gd name="connsiteY1780" fmla="*/ 459522 h 637350"/>
                <a:gd name="connsiteX1781" fmla="*/ 172321 w 1199950"/>
                <a:gd name="connsiteY1781" fmla="*/ 461096 h 637350"/>
                <a:gd name="connsiteX1782" fmla="*/ 169173 w 1199950"/>
                <a:gd name="connsiteY1782" fmla="*/ 462669 h 637350"/>
                <a:gd name="connsiteX1783" fmla="*/ 172321 w 1199950"/>
                <a:gd name="connsiteY1783" fmla="*/ 463063 h 637350"/>
                <a:gd name="connsiteX1784" fmla="*/ 175468 w 1199950"/>
                <a:gd name="connsiteY1784" fmla="*/ 462276 h 637350"/>
                <a:gd name="connsiteX1785" fmla="*/ 172321 w 1199950"/>
                <a:gd name="connsiteY1785" fmla="*/ 463850 h 637350"/>
                <a:gd name="connsiteX1786" fmla="*/ 169173 w 1199950"/>
                <a:gd name="connsiteY1786" fmla="*/ 464243 h 637350"/>
                <a:gd name="connsiteX1787" fmla="*/ 172321 w 1199950"/>
                <a:gd name="connsiteY1787" fmla="*/ 465817 h 637350"/>
                <a:gd name="connsiteX1788" fmla="*/ 175075 w 1199950"/>
                <a:gd name="connsiteY1788" fmla="*/ 465423 h 637350"/>
                <a:gd name="connsiteX1789" fmla="*/ 177829 w 1199950"/>
                <a:gd name="connsiteY1789" fmla="*/ 464243 h 637350"/>
                <a:gd name="connsiteX1790" fmla="*/ 180583 w 1199950"/>
                <a:gd name="connsiteY1790" fmla="*/ 461883 h 637350"/>
                <a:gd name="connsiteX1791" fmla="*/ 179796 w 1199950"/>
                <a:gd name="connsiteY1791" fmla="*/ 464636 h 637350"/>
                <a:gd name="connsiteX1792" fmla="*/ 177042 w 1199950"/>
                <a:gd name="connsiteY1792" fmla="*/ 465817 h 637350"/>
                <a:gd name="connsiteX1793" fmla="*/ 180189 w 1199950"/>
                <a:gd name="connsiteY1793" fmla="*/ 465817 h 637350"/>
                <a:gd name="connsiteX1794" fmla="*/ 177435 w 1199950"/>
                <a:gd name="connsiteY1794" fmla="*/ 467390 h 637350"/>
                <a:gd name="connsiteX1795" fmla="*/ 174288 w 1199950"/>
                <a:gd name="connsiteY1795" fmla="*/ 469358 h 637350"/>
                <a:gd name="connsiteX1796" fmla="*/ 177042 w 1199950"/>
                <a:gd name="connsiteY1796" fmla="*/ 470144 h 637350"/>
                <a:gd name="connsiteX1797" fmla="*/ 180189 w 1199950"/>
                <a:gd name="connsiteY1797" fmla="*/ 468177 h 637350"/>
                <a:gd name="connsiteX1798" fmla="*/ 183337 w 1199950"/>
                <a:gd name="connsiteY1798" fmla="*/ 465817 h 637350"/>
                <a:gd name="connsiteX1799" fmla="*/ 180583 w 1199950"/>
                <a:gd name="connsiteY1799" fmla="*/ 468571 h 637350"/>
                <a:gd name="connsiteX1800" fmla="*/ 177435 w 1199950"/>
                <a:gd name="connsiteY1800" fmla="*/ 470931 h 637350"/>
                <a:gd name="connsiteX1801" fmla="*/ 180583 w 1199950"/>
                <a:gd name="connsiteY1801" fmla="*/ 470538 h 637350"/>
                <a:gd name="connsiteX1802" fmla="*/ 178615 w 1199950"/>
                <a:gd name="connsiteY1802" fmla="*/ 473292 h 637350"/>
                <a:gd name="connsiteX1803" fmla="*/ 181763 w 1199950"/>
                <a:gd name="connsiteY1803" fmla="*/ 472898 h 637350"/>
                <a:gd name="connsiteX1804" fmla="*/ 184517 w 1199950"/>
                <a:gd name="connsiteY1804" fmla="*/ 472505 h 637350"/>
                <a:gd name="connsiteX1805" fmla="*/ 187271 w 1199950"/>
                <a:gd name="connsiteY1805" fmla="*/ 470931 h 637350"/>
                <a:gd name="connsiteX1806" fmla="*/ 190418 w 1199950"/>
                <a:gd name="connsiteY1806" fmla="*/ 470931 h 637350"/>
                <a:gd name="connsiteX1807" fmla="*/ 193172 w 1199950"/>
                <a:gd name="connsiteY1807" fmla="*/ 469751 h 637350"/>
                <a:gd name="connsiteX1808" fmla="*/ 194746 w 1199950"/>
                <a:gd name="connsiteY1808" fmla="*/ 466997 h 637350"/>
                <a:gd name="connsiteX1809" fmla="*/ 197500 w 1199950"/>
                <a:gd name="connsiteY1809" fmla="*/ 465817 h 637350"/>
                <a:gd name="connsiteX1810" fmla="*/ 200647 w 1199950"/>
                <a:gd name="connsiteY1810" fmla="*/ 465030 h 637350"/>
                <a:gd name="connsiteX1811" fmla="*/ 203401 w 1199950"/>
                <a:gd name="connsiteY1811" fmla="*/ 464243 h 637350"/>
                <a:gd name="connsiteX1812" fmla="*/ 206549 w 1199950"/>
                <a:gd name="connsiteY1812" fmla="*/ 463456 h 637350"/>
                <a:gd name="connsiteX1813" fmla="*/ 209696 w 1199950"/>
                <a:gd name="connsiteY1813" fmla="*/ 463063 h 637350"/>
                <a:gd name="connsiteX1814" fmla="*/ 212450 w 1199950"/>
                <a:gd name="connsiteY1814" fmla="*/ 462669 h 637350"/>
                <a:gd name="connsiteX1815" fmla="*/ 215204 w 1199950"/>
                <a:gd name="connsiteY1815" fmla="*/ 463063 h 637350"/>
                <a:gd name="connsiteX1816" fmla="*/ 218352 w 1199950"/>
                <a:gd name="connsiteY1816" fmla="*/ 463063 h 637350"/>
                <a:gd name="connsiteX1817" fmla="*/ 221105 w 1199950"/>
                <a:gd name="connsiteY1817" fmla="*/ 464636 h 637350"/>
                <a:gd name="connsiteX1818" fmla="*/ 223860 w 1199950"/>
                <a:gd name="connsiteY1818" fmla="*/ 464243 h 637350"/>
                <a:gd name="connsiteX1819" fmla="*/ 224646 w 1199950"/>
                <a:gd name="connsiteY1819" fmla="*/ 464636 h 637350"/>
                <a:gd name="connsiteX1820" fmla="*/ 223466 w 1199950"/>
                <a:gd name="connsiteY1820" fmla="*/ 466210 h 637350"/>
                <a:gd name="connsiteX1821" fmla="*/ 224646 w 1199950"/>
                <a:gd name="connsiteY1821" fmla="*/ 466604 h 637350"/>
                <a:gd name="connsiteX1822" fmla="*/ 224646 w 1199950"/>
                <a:gd name="connsiteY1822" fmla="*/ 466997 h 637350"/>
                <a:gd name="connsiteX1823" fmla="*/ 223073 w 1199950"/>
                <a:gd name="connsiteY1823" fmla="*/ 466997 h 637350"/>
                <a:gd name="connsiteX1824" fmla="*/ 220319 w 1199950"/>
                <a:gd name="connsiteY1824" fmla="*/ 465423 h 637350"/>
                <a:gd name="connsiteX1825" fmla="*/ 217565 w 1199950"/>
                <a:gd name="connsiteY1825" fmla="*/ 464636 h 637350"/>
                <a:gd name="connsiteX1826" fmla="*/ 211270 w 1199950"/>
                <a:gd name="connsiteY1826" fmla="*/ 464636 h 637350"/>
                <a:gd name="connsiteX1827" fmla="*/ 208516 w 1199950"/>
                <a:gd name="connsiteY1827" fmla="*/ 465030 h 637350"/>
                <a:gd name="connsiteX1828" fmla="*/ 205368 w 1199950"/>
                <a:gd name="connsiteY1828" fmla="*/ 465423 h 637350"/>
                <a:gd name="connsiteX1829" fmla="*/ 202615 w 1199950"/>
                <a:gd name="connsiteY1829" fmla="*/ 465817 h 637350"/>
                <a:gd name="connsiteX1830" fmla="*/ 199467 w 1199950"/>
                <a:gd name="connsiteY1830" fmla="*/ 466997 h 637350"/>
                <a:gd name="connsiteX1831" fmla="*/ 196713 w 1199950"/>
                <a:gd name="connsiteY1831" fmla="*/ 469751 h 637350"/>
                <a:gd name="connsiteX1832" fmla="*/ 193566 w 1199950"/>
                <a:gd name="connsiteY1832" fmla="*/ 471325 h 637350"/>
                <a:gd name="connsiteX1833" fmla="*/ 190418 w 1199950"/>
                <a:gd name="connsiteY1833" fmla="*/ 472505 h 637350"/>
                <a:gd name="connsiteX1834" fmla="*/ 187664 w 1199950"/>
                <a:gd name="connsiteY1834" fmla="*/ 472898 h 637350"/>
                <a:gd name="connsiteX1835" fmla="*/ 184517 w 1199950"/>
                <a:gd name="connsiteY1835" fmla="*/ 474472 h 637350"/>
                <a:gd name="connsiteX1836" fmla="*/ 181763 w 1199950"/>
                <a:gd name="connsiteY1836" fmla="*/ 474866 h 637350"/>
                <a:gd name="connsiteX1837" fmla="*/ 179009 w 1199950"/>
                <a:gd name="connsiteY1837" fmla="*/ 476046 h 637350"/>
                <a:gd name="connsiteX1838" fmla="*/ 177435 w 1199950"/>
                <a:gd name="connsiteY1838" fmla="*/ 479193 h 637350"/>
                <a:gd name="connsiteX1839" fmla="*/ 174681 w 1199950"/>
                <a:gd name="connsiteY1839" fmla="*/ 481554 h 637350"/>
                <a:gd name="connsiteX1840" fmla="*/ 177435 w 1199950"/>
                <a:gd name="connsiteY1840" fmla="*/ 479980 h 637350"/>
                <a:gd name="connsiteX1841" fmla="*/ 180583 w 1199950"/>
                <a:gd name="connsiteY1841" fmla="*/ 477226 h 637350"/>
                <a:gd name="connsiteX1842" fmla="*/ 183337 w 1199950"/>
                <a:gd name="connsiteY1842" fmla="*/ 478013 h 637350"/>
                <a:gd name="connsiteX1843" fmla="*/ 181370 w 1199950"/>
                <a:gd name="connsiteY1843" fmla="*/ 480767 h 637350"/>
                <a:gd name="connsiteX1844" fmla="*/ 184124 w 1199950"/>
                <a:gd name="connsiteY1844" fmla="*/ 479587 h 637350"/>
                <a:gd name="connsiteX1845" fmla="*/ 186878 w 1199950"/>
                <a:gd name="connsiteY1845" fmla="*/ 478013 h 637350"/>
                <a:gd name="connsiteX1846" fmla="*/ 184124 w 1199950"/>
                <a:gd name="connsiteY1846" fmla="*/ 479980 h 637350"/>
                <a:gd name="connsiteX1847" fmla="*/ 181370 w 1199950"/>
                <a:gd name="connsiteY1847" fmla="*/ 482341 h 637350"/>
                <a:gd name="connsiteX1848" fmla="*/ 180976 w 1199950"/>
                <a:gd name="connsiteY1848" fmla="*/ 485488 h 637350"/>
                <a:gd name="connsiteX1849" fmla="*/ 181763 w 1199950"/>
                <a:gd name="connsiteY1849" fmla="*/ 488242 h 637350"/>
                <a:gd name="connsiteX1850" fmla="*/ 178615 w 1199950"/>
                <a:gd name="connsiteY1850" fmla="*/ 489029 h 637350"/>
                <a:gd name="connsiteX1851" fmla="*/ 179009 w 1199950"/>
                <a:gd name="connsiteY1851" fmla="*/ 491783 h 637350"/>
                <a:gd name="connsiteX1852" fmla="*/ 181763 w 1199950"/>
                <a:gd name="connsiteY1852" fmla="*/ 491390 h 637350"/>
                <a:gd name="connsiteX1853" fmla="*/ 178615 w 1199950"/>
                <a:gd name="connsiteY1853" fmla="*/ 492963 h 637350"/>
                <a:gd name="connsiteX1854" fmla="*/ 181763 w 1199950"/>
                <a:gd name="connsiteY1854" fmla="*/ 492570 h 637350"/>
                <a:gd name="connsiteX1855" fmla="*/ 184517 w 1199950"/>
                <a:gd name="connsiteY1855" fmla="*/ 490996 h 637350"/>
                <a:gd name="connsiteX1856" fmla="*/ 187664 w 1199950"/>
                <a:gd name="connsiteY1856" fmla="*/ 488635 h 637350"/>
                <a:gd name="connsiteX1857" fmla="*/ 190418 w 1199950"/>
                <a:gd name="connsiteY1857" fmla="*/ 486275 h 637350"/>
                <a:gd name="connsiteX1858" fmla="*/ 193172 w 1199950"/>
                <a:gd name="connsiteY1858" fmla="*/ 487455 h 637350"/>
                <a:gd name="connsiteX1859" fmla="*/ 190418 w 1199950"/>
                <a:gd name="connsiteY1859" fmla="*/ 489816 h 637350"/>
                <a:gd name="connsiteX1860" fmla="*/ 193566 w 1199950"/>
                <a:gd name="connsiteY1860" fmla="*/ 488635 h 637350"/>
                <a:gd name="connsiteX1861" fmla="*/ 196320 w 1199950"/>
                <a:gd name="connsiteY1861" fmla="*/ 487455 h 637350"/>
                <a:gd name="connsiteX1862" fmla="*/ 199467 w 1199950"/>
                <a:gd name="connsiteY1862" fmla="*/ 487062 h 637350"/>
                <a:gd name="connsiteX1863" fmla="*/ 196320 w 1199950"/>
                <a:gd name="connsiteY1863" fmla="*/ 488242 h 637350"/>
                <a:gd name="connsiteX1864" fmla="*/ 193566 w 1199950"/>
                <a:gd name="connsiteY1864" fmla="*/ 489816 h 637350"/>
                <a:gd name="connsiteX1865" fmla="*/ 190812 w 1199950"/>
                <a:gd name="connsiteY1865" fmla="*/ 490209 h 637350"/>
                <a:gd name="connsiteX1866" fmla="*/ 187664 w 1199950"/>
                <a:gd name="connsiteY1866" fmla="*/ 490996 h 637350"/>
                <a:gd name="connsiteX1867" fmla="*/ 184910 w 1199950"/>
                <a:gd name="connsiteY1867" fmla="*/ 491783 h 637350"/>
                <a:gd name="connsiteX1868" fmla="*/ 181763 w 1199950"/>
                <a:gd name="connsiteY1868" fmla="*/ 493357 h 637350"/>
                <a:gd name="connsiteX1869" fmla="*/ 179009 w 1199950"/>
                <a:gd name="connsiteY1869" fmla="*/ 494143 h 637350"/>
                <a:gd name="connsiteX1870" fmla="*/ 175861 w 1199950"/>
                <a:gd name="connsiteY1870" fmla="*/ 495717 h 637350"/>
                <a:gd name="connsiteX1871" fmla="*/ 177435 w 1199950"/>
                <a:gd name="connsiteY1871" fmla="*/ 498471 h 637350"/>
                <a:gd name="connsiteX1872" fmla="*/ 175861 w 1199950"/>
                <a:gd name="connsiteY1872" fmla="*/ 501225 h 637350"/>
                <a:gd name="connsiteX1873" fmla="*/ 174288 w 1199950"/>
                <a:gd name="connsiteY1873" fmla="*/ 503979 h 637350"/>
                <a:gd name="connsiteX1874" fmla="*/ 173108 w 1199950"/>
                <a:gd name="connsiteY1874" fmla="*/ 506733 h 637350"/>
                <a:gd name="connsiteX1875" fmla="*/ 173108 w 1199950"/>
                <a:gd name="connsiteY1875" fmla="*/ 509881 h 637350"/>
                <a:gd name="connsiteX1876" fmla="*/ 176255 w 1199950"/>
                <a:gd name="connsiteY1876" fmla="*/ 509487 h 637350"/>
                <a:gd name="connsiteX1877" fmla="*/ 179402 w 1199950"/>
                <a:gd name="connsiteY1877" fmla="*/ 507520 h 637350"/>
                <a:gd name="connsiteX1878" fmla="*/ 181763 w 1199950"/>
                <a:gd name="connsiteY1878" fmla="*/ 504766 h 637350"/>
                <a:gd name="connsiteX1879" fmla="*/ 184910 w 1199950"/>
                <a:gd name="connsiteY1879" fmla="*/ 503586 h 637350"/>
                <a:gd name="connsiteX1880" fmla="*/ 187664 w 1199950"/>
                <a:gd name="connsiteY1880" fmla="*/ 502012 h 637350"/>
                <a:gd name="connsiteX1881" fmla="*/ 190418 w 1199950"/>
                <a:gd name="connsiteY1881" fmla="*/ 499651 h 637350"/>
                <a:gd name="connsiteX1882" fmla="*/ 193172 w 1199950"/>
                <a:gd name="connsiteY1882" fmla="*/ 496897 h 637350"/>
                <a:gd name="connsiteX1883" fmla="*/ 195926 w 1199950"/>
                <a:gd name="connsiteY1883" fmla="*/ 494537 h 637350"/>
                <a:gd name="connsiteX1884" fmla="*/ 199074 w 1199950"/>
                <a:gd name="connsiteY1884" fmla="*/ 493357 h 637350"/>
                <a:gd name="connsiteX1885" fmla="*/ 201828 w 1199950"/>
                <a:gd name="connsiteY1885" fmla="*/ 493750 h 637350"/>
                <a:gd name="connsiteX1886" fmla="*/ 199074 w 1199950"/>
                <a:gd name="connsiteY1886" fmla="*/ 494930 h 637350"/>
                <a:gd name="connsiteX1887" fmla="*/ 196320 w 1199950"/>
                <a:gd name="connsiteY1887" fmla="*/ 497684 h 637350"/>
                <a:gd name="connsiteX1888" fmla="*/ 199467 w 1199950"/>
                <a:gd name="connsiteY1888" fmla="*/ 497684 h 637350"/>
                <a:gd name="connsiteX1889" fmla="*/ 202615 w 1199950"/>
                <a:gd name="connsiteY1889" fmla="*/ 496111 h 637350"/>
                <a:gd name="connsiteX1890" fmla="*/ 205762 w 1199950"/>
                <a:gd name="connsiteY1890" fmla="*/ 495324 h 637350"/>
                <a:gd name="connsiteX1891" fmla="*/ 208909 w 1199950"/>
                <a:gd name="connsiteY1891" fmla="*/ 493750 h 637350"/>
                <a:gd name="connsiteX1892" fmla="*/ 211663 w 1199950"/>
                <a:gd name="connsiteY1892" fmla="*/ 492176 h 637350"/>
                <a:gd name="connsiteX1893" fmla="*/ 212057 w 1199950"/>
                <a:gd name="connsiteY1893" fmla="*/ 489029 h 637350"/>
                <a:gd name="connsiteX1894" fmla="*/ 212450 w 1199950"/>
                <a:gd name="connsiteY1894" fmla="*/ 486275 h 637350"/>
                <a:gd name="connsiteX1895" fmla="*/ 209696 w 1199950"/>
                <a:gd name="connsiteY1895" fmla="*/ 485882 h 637350"/>
                <a:gd name="connsiteX1896" fmla="*/ 210090 w 1199950"/>
                <a:gd name="connsiteY1896" fmla="*/ 483128 h 637350"/>
                <a:gd name="connsiteX1897" fmla="*/ 210483 w 1199950"/>
                <a:gd name="connsiteY1897" fmla="*/ 479980 h 637350"/>
                <a:gd name="connsiteX1898" fmla="*/ 213631 w 1199950"/>
                <a:gd name="connsiteY1898" fmla="*/ 481554 h 637350"/>
                <a:gd name="connsiteX1899" fmla="*/ 216385 w 1199950"/>
                <a:gd name="connsiteY1899" fmla="*/ 480767 h 637350"/>
                <a:gd name="connsiteX1900" fmla="*/ 213631 w 1199950"/>
                <a:gd name="connsiteY1900" fmla="*/ 481947 h 637350"/>
                <a:gd name="connsiteX1901" fmla="*/ 212450 w 1199950"/>
                <a:gd name="connsiteY1901" fmla="*/ 485095 h 637350"/>
                <a:gd name="connsiteX1902" fmla="*/ 213237 w 1199950"/>
                <a:gd name="connsiteY1902" fmla="*/ 487849 h 637350"/>
                <a:gd name="connsiteX1903" fmla="*/ 213631 w 1199950"/>
                <a:gd name="connsiteY1903" fmla="*/ 490996 h 637350"/>
                <a:gd name="connsiteX1904" fmla="*/ 215991 w 1199950"/>
                <a:gd name="connsiteY1904" fmla="*/ 493750 h 637350"/>
                <a:gd name="connsiteX1905" fmla="*/ 219138 w 1199950"/>
                <a:gd name="connsiteY1905" fmla="*/ 494143 h 637350"/>
                <a:gd name="connsiteX1906" fmla="*/ 221892 w 1199950"/>
                <a:gd name="connsiteY1906" fmla="*/ 492570 h 637350"/>
                <a:gd name="connsiteX1907" fmla="*/ 224646 w 1199950"/>
                <a:gd name="connsiteY1907" fmla="*/ 491390 h 637350"/>
                <a:gd name="connsiteX1908" fmla="*/ 227794 w 1199950"/>
                <a:gd name="connsiteY1908" fmla="*/ 490209 h 637350"/>
                <a:gd name="connsiteX1909" fmla="*/ 227794 w 1199950"/>
                <a:gd name="connsiteY1909" fmla="*/ 490603 h 637350"/>
                <a:gd name="connsiteX1910" fmla="*/ 226220 w 1199950"/>
                <a:gd name="connsiteY1910" fmla="*/ 490996 h 637350"/>
                <a:gd name="connsiteX1911" fmla="*/ 223466 w 1199950"/>
                <a:gd name="connsiteY1911" fmla="*/ 492570 h 637350"/>
                <a:gd name="connsiteX1912" fmla="*/ 222286 w 1199950"/>
                <a:gd name="connsiteY1912" fmla="*/ 495324 h 637350"/>
                <a:gd name="connsiteX1913" fmla="*/ 225433 w 1199950"/>
                <a:gd name="connsiteY1913" fmla="*/ 494930 h 637350"/>
                <a:gd name="connsiteX1914" fmla="*/ 225040 w 1199950"/>
                <a:gd name="connsiteY1914" fmla="*/ 495324 h 637350"/>
                <a:gd name="connsiteX1915" fmla="*/ 224253 w 1199950"/>
                <a:gd name="connsiteY1915" fmla="*/ 495717 h 637350"/>
                <a:gd name="connsiteX1916" fmla="*/ 221499 w 1199950"/>
                <a:gd name="connsiteY1916" fmla="*/ 498078 h 637350"/>
                <a:gd name="connsiteX1917" fmla="*/ 222679 w 1199950"/>
                <a:gd name="connsiteY1917" fmla="*/ 500832 h 637350"/>
                <a:gd name="connsiteX1918" fmla="*/ 221499 w 1199950"/>
                <a:gd name="connsiteY1918" fmla="*/ 502799 h 637350"/>
                <a:gd name="connsiteX1919" fmla="*/ 218745 w 1199950"/>
                <a:gd name="connsiteY1919" fmla="*/ 501225 h 637350"/>
                <a:gd name="connsiteX1920" fmla="*/ 217958 w 1199950"/>
                <a:gd name="connsiteY1920" fmla="*/ 498471 h 637350"/>
                <a:gd name="connsiteX1921" fmla="*/ 216778 w 1199950"/>
                <a:gd name="connsiteY1921" fmla="*/ 495717 h 637350"/>
                <a:gd name="connsiteX1922" fmla="*/ 214024 w 1199950"/>
                <a:gd name="connsiteY1922" fmla="*/ 494930 h 637350"/>
                <a:gd name="connsiteX1923" fmla="*/ 210876 w 1199950"/>
                <a:gd name="connsiteY1923" fmla="*/ 495324 h 637350"/>
                <a:gd name="connsiteX1924" fmla="*/ 213631 w 1199950"/>
                <a:gd name="connsiteY1924" fmla="*/ 495717 h 637350"/>
                <a:gd name="connsiteX1925" fmla="*/ 210876 w 1199950"/>
                <a:gd name="connsiteY1925" fmla="*/ 497291 h 637350"/>
                <a:gd name="connsiteX1926" fmla="*/ 207729 w 1199950"/>
                <a:gd name="connsiteY1926" fmla="*/ 496897 h 637350"/>
                <a:gd name="connsiteX1927" fmla="*/ 204975 w 1199950"/>
                <a:gd name="connsiteY1927" fmla="*/ 497291 h 637350"/>
                <a:gd name="connsiteX1928" fmla="*/ 208122 w 1199950"/>
                <a:gd name="connsiteY1928" fmla="*/ 498865 h 637350"/>
                <a:gd name="connsiteX1929" fmla="*/ 210876 w 1199950"/>
                <a:gd name="connsiteY1929" fmla="*/ 500438 h 637350"/>
                <a:gd name="connsiteX1930" fmla="*/ 208122 w 1199950"/>
                <a:gd name="connsiteY1930" fmla="*/ 501619 h 637350"/>
                <a:gd name="connsiteX1931" fmla="*/ 211270 w 1199950"/>
                <a:gd name="connsiteY1931" fmla="*/ 503586 h 637350"/>
                <a:gd name="connsiteX1932" fmla="*/ 214024 w 1199950"/>
                <a:gd name="connsiteY1932" fmla="*/ 503192 h 637350"/>
                <a:gd name="connsiteX1933" fmla="*/ 217171 w 1199950"/>
                <a:gd name="connsiteY1933" fmla="*/ 502012 h 637350"/>
                <a:gd name="connsiteX1934" fmla="*/ 214024 w 1199950"/>
                <a:gd name="connsiteY1934" fmla="*/ 504373 h 637350"/>
                <a:gd name="connsiteX1935" fmla="*/ 211270 w 1199950"/>
                <a:gd name="connsiteY1935" fmla="*/ 504373 h 637350"/>
                <a:gd name="connsiteX1936" fmla="*/ 208516 w 1199950"/>
                <a:gd name="connsiteY1936" fmla="*/ 503979 h 637350"/>
                <a:gd name="connsiteX1937" fmla="*/ 205368 w 1199950"/>
                <a:gd name="connsiteY1937" fmla="*/ 503586 h 637350"/>
                <a:gd name="connsiteX1938" fmla="*/ 202221 w 1199950"/>
                <a:gd name="connsiteY1938" fmla="*/ 503586 h 637350"/>
                <a:gd name="connsiteX1939" fmla="*/ 199074 w 1199950"/>
                <a:gd name="connsiteY1939" fmla="*/ 505159 h 637350"/>
                <a:gd name="connsiteX1940" fmla="*/ 196320 w 1199950"/>
                <a:gd name="connsiteY1940" fmla="*/ 507520 h 637350"/>
                <a:gd name="connsiteX1941" fmla="*/ 199074 w 1199950"/>
                <a:gd name="connsiteY1941" fmla="*/ 508307 h 637350"/>
                <a:gd name="connsiteX1942" fmla="*/ 196320 w 1199950"/>
                <a:gd name="connsiteY1942" fmla="*/ 509881 h 637350"/>
                <a:gd name="connsiteX1943" fmla="*/ 193566 w 1199950"/>
                <a:gd name="connsiteY1943" fmla="*/ 509487 h 637350"/>
                <a:gd name="connsiteX1944" fmla="*/ 190812 w 1199950"/>
                <a:gd name="connsiteY1944" fmla="*/ 510667 h 637350"/>
                <a:gd name="connsiteX1945" fmla="*/ 187664 w 1199950"/>
                <a:gd name="connsiteY1945" fmla="*/ 511061 h 637350"/>
                <a:gd name="connsiteX1946" fmla="*/ 184910 w 1199950"/>
                <a:gd name="connsiteY1946" fmla="*/ 509881 h 637350"/>
                <a:gd name="connsiteX1947" fmla="*/ 181763 w 1199950"/>
                <a:gd name="connsiteY1947" fmla="*/ 509881 h 637350"/>
                <a:gd name="connsiteX1948" fmla="*/ 179009 w 1199950"/>
                <a:gd name="connsiteY1948" fmla="*/ 510274 h 637350"/>
                <a:gd name="connsiteX1949" fmla="*/ 182156 w 1199950"/>
                <a:gd name="connsiteY1949" fmla="*/ 510667 h 637350"/>
                <a:gd name="connsiteX1950" fmla="*/ 185304 w 1199950"/>
                <a:gd name="connsiteY1950" fmla="*/ 511061 h 637350"/>
                <a:gd name="connsiteX1951" fmla="*/ 182550 w 1199950"/>
                <a:gd name="connsiteY1951" fmla="*/ 511454 h 637350"/>
                <a:gd name="connsiteX1952" fmla="*/ 179402 w 1199950"/>
                <a:gd name="connsiteY1952" fmla="*/ 513028 h 637350"/>
                <a:gd name="connsiteX1953" fmla="*/ 182550 w 1199950"/>
                <a:gd name="connsiteY1953" fmla="*/ 514208 h 637350"/>
                <a:gd name="connsiteX1954" fmla="*/ 185304 w 1199950"/>
                <a:gd name="connsiteY1954" fmla="*/ 513815 h 637350"/>
                <a:gd name="connsiteX1955" fmla="*/ 180583 w 1199950"/>
                <a:gd name="connsiteY1955" fmla="*/ 515388 h 637350"/>
                <a:gd name="connsiteX1956" fmla="*/ 182943 w 1199950"/>
                <a:gd name="connsiteY1956" fmla="*/ 518536 h 637350"/>
                <a:gd name="connsiteX1957" fmla="*/ 181763 w 1199950"/>
                <a:gd name="connsiteY1957" fmla="*/ 520110 h 637350"/>
                <a:gd name="connsiteX1958" fmla="*/ 184517 w 1199950"/>
                <a:gd name="connsiteY1958" fmla="*/ 520896 h 637350"/>
                <a:gd name="connsiteX1959" fmla="*/ 185304 w 1199950"/>
                <a:gd name="connsiteY1959" fmla="*/ 522077 h 637350"/>
                <a:gd name="connsiteX1960" fmla="*/ 184910 w 1199950"/>
                <a:gd name="connsiteY1960" fmla="*/ 522470 h 637350"/>
                <a:gd name="connsiteX1961" fmla="*/ 181763 w 1199950"/>
                <a:gd name="connsiteY1961" fmla="*/ 522864 h 637350"/>
                <a:gd name="connsiteX1962" fmla="*/ 178615 w 1199950"/>
                <a:gd name="connsiteY1962" fmla="*/ 523257 h 637350"/>
                <a:gd name="connsiteX1963" fmla="*/ 175861 w 1199950"/>
                <a:gd name="connsiteY1963" fmla="*/ 524831 h 637350"/>
                <a:gd name="connsiteX1964" fmla="*/ 179009 w 1199950"/>
                <a:gd name="connsiteY1964" fmla="*/ 524437 h 637350"/>
                <a:gd name="connsiteX1965" fmla="*/ 176255 w 1199950"/>
                <a:gd name="connsiteY1965" fmla="*/ 525618 h 637350"/>
                <a:gd name="connsiteX1966" fmla="*/ 179009 w 1199950"/>
                <a:gd name="connsiteY1966" fmla="*/ 527978 h 637350"/>
                <a:gd name="connsiteX1967" fmla="*/ 181370 w 1199950"/>
                <a:gd name="connsiteY1967" fmla="*/ 530732 h 637350"/>
                <a:gd name="connsiteX1968" fmla="*/ 182943 w 1199950"/>
                <a:gd name="connsiteY1968" fmla="*/ 527978 h 637350"/>
                <a:gd name="connsiteX1969" fmla="*/ 185697 w 1199950"/>
                <a:gd name="connsiteY1969" fmla="*/ 526798 h 637350"/>
                <a:gd name="connsiteX1970" fmla="*/ 188845 w 1199950"/>
                <a:gd name="connsiteY1970" fmla="*/ 527191 h 637350"/>
                <a:gd name="connsiteX1971" fmla="*/ 189238 w 1199950"/>
                <a:gd name="connsiteY1971" fmla="*/ 527585 h 637350"/>
                <a:gd name="connsiteX1972" fmla="*/ 185304 w 1199950"/>
                <a:gd name="connsiteY1972" fmla="*/ 527585 h 637350"/>
                <a:gd name="connsiteX1973" fmla="*/ 183337 w 1199950"/>
                <a:gd name="connsiteY1973" fmla="*/ 530339 h 637350"/>
                <a:gd name="connsiteX1974" fmla="*/ 186091 w 1199950"/>
                <a:gd name="connsiteY1974" fmla="*/ 530339 h 637350"/>
                <a:gd name="connsiteX1975" fmla="*/ 188845 w 1199950"/>
                <a:gd name="connsiteY1975" fmla="*/ 529945 h 637350"/>
                <a:gd name="connsiteX1976" fmla="*/ 190025 w 1199950"/>
                <a:gd name="connsiteY1976" fmla="*/ 529945 h 637350"/>
                <a:gd name="connsiteX1977" fmla="*/ 190025 w 1199950"/>
                <a:gd name="connsiteY1977" fmla="*/ 530339 h 637350"/>
                <a:gd name="connsiteX1978" fmla="*/ 188845 w 1199950"/>
                <a:gd name="connsiteY1978" fmla="*/ 530732 h 637350"/>
                <a:gd name="connsiteX1979" fmla="*/ 186091 w 1199950"/>
                <a:gd name="connsiteY1979" fmla="*/ 531126 h 637350"/>
                <a:gd name="connsiteX1980" fmla="*/ 182943 w 1199950"/>
                <a:gd name="connsiteY1980" fmla="*/ 531519 h 637350"/>
                <a:gd name="connsiteX1981" fmla="*/ 180189 w 1199950"/>
                <a:gd name="connsiteY1981" fmla="*/ 532699 h 637350"/>
                <a:gd name="connsiteX1982" fmla="*/ 182943 w 1199950"/>
                <a:gd name="connsiteY1982" fmla="*/ 533093 h 637350"/>
                <a:gd name="connsiteX1983" fmla="*/ 185697 w 1199950"/>
                <a:gd name="connsiteY1983" fmla="*/ 535060 h 637350"/>
                <a:gd name="connsiteX1984" fmla="*/ 188845 w 1199950"/>
                <a:gd name="connsiteY1984" fmla="*/ 535060 h 637350"/>
                <a:gd name="connsiteX1985" fmla="*/ 191598 w 1199950"/>
                <a:gd name="connsiteY1985" fmla="*/ 534666 h 637350"/>
                <a:gd name="connsiteX1986" fmla="*/ 192779 w 1199950"/>
                <a:gd name="connsiteY1986" fmla="*/ 534273 h 637350"/>
                <a:gd name="connsiteX1987" fmla="*/ 193172 w 1199950"/>
                <a:gd name="connsiteY1987" fmla="*/ 535060 h 637350"/>
                <a:gd name="connsiteX1988" fmla="*/ 191598 w 1199950"/>
                <a:gd name="connsiteY1988" fmla="*/ 535060 h 637350"/>
                <a:gd name="connsiteX1989" fmla="*/ 189238 w 1199950"/>
                <a:gd name="connsiteY1989" fmla="*/ 535060 h 637350"/>
                <a:gd name="connsiteX1990" fmla="*/ 186091 w 1199950"/>
                <a:gd name="connsiteY1990" fmla="*/ 535453 h 637350"/>
                <a:gd name="connsiteX1991" fmla="*/ 183337 w 1199950"/>
                <a:gd name="connsiteY1991" fmla="*/ 535453 h 637350"/>
                <a:gd name="connsiteX1992" fmla="*/ 180583 w 1199950"/>
                <a:gd name="connsiteY1992" fmla="*/ 535847 h 637350"/>
                <a:gd name="connsiteX1993" fmla="*/ 180189 w 1199950"/>
                <a:gd name="connsiteY1993" fmla="*/ 538994 h 637350"/>
                <a:gd name="connsiteX1994" fmla="*/ 183337 w 1199950"/>
                <a:gd name="connsiteY1994" fmla="*/ 540174 h 637350"/>
                <a:gd name="connsiteX1995" fmla="*/ 186091 w 1199950"/>
                <a:gd name="connsiteY1995" fmla="*/ 538994 h 637350"/>
                <a:gd name="connsiteX1996" fmla="*/ 183337 w 1199950"/>
                <a:gd name="connsiteY1996" fmla="*/ 540568 h 637350"/>
                <a:gd name="connsiteX1997" fmla="*/ 186091 w 1199950"/>
                <a:gd name="connsiteY1997" fmla="*/ 540174 h 637350"/>
                <a:gd name="connsiteX1998" fmla="*/ 188845 w 1199950"/>
                <a:gd name="connsiteY1998" fmla="*/ 539781 h 637350"/>
                <a:gd name="connsiteX1999" fmla="*/ 191992 w 1199950"/>
                <a:gd name="connsiteY1999" fmla="*/ 539388 h 637350"/>
                <a:gd name="connsiteX2000" fmla="*/ 194746 w 1199950"/>
                <a:gd name="connsiteY2000" fmla="*/ 540174 h 637350"/>
                <a:gd name="connsiteX2001" fmla="*/ 196713 w 1199950"/>
                <a:gd name="connsiteY2001" fmla="*/ 539781 h 637350"/>
                <a:gd name="connsiteX2002" fmla="*/ 197107 w 1199950"/>
                <a:gd name="connsiteY2002" fmla="*/ 540174 h 637350"/>
                <a:gd name="connsiteX2003" fmla="*/ 194746 w 1199950"/>
                <a:gd name="connsiteY2003" fmla="*/ 540568 h 637350"/>
                <a:gd name="connsiteX2004" fmla="*/ 191992 w 1199950"/>
                <a:gd name="connsiteY2004" fmla="*/ 542535 h 637350"/>
                <a:gd name="connsiteX2005" fmla="*/ 189238 w 1199950"/>
                <a:gd name="connsiteY2005" fmla="*/ 543322 h 637350"/>
                <a:gd name="connsiteX2006" fmla="*/ 190025 w 1199950"/>
                <a:gd name="connsiteY2006" fmla="*/ 546076 h 637350"/>
                <a:gd name="connsiteX2007" fmla="*/ 192779 w 1199950"/>
                <a:gd name="connsiteY2007" fmla="*/ 547649 h 637350"/>
                <a:gd name="connsiteX2008" fmla="*/ 195533 w 1199950"/>
                <a:gd name="connsiteY2008" fmla="*/ 546076 h 637350"/>
                <a:gd name="connsiteX2009" fmla="*/ 192779 w 1199950"/>
                <a:gd name="connsiteY2009" fmla="*/ 549223 h 637350"/>
                <a:gd name="connsiteX2010" fmla="*/ 190812 w 1199950"/>
                <a:gd name="connsiteY2010" fmla="*/ 551977 h 637350"/>
                <a:gd name="connsiteX2011" fmla="*/ 193959 w 1199950"/>
                <a:gd name="connsiteY2011" fmla="*/ 550010 h 637350"/>
                <a:gd name="connsiteX2012" fmla="*/ 196713 w 1199950"/>
                <a:gd name="connsiteY2012" fmla="*/ 547649 h 637350"/>
                <a:gd name="connsiteX2013" fmla="*/ 199861 w 1199950"/>
                <a:gd name="connsiteY2013" fmla="*/ 547256 h 637350"/>
                <a:gd name="connsiteX2014" fmla="*/ 199074 w 1199950"/>
                <a:gd name="connsiteY2014" fmla="*/ 547649 h 637350"/>
                <a:gd name="connsiteX2015" fmla="*/ 196320 w 1199950"/>
                <a:gd name="connsiteY2015" fmla="*/ 549223 h 637350"/>
                <a:gd name="connsiteX2016" fmla="*/ 193566 w 1199950"/>
                <a:gd name="connsiteY2016" fmla="*/ 551190 h 637350"/>
                <a:gd name="connsiteX2017" fmla="*/ 190812 w 1199950"/>
                <a:gd name="connsiteY2017" fmla="*/ 553944 h 637350"/>
                <a:gd name="connsiteX2018" fmla="*/ 193566 w 1199950"/>
                <a:gd name="connsiteY2018" fmla="*/ 553551 h 637350"/>
                <a:gd name="connsiteX2019" fmla="*/ 196320 w 1199950"/>
                <a:gd name="connsiteY2019" fmla="*/ 552371 h 637350"/>
                <a:gd name="connsiteX2020" fmla="*/ 199467 w 1199950"/>
                <a:gd name="connsiteY2020" fmla="*/ 550797 h 637350"/>
                <a:gd name="connsiteX2021" fmla="*/ 198680 w 1199950"/>
                <a:gd name="connsiteY2021" fmla="*/ 551584 h 637350"/>
                <a:gd name="connsiteX2022" fmla="*/ 198287 w 1199950"/>
                <a:gd name="connsiteY2022" fmla="*/ 551584 h 637350"/>
                <a:gd name="connsiteX2023" fmla="*/ 195139 w 1199950"/>
                <a:gd name="connsiteY2023" fmla="*/ 553944 h 637350"/>
                <a:gd name="connsiteX2024" fmla="*/ 192385 w 1199950"/>
                <a:gd name="connsiteY2024" fmla="*/ 555125 h 637350"/>
                <a:gd name="connsiteX2025" fmla="*/ 189631 w 1199950"/>
                <a:gd name="connsiteY2025" fmla="*/ 557879 h 637350"/>
                <a:gd name="connsiteX2026" fmla="*/ 186878 w 1199950"/>
                <a:gd name="connsiteY2026" fmla="*/ 561026 h 637350"/>
                <a:gd name="connsiteX2027" fmla="*/ 188845 w 1199950"/>
                <a:gd name="connsiteY2027" fmla="*/ 563780 h 637350"/>
                <a:gd name="connsiteX2028" fmla="*/ 191598 w 1199950"/>
                <a:gd name="connsiteY2028" fmla="*/ 566534 h 637350"/>
                <a:gd name="connsiteX2029" fmla="*/ 196713 w 1199950"/>
                <a:gd name="connsiteY2029" fmla="*/ 573222 h 637350"/>
                <a:gd name="connsiteX2030" fmla="*/ 195926 w 1199950"/>
                <a:gd name="connsiteY2030" fmla="*/ 573616 h 637350"/>
                <a:gd name="connsiteX2031" fmla="*/ 196713 w 1199950"/>
                <a:gd name="connsiteY2031" fmla="*/ 573616 h 637350"/>
                <a:gd name="connsiteX2032" fmla="*/ 197500 w 1199950"/>
                <a:gd name="connsiteY2032" fmla="*/ 574796 h 637350"/>
                <a:gd name="connsiteX2033" fmla="*/ 195533 w 1199950"/>
                <a:gd name="connsiteY2033" fmla="*/ 576370 h 637350"/>
                <a:gd name="connsiteX2034" fmla="*/ 198287 w 1199950"/>
                <a:gd name="connsiteY2034" fmla="*/ 575583 h 637350"/>
                <a:gd name="connsiteX2035" fmla="*/ 200647 w 1199950"/>
                <a:gd name="connsiteY2035" fmla="*/ 578730 h 637350"/>
                <a:gd name="connsiteX2036" fmla="*/ 200254 w 1199950"/>
                <a:gd name="connsiteY2036" fmla="*/ 579124 h 637350"/>
                <a:gd name="connsiteX2037" fmla="*/ 199074 w 1199950"/>
                <a:gd name="connsiteY2037" fmla="*/ 581878 h 637350"/>
                <a:gd name="connsiteX2038" fmla="*/ 202221 w 1199950"/>
                <a:gd name="connsiteY2038" fmla="*/ 580697 h 637350"/>
                <a:gd name="connsiteX2039" fmla="*/ 200254 w 1199950"/>
                <a:gd name="connsiteY2039" fmla="*/ 583845 h 637350"/>
                <a:gd name="connsiteX2040" fmla="*/ 203008 w 1199950"/>
                <a:gd name="connsiteY2040" fmla="*/ 583058 h 637350"/>
                <a:gd name="connsiteX2041" fmla="*/ 203401 w 1199950"/>
                <a:gd name="connsiteY2041" fmla="*/ 582271 h 637350"/>
                <a:gd name="connsiteX2042" fmla="*/ 204188 w 1199950"/>
                <a:gd name="connsiteY2042" fmla="*/ 583451 h 637350"/>
                <a:gd name="connsiteX2043" fmla="*/ 203795 w 1199950"/>
                <a:gd name="connsiteY2043" fmla="*/ 584238 h 637350"/>
                <a:gd name="connsiteX2044" fmla="*/ 204975 w 1199950"/>
                <a:gd name="connsiteY2044" fmla="*/ 584238 h 637350"/>
                <a:gd name="connsiteX2045" fmla="*/ 206155 w 1199950"/>
                <a:gd name="connsiteY2045" fmla="*/ 585812 h 637350"/>
                <a:gd name="connsiteX2046" fmla="*/ 204582 w 1199950"/>
                <a:gd name="connsiteY2046" fmla="*/ 587779 h 637350"/>
                <a:gd name="connsiteX2047" fmla="*/ 207336 w 1199950"/>
                <a:gd name="connsiteY2047" fmla="*/ 588172 h 637350"/>
                <a:gd name="connsiteX2048" fmla="*/ 207336 w 1199950"/>
                <a:gd name="connsiteY2048" fmla="*/ 588172 h 637350"/>
                <a:gd name="connsiteX2049" fmla="*/ 208122 w 1199950"/>
                <a:gd name="connsiteY2049" fmla="*/ 588959 h 637350"/>
                <a:gd name="connsiteX2050" fmla="*/ 207729 w 1199950"/>
                <a:gd name="connsiteY2050" fmla="*/ 588959 h 637350"/>
                <a:gd name="connsiteX2051" fmla="*/ 204582 w 1199950"/>
                <a:gd name="connsiteY2051" fmla="*/ 588959 h 637350"/>
                <a:gd name="connsiteX2052" fmla="*/ 201828 w 1199950"/>
                <a:gd name="connsiteY2052" fmla="*/ 588566 h 637350"/>
                <a:gd name="connsiteX2053" fmla="*/ 199074 w 1199950"/>
                <a:gd name="connsiteY2053" fmla="*/ 590139 h 637350"/>
                <a:gd name="connsiteX2054" fmla="*/ 201828 w 1199950"/>
                <a:gd name="connsiteY2054" fmla="*/ 591713 h 637350"/>
                <a:gd name="connsiteX2055" fmla="*/ 204975 w 1199950"/>
                <a:gd name="connsiteY2055" fmla="*/ 592107 h 637350"/>
                <a:gd name="connsiteX2056" fmla="*/ 207729 w 1199950"/>
                <a:gd name="connsiteY2056" fmla="*/ 591713 h 637350"/>
                <a:gd name="connsiteX2057" fmla="*/ 210090 w 1199950"/>
                <a:gd name="connsiteY2057" fmla="*/ 590926 h 637350"/>
                <a:gd name="connsiteX2058" fmla="*/ 210876 w 1199950"/>
                <a:gd name="connsiteY2058" fmla="*/ 591713 h 637350"/>
                <a:gd name="connsiteX2059" fmla="*/ 210876 w 1199950"/>
                <a:gd name="connsiteY2059" fmla="*/ 591713 h 637350"/>
                <a:gd name="connsiteX2060" fmla="*/ 208122 w 1199950"/>
                <a:gd name="connsiteY2060" fmla="*/ 592107 h 637350"/>
                <a:gd name="connsiteX2061" fmla="*/ 204975 w 1199950"/>
                <a:gd name="connsiteY2061" fmla="*/ 592894 h 637350"/>
                <a:gd name="connsiteX2062" fmla="*/ 202221 w 1199950"/>
                <a:gd name="connsiteY2062" fmla="*/ 595254 h 637350"/>
                <a:gd name="connsiteX2063" fmla="*/ 204975 w 1199950"/>
                <a:gd name="connsiteY2063" fmla="*/ 593680 h 637350"/>
                <a:gd name="connsiteX2064" fmla="*/ 207729 w 1199950"/>
                <a:gd name="connsiteY2064" fmla="*/ 594074 h 637350"/>
                <a:gd name="connsiteX2065" fmla="*/ 210483 w 1199950"/>
                <a:gd name="connsiteY2065" fmla="*/ 594074 h 637350"/>
                <a:gd name="connsiteX2066" fmla="*/ 213237 w 1199950"/>
                <a:gd name="connsiteY2066" fmla="*/ 594467 h 637350"/>
                <a:gd name="connsiteX2067" fmla="*/ 215991 w 1199950"/>
                <a:gd name="connsiteY2067" fmla="*/ 595254 h 637350"/>
                <a:gd name="connsiteX2068" fmla="*/ 212844 w 1199950"/>
                <a:gd name="connsiteY2068" fmla="*/ 597221 h 637350"/>
                <a:gd name="connsiteX2069" fmla="*/ 210090 w 1199950"/>
                <a:gd name="connsiteY2069" fmla="*/ 597221 h 637350"/>
                <a:gd name="connsiteX2070" fmla="*/ 210483 w 1199950"/>
                <a:gd name="connsiteY2070" fmla="*/ 599975 h 637350"/>
                <a:gd name="connsiteX2071" fmla="*/ 213631 w 1199950"/>
                <a:gd name="connsiteY2071" fmla="*/ 599975 h 637350"/>
                <a:gd name="connsiteX2072" fmla="*/ 216385 w 1199950"/>
                <a:gd name="connsiteY2072" fmla="*/ 599188 h 637350"/>
                <a:gd name="connsiteX2073" fmla="*/ 214024 w 1199950"/>
                <a:gd name="connsiteY2073" fmla="*/ 601942 h 637350"/>
                <a:gd name="connsiteX2074" fmla="*/ 217171 w 1199950"/>
                <a:gd name="connsiteY2074" fmla="*/ 601549 h 637350"/>
                <a:gd name="connsiteX2075" fmla="*/ 217565 w 1199950"/>
                <a:gd name="connsiteY2075" fmla="*/ 598795 h 637350"/>
                <a:gd name="connsiteX2076" fmla="*/ 220712 w 1199950"/>
                <a:gd name="connsiteY2076" fmla="*/ 596434 h 637350"/>
                <a:gd name="connsiteX2077" fmla="*/ 223466 w 1199950"/>
                <a:gd name="connsiteY2077" fmla="*/ 596041 h 637350"/>
                <a:gd name="connsiteX2078" fmla="*/ 223860 w 1199950"/>
                <a:gd name="connsiteY2078" fmla="*/ 596041 h 637350"/>
                <a:gd name="connsiteX2079" fmla="*/ 226220 w 1199950"/>
                <a:gd name="connsiteY2079" fmla="*/ 596434 h 637350"/>
                <a:gd name="connsiteX2080" fmla="*/ 223466 w 1199950"/>
                <a:gd name="connsiteY2080" fmla="*/ 596828 h 637350"/>
                <a:gd name="connsiteX2081" fmla="*/ 220712 w 1199950"/>
                <a:gd name="connsiteY2081" fmla="*/ 599188 h 637350"/>
                <a:gd name="connsiteX2082" fmla="*/ 217958 w 1199950"/>
                <a:gd name="connsiteY2082" fmla="*/ 600762 h 637350"/>
                <a:gd name="connsiteX2083" fmla="*/ 220319 w 1199950"/>
                <a:gd name="connsiteY2083" fmla="*/ 603516 h 637350"/>
                <a:gd name="connsiteX2084" fmla="*/ 223073 w 1199950"/>
                <a:gd name="connsiteY2084" fmla="*/ 603123 h 637350"/>
                <a:gd name="connsiteX2085" fmla="*/ 225827 w 1199950"/>
                <a:gd name="connsiteY2085" fmla="*/ 602336 h 637350"/>
                <a:gd name="connsiteX2086" fmla="*/ 224646 w 1199950"/>
                <a:gd name="connsiteY2086" fmla="*/ 605483 h 637350"/>
                <a:gd name="connsiteX2087" fmla="*/ 221499 w 1199950"/>
                <a:gd name="connsiteY2087" fmla="*/ 605483 h 637350"/>
                <a:gd name="connsiteX2088" fmla="*/ 218745 w 1199950"/>
                <a:gd name="connsiteY2088" fmla="*/ 605877 h 637350"/>
                <a:gd name="connsiteX2089" fmla="*/ 215598 w 1199950"/>
                <a:gd name="connsiteY2089" fmla="*/ 606270 h 637350"/>
                <a:gd name="connsiteX2090" fmla="*/ 212844 w 1199950"/>
                <a:gd name="connsiteY2090" fmla="*/ 607450 h 637350"/>
                <a:gd name="connsiteX2091" fmla="*/ 215598 w 1199950"/>
                <a:gd name="connsiteY2091" fmla="*/ 607450 h 637350"/>
                <a:gd name="connsiteX2092" fmla="*/ 218745 w 1199950"/>
                <a:gd name="connsiteY2092" fmla="*/ 607844 h 637350"/>
                <a:gd name="connsiteX2093" fmla="*/ 221499 w 1199950"/>
                <a:gd name="connsiteY2093" fmla="*/ 607057 h 637350"/>
                <a:gd name="connsiteX2094" fmla="*/ 227007 w 1199950"/>
                <a:gd name="connsiteY2094" fmla="*/ 607057 h 637350"/>
                <a:gd name="connsiteX2095" fmla="*/ 224253 w 1199950"/>
                <a:gd name="connsiteY2095" fmla="*/ 608237 h 637350"/>
                <a:gd name="connsiteX2096" fmla="*/ 221105 w 1199950"/>
                <a:gd name="connsiteY2096" fmla="*/ 609417 h 637350"/>
                <a:gd name="connsiteX2097" fmla="*/ 217958 w 1199950"/>
                <a:gd name="connsiteY2097" fmla="*/ 609811 h 637350"/>
                <a:gd name="connsiteX2098" fmla="*/ 215204 w 1199950"/>
                <a:gd name="connsiteY2098" fmla="*/ 610991 h 637350"/>
                <a:gd name="connsiteX2099" fmla="*/ 212450 w 1199950"/>
                <a:gd name="connsiteY2099" fmla="*/ 612565 h 637350"/>
                <a:gd name="connsiteX2100" fmla="*/ 215204 w 1199950"/>
                <a:gd name="connsiteY2100" fmla="*/ 612565 h 637350"/>
                <a:gd name="connsiteX2101" fmla="*/ 217958 w 1199950"/>
                <a:gd name="connsiteY2101" fmla="*/ 611778 h 637350"/>
                <a:gd name="connsiteX2102" fmla="*/ 221105 w 1199950"/>
                <a:gd name="connsiteY2102" fmla="*/ 612171 h 637350"/>
                <a:gd name="connsiteX2103" fmla="*/ 224253 w 1199950"/>
                <a:gd name="connsiteY2103" fmla="*/ 612565 h 637350"/>
                <a:gd name="connsiteX2104" fmla="*/ 227007 w 1199950"/>
                <a:gd name="connsiteY2104" fmla="*/ 612958 h 637350"/>
                <a:gd name="connsiteX2105" fmla="*/ 230154 w 1199950"/>
                <a:gd name="connsiteY2105" fmla="*/ 612565 h 637350"/>
                <a:gd name="connsiteX2106" fmla="*/ 232908 w 1199950"/>
                <a:gd name="connsiteY2106" fmla="*/ 610598 h 637350"/>
                <a:gd name="connsiteX2107" fmla="*/ 230154 w 1199950"/>
                <a:gd name="connsiteY2107" fmla="*/ 610991 h 637350"/>
                <a:gd name="connsiteX2108" fmla="*/ 227007 w 1199950"/>
                <a:gd name="connsiteY2108" fmla="*/ 611385 h 637350"/>
                <a:gd name="connsiteX2109" fmla="*/ 224253 w 1199950"/>
                <a:gd name="connsiteY2109" fmla="*/ 610598 h 637350"/>
                <a:gd name="connsiteX2110" fmla="*/ 227007 w 1199950"/>
                <a:gd name="connsiteY2110" fmla="*/ 610204 h 637350"/>
                <a:gd name="connsiteX2111" fmla="*/ 230154 w 1199950"/>
                <a:gd name="connsiteY2111" fmla="*/ 609811 h 637350"/>
                <a:gd name="connsiteX2112" fmla="*/ 233302 w 1199950"/>
                <a:gd name="connsiteY2112" fmla="*/ 609417 h 637350"/>
                <a:gd name="connsiteX2113" fmla="*/ 236056 w 1199950"/>
                <a:gd name="connsiteY2113" fmla="*/ 609024 h 637350"/>
                <a:gd name="connsiteX2114" fmla="*/ 238810 w 1199950"/>
                <a:gd name="connsiteY2114" fmla="*/ 609417 h 637350"/>
                <a:gd name="connsiteX2115" fmla="*/ 241957 w 1199950"/>
                <a:gd name="connsiteY2115" fmla="*/ 609417 h 637350"/>
                <a:gd name="connsiteX2116" fmla="*/ 244711 w 1199950"/>
                <a:gd name="connsiteY2116" fmla="*/ 609811 h 637350"/>
                <a:gd name="connsiteX2117" fmla="*/ 241564 w 1199950"/>
                <a:gd name="connsiteY2117" fmla="*/ 612171 h 637350"/>
                <a:gd name="connsiteX2118" fmla="*/ 244711 w 1199950"/>
                <a:gd name="connsiteY2118" fmla="*/ 613745 h 637350"/>
                <a:gd name="connsiteX2119" fmla="*/ 247465 w 1199950"/>
                <a:gd name="connsiteY2119" fmla="*/ 612565 h 637350"/>
                <a:gd name="connsiteX2120" fmla="*/ 247072 w 1199950"/>
                <a:gd name="connsiteY2120" fmla="*/ 609417 h 637350"/>
                <a:gd name="connsiteX2121" fmla="*/ 249826 w 1199950"/>
                <a:gd name="connsiteY2121" fmla="*/ 609811 h 637350"/>
                <a:gd name="connsiteX2122" fmla="*/ 252580 w 1199950"/>
                <a:gd name="connsiteY2122" fmla="*/ 609811 h 637350"/>
                <a:gd name="connsiteX2123" fmla="*/ 254153 w 1199950"/>
                <a:gd name="connsiteY2123" fmla="*/ 607057 h 637350"/>
                <a:gd name="connsiteX2124" fmla="*/ 256907 w 1199950"/>
                <a:gd name="connsiteY2124" fmla="*/ 605877 h 637350"/>
                <a:gd name="connsiteX2125" fmla="*/ 260055 w 1199950"/>
                <a:gd name="connsiteY2125" fmla="*/ 605483 h 637350"/>
                <a:gd name="connsiteX2126" fmla="*/ 261629 w 1199950"/>
                <a:gd name="connsiteY2126" fmla="*/ 608237 h 637350"/>
                <a:gd name="connsiteX2127" fmla="*/ 264382 w 1199950"/>
                <a:gd name="connsiteY2127" fmla="*/ 606663 h 637350"/>
                <a:gd name="connsiteX2128" fmla="*/ 261629 w 1199950"/>
                <a:gd name="connsiteY2128" fmla="*/ 605090 h 637350"/>
                <a:gd name="connsiteX2129" fmla="*/ 264382 w 1199950"/>
                <a:gd name="connsiteY2129" fmla="*/ 605877 h 637350"/>
                <a:gd name="connsiteX2130" fmla="*/ 267136 w 1199950"/>
                <a:gd name="connsiteY2130" fmla="*/ 605877 h 637350"/>
                <a:gd name="connsiteX2131" fmla="*/ 269890 w 1199950"/>
                <a:gd name="connsiteY2131" fmla="*/ 604303 h 637350"/>
                <a:gd name="connsiteX2132" fmla="*/ 269890 w 1199950"/>
                <a:gd name="connsiteY2132" fmla="*/ 603909 h 637350"/>
                <a:gd name="connsiteX2133" fmla="*/ 274612 w 1199950"/>
                <a:gd name="connsiteY2133" fmla="*/ 604696 h 637350"/>
                <a:gd name="connsiteX2134" fmla="*/ 273431 w 1199950"/>
                <a:gd name="connsiteY2134" fmla="*/ 605877 h 637350"/>
                <a:gd name="connsiteX2135" fmla="*/ 270677 w 1199950"/>
                <a:gd name="connsiteY2135" fmla="*/ 606270 h 637350"/>
                <a:gd name="connsiteX2136" fmla="*/ 267530 w 1199950"/>
                <a:gd name="connsiteY2136" fmla="*/ 607057 h 637350"/>
                <a:gd name="connsiteX2137" fmla="*/ 265956 w 1199950"/>
                <a:gd name="connsiteY2137" fmla="*/ 610204 h 637350"/>
                <a:gd name="connsiteX2138" fmla="*/ 269104 w 1199950"/>
                <a:gd name="connsiteY2138" fmla="*/ 609024 h 637350"/>
                <a:gd name="connsiteX2139" fmla="*/ 271858 w 1199950"/>
                <a:gd name="connsiteY2139" fmla="*/ 608631 h 637350"/>
                <a:gd name="connsiteX2140" fmla="*/ 274612 w 1199950"/>
                <a:gd name="connsiteY2140" fmla="*/ 607450 h 637350"/>
                <a:gd name="connsiteX2141" fmla="*/ 277759 w 1199950"/>
                <a:gd name="connsiteY2141" fmla="*/ 605877 h 637350"/>
                <a:gd name="connsiteX2142" fmla="*/ 278939 w 1199950"/>
                <a:gd name="connsiteY2142" fmla="*/ 605090 h 637350"/>
                <a:gd name="connsiteX2143" fmla="*/ 282480 w 1199950"/>
                <a:gd name="connsiteY2143" fmla="*/ 605483 h 637350"/>
                <a:gd name="connsiteX2144" fmla="*/ 282087 w 1199950"/>
                <a:gd name="connsiteY2144" fmla="*/ 605483 h 637350"/>
                <a:gd name="connsiteX2145" fmla="*/ 279333 w 1199950"/>
                <a:gd name="connsiteY2145" fmla="*/ 607450 h 637350"/>
                <a:gd name="connsiteX2146" fmla="*/ 276579 w 1199950"/>
                <a:gd name="connsiteY2146" fmla="*/ 608631 h 637350"/>
                <a:gd name="connsiteX2147" fmla="*/ 273431 w 1199950"/>
                <a:gd name="connsiteY2147" fmla="*/ 609024 h 637350"/>
                <a:gd name="connsiteX2148" fmla="*/ 270677 w 1199950"/>
                <a:gd name="connsiteY2148" fmla="*/ 609417 h 637350"/>
                <a:gd name="connsiteX2149" fmla="*/ 267923 w 1199950"/>
                <a:gd name="connsiteY2149" fmla="*/ 609811 h 637350"/>
                <a:gd name="connsiteX2150" fmla="*/ 264776 w 1199950"/>
                <a:gd name="connsiteY2150" fmla="*/ 610598 h 637350"/>
                <a:gd name="connsiteX2151" fmla="*/ 261629 w 1199950"/>
                <a:gd name="connsiteY2151" fmla="*/ 612565 h 637350"/>
                <a:gd name="connsiteX2152" fmla="*/ 264776 w 1199950"/>
                <a:gd name="connsiteY2152" fmla="*/ 611385 h 637350"/>
                <a:gd name="connsiteX2153" fmla="*/ 267530 w 1199950"/>
                <a:gd name="connsiteY2153" fmla="*/ 611385 h 637350"/>
                <a:gd name="connsiteX2154" fmla="*/ 264382 w 1199950"/>
                <a:gd name="connsiteY2154" fmla="*/ 612565 h 637350"/>
                <a:gd name="connsiteX2155" fmla="*/ 261629 w 1199950"/>
                <a:gd name="connsiteY2155" fmla="*/ 613352 h 637350"/>
                <a:gd name="connsiteX2156" fmla="*/ 258875 w 1199950"/>
                <a:gd name="connsiteY2156" fmla="*/ 614925 h 637350"/>
                <a:gd name="connsiteX2157" fmla="*/ 261629 w 1199950"/>
                <a:gd name="connsiteY2157" fmla="*/ 615712 h 637350"/>
                <a:gd name="connsiteX2158" fmla="*/ 264382 w 1199950"/>
                <a:gd name="connsiteY2158" fmla="*/ 612958 h 637350"/>
                <a:gd name="connsiteX2159" fmla="*/ 267136 w 1199950"/>
                <a:gd name="connsiteY2159" fmla="*/ 611778 h 637350"/>
                <a:gd name="connsiteX2160" fmla="*/ 270284 w 1199950"/>
                <a:gd name="connsiteY2160" fmla="*/ 612171 h 637350"/>
                <a:gd name="connsiteX2161" fmla="*/ 267136 w 1199950"/>
                <a:gd name="connsiteY2161" fmla="*/ 614532 h 637350"/>
                <a:gd name="connsiteX2162" fmla="*/ 269890 w 1199950"/>
                <a:gd name="connsiteY2162" fmla="*/ 614139 h 637350"/>
                <a:gd name="connsiteX2163" fmla="*/ 273038 w 1199950"/>
                <a:gd name="connsiteY2163" fmla="*/ 612565 h 637350"/>
                <a:gd name="connsiteX2164" fmla="*/ 276185 w 1199950"/>
                <a:gd name="connsiteY2164" fmla="*/ 610991 h 637350"/>
                <a:gd name="connsiteX2165" fmla="*/ 281693 w 1199950"/>
                <a:gd name="connsiteY2165" fmla="*/ 607057 h 637350"/>
                <a:gd name="connsiteX2166" fmla="*/ 282480 w 1199950"/>
                <a:gd name="connsiteY2166" fmla="*/ 609417 h 637350"/>
                <a:gd name="connsiteX2167" fmla="*/ 282480 w 1199950"/>
                <a:gd name="connsiteY2167" fmla="*/ 609811 h 637350"/>
                <a:gd name="connsiteX2168" fmla="*/ 279726 w 1199950"/>
                <a:gd name="connsiteY2168" fmla="*/ 610204 h 637350"/>
                <a:gd name="connsiteX2169" fmla="*/ 276579 w 1199950"/>
                <a:gd name="connsiteY2169" fmla="*/ 611778 h 637350"/>
                <a:gd name="connsiteX2170" fmla="*/ 273825 w 1199950"/>
                <a:gd name="connsiteY2170" fmla="*/ 613352 h 637350"/>
                <a:gd name="connsiteX2171" fmla="*/ 271071 w 1199950"/>
                <a:gd name="connsiteY2171" fmla="*/ 614925 h 637350"/>
                <a:gd name="connsiteX2172" fmla="*/ 267923 w 1199950"/>
                <a:gd name="connsiteY2172" fmla="*/ 616892 h 637350"/>
                <a:gd name="connsiteX2173" fmla="*/ 270677 w 1199950"/>
                <a:gd name="connsiteY2173" fmla="*/ 616892 h 637350"/>
                <a:gd name="connsiteX2174" fmla="*/ 267923 w 1199950"/>
                <a:gd name="connsiteY2174" fmla="*/ 617679 h 637350"/>
                <a:gd name="connsiteX2175" fmla="*/ 265169 w 1199950"/>
                <a:gd name="connsiteY2175" fmla="*/ 618860 h 637350"/>
                <a:gd name="connsiteX2176" fmla="*/ 262022 w 1199950"/>
                <a:gd name="connsiteY2176" fmla="*/ 620433 h 637350"/>
                <a:gd name="connsiteX2177" fmla="*/ 264776 w 1199950"/>
                <a:gd name="connsiteY2177" fmla="*/ 620827 h 637350"/>
                <a:gd name="connsiteX2178" fmla="*/ 267530 w 1199950"/>
                <a:gd name="connsiteY2178" fmla="*/ 618466 h 637350"/>
                <a:gd name="connsiteX2179" fmla="*/ 270677 w 1199950"/>
                <a:gd name="connsiteY2179" fmla="*/ 618073 h 637350"/>
                <a:gd name="connsiteX2180" fmla="*/ 267923 w 1199950"/>
                <a:gd name="connsiteY2180" fmla="*/ 620040 h 637350"/>
                <a:gd name="connsiteX2181" fmla="*/ 270677 w 1199950"/>
                <a:gd name="connsiteY2181" fmla="*/ 620040 h 637350"/>
                <a:gd name="connsiteX2182" fmla="*/ 270284 w 1199950"/>
                <a:gd name="connsiteY2182" fmla="*/ 622794 h 637350"/>
                <a:gd name="connsiteX2183" fmla="*/ 273038 w 1199950"/>
                <a:gd name="connsiteY2183" fmla="*/ 620433 h 637350"/>
                <a:gd name="connsiteX2184" fmla="*/ 275792 w 1199950"/>
                <a:gd name="connsiteY2184" fmla="*/ 618073 h 637350"/>
                <a:gd name="connsiteX2185" fmla="*/ 278546 w 1199950"/>
                <a:gd name="connsiteY2185" fmla="*/ 617286 h 637350"/>
                <a:gd name="connsiteX2186" fmla="*/ 281300 w 1199950"/>
                <a:gd name="connsiteY2186" fmla="*/ 617286 h 637350"/>
                <a:gd name="connsiteX2187" fmla="*/ 278546 w 1199950"/>
                <a:gd name="connsiteY2187" fmla="*/ 618073 h 637350"/>
                <a:gd name="connsiteX2188" fmla="*/ 275792 w 1199950"/>
                <a:gd name="connsiteY2188" fmla="*/ 619646 h 637350"/>
                <a:gd name="connsiteX2189" fmla="*/ 273038 w 1199950"/>
                <a:gd name="connsiteY2189" fmla="*/ 622400 h 637350"/>
                <a:gd name="connsiteX2190" fmla="*/ 276185 w 1199950"/>
                <a:gd name="connsiteY2190" fmla="*/ 621220 h 637350"/>
                <a:gd name="connsiteX2191" fmla="*/ 278939 w 1199950"/>
                <a:gd name="connsiteY2191" fmla="*/ 619646 h 637350"/>
                <a:gd name="connsiteX2192" fmla="*/ 282087 w 1199950"/>
                <a:gd name="connsiteY2192" fmla="*/ 618466 h 637350"/>
                <a:gd name="connsiteX2193" fmla="*/ 278939 w 1199950"/>
                <a:gd name="connsiteY2193" fmla="*/ 620433 h 637350"/>
                <a:gd name="connsiteX2194" fmla="*/ 276579 w 1199950"/>
                <a:gd name="connsiteY2194" fmla="*/ 623187 h 637350"/>
                <a:gd name="connsiteX2195" fmla="*/ 279333 w 1199950"/>
                <a:gd name="connsiteY2195" fmla="*/ 623187 h 637350"/>
                <a:gd name="connsiteX2196" fmla="*/ 282087 w 1199950"/>
                <a:gd name="connsiteY2196" fmla="*/ 622794 h 637350"/>
                <a:gd name="connsiteX2197" fmla="*/ 282087 w 1199950"/>
                <a:gd name="connsiteY2197" fmla="*/ 622794 h 637350"/>
                <a:gd name="connsiteX2198" fmla="*/ 282087 w 1199950"/>
                <a:gd name="connsiteY2198" fmla="*/ 623581 h 637350"/>
                <a:gd name="connsiteX2199" fmla="*/ 279333 w 1199950"/>
                <a:gd name="connsiteY2199" fmla="*/ 625941 h 637350"/>
                <a:gd name="connsiteX2200" fmla="*/ 282087 w 1199950"/>
                <a:gd name="connsiteY2200" fmla="*/ 624368 h 637350"/>
                <a:gd name="connsiteX2201" fmla="*/ 282087 w 1199950"/>
                <a:gd name="connsiteY2201" fmla="*/ 625154 h 637350"/>
                <a:gd name="connsiteX2202" fmla="*/ 280906 w 1199950"/>
                <a:gd name="connsiteY2202" fmla="*/ 626335 h 637350"/>
                <a:gd name="connsiteX2203" fmla="*/ 278152 w 1199950"/>
                <a:gd name="connsiteY2203" fmla="*/ 628302 h 637350"/>
                <a:gd name="connsiteX2204" fmla="*/ 280906 w 1199950"/>
                <a:gd name="connsiteY2204" fmla="*/ 627122 h 637350"/>
                <a:gd name="connsiteX2205" fmla="*/ 282087 w 1199950"/>
                <a:gd name="connsiteY2205" fmla="*/ 625941 h 637350"/>
                <a:gd name="connsiteX2206" fmla="*/ 282087 w 1199950"/>
                <a:gd name="connsiteY2206" fmla="*/ 626728 h 637350"/>
                <a:gd name="connsiteX2207" fmla="*/ 280119 w 1199950"/>
                <a:gd name="connsiteY2207" fmla="*/ 628302 h 637350"/>
                <a:gd name="connsiteX2208" fmla="*/ 277366 w 1199950"/>
                <a:gd name="connsiteY2208" fmla="*/ 629876 h 637350"/>
                <a:gd name="connsiteX2209" fmla="*/ 275792 w 1199950"/>
                <a:gd name="connsiteY2209" fmla="*/ 633023 h 637350"/>
                <a:gd name="connsiteX2210" fmla="*/ 278546 w 1199950"/>
                <a:gd name="connsiteY2210" fmla="*/ 631843 h 637350"/>
                <a:gd name="connsiteX2211" fmla="*/ 281300 w 1199950"/>
                <a:gd name="connsiteY2211" fmla="*/ 631449 h 637350"/>
                <a:gd name="connsiteX2212" fmla="*/ 282087 w 1199950"/>
                <a:gd name="connsiteY2212" fmla="*/ 631056 h 637350"/>
                <a:gd name="connsiteX2213" fmla="*/ 282087 w 1199950"/>
                <a:gd name="connsiteY2213" fmla="*/ 632236 h 637350"/>
                <a:gd name="connsiteX2214" fmla="*/ 281300 w 1199950"/>
                <a:gd name="connsiteY2214" fmla="*/ 632236 h 637350"/>
                <a:gd name="connsiteX2215" fmla="*/ 278546 w 1199950"/>
                <a:gd name="connsiteY2215" fmla="*/ 632630 h 637350"/>
                <a:gd name="connsiteX2216" fmla="*/ 275792 w 1199950"/>
                <a:gd name="connsiteY2216" fmla="*/ 634203 h 637350"/>
                <a:gd name="connsiteX2217" fmla="*/ 278546 w 1199950"/>
                <a:gd name="connsiteY2217" fmla="*/ 636564 h 637350"/>
                <a:gd name="connsiteX2218" fmla="*/ 281300 w 1199950"/>
                <a:gd name="connsiteY2218" fmla="*/ 634597 h 637350"/>
                <a:gd name="connsiteX2219" fmla="*/ 282480 w 1199950"/>
                <a:gd name="connsiteY2219" fmla="*/ 637351 h 637350"/>
                <a:gd name="connsiteX2220" fmla="*/ 284054 w 1199950"/>
                <a:gd name="connsiteY2220" fmla="*/ 637351 h 637350"/>
                <a:gd name="connsiteX2221" fmla="*/ 284447 w 1199950"/>
                <a:gd name="connsiteY2221" fmla="*/ 637351 h 637350"/>
                <a:gd name="connsiteX2222" fmla="*/ 285628 w 1199950"/>
                <a:gd name="connsiteY2222" fmla="*/ 637351 h 637350"/>
                <a:gd name="connsiteX2223" fmla="*/ 287988 w 1199950"/>
                <a:gd name="connsiteY2223" fmla="*/ 637351 h 637350"/>
                <a:gd name="connsiteX2224" fmla="*/ 290742 w 1199950"/>
                <a:gd name="connsiteY2224" fmla="*/ 635384 h 637350"/>
                <a:gd name="connsiteX2225" fmla="*/ 289562 w 1199950"/>
                <a:gd name="connsiteY2225" fmla="*/ 637351 h 637350"/>
                <a:gd name="connsiteX2226" fmla="*/ 290349 w 1199950"/>
                <a:gd name="connsiteY2226" fmla="*/ 637351 h 637350"/>
                <a:gd name="connsiteX2227" fmla="*/ 291136 w 1199950"/>
                <a:gd name="connsiteY2227" fmla="*/ 637351 h 637350"/>
                <a:gd name="connsiteX2228" fmla="*/ 291922 w 1199950"/>
                <a:gd name="connsiteY2228" fmla="*/ 637351 h 637350"/>
                <a:gd name="connsiteX2229" fmla="*/ 292709 w 1199950"/>
                <a:gd name="connsiteY2229" fmla="*/ 637351 h 637350"/>
                <a:gd name="connsiteX2230" fmla="*/ 293889 w 1199950"/>
                <a:gd name="connsiteY2230" fmla="*/ 637351 h 637350"/>
                <a:gd name="connsiteX2231" fmla="*/ 297037 w 1199950"/>
                <a:gd name="connsiteY2231" fmla="*/ 635777 h 637350"/>
                <a:gd name="connsiteX2232" fmla="*/ 294283 w 1199950"/>
                <a:gd name="connsiteY2232" fmla="*/ 633023 h 637350"/>
                <a:gd name="connsiteX2233" fmla="*/ 293103 w 1199950"/>
                <a:gd name="connsiteY2233" fmla="*/ 633416 h 637350"/>
                <a:gd name="connsiteX2234" fmla="*/ 294676 w 1199950"/>
                <a:gd name="connsiteY2234" fmla="*/ 632236 h 637350"/>
                <a:gd name="connsiteX2235" fmla="*/ 295857 w 1199950"/>
                <a:gd name="connsiteY2235" fmla="*/ 632236 h 637350"/>
                <a:gd name="connsiteX2236" fmla="*/ 298611 w 1199950"/>
                <a:gd name="connsiteY2236" fmla="*/ 629876 h 637350"/>
                <a:gd name="connsiteX2237" fmla="*/ 298611 w 1199950"/>
                <a:gd name="connsiteY2237" fmla="*/ 629482 h 637350"/>
                <a:gd name="connsiteX2238" fmla="*/ 300971 w 1199950"/>
                <a:gd name="connsiteY2238" fmla="*/ 627908 h 637350"/>
                <a:gd name="connsiteX2239" fmla="*/ 302151 w 1199950"/>
                <a:gd name="connsiteY2239" fmla="*/ 628695 h 637350"/>
                <a:gd name="connsiteX2240" fmla="*/ 304119 w 1199950"/>
                <a:gd name="connsiteY2240" fmla="*/ 625941 h 637350"/>
                <a:gd name="connsiteX2241" fmla="*/ 303332 w 1199950"/>
                <a:gd name="connsiteY2241" fmla="*/ 628695 h 637350"/>
                <a:gd name="connsiteX2242" fmla="*/ 300971 w 1199950"/>
                <a:gd name="connsiteY2242" fmla="*/ 631449 h 637350"/>
                <a:gd name="connsiteX2243" fmla="*/ 303725 w 1199950"/>
                <a:gd name="connsiteY2243" fmla="*/ 631843 h 637350"/>
                <a:gd name="connsiteX2244" fmla="*/ 306086 w 1199950"/>
                <a:gd name="connsiteY2244" fmla="*/ 632236 h 637350"/>
                <a:gd name="connsiteX2245" fmla="*/ 303332 w 1199950"/>
                <a:gd name="connsiteY2245" fmla="*/ 631843 h 637350"/>
                <a:gd name="connsiteX2246" fmla="*/ 300578 w 1199950"/>
                <a:gd name="connsiteY2246" fmla="*/ 633810 h 637350"/>
                <a:gd name="connsiteX2247" fmla="*/ 303332 w 1199950"/>
                <a:gd name="connsiteY2247" fmla="*/ 635384 h 637350"/>
                <a:gd name="connsiteX2248" fmla="*/ 306479 w 1199950"/>
                <a:gd name="connsiteY2248" fmla="*/ 635777 h 637350"/>
                <a:gd name="connsiteX2249" fmla="*/ 303332 w 1199950"/>
                <a:gd name="connsiteY2249" fmla="*/ 636957 h 637350"/>
                <a:gd name="connsiteX2250" fmla="*/ 304119 w 1199950"/>
                <a:gd name="connsiteY2250" fmla="*/ 637351 h 637350"/>
                <a:gd name="connsiteX2251" fmla="*/ 307266 w 1199950"/>
                <a:gd name="connsiteY2251" fmla="*/ 638531 h 637350"/>
                <a:gd name="connsiteX2252" fmla="*/ 310020 w 1199950"/>
                <a:gd name="connsiteY2252" fmla="*/ 639711 h 637350"/>
                <a:gd name="connsiteX2253" fmla="*/ 313167 w 1199950"/>
                <a:gd name="connsiteY2253" fmla="*/ 636957 h 637350"/>
                <a:gd name="connsiteX2254" fmla="*/ 313167 w 1199950"/>
                <a:gd name="connsiteY2254" fmla="*/ 634597 h 637350"/>
                <a:gd name="connsiteX2255" fmla="*/ 316315 w 1199950"/>
                <a:gd name="connsiteY2255" fmla="*/ 635777 h 637350"/>
                <a:gd name="connsiteX2256" fmla="*/ 319462 w 1199950"/>
                <a:gd name="connsiteY2256" fmla="*/ 636957 h 637350"/>
                <a:gd name="connsiteX2257" fmla="*/ 321429 w 1199950"/>
                <a:gd name="connsiteY2257" fmla="*/ 636957 h 637350"/>
                <a:gd name="connsiteX2258" fmla="*/ 321036 w 1199950"/>
                <a:gd name="connsiteY2258" fmla="*/ 634990 h 637350"/>
                <a:gd name="connsiteX2259" fmla="*/ 318282 w 1199950"/>
                <a:gd name="connsiteY2259" fmla="*/ 634597 h 637350"/>
                <a:gd name="connsiteX2260" fmla="*/ 315135 w 1199950"/>
                <a:gd name="connsiteY2260" fmla="*/ 634203 h 637350"/>
                <a:gd name="connsiteX2261" fmla="*/ 311987 w 1199950"/>
                <a:gd name="connsiteY2261" fmla="*/ 633810 h 637350"/>
                <a:gd name="connsiteX2262" fmla="*/ 309233 w 1199950"/>
                <a:gd name="connsiteY2262" fmla="*/ 633023 h 637350"/>
                <a:gd name="connsiteX2263" fmla="*/ 306873 w 1199950"/>
                <a:gd name="connsiteY2263" fmla="*/ 632630 h 637350"/>
                <a:gd name="connsiteX2264" fmla="*/ 309626 w 1199950"/>
                <a:gd name="connsiteY2264" fmla="*/ 632236 h 637350"/>
                <a:gd name="connsiteX2265" fmla="*/ 312774 w 1199950"/>
                <a:gd name="connsiteY2265" fmla="*/ 633023 h 637350"/>
                <a:gd name="connsiteX2266" fmla="*/ 315528 w 1199950"/>
                <a:gd name="connsiteY2266" fmla="*/ 633416 h 637350"/>
                <a:gd name="connsiteX2267" fmla="*/ 318675 w 1199950"/>
                <a:gd name="connsiteY2267" fmla="*/ 634203 h 637350"/>
                <a:gd name="connsiteX2268" fmla="*/ 321429 w 1199950"/>
                <a:gd name="connsiteY2268" fmla="*/ 634597 h 637350"/>
                <a:gd name="connsiteX2269" fmla="*/ 324183 w 1199950"/>
                <a:gd name="connsiteY2269" fmla="*/ 633416 h 637350"/>
                <a:gd name="connsiteX2270" fmla="*/ 322610 w 1199950"/>
                <a:gd name="connsiteY2270" fmla="*/ 630662 h 637350"/>
                <a:gd name="connsiteX2271" fmla="*/ 319856 w 1199950"/>
                <a:gd name="connsiteY2271" fmla="*/ 630662 h 637350"/>
                <a:gd name="connsiteX2272" fmla="*/ 322610 w 1199950"/>
                <a:gd name="connsiteY2272" fmla="*/ 629482 h 637350"/>
                <a:gd name="connsiteX2273" fmla="*/ 325757 w 1199950"/>
                <a:gd name="connsiteY2273" fmla="*/ 629482 h 637350"/>
                <a:gd name="connsiteX2274" fmla="*/ 323790 w 1199950"/>
                <a:gd name="connsiteY2274" fmla="*/ 626728 h 637350"/>
                <a:gd name="connsiteX2275" fmla="*/ 321036 w 1199950"/>
                <a:gd name="connsiteY2275" fmla="*/ 625941 h 637350"/>
                <a:gd name="connsiteX2276" fmla="*/ 323790 w 1199950"/>
                <a:gd name="connsiteY2276" fmla="*/ 624761 h 637350"/>
                <a:gd name="connsiteX2277" fmla="*/ 321036 w 1199950"/>
                <a:gd name="connsiteY2277" fmla="*/ 625154 h 637350"/>
                <a:gd name="connsiteX2278" fmla="*/ 318282 w 1199950"/>
                <a:gd name="connsiteY2278" fmla="*/ 626335 h 637350"/>
                <a:gd name="connsiteX2279" fmla="*/ 315135 w 1199950"/>
                <a:gd name="connsiteY2279" fmla="*/ 627122 h 637350"/>
                <a:gd name="connsiteX2280" fmla="*/ 318282 w 1199950"/>
                <a:gd name="connsiteY2280" fmla="*/ 625154 h 637350"/>
                <a:gd name="connsiteX2281" fmla="*/ 320643 w 1199950"/>
                <a:gd name="connsiteY2281" fmla="*/ 622400 h 637350"/>
                <a:gd name="connsiteX2282" fmla="*/ 317495 w 1199950"/>
                <a:gd name="connsiteY2282" fmla="*/ 621614 h 637350"/>
                <a:gd name="connsiteX2283" fmla="*/ 314741 w 1199950"/>
                <a:gd name="connsiteY2283" fmla="*/ 621220 h 637350"/>
                <a:gd name="connsiteX2284" fmla="*/ 311987 w 1199950"/>
                <a:gd name="connsiteY2284" fmla="*/ 620827 h 637350"/>
                <a:gd name="connsiteX2285" fmla="*/ 311594 w 1199950"/>
                <a:gd name="connsiteY2285" fmla="*/ 620827 h 637350"/>
                <a:gd name="connsiteX2286" fmla="*/ 313167 w 1199950"/>
                <a:gd name="connsiteY2286" fmla="*/ 619646 h 637350"/>
                <a:gd name="connsiteX2287" fmla="*/ 314741 w 1199950"/>
                <a:gd name="connsiteY2287" fmla="*/ 620040 h 637350"/>
                <a:gd name="connsiteX2288" fmla="*/ 317495 w 1199950"/>
                <a:gd name="connsiteY2288" fmla="*/ 617679 h 637350"/>
                <a:gd name="connsiteX2289" fmla="*/ 319069 w 1199950"/>
                <a:gd name="connsiteY2289" fmla="*/ 620433 h 637350"/>
                <a:gd name="connsiteX2290" fmla="*/ 321823 w 1199950"/>
                <a:gd name="connsiteY2290" fmla="*/ 621220 h 637350"/>
                <a:gd name="connsiteX2291" fmla="*/ 324577 w 1199950"/>
                <a:gd name="connsiteY2291" fmla="*/ 622400 h 637350"/>
                <a:gd name="connsiteX2292" fmla="*/ 327724 w 1199950"/>
                <a:gd name="connsiteY2292" fmla="*/ 622007 h 637350"/>
                <a:gd name="connsiteX2293" fmla="*/ 324577 w 1199950"/>
                <a:gd name="connsiteY2293" fmla="*/ 620433 h 637350"/>
                <a:gd name="connsiteX2294" fmla="*/ 327724 w 1199950"/>
                <a:gd name="connsiteY2294" fmla="*/ 620827 h 637350"/>
                <a:gd name="connsiteX2295" fmla="*/ 330478 w 1199950"/>
                <a:gd name="connsiteY2295" fmla="*/ 620433 h 637350"/>
                <a:gd name="connsiteX2296" fmla="*/ 333232 w 1199950"/>
                <a:gd name="connsiteY2296" fmla="*/ 620040 h 637350"/>
                <a:gd name="connsiteX2297" fmla="*/ 336380 w 1199950"/>
                <a:gd name="connsiteY2297" fmla="*/ 619253 h 637350"/>
                <a:gd name="connsiteX2298" fmla="*/ 333232 w 1199950"/>
                <a:gd name="connsiteY2298" fmla="*/ 618860 h 637350"/>
                <a:gd name="connsiteX2299" fmla="*/ 330478 w 1199950"/>
                <a:gd name="connsiteY2299" fmla="*/ 618466 h 637350"/>
                <a:gd name="connsiteX2300" fmla="*/ 333232 w 1199950"/>
                <a:gd name="connsiteY2300" fmla="*/ 618860 h 637350"/>
                <a:gd name="connsiteX2301" fmla="*/ 336380 w 1199950"/>
                <a:gd name="connsiteY2301" fmla="*/ 618466 h 637350"/>
                <a:gd name="connsiteX2302" fmla="*/ 339133 w 1199950"/>
                <a:gd name="connsiteY2302" fmla="*/ 616106 h 637350"/>
                <a:gd name="connsiteX2303" fmla="*/ 336380 w 1199950"/>
                <a:gd name="connsiteY2303" fmla="*/ 617286 h 637350"/>
                <a:gd name="connsiteX2304" fmla="*/ 333626 w 1199950"/>
                <a:gd name="connsiteY2304" fmla="*/ 618073 h 637350"/>
                <a:gd name="connsiteX2305" fmla="*/ 330478 w 1199950"/>
                <a:gd name="connsiteY2305" fmla="*/ 617679 h 637350"/>
                <a:gd name="connsiteX2306" fmla="*/ 327724 w 1199950"/>
                <a:gd name="connsiteY2306" fmla="*/ 616892 h 637350"/>
                <a:gd name="connsiteX2307" fmla="*/ 330478 w 1199950"/>
                <a:gd name="connsiteY2307" fmla="*/ 617286 h 637350"/>
                <a:gd name="connsiteX2308" fmla="*/ 333232 w 1199950"/>
                <a:gd name="connsiteY2308" fmla="*/ 617679 h 637350"/>
                <a:gd name="connsiteX2309" fmla="*/ 335986 w 1199950"/>
                <a:gd name="connsiteY2309" fmla="*/ 617286 h 637350"/>
                <a:gd name="connsiteX2310" fmla="*/ 337560 w 1199950"/>
                <a:gd name="connsiteY2310" fmla="*/ 614139 h 637350"/>
                <a:gd name="connsiteX2311" fmla="*/ 334806 w 1199950"/>
                <a:gd name="connsiteY2311" fmla="*/ 613352 h 637350"/>
                <a:gd name="connsiteX2312" fmla="*/ 331658 w 1199950"/>
                <a:gd name="connsiteY2312" fmla="*/ 613352 h 637350"/>
                <a:gd name="connsiteX2313" fmla="*/ 328904 w 1199950"/>
                <a:gd name="connsiteY2313" fmla="*/ 612958 h 637350"/>
                <a:gd name="connsiteX2314" fmla="*/ 326150 w 1199950"/>
                <a:gd name="connsiteY2314" fmla="*/ 612171 h 637350"/>
                <a:gd name="connsiteX2315" fmla="*/ 328904 w 1199950"/>
                <a:gd name="connsiteY2315" fmla="*/ 612565 h 637350"/>
                <a:gd name="connsiteX2316" fmla="*/ 331658 w 1199950"/>
                <a:gd name="connsiteY2316" fmla="*/ 612565 h 637350"/>
                <a:gd name="connsiteX2317" fmla="*/ 334806 w 1199950"/>
                <a:gd name="connsiteY2317" fmla="*/ 613352 h 637350"/>
                <a:gd name="connsiteX2318" fmla="*/ 337560 w 1199950"/>
                <a:gd name="connsiteY2318" fmla="*/ 613745 h 637350"/>
                <a:gd name="connsiteX2319" fmla="*/ 340707 w 1199950"/>
                <a:gd name="connsiteY2319" fmla="*/ 612958 h 637350"/>
                <a:gd name="connsiteX2320" fmla="*/ 337953 w 1199950"/>
                <a:gd name="connsiteY2320" fmla="*/ 612171 h 637350"/>
                <a:gd name="connsiteX2321" fmla="*/ 334806 w 1199950"/>
                <a:gd name="connsiteY2321" fmla="*/ 611778 h 637350"/>
                <a:gd name="connsiteX2322" fmla="*/ 332052 w 1199950"/>
                <a:gd name="connsiteY2322" fmla="*/ 610991 h 637350"/>
                <a:gd name="connsiteX2323" fmla="*/ 329298 w 1199950"/>
                <a:gd name="connsiteY2323" fmla="*/ 610598 h 637350"/>
                <a:gd name="connsiteX2324" fmla="*/ 328511 w 1199950"/>
                <a:gd name="connsiteY2324" fmla="*/ 610204 h 637350"/>
                <a:gd name="connsiteX2325" fmla="*/ 328904 w 1199950"/>
                <a:gd name="connsiteY2325" fmla="*/ 609811 h 637350"/>
                <a:gd name="connsiteX2326" fmla="*/ 329298 w 1199950"/>
                <a:gd name="connsiteY2326" fmla="*/ 609811 h 637350"/>
                <a:gd name="connsiteX2327" fmla="*/ 332052 w 1199950"/>
                <a:gd name="connsiteY2327" fmla="*/ 610204 h 637350"/>
                <a:gd name="connsiteX2328" fmla="*/ 334806 w 1199950"/>
                <a:gd name="connsiteY2328" fmla="*/ 610598 h 637350"/>
                <a:gd name="connsiteX2329" fmla="*/ 337953 w 1199950"/>
                <a:gd name="connsiteY2329" fmla="*/ 610204 h 637350"/>
                <a:gd name="connsiteX2330" fmla="*/ 341101 w 1199950"/>
                <a:gd name="connsiteY2330" fmla="*/ 609811 h 637350"/>
                <a:gd name="connsiteX2331" fmla="*/ 342674 w 1199950"/>
                <a:gd name="connsiteY2331" fmla="*/ 607057 h 637350"/>
                <a:gd name="connsiteX2332" fmla="*/ 345428 w 1199950"/>
                <a:gd name="connsiteY2332" fmla="*/ 605483 h 637350"/>
                <a:gd name="connsiteX2333" fmla="*/ 342674 w 1199950"/>
                <a:gd name="connsiteY2333" fmla="*/ 605877 h 637350"/>
                <a:gd name="connsiteX2334" fmla="*/ 339920 w 1199950"/>
                <a:gd name="connsiteY2334" fmla="*/ 605483 h 637350"/>
                <a:gd name="connsiteX2335" fmla="*/ 336773 w 1199950"/>
                <a:gd name="connsiteY2335" fmla="*/ 605090 h 637350"/>
                <a:gd name="connsiteX2336" fmla="*/ 337560 w 1199950"/>
                <a:gd name="connsiteY2336" fmla="*/ 604303 h 637350"/>
                <a:gd name="connsiteX2337" fmla="*/ 340314 w 1199950"/>
                <a:gd name="connsiteY2337" fmla="*/ 604696 h 637350"/>
                <a:gd name="connsiteX2338" fmla="*/ 343461 w 1199950"/>
                <a:gd name="connsiteY2338" fmla="*/ 604696 h 637350"/>
                <a:gd name="connsiteX2339" fmla="*/ 346215 w 1199950"/>
                <a:gd name="connsiteY2339" fmla="*/ 603516 h 637350"/>
                <a:gd name="connsiteX2340" fmla="*/ 343068 w 1199950"/>
                <a:gd name="connsiteY2340" fmla="*/ 602729 h 637350"/>
                <a:gd name="connsiteX2341" fmla="*/ 340314 w 1199950"/>
                <a:gd name="connsiteY2341" fmla="*/ 602336 h 637350"/>
                <a:gd name="connsiteX2342" fmla="*/ 339920 w 1199950"/>
                <a:gd name="connsiteY2342" fmla="*/ 602336 h 637350"/>
                <a:gd name="connsiteX2343" fmla="*/ 340314 w 1199950"/>
                <a:gd name="connsiteY2343" fmla="*/ 601942 h 637350"/>
                <a:gd name="connsiteX2344" fmla="*/ 343068 w 1199950"/>
                <a:gd name="connsiteY2344" fmla="*/ 601942 h 637350"/>
                <a:gd name="connsiteX2345" fmla="*/ 346215 w 1199950"/>
                <a:gd name="connsiteY2345" fmla="*/ 602729 h 637350"/>
                <a:gd name="connsiteX2346" fmla="*/ 348969 w 1199950"/>
                <a:gd name="connsiteY2346" fmla="*/ 600369 h 637350"/>
                <a:gd name="connsiteX2347" fmla="*/ 346215 w 1199950"/>
                <a:gd name="connsiteY2347" fmla="*/ 600762 h 637350"/>
                <a:gd name="connsiteX2348" fmla="*/ 343461 w 1199950"/>
                <a:gd name="connsiteY2348" fmla="*/ 600762 h 637350"/>
                <a:gd name="connsiteX2349" fmla="*/ 346215 w 1199950"/>
                <a:gd name="connsiteY2349" fmla="*/ 599582 h 637350"/>
                <a:gd name="connsiteX2350" fmla="*/ 343461 w 1199950"/>
                <a:gd name="connsiteY2350" fmla="*/ 598795 h 637350"/>
                <a:gd name="connsiteX2351" fmla="*/ 343461 w 1199950"/>
                <a:gd name="connsiteY2351" fmla="*/ 598795 h 637350"/>
                <a:gd name="connsiteX2352" fmla="*/ 343855 w 1199950"/>
                <a:gd name="connsiteY2352" fmla="*/ 598401 h 637350"/>
                <a:gd name="connsiteX2353" fmla="*/ 346215 w 1199950"/>
                <a:gd name="connsiteY2353" fmla="*/ 598795 h 637350"/>
                <a:gd name="connsiteX2354" fmla="*/ 348969 w 1199950"/>
                <a:gd name="connsiteY2354" fmla="*/ 599188 h 637350"/>
                <a:gd name="connsiteX2355" fmla="*/ 351723 w 1199950"/>
                <a:gd name="connsiteY2355" fmla="*/ 598008 h 637350"/>
                <a:gd name="connsiteX2356" fmla="*/ 354477 w 1199950"/>
                <a:gd name="connsiteY2356" fmla="*/ 595647 h 637350"/>
                <a:gd name="connsiteX2357" fmla="*/ 354870 w 1199950"/>
                <a:gd name="connsiteY2357" fmla="*/ 592500 h 637350"/>
                <a:gd name="connsiteX2358" fmla="*/ 349756 w 1199950"/>
                <a:gd name="connsiteY2358" fmla="*/ 592500 h 637350"/>
                <a:gd name="connsiteX2359" fmla="*/ 350543 w 1199950"/>
                <a:gd name="connsiteY2359" fmla="*/ 591713 h 637350"/>
                <a:gd name="connsiteX2360" fmla="*/ 352510 w 1199950"/>
                <a:gd name="connsiteY2360" fmla="*/ 591713 h 637350"/>
                <a:gd name="connsiteX2361" fmla="*/ 355264 w 1199950"/>
                <a:gd name="connsiteY2361" fmla="*/ 592107 h 637350"/>
                <a:gd name="connsiteX2362" fmla="*/ 358411 w 1199950"/>
                <a:gd name="connsiteY2362" fmla="*/ 591320 h 637350"/>
                <a:gd name="connsiteX2363" fmla="*/ 359985 w 1199950"/>
                <a:gd name="connsiteY2363" fmla="*/ 588566 h 637350"/>
                <a:gd name="connsiteX2364" fmla="*/ 362739 w 1199950"/>
                <a:gd name="connsiteY2364" fmla="*/ 586992 h 637350"/>
                <a:gd name="connsiteX2365" fmla="*/ 359985 w 1199950"/>
                <a:gd name="connsiteY2365" fmla="*/ 588172 h 637350"/>
                <a:gd name="connsiteX2366" fmla="*/ 357231 w 1199950"/>
                <a:gd name="connsiteY2366" fmla="*/ 587779 h 637350"/>
                <a:gd name="connsiteX2367" fmla="*/ 355264 w 1199950"/>
                <a:gd name="connsiteY2367" fmla="*/ 586992 h 637350"/>
                <a:gd name="connsiteX2368" fmla="*/ 356051 w 1199950"/>
                <a:gd name="connsiteY2368" fmla="*/ 586205 h 637350"/>
                <a:gd name="connsiteX2369" fmla="*/ 357231 w 1199950"/>
                <a:gd name="connsiteY2369" fmla="*/ 586599 h 637350"/>
                <a:gd name="connsiteX2370" fmla="*/ 360379 w 1199950"/>
                <a:gd name="connsiteY2370" fmla="*/ 586205 h 637350"/>
                <a:gd name="connsiteX2371" fmla="*/ 363133 w 1199950"/>
                <a:gd name="connsiteY2371" fmla="*/ 585812 h 637350"/>
                <a:gd name="connsiteX2372" fmla="*/ 366280 w 1199950"/>
                <a:gd name="connsiteY2372" fmla="*/ 583845 h 637350"/>
                <a:gd name="connsiteX2373" fmla="*/ 365100 w 1199950"/>
                <a:gd name="connsiteY2373" fmla="*/ 581091 h 637350"/>
                <a:gd name="connsiteX2374" fmla="*/ 368247 w 1199950"/>
                <a:gd name="connsiteY2374" fmla="*/ 580697 h 637350"/>
                <a:gd name="connsiteX2375" fmla="*/ 367854 w 1199950"/>
                <a:gd name="connsiteY2375" fmla="*/ 577550 h 637350"/>
                <a:gd name="connsiteX2376" fmla="*/ 364706 w 1199950"/>
                <a:gd name="connsiteY2376" fmla="*/ 577943 h 637350"/>
                <a:gd name="connsiteX2377" fmla="*/ 361952 w 1199950"/>
                <a:gd name="connsiteY2377" fmla="*/ 579517 h 637350"/>
                <a:gd name="connsiteX2378" fmla="*/ 362739 w 1199950"/>
                <a:gd name="connsiteY2378" fmla="*/ 577550 h 637350"/>
                <a:gd name="connsiteX2379" fmla="*/ 364313 w 1199950"/>
                <a:gd name="connsiteY2379" fmla="*/ 576370 h 637350"/>
                <a:gd name="connsiteX2380" fmla="*/ 367460 w 1199950"/>
                <a:gd name="connsiteY2380" fmla="*/ 573616 h 637350"/>
                <a:gd name="connsiteX2381" fmla="*/ 370214 w 1199950"/>
                <a:gd name="connsiteY2381" fmla="*/ 570862 h 637350"/>
                <a:gd name="connsiteX2382" fmla="*/ 368640 w 1199950"/>
                <a:gd name="connsiteY2382" fmla="*/ 568108 h 637350"/>
                <a:gd name="connsiteX2383" fmla="*/ 367460 w 1199950"/>
                <a:gd name="connsiteY2383" fmla="*/ 567714 h 637350"/>
                <a:gd name="connsiteX2384" fmla="*/ 368247 w 1199950"/>
                <a:gd name="connsiteY2384" fmla="*/ 565747 h 637350"/>
                <a:gd name="connsiteX2385" fmla="*/ 371001 w 1199950"/>
                <a:gd name="connsiteY2385" fmla="*/ 566534 h 637350"/>
                <a:gd name="connsiteX2386" fmla="*/ 373755 w 1199950"/>
                <a:gd name="connsiteY2386" fmla="*/ 566141 h 637350"/>
                <a:gd name="connsiteX2387" fmla="*/ 371001 w 1199950"/>
                <a:gd name="connsiteY2387" fmla="*/ 564567 h 637350"/>
                <a:gd name="connsiteX2388" fmla="*/ 369427 w 1199950"/>
                <a:gd name="connsiteY2388" fmla="*/ 563387 h 637350"/>
                <a:gd name="connsiteX2389" fmla="*/ 369821 w 1199950"/>
                <a:gd name="connsiteY2389" fmla="*/ 562993 h 637350"/>
                <a:gd name="connsiteX2390" fmla="*/ 371394 w 1199950"/>
                <a:gd name="connsiteY2390" fmla="*/ 563387 h 637350"/>
                <a:gd name="connsiteX2391" fmla="*/ 370608 w 1199950"/>
                <a:gd name="connsiteY2391" fmla="*/ 561419 h 637350"/>
                <a:gd name="connsiteX2392" fmla="*/ 372968 w 1199950"/>
                <a:gd name="connsiteY2392" fmla="*/ 556698 h 637350"/>
                <a:gd name="connsiteX2393" fmla="*/ 374148 w 1199950"/>
                <a:gd name="connsiteY2393" fmla="*/ 556698 h 637350"/>
                <a:gd name="connsiteX2394" fmla="*/ 376903 w 1199950"/>
                <a:gd name="connsiteY2394" fmla="*/ 556305 h 637350"/>
                <a:gd name="connsiteX2395" fmla="*/ 379657 w 1199950"/>
                <a:gd name="connsiteY2395" fmla="*/ 555518 h 637350"/>
                <a:gd name="connsiteX2396" fmla="*/ 382804 w 1199950"/>
                <a:gd name="connsiteY2396" fmla="*/ 554338 h 637350"/>
                <a:gd name="connsiteX2397" fmla="*/ 381624 w 1199950"/>
                <a:gd name="connsiteY2397" fmla="*/ 553944 h 637350"/>
                <a:gd name="connsiteX2398" fmla="*/ 384377 w 1199950"/>
                <a:gd name="connsiteY2398" fmla="*/ 552371 h 637350"/>
                <a:gd name="connsiteX2399" fmla="*/ 387525 w 1199950"/>
                <a:gd name="connsiteY2399" fmla="*/ 552764 h 637350"/>
                <a:gd name="connsiteX2400" fmla="*/ 389492 w 1199950"/>
                <a:gd name="connsiteY2400" fmla="*/ 549617 h 637350"/>
                <a:gd name="connsiteX2401" fmla="*/ 392246 w 1199950"/>
                <a:gd name="connsiteY2401" fmla="*/ 550010 h 637350"/>
                <a:gd name="connsiteX2402" fmla="*/ 391853 w 1199950"/>
                <a:gd name="connsiteY2402" fmla="*/ 546863 h 637350"/>
                <a:gd name="connsiteX2403" fmla="*/ 388705 w 1199950"/>
                <a:gd name="connsiteY2403" fmla="*/ 546469 h 637350"/>
                <a:gd name="connsiteX2404" fmla="*/ 385951 w 1199950"/>
                <a:gd name="connsiteY2404" fmla="*/ 546469 h 637350"/>
                <a:gd name="connsiteX2405" fmla="*/ 384377 w 1199950"/>
                <a:gd name="connsiteY2405" fmla="*/ 545289 h 637350"/>
                <a:gd name="connsiteX2406" fmla="*/ 386345 w 1199950"/>
                <a:gd name="connsiteY2406" fmla="*/ 544109 h 637350"/>
                <a:gd name="connsiteX2407" fmla="*/ 388705 w 1199950"/>
                <a:gd name="connsiteY2407" fmla="*/ 544109 h 637350"/>
                <a:gd name="connsiteX2408" fmla="*/ 391459 w 1199950"/>
                <a:gd name="connsiteY2408" fmla="*/ 546076 h 637350"/>
                <a:gd name="connsiteX2409" fmla="*/ 394607 w 1199950"/>
                <a:gd name="connsiteY2409" fmla="*/ 545682 h 637350"/>
                <a:gd name="connsiteX2410" fmla="*/ 393426 w 1199950"/>
                <a:gd name="connsiteY2410" fmla="*/ 542928 h 637350"/>
                <a:gd name="connsiteX2411" fmla="*/ 390672 w 1199950"/>
                <a:gd name="connsiteY2411" fmla="*/ 541355 h 637350"/>
                <a:gd name="connsiteX2412" fmla="*/ 391066 w 1199950"/>
                <a:gd name="connsiteY2412" fmla="*/ 541355 h 637350"/>
                <a:gd name="connsiteX2413" fmla="*/ 393426 w 1199950"/>
                <a:gd name="connsiteY2413" fmla="*/ 541748 h 637350"/>
                <a:gd name="connsiteX2414" fmla="*/ 396180 w 1199950"/>
                <a:gd name="connsiteY2414" fmla="*/ 544109 h 637350"/>
                <a:gd name="connsiteX2415" fmla="*/ 399328 w 1199950"/>
                <a:gd name="connsiteY2415" fmla="*/ 543715 h 637350"/>
                <a:gd name="connsiteX2416" fmla="*/ 399721 w 1199950"/>
                <a:gd name="connsiteY2416" fmla="*/ 540961 h 637350"/>
                <a:gd name="connsiteX2417" fmla="*/ 397361 w 1199950"/>
                <a:gd name="connsiteY2417" fmla="*/ 537814 h 637350"/>
                <a:gd name="connsiteX2418" fmla="*/ 396967 w 1199950"/>
                <a:gd name="connsiteY2418" fmla="*/ 537814 h 637350"/>
                <a:gd name="connsiteX2419" fmla="*/ 398147 w 1199950"/>
                <a:gd name="connsiteY2419" fmla="*/ 537027 h 637350"/>
                <a:gd name="connsiteX2420" fmla="*/ 399328 w 1199950"/>
                <a:gd name="connsiteY2420" fmla="*/ 538207 h 637350"/>
                <a:gd name="connsiteX2421" fmla="*/ 402475 w 1199950"/>
                <a:gd name="connsiteY2421" fmla="*/ 540568 h 637350"/>
                <a:gd name="connsiteX2422" fmla="*/ 407983 w 1199950"/>
                <a:gd name="connsiteY2422" fmla="*/ 540961 h 637350"/>
                <a:gd name="connsiteX2423" fmla="*/ 408377 w 1199950"/>
                <a:gd name="connsiteY2423" fmla="*/ 538601 h 637350"/>
                <a:gd name="connsiteX2424" fmla="*/ 405229 w 1199950"/>
                <a:gd name="connsiteY2424" fmla="*/ 536240 h 637350"/>
                <a:gd name="connsiteX2425" fmla="*/ 402475 w 1199950"/>
                <a:gd name="connsiteY2425" fmla="*/ 534666 h 637350"/>
                <a:gd name="connsiteX2426" fmla="*/ 402475 w 1199950"/>
                <a:gd name="connsiteY2426" fmla="*/ 534666 h 637350"/>
                <a:gd name="connsiteX2427" fmla="*/ 402869 w 1199950"/>
                <a:gd name="connsiteY2427" fmla="*/ 534273 h 637350"/>
                <a:gd name="connsiteX2428" fmla="*/ 403262 w 1199950"/>
                <a:gd name="connsiteY2428" fmla="*/ 534273 h 637350"/>
                <a:gd name="connsiteX2429" fmla="*/ 406016 w 1199950"/>
                <a:gd name="connsiteY2429" fmla="*/ 535847 h 637350"/>
                <a:gd name="connsiteX2430" fmla="*/ 408770 w 1199950"/>
                <a:gd name="connsiteY2430" fmla="*/ 537420 h 637350"/>
                <a:gd name="connsiteX2431" fmla="*/ 406016 w 1199950"/>
                <a:gd name="connsiteY2431" fmla="*/ 535060 h 637350"/>
                <a:gd name="connsiteX2432" fmla="*/ 403655 w 1199950"/>
                <a:gd name="connsiteY2432" fmla="*/ 533880 h 637350"/>
                <a:gd name="connsiteX2433" fmla="*/ 403655 w 1199950"/>
                <a:gd name="connsiteY2433" fmla="*/ 533880 h 637350"/>
                <a:gd name="connsiteX2434" fmla="*/ 405623 w 1199950"/>
                <a:gd name="connsiteY2434" fmla="*/ 534666 h 637350"/>
                <a:gd name="connsiteX2435" fmla="*/ 405623 w 1199950"/>
                <a:gd name="connsiteY2435" fmla="*/ 532699 h 637350"/>
                <a:gd name="connsiteX2436" fmla="*/ 406409 w 1199950"/>
                <a:gd name="connsiteY2436" fmla="*/ 532306 h 637350"/>
                <a:gd name="connsiteX2437" fmla="*/ 408377 w 1199950"/>
                <a:gd name="connsiteY2437" fmla="*/ 533880 h 637350"/>
                <a:gd name="connsiteX2438" fmla="*/ 411131 w 1199950"/>
                <a:gd name="connsiteY2438" fmla="*/ 535453 h 637350"/>
                <a:gd name="connsiteX2439" fmla="*/ 409164 w 1199950"/>
                <a:gd name="connsiteY2439" fmla="*/ 532699 h 637350"/>
                <a:gd name="connsiteX2440" fmla="*/ 412311 w 1199950"/>
                <a:gd name="connsiteY2440" fmla="*/ 534273 h 637350"/>
                <a:gd name="connsiteX2441" fmla="*/ 414278 w 1199950"/>
                <a:gd name="connsiteY2441" fmla="*/ 531126 h 637350"/>
                <a:gd name="connsiteX2442" fmla="*/ 417032 w 1199950"/>
                <a:gd name="connsiteY2442" fmla="*/ 532306 h 637350"/>
                <a:gd name="connsiteX2443" fmla="*/ 419786 w 1199950"/>
                <a:gd name="connsiteY2443" fmla="*/ 531912 h 637350"/>
                <a:gd name="connsiteX2444" fmla="*/ 418606 w 1199950"/>
                <a:gd name="connsiteY2444" fmla="*/ 529158 h 637350"/>
                <a:gd name="connsiteX2445" fmla="*/ 415458 w 1199950"/>
                <a:gd name="connsiteY2445" fmla="*/ 527191 h 637350"/>
                <a:gd name="connsiteX2446" fmla="*/ 414672 w 1199950"/>
                <a:gd name="connsiteY2446" fmla="*/ 527191 h 637350"/>
                <a:gd name="connsiteX2447" fmla="*/ 415852 w 1199950"/>
                <a:gd name="connsiteY2447" fmla="*/ 526011 h 637350"/>
                <a:gd name="connsiteX2448" fmla="*/ 417819 w 1199950"/>
                <a:gd name="connsiteY2448" fmla="*/ 526404 h 637350"/>
                <a:gd name="connsiteX2449" fmla="*/ 420573 w 1199950"/>
                <a:gd name="connsiteY2449" fmla="*/ 526798 h 637350"/>
                <a:gd name="connsiteX2450" fmla="*/ 423720 w 1199950"/>
                <a:gd name="connsiteY2450" fmla="*/ 526011 h 637350"/>
                <a:gd name="connsiteX2451" fmla="*/ 426474 w 1199950"/>
                <a:gd name="connsiteY2451" fmla="*/ 526404 h 637350"/>
                <a:gd name="connsiteX2452" fmla="*/ 426081 w 1199950"/>
                <a:gd name="connsiteY2452" fmla="*/ 523650 h 637350"/>
                <a:gd name="connsiteX2453" fmla="*/ 427261 w 1199950"/>
                <a:gd name="connsiteY2453" fmla="*/ 520896 h 637350"/>
                <a:gd name="connsiteX2454" fmla="*/ 424507 w 1199950"/>
                <a:gd name="connsiteY2454" fmla="*/ 519323 h 637350"/>
                <a:gd name="connsiteX2455" fmla="*/ 427261 w 1199950"/>
                <a:gd name="connsiteY2455" fmla="*/ 518536 h 637350"/>
                <a:gd name="connsiteX2456" fmla="*/ 430409 w 1199950"/>
                <a:gd name="connsiteY2456" fmla="*/ 515782 h 637350"/>
                <a:gd name="connsiteX2457" fmla="*/ 428442 w 1199950"/>
                <a:gd name="connsiteY2457" fmla="*/ 513028 h 637350"/>
                <a:gd name="connsiteX2458" fmla="*/ 428442 w 1199950"/>
                <a:gd name="connsiteY2458" fmla="*/ 513028 h 637350"/>
                <a:gd name="connsiteX2459" fmla="*/ 430015 w 1199950"/>
                <a:gd name="connsiteY2459" fmla="*/ 511454 h 637350"/>
                <a:gd name="connsiteX2460" fmla="*/ 430802 w 1199950"/>
                <a:gd name="connsiteY2460" fmla="*/ 511454 h 637350"/>
                <a:gd name="connsiteX2461" fmla="*/ 430802 w 1199950"/>
                <a:gd name="connsiteY2461" fmla="*/ 511061 h 637350"/>
                <a:gd name="connsiteX2462" fmla="*/ 434343 w 1199950"/>
                <a:gd name="connsiteY2462" fmla="*/ 507520 h 637350"/>
                <a:gd name="connsiteX2463" fmla="*/ 435130 w 1199950"/>
                <a:gd name="connsiteY2463" fmla="*/ 507913 h 637350"/>
                <a:gd name="connsiteX2464" fmla="*/ 437883 w 1199950"/>
                <a:gd name="connsiteY2464" fmla="*/ 507520 h 637350"/>
                <a:gd name="connsiteX2465" fmla="*/ 437097 w 1199950"/>
                <a:gd name="connsiteY2465" fmla="*/ 504766 h 637350"/>
                <a:gd name="connsiteX2466" fmla="*/ 437097 w 1199950"/>
                <a:gd name="connsiteY2466" fmla="*/ 504766 h 637350"/>
                <a:gd name="connsiteX2467" fmla="*/ 438277 w 1199950"/>
                <a:gd name="connsiteY2467" fmla="*/ 503586 h 637350"/>
                <a:gd name="connsiteX2468" fmla="*/ 440638 w 1199950"/>
                <a:gd name="connsiteY2468" fmla="*/ 503979 h 637350"/>
                <a:gd name="connsiteX2469" fmla="*/ 443785 w 1199950"/>
                <a:gd name="connsiteY2469" fmla="*/ 504766 h 637350"/>
                <a:gd name="connsiteX2470" fmla="*/ 444179 w 1199950"/>
                <a:gd name="connsiteY2470" fmla="*/ 504373 h 637350"/>
                <a:gd name="connsiteX2471" fmla="*/ 442605 w 1199950"/>
                <a:gd name="connsiteY2471" fmla="*/ 501619 h 637350"/>
                <a:gd name="connsiteX2472" fmla="*/ 440638 w 1199950"/>
                <a:gd name="connsiteY2472" fmla="*/ 501225 h 637350"/>
                <a:gd name="connsiteX2473" fmla="*/ 455981 w 1199950"/>
                <a:gd name="connsiteY2473" fmla="*/ 485095 h 637350"/>
                <a:gd name="connsiteX2474" fmla="*/ 456375 w 1199950"/>
                <a:gd name="connsiteY2474" fmla="*/ 484701 h 637350"/>
                <a:gd name="connsiteX2475" fmla="*/ 456768 w 1199950"/>
                <a:gd name="connsiteY2475" fmla="*/ 483521 h 637350"/>
                <a:gd name="connsiteX2476" fmla="*/ 457161 w 1199950"/>
                <a:gd name="connsiteY2476" fmla="*/ 482341 h 637350"/>
                <a:gd name="connsiteX2477" fmla="*/ 457555 w 1199950"/>
                <a:gd name="connsiteY2477" fmla="*/ 481947 h 637350"/>
                <a:gd name="connsiteX2478" fmla="*/ 460309 w 1199950"/>
                <a:gd name="connsiteY2478" fmla="*/ 480374 h 637350"/>
                <a:gd name="connsiteX2479" fmla="*/ 463456 w 1199950"/>
                <a:gd name="connsiteY2479" fmla="*/ 480767 h 637350"/>
                <a:gd name="connsiteX2480" fmla="*/ 461096 w 1199950"/>
                <a:gd name="connsiteY2480" fmla="*/ 478013 h 637350"/>
                <a:gd name="connsiteX2481" fmla="*/ 464243 w 1199950"/>
                <a:gd name="connsiteY2481" fmla="*/ 476439 h 637350"/>
                <a:gd name="connsiteX2482" fmla="*/ 461096 w 1199950"/>
                <a:gd name="connsiteY2482" fmla="*/ 475259 h 637350"/>
                <a:gd name="connsiteX2483" fmla="*/ 460309 w 1199950"/>
                <a:gd name="connsiteY2483" fmla="*/ 475259 h 637350"/>
                <a:gd name="connsiteX2484" fmla="*/ 461883 w 1199950"/>
                <a:gd name="connsiteY2484" fmla="*/ 471718 h 637350"/>
                <a:gd name="connsiteX2485" fmla="*/ 462276 w 1199950"/>
                <a:gd name="connsiteY2485" fmla="*/ 472112 h 637350"/>
                <a:gd name="connsiteX2486" fmla="*/ 465423 w 1199950"/>
                <a:gd name="connsiteY2486" fmla="*/ 473685 h 637350"/>
                <a:gd name="connsiteX2487" fmla="*/ 467390 w 1199950"/>
                <a:gd name="connsiteY2487" fmla="*/ 470931 h 637350"/>
                <a:gd name="connsiteX2488" fmla="*/ 468964 w 1199950"/>
                <a:gd name="connsiteY2488" fmla="*/ 469358 h 637350"/>
                <a:gd name="connsiteX2489" fmla="*/ 470538 w 1199950"/>
                <a:gd name="connsiteY2489" fmla="*/ 468571 h 637350"/>
                <a:gd name="connsiteX2490" fmla="*/ 472898 w 1199950"/>
                <a:gd name="connsiteY2490" fmla="*/ 469358 h 637350"/>
                <a:gd name="connsiteX2491" fmla="*/ 474472 w 1199950"/>
                <a:gd name="connsiteY2491" fmla="*/ 472112 h 637350"/>
                <a:gd name="connsiteX2492" fmla="*/ 477226 w 1199950"/>
                <a:gd name="connsiteY2492" fmla="*/ 471718 h 637350"/>
                <a:gd name="connsiteX2493" fmla="*/ 479980 w 1199950"/>
                <a:gd name="connsiteY2493" fmla="*/ 470144 h 637350"/>
                <a:gd name="connsiteX2494" fmla="*/ 478800 w 1199950"/>
                <a:gd name="connsiteY2494" fmla="*/ 467390 h 637350"/>
                <a:gd name="connsiteX2495" fmla="*/ 481947 w 1199950"/>
                <a:gd name="connsiteY2495" fmla="*/ 468964 h 637350"/>
                <a:gd name="connsiteX2496" fmla="*/ 485095 w 1199950"/>
                <a:gd name="connsiteY2496" fmla="*/ 471325 h 637350"/>
                <a:gd name="connsiteX2497" fmla="*/ 487849 w 1199950"/>
                <a:gd name="connsiteY2497" fmla="*/ 470931 h 637350"/>
                <a:gd name="connsiteX2498" fmla="*/ 490603 w 1199950"/>
                <a:gd name="connsiteY2498" fmla="*/ 471325 h 637350"/>
                <a:gd name="connsiteX2499" fmla="*/ 493357 w 1199950"/>
                <a:gd name="connsiteY2499" fmla="*/ 471325 h 637350"/>
                <a:gd name="connsiteX2500" fmla="*/ 490603 w 1199950"/>
                <a:gd name="connsiteY2500" fmla="*/ 468571 h 637350"/>
                <a:gd name="connsiteX2501" fmla="*/ 493357 w 1199950"/>
                <a:gd name="connsiteY2501" fmla="*/ 468571 h 637350"/>
                <a:gd name="connsiteX2502" fmla="*/ 496111 w 1199950"/>
                <a:gd name="connsiteY2502" fmla="*/ 468177 h 637350"/>
                <a:gd name="connsiteX2503" fmla="*/ 495717 w 1199950"/>
                <a:gd name="connsiteY2503" fmla="*/ 470931 h 637350"/>
                <a:gd name="connsiteX2504" fmla="*/ 498471 w 1199950"/>
                <a:gd name="connsiteY2504" fmla="*/ 469358 h 637350"/>
                <a:gd name="connsiteX2505" fmla="*/ 501225 w 1199950"/>
                <a:gd name="connsiteY2505" fmla="*/ 470144 h 637350"/>
                <a:gd name="connsiteX2506" fmla="*/ 504373 w 1199950"/>
                <a:gd name="connsiteY2506" fmla="*/ 467390 h 637350"/>
                <a:gd name="connsiteX2507" fmla="*/ 505946 w 1199950"/>
                <a:gd name="connsiteY2507" fmla="*/ 464636 h 637350"/>
                <a:gd name="connsiteX2508" fmla="*/ 503193 w 1199950"/>
                <a:gd name="connsiteY2508" fmla="*/ 463063 h 637350"/>
                <a:gd name="connsiteX2509" fmla="*/ 500438 w 1199950"/>
                <a:gd name="connsiteY2509" fmla="*/ 461489 h 637350"/>
                <a:gd name="connsiteX2510" fmla="*/ 502012 w 1199950"/>
                <a:gd name="connsiteY2510" fmla="*/ 458342 h 637350"/>
                <a:gd name="connsiteX2511" fmla="*/ 502799 w 1199950"/>
                <a:gd name="connsiteY2511" fmla="*/ 461096 h 637350"/>
                <a:gd name="connsiteX2512" fmla="*/ 505946 w 1199950"/>
                <a:gd name="connsiteY2512" fmla="*/ 461883 h 637350"/>
                <a:gd name="connsiteX2513" fmla="*/ 508700 w 1199950"/>
                <a:gd name="connsiteY2513" fmla="*/ 461489 h 637350"/>
                <a:gd name="connsiteX2514" fmla="*/ 511454 w 1199950"/>
                <a:gd name="connsiteY2514" fmla="*/ 459129 h 637350"/>
                <a:gd name="connsiteX2515" fmla="*/ 511061 w 1199950"/>
                <a:gd name="connsiteY2515" fmla="*/ 455981 h 637350"/>
                <a:gd name="connsiteX2516" fmla="*/ 514208 w 1199950"/>
                <a:gd name="connsiteY2516" fmla="*/ 454801 h 637350"/>
                <a:gd name="connsiteX2517" fmla="*/ 515389 w 1199950"/>
                <a:gd name="connsiteY2517" fmla="*/ 452834 h 637350"/>
                <a:gd name="connsiteX2518" fmla="*/ 524437 w 1199950"/>
                <a:gd name="connsiteY2518" fmla="*/ 449686 h 637350"/>
                <a:gd name="connsiteX2519" fmla="*/ 530339 w 1199950"/>
                <a:gd name="connsiteY2519" fmla="*/ 450473 h 637350"/>
                <a:gd name="connsiteX2520" fmla="*/ 527585 w 1199950"/>
                <a:gd name="connsiteY2520" fmla="*/ 452047 h 637350"/>
                <a:gd name="connsiteX2521" fmla="*/ 524437 w 1199950"/>
                <a:gd name="connsiteY2521" fmla="*/ 453621 h 637350"/>
                <a:gd name="connsiteX2522" fmla="*/ 521683 w 1199950"/>
                <a:gd name="connsiteY2522" fmla="*/ 455981 h 637350"/>
                <a:gd name="connsiteX2523" fmla="*/ 518930 w 1199950"/>
                <a:gd name="connsiteY2523" fmla="*/ 457555 h 637350"/>
                <a:gd name="connsiteX2524" fmla="*/ 516175 w 1199950"/>
                <a:gd name="connsiteY2524" fmla="*/ 459522 h 637350"/>
                <a:gd name="connsiteX2525" fmla="*/ 514995 w 1199950"/>
                <a:gd name="connsiteY2525" fmla="*/ 462276 h 637350"/>
                <a:gd name="connsiteX2526" fmla="*/ 517749 w 1199950"/>
                <a:gd name="connsiteY2526" fmla="*/ 461096 h 637350"/>
                <a:gd name="connsiteX2527" fmla="*/ 520897 w 1199950"/>
                <a:gd name="connsiteY2527" fmla="*/ 462669 h 637350"/>
                <a:gd name="connsiteX2528" fmla="*/ 523651 w 1199950"/>
                <a:gd name="connsiteY2528" fmla="*/ 464243 h 637350"/>
                <a:gd name="connsiteX2529" fmla="*/ 526404 w 1199950"/>
                <a:gd name="connsiteY2529" fmla="*/ 463850 h 637350"/>
                <a:gd name="connsiteX2530" fmla="*/ 529552 w 1199950"/>
                <a:gd name="connsiteY2530" fmla="*/ 464243 h 637350"/>
                <a:gd name="connsiteX2531" fmla="*/ 529945 w 1199950"/>
                <a:gd name="connsiteY2531" fmla="*/ 461489 h 637350"/>
                <a:gd name="connsiteX2532" fmla="*/ 530732 w 1199950"/>
                <a:gd name="connsiteY2532" fmla="*/ 458735 h 637350"/>
                <a:gd name="connsiteX2533" fmla="*/ 533880 w 1199950"/>
                <a:gd name="connsiteY2533" fmla="*/ 458342 h 637350"/>
                <a:gd name="connsiteX2534" fmla="*/ 531519 w 1199950"/>
                <a:gd name="connsiteY2534" fmla="*/ 461096 h 637350"/>
                <a:gd name="connsiteX2535" fmla="*/ 532700 w 1199950"/>
                <a:gd name="connsiteY2535" fmla="*/ 463850 h 637350"/>
                <a:gd name="connsiteX2536" fmla="*/ 535453 w 1199950"/>
                <a:gd name="connsiteY2536" fmla="*/ 461489 h 637350"/>
                <a:gd name="connsiteX2537" fmla="*/ 538601 w 1199950"/>
                <a:gd name="connsiteY2537" fmla="*/ 461489 h 637350"/>
                <a:gd name="connsiteX2538" fmla="*/ 541355 w 1199950"/>
                <a:gd name="connsiteY2538" fmla="*/ 460702 h 637350"/>
                <a:gd name="connsiteX2539" fmla="*/ 544109 w 1199950"/>
                <a:gd name="connsiteY2539" fmla="*/ 459915 h 637350"/>
                <a:gd name="connsiteX2540" fmla="*/ 544896 w 1199950"/>
                <a:gd name="connsiteY2540" fmla="*/ 457161 h 637350"/>
                <a:gd name="connsiteX2541" fmla="*/ 547649 w 1199950"/>
                <a:gd name="connsiteY2541" fmla="*/ 459129 h 637350"/>
                <a:gd name="connsiteX2542" fmla="*/ 546863 w 1199950"/>
                <a:gd name="connsiteY2542" fmla="*/ 462276 h 637350"/>
                <a:gd name="connsiteX2543" fmla="*/ 549617 w 1199950"/>
                <a:gd name="connsiteY2543" fmla="*/ 461096 h 637350"/>
                <a:gd name="connsiteX2544" fmla="*/ 552764 w 1199950"/>
                <a:gd name="connsiteY2544" fmla="*/ 461489 h 637350"/>
                <a:gd name="connsiteX2545" fmla="*/ 555518 w 1199950"/>
                <a:gd name="connsiteY2545" fmla="*/ 459915 h 637350"/>
                <a:gd name="connsiteX2546" fmla="*/ 558666 w 1199950"/>
                <a:gd name="connsiteY2546" fmla="*/ 457161 h 637350"/>
                <a:gd name="connsiteX2547" fmla="*/ 561419 w 1199950"/>
                <a:gd name="connsiteY2547" fmla="*/ 455194 h 637350"/>
                <a:gd name="connsiteX2548" fmla="*/ 564567 w 1199950"/>
                <a:gd name="connsiteY2548" fmla="*/ 455588 h 637350"/>
                <a:gd name="connsiteX2549" fmla="*/ 567321 w 1199950"/>
                <a:gd name="connsiteY2549" fmla="*/ 455194 h 637350"/>
                <a:gd name="connsiteX2550" fmla="*/ 566927 w 1199950"/>
                <a:gd name="connsiteY2550" fmla="*/ 454014 h 637350"/>
                <a:gd name="connsiteX2551" fmla="*/ 573615 w 1199950"/>
                <a:gd name="connsiteY2551" fmla="*/ 450473 h 637350"/>
                <a:gd name="connsiteX2552" fmla="*/ 574009 w 1199950"/>
                <a:gd name="connsiteY2552" fmla="*/ 450473 h 637350"/>
                <a:gd name="connsiteX2553" fmla="*/ 576763 w 1199950"/>
                <a:gd name="connsiteY2553" fmla="*/ 451653 h 637350"/>
                <a:gd name="connsiteX2554" fmla="*/ 579517 w 1199950"/>
                <a:gd name="connsiteY2554" fmla="*/ 452047 h 637350"/>
                <a:gd name="connsiteX2555" fmla="*/ 577550 w 1199950"/>
                <a:gd name="connsiteY2555" fmla="*/ 449293 h 637350"/>
                <a:gd name="connsiteX2556" fmla="*/ 579517 w 1199950"/>
                <a:gd name="connsiteY2556" fmla="*/ 447719 h 637350"/>
                <a:gd name="connsiteX2557" fmla="*/ 580697 w 1199950"/>
                <a:gd name="connsiteY2557" fmla="*/ 447326 h 637350"/>
                <a:gd name="connsiteX2558" fmla="*/ 581091 w 1199950"/>
                <a:gd name="connsiteY2558" fmla="*/ 450080 h 637350"/>
                <a:gd name="connsiteX2559" fmla="*/ 584238 w 1199950"/>
                <a:gd name="connsiteY2559" fmla="*/ 450473 h 637350"/>
                <a:gd name="connsiteX2560" fmla="*/ 586992 w 1199950"/>
                <a:gd name="connsiteY2560" fmla="*/ 448899 h 637350"/>
                <a:gd name="connsiteX2561" fmla="*/ 590140 w 1199950"/>
                <a:gd name="connsiteY2561" fmla="*/ 447326 h 637350"/>
                <a:gd name="connsiteX2562" fmla="*/ 592893 w 1199950"/>
                <a:gd name="connsiteY2562" fmla="*/ 446145 h 637350"/>
                <a:gd name="connsiteX2563" fmla="*/ 595648 w 1199950"/>
                <a:gd name="connsiteY2563" fmla="*/ 443785 h 637350"/>
                <a:gd name="connsiteX2564" fmla="*/ 598402 w 1199950"/>
                <a:gd name="connsiteY2564" fmla="*/ 442998 h 637350"/>
                <a:gd name="connsiteX2565" fmla="*/ 596828 w 1199950"/>
                <a:gd name="connsiteY2565" fmla="*/ 440244 h 637350"/>
                <a:gd name="connsiteX2566" fmla="*/ 599582 w 1199950"/>
                <a:gd name="connsiteY2566" fmla="*/ 437490 h 637350"/>
                <a:gd name="connsiteX2567" fmla="*/ 599188 w 1199950"/>
                <a:gd name="connsiteY2567" fmla="*/ 440244 h 637350"/>
                <a:gd name="connsiteX2568" fmla="*/ 601942 w 1199950"/>
                <a:gd name="connsiteY2568" fmla="*/ 439064 h 637350"/>
                <a:gd name="connsiteX2569" fmla="*/ 600369 w 1199950"/>
                <a:gd name="connsiteY2569" fmla="*/ 441818 h 637350"/>
                <a:gd name="connsiteX2570" fmla="*/ 603516 w 1199950"/>
                <a:gd name="connsiteY2570" fmla="*/ 440244 h 637350"/>
                <a:gd name="connsiteX2571" fmla="*/ 606270 w 1199950"/>
                <a:gd name="connsiteY2571" fmla="*/ 438670 h 637350"/>
                <a:gd name="connsiteX2572" fmla="*/ 607844 w 1199950"/>
                <a:gd name="connsiteY2572" fmla="*/ 435916 h 637350"/>
                <a:gd name="connsiteX2573" fmla="*/ 610598 w 1199950"/>
                <a:gd name="connsiteY2573" fmla="*/ 437097 h 637350"/>
                <a:gd name="connsiteX2574" fmla="*/ 610204 w 1199950"/>
                <a:gd name="connsiteY2574" fmla="*/ 433949 h 637350"/>
                <a:gd name="connsiteX2575" fmla="*/ 611385 w 1199950"/>
                <a:gd name="connsiteY2575" fmla="*/ 431195 h 637350"/>
                <a:gd name="connsiteX2576" fmla="*/ 614532 w 1199950"/>
                <a:gd name="connsiteY2576" fmla="*/ 431589 h 637350"/>
                <a:gd name="connsiteX2577" fmla="*/ 612958 w 1199950"/>
                <a:gd name="connsiteY2577" fmla="*/ 430015 h 637350"/>
                <a:gd name="connsiteX2578" fmla="*/ 615319 w 1199950"/>
                <a:gd name="connsiteY2578" fmla="*/ 429228 h 637350"/>
                <a:gd name="connsiteX2579" fmla="*/ 618073 w 1199950"/>
                <a:gd name="connsiteY2579" fmla="*/ 428835 h 637350"/>
                <a:gd name="connsiteX2580" fmla="*/ 620827 w 1199950"/>
                <a:gd name="connsiteY2580" fmla="*/ 427261 h 637350"/>
                <a:gd name="connsiteX2581" fmla="*/ 623974 w 1199950"/>
                <a:gd name="connsiteY2581" fmla="*/ 426081 h 637350"/>
                <a:gd name="connsiteX2582" fmla="*/ 624368 w 1199950"/>
                <a:gd name="connsiteY2582" fmla="*/ 423327 h 637350"/>
                <a:gd name="connsiteX2583" fmla="*/ 627909 w 1199950"/>
                <a:gd name="connsiteY2583" fmla="*/ 421753 h 637350"/>
                <a:gd name="connsiteX2584" fmla="*/ 627515 w 1199950"/>
                <a:gd name="connsiteY2584" fmla="*/ 420966 h 637350"/>
                <a:gd name="connsiteX2585" fmla="*/ 651514 w 1199950"/>
                <a:gd name="connsiteY2585" fmla="*/ 406016 h 637350"/>
                <a:gd name="connsiteX2586" fmla="*/ 658989 w 1199950"/>
                <a:gd name="connsiteY2586" fmla="*/ 404442 h 637350"/>
                <a:gd name="connsiteX2587" fmla="*/ 659776 w 1199950"/>
                <a:gd name="connsiteY2587" fmla="*/ 404442 h 637350"/>
                <a:gd name="connsiteX2588" fmla="*/ 662530 w 1199950"/>
                <a:gd name="connsiteY2588" fmla="*/ 404836 h 637350"/>
                <a:gd name="connsiteX2589" fmla="*/ 663317 w 1199950"/>
                <a:gd name="connsiteY2589" fmla="*/ 403655 h 637350"/>
                <a:gd name="connsiteX2590" fmla="*/ 687316 w 1199950"/>
                <a:gd name="connsiteY2590" fmla="*/ 398541 h 637350"/>
                <a:gd name="connsiteX2591" fmla="*/ 687709 w 1199950"/>
                <a:gd name="connsiteY2591" fmla="*/ 398541 h 637350"/>
                <a:gd name="connsiteX2592" fmla="*/ 690463 w 1199950"/>
                <a:gd name="connsiteY2592" fmla="*/ 398934 h 637350"/>
                <a:gd name="connsiteX2593" fmla="*/ 693217 w 1199950"/>
                <a:gd name="connsiteY2593" fmla="*/ 398541 h 637350"/>
                <a:gd name="connsiteX2594" fmla="*/ 695972 w 1199950"/>
                <a:gd name="connsiteY2594" fmla="*/ 398934 h 637350"/>
                <a:gd name="connsiteX2595" fmla="*/ 699119 w 1199950"/>
                <a:gd name="connsiteY2595" fmla="*/ 398541 h 637350"/>
                <a:gd name="connsiteX2596" fmla="*/ 701873 w 1199950"/>
                <a:gd name="connsiteY2596" fmla="*/ 398147 h 637350"/>
                <a:gd name="connsiteX2597" fmla="*/ 700692 w 1199950"/>
                <a:gd name="connsiteY2597" fmla="*/ 396574 h 637350"/>
                <a:gd name="connsiteX2598" fmla="*/ 702266 w 1199950"/>
                <a:gd name="connsiteY2598" fmla="*/ 396180 h 637350"/>
                <a:gd name="connsiteX2599" fmla="*/ 703053 w 1199950"/>
                <a:gd name="connsiteY2599" fmla="*/ 396967 h 637350"/>
                <a:gd name="connsiteX2600" fmla="*/ 705807 w 1199950"/>
                <a:gd name="connsiteY2600" fmla="*/ 398541 h 637350"/>
                <a:gd name="connsiteX2601" fmla="*/ 708954 w 1199950"/>
                <a:gd name="connsiteY2601" fmla="*/ 398147 h 637350"/>
                <a:gd name="connsiteX2602" fmla="*/ 711709 w 1199950"/>
                <a:gd name="connsiteY2602" fmla="*/ 397754 h 637350"/>
                <a:gd name="connsiteX2603" fmla="*/ 710135 w 1199950"/>
                <a:gd name="connsiteY2603" fmla="*/ 394607 h 637350"/>
                <a:gd name="connsiteX2604" fmla="*/ 712889 w 1199950"/>
                <a:gd name="connsiteY2604" fmla="*/ 394213 h 637350"/>
                <a:gd name="connsiteX2605" fmla="*/ 713282 w 1199950"/>
                <a:gd name="connsiteY2605" fmla="*/ 393820 h 637350"/>
                <a:gd name="connsiteX2606" fmla="*/ 714069 w 1199950"/>
                <a:gd name="connsiteY2606" fmla="*/ 391066 h 637350"/>
                <a:gd name="connsiteX2607" fmla="*/ 714069 w 1199950"/>
                <a:gd name="connsiteY2607" fmla="*/ 385951 h 637350"/>
                <a:gd name="connsiteX2608" fmla="*/ 715643 w 1199950"/>
                <a:gd name="connsiteY2608" fmla="*/ 385951 h 637350"/>
                <a:gd name="connsiteX2609" fmla="*/ 718397 w 1199950"/>
                <a:gd name="connsiteY2609" fmla="*/ 387918 h 637350"/>
                <a:gd name="connsiteX2610" fmla="*/ 721150 w 1199950"/>
                <a:gd name="connsiteY2610" fmla="*/ 389885 h 637350"/>
                <a:gd name="connsiteX2611" fmla="*/ 723905 w 1199950"/>
                <a:gd name="connsiteY2611" fmla="*/ 391066 h 637350"/>
                <a:gd name="connsiteX2612" fmla="*/ 727052 w 1199950"/>
                <a:gd name="connsiteY2612" fmla="*/ 390279 h 637350"/>
                <a:gd name="connsiteX2613" fmla="*/ 729806 w 1199950"/>
                <a:gd name="connsiteY2613" fmla="*/ 388705 h 637350"/>
                <a:gd name="connsiteX2614" fmla="*/ 732953 w 1199950"/>
                <a:gd name="connsiteY2614" fmla="*/ 388705 h 637350"/>
                <a:gd name="connsiteX2615" fmla="*/ 732953 w 1199950"/>
                <a:gd name="connsiteY2615" fmla="*/ 385951 h 637350"/>
                <a:gd name="connsiteX2616" fmla="*/ 735707 w 1199950"/>
                <a:gd name="connsiteY2616" fmla="*/ 387525 h 637350"/>
                <a:gd name="connsiteX2617" fmla="*/ 738461 w 1199950"/>
                <a:gd name="connsiteY2617" fmla="*/ 387918 h 637350"/>
                <a:gd name="connsiteX2618" fmla="*/ 741216 w 1199950"/>
                <a:gd name="connsiteY2618" fmla="*/ 386738 h 637350"/>
                <a:gd name="connsiteX2619" fmla="*/ 743969 w 1199950"/>
                <a:gd name="connsiteY2619" fmla="*/ 385951 h 637350"/>
                <a:gd name="connsiteX2620" fmla="*/ 746723 w 1199950"/>
                <a:gd name="connsiteY2620" fmla="*/ 385558 h 637350"/>
                <a:gd name="connsiteX2621" fmla="*/ 749871 w 1199950"/>
                <a:gd name="connsiteY2621" fmla="*/ 384378 h 637350"/>
                <a:gd name="connsiteX2622" fmla="*/ 752231 w 1199950"/>
                <a:gd name="connsiteY2622" fmla="*/ 382804 h 637350"/>
                <a:gd name="connsiteX2623" fmla="*/ 753018 w 1199950"/>
                <a:gd name="connsiteY2623" fmla="*/ 382804 h 637350"/>
                <a:gd name="connsiteX2624" fmla="*/ 755379 w 1199950"/>
                <a:gd name="connsiteY2624" fmla="*/ 383984 h 637350"/>
                <a:gd name="connsiteX2625" fmla="*/ 758526 w 1199950"/>
                <a:gd name="connsiteY2625" fmla="*/ 383591 h 637350"/>
                <a:gd name="connsiteX2626" fmla="*/ 758920 w 1199950"/>
                <a:gd name="connsiteY2626" fmla="*/ 382017 h 637350"/>
                <a:gd name="connsiteX2627" fmla="*/ 761280 w 1199950"/>
                <a:gd name="connsiteY2627" fmla="*/ 382017 h 637350"/>
                <a:gd name="connsiteX2628" fmla="*/ 762460 w 1199950"/>
                <a:gd name="connsiteY2628" fmla="*/ 383197 h 637350"/>
                <a:gd name="connsiteX2629" fmla="*/ 765214 w 1199950"/>
                <a:gd name="connsiteY2629" fmla="*/ 381624 h 637350"/>
                <a:gd name="connsiteX2630" fmla="*/ 770329 w 1199950"/>
                <a:gd name="connsiteY2630" fmla="*/ 381230 h 637350"/>
                <a:gd name="connsiteX2631" fmla="*/ 777804 w 1199950"/>
                <a:gd name="connsiteY2631" fmla="*/ 381230 h 637350"/>
                <a:gd name="connsiteX2632" fmla="*/ 1038646 w 1199950"/>
                <a:gd name="connsiteY2632" fmla="*/ 79866 h 637350"/>
                <a:gd name="connsiteX2633" fmla="*/ 1038646 w 1199950"/>
                <a:gd name="connsiteY2633" fmla="*/ 80259 h 637350"/>
                <a:gd name="connsiteX2634" fmla="*/ 1037859 w 1199950"/>
                <a:gd name="connsiteY2634" fmla="*/ 79866 h 637350"/>
                <a:gd name="connsiteX2635" fmla="*/ 1038646 w 1199950"/>
                <a:gd name="connsiteY2635" fmla="*/ 79866 h 637350"/>
                <a:gd name="connsiteX2636" fmla="*/ 700692 w 1199950"/>
                <a:gd name="connsiteY2636" fmla="*/ 21638 h 637350"/>
                <a:gd name="connsiteX2637" fmla="*/ 699119 w 1199950"/>
                <a:gd name="connsiteY2637" fmla="*/ 20852 h 637350"/>
                <a:gd name="connsiteX2638" fmla="*/ 705020 w 1199950"/>
                <a:gd name="connsiteY2638" fmla="*/ 21245 h 637350"/>
                <a:gd name="connsiteX2639" fmla="*/ 700692 w 1199950"/>
                <a:gd name="connsiteY2639" fmla="*/ 21638 h 637350"/>
                <a:gd name="connsiteX2640" fmla="*/ 699119 w 1199950"/>
                <a:gd name="connsiteY2640" fmla="*/ 21245 h 637350"/>
                <a:gd name="connsiteX2641" fmla="*/ 695578 w 1199950"/>
                <a:gd name="connsiteY2641" fmla="*/ 21245 h 637350"/>
                <a:gd name="connsiteX2642" fmla="*/ 692824 w 1199950"/>
                <a:gd name="connsiteY2642" fmla="*/ 20852 h 637350"/>
                <a:gd name="connsiteX2643" fmla="*/ 692824 w 1199950"/>
                <a:gd name="connsiteY2643" fmla="*/ 20852 h 637350"/>
                <a:gd name="connsiteX2644" fmla="*/ 699119 w 1199950"/>
                <a:gd name="connsiteY2644" fmla="*/ 21245 h 637350"/>
                <a:gd name="connsiteX2645" fmla="*/ 671972 w 1199950"/>
                <a:gd name="connsiteY2645" fmla="*/ 22032 h 637350"/>
                <a:gd name="connsiteX2646" fmla="*/ 671579 w 1199950"/>
                <a:gd name="connsiteY2646" fmla="*/ 19278 h 637350"/>
                <a:gd name="connsiteX2647" fmla="*/ 670399 w 1199950"/>
                <a:gd name="connsiteY2647" fmla="*/ 18491 h 637350"/>
                <a:gd name="connsiteX2648" fmla="*/ 674726 w 1199950"/>
                <a:gd name="connsiteY2648" fmla="*/ 18884 h 637350"/>
                <a:gd name="connsiteX2649" fmla="*/ 676694 w 1199950"/>
                <a:gd name="connsiteY2649" fmla="*/ 20065 h 637350"/>
                <a:gd name="connsiteX2650" fmla="*/ 674726 w 1199950"/>
                <a:gd name="connsiteY2650" fmla="*/ 22425 h 637350"/>
                <a:gd name="connsiteX2651" fmla="*/ 673546 w 1199950"/>
                <a:gd name="connsiteY2651" fmla="*/ 22425 h 637350"/>
                <a:gd name="connsiteX2652" fmla="*/ 671972 w 1199950"/>
                <a:gd name="connsiteY2652" fmla="*/ 22032 h 637350"/>
                <a:gd name="connsiteX2653" fmla="*/ 280119 w 1199950"/>
                <a:gd name="connsiteY2653" fmla="*/ 337166 h 637350"/>
                <a:gd name="connsiteX2654" fmla="*/ 282480 w 1199950"/>
                <a:gd name="connsiteY2654" fmla="*/ 338740 h 637350"/>
                <a:gd name="connsiteX2655" fmla="*/ 282480 w 1199950"/>
                <a:gd name="connsiteY2655" fmla="*/ 338740 h 637350"/>
                <a:gd name="connsiteX2656" fmla="*/ 280119 w 1199950"/>
                <a:gd name="connsiteY2656" fmla="*/ 337166 h 637350"/>
                <a:gd name="connsiteX2657" fmla="*/ 218352 w 1199950"/>
                <a:gd name="connsiteY2657" fmla="*/ 388705 h 637350"/>
                <a:gd name="connsiteX2658" fmla="*/ 218745 w 1199950"/>
                <a:gd name="connsiteY2658" fmla="*/ 388705 h 637350"/>
                <a:gd name="connsiteX2659" fmla="*/ 216778 w 1199950"/>
                <a:gd name="connsiteY2659" fmla="*/ 389492 h 637350"/>
                <a:gd name="connsiteX2660" fmla="*/ 218352 w 1199950"/>
                <a:gd name="connsiteY2660" fmla="*/ 388705 h 637350"/>
                <a:gd name="connsiteX2661" fmla="*/ 193172 w 1199950"/>
                <a:gd name="connsiteY2661" fmla="*/ 428835 h 637350"/>
                <a:gd name="connsiteX2662" fmla="*/ 193172 w 1199950"/>
                <a:gd name="connsiteY2662" fmla="*/ 428835 h 637350"/>
                <a:gd name="connsiteX2663" fmla="*/ 193172 w 1199950"/>
                <a:gd name="connsiteY2663" fmla="*/ 428835 h 637350"/>
                <a:gd name="connsiteX2664" fmla="*/ 191598 w 1199950"/>
                <a:gd name="connsiteY2664" fmla="*/ 428441 h 637350"/>
                <a:gd name="connsiteX2665" fmla="*/ 193172 w 1199950"/>
                <a:gd name="connsiteY2665" fmla="*/ 428835 h 637350"/>
                <a:gd name="connsiteX2666" fmla="*/ 193566 w 1199950"/>
                <a:gd name="connsiteY2666" fmla="*/ 428835 h 637350"/>
                <a:gd name="connsiteX2667" fmla="*/ 194353 w 1199950"/>
                <a:gd name="connsiteY2667" fmla="*/ 429228 h 637350"/>
                <a:gd name="connsiteX2668" fmla="*/ 193172 w 1199950"/>
                <a:gd name="connsiteY2668" fmla="*/ 428835 h 637350"/>
                <a:gd name="connsiteX2669" fmla="*/ 211663 w 1199950"/>
                <a:gd name="connsiteY2669" fmla="*/ 504766 h 637350"/>
                <a:gd name="connsiteX2670" fmla="*/ 211663 w 1199950"/>
                <a:gd name="connsiteY2670" fmla="*/ 504766 h 637350"/>
                <a:gd name="connsiteX2671" fmla="*/ 211663 w 1199950"/>
                <a:gd name="connsiteY2671" fmla="*/ 504766 h 637350"/>
                <a:gd name="connsiteX2672" fmla="*/ 211663 w 1199950"/>
                <a:gd name="connsiteY2672" fmla="*/ 504766 h 637350"/>
                <a:gd name="connsiteX2673" fmla="*/ 381230 w 1199950"/>
                <a:gd name="connsiteY2673" fmla="*/ 551584 h 637350"/>
                <a:gd name="connsiteX2674" fmla="*/ 382410 w 1199950"/>
                <a:gd name="connsiteY2674" fmla="*/ 551977 h 637350"/>
                <a:gd name="connsiteX2675" fmla="*/ 379263 w 1199950"/>
                <a:gd name="connsiteY2675" fmla="*/ 551584 h 637350"/>
                <a:gd name="connsiteX2676" fmla="*/ 376903 w 1199950"/>
                <a:gd name="connsiteY2676" fmla="*/ 551977 h 637350"/>
                <a:gd name="connsiteX2677" fmla="*/ 378083 w 1199950"/>
                <a:gd name="connsiteY2677" fmla="*/ 549223 h 637350"/>
                <a:gd name="connsiteX2678" fmla="*/ 381230 w 1199950"/>
                <a:gd name="connsiteY2678" fmla="*/ 551584 h 63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</a:cxnLst>
              <a:rect l="l" t="t" r="r" b="b"/>
              <a:pathLst>
                <a:path w="1199950" h="637350">
                  <a:moveTo>
                    <a:pt x="777804" y="381230"/>
                  </a:moveTo>
                  <a:lnTo>
                    <a:pt x="778591" y="380837"/>
                  </a:lnTo>
                  <a:lnTo>
                    <a:pt x="786853" y="380050"/>
                  </a:lnTo>
                  <a:lnTo>
                    <a:pt x="792754" y="378083"/>
                  </a:lnTo>
                  <a:lnTo>
                    <a:pt x="795508" y="377689"/>
                  </a:lnTo>
                  <a:lnTo>
                    <a:pt x="801410" y="377689"/>
                  </a:lnTo>
                  <a:lnTo>
                    <a:pt x="804557" y="376902"/>
                  </a:lnTo>
                  <a:lnTo>
                    <a:pt x="806918" y="374148"/>
                  </a:lnTo>
                  <a:lnTo>
                    <a:pt x="812819" y="374148"/>
                  </a:lnTo>
                  <a:lnTo>
                    <a:pt x="815573" y="372575"/>
                  </a:lnTo>
                  <a:lnTo>
                    <a:pt x="818720" y="371788"/>
                  </a:lnTo>
                  <a:lnTo>
                    <a:pt x="821474" y="369427"/>
                  </a:lnTo>
                  <a:lnTo>
                    <a:pt x="824622" y="368247"/>
                  </a:lnTo>
                  <a:lnTo>
                    <a:pt x="823441" y="368247"/>
                  </a:lnTo>
                  <a:lnTo>
                    <a:pt x="827769" y="366673"/>
                  </a:lnTo>
                  <a:lnTo>
                    <a:pt x="830130" y="367460"/>
                  </a:lnTo>
                  <a:lnTo>
                    <a:pt x="829736" y="365886"/>
                  </a:lnTo>
                  <a:lnTo>
                    <a:pt x="832097" y="365100"/>
                  </a:lnTo>
                  <a:lnTo>
                    <a:pt x="835244" y="364706"/>
                  </a:lnTo>
                  <a:lnTo>
                    <a:pt x="836031" y="363526"/>
                  </a:lnTo>
                  <a:lnTo>
                    <a:pt x="841539" y="361165"/>
                  </a:lnTo>
                  <a:lnTo>
                    <a:pt x="842719" y="361559"/>
                  </a:lnTo>
                  <a:lnTo>
                    <a:pt x="845474" y="361165"/>
                  </a:lnTo>
                  <a:lnTo>
                    <a:pt x="843506" y="360772"/>
                  </a:lnTo>
                  <a:lnTo>
                    <a:pt x="849408" y="358411"/>
                  </a:lnTo>
                  <a:lnTo>
                    <a:pt x="850194" y="358805"/>
                  </a:lnTo>
                  <a:lnTo>
                    <a:pt x="852555" y="357231"/>
                  </a:lnTo>
                  <a:lnTo>
                    <a:pt x="854915" y="356444"/>
                  </a:lnTo>
                  <a:lnTo>
                    <a:pt x="857670" y="357231"/>
                  </a:lnTo>
                  <a:lnTo>
                    <a:pt x="859243" y="354871"/>
                  </a:lnTo>
                  <a:lnTo>
                    <a:pt x="863571" y="353297"/>
                  </a:lnTo>
                  <a:lnTo>
                    <a:pt x="865538" y="354871"/>
                  </a:lnTo>
                  <a:lnTo>
                    <a:pt x="868292" y="353690"/>
                  </a:lnTo>
                  <a:lnTo>
                    <a:pt x="871440" y="351330"/>
                  </a:lnTo>
                  <a:lnTo>
                    <a:pt x="871046" y="350543"/>
                  </a:lnTo>
                  <a:lnTo>
                    <a:pt x="874587" y="349363"/>
                  </a:lnTo>
                  <a:lnTo>
                    <a:pt x="873407" y="350149"/>
                  </a:lnTo>
                  <a:lnTo>
                    <a:pt x="876554" y="350543"/>
                  </a:lnTo>
                  <a:lnTo>
                    <a:pt x="879701" y="348182"/>
                  </a:lnTo>
                  <a:lnTo>
                    <a:pt x="879701" y="347789"/>
                  </a:lnTo>
                  <a:lnTo>
                    <a:pt x="878128" y="347789"/>
                  </a:lnTo>
                  <a:lnTo>
                    <a:pt x="882849" y="346215"/>
                  </a:lnTo>
                  <a:lnTo>
                    <a:pt x="884816" y="347002"/>
                  </a:lnTo>
                  <a:lnTo>
                    <a:pt x="887570" y="346215"/>
                  </a:lnTo>
                  <a:lnTo>
                    <a:pt x="885603" y="345035"/>
                  </a:lnTo>
                  <a:lnTo>
                    <a:pt x="890324" y="343461"/>
                  </a:lnTo>
                  <a:lnTo>
                    <a:pt x="890718" y="343461"/>
                  </a:lnTo>
                  <a:lnTo>
                    <a:pt x="891898" y="342674"/>
                  </a:lnTo>
                  <a:lnTo>
                    <a:pt x="894258" y="341888"/>
                  </a:lnTo>
                  <a:lnTo>
                    <a:pt x="896225" y="341888"/>
                  </a:lnTo>
                  <a:lnTo>
                    <a:pt x="898979" y="340314"/>
                  </a:lnTo>
                  <a:lnTo>
                    <a:pt x="900159" y="340314"/>
                  </a:lnTo>
                  <a:lnTo>
                    <a:pt x="902914" y="340314"/>
                  </a:lnTo>
                  <a:lnTo>
                    <a:pt x="905668" y="338740"/>
                  </a:lnTo>
                  <a:lnTo>
                    <a:pt x="902914" y="336773"/>
                  </a:lnTo>
                  <a:lnTo>
                    <a:pt x="899766" y="337166"/>
                  </a:lnTo>
                  <a:lnTo>
                    <a:pt x="896619" y="337560"/>
                  </a:lnTo>
                  <a:lnTo>
                    <a:pt x="893865" y="337953"/>
                  </a:lnTo>
                  <a:lnTo>
                    <a:pt x="890718" y="337953"/>
                  </a:lnTo>
                  <a:lnTo>
                    <a:pt x="887963" y="337560"/>
                  </a:lnTo>
                  <a:lnTo>
                    <a:pt x="884422" y="337560"/>
                  </a:lnTo>
                  <a:lnTo>
                    <a:pt x="881669" y="337166"/>
                  </a:lnTo>
                  <a:lnTo>
                    <a:pt x="878521" y="337166"/>
                  </a:lnTo>
                  <a:lnTo>
                    <a:pt x="875374" y="336773"/>
                  </a:lnTo>
                  <a:lnTo>
                    <a:pt x="872620" y="335986"/>
                  </a:lnTo>
                  <a:lnTo>
                    <a:pt x="869866" y="336380"/>
                  </a:lnTo>
                  <a:lnTo>
                    <a:pt x="866718" y="334806"/>
                  </a:lnTo>
                  <a:lnTo>
                    <a:pt x="863964" y="334412"/>
                  </a:lnTo>
                  <a:lnTo>
                    <a:pt x="861211" y="334019"/>
                  </a:lnTo>
                  <a:lnTo>
                    <a:pt x="858063" y="334019"/>
                  </a:lnTo>
                  <a:lnTo>
                    <a:pt x="855309" y="332445"/>
                  </a:lnTo>
                  <a:lnTo>
                    <a:pt x="852162" y="331265"/>
                  </a:lnTo>
                  <a:lnTo>
                    <a:pt x="849014" y="330085"/>
                  </a:lnTo>
                  <a:lnTo>
                    <a:pt x="846260" y="330085"/>
                  </a:lnTo>
                  <a:lnTo>
                    <a:pt x="843113" y="331658"/>
                  </a:lnTo>
                  <a:lnTo>
                    <a:pt x="840359" y="332445"/>
                  </a:lnTo>
                  <a:lnTo>
                    <a:pt x="843113" y="329298"/>
                  </a:lnTo>
                  <a:lnTo>
                    <a:pt x="840359" y="328904"/>
                  </a:lnTo>
                  <a:lnTo>
                    <a:pt x="837605" y="329298"/>
                  </a:lnTo>
                  <a:lnTo>
                    <a:pt x="834457" y="329691"/>
                  </a:lnTo>
                  <a:lnTo>
                    <a:pt x="831310" y="330478"/>
                  </a:lnTo>
                  <a:lnTo>
                    <a:pt x="828556" y="330872"/>
                  </a:lnTo>
                  <a:lnTo>
                    <a:pt x="825408" y="332052"/>
                  </a:lnTo>
                  <a:lnTo>
                    <a:pt x="822655" y="332445"/>
                  </a:lnTo>
                  <a:lnTo>
                    <a:pt x="819507" y="333626"/>
                  </a:lnTo>
                  <a:lnTo>
                    <a:pt x="816753" y="333626"/>
                  </a:lnTo>
                  <a:lnTo>
                    <a:pt x="813999" y="333232"/>
                  </a:lnTo>
                  <a:lnTo>
                    <a:pt x="810459" y="332052"/>
                  </a:lnTo>
                  <a:lnTo>
                    <a:pt x="807311" y="332052"/>
                  </a:lnTo>
                  <a:lnTo>
                    <a:pt x="804164" y="333626"/>
                  </a:lnTo>
                  <a:lnTo>
                    <a:pt x="801410" y="334019"/>
                  </a:lnTo>
                  <a:lnTo>
                    <a:pt x="798656" y="336773"/>
                  </a:lnTo>
                  <a:lnTo>
                    <a:pt x="795901" y="339133"/>
                  </a:lnTo>
                  <a:lnTo>
                    <a:pt x="790394" y="339133"/>
                  </a:lnTo>
                  <a:lnTo>
                    <a:pt x="802197" y="331265"/>
                  </a:lnTo>
                  <a:lnTo>
                    <a:pt x="804557" y="330478"/>
                  </a:lnTo>
                  <a:lnTo>
                    <a:pt x="807311" y="330872"/>
                  </a:lnTo>
                  <a:lnTo>
                    <a:pt x="810459" y="331265"/>
                  </a:lnTo>
                  <a:lnTo>
                    <a:pt x="813212" y="330872"/>
                  </a:lnTo>
                  <a:lnTo>
                    <a:pt x="815967" y="330085"/>
                  </a:lnTo>
                  <a:lnTo>
                    <a:pt x="819114" y="328118"/>
                  </a:lnTo>
                  <a:lnTo>
                    <a:pt x="816360" y="326150"/>
                  </a:lnTo>
                  <a:lnTo>
                    <a:pt x="813212" y="325757"/>
                  </a:lnTo>
                  <a:lnTo>
                    <a:pt x="810459" y="326150"/>
                  </a:lnTo>
                  <a:lnTo>
                    <a:pt x="810459" y="326150"/>
                  </a:lnTo>
                  <a:lnTo>
                    <a:pt x="812426" y="324577"/>
                  </a:lnTo>
                  <a:lnTo>
                    <a:pt x="815179" y="324577"/>
                  </a:lnTo>
                  <a:lnTo>
                    <a:pt x="818327" y="323790"/>
                  </a:lnTo>
                  <a:lnTo>
                    <a:pt x="821474" y="323396"/>
                  </a:lnTo>
                  <a:lnTo>
                    <a:pt x="824228" y="323003"/>
                  </a:lnTo>
                  <a:lnTo>
                    <a:pt x="827376" y="324577"/>
                  </a:lnTo>
                  <a:lnTo>
                    <a:pt x="830130" y="323790"/>
                  </a:lnTo>
                  <a:lnTo>
                    <a:pt x="833277" y="322216"/>
                  </a:lnTo>
                  <a:lnTo>
                    <a:pt x="836031" y="322216"/>
                  </a:lnTo>
                  <a:lnTo>
                    <a:pt x="839178" y="321429"/>
                  </a:lnTo>
                  <a:lnTo>
                    <a:pt x="841933" y="321036"/>
                  </a:lnTo>
                  <a:lnTo>
                    <a:pt x="844686" y="320249"/>
                  </a:lnTo>
                  <a:lnTo>
                    <a:pt x="841933" y="317888"/>
                  </a:lnTo>
                  <a:lnTo>
                    <a:pt x="844686" y="316708"/>
                  </a:lnTo>
                  <a:lnTo>
                    <a:pt x="844293" y="313561"/>
                  </a:lnTo>
                  <a:lnTo>
                    <a:pt x="841539" y="311987"/>
                  </a:lnTo>
                  <a:lnTo>
                    <a:pt x="838785" y="311987"/>
                  </a:lnTo>
                  <a:lnTo>
                    <a:pt x="839965" y="309627"/>
                  </a:lnTo>
                  <a:lnTo>
                    <a:pt x="836818" y="310020"/>
                  </a:lnTo>
                  <a:lnTo>
                    <a:pt x="834064" y="311200"/>
                  </a:lnTo>
                  <a:lnTo>
                    <a:pt x="832884" y="311594"/>
                  </a:lnTo>
                  <a:lnTo>
                    <a:pt x="837211" y="308840"/>
                  </a:lnTo>
                  <a:lnTo>
                    <a:pt x="837605" y="308446"/>
                  </a:lnTo>
                  <a:lnTo>
                    <a:pt x="840359" y="307659"/>
                  </a:lnTo>
                  <a:lnTo>
                    <a:pt x="841145" y="304905"/>
                  </a:lnTo>
                  <a:lnTo>
                    <a:pt x="844293" y="305692"/>
                  </a:lnTo>
                  <a:lnTo>
                    <a:pt x="847047" y="304119"/>
                  </a:lnTo>
                  <a:lnTo>
                    <a:pt x="846654" y="301365"/>
                  </a:lnTo>
                  <a:lnTo>
                    <a:pt x="843506" y="299397"/>
                  </a:lnTo>
                  <a:lnTo>
                    <a:pt x="842326" y="299004"/>
                  </a:lnTo>
                  <a:lnTo>
                    <a:pt x="843506" y="297037"/>
                  </a:lnTo>
                  <a:lnTo>
                    <a:pt x="846260" y="297824"/>
                  </a:lnTo>
                  <a:lnTo>
                    <a:pt x="847047" y="298217"/>
                  </a:lnTo>
                  <a:lnTo>
                    <a:pt x="849801" y="299791"/>
                  </a:lnTo>
                  <a:lnTo>
                    <a:pt x="852948" y="302151"/>
                  </a:lnTo>
                  <a:lnTo>
                    <a:pt x="855703" y="302938"/>
                  </a:lnTo>
                  <a:lnTo>
                    <a:pt x="858850" y="303332"/>
                  </a:lnTo>
                  <a:lnTo>
                    <a:pt x="860817" y="302938"/>
                  </a:lnTo>
                  <a:lnTo>
                    <a:pt x="863964" y="304119"/>
                  </a:lnTo>
                  <a:lnTo>
                    <a:pt x="864751" y="304512"/>
                  </a:lnTo>
                  <a:lnTo>
                    <a:pt x="866718" y="307659"/>
                  </a:lnTo>
                  <a:lnTo>
                    <a:pt x="869472" y="310020"/>
                  </a:lnTo>
                  <a:lnTo>
                    <a:pt x="869472" y="312774"/>
                  </a:lnTo>
                  <a:lnTo>
                    <a:pt x="869079" y="315528"/>
                  </a:lnTo>
                  <a:lnTo>
                    <a:pt x="869472" y="318675"/>
                  </a:lnTo>
                  <a:lnTo>
                    <a:pt x="871046" y="321429"/>
                  </a:lnTo>
                  <a:lnTo>
                    <a:pt x="873800" y="323396"/>
                  </a:lnTo>
                  <a:lnTo>
                    <a:pt x="876554" y="324183"/>
                  </a:lnTo>
                  <a:lnTo>
                    <a:pt x="879701" y="325757"/>
                  </a:lnTo>
                  <a:lnTo>
                    <a:pt x="882455" y="326937"/>
                  </a:lnTo>
                  <a:lnTo>
                    <a:pt x="885603" y="327331"/>
                  </a:lnTo>
                  <a:lnTo>
                    <a:pt x="888750" y="327724"/>
                  </a:lnTo>
                  <a:lnTo>
                    <a:pt x="891898" y="327331"/>
                  </a:lnTo>
                  <a:lnTo>
                    <a:pt x="897406" y="327331"/>
                  </a:lnTo>
                  <a:lnTo>
                    <a:pt x="900159" y="324970"/>
                  </a:lnTo>
                  <a:lnTo>
                    <a:pt x="900947" y="322216"/>
                  </a:lnTo>
                  <a:lnTo>
                    <a:pt x="901340" y="319069"/>
                  </a:lnTo>
                  <a:lnTo>
                    <a:pt x="903307" y="316315"/>
                  </a:lnTo>
                  <a:lnTo>
                    <a:pt x="906061" y="317102"/>
                  </a:lnTo>
                  <a:lnTo>
                    <a:pt x="905668" y="317888"/>
                  </a:lnTo>
                  <a:lnTo>
                    <a:pt x="904094" y="320642"/>
                  </a:lnTo>
                  <a:lnTo>
                    <a:pt x="904488" y="323396"/>
                  </a:lnTo>
                  <a:lnTo>
                    <a:pt x="906455" y="326150"/>
                  </a:lnTo>
                  <a:lnTo>
                    <a:pt x="909208" y="325757"/>
                  </a:lnTo>
                  <a:lnTo>
                    <a:pt x="912356" y="324970"/>
                  </a:lnTo>
                  <a:lnTo>
                    <a:pt x="913929" y="327724"/>
                  </a:lnTo>
                  <a:lnTo>
                    <a:pt x="916684" y="326937"/>
                  </a:lnTo>
                  <a:lnTo>
                    <a:pt x="919437" y="326937"/>
                  </a:lnTo>
                  <a:lnTo>
                    <a:pt x="922192" y="325364"/>
                  </a:lnTo>
                  <a:lnTo>
                    <a:pt x="921405" y="322610"/>
                  </a:lnTo>
                  <a:lnTo>
                    <a:pt x="918651" y="322216"/>
                  </a:lnTo>
                  <a:lnTo>
                    <a:pt x="920225" y="319069"/>
                  </a:lnTo>
                  <a:lnTo>
                    <a:pt x="923372" y="318675"/>
                  </a:lnTo>
                  <a:lnTo>
                    <a:pt x="920225" y="317102"/>
                  </a:lnTo>
                  <a:lnTo>
                    <a:pt x="917470" y="316315"/>
                  </a:lnTo>
                  <a:lnTo>
                    <a:pt x="920225" y="316708"/>
                  </a:lnTo>
                  <a:lnTo>
                    <a:pt x="922192" y="313561"/>
                  </a:lnTo>
                  <a:lnTo>
                    <a:pt x="924946" y="311987"/>
                  </a:lnTo>
                  <a:lnTo>
                    <a:pt x="922192" y="311594"/>
                  </a:lnTo>
                  <a:lnTo>
                    <a:pt x="918651" y="311987"/>
                  </a:lnTo>
                  <a:lnTo>
                    <a:pt x="921405" y="309233"/>
                  </a:lnTo>
                  <a:lnTo>
                    <a:pt x="918257" y="309627"/>
                  </a:lnTo>
                  <a:lnTo>
                    <a:pt x="915503" y="310020"/>
                  </a:lnTo>
                  <a:lnTo>
                    <a:pt x="914323" y="310020"/>
                  </a:lnTo>
                  <a:lnTo>
                    <a:pt x="914717" y="309627"/>
                  </a:lnTo>
                  <a:lnTo>
                    <a:pt x="915110" y="309627"/>
                  </a:lnTo>
                  <a:lnTo>
                    <a:pt x="918257" y="309233"/>
                  </a:lnTo>
                  <a:lnTo>
                    <a:pt x="921011" y="306479"/>
                  </a:lnTo>
                  <a:lnTo>
                    <a:pt x="923765" y="307266"/>
                  </a:lnTo>
                  <a:lnTo>
                    <a:pt x="923372" y="304512"/>
                  </a:lnTo>
                  <a:lnTo>
                    <a:pt x="921405" y="304512"/>
                  </a:lnTo>
                  <a:lnTo>
                    <a:pt x="921798" y="304119"/>
                  </a:lnTo>
                  <a:lnTo>
                    <a:pt x="923372" y="303725"/>
                  </a:lnTo>
                  <a:lnTo>
                    <a:pt x="926519" y="302545"/>
                  </a:lnTo>
                  <a:lnTo>
                    <a:pt x="924552" y="301758"/>
                  </a:lnTo>
                  <a:lnTo>
                    <a:pt x="926519" y="300184"/>
                  </a:lnTo>
                  <a:lnTo>
                    <a:pt x="915503" y="295463"/>
                  </a:lnTo>
                  <a:lnTo>
                    <a:pt x="917470" y="295463"/>
                  </a:lnTo>
                  <a:lnTo>
                    <a:pt x="920225" y="293103"/>
                  </a:lnTo>
                  <a:lnTo>
                    <a:pt x="923765" y="291922"/>
                  </a:lnTo>
                  <a:lnTo>
                    <a:pt x="920618" y="291529"/>
                  </a:lnTo>
                  <a:lnTo>
                    <a:pt x="917864" y="290742"/>
                  </a:lnTo>
                  <a:lnTo>
                    <a:pt x="914717" y="293103"/>
                  </a:lnTo>
                  <a:lnTo>
                    <a:pt x="911962" y="293889"/>
                  </a:lnTo>
                  <a:lnTo>
                    <a:pt x="909208" y="292709"/>
                  </a:lnTo>
                  <a:lnTo>
                    <a:pt x="911962" y="291529"/>
                  </a:lnTo>
                  <a:lnTo>
                    <a:pt x="908815" y="291135"/>
                  </a:lnTo>
                  <a:lnTo>
                    <a:pt x="906455" y="291922"/>
                  </a:lnTo>
                  <a:lnTo>
                    <a:pt x="904094" y="290742"/>
                  </a:lnTo>
                  <a:lnTo>
                    <a:pt x="904881" y="290742"/>
                  </a:lnTo>
                  <a:lnTo>
                    <a:pt x="907635" y="289562"/>
                  </a:lnTo>
                  <a:lnTo>
                    <a:pt x="910389" y="287988"/>
                  </a:lnTo>
                  <a:lnTo>
                    <a:pt x="913143" y="287595"/>
                  </a:lnTo>
                  <a:lnTo>
                    <a:pt x="910389" y="285628"/>
                  </a:lnTo>
                  <a:lnTo>
                    <a:pt x="907241" y="284841"/>
                  </a:lnTo>
                  <a:lnTo>
                    <a:pt x="904488" y="284447"/>
                  </a:lnTo>
                  <a:lnTo>
                    <a:pt x="901340" y="284841"/>
                  </a:lnTo>
                  <a:lnTo>
                    <a:pt x="898979" y="282087"/>
                  </a:lnTo>
                  <a:lnTo>
                    <a:pt x="896225" y="281693"/>
                  </a:lnTo>
                  <a:lnTo>
                    <a:pt x="893078" y="280906"/>
                  </a:lnTo>
                  <a:lnTo>
                    <a:pt x="890324" y="281300"/>
                  </a:lnTo>
                  <a:lnTo>
                    <a:pt x="890718" y="278546"/>
                  </a:lnTo>
                  <a:lnTo>
                    <a:pt x="887963" y="278939"/>
                  </a:lnTo>
                  <a:lnTo>
                    <a:pt x="885603" y="275792"/>
                  </a:lnTo>
                  <a:lnTo>
                    <a:pt x="882849" y="274218"/>
                  </a:lnTo>
                  <a:lnTo>
                    <a:pt x="880095" y="273825"/>
                  </a:lnTo>
                  <a:lnTo>
                    <a:pt x="876948" y="271858"/>
                  </a:lnTo>
                  <a:lnTo>
                    <a:pt x="873800" y="271858"/>
                  </a:lnTo>
                  <a:lnTo>
                    <a:pt x="871046" y="271464"/>
                  </a:lnTo>
                  <a:lnTo>
                    <a:pt x="868292" y="272644"/>
                  </a:lnTo>
                  <a:lnTo>
                    <a:pt x="866325" y="273038"/>
                  </a:lnTo>
                  <a:lnTo>
                    <a:pt x="863964" y="273431"/>
                  </a:lnTo>
                  <a:lnTo>
                    <a:pt x="860817" y="275005"/>
                  </a:lnTo>
                  <a:lnTo>
                    <a:pt x="858063" y="277366"/>
                  </a:lnTo>
                  <a:lnTo>
                    <a:pt x="857670" y="276185"/>
                  </a:lnTo>
                  <a:lnTo>
                    <a:pt x="857670" y="276185"/>
                  </a:lnTo>
                  <a:lnTo>
                    <a:pt x="859243" y="273038"/>
                  </a:lnTo>
                  <a:lnTo>
                    <a:pt x="856883" y="273038"/>
                  </a:lnTo>
                  <a:lnTo>
                    <a:pt x="856489" y="272251"/>
                  </a:lnTo>
                  <a:lnTo>
                    <a:pt x="865145" y="272251"/>
                  </a:lnTo>
                  <a:lnTo>
                    <a:pt x="868685" y="271858"/>
                  </a:lnTo>
                  <a:lnTo>
                    <a:pt x="871440" y="271464"/>
                  </a:lnTo>
                  <a:lnTo>
                    <a:pt x="874587" y="270677"/>
                  </a:lnTo>
                  <a:lnTo>
                    <a:pt x="875374" y="267923"/>
                  </a:lnTo>
                  <a:lnTo>
                    <a:pt x="873800" y="265169"/>
                  </a:lnTo>
                  <a:lnTo>
                    <a:pt x="871046" y="264776"/>
                  </a:lnTo>
                  <a:lnTo>
                    <a:pt x="867899" y="264382"/>
                  </a:lnTo>
                  <a:lnTo>
                    <a:pt x="864751" y="262809"/>
                  </a:lnTo>
                  <a:lnTo>
                    <a:pt x="861604" y="262415"/>
                  </a:lnTo>
                  <a:lnTo>
                    <a:pt x="858850" y="262415"/>
                  </a:lnTo>
                  <a:lnTo>
                    <a:pt x="855309" y="263596"/>
                  </a:lnTo>
                  <a:lnTo>
                    <a:pt x="854129" y="263989"/>
                  </a:lnTo>
                  <a:lnTo>
                    <a:pt x="853735" y="262022"/>
                  </a:lnTo>
                  <a:lnTo>
                    <a:pt x="854915" y="261629"/>
                  </a:lnTo>
                  <a:lnTo>
                    <a:pt x="858063" y="260842"/>
                  </a:lnTo>
                  <a:lnTo>
                    <a:pt x="860817" y="260842"/>
                  </a:lnTo>
                  <a:lnTo>
                    <a:pt x="864358" y="261235"/>
                  </a:lnTo>
                  <a:lnTo>
                    <a:pt x="867112" y="260448"/>
                  </a:lnTo>
                  <a:lnTo>
                    <a:pt x="870259" y="259661"/>
                  </a:lnTo>
                  <a:lnTo>
                    <a:pt x="873013" y="257301"/>
                  </a:lnTo>
                  <a:lnTo>
                    <a:pt x="870259" y="256121"/>
                  </a:lnTo>
                  <a:lnTo>
                    <a:pt x="867112" y="256121"/>
                  </a:lnTo>
                  <a:lnTo>
                    <a:pt x="864358" y="255727"/>
                  </a:lnTo>
                  <a:lnTo>
                    <a:pt x="861211" y="255334"/>
                  </a:lnTo>
                  <a:lnTo>
                    <a:pt x="858063" y="254153"/>
                  </a:lnTo>
                  <a:lnTo>
                    <a:pt x="855309" y="252973"/>
                  </a:lnTo>
                  <a:lnTo>
                    <a:pt x="852555" y="252973"/>
                  </a:lnTo>
                  <a:lnTo>
                    <a:pt x="851375" y="252973"/>
                  </a:lnTo>
                  <a:lnTo>
                    <a:pt x="850981" y="251399"/>
                  </a:lnTo>
                  <a:lnTo>
                    <a:pt x="854129" y="251793"/>
                  </a:lnTo>
                  <a:lnTo>
                    <a:pt x="857276" y="251399"/>
                  </a:lnTo>
                  <a:lnTo>
                    <a:pt x="860423" y="251006"/>
                  </a:lnTo>
                  <a:lnTo>
                    <a:pt x="862391" y="250219"/>
                  </a:lnTo>
                  <a:lnTo>
                    <a:pt x="873407" y="249432"/>
                  </a:lnTo>
                  <a:lnTo>
                    <a:pt x="876554" y="249826"/>
                  </a:lnTo>
                  <a:lnTo>
                    <a:pt x="879308" y="249432"/>
                  </a:lnTo>
                  <a:lnTo>
                    <a:pt x="882062" y="249826"/>
                  </a:lnTo>
                  <a:lnTo>
                    <a:pt x="888357" y="250219"/>
                  </a:lnTo>
                  <a:lnTo>
                    <a:pt x="891111" y="250219"/>
                  </a:lnTo>
                  <a:lnTo>
                    <a:pt x="893865" y="250613"/>
                  </a:lnTo>
                  <a:lnTo>
                    <a:pt x="897012" y="251399"/>
                  </a:lnTo>
                  <a:lnTo>
                    <a:pt x="899766" y="251793"/>
                  </a:lnTo>
                  <a:lnTo>
                    <a:pt x="902520" y="252186"/>
                  </a:lnTo>
                  <a:lnTo>
                    <a:pt x="905274" y="252186"/>
                  </a:lnTo>
                  <a:lnTo>
                    <a:pt x="908422" y="251793"/>
                  </a:lnTo>
                  <a:lnTo>
                    <a:pt x="911569" y="251006"/>
                  </a:lnTo>
                  <a:lnTo>
                    <a:pt x="908815" y="250613"/>
                  </a:lnTo>
                  <a:lnTo>
                    <a:pt x="905668" y="249432"/>
                  </a:lnTo>
                  <a:lnTo>
                    <a:pt x="902914" y="249039"/>
                  </a:lnTo>
                  <a:lnTo>
                    <a:pt x="899766" y="248645"/>
                  </a:lnTo>
                  <a:lnTo>
                    <a:pt x="896619" y="248252"/>
                  </a:lnTo>
                  <a:lnTo>
                    <a:pt x="895045" y="247859"/>
                  </a:lnTo>
                  <a:lnTo>
                    <a:pt x="909208" y="246678"/>
                  </a:lnTo>
                  <a:lnTo>
                    <a:pt x="911176" y="247465"/>
                  </a:lnTo>
                  <a:lnTo>
                    <a:pt x="914323" y="247859"/>
                  </a:lnTo>
                  <a:lnTo>
                    <a:pt x="917470" y="249039"/>
                  </a:lnTo>
                  <a:lnTo>
                    <a:pt x="920225" y="249432"/>
                  </a:lnTo>
                  <a:lnTo>
                    <a:pt x="922978" y="249826"/>
                  </a:lnTo>
                  <a:lnTo>
                    <a:pt x="926126" y="250613"/>
                  </a:lnTo>
                  <a:lnTo>
                    <a:pt x="929273" y="251399"/>
                  </a:lnTo>
                  <a:lnTo>
                    <a:pt x="932421" y="251793"/>
                  </a:lnTo>
                  <a:lnTo>
                    <a:pt x="935174" y="251006"/>
                  </a:lnTo>
                  <a:lnTo>
                    <a:pt x="938322" y="249432"/>
                  </a:lnTo>
                  <a:lnTo>
                    <a:pt x="941863" y="248645"/>
                  </a:lnTo>
                  <a:lnTo>
                    <a:pt x="944617" y="248252"/>
                  </a:lnTo>
                  <a:lnTo>
                    <a:pt x="947764" y="247859"/>
                  </a:lnTo>
                  <a:lnTo>
                    <a:pt x="950518" y="245498"/>
                  </a:lnTo>
                  <a:lnTo>
                    <a:pt x="953272" y="245891"/>
                  </a:lnTo>
                  <a:lnTo>
                    <a:pt x="956420" y="246285"/>
                  </a:lnTo>
                  <a:lnTo>
                    <a:pt x="959173" y="245891"/>
                  </a:lnTo>
                  <a:lnTo>
                    <a:pt x="965075" y="245891"/>
                  </a:lnTo>
                  <a:lnTo>
                    <a:pt x="968222" y="246285"/>
                  </a:lnTo>
                  <a:lnTo>
                    <a:pt x="971370" y="245891"/>
                  </a:lnTo>
                  <a:lnTo>
                    <a:pt x="970583" y="243137"/>
                  </a:lnTo>
                  <a:lnTo>
                    <a:pt x="972157" y="241564"/>
                  </a:lnTo>
                  <a:lnTo>
                    <a:pt x="975698" y="237630"/>
                  </a:lnTo>
                  <a:lnTo>
                    <a:pt x="976091" y="237630"/>
                  </a:lnTo>
                  <a:lnTo>
                    <a:pt x="976091" y="237236"/>
                  </a:lnTo>
                  <a:lnTo>
                    <a:pt x="987107" y="224646"/>
                  </a:lnTo>
                  <a:lnTo>
                    <a:pt x="989074" y="225040"/>
                  </a:lnTo>
                  <a:lnTo>
                    <a:pt x="992221" y="225433"/>
                  </a:lnTo>
                  <a:lnTo>
                    <a:pt x="995369" y="225827"/>
                  </a:lnTo>
                  <a:lnTo>
                    <a:pt x="998516" y="225433"/>
                  </a:lnTo>
                  <a:lnTo>
                    <a:pt x="1001270" y="225040"/>
                  </a:lnTo>
                  <a:lnTo>
                    <a:pt x="1004417" y="223466"/>
                  </a:lnTo>
                  <a:lnTo>
                    <a:pt x="1007172" y="221106"/>
                  </a:lnTo>
                  <a:lnTo>
                    <a:pt x="1010713" y="219138"/>
                  </a:lnTo>
                  <a:lnTo>
                    <a:pt x="1007565" y="218745"/>
                  </a:lnTo>
                  <a:lnTo>
                    <a:pt x="1004811" y="216778"/>
                  </a:lnTo>
                  <a:lnTo>
                    <a:pt x="1004811" y="214024"/>
                  </a:lnTo>
                  <a:lnTo>
                    <a:pt x="1002057" y="214417"/>
                  </a:lnTo>
                  <a:lnTo>
                    <a:pt x="999303" y="215204"/>
                  </a:lnTo>
                  <a:lnTo>
                    <a:pt x="996156" y="216778"/>
                  </a:lnTo>
                  <a:lnTo>
                    <a:pt x="993402" y="215991"/>
                  </a:lnTo>
                  <a:lnTo>
                    <a:pt x="990254" y="215598"/>
                  </a:lnTo>
                  <a:lnTo>
                    <a:pt x="991041" y="212844"/>
                  </a:lnTo>
                  <a:lnTo>
                    <a:pt x="991435" y="212844"/>
                  </a:lnTo>
                  <a:lnTo>
                    <a:pt x="994188" y="211663"/>
                  </a:lnTo>
                  <a:lnTo>
                    <a:pt x="997336" y="210090"/>
                  </a:lnTo>
                  <a:lnTo>
                    <a:pt x="994188" y="208123"/>
                  </a:lnTo>
                  <a:lnTo>
                    <a:pt x="993008" y="207729"/>
                  </a:lnTo>
                  <a:lnTo>
                    <a:pt x="993402" y="205762"/>
                  </a:lnTo>
                  <a:lnTo>
                    <a:pt x="994976" y="201041"/>
                  </a:lnTo>
                  <a:lnTo>
                    <a:pt x="998123" y="201828"/>
                  </a:lnTo>
                  <a:lnTo>
                    <a:pt x="1000877" y="202221"/>
                  </a:lnTo>
                  <a:lnTo>
                    <a:pt x="1004024" y="201434"/>
                  </a:lnTo>
                  <a:lnTo>
                    <a:pt x="1007172" y="199861"/>
                  </a:lnTo>
                  <a:lnTo>
                    <a:pt x="1009139" y="197107"/>
                  </a:lnTo>
                  <a:lnTo>
                    <a:pt x="1010319" y="193959"/>
                  </a:lnTo>
                  <a:lnTo>
                    <a:pt x="1010713" y="191205"/>
                  </a:lnTo>
                  <a:lnTo>
                    <a:pt x="1007958" y="188451"/>
                  </a:lnTo>
                  <a:lnTo>
                    <a:pt x="1010713" y="186878"/>
                  </a:lnTo>
                  <a:lnTo>
                    <a:pt x="1007958" y="184517"/>
                  </a:lnTo>
                  <a:lnTo>
                    <a:pt x="1004811" y="182156"/>
                  </a:lnTo>
                  <a:lnTo>
                    <a:pt x="1002057" y="181763"/>
                  </a:lnTo>
                  <a:lnTo>
                    <a:pt x="1003237" y="178222"/>
                  </a:lnTo>
                  <a:lnTo>
                    <a:pt x="1008746" y="178222"/>
                  </a:lnTo>
                  <a:lnTo>
                    <a:pt x="1009532" y="175468"/>
                  </a:lnTo>
                  <a:lnTo>
                    <a:pt x="1005991" y="173108"/>
                  </a:lnTo>
                  <a:lnTo>
                    <a:pt x="1004417" y="173108"/>
                  </a:lnTo>
                  <a:lnTo>
                    <a:pt x="1011106" y="155403"/>
                  </a:lnTo>
                  <a:lnTo>
                    <a:pt x="1013860" y="155403"/>
                  </a:lnTo>
                  <a:lnTo>
                    <a:pt x="1017007" y="156190"/>
                  </a:lnTo>
                  <a:lnTo>
                    <a:pt x="1019761" y="156584"/>
                  </a:lnTo>
                  <a:lnTo>
                    <a:pt x="1023302" y="157764"/>
                  </a:lnTo>
                  <a:lnTo>
                    <a:pt x="1026450" y="157764"/>
                  </a:lnTo>
                  <a:lnTo>
                    <a:pt x="1029204" y="158157"/>
                  </a:lnTo>
                  <a:lnTo>
                    <a:pt x="1031957" y="158157"/>
                  </a:lnTo>
                  <a:lnTo>
                    <a:pt x="1035105" y="158944"/>
                  </a:lnTo>
                  <a:lnTo>
                    <a:pt x="1037859" y="159338"/>
                  </a:lnTo>
                  <a:lnTo>
                    <a:pt x="1040613" y="158944"/>
                  </a:lnTo>
                  <a:lnTo>
                    <a:pt x="1043367" y="158157"/>
                  </a:lnTo>
                  <a:lnTo>
                    <a:pt x="1046908" y="157371"/>
                  </a:lnTo>
                  <a:lnTo>
                    <a:pt x="1048482" y="154617"/>
                  </a:lnTo>
                  <a:lnTo>
                    <a:pt x="1048875" y="151863"/>
                  </a:lnTo>
                  <a:lnTo>
                    <a:pt x="1048482" y="149109"/>
                  </a:lnTo>
                  <a:lnTo>
                    <a:pt x="1046121" y="145961"/>
                  </a:lnTo>
                  <a:lnTo>
                    <a:pt x="1040220" y="145961"/>
                  </a:lnTo>
                  <a:lnTo>
                    <a:pt x="1037072" y="145568"/>
                  </a:lnTo>
                  <a:lnTo>
                    <a:pt x="1033924" y="145961"/>
                  </a:lnTo>
                  <a:lnTo>
                    <a:pt x="1030777" y="148715"/>
                  </a:lnTo>
                  <a:lnTo>
                    <a:pt x="1027630" y="148322"/>
                  </a:lnTo>
                  <a:lnTo>
                    <a:pt x="1024483" y="148715"/>
                  </a:lnTo>
                  <a:lnTo>
                    <a:pt x="1023302" y="145961"/>
                  </a:lnTo>
                  <a:lnTo>
                    <a:pt x="1020548" y="145174"/>
                  </a:lnTo>
                  <a:lnTo>
                    <a:pt x="1017794" y="144781"/>
                  </a:lnTo>
                  <a:lnTo>
                    <a:pt x="1015040" y="145174"/>
                  </a:lnTo>
                  <a:lnTo>
                    <a:pt x="1018187" y="136912"/>
                  </a:lnTo>
                  <a:lnTo>
                    <a:pt x="1020942" y="137699"/>
                  </a:lnTo>
                  <a:lnTo>
                    <a:pt x="1024089" y="138486"/>
                  </a:lnTo>
                  <a:lnTo>
                    <a:pt x="1026843" y="139666"/>
                  </a:lnTo>
                  <a:lnTo>
                    <a:pt x="1029990" y="140060"/>
                  </a:lnTo>
                  <a:lnTo>
                    <a:pt x="1033138" y="139666"/>
                  </a:lnTo>
                  <a:lnTo>
                    <a:pt x="1035892" y="139273"/>
                  </a:lnTo>
                  <a:lnTo>
                    <a:pt x="1034318" y="136519"/>
                  </a:lnTo>
                  <a:lnTo>
                    <a:pt x="1031564" y="135339"/>
                  </a:lnTo>
                  <a:lnTo>
                    <a:pt x="1028023" y="134945"/>
                  </a:lnTo>
                  <a:lnTo>
                    <a:pt x="1024876" y="134945"/>
                  </a:lnTo>
                  <a:lnTo>
                    <a:pt x="1021728" y="134552"/>
                  </a:lnTo>
                  <a:lnTo>
                    <a:pt x="1018975" y="134158"/>
                  </a:lnTo>
                  <a:lnTo>
                    <a:pt x="1019368" y="133765"/>
                  </a:lnTo>
                  <a:lnTo>
                    <a:pt x="1019368" y="133765"/>
                  </a:lnTo>
                  <a:lnTo>
                    <a:pt x="1022515" y="134158"/>
                  </a:lnTo>
                  <a:lnTo>
                    <a:pt x="1028810" y="134552"/>
                  </a:lnTo>
                  <a:lnTo>
                    <a:pt x="1032351" y="134945"/>
                  </a:lnTo>
                  <a:lnTo>
                    <a:pt x="1029597" y="132585"/>
                  </a:lnTo>
                  <a:lnTo>
                    <a:pt x="1026450" y="132978"/>
                  </a:lnTo>
                  <a:lnTo>
                    <a:pt x="1023302" y="132191"/>
                  </a:lnTo>
                  <a:lnTo>
                    <a:pt x="1020548" y="131404"/>
                  </a:lnTo>
                  <a:lnTo>
                    <a:pt x="1029597" y="108192"/>
                  </a:lnTo>
                  <a:lnTo>
                    <a:pt x="1031171" y="105438"/>
                  </a:lnTo>
                  <a:lnTo>
                    <a:pt x="1030777" y="105045"/>
                  </a:lnTo>
                  <a:lnTo>
                    <a:pt x="1031171" y="103471"/>
                  </a:lnTo>
                  <a:lnTo>
                    <a:pt x="1032744" y="103078"/>
                  </a:lnTo>
                  <a:lnTo>
                    <a:pt x="1035892" y="102684"/>
                  </a:lnTo>
                  <a:lnTo>
                    <a:pt x="1039433" y="102684"/>
                  </a:lnTo>
                  <a:lnTo>
                    <a:pt x="1042580" y="100324"/>
                  </a:lnTo>
                  <a:lnTo>
                    <a:pt x="1045727" y="99143"/>
                  </a:lnTo>
                  <a:lnTo>
                    <a:pt x="1048482" y="100324"/>
                  </a:lnTo>
                  <a:lnTo>
                    <a:pt x="1051629" y="98357"/>
                  </a:lnTo>
                  <a:lnTo>
                    <a:pt x="1048875" y="97963"/>
                  </a:lnTo>
                  <a:lnTo>
                    <a:pt x="1045727" y="98357"/>
                  </a:lnTo>
                  <a:lnTo>
                    <a:pt x="1045334" y="98357"/>
                  </a:lnTo>
                  <a:lnTo>
                    <a:pt x="1073267" y="87341"/>
                  </a:lnTo>
                  <a:lnTo>
                    <a:pt x="1074448" y="86947"/>
                  </a:lnTo>
                  <a:lnTo>
                    <a:pt x="1077201" y="86160"/>
                  </a:lnTo>
                  <a:lnTo>
                    <a:pt x="1079956" y="84980"/>
                  </a:lnTo>
                  <a:lnTo>
                    <a:pt x="1082709" y="83406"/>
                  </a:lnTo>
                  <a:lnTo>
                    <a:pt x="1086250" y="81833"/>
                  </a:lnTo>
                  <a:lnTo>
                    <a:pt x="1086644" y="81439"/>
                  </a:lnTo>
                  <a:lnTo>
                    <a:pt x="1089398" y="80259"/>
                  </a:lnTo>
                  <a:lnTo>
                    <a:pt x="1086250" y="78685"/>
                  </a:lnTo>
                  <a:lnTo>
                    <a:pt x="1082709" y="78292"/>
                  </a:lnTo>
                  <a:lnTo>
                    <a:pt x="1079562" y="77898"/>
                  </a:lnTo>
                  <a:lnTo>
                    <a:pt x="1076415" y="78292"/>
                  </a:lnTo>
                  <a:lnTo>
                    <a:pt x="1073267" y="78292"/>
                  </a:lnTo>
                  <a:lnTo>
                    <a:pt x="1069727" y="78685"/>
                  </a:lnTo>
                  <a:lnTo>
                    <a:pt x="1066972" y="79079"/>
                  </a:lnTo>
                  <a:lnTo>
                    <a:pt x="1063825" y="79472"/>
                  </a:lnTo>
                  <a:lnTo>
                    <a:pt x="1060678" y="79866"/>
                  </a:lnTo>
                  <a:lnTo>
                    <a:pt x="1057530" y="79472"/>
                  </a:lnTo>
                  <a:lnTo>
                    <a:pt x="1054776" y="79079"/>
                  </a:lnTo>
                  <a:lnTo>
                    <a:pt x="1051629" y="79472"/>
                  </a:lnTo>
                  <a:lnTo>
                    <a:pt x="1048088" y="80259"/>
                  </a:lnTo>
                  <a:lnTo>
                    <a:pt x="1044547" y="80652"/>
                  </a:lnTo>
                  <a:lnTo>
                    <a:pt x="1041400" y="81046"/>
                  </a:lnTo>
                  <a:lnTo>
                    <a:pt x="1040613" y="81439"/>
                  </a:lnTo>
                  <a:lnTo>
                    <a:pt x="1039433" y="81439"/>
                  </a:lnTo>
                  <a:lnTo>
                    <a:pt x="1037072" y="83013"/>
                  </a:lnTo>
                  <a:lnTo>
                    <a:pt x="1035892" y="84587"/>
                  </a:lnTo>
                  <a:lnTo>
                    <a:pt x="1030384" y="81439"/>
                  </a:lnTo>
                  <a:lnTo>
                    <a:pt x="1030777" y="81439"/>
                  </a:lnTo>
                  <a:lnTo>
                    <a:pt x="1048875" y="74751"/>
                  </a:lnTo>
                  <a:lnTo>
                    <a:pt x="1052416" y="74751"/>
                  </a:lnTo>
                  <a:lnTo>
                    <a:pt x="1055563" y="75144"/>
                  </a:lnTo>
                  <a:lnTo>
                    <a:pt x="1058317" y="75538"/>
                  </a:lnTo>
                  <a:lnTo>
                    <a:pt x="1061464" y="75931"/>
                  </a:lnTo>
                  <a:lnTo>
                    <a:pt x="1065005" y="75931"/>
                  </a:lnTo>
                  <a:lnTo>
                    <a:pt x="1068546" y="76325"/>
                  </a:lnTo>
                  <a:lnTo>
                    <a:pt x="1071694" y="76718"/>
                  </a:lnTo>
                  <a:lnTo>
                    <a:pt x="1074841" y="76718"/>
                  </a:lnTo>
                  <a:lnTo>
                    <a:pt x="1077989" y="76325"/>
                  </a:lnTo>
                  <a:lnTo>
                    <a:pt x="1081136" y="75931"/>
                  </a:lnTo>
                  <a:lnTo>
                    <a:pt x="1087431" y="75931"/>
                  </a:lnTo>
                  <a:lnTo>
                    <a:pt x="1090578" y="76325"/>
                  </a:lnTo>
                  <a:lnTo>
                    <a:pt x="1093726" y="76325"/>
                  </a:lnTo>
                  <a:lnTo>
                    <a:pt x="1096873" y="75931"/>
                  </a:lnTo>
                  <a:lnTo>
                    <a:pt x="1100414" y="75538"/>
                  </a:lnTo>
                  <a:lnTo>
                    <a:pt x="1103168" y="75144"/>
                  </a:lnTo>
                  <a:lnTo>
                    <a:pt x="1105922" y="71997"/>
                  </a:lnTo>
                  <a:lnTo>
                    <a:pt x="1109463" y="72784"/>
                  </a:lnTo>
                  <a:lnTo>
                    <a:pt x="1112216" y="71210"/>
                  </a:lnTo>
                  <a:lnTo>
                    <a:pt x="1114971" y="70817"/>
                  </a:lnTo>
                  <a:lnTo>
                    <a:pt x="1118118" y="69636"/>
                  </a:lnTo>
                  <a:lnTo>
                    <a:pt x="1115364" y="69243"/>
                  </a:lnTo>
                  <a:lnTo>
                    <a:pt x="1112216" y="68850"/>
                  </a:lnTo>
                  <a:lnTo>
                    <a:pt x="1108675" y="68850"/>
                  </a:lnTo>
                  <a:lnTo>
                    <a:pt x="1105135" y="68456"/>
                  </a:lnTo>
                  <a:lnTo>
                    <a:pt x="1102381" y="68456"/>
                  </a:lnTo>
                  <a:lnTo>
                    <a:pt x="1098840" y="68063"/>
                  </a:lnTo>
                  <a:lnTo>
                    <a:pt x="1095693" y="67669"/>
                  </a:lnTo>
                  <a:lnTo>
                    <a:pt x="1092545" y="67276"/>
                  </a:lnTo>
                  <a:lnTo>
                    <a:pt x="1089398" y="67669"/>
                  </a:lnTo>
                  <a:lnTo>
                    <a:pt x="1086250" y="68063"/>
                  </a:lnTo>
                  <a:lnTo>
                    <a:pt x="1083497" y="68456"/>
                  </a:lnTo>
                  <a:lnTo>
                    <a:pt x="1079956" y="68850"/>
                  </a:lnTo>
                  <a:lnTo>
                    <a:pt x="1076808" y="68850"/>
                  </a:lnTo>
                  <a:lnTo>
                    <a:pt x="1073267" y="69243"/>
                  </a:lnTo>
                  <a:lnTo>
                    <a:pt x="1070120" y="68850"/>
                  </a:lnTo>
                  <a:lnTo>
                    <a:pt x="1067366" y="68850"/>
                  </a:lnTo>
                  <a:lnTo>
                    <a:pt x="1066186" y="68456"/>
                  </a:lnTo>
                  <a:lnTo>
                    <a:pt x="1068546" y="67669"/>
                  </a:lnTo>
                  <a:lnTo>
                    <a:pt x="1072087" y="67276"/>
                  </a:lnTo>
                  <a:lnTo>
                    <a:pt x="1075628" y="66882"/>
                  </a:lnTo>
                  <a:lnTo>
                    <a:pt x="1078382" y="66096"/>
                  </a:lnTo>
                  <a:lnTo>
                    <a:pt x="1081529" y="65702"/>
                  </a:lnTo>
                  <a:lnTo>
                    <a:pt x="1084283" y="63735"/>
                  </a:lnTo>
                  <a:lnTo>
                    <a:pt x="1087431" y="63735"/>
                  </a:lnTo>
                  <a:lnTo>
                    <a:pt x="1090185" y="64915"/>
                  </a:lnTo>
                  <a:lnTo>
                    <a:pt x="1099627" y="64915"/>
                  </a:lnTo>
                  <a:lnTo>
                    <a:pt x="1102774" y="65309"/>
                  </a:lnTo>
                  <a:lnTo>
                    <a:pt x="1105922" y="65702"/>
                  </a:lnTo>
                  <a:lnTo>
                    <a:pt x="1109069" y="66096"/>
                  </a:lnTo>
                  <a:lnTo>
                    <a:pt x="1112216" y="65702"/>
                  </a:lnTo>
                  <a:lnTo>
                    <a:pt x="1115364" y="65309"/>
                  </a:lnTo>
                  <a:lnTo>
                    <a:pt x="1118118" y="65309"/>
                  </a:lnTo>
                  <a:lnTo>
                    <a:pt x="1121265" y="65702"/>
                  </a:lnTo>
                  <a:lnTo>
                    <a:pt x="1124413" y="63342"/>
                  </a:lnTo>
                  <a:lnTo>
                    <a:pt x="1127953" y="62948"/>
                  </a:lnTo>
                  <a:lnTo>
                    <a:pt x="1131101" y="62555"/>
                  </a:lnTo>
                  <a:lnTo>
                    <a:pt x="1134642" y="62161"/>
                  </a:lnTo>
                  <a:lnTo>
                    <a:pt x="1141330" y="62161"/>
                  </a:lnTo>
                  <a:lnTo>
                    <a:pt x="1144478" y="61768"/>
                  </a:lnTo>
                  <a:lnTo>
                    <a:pt x="1147231" y="59407"/>
                  </a:lnTo>
                  <a:lnTo>
                    <a:pt x="1144478" y="59014"/>
                  </a:lnTo>
                  <a:lnTo>
                    <a:pt x="1141723" y="57047"/>
                  </a:lnTo>
                  <a:lnTo>
                    <a:pt x="1144478" y="56260"/>
                  </a:lnTo>
                  <a:lnTo>
                    <a:pt x="1147625" y="55867"/>
                  </a:lnTo>
                  <a:lnTo>
                    <a:pt x="1151166" y="56260"/>
                  </a:lnTo>
                  <a:lnTo>
                    <a:pt x="1160608" y="56260"/>
                  </a:lnTo>
                  <a:lnTo>
                    <a:pt x="1164149" y="55867"/>
                  </a:lnTo>
                  <a:lnTo>
                    <a:pt x="1167296" y="55080"/>
                  </a:lnTo>
                  <a:lnTo>
                    <a:pt x="1170837" y="53506"/>
                  </a:lnTo>
                  <a:lnTo>
                    <a:pt x="1173591" y="53113"/>
                  </a:lnTo>
                  <a:lnTo>
                    <a:pt x="1177132" y="52719"/>
                  </a:lnTo>
                  <a:lnTo>
                    <a:pt x="1180279" y="51539"/>
                  </a:lnTo>
                  <a:lnTo>
                    <a:pt x="1183033" y="50752"/>
                  </a:lnTo>
                  <a:lnTo>
                    <a:pt x="1186574" y="50359"/>
                  </a:lnTo>
                  <a:lnTo>
                    <a:pt x="1189722" y="49965"/>
                  </a:lnTo>
                  <a:lnTo>
                    <a:pt x="1192476" y="49572"/>
                  </a:lnTo>
                  <a:lnTo>
                    <a:pt x="1195623" y="49178"/>
                  </a:lnTo>
                  <a:lnTo>
                    <a:pt x="1198377" y="48785"/>
                  </a:lnTo>
                  <a:lnTo>
                    <a:pt x="1201525" y="46818"/>
                  </a:lnTo>
                  <a:lnTo>
                    <a:pt x="1197984" y="46424"/>
                  </a:lnTo>
                  <a:lnTo>
                    <a:pt x="1194836" y="46031"/>
                  </a:lnTo>
                  <a:lnTo>
                    <a:pt x="1192082" y="44457"/>
                  </a:lnTo>
                  <a:lnTo>
                    <a:pt x="1189328" y="44064"/>
                  </a:lnTo>
                  <a:lnTo>
                    <a:pt x="1186574" y="43670"/>
                  </a:lnTo>
                  <a:lnTo>
                    <a:pt x="1183033" y="43277"/>
                  </a:lnTo>
                  <a:lnTo>
                    <a:pt x="1180279" y="42883"/>
                  </a:lnTo>
                  <a:lnTo>
                    <a:pt x="1177525" y="42490"/>
                  </a:lnTo>
                  <a:lnTo>
                    <a:pt x="1174771" y="42097"/>
                  </a:lnTo>
                  <a:lnTo>
                    <a:pt x="1171624" y="42097"/>
                  </a:lnTo>
                  <a:lnTo>
                    <a:pt x="1168870" y="41703"/>
                  </a:lnTo>
                  <a:lnTo>
                    <a:pt x="1165722" y="41310"/>
                  </a:lnTo>
                  <a:lnTo>
                    <a:pt x="1162969" y="41310"/>
                  </a:lnTo>
                  <a:lnTo>
                    <a:pt x="1159821" y="40916"/>
                  </a:lnTo>
                  <a:lnTo>
                    <a:pt x="1157067" y="40523"/>
                  </a:lnTo>
                  <a:lnTo>
                    <a:pt x="1153526" y="40129"/>
                  </a:lnTo>
                  <a:lnTo>
                    <a:pt x="1150772" y="39736"/>
                  </a:lnTo>
                  <a:lnTo>
                    <a:pt x="1148018" y="39736"/>
                  </a:lnTo>
                  <a:lnTo>
                    <a:pt x="1144871" y="40129"/>
                  </a:lnTo>
                  <a:lnTo>
                    <a:pt x="1142117" y="40129"/>
                  </a:lnTo>
                  <a:lnTo>
                    <a:pt x="1138576" y="40523"/>
                  </a:lnTo>
                  <a:lnTo>
                    <a:pt x="1135035" y="40523"/>
                  </a:lnTo>
                  <a:lnTo>
                    <a:pt x="1131494" y="40129"/>
                  </a:lnTo>
                  <a:lnTo>
                    <a:pt x="1128741" y="40523"/>
                  </a:lnTo>
                  <a:lnTo>
                    <a:pt x="1122052" y="40523"/>
                  </a:lnTo>
                  <a:lnTo>
                    <a:pt x="1118511" y="40129"/>
                  </a:lnTo>
                  <a:lnTo>
                    <a:pt x="1114971" y="41703"/>
                  </a:lnTo>
                  <a:lnTo>
                    <a:pt x="1109069" y="41703"/>
                  </a:lnTo>
                  <a:lnTo>
                    <a:pt x="1105922" y="35802"/>
                  </a:lnTo>
                  <a:lnTo>
                    <a:pt x="1102774" y="36195"/>
                  </a:lnTo>
                  <a:lnTo>
                    <a:pt x="1104741" y="38949"/>
                  </a:lnTo>
                  <a:lnTo>
                    <a:pt x="1101594" y="38556"/>
                  </a:lnTo>
                  <a:lnTo>
                    <a:pt x="1098840" y="38162"/>
                  </a:lnTo>
                  <a:lnTo>
                    <a:pt x="1095693" y="40523"/>
                  </a:lnTo>
                  <a:lnTo>
                    <a:pt x="1099234" y="40916"/>
                  </a:lnTo>
                  <a:lnTo>
                    <a:pt x="1095693" y="42097"/>
                  </a:lnTo>
                  <a:lnTo>
                    <a:pt x="1092545" y="41703"/>
                  </a:lnTo>
                  <a:lnTo>
                    <a:pt x="1089398" y="43670"/>
                  </a:lnTo>
                  <a:lnTo>
                    <a:pt x="1086644" y="44064"/>
                  </a:lnTo>
                  <a:lnTo>
                    <a:pt x="1083497" y="44064"/>
                  </a:lnTo>
                  <a:lnTo>
                    <a:pt x="1080349" y="42883"/>
                  </a:lnTo>
                  <a:lnTo>
                    <a:pt x="1077595" y="42490"/>
                  </a:lnTo>
                  <a:lnTo>
                    <a:pt x="1074448" y="42883"/>
                  </a:lnTo>
                  <a:lnTo>
                    <a:pt x="1071300" y="41703"/>
                  </a:lnTo>
                  <a:lnTo>
                    <a:pt x="1068153" y="42097"/>
                  </a:lnTo>
                  <a:lnTo>
                    <a:pt x="1064612" y="41703"/>
                  </a:lnTo>
                  <a:lnTo>
                    <a:pt x="1061464" y="42097"/>
                  </a:lnTo>
                  <a:lnTo>
                    <a:pt x="1058317" y="42490"/>
                  </a:lnTo>
                  <a:lnTo>
                    <a:pt x="1054776" y="42883"/>
                  </a:lnTo>
                  <a:lnTo>
                    <a:pt x="1052022" y="44064"/>
                  </a:lnTo>
                  <a:lnTo>
                    <a:pt x="1048482" y="44457"/>
                  </a:lnTo>
                  <a:lnTo>
                    <a:pt x="1050055" y="41703"/>
                  </a:lnTo>
                  <a:lnTo>
                    <a:pt x="1052809" y="40129"/>
                  </a:lnTo>
                  <a:lnTo>
                    <a:pt x="1055957" y="39343"/>
                  </a:lnTo>
                  <a:lnTo>
                    <a:pt x="1053202" y="39736"/>
                  </a:lnTo>
                  <a:lnTo>
                    <a:pt x="1050055" y="39736"/>
                  </a:lnTo>
                  <a:lnTo>
                    <a:pt x="1047301" y="40129"/>
                  </a:lnTo>
                  <a:lnTo>
                    <a:pt x="1044154" y="40523"/>
                  </a:lnTo>
                  <a:lnTo>
                    <a:pt x="1041006" y="40916"/>
                  </a:lnTo>
                  <a:lnTo>
                    <a:pt x="1038253" y="41703"/>
                  </a:lnTo>
                  <a:lnTo>
                    <a:pt x="1035105" y="42490"/>
                  </a:lnTo>
                  <a:lnTo>
                    <a:pt x="1031957" y="43277"/>
                  </a:lnTo>
                  <a:lnTo>
                    <a:pt x="1029204" y="43670"/>
                  </a:lnTo>
                  <a:lnTo>
                    <a:pt x="1012680" y="43277"/>
                  </a:lnTo>
                  <a:lnTo>
                    <a:pt x="1015040" y="41703"/>
                  </a:lnTo>
                  <a:lnTo>
                    <a:pt x="1017794" y="39343"/>
                  </a:lnTo>
                  <a:lnTo>
                    <a:pt x="1020548" y="36589"/>
                  </a:lnTo>
                  <a:lnTo>
                    <a:pt x="1020942" y="33835"/>
                  </a:lnTo>
                  <a:lnTo>
                    <a:pt x="1018187" y="31081"/>
                  </a:lnTo>
                  <a:lnTo>
                    <a:pt x="1015434" y="30687"/>
                  </a:lnTo>
                  <a:lnTo>
                    <a:pt x="1012286" y="30687"/>
                  </a:lnTo>
                  <a:lnTo>
                    <a:pt x="1009532" y="31081"/>
                  </a:lnTo>
                  <a:lnTo>
                    <a:pt x="1005991" y="31081"/>
                  </a:lnTo>
                  <a:lnTo>
                    <a:pt x="1002450" y="31474"/>
                  </a:lnTo>
                  <a:lnTo>
                    <a:pt x="995762" y="31474"/>
                  </a:lnTo>
                  <a:lnTo>
                    <a:pt x="992221" y="31868"/>
                  </a:lnTo>
                  <a:lnTo>
                    <a:pt x="989468" y="32261"/>
                  </a:lnTo>
                  <a:lnTo>
                    <a:pt x="986713" y="32654"/>
                  </a:lnTo>
                  <a:lnTo>
                    <a:pt x="983566" y="33441"/>
                  </a:lnTo>
                  <a:lnTo>
                    <a:pt x="981599" y="36195"/>
                  </a:lnTo>
                  <a:lnTo>
                    <a:pt x="978058" y="38556"/>
                  </a:lnTo>
                  <a:lnTo>
                    <a:pt x="975304" y="38556"/>
                  </a:lnTo>
                  <a:lnTo>
                    <a:pt x="972157" y="38162"/>
                  </a:lnTo>
                  <a:lnTo>
                    <a:pt x="968616" y="38949"/>
                  </a:lnTo>
                  <a:lnTo>
                    <a:pt x="965469" y="38556"/>
                  </a:lnTo>
                  <a:lnTo>
                    <a:pt x="962714" y="38949"/>
                  </a:lnTo>
                  <a:lnTo>
                    <a:pt x="959173" y="39736"/>
                  </a:lnTo>
                  <a:lnTo>
                    <a:pt x="955633" y="40129"/>
                  </a:lnTo>
                  <a:lnTo>
                    <a:pt x="952485" y="40523"/>
                  </a:lnTo>
                  <a:lnTo>
                    <a:pt x="949732" y="40916"/>
                  </a:lnTo>
                  <a:lnTo>
                    <a:pt x="948551" y="40916"/>
                  </a:lnTo>
                  <a:lnTo>
                    <a:pt x="933995" y="40523"/>
                  </a:lnTo>
                  <a:lnTo>
                    <a:pt x="937142" y="40129"/>
                  </a:lnTo>
                  <a:lnTo>
                    <a:pt x="940289" y="39736"/>
                  </a:lnTo>
                  <a:lnTo>
                    <a:pt x="943830" y="39343"/>
                  </a:lnTo>
                  <a:lnTo>
                    <a:pt x="946977" y="38949"/>
                  </a:lnTo>
                  <a:lnTo>
                    <a:pt x="950518" y="38556"/>
                  </a:lnTo>
                  <a:lnTo>
                    <a:pt x="953272" y="38162"/>
                  </a:lnTo>
                  <a:lnTo>
                    <a:pt x="956420" y="37769"/>
                  </a:lnTo>
                  <a:lnTo>
                    <a:pt x="959173" y="36982"/>
                  </a:lnTo>
                  <a:lnTo>
                    <a:pt x="961534" y="34228"/>
                  </a:lnTo>
                  <a:lnTo>
                    <a:pt x="958387" y="32654"/>
                  </a:lnTo>
                  <a:lnTo>
                    <a:pt x="955239" y="32654"/>
                  </a:lnTo>
                  <a:lnTo>
                    <a:pt x="952092" y="32261"/>
                  </a:lnTo>
                  <a:lnTo>
                    <a:pt x="935962" y="32261"/>
                  </a:lnTo>
                  <a:lnTo>
                    <a:pt x="932814" y="31868"/>
                  </a:lnTo>
                  <a:lnTo>
                    <a:pt x="923372" y="31868"/>
                  </a:lnTo>
                  <a:lnTo>
                    <a:pt x="920618" y="32261"/>
                  </a:lnTo>
                  <a:lnTo>
                    <a:pt x="904881" y="32261"/>
                  </a:lnTo>
                  <a:lnTo>
                    <a:pt x="901733" y="32654"/>
                  </a:lnTo>
                  <a:lnTo>
                    <a:pt x="895045" y="32654"/>
                  </a:lnTo>
                  <a:lnTo>
                    <a:pt x="891504" y="33048"/>
                  </a:lnTo>
                  <a:lnTo>
                    <a:pt x="887963" y="33441"/>
                  </a:lnTo>
                  <a:lnTo>
                    <a:pt x="884422" y="33835"/>
                  </a:lnTo>
                  <a:lnTo>
                    <a:pt x="881669" y="35015"/>
                  </a:lnTo>
                  <a:lnTo>
                    <a:pt x="878915" y="35408"/>
                  </a:lnTo>
                  <a:lnTo>
                    <a:pt x="876161" y="34228"/>
                  </a:lnTo>
                  <a:lnTo>
                    <a:pt x="873013" y="34622"/>
                  </a:lnTo>
                  <a:lnTo>
                    <a:pt x="870259" y="34622"/>
                  </a:lnTo>
                  <a:lnTo>
                    <a:pt x="866718" y="35015"/>
                  </a:lnTo>
                  <a:lnTo>
                    <a:pt x="866325" y="35015"/>
                  </a:lnTo>
                  <a:lnTo>
                    <a:pt x="850981" y="33441"/>
                  </a:lnTo>
                  <a:lnTo>
                    <a:pt x="853735" y="33441"/>
                  </a:lnTo>
                  <a:lnTo>
                    <a:pt x="857276" y="33048"/>
                  </a:lnTo>
                  <a:lnTo>
                    <a:pt x="860423" y="32654"/>
                  </a:lnTo>
                  <a:lnTo>
                    <a:pt x="863178" y="32261"/>
                  </a:lnTo>
                  <a:lnTo>
                    <a:pt x="865932" y="31868"/>
                  </a:lnTo>
                  <a:lnTo>
                    <a:pt x="869472" y="31474"/>
                  </a:lnTo>
                  <a:lnTo>
                    <a:pt x="873013" y="31474"/>
                  </a:lnTo>
                  <a:lnTo>
                    <a:pt x="876554" y="31081"/>
                  </a:lnTo>
                  <a:lnTo>
                    <a:pt x="874587" y="29900"/>
                  </a:lnTo>
                  <a:lnTo>
                    <a:pt x="879308" y="29114"/>
                  </a:lnTo>
                  <a:lnTo>
                    <a:pt x="882455" y="29507"/>
                  </a:lnTo>
                  <a:lnTo>
                    <a:pt x="885996" y="29114"/>
                  </a:lnTo>
                  <a:lnTo>
                    <a:pt x="889537" y="29507"/>
                  </a:lnTo>
                  <a:lnTo>
                    <a:pt x="892685" y="29507"/>
                  </a:lnTo>
                  <a:lnTo>
                    <a:pt x="896225" y="29114"/>
                  </a:lnTo>
                  <a:lnTo>
                    <a:pt x="899766" y="28720"/>
                  </a:lnTo>
                  <a:lnTo>
                    <a:pt x="902520" y="28327"/>
                  </a:lnTo>
                  <a:lnTo>
                    <a:pt x="911176" y="28327"/>
                  </a:lnTo>
                  <a:lnTo>
                    <a:pt x="914717" y="27933"/>
                  </a:lnTo>
                  <a:lnTo>
                    <a:pt x="917864" y="27933"/>
                  </a:lnTo>
                  <a:lnTo>
                    <a:pt x="920618" y="28327"/>
                  </a:lnTo>
                  <a:lnTo>
                    <a:pt x="927306" y="28327"/>
                  </a:lnTo>
                  <a:lnTo>
                    <a:pt x="930454" y="28720"/>
                  </a:lnTo>
                  <a:lnTo>
                    <a:pt x="939896" y="28720"/>
                  </a:lnTo>
                  <a:lnTo>
                    <a:pt x="943043" y="29114"/>
                  </a:lnTo>
                  <a:lnTo>
                    <a:pt x="967829" y="29114"/>
                  </a:lnTo>
                  <a:lnTo>
                    <a:pt x="970976" y="28720"/>
                  </a:lnTo>
                  <a:lnTo>
                    <a:pt x="973730" y="28327"/>
                  </a:lnTo>
                  <a:lnTo>
                    <a:pt x="977271" y="27933"/>
                  </a:lnTo>
                  <a:lnTo>
                    <a:pt x="980812" y="27540"/>
                  </a:lnTo>
                  <a:lnTo>
                    <a:pt x="984353" y="27146"/>
                  </a:lnTo>
                  <a:lnTo>
                    <a:pt x="987107" y="26753"/>
                  </a:lnTo>
                  <a:lnTo>
                    <a:pt x="989861" y="26360"/>
                  </a:lnTo>
                  <a:lnTo>
                    <a:pt x="993402" y="25966"/>
                  </a:lnTo>
                  <a:lnTo>
                    <a:pt x="1005991" y="25966"/>
                  </a:lnTo>
                  <a:lnTo>
                    <a:pt x="1008746" y="25573"/>
                  </a:lnTo>
                  <a:lnTo>
                    <a:pt x="1011893" y="25179"/>
                  </a:lnTo>
                  <a:lnTo>
                    <a:pt x="1015040" y="24786"/>
                  </a:lnTo>
                  <a:lnTo>
                    <a:pt x="1017794" y="24392"/>
                  </a:lnTo>
                  <a:lnTo>
                    <a:pt x="1020548" y="23999"/>
                  </a:lnTo>
                  <a:lnTo>
                    <a:pt x="1024089" y="22032"/>
                  </a:lnTo>
                  <a:lnTo>
                    <a:pt x="1027236" y="22032"/>
                  </a:lnTo>
                  <a:lnTo>
                    <a:pt x="1030384" y="21638"/>
                  </a:lnTo>
                  <a:lnTo>
                    <a:pt x="1033138" y="21245"/>
                  </a:lnTo>
                  <a:lnTo>
                    <a:pt x="1036679" y="20852"/>
                  </a:lnTo>
                  <a:lnTo>
                    <a:pt x="1039433" y="19671"/>
                  </a:lnTo>
                  <a:lnTo>
                    <a:pt x="1036285" y="18491"/>
                  </a:lnTo>
                  <a:lnTo>
                    <a:pt x="1032744" y="18098"/>
                  </a:lnTo>
                  <a:lnTo>
                    <a:pt x="1029204" y="17311"/>
                  </a:lnTo>
                  <a:lnTo>
                    <a:pt x="1026056" y="16917"/>
                  </a:lnTo>
                  <a:lnTo>
                    <a:pt x="1022909" y="16524"/>
                  </a:lnTo>
                  <a:lnTo>
                    <a:pt x="1019761" y="16130"/>
                  </a:lnTo>
                  <a:lnTo>
                    <a:pt x="1016614" y="16524"/>
                  </a:lnTo>
                  <a:lnTo>
                    <a:pt x="1013466" y="16524"/>
                  </a:lnTo>
                  <a:lnTo>
                    <a:pt x="1010319" y="16130"/>
                  </a:lnTo>
                  <a:lnTo>
                    <a:pt x="1006778" y="15344"/>
                  </a:lnTo>
                  <a:lnTo>
                    <a:pt x="1003237" y="14950"/>
                  </a:lnTo>
                  <a:lnTo>
                    <a:pt x="999697" y="15344"/>
                  </a:lnTo>
                  <a:lnTo>
                    <a:pt x="996156" y="16524"/>
                  </a:lnTo>
                  <a:lnTo>
                    <a:pt x="992615" y="16917"/>
                  </a:lnTo>
                  <a:lnTo>
                    <a:pt x="996156" y="14557"/>
                  </a:lnTo>
                  <a:lnTo>
                    <a:pt x="993402" y="14163"/>
                  </a:lnTo>
                  <a:lnTo>
                    <a:pt x="990254" y="14557"/>
                  </a:lnTo>
                  <a:lnTo>
                    <a:pt x="986713" y="14163"/>
                  </a:lnTo>
                  <a:lnTo>
                    <a:pt x="983566" y="14163"/>
                  </a:lnTo>
                  <a:lnTo>
                    <a:pt x="980025" y="14557"/>
                  </a:lnTo>
                  <a:lnTo>
                    <a:pt x="976484" y="14950"/>
                  </a:lnTo>
                  <a:lnTo>
                    <a:pt x="972943" y="15344"/>
                  </a:lnTo>
                  <a:lnTo>
                    <a:pt x="969403" y="15737"/>
                  </a:lnTo>
                  <a:lnTo>
                    <a:pt x="965075" y="15344"/>
                  </a:lnTo>
                  <a:lnTo>
                    <a:pt x="965469" y="15344"/>
                  </a:lnTo>
                  <a:lnTo>
                    <a:pt x="968616" y="14950"/>
                  </a:lnTo>
                  <a:lnTo>
                    <a:pt x="971763" y="14557"/>
                  </a:lnTo>
                  <a:lnTo>
                    <a:pt x="974910" y="13376"/>
                  </a:lnTo>
                  <a:lnTo>
                    <a:pt x="978058" y="12590"/>
                  </a:lnTo>
                  <a:lnTo>
                    <a:pt x="980812" y="11803"/>
                  </a:lnTo>
                  <a:lnTo>
                    <a:pt x="978058" y="10229"/>
                  </a:lnTo>
                  <a:lnTo>
                    <a:pt x="974517" y="8262"/>
                  </a:lnTo>
                  <a:lnTo>
                    <a:pt x="971763" y="8655"/>
                  </a:lnTo>
                  <a:lnTo>
                    <a:pt x="968222" y="9049"/>
                  </a:lnTo>
                  <a:lnTo>
                    <a:pt x="965469" y="9442"/>
                  </a:lnTo>
                  <a:lnTo>
                    <a:pt x="962714" y="9442"/>
                  </a:lnTo>
                  <a:lnTo>
                    <a:pt x="959567" y="9836"/>
                  </a:lnTo>
                  <a:lnTo>
                    <a:pt x="956026" y="9836"/>
                  </a:lnTo>
                  <a:lnTo>
                    <a:pt x="952879" y="10229"/>
                  </a:lnTo>
                  <a:lnTo>
                    <a:pt x="949732" y="10623"/>
                  </a:lnTo>
                  <a:lnTo>
                    <a:pt x="946977" y="10623"/>
                  </a:lnTo>
                  <a:lnTo>
                    <a:pt x="943436" y="11016"/>
                  </a:lnTo>
                  <a:lnTo>
                    <a:pt x="939896" y="11016"/>
                  </a:lnTo>
                  <a:lnTo>
                    <a:pt x="936355" y="10623"/>
                  </a:lnTo>
                  <a:lnTo>
                    <a:pt x="929666" y="10623"/>
                  </a:lnTo>
                  <a:lnTo>
                    <a:pt x="926519" y="10229"/>
                  </a:lnTo>
                  <a:lnTo>
                    <a:pt x="923372" y="10623"/>
                  </a:lnTo>
                  <a:lnTo>
                    <a:pt x="920618" y="11016"/>
                  </a:lnTo>
                  <a:lnTo>
                    <a:pt x="917077" y="10229"/>
                  </a:lnTo>
                  <a:lnTo>
                    <a:pt x="913536" y="9836"/>
                  </a:lnTo>
                  <a:lnTo>
                    <a:pt x="909995" y="9836"/>
                  </a:lnTo>
                  <a:lnTo>
                    <a:pt x="906455" y="9442"/>
                  </a:lnTo>
                  <a:lnTo>
                    <a:pt x="903700" y="9442"/>
                  </a:lnTo>
                  <a:lnTo>
                    <a:pt x="900159" y="9049"/>
                  </a:lnTo>
                  <a:lnTo>
                    <a:pt x="896619" y="9049"/>
                  </a:lnTo>
                  <a:lnTo>
                    <a:pt x="893078" y="9442"/>
                  </a:lnTo>
                  <a:lnTo>
                    <a:pt x="889930" y="9442"/>
                  </a:lnTo>
                  <a:lnTo>
                    <a:pt x="886390" y="9836"/>
                  </a:lnTo>
                  <a:lnTo>
                    <a:pt x="882849" y="10229"/>
                  </a:lnTo>
                  <a:lnTo>
                    <a:pt x="876161" y="10229"/>
                  </a:lnTo>
                  <a:lnTo>
                    <a:pt x="872620" y="10623"/>
                  </a:lnTo>
                  <a:lnTo>
                    <a:pt x="869866" y="11016"/>
                  </a:lnTo>
                  <a:lnTo>
                    <a:pt x="867505" y="11409"/>
                  </a:lnTo>
                  <a:lnTo>
                    <a:pt x="856096" y="11016"/>
                  </a:lnTo>
                  <a:lnTo>
                    <a:pt x="859637" y="11016"/>
                  </a:lnTo>
                  <a:lnTo>
                    <a:pt x="862784" y="10623"/>
                  </a:lnTo>
                  <a:lnTo>
                    <a:pt x="865538" y="10229"/>
                  </a:lnTo>
                  <a:lnTo>
                    <a:pt x="869079" y="9836"/>
                  </a:lnTo>
                  <a:lnTo>
                    <a:pt x="874981" y="9836"/>
                  </a:lnTo>
                  <a:lnTo>
                    <a:pt x="877734" y="9442"/>
                  </a:lnTo>
                  <a:lnTo>
                    <a:pt x="880488" y="9049"/>
                  </a:lnTo>
                  <a:lnTo>
                    <a:pt x="883636" y="9049"/>
                  </a:lnTo>
                  <a:lnTo>
                    <a:pt x="887177" y="8655"/>
                  </a:lnTo>
                  <a:lnTo>
                    <a:pt x="914323" y="8655"/>
                  </a:lnTo>
                  <a:lnTo>
                    <a:pt x="917864" y="9049"/>
                  </a:lnTo>
                  <a:lnTo>
                    <a:pt x="921405" y="9442"/>
                  </a:lnTo>
                  <a:lnTo>
                    <a:pt x="942256" y="9442"/>
                  </a:lnTo>
                  <a:lnTo>
                    <a:pt x="945403" y="9049"/>
                  </a:lnTo>
                  <a:lnTo>
                    <a:pt x="948551" y="8655"/>
                  </a:lnTo>
                  <a:lnTo>
                    <a:pt x="951699" y="8655"/>
                  </a:lnTo>
                  <a:lnTo>
                    <a:pt x="954846" y="8262"/>
                  </a:lnTo>
                  <a:lnTo>
                    <a:pt x="957600" y="8262"/>
                  </a:lnTo>
                  <a:lnTo>
                    <a:pt x="961141" y="7869"/>
                  </a:lnTo>
                  <a:lnTo>
                    <a:pt x="963895" y="7475"/>
                  </a:lnTo>
                  <a:lnTo>
                    <a:pt x="967436" y="7082"/>
                  </a:lnTo>
                  <a:lnTo>
                    <a:pt x="963895" y="5508"/>
                  </a:lnTo>
                  <a:lnTo>
                    <a:pt x="960747" y="5115"/>
                  </a:lnTo>
                  <a:lnTo>
                    <a:pt x="957206" y="4721"/>
                  </a:lnTo>
                  <a:lnTo>
                    <a:pt x="954452" y="4328"/>
                  </a:lnTo>
                  <a:lnTo>
                    <a:pt x="950912" y="3934"/>
                  </a:lnTo>
                  <a:lnTo>
                    <a:pt x="947371" y="3541"/>
                  </a:lnTo>
                  <a:lnTo>
                    <a:pt x="943830" y="3147"/>
                  </a:lnTo>
                  <a:lnTo>
                    <a:pt x="940289" y="2754"/>
                  </a:lnTo>
                  <a:lnTo>
                    <a:pt x="938715" y="2754"/>
                  </a:lnTo>
                  <a:lnTo>
                    <a:pt x="935174" y="2361"/>
                  </a:lnTo>
                  <a:lnTo>
                    <a:pt x="928880" y="2361"/>
                  </a:lnTo>
                  <a:lnTo>
                    <a:pt x="925339" y="2754"/>
                  </a:lnTo>
                  <a:lnTo>
                    <a:pt x="921798" y="2754"/>
                  </a:lnTo>
                  <a:lnTo>
                    <a:pt x="924159" y="3147"/>
                  </a:lnTo>
                  <a:lnTo>
                    <a:pt x="916684" y="3541"/>
                  </a:lnTo>
                  <a:lnTo>
                    <a:pt x="915503" y="3541"/>
                  </a:lnTo>
                  <a:lnTo>
                    <a:pt x="912749" y="3147"/>
                  </a:lnTo>
                  <a:lnTo>
                    <a:pt x="915503" y="2754"/>
                  </a:lnTo>
                  <a:lnTo>
                    <a:pt x="919044" y="2754"/>
                  </a:lnTo>
                  <a:lnTo>
                    <a:pt x="915897" y="1967"/>
                  </a:lnTo>
                  <a:lnTo>
                    <a:pt x="912356" y="2361"/>
                  </a:lnTo>
                  <a:lnTo>
                    <a:pt x="908815" y="2754"/>
                  </a:lnTo>
                  <a:lnTo>
                    <a:pt x="906061" y="1574"/>
                  </a:lnTo>
                  <a:lnTo>
                    <a:pt x="902520" y="1180"/>
                  </a:lnTo>
                  <a:lnTo>
                    <a:pt x="898979" y="787"/>
                  </a:lnTo>
                  <a:lnTo>
                    <a:pt x="896225" y="787"/>
                  </a:lnTo>
                  <a:lnTo>
                    <a:pt x="893078" y="393"/>
                  </a:lnTo>
                  <a:lnTo>
                    <a:pt x="883636" y="393"/>
                  </a:lnTo>
                  <a:lnTo>
                    <a:pt x="880488" y="787"/>
                  </a:lnTo>
                  <a:lnTo>
                    <a:pt x="876948" y="1180"/>
                  </a:lnTo>
                  <a:lnTo>
                    <a:pt x="873407" y="1180"/>
                  </a:lnTo>
                  <a:lnTo>
                    <a:pt x="870259" y="787"/>
                  </a:lnTo>
                  <a:lnTo>
                    <a:pt x="866718" y="393"/>
                  </a:lnTo>
                  <a:lnTo>
                    <a:pt x="860423" y="393"/>
                  </a:lnTo>
                  <a:lnTo>
                    <a:pt x="857276" y="787"/>
                  </a:lnTo>
                  <a:lnTo>
                    <a:pt x="853735" y="393"/>
                  </a:lnTo>
                  <a:lnTo>
                    <a:pt x="850588" y="0"/>
                  </a:lnTo>
                  <a:lnTo>
                    <a:pt x="841145" y="0"/>
                  </a:lnTo>
                  <a:lnTo>
                    <a:pt x="838392" y="393"/>
                  </a:lnTo>
                  <a:lnTo>
                    <a:pt x="831310" y="393"/>
                  </a:lnTo>
                  <a:lnTo>
                    <a:pt x="827769" y="787"/>
                  </a:lnTo>
                  <a:lnTo>
                    <a:pt x="824622" y="1180"/>
                  </a:lnTo>
                  <a:lnTo>
                    <a:pt x="828163" y="2754"/>
                  </a:lnTo>
                  <a:lnTo>
                    <a:pt x="825408" y="3147"/>
                  </a:lnTo>
                  <a:lnTo>
                    <a:pt x="822261" y="2361"/>
                  </a:lnTo>
                  <a:lnTo>
                    <a:pt x="819114" y="787"/>
                  </a:lnTo>
                  <a:lnTo>
                    <a:pt x="816360" y="1967"/>
                  </a:lnTo>
                  <a:lnTo>
                    <a:pt x="812819" y="787"/>
                  </a:lnTo>
                  <a:lnTo>
                    <a:pt x="809671" y="1180"/>
                  </a:lnTo>
                  <a:lnTo>
                    <a:pt x="806131" y="1574"/>
                  </a:lnTo>
                  <a:lnTo>
                    <a:pt x="803377" y="1967"/>
                  </a:lnTo>
                  <a:lnTo>
                    <a:pt x="799836" y="1574"/>
                  </a:lnTo>
                  <a:lnTo>
                    <a:pt x="780164" y="1574"/>
                  </a:lnTo>
                  <a:lnTo>
                    <a:pt x="777017" y="1967"/>
                  </a:lnTo>
                  <a:lnTo>
                    <a:pt x="773870" y="2754"/>
                  </a:lnTo>
                  <a:lnTo>
                    <a:pt x="776624" y="3147"/>
                  </a:lnTo>
                  <a:lnTo>
                    <a:pt x="779771" y="4721"/>
                  </a:lnTo>
                  <a:lnTo>
                    <a:pt x="776230" y="4721"/>
                  </a:lnTo>
                  <a:lnTo>
                    <a:pt x="773083" y="3541"/>
                  </a:lnTo>
                  <a:lnTo>
                    <a:pt x="769542" y="3147"/>
                  </a:lnTo>
                  <a:lnTo>
                    <a:pt x="766788" y="3147"/>
                  </a:lnTo>
                  <a:lnTo>
                    <a:pt x="763641" y="2754"/>
                  </a:lnTo>
                  <a:lnTo>
                    <a:pt x="760100" y="2361"/>
                  </a:lnTo>
                  <a:lnTo>
                    <a:pt x="756559" y="2754"/>
                  </a:lnTo>
                  <a:lnTo>
                    <a:pt x="753805" y="3147"/>
                  </a:lnTo>
                  <a:lnTo>
                    <a:pt x="750657" y="4721"/>
                  </a:lnTo>
                  <a:lnTo>
                    <a:pt x="747904" y="4328"/>
                  </a:lnTo>
                  <a:lnTo>
                    <a:pt x="744363" y="3934"/>
                  </a:lnTo>
                  <a:lnTo>
                    <a:pt x="740822" y="3934"/>
                  </a:lnTo>
                  <a:lnTo>
                    <a:pt x="737281" y="3541"/>
                  </a:lnTo>
                  <a:lnTo>
                    <a:pt x="737281" y="6295"/>
                  </a:lnTo>
                  <a:lnTo>
                    <a:pt x="740428" y="7869"/>
                  </a:lnTo>
                  <a:lnTo>
                    <a:pt x="749871" y="7869"/>
                  </a:lnTo>
                  <a:lnTo>
                    <a:pt x="753018" y="8262"/>
                  </a:lnTo>
                  <a:lnTo>
                    <a:pt x="756165" y="8262"/>
                  </a:lnTo>
                  <a:lnTo>
                    <a:pt x="756953" y="8262"/>
                  </a:lnTo>
                  <a:lnTo>
                    <a:pt x="736494" y="9049"/>
                  </a:lnTo>
                  <a:lnTo>
                    <a:pt x="733740" y="8262"/>
                  </a:lnTo>
                  <a:lnTo>
                    <a:pt x="730199" y="7869"/>
                  </a:lnTo>
                  <a:lnTo>
                    <a:pt x="727446" y="7475"/>
                  </a:lnTo>
                  <a:lnTo>
                    <a:pt x="724691" y="7082"/>
                  </a:lnTo>
                  <a:lnTo>
                    <a:pt x="721544" y="6295"/>
                  </a:lnTo>
                  <a:lnTo>
                    <a:pt x="718790" y="5508"/>
                  </a:lnTo>
                  <a:lnTo>
                    <a:pt x="715249" y="5508"/>
                  </a:lnTo>
                  <a:lnTo>
                    <a:pt x="711709" y="5115"/>
                  </a:lnTo>
                  <a:lnTo>
                    <a:pt x="708954" y="5115"/>
                  </a:lnTo>
                  <a:lnTo>
                    <a:pt x="705807" y="6688"/>
                  </a:lnTo>
                  <a:lnTo>
                    <a:pt x="713282" y="6688"/>
                  </a:lnTo>
                  <a:lnTo>
                    <a:pt x="716429" y="7082"/>
                  </a:lnTo>
                  <a:lnTo>
                    <a:pt x="719577" y="7869"/>
                  </a:lnTo>
                  <a:lnTo>
                    <a:pt x="722724" y="8262"/>
                  </a:lnTo>
                  <a:lnTo>
                    <a:pt x="725872" y="8655"/>
                  </a:lnTo>
                  <a:lnTo>
                    <a:pt x="728626" y="9049"/>
                  </a:lnTo>
                  <a:lnTo>
                    <a:pt x="730593" y="9049"/>
                  </a:lnTo>
                  <a:lnTo>
                    <a:pt x="722724" y="9442"/>
                  </a:lnTo>
                  <a:lnTo>
                    <a:pt x="721544" y="9442"/>
                  </a:lnTo>
                  <a:lnTo>
                    <a:pt x="718003" y="9442"/>
                  </a:lnTo>
                  <a:lnTo>
                    <a:pt x="714462" y="8655"/>
                  </a:lnTo>
                  <a:lnTo>
                    <a:pt x="710921" y="8262"/>
                  </a:lnTo>
                  <a:lnTo>
                    <a:pt x="708168" y="8262"/>
                  </a:lnTo>
                  <a:lnTo>
                    <a:pt x="705020" y="9049"/>
                  </a:lnTo>
                  <a:lnTo>
                    <a:pt x="708168" y="9836"/>
                  </a:lnTo>
                  <a:lnTo>
                    <a:pt x="708168" y="9836"/>
                  </a:lnTo>
                  <a:lnTo>
                    <a:pt x="704233" y="9836"/>
                  </a:lnTo>
                  <a:lnTo>
                    <a:pt x="701086" y="9049"/>
                  </a:lnTo>
                  <a:lnTo>
                    <a:pt x="698332" y="7869"/>
                  </a:lnTo>
                  <a:lnTo>
                    <a:pt x="691250" y="7869"/>
                  </a:lnTo>
                  <a:lnTo>
                    <a:pt x="687709" y="8262"/>
                  </a:lnTo>
                  <a:lnTo>
                    <a:pt x="690857" y="8655"/>
                  </a:lnTo>
                  <a:lnTo>
                    <a:pt x="694398" y="9442"/>
                  </a:lnTo>
                  <a:lnTo>
                    <a:pt x="695972" y="9836"/>
                  </a:lnTo>
                  <a:lnTo>
                    <a:pt x="692824" y="9836"/>
                  </a:lnTo>
                  <a:lnTo>
                    <a:pt x="691643" y="9442"/>
                  </a:lnTo>
                  <a:lnTo>
                    <a:pt x="688890" y="8655"/>
                  </a:lnTo>
                  <a:lnTo>
                    <a:pt x="685742" y="8262"/>
                  </a:lnTo>
                  <a:lnTo>
                    <a:pt x="682595" y="8262"/>
                  </a:lnTo>
                  <a:lnTo>
                    <a:pt x="679054" y="8655"/>
                  </a:lnTo>
                  <a:lnTo>
                    <a:pt x="682595" y="7475"/>
                  </a:lnTo>
                  <a:lnTo>
                    <a:pt x="679841" y="5901"/>
                  </a:lnTo>
                  <a:lnTo>
                    <a:pt x="672366" y="5901"/>
                  </a:lnTo>
                  <a:lnTo>
                    <a:pt x="669218" y="5115"/>
                  </a:lnTo>
                  <a:lnTo>
                    <a:pt x="658596" y="5115"/>
                  </a:lnTo>
                  <a:lnTo>
                    <a:pt x="655842" y="5901"/>
                  </a:lnTo>
                  <a:lnTo>
                    <a:pt x="659383" y="5901"/>
                  </a:lnTo>
                  <a:lnTo>
                    <a:pt x="662924" y="6295"/>
                  </a:lnTo>
                  <a:lnTo>
                    <a:pt x="659383" y="6688"/>
                  </a:lnTo>
                  <a:lnTo>
                    <a:pt x="656235" y="6295"/>
                  </a:lnTo>
                  <a:lnTo>
                    <a:pt x="645613" y="6295"/>
                  </a:lnTo>
                  <a:lnTo>
                    <a:pt x="648760" y="7082"/>
                  </a:lnTo>
                  <a:lnTo>
                    <a:pt x="652301" y="7082"/>
                  </a:lnTo>
                  <a:lnTo>
                    <a:pt x="655448" y="7475"/>
                  </a:lnTo>
                  <a:lnTo>
                    <a:pt x="658989" y="7869"/>
                  </a:lnTo>
                  <a:lnTo>
                    <a:pt x="661743" y="8262"/>
                  </a:lnTo>
                  <a:lnTo>
                    <a:pt x="658596" y="7869"/>
                  </a:lnTo>
                  <a:lnTo>
                    <a:pt x="655842" y="7475"/>
                  </a:lnTo>
                  <a:lnTo>
                    <a:pt x="649547" y="7475"/>
                  </a:lnTo>
                  <a:lnTo>
                    <a:pt x="646399" y="7869"/>
                  </a:lnTo>
                  <a:lnTo>
                    <a:pt x="642859" y="7475"/>
                  </a:lnTo>
                  <a:lnTo>
                    <a:pt x="639318" y="7082"/>
                  </a:lnTo>
                  <a:lnTo>
                    <a:pt x="636170" y="6688"/>
                  </a:lnTo>
                  <a:lnTo>
                    <a:pt x="629482" y="6688"/>
                  </a:lnTo>
                  <a:lnTo>
                    <a:pt x="626728" y="7869"/>
                  </a:lnTo>
                  <a:lnTo>
                    <a:pt x="623974" y="7475"/>
                  </a:lnTo>
                  <a:lnTo>
                    <a:pt x="620827" y="7475"/>
                  </a:lnTo>
                  <a:lnTo>
                    <a:pt x="618073" y="7869"/>
                  </a:lnTo>
                  <a:lnTo>
                    <a:pt x="614925" y="7475"/>
                  </a:lnTo>
                  <a:lnTo>
                    <a:pt x="618073" y="8655"/>
                  </a:lnTo>
                  <a:lnTo>
                    <a:pt x="620827" y="9836"/>
                  </a:lnTo>
                  <a:lnTo>
                    <a:pt x="623974" y="10229"/>
                  </a:lnTo>
                  <a:lnTo>
                    <a:pt x="626728" y="10623"/>
                  </a:lnTo>
                  <a:lnTo>
                    <a:pt x="630269" y="11016"/>
                  </a:lnTo>
                  <a:lnTo>
                    <a:pt x="631843" y="11016"/>
                  </a:lnTo>
                  <a:lnTo>
                    <a:pt x="627515" y="11016"/>
                  </a:lnTo>
                  <a:lnTo>
                    <a:pt x="625941" y="10623"/>
                  </a:lnTo>
                  <a:lnTo>
                    <a:pt x="622794" y="11016"/>
                  </a:lnTo>
                  <a:lnTo>
                    <a:pt x="622007" y="11016"/>
                  </a:lnTo>
                  <a:lnTo>
                    <a:pt x="618466" y="11016"/>
                  </a:lnTo>
                  <a:lnTo>
                    <a:pt x="617680" y="9836"/>
                  </a:lnTo>
                  <a:lnTo>
                    <a:pt x="614532" y="9442"/>
                  </a:lnTo>
                  <a:lnTo>
                    <a:pt x="611778" y="9049"/>
                  </a:lnTo>
                  <a:lnTo>
                    <a:pt x="608631" y="8655"/>
                  </a:lnTo>
                  <a:lnTo>
                    <a:pt x="605483" y="8262"/>
                  </a:lnTo>
                  <a:lnTo>
                    <a:pt x="602336" y="8655"/>
                  </a:lnTo>
                  <a:lnTo>
                    <a:pt x="599188" y="8655"/>
                  </a:lnTo>
                  <a:lnTo>
                    <a:pt x="596434" y="9049"/>
                  </a:lnTo>
                  <a:lnTo>
                    <a:pt x="593287" y="10229"/>
                  </a:lnTo>
                  <a:lnTo>
                    <a:pt x="596041" y="10229"/>
                  </a:lnTo>
                  <a:lnTo>
                    <a:pt x="599582" y="10623"/>
                  </a:lnTo>
                  <a:lnTo>
                    <a:pt x="602336" y="11803"/>
                  </a:lnTo>
                  <a:lnTo>
                    <a:pt x="599188" y="11409"/>
                  </a:lnTo>
                  <a:lnTo>
                    <a:pt x="596041" y="11016"/>
                  </a:lnTo>
                  <a:lnTo>
                    <a:pt x="592500" y="10623"/>
                  </a:lnTo>
                  <a:lnTo>
                    <a:pt x="588959" y="11016"/>
                  </a:lnTo>
                  <a:lnTo>
                    <a:pt x="592107" y="12196"/>
                  </a:lnTo>
                  <a:lnTo>
                    <a:pt x="594861" y="12590"/>
                  </a:lnTo>
                  <a:lnTo>
                    <a:pt x="598402" y="12983"/>
                  </a:lnTo>
                  <a:lnTo>
                    <a:pt x="601942" y="13376"/>
                  </a:lnTo>
                  <a:lnTo>
                    <a:pt x="605090" y="13376"/>
                  </a:lnTo>
                  <a:lnTo>
                    <a:pt x="608237" y="12590"/>
                  </a:lnTo>
                  <a:lnTo>
                    <a:pt x="610991" y="12983"/>
                  </a:lnTo>
                  <a:lnTo>
                    <a:pt x="618466" y="12983"/>
                  </a:lnTo>
                  <a:lnTo>
                    <a:pt x="621220" y="12590"/>
                  </a:lnTo>
                  <a:lnTo>
                    <a:pt x="618466" y="11803"/>
                  </a:lnTo>
                  <a:lnTo>
                    <a:pt x="621220" y="12196"/>
                  </a:lnTo>
                  <a:lnTo>
                    <a:pt x="624368" y="12983"/>
                  </a:lnTo>
                  <a:lnTo>
                    <a:pt x="631056" y="12983"/>
                  </a:lnTo>
                  <a:lnTo>
                    <a:pt x="634597" y="13376"/>
                  </a:lnTo>
                  <a:lnTo>
                    <a:pt x="638925" y="13376"/>
                  </a:lnTo>
                  <a:lnTo>
                    <a:pt x="651121" y="14557"/>
                  </a:lnTo>
                  <a:lnTo>
                    <a:pt x="637351" y="14557"/>
                  </a:lnTo>
                  <a:lnTo>
                    <a:pt x="633810" y="14950"/>
                  </a:lnTo>
                  <a:lnTo>
                    <a:pt x="621614" y="14950"/>
                  </a:lnTo>
                  <a:lnTo>
                    <a:pt x="618073" y="14557"/>
                  </a:lnTo>
                  <a:lnTo>
                    <a:pt x="614925" y="14163"/>
                  </a:lnTo>
                  <a:lnTo>
                    <a:pt x="612171" y="14557"/>
                  </a:lnTo>
                  <a:lnTo>
                    <a:pt x="608631" y="14557"/>
                  </a:lnTo>
                  <a:lnTo>
                    <a:pt x="605090" y="15737"/>
                  </a:lnTo>
                  <a:lnTo>
                    <a:pt x="608631" y="16524"/>
                  </a:lnTo>
                  <a:lnTo>
                    <a:pt x="612171" y="16917"/>
                  </a:lnTo>
                  <a:lnTo>
                    <a:pt x="615319" y="18098"/>
                  </a:lnTo>
                  <a:lnTo>
                    <a:pt x="618860" y="18491"/>
                  </a:lnTo>
                  <a:lnTo>
                    <a:pt x="622007" y="19671"/>
                  </a:lnTo>
                  <a:lnTo>
                    <a:pt x="624761" y="20458"/>
                  </a:lnTo>
                  <a:lnTo>
                    <a:pt x="627515" y="20852"/>
                  </a:lnTo>
                  <a:lnTo>
                    <a:pt x="629089" y="21245"/>
                  </a:lnTo>
                  <a:lnTo>
                    <a:pt x="618073" y="23999"/>
                  </a:lnTo>
                  <a:lnTo>
                    <a:pt x="617286" y="23212"/>
                  </a:lnTo>
                  <a:lnTo>
                    <a:pt x="614532" y="22032"/>
                  </a:lnTo>
                  <a:lnTo>
                    <a:pt x="611778" y="21638"/>
                  </a:lnTo>
                  <a:lnTo>
                    <a:pt x="608631" y="21245"/>
                  </a:lnTo>
                  <a:lnTo>
                    <a:pt x="605483" y="20852"/>
                  </a:lnTo>
                  <a:lnTo>
                    <a:pt x="602336" y="20065"/>
                  </a:lnTo>
                  <a:lnTo>
                    <a:pt x="599188" y="19671"/>
                  </a:lnTo>
                  <a:lnTo>
                    <a:pt x="596434" y="19278"/>
                  </a:lnTo>
                  <a:lnTo>
                    <a:pt x="592893" y="19278"/>
                  </a:lnTo>
                  <a:lnTo>
                    <a:pt x="589353" y="18884"/>
                  </a:lnTo>
                  <a:lnTo>
                    <a:pt x="586599" y="18884"/>
                  </a:lnTo>
                  <a:lnTo>
                    <a:pt x="583451" y="19671"/>
                  </a:lnTo>
                  <a:lnTo>
                    <a:pt x="579911" y="19278"/>
                  </a:lnTo>
                  <a:lnTo>
                    <a:pt x="573222" y="19278"/>
                  </a:lnTo>
                  <a:lnTo>
                    <a:pt x="569681" y="19671"/>
                  </a:lnTo>
                  <a:lnTo>
                    <a:pt x="572829" y="21245"/>
                  </a:lnTo>
                  <a:lnTo>
                    <a:pt x="575189" y="22032"/>
                  </a:lnTo>
                  <a:lnTo>
                    <a:pt x="577944" y="24786"/>
                  </a:lnTo>
                  <a:lnTo>
                    <a:pt x="577944" y="24786"/>
                  </a:lnTo>
                  <a:lnTo>
                    <a:pt x="546863" y="25573"/>
                  </a:lnTo>
                  <a:lnTo>
                    <a:pt x="544109" y="24392"/>
                  </a:lnTo>
                  <a:lnTo>
                    <a:pt x="540961" y="22819"/>
                  </a:lnTo>
                  <a:lnTo>
                    <a:pt x="537814" y="22425"/>
                  </a:lnTo>
                  <a:lnTo>
                    <a:pt x="534273" y="22032"/>
                  </a:lnTo>
                  <a:lnTo>
                    <a:pt x="531519" y="21638"/>
                  </a:lnTo>
                  <a:lnTo>
                    <a:pt x="508700" y="21638"/>
                  </a:lnTo>
                  <a:lnTo>
                    <a:pt x="505553" y="22032"/>
                  </a:lnTo>
                  <a:lnTo>
                    <a:pt x="507913" y="24786"/>
                  </a:lnTo>
                  <a:lnTo>
                    <a:pt x="507520" y="26360"/>
                  </a:lnTo>
                  <a:lnTo>
                    <a:pt x="486668" y="26753"/>
                  </a:lnTo>
                  <a:lnTo>
                    <a:pt x="487455" y="26360"/>
                  </a:lnTo>
                  <a:lnTo>
                    <a:pt x="484308" y="25966"/>
                  </a:lnTo>
                  <a:lnTo>
                    <a:pt x="482341" y="26753"/>
                  </a:lnTo>
                  <a:lnTo>
                    <a:pt x="476439" y="26753"/>
                  </a:lnTo>
                  <a:lnTo>
                    <a:pt x="475259" y="25573"/>
                  </a:lnTo>
                  <a:lnTo>
                    <a:pt x="472112" y="25179"/>
                  </a:lnTo>
                  <a:lnTo>
                    <a:pt x="468964" y="24786"/>
                  </a:lnTo>
                  <a:lnTo>
                    <a:pt x="465817" y="24786"/>
                  </a:lnTo>
                  <a:lnTo>
                    <a:pt x="463063" y="25573"/>
                  </a:lnTo>
                  <a:lnTo>
                    <a:pt x="461096" y="27146"/>
                  </a:lnTo>
                  <a:lnTo>
                    <a:pt x="452440" y="27540"/>
                  </a:lnTo>
                  <a:lnTo>
                    <a:pt x="450473" y="25966"/>
                  </a:lnTo>
                  <a:lnTo>
                    <a:pt x="447326" y="24786"/>
                  </a:lnTo>
                  <a:lnTo>
                    <a:pt x="444179" y="24392"/>
                  </a:lnTo>
                  <a:lnTo>
                    <a:pt x="441031" y="24392"/>
                  </a:lnTo>
                  <a:lnTo>
                    <a:pt x="438277" y="24786"/>
                  </a:lnTo>
                  <a:lnTo>
                    <a:pt x="435523" y="24786"/>
                  </a:lnTo>
                  <a:lnTo>
                    <a:pt x="432376" y="25179"/>
                  </a:lnTo>
                  <a:lnTo>
                    <a:pt x="429228" y="25573"/>
                  </a:lnTo>
                  <a:lnTo>
                    <a:pt x="426474" y="25966"/>
                  </a:lnTo>
                  <a:lnTo>
                    <a:pt x="423327" y="26360"/>
                  </a:lnTo>
                  <a:lnTo>
                    <a:pt x="426868" y="26360"/>
                  </a:lnTo>
                  <a:lnTo>
                    <a:pt x="423327" y="27146"/>
                  </a:lnTo>
                  <a:lnTo>
                    <a:pt x="420179" y="27146"/>
                  </a:lnTo>
                  <a:lnTo>
                    <a:pt x="416639" y="26753"/>
                  </a:lnTo>
                  <a:lnTo>
                    <a:pt x="413098" y="26753"/>
                  </a:lnTo>
                  <a:lnTo>
                    <a:pt x="409950" y="27933"/>
                  </a:lnTo>
                  <a:lnTo>
                    <a:pt x="406409" y="28720"/>
                  </a:lnTo>
                  <a:lnTo>
                    <a:pt x="401688" y="27933"/>
                  </a:lnTo>
                  <a:lnTo>
                    <a:pt x="398147" y="28327"/>
                  </a:lnTo>
                  <a:lnTo>
                    <a:pt x="395000" y="28720"/>
                  </a:lnTo>
                  <a:lnTo>
                    <a:pt x="392246" y="29114"/>
                  </a:lnTo>
                  <a:lnTo>
                    <a:pt x="389099" y="29507"/>
                  </a:lnTo>
                  <a:lnTo>
                    <a:pt x="385558" y="29507"/>
                  </a:lnTo>
                  <a:lnTo>
                    <a:pt x="382410" y="29900"/>
                  </a:lnTo>
                  <a:lnTo>
                    <a:pt x="379263" y="29900"/>
                  </a:lnTo>
                  <a:lnTo>
                    <a:pt x="376509" y="30294"/>
                  </a:lnTo>
                  <a:lnTo>
                    <a:pt x="372968" y="30687"/>
                  </a:lnTo>
                  <a:lnTo>
                    <a:pt x="369427" y="31081"/>
                  </a:lnTo>
                  <a:lnTo>
                    <a:pt x="366280" y="31474"/>
                  </a:lnTo>
                  <a:lnTo>
                    <a:pt x="363526" y="31474"/>
                  </a:lnTo>
                  <a:lnTo>
                    <a:pt x="360379" y="31868"/>
                  </a:lnTo>
                  <a:lnTo>
                    <a:pt x="357231" y="32261"/>
                  </a:lnTo>
                  <a:lnTo>
                    <a:pt x="332445" y="35015"/>
                  </a:lnTo>
                  <a:lnTo>
                    <a:pt x="330085" y="35408"/>
                  </a:lnTo>
                  <a:lnTo>
                    <a:pt x="326544" y="35802"/>
                  </a:lnTo>
                  <a:lnTo>
                    <a:pt x="323396" y="35802"/>
                  </a:lnTo>
                  <a:lnTo>
                    <a:pt x="319856" y="36195"/>
                  </a:lnTo>
                  <a:lnTo>
                    <a:pt x="317102" y="36589"/>
                  </a:lnTo>
                  <a:lnTo>
                    <a:pt x="313954" y="35802"/>
                  </a:lnTo>
                  <a:lnTo>
                    <a:pt x="310807" y="36195"/>
                  </a:lnTo>
                  <a:lnTo>
                    <a:pt x="308053" y="36589"/>
                  </a:lnTo>
                  <a:lnTo>
                    <a:pt x="304512" y="39343"/>
                  </a:lnTo>
                  <a:lnTo>
                    <a:pt x="306873" y="41703"/>
                  </a:lnTo>
                  <a:lnTo>
                    <a:pt x="280119" y="49965"/>
                  </a:lnTo>
                  <a:lnTo>
                    <a:pt x="277759" y="49178"/>
                  </a:lnTo>
                  <a:lnTo>
                    <a:pt x="275005" y="48785"/>
                  </a:lnTo>
                  <a:lnTo>
                    <a:pt x="267923" y="48785"/>
                  </a:lnTo>
                  <a:lnTo>
                    <a:pt x="265169" y="48391"/>
                  </a:lnTo>
                  <a:lnTo>
                    <a:pt x="261629" y="48391"/>
                  </a:lnTo>
                  <a:lnTo>
                    <a:pt x="258875" y="48785"/>
                  </a:lnTo>
                  <a:lnTo>
                    <a:pt x="255727" y="49178"/>
                  </a:lnTo>
                  <a:lnTo>
                    <a:pt x="254153" y="51932"/>
                  </a:lnTo>
                  <a:lnTo>
                    <a:pt x="256121" y="54686"/>
                  </a:lnTo>
                  <a:lnTo>
                    <a:pt x="256907" y="56260"/>
                  </a:lnTo>
                  <a:lnTo>
                    <a:pt x="256121" y="56653"/>
                  </a:lnTo>
                  <a:lnTo>
                    <a:pt x="254940" y="55867"/>
                  </a:lnTo>
                  <a:lnTo>
                    <a:pt x="251793" y="53113"/>
                  </a:lnTo>
                  <a:lnTo>
                    <a:pt x="252186" y="50359"/>
                  </a:lnTo>
                  <a:lnTo>
                    <a:pt x="249432" y="49965"/>
                  </a:lnTo>
                  <a:lnTo>
                    <a:pt x="246285" y="50752"/>
                  </a:lnTo>
                  <a:lnTo>
                    <a:pt x="242744" y="51932"/>
                  </a:lnTo>
                  <a:lnTo>
                    <a:pt x="239990" y="52326"/>
                  </a:lnTo>
                  <a:lnTo>
                    <a:pt x="236843" y="52719"/>
                  </a:lnTo>
                  <a:lnTo>
                    <a:pt x="233695" y="53113"/>
                  </a:lnTo>
                  <a:lnTo>
                    <a:pt x="230548" y="53506"/>
                  </a:lnTo>
                  <a:lnTo>
                    <a:pt x="227794" y="53899"/>
                  </a:lnTo>
                  <a:lnTo>
                    <a:pt x="224646" y="55473"/>
                  </a:lnTo>
                  <a:lnTo>
                    <a:pt x="221499" y="55867"/>
                  </a:lnTo>
                  <a:lnTo>
                    <a:pt x="218352" y="57047"/>
                  </a:lnTo>
                  <a:lnTo>
                    <a:pt x="215598" y="58621"/>
                  </a:lnTo>
                  <a:lnTo>
                    <a:pt x="212844" y="59014"/>
                  </a:lnTo>
                  <a:lnTo>
                    <a:pt x="209696" y="59407"/>
                  </a:lnTo>
                  <a:lnTo>
                    <a:pt x="206155" y="59801"/>
                  </a:lnTo>
                  <a:lnTo>
                    <a:pt x="203008" y="61375"/>
                  </a:lnTo>
                  <a:lnTo>
                    <a:pt x="197107" y="61375"/>
                  </a:lnTo>
                  <a:lnTo>
                    <a:pt x="193566" y="62161"/>
                  </a:lnTo>
                  <a:lnTo>
                    <a:pt x="190418" y="62555"/>
                  </a:lnTo>
                  <a:lnTo>
                    <a:pt x="187664" y="62948"/>
                  </a:lnTo>
                  <a:lnTo>
                    <a:pt x="184517" y="63342"/>
                  </a:lnTo>
                  <a:lnTo>
                    <a:pt x="181370" y="63735"/>
                  </a:lnTo>
                  <a:lnTo>
                    <a:pt x="178615" y="64915"/>
                  </a:lnTo>
                  <a:lnTo>
                    <a:pt x="175861" y="66096"/>
                  </a:lnTo>
                  <a:lnTo>
                    <a:pt x="172714" y="66489"/>
                  </a:lnTo>
                  <a:lnTo>
                    <a:pt x="169960" y="67276"/>
                  </a:lnTo>
                  <a:lnTo>
                    <a:pt x="166419" y="67669"/>
                  </a:lnTo>
                  <a:lnTo>
                    <a:pt x="163272" y="68063"/>
                  </a:lnTo>
                  <a:lnTo>
                    <a:pt x="159731" y="69636"/>
                  </a:lnTo>
                  <a:lnTo>
                    <a:pt x="157764" y="72390"/>
                  </a:lnTo>
                  <a:lnTo>
                    <a:pt x="160911" y="72784"/>
                  </a:lnTo>
                  <a:lnTo>
                    <a:pt x="164059" y="75144"/>
                  </a:lnTo>
                  <a:lnTo>
                    <a:pt x="167600" y="75144"/>
                  </a:lnTo>
                  <a:lnTo>
                    <a:pt x="170354" y="74751"/>
                  </a:lnTo>
                  <a:lnTo>
                    <a:pt x="173108" y="74358"/>
                  </a:lnTo>
                  <a:lnTo>
                    <a:pt x="176255" y="73964"/>
                  </a:lnTo>
                  <a:lnTo>
                    <a:pt x="179402" y="75538"/>
                  </a:lnTo>
                  <a:lnTo>
                    <a:pt x="182550" y="75931"/>
                  </a:lnTo>
                  <a:lnTo>
                    <a:pt x="185697" y="75538"/>
                  </a:lnTo>
                  <a:lnTo>
                    <a:pt x="188451" y="75144"/>
                  </a:lnTo>
                  <a:lnTo>
                    <a:pt x="191598" y="74751"/>
                  </a:lnTo>
                  <a:lnTo>
                    <a:pt x="194746" y="74358"/>
                  </a:lnTo>
                  <a:lnTo>
                    <a:pt x="197500" y="74358"/>
                  </a:lnTo>
                  <a:lnTo>
                    <a:pt x="200647" y="74751"/>
                  </a:lnTo>
                  <a:lnTo>
                    <a:pt x="203401" y="74751"/>
                  </a:lnTo>
                  <a:lnTo>
                    <a:pt x="197893" y="76325"/>
                  </a:lnTo>
                  <a:lnTo>
                    <a:pt x="201434" y="75931"/>
                  </a:lnTo>
                  <a:lnTo>
                    <a:pt x="198287" y="76325"/>
                  </a:lnTo>
                  <a:lnTo>
                    <a:pt x="74357" y="105832"/>
                  </a:lnTo>
                  <a:lnTo>
                    <a:pt x="73964" y="106225"/>
                  </a:lnTo>
                  <a:lnTo>
                    <a:pt x="73571" y="106619"/>
                  </a:lnTo>
                  <a:lnTo>
                    <a:pt x="70030" y="107012"/>
                  </a:lnTo>
                  <a:lnTo>
                    <a:pt x="66489" y="107405"/>
                  </a:lnTo>
                  <a:lnTo>
                    <a:pt x="63735" y="107405"/>
                  </a:lnTo>
                  <a:lnTo>
                    <a:pt x="60194" y="107799"/>
                  </a:lnTo>
                  <a:lnTo>
                    <a:pt x="57047" y="108192"/>
                  </a:lnTo>
                  <a:lnTo>
                    <a:pt x="53899" y="110553"/>
                  </a:lnTo>
                  <a:lnTo>
                    <a:pt x="50752" y="110159"/>
                  </a:lnTo>
                  <a:lnTo>
                    <a:pt x="47998" y="109766"/>
                  </a:lnTo>
                  <a:lnTo>
                    <a:pt x="44457" y="109373"/>
                  </a:lnTo>
                  <a:lnTo>
                    <a:pt x="41703" y="109766"/>
                  </a:lnTo>
                  <a:lnTo>
                    <a:pt x="38556" y="110159"/>
                  </a:lnTo>
                  <a:lnTo>
                    <a:pt x="35802" y="110553"/>
                  </a:lnTo>
                  <a:lnTo>
                    <a:pt x="33048" y="110946"/>
                  </a:lnTo>
                  <a:lnTo>
                    <a:pt x="30294" y="111340"/>
                  </a:lnTo>
                  <a:lnTo>
                    <a:pt x="26753" y="111733"/>
                  </a:lnTo>
                  <a:lnTo>
                    <a:pt x="23999" y="111733"/>
                  </a:lnTo>
                  <a:lnTo>
                    <a:pt x="20852" y="112127"/>
                  </a:lnTo>
                  <a:lnTo>
                    <a:pt x="17704" y="112520"/>
                  </a:lnTo>
                  <a:lnTo>
                    <a:pt x="14557" y="114094"/>
                  </a:lnTo>
                  <a:lnTo>
                    <a:pt x="11409" y="116061"/>
                  </a:lnTo>
                  <a:lnTo>
                    <a:pt x="8655" y="116454"/>
                  </a:lnTo>
                  <a:lnTo>
                    <a:pt x="11803" y="117634"/>
                  </a:lnTo>
                  <a:lnTo>
                    <a:pt x="9049" y="118421"/>
                  </a:lnTo>
                  <a:lnTo>
                    <a:pt x="6295" y="119602"/>
                  </a:lnTo>
                  <a:lnTo>
                    <a:pt x="3147" y="121175"/>
                  </a:lnTo>
                  <a:lnTo>
                    <a:pt x="0" y="120782"/>
                  </a:lnTo>
                  <a:lnTo>
                    <a:pt x="2754" y="121569"/>
                  </a:lnTo>
                  <a:lnTo>
                    <a:pt x="5901" y="123536"/>
                  </a:lnTo>
                  <a:lnTo>
                    <a:pt x="8655" y="123536"/>
                  </a:lnTo>
                  <a:lnTo>
                    <a:pt x="9442" y="126290"/>
                  </a:lnTo>
                  <a:lnTo>
                    <a:pt x="12196" y="126683"/>
                  </a:lnTo>
                  <a:lnTo>
                    <a:pt x="14950" y="127470"/>
                  </a:lnTo>
                  <a:lnTo>
                    <a:pt x="17704" y="127077"/>
                  </a:lnTo>
                  <a:lnTo>
                    <a:pt x="20852" y="126683"/>
                  </a:lnTo>
                  <a:lnTo>
                    <a:pt x="23999" y="127864"/>
                  </a:lnTo>
                  <a:lnTo>
                    <a:pt x="26753" y="127864"/>
                  </a:lnTo>
                  <a:lnTo>
                    <a:pt x="23606" y="129044"/>
                  </a:lnTo>
                  <a:lnTo>
                    <a:pt x="20852" y="130224"/>
                  </a:lnTo>
                  <a:lnTo>
                    <a:pt x="23999" y="130618"/>
                  </a:lnTo>
                  <a:lnTo>
                    <a:pt x="27146" y="130618"/>
                  </a:lnTo>
                  <a:lnTo>
                    <a:pt x="30687" y="130224"/>
                  </a:lnTo>
                  <a:lnTo>
                    <a:pt x="34228" y="130224"/>
                  </a:lnTo>
                  <a:lnTo>
                    <a:pt x="37376" y="129831"/>
                  </a:lnTo>
                  <a:lnTo>
                    <a:pt x="40916" y="128650"/>
                  </a:lnTo>
                  <a:lnTo>
                    <a:pt x="43670" y="128257"/>
                  </a:lnTo>
                  <a:lnTo>
                    <a:pt x="46424" y="128257"/>
                  </a:lnTo>
                  <a:lnTo>
                    <a:pt x="49965" y="128650"/>
                  </a:lnTo>
                  <a:lnTo>
                    <a:pt x="50359" y="128650"/>
                  </a:lnTo>
                  <a:lnTo>
                    <a:pt x="49965" y="129044"/>
                  </a:lnTo>
                  <a:lnTo>
                    <a:pt x="46818" y="129044"/>
                  </a:lnTo>
                  <a:lnTo>
                    <a:pt x="43670" y="129437"/>
                  </a:lnTo>
                  <a:lnTo>
                    <a:pt x="40523" y="130224"/>
                  </a:lnTo>
                  <a:lnTo>
                    <a:pt x="37769" y="131011"/>
                  </a:lnTo>
                  <a:lnTo>
                    <a:pt x="34621" y="131404"/>
                  </a:lnTo>
                  <a:lnTo>
                    <a:pt x="38162" y="132585"/>
                  </a:lnTo>
                  <a:lnTo>
                    <a:pt x="41703" y="132585"/>
                  </a:lnTo>
                  <a:lnTo>
                    <a:pt x="44850" y="132191"/>
                  </a:lnTo>
                  <a:lnTo>
                    <a:pt x="46818" y="131798"/>
                  </a:lnTo>
                  <a:lnTo>
                    <a:pt x="44850" y="133372"/>
                  </a:lnTo>
                  <a:lnTo>
                    <a:pt x="41703" y="133765"/>
                  </a:lnTo>
                  <a:lnTo>
                    <a:pt x="38556" y="134158"/>
                  </a:lnTo>
                  <a:lnTo>
                    <a:pt x="41310" y="134945"/>
                  </a:lnTo>
                  <a:lnTo>
                    <a:pt x="42883" y="134945"/>
                  </a:lnTo>
                  <a:lnTo>
                    <a:pt x="35408" y="142420"/>
                  </a:lnTo>
                  <a:lnTo>
                    <a:pt x="32654" y="142420"/>
                  </a:lnTo>
                  <a:lnTo>
                    <a:pt x="29900" y="142814"/>
                  </a:lnTo>
                  <a:lnTo>
                    <a:pt x="26753" y="142814"/>
                  </a:lnTo>
                  <a:lnTo>
                    <a:pt x="23606" y="143207"/>
                  </a:lnTo>
                  <a:lnTo>
                    <a:pt x="17311" y="143601"/>
                  </a:lnTo>
                  <a:lnTo>
                    <a:pt x="14163" y="144781"/>
                  </a:lnTo>
                  <a:lnTo>
                    <a:pt x="11409" y="145174"/>
                  </a:lnTo>
                  <a:lnTo>
                    <a:pt x="8262" y="145568"/>
                  </a:lnTo>
                  <a:lnTo>
                    <a:pt x="5508" y="146748"/>
                  </a:lnTo>
                  <a:lnTo>
                    <a:pt x="5114" y="149502"/>
                  </a:lnTo>
                  <a:lnTo>
                    <a:pt x="7869" y="149109"/>
                  </a:lnTo>
                  <a:lnTo>
                    <a:pt x="11016" y="149895"/>
                  </a:lnTo>
                  <a:lnTo>
                    <a:pt x="14163" y="149895"/>
                  </a:lnTo>
                  <a:lnTo>
                    <a:pt x="11016" y="150289"/>
                  </a:lnTo>
                  <a:lnTo>
                    <a:pt x="7869" y="150682"/>
                  </a:lnTo>
                  <a:lnTo>
                    <a:pt x="11016" y="153043"/>
                  </a:lnTo>
                  <a:lnTo>
                    <a:pt x="14163" y="153436"/>
                  </a:lnTo>
                  <a:lnTo>
                    <a:pt x="16917" y="153043"/>
                  </a:lnTo>
                  <a:lnTo>
                    <a:pt x="20065" y="152256"/>
                  </a:lnTo>
                  <a:lnTo>
                    <a:pt x="23212" y="151469"/>
                  </a:lnTo>
                  <a:lnTo>
                    <a:pt x="25966" y="150682"/>
                  </a:lnTo>
                  <a:lnTo>
                    <a:pt x="27540" y="150289"/>
                  </a:lnTo>
                  <a:lnTo>
                    <a:pt x="25966" y="151863"/>
                  </a:lnTo>
                  <a:lnTo>
                    <a:pt x="23999" y="153830"/>
                  </a:lnTo>
                  <a:lnTo>
                    <a:pt x="31081" y="161698"/>
                  </a:lnTo>
                  <a:lnTo>
                    <a:pt x="28720" y="162092"/>
                  </a:lnTo>
                  <a:lnTo>
                    <a:pt x="25573" y="162485"/>
                  </a:lnTo>
                  <a:lnTo>
                    <a:pt x="22425" y="163665"/>
                  </a:lnTo>
                  <a:lnTo>
                    <a:pt x="25179" y="165632"/>
                  </a:lnTo>
                  <a:lnTo>
                    <a:pt x="28327" y="166026"/>
                  </a:lnTo>
                  <a:lnTo>
                    <a:pt x="31081" y="166419"/>
                  </a:lnTo>
                  <a:lnTo>
                    <a:pt x="34228" y="168386"/>
                  </a:lnTo>
                  <a:lnTo>
                    <a:pt x="36982" y="169173"/>
                  </a:lnTo>
                  <a:lnTo>
                    <a:pt x="37769" y="169173"/>
                  </a:lnTo>
                  <a:lnTo>
                    <a:pt x="38162" y="169567"/>
                  </a:lnTo>
                  <a:lnTo>
                    <a:pt x="36982" y="169960"/>
                  </a:lnTo>
                  <a:lnTo>
                    <a:pt x="39736" y="171534"/>
                  </a:lnTo>
                  <a:lnTo>
                    <a:pt x="41703" y="171534"/>
                  </a:lnTo>
                  <a:lnTo>
                    <a:pt x="44850" y="171927"/>
                  </a:lnTo>
                  <a:lnTo>
                    <a:pt x="48391" y="171927"/>
                  </a:lnTo>
                  <a:lnTo>
                    <a:pt x="51539" y="172321"/>
                  </a:lnTo>
                  <a:lnTo>
                    <a:pt x="54686" y="172321"/>
                  </a:lnTo>
                  <a:lnTo>
                    <a:pt x="57833" y="172714"/>
                  </a:lnTo>
                  <a:lnTo>
                    <a:pt x="60981" y="173108"/>
                  </a:lnTo>
                  <a:lnTo>
                    <a:pt x="64128" y="173501"/>
                  </a:lnTo>
                  <a:lnTo>
                    <a:pt x="66882" y="173894"/>
                  </a:lnTo>
                  <a:lnTo>
                    <a:pt x="69636" y="174288"/>
                  </a:lnTo>
                  <a:lnTo>
                    <a:pt x="72784" y="173501"/>
                  </a:lnTo>
                  <a:lnTo>
                    <a:pt x="70030" y="171927"/>
                  </a:lnTo>
                  <a:lnTo>
                    <a:pt x="68850" y="170747"/>
                  </a:lnTo>
                  <a:lnTo>
                    <a:pt x="78292" y="170747"/>
                  </a:lnTo>
                  <a:lnTo>
                    <a:pt x="78685" y="171140"/>
                  </a:lnTo>
                  <a:lnTo>
                    <a:pt x="79079" y="170747"/>
                  </a:lnTo>
                  <a:lnTo>
                    <a:pt x="91668" y="170354"/>
                  </a:lnTo>
                  <a:lnTo>
                    <a:pt x="90881" y="170747"/>
                  </a:lnTo>
                  <a:lnTo>
                    <a:pt x="93635" y="172321"/>
                  </a:lnTo>
                  <a:lnTo>
                    <a:pt x="96783" y="172321"/>
                  </a:lnTo>
                  <a:lnTo>
                    <a:pt x="99930" y="171534"/>
                  </a:lnTo>
                  <a:lnTo>
                    <a:pt x="100717" y="170354"/>
                  </a:lnTo>
                  <a:lnTo>
                    <a:pt x="108192" y="170354"/>
                  </a:lnTo>
                  <a:lnTo>
                    <a:pt x="204188" y="173894"/>
                  </a:lnTo>
                  <a:lnTo>
                    <a:pt x="203795" y="174288"/>
                  </a:lnTo>
                  <a:lnTo>
                    <a:pt x="203008" y="174681"/>
                  </a:lnTo>
                  <a:lnTo>
                    <a:pt x="219925" y="188845"/>
                  </a:lnTo>
                  <a:lnTo>
                    <a:pt x="217565" y="189631"/>
                  </a:lnTo>
                  <a:lnTo>
                    <a:pt x="220712" y="190025"/>
                  </a:lnTo>
                  <a:lnTo>
                    <a:pt x="221105" y="190025"/>
                  </a:lnTo>
                  <a:lnTo>
                    <a:pt x="223860" y="192385"/>
                  </a:lnTo>
                  <a:lnTo>
                    <a:pt x="223860" y="193959"/>
                  </a:lnTo>
                  <a:lnTo>
                    <a:pt x="226220" y="194353"/>
                  </a:lnTo>
                  <a:lnTo>
                    <a:pt x="226614" y="194746"/>
                  </a:lnTo>
                  <a:lnTo>
                    <a:pt x="224253" y="196713"/>
                  </a:lnTo>
                  <a:lnTo>
                    <a:pt x="227007" y="198287"/>
                  </a:lnTo>
                  <a:lnTo>
                    <a:pt x="230154" y="199074"/>
                  </a:lnTo>
                  <a:lnTo>
                    <a:pt x="232908" y="199861"/>
                  </a:lnTo>
                  <a:lnTo>
                    <a:pt x="233302" y="200254"/>
                  </a:lnTo>
                  <a:lnTo>
                    <a:pt x="237629" y="210090"/>
                  </a:lnTo>
                  <a:lnTo>
                    <a:pt x="234875" y="211270"/>
                  </a:lnTo>
                  <a:lnTo>
                    <a:pt x="238023" y="211663"/>
                  </a:lnTo>
                  <a:lnTo>
                    <a:pt x="238023" y="212844"/>
                  </a:lnTo>
                  <a:lnTo>
                    <a:pt x="238416" y="213631"/>
                  </a:lnTo>
                  <a:lnTo>
                    <a:pt x="237629" y="213631"/>
                  </a:lnTo>
                  <a:lnTo>
                    <a:pt x="234482" y="214024"/>
                  </a:lnTo>
                  <a:lnTo>
                    <a:pt x="230941" y="214417"/>
                  </a:lnTo>
                  <a:lnTo>
                    <a:pt x="228187" y="214417"/>
                  </a:lnTo>
                  <a:lnTo>
                    <a:pt x="227794" y="214417"/>
                  </a:lnTo>
                  <a:lnTo>
                    <a:pt x="225040" y="215598"/>
                  </a:lnTo>
                  <a:lnTo>
                    <a:pt x="228187" y="215204"/>
                  </a:lnTo>
                  <a:lnTo>
                    <a:pt x="231335" y="215598"/>
                  </a:lnTo>
                  <a:lnTo>
                    <a:pt x="234875" y="215204"/>
                  </a:lnTo>
                  <a:lnTo>
                    <a:pt x="239203" y="215204"/>
                  </a:lnTo>
                  <a:lnTo>
                    <a:pt x="239597" y="215991"/>
                  </a:lnTo>
                  <a:lnTo>
                    <a:pt x="239597" y="215991"/>
                  </a:lnTo>
                  <a:lnTo>
                    <a:pt x="239597" y="215991"/>
                  </a:lnTo>
                  <a:lnTo>
                    <a:pt x="240777" y="218745"/>
                  </a:lnTo>
                  <a:lnTo>
                    <a:pt x="239597" y="218745"/>
                  </a:lnTo>
                  <a:lnTo>
                    <a:pt x="241170" y="219532"/>
                  </a:lnTo>
                  <a:lnTo>
                    <a:pt x="241957" y="221106"/>
                  </a:lnTo>
                  <a:lnTo>
                    <a:pt x="239990" y="221499"/>
                  </a:lnTo>
                  <a:lnTo>
                    <a:pt x="237236" y="222286"/>
                  </a:lnTo>
                  <a:lnTo>
                    <a:pt x="234089" y="222679"/>
                  </a:lnTo>
                  <a:lnTo>
                    <a:pt x="230941" y="223073"/>
                  </a:lnTo>
                  <a:lnTo>
                    <a:pt x="227400" y="223860"/>
                  </a:lnTo>
                  <a:lnTo>
                    <a:pt x="224253" y="224253"/>
                  </a:lnTo>
                  <a:lnTo>
                    <a:pt x="221499" y="225040"/>
                  </a:lnTo>
                  <a:lnTo>
                    <a:pt x="224646" y="225433"/>
                  </a:lnTo>
                  <a:lnTo>
                    <a:pt x="227794" y="225040"/>
                  </a:lnTo>
                  <a:lnTo>
                    <a:pt x="230941" y="224646"/>
                  </a:lnTo>
                  <a:lnTo>
                    <a:pt x="234089" y="224646"/>
                  </a:lnTo>
                  <a:lnTo>
                    <a:pt x="237236" y="224253"/>
                  </a:lnTo>
                  <a:lnTo>
                    <a:pt x="239990" y="223466"/>
                  </a:lnTo>
                  <a:lnTo>
                    <a:pt x="242351" y="222679"/>
                  </a:lnTo>
                  <a:lnTo>
                    <a:pt x="243138" y="224646"/>
                  </a:lnTo>
                  <a:lnTo>
                    <a:pt x="239990" y="226220"/>
                  </a:lnTo>
                  <a:lnTo>
                    <a:pt x="243531" y="227400"/>
                  </a:lnTo>
                  <a:lnTo>
                    <a:pt x="244318" y="227400"/>
                  </a:lnTo>
                  <a:lnTo>
                    <a:pt x="244711" y="228187"/>
                  </a:lnTo>
                  <a:lnTo>
                    <a:pt x="243924" y="228581"/>
                  </a:lnTo>
                  <a:lnTo>
                    <a:pt x="245498" y="229761"/>
                  </a:lnTo>
                  <a:lnTo>
                    <a:pt x="246678" y="232515"/>
                  </a:lnTo>
                  <a:lnTo>
                    <a:pt x="246285" y="232515"/>
                  </a:lnTo>
                  <a:lnTo>
                    <a:pt x="245892" y="235269"/>
                  </a:lnTo>
                  <a:lnTo>
                    <a:pt x="247859" y="235662"/>
                  </a:lnTo>
                  <a:lnTo>
                    <a:pt x="247859" y="235662"/>
                  </a:lnTo>
                  <a:lnTo>
                    <a:pt x="245498" y="236056"/>
                  </a:lnTo>
                  <a:lnTo>
                    <a:pt x="242351" y="234482"/>
                  </a:lnTo>
                  <a:lnTo>
                    <a:pt x="239597" y="236056"/>
                  </a:lnTo>
                  <a:lnTo>
                    <a:pt x="242351" y="236449"/>
                  </a:lnTo>
                  <a:lnTo>
                    <a:pt x="239597" y="237236"/>
                  </a:lnTo>
                  <a:lnTo>
                    <a:pt x="242351" y="238416"/>
                  </a:lnTo>
                  <a:lnTo>
                    <a:pt x="245105" y="239597"/>
                  </a:lnTo>
                  <a:lnTo>
                    <a:pt x="246285" y="242351"/>
                  </a:lnTo>
                  <a:lnTo>
                    <a:pt x="249039" y="243137"/>
                  </a:lnTo>
                  <a:lnTo>
                    <a:pt x="251793" y="243531"/>
                  </a:lnTo>
                  <a:lnTo>
                    <a:pt x="252580" y="245105"/>
                  </a:lnTo>
                  <a:lnTo>
                    <a:pt x="249826" y="244318"/>
                  </a:lnTo>
                  <a:lnTo>
                    <a:pt x="246678" y="245891"/>
                  </a:lnTo>
                  <a:lnTo>
                    <a:pt x="243531" y="247859"/>
                  </a:lnTo>
                  <a:lnTo>
                    <a:pt x="246285" y="248252"/>
                  </a:lnTo>
                  <a:lnTo>
                    <a:pt x="243138" y="249432"/>
                  </a:lnTo>
                  <a:lnTo>
                    <a:pt x="239990" y="251793"/>
                  </a:lnTo>
                  <a:lnTo>
                    <a:pt x="236449" y="251399"/>
                  </a:lnTo>
                  <a:lnTo>
                    <a:pt x="239597" y="252973"/>
                  </a:lnTo>
                  <a:lnTo>
                    <a:pt x="242351" y="253760"/>
                  </a:lnTo>
                  <a:lnTo>
                    <a:pt x="245105" y="254153"/>
                  </a:lnTo>
                  <a:lnTo>
                    <a:pt x="246678" y="253760"/>
                  </a:lnTo>
                  <a:lnTo>
                    <a:pt x="242744" y="260055"/>
                  </a:lnTo>
                  <a:lnTo>
                    <a:pt x="240777" y="259268"/>
                  </a:lnTo>
                  <a:lnTo>
                    <a:pt x="237629" y="260448"/>
                  </a:lnTo>
                  <a:lnTo>
                    <a:pt x="234482" y="260842"/>
                  </a:lnTo>
                  <a:lnTo>
                    <a:pt x="231335" y="261235"/>
                  </a:lnTo>
                  <a:lnTo>
                    <a:pt x="228187" y="263596"/>
                  </a:lnTo>
                  <a:lnTo>
                    <a:pt x="225040" y="263989"/>
                  </a:lnTo>
                  <a:lnTo>
                    <a:pt x="228187" y="264382"/>
                  </a:lnTo>
                  <a:lnTo>
                    <a:pt x="230941" y="265956"/>
                  </a:lnTo>
                  <a:lnTo>
                    <a:pt x="234089" y="264776"/>
                  </a:lnTo>
                  <a:lnTo>
                    <a:pt x="237236" y="263202"/>
                  </a:lnTo>
                  <a:lnTo>
                    <a:pt x="240383" y="262809"/>
                  </a:lnTo>
                  <a:lnTo>
                    <a:pt x="241170" y="262415"/>
                  </a:lnTo>
                  <a:lnTo>
                    <a:pt x="239990" y="263989"/>
                  </a:lnTo>
                  <a:lnTo>
                    <a:pt x="239203" y="263989"/>
                  </a:lnTo>
                  <a:lnTo>
                    <a:pt x="236056" y="266350"/>
                  </a:lnTo>
                  <a:lnTo>
                    <a:pt x="238810" y="265956"/>
                  </a:lnTo>
                  <a:lnTo>
                    <a:pt x="238416" y="266743"/>
                  </a:lnTo>
                  <a:lnTo>
                    <a:pt x="236449" y="266743"/>
                  </a:lnTo>
                  <a:lnTo>
                    <a:pt x="233302" y="267530"/>
                  </a:lnTo>
                  <a:lnTo>
                    <a:pt x="236056" y="267923"/>
                  </a:lnTo>
                  <a:lnTo>
                    <a:pt x="238023" y="267136"/>
                  </a:lnTo>
                  <a:lnTo>
                    <a:pt x="236843" y="269104"/>
                  </a:lnTo>
                  <a:lnTo>
                    <a:pt x="234089" y="269104"/>
                  </a:lnTo>
                  <a:lnTo>
                    <a:pt x="230941" y="268710"/>
                  </a:lnTo>
                  <a:lnTo>
                    <a:pt x="227794" y="269104"/>
                  </a:lnTo>
                  <a:lnTo>
                    <a:pt x="224646" y="270284"/>
                  </a:lnTo>
                  <a:lnTo>
                    <a:pt x="227794" y="271858"/>
                  </a:lnTo>
                  <a:lnTo>
                    <a:pt x="230548" y="270284"/>
                  </a:lnTo>
                  <a:lnTo>
                    <a:pt x="233302" y="271858"/>
                  </a:lnTo>
                  <a:lnTo>
                    <a:pt x="234875" y="271464"/>
                  </a:lnTo>
                  <a:lnTo>
                    <a:pt x="234482" y="271858"/>
                  </a:lnTo>
                  <a:lnTo>
                    <a:pt x="232908" y="271858"/>
                  </a:lnTo>
                  <a:lnTo>
                    <a:pt x="229761" y="273038"/>
                  </a:lnTo>
                  <a:lnTo>
                    <a:pt x="226614" y="273825"/>
                  </a:lnTo>
                  <a:lnTo>
                    <a:pt x="223860" y="274218"/>
                  </a:lnTo>
                  <a:lnTo>
                    <a:pt x="220712" y="275792"/>
                  </a:lnTo>
                  <a:lnTo>
                    <a:pt x="224253" y="277759"/>
                  </a:lnTo>
                  <a:lnTo>
                    <a:pt x="227007" y="276579"/>
                  </a:lnTo>
                  <a:lnTo>
                    <a:pt x="229761" y="275005"/>
                  </a:lnTo>
                  <a:lnTo>
                    <a:pt x="232908" y="273431"/>
                  </a:lnTo>
                  <a:lnTo>
                    <a:pt x="233302" y="273038"/>
                  </a:lnTo>
                  <a:lnTo>
                    <a:pt x="230941" y="276579"/>
                  </a:lnTo>
                  <a:lnTo>
                    <a:pt x="230154" y="276972"/>
                  </a:lnTo>
                  <a:lnTo>
                    <a:pt x="227400" y="278152"/>
                  </a:lnTo>
                  <a:lnTo>
                    <a:pt x="224253" y="280513"/>
                  </a:lnTo>
                  <a:lnTo>
                    <a:pt x="221105" y="280513"/>
                  </a:lnTo>
                  <a:lnTo>
                    <a:pt x="218352" y="282480"/>
                  </a:lnTo>
                  <a:lnTo>
                    <a:pt x="221105" y="283660"/>
                  </a:lnTo>
                  <a:lnTo>
                    <a:pt x="223860" y="284054"/>
                  </a:lnTo>
                  <a:lnTo>
                    <a:pt x="227007" y="283660"/>
                  </a:lnTo>
                  <a:lnTo>
                    <a:pt x="230154" y="283660"/>
                  </a:lnTo>
                  <a:lnTo>
                    <a:pt x="232908" y="282874"/>
                  </a:lnTo>
                  <a:lnTo>
                    <a:pt x="235662" y="281300"/>
                  </a:lnTo>
                  <a:lnTo>
                    <a:pt x="237236" y="281693"/>
                  </a:lnTo>
                  <a:lnTo>
                    <a:pt x="235662" y="282087"/>
                  </a:lnTo>
                  <a:lnTo>
                    <a:pt x="230154" y="284447"/>
                  </a:lnTo>
                  <a:lnTo>
                    <a:pt x="226614" y="284841"/>
                  </a:lnTo>
                  <a:lnTo>
                    <a:pt x="223860" y="284841"/>
                  </a:lnTo>
                  <a:lnTo>
                    <a:pt x="220712" y="285234"/>
                  </a:lnTo>
                  <a:lnTo>
                    <a:pt x="217565" y="287595"/>
                  </a:lnTo>
                  <a:lnTo>
                    <a:pt x="214417" y="287988"/>
                  </a:lnTo>
                  <a:lnTo>
                    <a:pt x="211663" y="288775"/>
                  </a:lnTo>
                  <a:lnTo>
                    <a:pt x="208516" y="289168"/>
                  </a:lnTo>
                  <a:lnTo>
                    <a:pt x="205762" y="290742"/>
                  </a:lnTo>
                  <a:lnTo>
                    <a:pt x="208516" y="292316"/>
                  </a:lnTo>
                  <a:lnTo>
                    <a:pt x="208516" y="295070"/>
                  </a:lnTo>
                  <a:lnTo>
                    <a:pt x="210090" y="298217"/>
                  </a:lnTo>
                  <a:lnTo>
                    <a:pt x="213237" y="299004"/>
                  </a:lnTo>
                  <a:lnTo>
                    <a:pt x="215991" y="298611"/>
                  </a:lnTo>
                  <a:lnTo>
                    <a:pt x="214811" y="295857"/>
                  </a:lnTo>
                  <a:lnTo>
                    <a:pt x="217565" y="297824"/>
                  </a:lnTo>
                  <a:lnTo>
                    <a:pt x="220319" y="299397"/>
                  </a:lnTo>
                  <a:lnTo>
                    <a:pt x="223073" y="299791"/>
                  </a:lnTo>
                  <a:lnTo>
                    <a:pt x="226614" y="299397"/>
                  </a:lnTo>
                  <a:lnTo>
                    <a:pt x="229368" y="299397"/>
                  </a:lnTo>
                  <a:lnTo>
                    <a:pt x="232908" y="299004"/>
                  </a:lnTo>
                  <a:lnTo>
                    <a:pt x="235662" y="298611"/>
                  </a:lnTo>
                  <a:lnTo>
                    <a:pt x="240383" y="299397"/>
                  </a:lnTo>
                  <a:lnTo>
                    <a:pt x="243138" y="299004"/>
                  </a:lnTo>
                  <a:lnTo>
                    <a:pt x="246285" y="297037"/>
                  </a:lnTo>
                  <a:lnTo>
                    <a:pt x="244318" y="294283"/>
                  </a:lnTo>
                  <a:lnTo>
                    <a:pt x="245105" y="291529"/>
                  </a:lnTo>
                  <a:lnTo>
                    <a:pt x="248252" y="293889"/>
                  </a:lnTo>
                  <a:lnTo>
                    <a:pt x="251006" y="293496"/>
                  </a:lnTo>
                  <a:lnTo>
                    <a:pt x="249826" y="290742"/>
                  </a:lnTo>
                  <a:lnTo>
                    <a:pt x="252973" y="290742"/>
                  </a:lnTo>
                  <a:lnTo>
                    <a:pt x="256121" y="290349"/>
                  </a:lnTo>
                  <a:lnTo>
                    <a:pt x="258875" y="289562"/>
                  </a:lnTo>
                  <a:lnTo>
                    <a:pt x="260055" y="288775"/>
                  </a:lnTo>
                  <a:lnTo>
                    <a:pt x="262415" y="289168"/>
                  </a:lnTo>
                  <a:lnTo>
                    <a:pt x="262415" y="289562"/>
                  </a:lnTo>
                  <a:lnTo>
                    <a:pt x="263202" y="289168"/>
                  </a:lnTo>
                  <a:lnTo>
                    <a:pt x="265956" y="289955"/>
                  </a:lnTo>
                  <a:lnTo>
                    <a:pt x="263202" y="291922"/>
                  </a:lnTo>
                  <a:lnTo>
                    <a:pt x="265956" y="292316"/>
                  </a:lnTo>
                  <a:lnTo>
                    <a:pt x="275399" y="292316"/>
                  </a:lnTo>
                  <a:lnTo>
                    <a:pt x="278546" y="293889"/>
                  </a:lnTo>
                  <a:lnTo>
                    <a:pt x="281693" y="294283"/>
                  </a:lnTo>
                  <a:lnTo>
                    <a:pt x="284054" y="294283"/>
                  </a:lnTo>
                  <a:lnTo>
                    <a:pt x="287595" y="295070"/>
                  </a:lnTo>
                  <a:lnTo>
                    <a:pt x="284841" y="295463"/>
                  </a:lnTo>
                  <a:lnTo>
                    <a:pt x="281693" y="295463"/>
                  </a:lnTo>
                  <a:lnTo>
                    <a:pt x="278546" y="295857"/>
                  </a:lnTo>
                  <a:lnTo>
                    <a:pt x="275792" y="296250"/>
                  </a:lnTo>
                  <a:lnTo>
                    <a:pt x="272644" y="296643"/>
                  </a:lnTo>
                  <a:lnTo>
                    <a:pt x="269890" y="297430"/>
                  </a:lnTo>
                  <a:lnTo>
                    <a:pt x="266743" y="298611"/>
                  </a:lnTo>
                  <a:lnTo>
                    <a:pt x="263989" y="300184"/>
                  </a:lnTo>
                  <a:lnTo>
                    <a:pt x="266743" y="300578"/>
                  </a:lnTo>
                  <a:lnTo>
                    <a:pt x="269497" y="300971"/>
                  </a:lnTo>
                  <a:lnTo>
                    <a:pt x="272644" y="301365"/>
                  </a:lnTo>
                  <a:lnTo>
                    <a:pt x="275792" y="300971"/>
                  </a:lnTo>
                  <a:lnTo>
                    <a:pt x="278546" y="300578"/>
                  </a:lnTo>
                  <a:lnTo>
                    <a:pt x="281300" y="299791"/>
                  </a:lnTo>
                  <a:lnTo>
                    <a:pt x="284447" y="299397"/>
                  </a:lnTo>
                  <a:lnTo>
                    <a:pt x="287595" y="299004"/>
                  </a:lnTo>
                  <a:lnTo>
                    <a:pt x="290349" y="298611"/>
                  </a:lnTo>
                  <a:lnTo>
                    <a:pt x="293103" y="298217"/>
                  </a:lnTo>
                  <a:lnTo>
                    <a:pt x="296250" y="298217"/>
                  </a:lnTo>
                  <a:lnTo>
                    <a:pt x="299397" y="298611"/>
                  </a:lnTo>
                  <a:lnTo>
                    <a:pt x="295463" y="299791"/>
                  </a:lnTo>
                  <a:lnTo>
                    <a:pt x="293496" y="299397"/>
                  </a:lnTo>
                  <a:lnTo>
                    <a:pt x="290349" y="299791"/>
                  </a:lnTo>
                  <a:lnTo>
                    <a:pt x="287595" y="300184"/>
                  </a:lnTo>
                  <a:lnTo>
                    <a:pt x="284447" y="300578"/>
                  </a:lnTo>
                  <a:lnTo>
                    <a:pt x="281300" y="301365"/>
                  </a:lnTo>
                  <a:lnTo>
                    <a:pt x="278546" y="302151"/>
                  </a:lnTo>
                  <a:lnTo>
                    <a:pt x="276185" y="304905"/>
                  </a:lnTo>
                  <a:lnTo>
                    <a:pt x="270677" y="306479"/>
                  </a:lnTo>
                  <a:lnTo>
                    <a:pt x="269890" y="306479"/>
                  </a:lnTo>
                  <a:lnTo>
                    <a:pt x="269890" y="306479"/>
                  </a:lnTo>
                  <a:lnTo>
                    <a:pt x="228581" y="315921"/>
                  </a:lnTo>
                  <a:lnTo>
                    <a:pt x="228187" y="315921"/>
                  </a:lnTo>
                  <a:lnTo>
                    <a:pt x="225433" y="316315"/>
                  </a:lnTo>
                  <a:lnTo>
                    <a:pt x="222286" y="317495"/>
                  </a:lnTo>
                  <a:lnTo>
                    <a:pt x="219138" y="318282"/>
                  </a:lnTo>
                  <a:lnTo>
                    <a:pt x="216385" y="319856"/>
                  </a:lnTo>
                  <a:lnTo>
                    <a:pt x="219138" y="322216"/>
                  </a:lnTo>
                  <a:lnTo>
                    <a:pt x="221499" y="324970"/>
                  </a:lnTo>
                  <a:lnTo>
                    <a:pt x="224253" y="327331"/>
                  </a:lnTo>
                  <a:lnTo>
                    <a:pt x="227794" y="328118"/>
                  </a:lnTo>
                  <a:lnTo>
                    <a:pt x="230941" y="328511"/>
                  </a:lnTo>
                  <a:lnTo>
                    <a:pt x="233695" y="328904"/>
                  </a:lnTo>
                  <a:lnTo>
                    <a:pt x="236843" y="329298"/>
                  </a:lnTo>
                  <a:lnTo>
                    <a:pt x="239990" y="329298"/>
                  </a:lnTo>
                  <a:lnTo>
                    <a:pt x="242744" y="330478"/>
                  </a:lnTo>
                  <a:lnTo>
                    <a:pt x="246285" y="331265"/>
                  </a:lnTo>
                  <a:lnTo>
                    <a:pt x="249039" y="332445"/>
                  </a:lnTo>
                  <a:lnTo>
                    <a:pt x="252186" y="334806"/>
                  </a:lnTo>
                  <a:lnTo>
                    <a:pt x="254940" y="337560"/>
                  </a:lnTo>
                  <a:lnTo>
                    <a:pt x="258088" y="337953"/>
                  </a:lnTo>
                  <a:lnTo>
                    <a:pt x="260842" y="337560"/>
                  </a:lnTo>
                  <a:lnTo>
                    <a:pt x="263989" y="338740"/>
                  </a:lnTo>
                  <a:lnTo>
                    <a:pt x="270284" y="338740"/>
                  </a:lnTo>
                  <a:lnTo>
                    <a:pt x="271071" y="339133"/>
                  </a:lnTo>
                  <a:lnTo>
                    <a:pt x="271858" y="340314"/>
                  </a:lnTo>
                  <a:lnTo>
                    <a:pt x="275005" y="339133"/>
                  </a:lnTo>
                  <a:lnTo>
                    <a:pt x="279726" y="339133"/>
                  </a:lnTo>
                  <a:lnTo>
                    <a:pt x="276579" y="339920"/>
                  </a:lnTo>
                  <a:lnTo>
                    <a:pt x="279333" y="340314"/>
                  </a:lnTo>
                  <a:lnTo>
                    <a:pt x="282480" y="340314"/>
                  </a:lnTo>
                  <a:lnTo>
                    <a:pt x="287988" y="339133"/>
                  </a:lnTo>
                  <a:lnTo>
                    <a:pt x="289562" y="339133"/>
                  </a:lnTo>
                  <a:lnTo>
                    <a:pt x="298611" y="339133"/>
                  </a:lnTo>
                  <a:lnTo>
                    <a:pt x="295857" y="339920"/>
                  </a:lnTo>
                  <a:lnTo>
                    <a:pt x="292709" y="341888"/>
                  </a:lnTo>
                  <a:lnTo>
                    <a:pt x="294676" y="342674"/>
                  </a:lnTo>
                  <a:lnTo>
                    <a:pt x="291529" y="345428"/>
                  </a:lnTo>
                  <a:lnTo>
                    <a:pt x="289562" y="345035"/>
                  </a:lnTo>
                  <a:lnTo>
                    <a:pt x="286414" y="346215"/>
                  </a:lnTo>
                  <a:lnTo>
                    <a:pt x="283267" y="348576"/>
                  </a:lnTo>
                  <a:lnTo>
                    <a:pt x="286414" y="348182"/>
                  </a:lnTo>
                  <a:lnTo>
                    <a:pt x="287595" y="348969"/>
                  </a:lnTo>
                  <a:lnTo>
                    <a:pt x="286808" y="349756"/>
                  </a:lnTo>
                  <a:lnTo>
                    <a:pt x="286414" y="349756"/>
                  </a:lnTo>
                  <a:lnTo>
                    <a:pt x="283267" y="349363"/>
                  </a:lnTo>
                  <a:lnTo>
                    <a:pt x="280119" y="350543"/>
                  </a:lnTo>
                  <a:lnTo>
                    <a:pt x="279333" y="353297"/>
                  </a:lnTo>
                  <a:lnTo>
                    <a:pt x="283267" y="353297"/>
                  </a:lnTo>
                  <a:lnTo>
                    <a:pt x="282480" y="354084"/>
                  </a:lnTo>
                  <a:lnTo>
                    <a:pt x="281693" y="353690"/>
                  </a:lnTo>
                  <a:lnTo>
                    <a:pt x="278546" y="354084"/>
                  </a:lnTo>
                  <a:lnTo>
                    <a:pt x="275399" y="356444"/>
                  </a:lnTo>
                  <a:lnTo>
                    <a:pt x="274218" y="359198"/>
                  </a:lnTo>
                  <a:lnTo>
                    <a:pt x="271464" y="359592"/>
                  </a:lnTo>
                  <a:lnTo>
                    <a:pt x="268710" y="361559"/>
                  </a:lnTo>
                  <a:lnTo>
                    <a:pt x="271464" y="361952"/>
                  </a:lnTo>
                  <a:lnTo>
                    <a:pt x="273431" y="361952"/>
                  </a:lnTo>
                  <a:lnTo>
                    <a:pt x="271464" y="363919"/>
                  </a:lnTo>
                  <a:lnTo>
                    <a:pt x="269104" y="363526"/>
                  </a:lnTo>
                  <a:lnTo>
                    <a:pt x="266350" y="364706"/>
                  </a:lnTo>
                  <a:lnTo>
                    <a:pt x="265563" y="367460"/>
                  </a:lnTo>
                  <a:lnTo>
                    <a:pt x="263989" y="370608"/>
                  </a:lnTo>
                  <a:lnTo>
                    <a:pt x="263596" y="371001"/>
                  </a:lnTo>
                  <a:lnTo>
                    <a:pt x="260448" y="371788"/>
                  </a:lnTo>
                  <a:lnTo>
                    <a:pt x="260055" y="372181"/>
                  </a:lnTo>
                  <a:lnTo>
                    <a:pt x="241170" y="379656"/>
                  </a:lnTo>
                  <a:lnTo>
                    <a:pt x="240383" y="379263"/>
                  </a:lnTo>
                  <a:lnTo>
                    <a:pt x="238023" y="379656"/>
                  </a:lnTo>
                  <a:lnTo>
                    <a:pt x="240777" y="378870"/>
                  </a:lnTo>
                  <a:lnTo>
                    <a:pt x="243531" y="377689"/>
                  </a:lnTo>
                  <a:lnTo>
                    <a:pt x="243138" y="377689"/>
                  </a:lnTo>
                  <a:lnTo>
                    <a:pt x="240383" y="378476"/>
                  </a:lnTo>
                  <a:lnTo>
                    <a:pt x="237629" y="377689"/>
                  </a:lnTo>
                  <a:lnTo>
                    <a:pt x="234482" y="378083"/>
                  </a:lnTo>
                  <a:lnTo>
                    <a:pt x="231335" y="379656"/>
                  </a:lnTo>
                  <a:lnTo>
                    <a:pt x="234875" y="379656"/>
                  </a:lnTo>
                  <a:lnTo>
                    <a:pt x="237629" y="380050"/>
                  </a:lnTo>
                  <a:lnTo>
                    <a:pt x="234875" y="380050"/>
                  </a:lnTo>
                  <a:lnTo>
                    <a:pt x="231728" y="380443"/>
                  </a:lnTo>
                  <a:lnTo>
                    <a:pt x="228581" y="380837"/>
                  </a:lnTo>
                  <a:lnTo>
                    <a:pt x="225433" y="382017"/>
                  </a:lnTo>
                  <a:lnTo>
                    <a:pt x="228187" y="382017"/>
                  </a:lnTo>
                  <a:lnTo>
                    <a:pt x="225433" y="383591"/>
                  </a:lnTo>
                  <a:lnTo>
                    <a:pt x="222286" y="383984"/>
                  </a:lnTo>
                  <a:lnTo>
                    <a:pt x="219138" y="384378"/>
                  </a:lnTo>
                  <a:lnTo>
                    <a:pt x="216385" y="385951"/>
                  </a:lnTo>
                  <a:lnTo>
                    <a:pt x="213237" y="386345"/>
                  </a:lnTo>
                  <a:lnTo>
                    <a:pt x="210090" y="386738"/>
                  </a:lnTo>
                  <a:lnTo>
                    <a:pt x="206942" y="387918"/>
                  </a:lnTo>
                  <a:lnTo>
                    <a:pt x="209696" y="387918"/>
                  </a:lnTo>
                  <a:lnTo>
                    <a:pt x="212450" y="387525"/>
                  </a:lnTo>
                  <a:lnTo>
                    <a:pt x="215598" y="387132"/>
                  </a:lnTo>
                  <a:lnTo>
                    <a:pt x="218352" y="386345"/>
                  </a:lnTo>
                  <a:lnTo>
                    <a:pt x="221892" y="386738"/>
                  </a:lnTo>
                  <a:lnTo>
                    <a:pt x="218352" y="387132"/>
                  </a:lnTo>
                  <a:lnTo>
                    <a:pt x="215991" y="389099"/>
                  </a:lnTo>
                  <a:lnTo>
                    <a:pt x="210483" y="391459"/>
                  </a:lnTo>
                  <a:lnTo>
                    <a:pt x="207729" y="390279"/>
                  </a:lnTo>
                  <a:lnTo>
                    <a:pt x="204582" y="390672"/>
                  </a:lnTo>
                  <a:lnTo>
                    <a:pt x="201828" y="391066"/>
                  </a:lnTo>
                  <a:lnTo>
                    <a:pt x="207729" y="391066"/>
                  </a:lnTo>
                  <a:lnTo>
                    <a:pt x="208909" y="393820"/>
                  </a:lnTo>
                  <a:lnTo>
                    <a:pt x="211663" y="395787"/>
                  </a:lnTo>
                  <a:lnTo>
                    <a:pt x="214811" y="396574"/>
                  </a:lnTo>
                  <a:lnTo>
                    <a:pt x="217565" y="396967"/>
                  </a:lnTo>
                  <a:lnTo>
                    <a:pt x="220319" y="396967"/>
                  </a:lnTo>
                  <a:lnTo>
                    <a:pt x="223466" y="397361"/>
                  </a:lnTo>
                  <a:lnTo>
                    <a:pt x="226220" y="397361"/>
                  </a:lnTo>
                  <a:lnTo>
                    <a:pt x="223073" y="397754"/>
                  </a:lnTo>
                  <a:lnTo>
                    <a:pt x="220319" y="397361"/>
                  </a:lnTo>
                  <a:lnTo>
                    <a:pt x="217565" y="396967"/>
                  </a:lnTo>
                  <a:lnTo>
                    <a:pt x="214417" y="396967"/>
                  </a:lnTo>
                  <a:lnTo>
                    <a:pt x="211663" y="395787"/>
                  </a:lnTo>
                  <a:lnTo>
                    <a:pt x="208516" y="394213"/>
                  </a:lnTo>
                  <a:lnTo>
                    <a:pt x="205762" y="394607"/>
                  </a:lnTo>
                  <a:lnTo>
                    <a:pt x="202615" y="395000"/>
                  </a:lnTo>
                  <a:lnTo>
                    <a:pt x="205762" y="395787"/>
                  </a:lnTo>
                  <a:lnTo>
                    <a:pt x="208516" y="395787"/>
                  </a:lnTo>
                  <a:lnTo>
                    <a:pt x="205762" y="396180"/>
                  </a:lnTo>
                  <a:lnTo>
                    <a:pt x="202615" y="396574"/>
                  </a:lnTo>
                  <a:lnTo>
                    <a:pt x="199861" y="397754"/>
                  </a:lnTo>
                  <a:lnTo>
                    <a:pt x="203008" y="398147"/>
                  </a:lnTo>
                  <a:lnTo>
                    <a:pt x="200254" y="399721"/>
                  </a:lnTo>
                  <a:lnTo>
                    <a:pt x="197107" y="398541"/>
                  </a:lnTo>
                  <a:lnTo>
                    <a:pt x="198680" y="401295"/>
                  </a:lnTo>
                  <a:lnTo>
                    <a:pt x="195926" y="401688"/>
                  </a:lnTo>
                  <a:lnTo>
                    <a:pt x="192779" y="400508"/>
                  </a:lnTo>
                  <a:lnTo>
                    <a:pt x="190025" y="400901"/>
                  </a:lnTo>
                  <a:lnTo>
                    <a:pt x="190812" y="402475"/>
                  </a:lnTo>
                  <a:lnTo>
                    <a:pt x="187664" y="402082"/>
                  </a:lnTo>
                  <a:lnTo>
                    <a:pt x="188058" y="404836"/>
                  </a:lnTo>
                  <a:lnTo>
                    <a:pt x="190418" y="402475"/>
                  </a:lnTo>
                  <a:lnTo>
                    <a:pt x="191205" y="404049"/>
                  </a:lnTo>
                  <a:lnTo>
                    <a:pt x="188451" y="405623"/>
                  </a:lnTo>
                  <a:lnTo>
                    <a:pt x="185304" y="406803"/>
                  </a:lnTo>
                  <a:lnTo>
                    <a:pt x="184910" y="409950"/>
                  </a:lnTo>
                  <a:lnTo>
                    <a:pt x="188058" y="409557"/>
                  </a:lnTo>
                  <a:lnTo>
                    <a:pt x="190812" y="408377"/>
                  </a:lnTo>
                  <a:lnTo>
                    <a:pt x="193959" y="407590"/>
                  </a:lnTo>
                  <a:lnTo>
                    <a:pt x="196713" y="406016"/>
                  </a:lnTo>
                  <a:lnTo>
                    <a:pt x="199861" y="404442"/>
                  </a:lnTo>
                  <a:lnTo>
                    <a:pt x="203008" y="402869"/>
                  </a:lnTo>
                  <a:lnTo>
                    <a:pt x="205762" y="402475"/>
                  </a:lnTo>
                  <a:lnTo>
                    <a:pt x="208909" y="401688"/>
                  </a:lnTo>
                  <a:lnTo>
                    <a:pt x="211663" y="401688"/>
                  </a:lnTo>
                  <a:lnTo>
                    <a:pt x="214811" y="401295"/>
                  </a:lnTo>
                  <a:lnTo>
                    <a:pt x="217565" y="400508"/>
                  </a:lnTo>
                  <a:lnTo>
                    <a:pt x="220712" y="399328"/>
                  </a:lnTo>
                  <a:lnTo>
                    <a:pt x="223466" y="398934"/>
                  </a:lnTo>
                  <a:lnTo>
                    <a:pt x="226614" y="398934"/>
                  </a:lnTo>
                  <a:lnTo>
                    <a:pt x="229368" y="398541"/>
                  </a:lnTo>
                  <a:lnTo>
                    <a:pt x="230154" y="398147"/>
                  </a:lnTo>
                  <a:lnTo>
                    <a:pt x="231335" y="398541"/>
                  </a:lnTo>
                  <a:lnTo>
                    <a:pt x="229368" y="399328"/>
                  </a:lnTo>
                  <a:lnTo>
                    <a:pt x="223466" y="399328"/>
                  </a:lnTo>
                  <a:lnTo>
                    <a:pt x="220712" y="400115"/>
                  </a:lnTo>
                  <a:lnTo>
                    <a:pt x="223860" y="402475"/>
                  </a:lnTo>
                  <a:lnTo>
                    <a:pt x="226614" y="402869"/>
                  </a:lnTo>
                  <a:lnTo>
                    <a:pt x="229368" y="402475"/>
                  </a:lnTo>
                  <a:lnTo>
                    <a:pt x="232515" y="401688"/>
                  </a:lnTo>
                  <a:lnTo>
                    <a:pt x="229368" y="403262"/>
                  </a:lnTo>
                  <a:lnTo>
                    <a:pt x="232515" y="404442"/>
                  </a:lnTo>
                  <a:lnTo>
                    <a:pt x="235269" y="402869"/>
                  </a:lnTo>
                  <a:lnTo>
                    <a:pt x="238023" y="403262"/>
                  </a:lnTo>
                  <a:lnTo>
                    <a:pt x="240383" y="402082"/>
                  </a:lnTo>
                  <a:lnTo>
                    <a:pt x="245892" y="404049"/>
                  </a:lnTo>
                  <a:lnTo>
                    <a:pt x="240777" y="404049"/>
                  </a:lnTo>
                  <a:lnTo>
                    <a:pt x="243531" y="405623"/>
                  </a:lnTo>
                  <a:lnTo>
                    <a:pt x="246285" y="406016"/>
                  </a:lnTo>
                  <a:lnTo>
                    <a:pt x="249039" y="406409"/>
                  </a:lnTo>
                  <a:lnTo>
                    <a:pt x="252186" y="406016"/>
                  </a:lnTo>
                  <a:lnTo>
                    <a:pt x="255334" y="405623"/>
                  </a:lnTo>
                  <a:lnTo>
                    <a:pt x="254153" y="406016"/>
                  </a:lnTo>
                  <a:lnTo>
                    <a:pt x="251399" y="406409"/>
                  </a:lnTo>
                  <a:lnTo>
                    <a:pt x="248252" y="407196"/>
                  </a:lnTo>
                  <a:lnTo>
                    <a:pt x="249432" y="407983"/>
                  </a:lnTo>
                  <a:lnTo>
                    <a:pt x="247465" y="408377"/>
                  </a:lnTo>
                  <a:lnTo>
                    <a:pt x="245105" y="407196"/>
                  </a:lnTo>
                  <a:lnTo>
                    <a:pt x="241957" y="406409"/>
                  </a:lnTo>
                  <a:lnTo>
                    <a:pt x="238810" y="405229"/>
                  </a:lnTo>
                  <a:lnTo>
                    <a:pt x="236056" y="405623"/>
                  </a:lnTo>
                  <a:lnTo>
                    <a:pt x="233302" y="406016"/>
                  </a:lnTo>
                  <a:lnTo>
                    <a:pt x="230154" y="406409"/>
                  </a:lnTo>
                  <a:lnTo>
                    <a:pt x="227007" y="406409"/>
                  </a:lnTo>
                  <a:lnTo>
                    <a:pt x="224253" y="404049"/>
                  </a:lnTo>
                  <a:lnTo>
                    <a:pt x="221499" y="403655"/>
                  </a:lnTo>
                  <a:lnTo>
                    <a:pt x="218352" y="403262"/>
                  </a:lnTo>
                  <a:lnTo>
                    <a:pt x="215598" y="402475"/>
                  </a:lnTo>
                  <a:lnTo>
                    <a:pt x="212450" y="402869"/>
                  </a:lnTo>
                  <a:lnTo>
                    <a:pt x="209696" y="402869"/>
                  </a:lnTo>
                  <a:lnTo>
                    <a:pt x="212844" y="403262"/>
                  </a:lnTo>
                  <a:lnTo>
                    <a:pt x="210090" y="404049"/>
                  </a:lnTo>
                  <a:lnTo>
                    <a:pt x="206942" y="403655"/>
                  </a:lnTo>
                  <a:lnTo>
                    <a:pt x="204188" y="404049"/>
                  </a:lnTo>
                  <a:lnTo>
                    <a:pt x="201041" y="405229"/>
                  </a:lnTo>
                  <a:lnTo>
                    <a:pt x="204188" y="404836"/>
                  </a:lnTo>
                  <a:lnTo>
                    <a:pt x="201041" y="406016"/>
                  </a:lnTo>
                  <a:lnTo>
                    <a:pt x="198287" y="406803"/>
                  </a:lnTo>
                  <a:lnTo>
                    <a:pt x="195533" y="408377"/>
                  </a:lnTo>
                  <a:lnTo>
                    <a:pt x="192779" y="409163"/>
                  </a:lnTo>
                  <a:lnTo>
                    <a:pt x="189631" y="409950"/>
                  </a:lnTo>
                  <a:lnTo>
                    <a:pt x="186484" y="410737"/>
                  </a:lnTo>
                  <a:lnTo>
                    <a:pt x="183730" y="411524"/>
                  </a:lnTo>
                  <a:lnTo>
                    <a:pt x="180976" y="412704"/>
                  </a:lnTo>
                  <a:lnTo>
                    <a:pt x="178222" y="415852"/>
                  </a:lnTo>
                  <a:lnTo>
                    <a:pt x="178222" y="418606"/>
                  </a:lnTo>
                  <a:lnTo>
                    <a:pt x="180976" y="418212"/>
                  </a:lnTo>
                  <a:lnTo>
                    <a:pt x="184124" y="417425"/>
                  </a:lnTo>
                  <a:lnTo>
                    <a:pt x="187271" y="417032"/>
                  </a:lnTo>
                  <a:lnTo>
                    <a:pt x="190025" y="416639"/>
                  </a:lnTo>
                  <a:lnTo>
                    <a:pt x="193172" y="415065"/>
                  </a:lnTo>
                  <a:lnTo>
                    <a:pt x="195926" y="416639"/>
                  </a:lnTo>
                  <a:lnTo>
                    <a:pt x="199074" y="416245"/>
                  </a:lnTo>
                  <a:lnTo>
                    <a:pt x="201828" y="415852"/>
                  </a:lnTo>
                  <a:lnTo>
                    <a:pt x="204975" y="415458"/>
                  </a:lnTo>
                  <a:lnTo>
                    <a:pt x="208122" y="414671"/>
                  </a:lnTo>
                  <a:lnTo>
                    <a:pt x="211270" y="414278"/>
                  </a:lnTo>
                  <a:lnTo>
                    <a:pt x="214024" y="413884"/>
                  </a:lnTo>
                  <a:lnTo>
                    <a:pt x="215991" y="413491"/>
                  </a:lnTo>
                  <a:lnTo>
                    <a:pt x="191598" y="417425"/>
                  </a:lnTo>
                  <a:lnTo>
                    <a:pt x="188845" y="417819"/>
                  </a:lnTo>
                  <a:lnTo>
                    <a:pt x="185304" y="417819"/>
                  </a:lnTo>
                  <a:lnTo>
                    <a:pt x="182156" y="418212"/>
                  </a:lnTo>
                  <a:lnTo>
                    <a:pt x="185304" y="418606"/>
                  </a:lnTo>
                  <a:lnTo>
                    <a:pt x="182156" y="418999"/>
                  </a:lnTo>
                  <a:lnTo>
                    <a:pt x="179402" y="418999"/>
                  </a:lnTo>
                  <a:lnTo>
                    <a:pt x="176648" y="419392"/>
                  </a:lnTo>
                  <a:lnTo>
                    <a:pt x="173894" y="420966"/>
                  </a:lnTo>
                  <a:lnTo>
                    <a:pt x="176648" y="422146"/>
                  </a:lnTo>
                  <a:lnTo>
                    <a:pt x="179402" y="422540"/>
                  </a:lnTo>
                  <a:lnTo>
                    <a:pt x="182156" y="422146"/>
                  </a:lnTo>
                  <a:lnTo>
                    <a:pt x="185304" y="421753"/>
                  </a:lnTo>
                  <a:lnTo>
                    <a:pt x="182156" y="422540"/>
                  </a:lnTo>
                  <a:lnTo>
                    <a:pt x="179402" y="422933"/>
                  </a:lnTo>
                  <a:lnTo>
                    <a:pt x="176648" y="422933"/>
                  </a:lnTo>
                  <a:lnTo>
                    <a:pt x="179402" y="424507"/>
                  </a:lnTo>
                  <a:lnTo>
                    <a:pt x="182156" y="424507"/>
                  </a:lnTo>
                  <a:lnTo>
                    <a:pt x="184910" y="424900"/>
                  </a:lnTo>
                  <a:lnTo>
                    <a:pt x="184910" y="424900"/>
                  </a:lnTo>
                  <a:lnTo>
                    <a:pt x="182156" y="425294"/>
                  </a:lnTo>
                  <a:lnTo>
                    <a:pt x="179402" y="425687"/>
                  </a:lnTo>
                  <a:lnTo>
                    <a:pt x="173501" y="425687"/>
                  </a:lnTo>
                  <a:lnTo>
                    <a:pt x="176255" y="426868"/>
                  </a:lnTo>
                  <a:lnTo>
                    <a:pt x="179402" y="428048"/>
                  </a:lnTo>
                  <a:lnTo>
                    <a:pt x="182156" y="428048"/>
                  </a:lnTo>
                  <a:lnTo>
                    <a:pt x="182943" y="428048"/>
                  </a:lnTo>
                  <a:lnTo>
                    <a:pt x="182156" y="429228"/>
                  </a:lnTo>
                  <a:lnTo>
                    <a:pt x="181763" y="429228"/>
                  </a:lnTo>
                  <a:lnTo>
                    <a:pt x="178615" y="431195"/>
                  </a:lnTo>
                  <a:lnTo>
                    <a:pt x="180976" y="430802"/>
                  </a:lnTo>
                  <a:lnTo>
                    <a:pt x="173894" y="439851"/>
                  </a:lnTo>
                  <a:lnTo>
                    <a:pt x="171141" y="440244"/>
                  </a:lnTo>
                  <a:lnTo>
                    <a:pt x="169567" y="442998"/>
                  </a:lnTo>
                  <a:lnTo>
                    <a:pt x="166419" y="444965"/>
                  </a:lnTo>
                  <a:lnTo>
                    <a:pt x="167206" y="447719"/>
                  </a:lnTo>
                  <a:lnTo>
                    <a:pt x="167993" y="447719"/>
                  </a:lnTo>
                  <a:lnTo>
                    <a:pt x="165239" y="451260"/>
                  </a:lnTo>
                  <a:lnTo>
                    <a:pt x="167993" y="452047"/>
                  </a:lnTo>
                  <a:lnTo>
                    <a:pt x="170354" y="451653"/>
                  </a:lnTo>
                  <a:lnTo>
                    <a:pt x="171927" y="452047"/>
                  </a:lnTo>
                  <a:lnTo>
                    <a:pt x="170747" y="452440"/>
                  </a:lnTo>
                  <a:lnTo>
                    <a:pt x="167600" y="453621"/>
                  </a:lnTo>
                  <a:lnTo>
                    <a:pt x="170354" y="454014"/>
                  </a:lnTo>
                  <a:lnTo>
                    <a:pt x="173501" y="454407"/>
                  </a:lnTo>
                  <a:lnTo>
                    <a:pt x="170354" y="455194"/>
                  </a:lnTo>
                  <a:lnTo>
                    <a:pt x="167600" y="455194"/>
                  </a:lnTo>
                  <a:lnTo>
                    <a:pt x="170354" y="456768"/>
                  </a:lnTo>
                  <a:lnTo>
                    <a:pt x="173108" y="455981"/>
                  </a:lnTo>
                  <a:lnTo>
                    <a:pt x="175861" y="455194"/>
                  </a:lnTo>
                  <a:lnTo>
                    <a:pt x="178615" y="454407"/>
                  </a:lnTo>
                  <a:lnTo>
                    <a:pt x="175861" y="455588"/>
                  </a:lnTo>
                  <a:lnTo>
                    <a:pt x="172714" y="456768"/>
                  </a:lnTo>
                  <a:lnTo>
                    <a:pt x="169960" y="457555"/>
                  </a:lnTo>
                  <a:lnTo>
                    <a:pt x="172714" y="459129"/>
                  </a:lnTo>
                  <a:lnTo>
                    <a:pt x="175468" y="458342"/>
                  </a:lnTo>
                  <a:lnTo>
                    <a:pt x="178615" y="457948"/>
                  </a:lnTo>
                  <a:lnTo>
                    <a:pt x="181370" y="455981"/>
                  </a:lnTo>
                  <a:lnTo>
                    <a:pt x="184124" y="456375"/>
                  </a:lnTo>
                  <a:lnTo>
                    <a:pt x="187271" y="455981"/>
                  </a:lnTo>
                  <a:lnTo>
                    <a:pt x="190025" y="458735"/>
                  </a:lnTo>
                  <a:lnTo>
                    <a:pt x="192779" y="456768"/>
                  </a:lnTo>
                  <a:lnTo>
                    <a:pt x="195926" y="455981"/>
                  </a:lnTo>
                  <a:lnTo>
                    <a:pt x="196713" y="455981"/>
                  </a:lnTo>
                  <a:lnTo>
                    <a:pt x="198287" y="455981"/>
                  </a:lnTo>
                  <a:lnTo>
                    <a:pt x="195533" y="456768"/>
                  </a:lnTo>
                  <a:lnTo>
                    <a:pt x="192779" y="457948"/>
                  </a:lnTo>
                  <a:lnTo>
                    <a:pt x="190025" y="460702"/>
                  </a:lnTo>
                  <a:lnTo>
                    <a:pt x="186878" y="459129"/>
                  </a:lnTo>
                  <a:lnTo>
                    <a:pt x="184124" y="458342"/>
                  </a:lnTo>
                  <a:lnTo>
                    <a:pt x="180976" y="457948"/>
                  </a:lnTo>
                  <a:lnTo>
                    <a:pt x="178222" y="459129"/>
                  </a:lnTo>
                  <a:lnTo>
                    <a:pt x="175468" y="459522"/>
                  </a:lnTo>
                  <a:lnTo>
                    <a:pt x="172321" y="461096"/>
                  </a:lnTo>
                  <a:lnTo>
                    <a:pt x="169173" y="462669"/>
                  </a:lnTo>
                  <a:lnTo>
                    <a:pt x="172321" y="463063"/>
                  </a:lnTo>
                  <a:lnTo>
                    <a:pt x="175468" y="462276"/>
                  </a:lnTo>
                  <a:lnTo>
                    <a:pt x="172321" y="463850"/>
                  </a:lnTo>
                  <a:lnTo>
                    <a:pt x="169173" y="464243"/>
                  </a:lnTo>
                  <a:lnTo>
                    <a:pt x="172321" y="465817"/>
                  </a:lnTo>
                  <a:lnTo>
                    <a:pt x="175075" y="465423"/>
                  </a:lnTo>
                  <a:lnTo>
                    <a:pt x="177829" y="464243"/>
                  </a:lnTo>
                  <a:lnTo>
                    <a:pt x="180583" y="461883"/>
                  </a:lnTo>
                  <a:lnTo>
                    <a:pt x="179796" y="464636"/>
                  </a:lnTo>
                  <a:lnTo>
                    <a:pt x="177042" y="465817"/>
                  </a:lnTo>
                  <a:lnTo>
                    <a:pt x="180189" y="465817"/>
                  </a:lnTo>
                  <a:lnTo>
                    <a:pt x="177435" y="467390"/>
                  </a:lnTo>
                  <a:lnTo>
                    <a:pt x="174288" y="469358"/>
                  </a:lnTo>
                  <a:lnTo>
                    <a:pt x="177042" y="470144"/>
                  </a:lnTo>
                  <a:lnTo>
                    <a:pt x="180189" y="468177"/>
                  </a:lnTo>
                  <a:lnTo>
                    <a:pt x="183337" y="465817"/>
                  </a:lnTo>
                  <a:lnTo>
                    <a:pt x="180583" y="468571"/>
                  </a:lnTo>
                  <a:lnTo>
                    <a:pt x="177435" y="470931"/>
                  </a:lnTo>
                  <a:lnTo>
                    <a:pt x="180583" y="470538"/>
                  </a:lnTo>
                  <a:lnTo>
                    <a:pt x="178615" y="473292"/>
                  </a:lnTo>
                  <a:lnTo>
                    <a:pt x="181763" y="472898"/>
                  </a:lnTo>
                  <a:lnTo>
                    <a:pt x="184517" y="472505"/>
                  </a:lnTo>
                  <a:lnTo>
                    <a:pt x="187271" y="470931"/>
                  </a:lnTo>
                  <a:lnTo>
                    <a:pt x="190418" y="470931"/>
                  </a:lnTo>
                  <a:lnTo>
                    <a:pt x="193172" y="469751"/>
                  </a:lnTo>
                  <a:lnTo>
                    <a:pt x="194746" y="466997"/>
                  </a:lnTo>
                  <a:lnTo>
                    <a:pt x="197500" y="465817"/>
                  </a:lnTo>
                  <a:lnTo>
                    <a:pt x="200647" y="465030"/>
                  </a:lnTo>
                  <a:lnTo>
                    <a:pt x="203401" y="464243"/>
                  </a:lnTo>
                  <a:lnTo>
                    <a:pt x="206549" y="463456"/>
                  </a:lnTo>
                  <a:lnTo>
                    <a:pt x="209696" y="463063"/>
                  </a:lnTo>
                  <a:lnTo>
                    <a:pt x="212450" y="462669"/>
                  </a:lnTo>
                  <a:lnTo>
                    <a:pt x="215204" y="463063"/>
                  </a:lnTo>
                  <a:lnTo>
                    <a:pt x="218352" y="463063"/>
                  </a:lnTo>
                  <a:lnTo>
                    <a:pt x="221105" y="464636"/>
                  </a:lnTo>
                  <a:lnTo>
                    <a:pt x="223860" y="464243"/>
                  </a:lnTo>
                  <a:lnTo>
                    <a:pt x="224646" y="464636"/>
                  </a:lnTo>
                  <a:lnTo>
                    <a:pt x="223466" y="466210"/>
                  </a:lnTo>
                  <a:lnTo>
                    <a:pt x="224646" y="466604"/>
                  </a:lnTo>
                  <a:lnTo>
                    <a:pt x="224646" y="466997"/>
                  </a:lnTo>
                  <a:lnTo>
                    <a:pt x="223073" y="466997"/>
                  </a:lnTo>
                  <a:lnTo>
                    <a:pt x="220319" y="465423"/>
                  </a:lnTo>
                  <a:lnTo>
                    <a:pt x="217565" y="464636"/>
                  </a:lnTo>
                  <a:lnTo>
                    <a:pt x="211270" y="464636"/>
                  </a:lnTo>
                  <a:lnTo>
                    <a:pt x="208516" y="465030"/>
                  </a:lnTo>
                  <a:lnTo>
                    <a:pt x="205368" y="465423"/>
                  </a:lnTo>
                  <a:lnTo>
                    <a:pt x="202615" y="465817"/>
                  </a:lnTo>
                  <a:lnTo>
                    <a:pt x="199467" y="466997"/>
                  </a:lnTo>
                  <a:lnTo>
                    <a:pt x="196713" y="469751"/>
                  </a:lnTo>
                  <a:lnTo>
                    <a:pt x="193566" y="471325"/>
                  </a:lnTo>
                  <a:lnTo>
                    <a:pt x="190418" y="472505"/>
                  </a:lnTo>
                  <a:lnTo>
                    <a:pt x="187664" y="472898"/>
                  </a:lnTo>
                  <a:lnTo>
                    <a:pt x="184517" y="474472"/>
                  </a:lnTo>
                  <a:lnTo>
                    <a:pt x="181763" y="474866"/>
                  </a:lnTo>
                  <a:lnTo>
                    <a:pt x="179009" y="476046"/>
                  </a:lnTo>
                  <a:lnTo>
                    <a:pt x="177435" y="479193"/>
                  </a:lnTo>
                  <a:lnTo>
                    <a:pt x="174681" y="481554"/>
                  </a:lnTo>
                  <a:lnTo>
                    <a:pt x="177435" y="479980"/>
                  </a:lnTo>
                  <a:lnTo>
                    <a:pt x="180583" y="477226"/>
                  </a:lnTo>
                  <a:lnTo>
                    <a:pt x="183337" y="478013"/>
                  </a:lnTo>
                  <a:lnTo>
                    <a:pt x="181370" y="480767"/>
                  </a:lnTo>
                  <a:lnTo>
                    <a:pt x="184124" y="479587"/>
                  </a:lnTo>
                  <a:lnTo>
                    <a:pt x="186878" y="478013"/>
                  </a:lnTo>
                  <a:lnTo>
                    <a:pt x="184124" y="479980"/>
                  </a:lnTo>
                  <a:lnTo>
                    <a:pt x="181370" y="482341"/>
                  </a:lnTo>
                  <a:lnTo>
                    <a:pt x="180976" y="485488"/>
                  </a:lnTo>
                  <a:lnTo>
                    <a:pt x="181763" y="488242"/>
                  </a:lnTo>
                  <a:lnTo>
                    <a:pt x="178615" y="489029"/>
                  </a:lnTo>
                  <a:lnTo>
                    <a:pt x="179009" y="491783"/>
                  </a:lnTo>
                  <a:lnTo>
                    <a:pt x="181763" y="491390"/>
                  </a:lnTo>
                  <a:lnTo>
                    <a:pt x="178615" y="492963"/>
                  </a:lnTo>
                  <a:lnTo>
                    <a:pt x="181763" y="492570"/>
                  </a:lnTo>
                  <a:lnTo>
                    <a:pt x="184517" y="490996"/>
                  </a:lnTo>
                  <a:lnTo>
                    <a:pt x="187664" y="488635"/>
                  </a:lnTo>
                  <a:lnTo>
                    <a:pt x="190418" y="486275"/>
                  </a:lnTo>
                  <a:lnTo>
                    <a:pt x="193172" y="487455"/>
                  </a:lnTo>
                  <a:lnTo>
                    <a:pt x="190418" y="489816"/>
                  </a:lnTo>
                  <a:lnTo>
                    <a:pt x="193566" y="488635"/>
                  </a:lnTo>
                  <a:lnTo>
                    <a:pt x="196320" y="487455"/>
                  </a:lnTo>
                  <a:lnTo>
                    <a:pt x="199467" y="487062"/>
                  </a:lnTo>
                  <a:lnTo>
                    <a:pt x="196320" y="488242"/>
                  </a:lnTo>
                  <a:lnTo>
                    <a:pt x="193566" y="489816"/>
                  </a:lnTo>
                  <a:lnTo>
                    <a:pt x="190812" y="490209"/>
                  </a:lnTo>
                  <a:lnTo>
                    <a:pt x="187664" y="490996"/>
                  </a:lnTo>
                  <a:lnTo>
                    <a:pt x="184910" y="491783"/>
                  </a:lnTo>
                  <a:lnTo>
                    <a:pt x="181763" y="493357"/>
                  </a:lnTo>
                  <a:lnTo>
                    <a:pt x="179009" y="494143"/>
                  </a:lnTo>
                  <a:lnTo>
                    <a:pt x="175861" y="495717"/>
                  </a:lnTo>
                  <a:lnTo>
                    <a:pt x="177435" y="498471"/>
                  </a:lnTo>
                  <a:lnTo>
                    <a:pt x="175861" y="501225"/>
                  </a:lnTo>
                  <a:lnTo>
                    <a:pt x="174288" y="503979"/>
                  </a:lnTo>
                  <a:lnTo>
                    <a:pt x="173108" y="506733"/>
                  </a:lnTo>
                  <a:lnTo>
                    <a:pt x="173108" y="509881"/>
                  </a:lnTo>
                  <a:lnTo>
                    <a:pt x="176255" y="509487"/>
                  </a:lnTo>
                  <a:lnTo>
                    <a:pt x="179402" y="507520"/>
                  </a:lnTo>
                  <a:lnTo>
                    <a:pt x="181763" y="504766"/>
                  </a:lnTo>
                  <a:lnTo>
                    <a:pt x="184910" y="503586"/>
                  </a:lnTo>
                  <a:lnTo>
                    <a:pt x="187664" y="502012"/>
                  </a:lnTo>
                  <a:lnTo>
                    <a:pt x="190418" y="499651"/>
                  </a:lnTo>
                  <a:lnTo>
                    <a:pt x="193172" y="496897"/>
                  </a:lnTo>
                  <a:lnTo>
                    <a:pt x="195926" y="494537"/>
                  </a:lnTo>
                  <a:lnTo>
                    <a:pt x="199074" y="493357"/>
                  </a:lnTo>
                  <a:lnTo>
                    <a:pt x="201828" y="493750"/>
                  </a:lnTo>
                  <a:lnTo>
                    <a:pt x="199074" y="494930"/>
                  </a:lnTo>
                  <a:lnTo>
                    <a:pt x="196320" y="497684"/>
                  </a:lnTo>
                  <a:lnTo>
                    <a:pt x="199467" y="497684"/>
                  </a:lnTo>
                  <a:lnTo>
                    <a:pt x="202615" y="496111"/>
                  </a:lnTo>
                  <a:lnTo>
                    <a:pt x="205762" y="495324"/>
                  </a:lnTo>
                  <a:lnTo>
                    <a:pt x="208909" y="493750"/>
                  </a:lnTo>
                  <a:lnTo>
                    <a:pt x="211663" y="492176"/>
                  </a:lnTo>
                  <a:lnTo>
                    <a:pt x="212057" y="489029"/>
                  </a:lnTo>
                  <a:lnTo>
                    <a:pt x="212450" y="486275"/>
                  </a:lnTo>
                  <a:lnTo>
                    <a:pt x="209696" y="485882"/>
                  </a:lnTo>
                  <a:lnTo>
                    <a:pt x="210090" y="483128"/>
                  </a:lnTo>
                  <a:lnTo>
                    <a:pt x="210483" y="479980"/>
                  </a:lnTo>
                  <a:lnTo>
                    <a:pt x="213631" y="481554"/>
                  </a:lnTo>
                  <a:lnTo>
                    <a:pt x="216385" y="480767"/>
                  </a:lnTo>
                  <a:lnTo>
                    <a:pt x="213631" y="481947"/>
                  </a:lnTo>
                  <a:lnTo>
                    <a:pt x="212450" y="485095"/>
                  </a:lnTo>
                  <a:lnTo>
                    <a:pt x="213237" y="487849"/>
                  </a:lnTo>
                  <a:lnTo>
                    <a:pt x="213631" y="490996"/>
                  </a:lnTo>
                  <a:lnTo>
                    <a:pt x="215991" y="493750"/>
                  </a:lnTo>
                  <a:lnTo>
                    <a:pt x="219138" y="494143"/>
                  </a:lnTo>
                  <a:lnTo>
                    <a:pt x="221892" y="492570"/>
                  </a:lnTo>
                  <a:lnTo>
                    <a:pt x="224646" y="491390"/>
                  </a:lnTo>
                  <a:lnTo>
                    <a:pt x="227794" y="490209"/>
                  </a:lnTo>
                  <a:lnTo>
                    <a:pt x="227794" y="490603"/>
                  </a:lnTo>
                  <a:lnTo>
                    <a:pt x="226220" y="490996"/>
                  </a:lnTo>
                  <a:lnTo>
                    <a:pt x="223466" y="492570"/>
                  </a:lnTo>
                  <a:lnTo>
                    <a:pt x="222286" y="495324"/>
                  </a:lnTo>
                  <a:lnTo>
                    <a:pt x="225433" y="494930"/>
                  </a:lnTo>
                  <a:lnTo>
                    <a:pt x="225040" y="495324"/>
                  </a:lnTo>
                  <a:lnTo>
                    <a:pt x="224253" y="495717"/>
                  </a:lnTo>
                  <a:lnTo>
                    <a:pt x="221499" y="498078"/>
                  </a:lnTo>
                  <a:lnTo>
                    <a:pt x="222679" y="500832"/>
                  </a:lnTo>
                  <a:lnTo>
                    <a:pt x="221499" y="502799"/>
                  </a:lnTo>
                  <a:lnTo>
                    <a:pt x="218745" y="501225"/>
                  </a:lnTo>
                  <a:lnTo>
                    <a:pt x="217958" y="498471"/>
                  </a:lnTo>
                  <a:lnTo>
                    <a:pt x="216778" y="495717"/>
                  </a:lnTo>
                  <a:lnTo>
                    <a:pt x="214024" y="494930"/>
                  </a:lnTo>
                  <a:lnTo>
                    <a:pt x="210876" y="495324"/>
                  </a:lnTo>
                  <a:lnTo>
                    <a:pt x="213631" y="495717"/>
                  </a:lnTo>
                  <a:lnTo>
                    <a:pt x="210876" y="497291"/>
                  </a:lnTo>
                  <a:lnTo>
                    <a:pt x="207729" y="496897"/>
                  </a:lnTo>
                  <a:lnTo>
                    <a:pt x="204975" y="497291"/>
                  </a:lnTo>
                  <a:lnTo>
                    <a:pt x="208122" y="498865"/>
                  </a:lnTo>
                  <a:lnTo>
                    <a:pt x="210876" y="500438"/>
                  </a:lnTo>
                  <a:lnTo>
                    <a:pt x="208122" y="501619"/>
                  </a:lnTo>
                  <a:lnTo>
                    <a:pt x="211270" y="503586"/>
                  </a:lnTo>
                  <a:lnTo>
                    <a:pt x="214024" y="503192"/>
                  </a:lnTo>
                  <a:lnTo>
                    <a:pt x="217171" y="502012"/>
                  </a:lnTo>
                  <a:lnTo>
                    <a:pt x="214024" y="504373"/>
                  </a:lnTo>
                  <a:lnTo>
                    <a:pt x="211270" y="504373"/>
                  </a:lnTo>
                  <a:lnTo>
                    <a:pt x="208516" y="503979"/>
                  </a:lnTo>
                  <a:lnTo>
                    <a:pt x="205368" y="503586"/>
                  </a:lnTo>
                  <a:lnTo>
                    <a:pt x="202221" y="503586"/>
                  </a:lnTo>
                  <a:lnTo>
                    <a:pt x="199074" y="505159"/>
                  </a:lnTo>
                  <a:lnTo>
                    <a:pt x="196320" y="507520"/>
                  </a:lnTo>
                  <a:lnTo>
                    <a:pt x="199074" y="508307"/>
                  </a:lnTo>
                  <a:lnTo>
                    <a:pt x="196320" y="509881"/>
                  </a:lnTo>
                  <a:lnTo>
                    <a:pt x="193566" y="509487"/>
                  </a:lnTo>
                  <a:lnTo>
                    <a:pt x="190812" y="510667"/>
                  </a:lnTo>
                  <a:lnTo>
                    <a:pt x="187664" y="511061"/>
                  </a:lnTo>
                  <a:lnTo>
                    <a:pt x="184910" y="509881"/>
                  </a:lnTo>
                  <a:lnTo>
                    <a:pt x="181763" y="509881"/>
                  </a:lnTo>
                  <a:lnTo>
                    <a:pt x="179009" y="510274"/>
                  </a:lnTo>
                  <a:lnTo>
                    <a:pt x="182156" y="510667"/>
                  </a:lnTo>
                  <a:lnTo>
                    <a:pt x="185304" y="511061"/>
                  </a:lnTo>
                  <a:lnTo>
                    <a:pt x="182550" y="511454"/>
                  </a:lnTo>
                  <a:lnTo>
                    <a:pt x="179402" y="513028"/>
                  </a:lnTo>
                  <a:lnTo>
                    <a:pt x="182550" y="514208"/>
                  </a:lnTo>
                  <a:lnTo>
                    <a:pt x="185304" y="513815"/>
                  </a:lnTo>
                  <a:lnTo>
                    <a:pt x="180583" y="515388"/>
                  </a:lnTo>
                  <a:lnTo>
                    <a:pt x="182943" y="518536"/>
                  </a:lnTo>
                  <a:lnTo>
                    <a:pt x="181763" y="520110"/>
                  </a:lnTo>
                  <a:lnTo>
                    <a:pt x="184517" y="520896"/>
                  </a:lnTo>
                  <a:lnTo>
                    <a:pt x="185304" y="522077"/>
                  </a:lnTo>
                  <a:lnTo>
                    <a:pt x="184910" y="522470"/>
                  </a:lnTo>
                  <a:lnTo>
                    <a:pt x="181763" y="522864"/>
                  </a:lnTo>
                  <a:lnTo>
                    <a:pt x="178615" y="523257"/>
                  </a:lnTo>
                  <a:lnTo>
                    <a:pt x="175861" y="524831"/>
                  </a:lnTo>
                  <a:lnTo>
                    <a:pt x="179009" y="524437"/>
                  </a:lnTo>
                  <a:lnTo>
                    <a:pt x="176255" y="525618"/>
                  </a:lnTo>
                  <a:lnTo>
                    <a:pt x="179009" y="527978"/>
                  </a:lnTo>
                  <a:lnTo>
                    <a:pt x="181370" y="530732"/>
                  </a:lnTo>
                  <a:lnTo>
                    <a:pt x="182943" y="527978"/>
                  </a:lnTo>
                  <a:lnTo>
                    <a:pt x="185697" y="526798"/>
                  </a:lnTo>
                  <a:lnTo>
                    <a:pt x="188845" y="527191"/>
                  </a:lnTo>
                  <a:lnTo>
                    <a:pt x="189238" y="527585"/>
                  </a:lnTo>
                  <a:lnTo>
                    <a:pt x="185304" y="527585"/>
                  </a:lnTo>
                  <a:lnTo>
                    <a:pt x="183337" y="530339"/>
                  </a:lnTo>
                  <a:lnTo>
                    <a:pt x="186091" y="530339"/>
                  </a:lnTo>
                  <a:lnTo>
                    <a:pt x="188845" y="529945"/>
                  </a:lnTo>
                  <a:lnTo>
                    <a:pt x="190025" y="529945"/>
                  </a:lnTo>
                  <a:lnTo>
                    <a:pt x="190025" y="530339"/>
                  </a:lnTo>
                  <a:lnTo>
                    <a:pt x="188845" y="530732"/>
                  </a:lnTo>
                  <a:lnTo>
                    <a:pt x="186091" y="531126"/>
                  </a:lnTo>
                  <a:lnTo>
                    <a:pt x="182943" y="531519"/>
                  </a:lnTo>
                  <a:lnTo>
                    <a:pt x="180189" y="532699"/>
                  </a:lnTo>
                  <a:lnTo>
                    <a:pt x="182943" y="533093"/>
                  </a:lnTo>
                  <a:lnTo>
                    <a:pt x="185697" y="535060"/>
                  </a:lnTo>
                  <a:lnTo>
                    <a:pt x="188845" y="535060"/>
                  </a:lnTo>
                  <a:lnTo>
                    <a:pt x="191598" y="534666"/>
                  </a:lnTo>
                  <a:lnTo>
                    <a:pt x="192779" y="534273"/>
                  </a:lnTo>
                  <a:lnTo>
                    <a:pt x="193172" y="535060"/>
                  </a:lnTo>
                  <a:lnTo>
                    <a:pt x="191598" y="535060"/>
                  </a:lnTo>
                  <a:lnTo>
                    <a:pt x="189238" y="535060"/>
                  </a:lnTo>
                  <a:lnTo>
                    <a:pt x="186091" y="535453"/>
                  </a:lnTo>
                  <a:lnTo>
                    <a:pt x="183337" y="535453"/>
                  </a:lnTo>
                  <a:lnTo>
                    <a:pt x="180583" y="535847"/>
                  </a:lnTo>
                  <a:lnTo>
                    <a:pt x="180189" y="538994"/>
                  </a:lnTo>
                  <a:lnTo>
                    <a:pt x="183337" y="540174"/>
                  </a:lnTo>
                  <a:lnTo>
                    <a:pt x="186091" y="538994"/>
                  </a:lnTo>
                  <a:lnTo>
                    <a:pt x="183337" y="540568"/>
                  </a:lnTo>
                  <a:lnTo>
                    <a:pt x="186091" y="540174"/>
                  </a:lnTo>
                  <a:lnTo>
                    <a:pt x="188845" y="539781"/>
                  </a:lnTo>
                  <a:lnTo>
                    <a:pt x="191992" y="539388"/>
                  </a:lnTo>
                  <a:lnTo>
                    <a:pt x="194746" y="540174"/>
                  </a:lnTo>
                  <a:lnTo>
                    <a:pt x="196713" y="539781"/>
                  </a:lnTo>
                  <a:lnTo>
                    <a:pt x="197107" y="540174"/>
                  </a:lnTo>
                  <a:lnTo>
                    <a:pt x="194746" y="540568"/>
                  </a:lnTo>
                  <a:lnTo>
                    <a:pt x="191992" y="542535"/>
                  </a:lnTo>
                  <a:lnTo>
                    <a:pt x="189238" y="543322"/>
                  </a:lnTo>
                  <a:lnTo>
                    <a:pt x="190025" y="546076"/>
                  </a:lnTo>
                  <a:lnTo>
                    <a:pt x="192779" y="547649"/>
                  </a:lnTo>
                  <a:lnTo>
                    <a:pt x="195533" y="546076"/>
                  </a:lnTo>
                  <a:lnTo>
                    <a:pt x="192779" y="549223"/>
                  </a:lnTo>
                  <a:lnTo>
                    <a:pt x="190812" y="551977"/>
                  </a:lnTo>
                  <a:lnTo>
                    <a:pt x="193959" y="550010"/>
                  </a:lnTo>
                  <a:lnTo>
                    <a:pt x="196713" y="547649"/>
                  </a:lnTo>
                  <a:lnTo>
                    <a:pt x="199861" y="547256"/>
                  </a:lnTo>
                  <a:lnTo>
                    <a:pt x="199074" y="547649"/>
                  </a:lnTo>
                  <a:lnTo>
                    <a:pt x="196320" y="549223"/>
                  </a:lnTo>
                  <a:lnTo>
                    <a:pt x="193566" y="551190"/>
                  </a:lnTo>
                  <a:lnTo>
                    <a:pt x="190812" y="553944"/>
                  </a:lnTo>
                  <a:lnTo>
                    <a:pt x="193566" y="553551"/>
                  </a:lnTo>
                  <a:lnTo>
                    <a:pt x="196320" y="552371"/>
                  </a:lnTo>
                  <a:lnTo>
                    <a:pt x="199467" y="550797"/>
                  </a:lnTo>
                  <a:lnTo>
                    <a:pt x="198680" y="551584"/>
                  </a:lnTo>
                  <a:lnTo>
                    <a:pt x="198287" y="551584"/>
                  </a:lnTo>
                  <a:lnTo>
                    <a:pt x="195139" y="553944"/>
                  </a:lnTo>
                  <a:lnTo>
                    <a:pt x="192385" y="555125"/>
                  </a:lnTo>
                  <a:lnTo>
                    <a:pt x="189631" y="557879"/>
                  </a:lnTo>
                  <a:lnTo>
                    <a:pt x="186878" y="561026"/>
                  </a:lnTo>
                  <a:lnTo>
                    <a:pt x="188845" y="563780"/>
                  </a:lnTo>
                  <a:lnTo>
                    <a:pt x="191598" y="566534"/>
                  </a:lnTo>
                  <a:lnTo>
                    <a:pt x="196713" y="573222"/>
                  </a:lnTo>
                  <a:lnTo>
                    <a:pt x="195926" y="573616"/>
                  </a:lnTo>
                  <a:lnTo>
                    <a:pt x="196713" y="573616"/>
                  </a:lnTo>
                  <a:lnTo>
                    <a:pt x="197500" y="574796"/>
                  </a:lnTo>
                  <a:lnTo>
                    <a:pt x="195533" y="576370"/>
                  </a:lnTo>
                  <a:lnTo>
                    <a:pt x="198287" y="575583"/>
                  </a:lnTo>
                  <a:lnTo>
                    <a:pt x="200647" y="578730"/>
                  </a:lnTo>
                  <a:lnTo>
                    <a:pt x="200254" y="579124"/>
                  </a:lnTo>
                  <a:lnTo>
                    <a:pt x="199074" y="581878"/>
                  </a:lnTo>
                  <a:lnTo>
                    <a:pt x="202221" y="580697"/>
                  </a:lnTo>
                  <a:lnTo>
                    <a:pt x="200254" y="583845"/>
                  </a:lnTo>
                  <a:lnTo>
                    <a:pt x="203008" y="583058"/>
                  </a:lnTo>
                  <a:lnTo>
                    <a:pt x="203401" y="582271"/>
                  </a:lnTo>
                  <a:lnTo>
                    <a:pt x="204188" y="583451"/>
                  </a:lnTo>
                  <a:lnTo>
                    <a:pt x="203795" y="584238"/>
                  </a:lnTo>
                  <a:lnTo>
                    <a:pt x="204975" y="584238"/>
                  </a:lnTo>
                  <a:lnTo>
                    <a:pt x="206155" y="585812"/>
                  </a:lnTo>
                  <a:lnTo>
                    <a:pt x="204582" y="587779"/>
                  </a:lnTo>
                  <a:lnTo>
                    <a:pt x="207336" y="588172"/>
                  </a:lnTo>
                  <a:lnTo>
                    <a:pt x="207336" y="588172"/>
                  </a:lnTo>
                  <a:lnTo>
                    <a:pt x="208122" y="588959"/>
                  </a:lnTo>
                  <a:lnTo>
                    <a:pt x="207729" y="588959"/>
                  </a:lnTo>
                  <a:lnTo>
                    <a:pt x="204582" y="588959"/>
                  </a:lnTo>
                  <a:lnTo>
                    <a:pt x="201828" y="588566"/>
                  </a:lnTo>
                  <a:lnTo>
                    <a:pt x="199074" y="590139"/>
                  </a:lnTo>
                  <a:lnTo>
                    <a:pt x="201828" y="591713"/>
                  </a:lnTo>
                  <a:lnTo>
                    <a:pt x="204975" y="592107"/>
                  </a:lnTo>
                  <a:lnTo>
                    <a:pt x="207729" y="591713"/>
                  </a:lnTo>
                  <a:lnTo>
                    <a:pt x="210090" y="590926"/>
                  </a:lnTo>
                  <a:lnTo>
                    <a:pt x="210876" y="591713"/>
                  </a:lnTo>
                  <a:lnTo>
                    <a:pt x="210876" y="591713"/>
                  </a:lnTo>
                  <a:lnTo>
                    <a:pt x="208122" y="592107"/>
                  </a:lnTo>
                  <a:lnTo>
                    <a:pt x="204975" y="592894"/>
                  </a:lnTo>
                  <a:lnTo>
                    <a:pt x="202221" y="595254"/>
                  </a:lnTo>
                  <a:lnTo>
                    <a:pt x="204975" y="593680"/>
                  </a:lnTo>
                  <a:lnTo>
                    <a:pt x="207729" y="594074"/>
                  </a:lnTo>
                  <a:lnTo>
                    <a:pt x="210483" y="594074"/>
                  </a:lnTo>
                  <a:lnTo>
                    <a:pt x="213237" y="594467"/>
                  </a:lnTo>
                  <a:lnTo>
                    <a:pt x="215991" y="595254"/>
                  </a:lnTo>
                  <a:lnTo>
                    <a:pt x="212844" y="597221"/>
                  </a:lnTo>
                  <a:lnTo>
                    <a:pt x="210090" y="597221"/>
                  </a:lnTo>
                  <a:lnTo>
                    <a:pt x="210483" y="599975"/>
                  </a:lnTo>
                  <a:lnTo>
                    <a:pt x="213631" y="599975"/>
                  </a:lnTo>
                  <a:lnTo>
                    <a:pt x="216385" y="599188"/>
                  </a:lnTo>
                  <a:lnTo>
                    <a:pt x="214024" y="601942"/>
                  </a:lnTo>
                  <a:lnTo>
                    <a:pt x="217171" y="601549"/>
                  </a:lnTo>
                  <a:lnTo>
                    <a:pt x="217565" y="598795"/>
                  </a:lnTo>
                  <a:lnTo>
                    <a:pt x="220712" y="596434"/>
                  </a:lnTo>
                  <a:lnTo>
                    <a:pt x="223466" y="596041"/>
                  </a:lnTo>
                  <a:lnTo>
                    <a:pt x="223860" y="596041"/>
                  </a:lnTo>
                  <a:lnTo>
                    <a:pt x="226220" y="596434"/>
                  </a:lnTo>
                  <a:lnTo>
                    <a:pt x="223466" y="596828"/>
                  </a:lnTo>
                  <a:lnTo>
                    <a:pt x="220712" y="599188"/>
                  </a:lnTo>
                  <a:lnTo>
                    <a:pt x="217958" y="600762"/>
                  </a:lnTo>
                  <a:lnTo>
                    <a:pt x="220319" y="603516"/>
                  </a:lnTo>
                  <a:lnTo>
                    <a:pt x="223073" y="603123"/>
                  </a:lnTo>
                  <a:lnTo>
                    <a:pt x="225827" y="602336"/>
                  </a:lnTo>
                  <a:lnTo>
                    <a:pt x="224646" y="605483"/>
                  </a:lnTo>
                  <a:lnTo>
                    <a:pt x="221499" y="605483"/>
                  </a:lnTo>
                  <a:lnTo>
                    <a:pt x="218745" y="605877"/>
                  </a:lnTo>
                  <a:lnTo>
                    <a:pt x="215598" y="606270"/>
                  </a:lnTo>
                  <a:lnTo>
                    <a:pt x="212844" y="607450"/>
                  </a:lnTo>
                  <a:lnTo>
                    <a:pt x="215598" y="607450"/>
                  </a:lnTo>
                  <a:lnTo>
                    <a:pt x="218745" y="607844"/>
                  </a:lnTo>
                  <a:lnTo>
                    <a:pt x="221499" y="607057"/>
                  </a:lnTo>
                  <a:lnTo>
                    <a:pt x="227007" y="607057"/>
                  </a:lnTo>
                  <a:lnTo>
                    <a:pt x="224253" y="608237"/>
                  </a:lnTo>
                  <a:lnTo>
                    <a:pt x="221105" y="609417"/>
                  </a:lnTo>
                  <a:lnTo>
                    <a:pt x="217958" y="609811"/>
                  </a:lnTo>
                  <a:lnTo>
                    <a:pt x="215204" y="610991"/>
                  </a:lnTo>
                  <a:lnTo>
                    <a:pt x="212450" y="612565"/>
                  </a:lnTo>
                  <a:lnTo>
                    <a:pt x="215204" y="612565"/>
                  </a:lnTo>
                  <a:lnTo>
                    <a:pt x="217958" y="611778"/>
                  </a:lnTo>
                  <a:lnTo>
                    <a:pt x="221105" y="612171"/>
                  </a:lnTo>
                  <a:lnTo>
                    <a:pt x="224253" y="612565"/>
                  </a:lnTo>
                  <a:lnTo>
                    <a:pt x="227007" y="612958"/>
                  </a:lnTo>
                  <a:lnTo>
                    <a:pt x="230154" y="612565"/>
                  </a:lnTo>
                  <a:lnTo>
                    <a:pt x="232908" y="610598"/>
                  </a:lnTo>
                  <a:lnTo>
                    <a:pt x="230154" y="610991"/>
                  </a:lnTo>
                  <a:lnTo>
                    <a:pt x="227007" y="611385"/>
                  </a:lnTo>
                  <a:lnTo>
                    <a:pt x="224253" y="610598"/>
                  </a:lnTo>
                  <a:lnTo>
                    <a:pt x="227007" y="610204"/>
                  </a:lnTo>
                  <a:lnTo>
                    <a:pt x="230154" y="609811"/>
                  </a:lnTo>
                  <a:lnTo>
                    <a:pt x="233302" y="609417"/>
                  </a:lnTo>
                  <a:lnTo>
                    <a:pt x="236056" y="609024"/>
                  </a:lnTo>
                  <a:lnTo>
                    <a:pt x="238810" y="609417"/>
                  </a:lnTo>
                  <a:lnTo>
                    <a:pt x="241957" y="609417"/>
                  </a:lnTo>
                  <a:lnTo>
                    <a:pt x="244711" y="609811"/>
                  </a:lnTo>
                  <a:lnTo>
                    <a:pt x="241564" y="612171"/>
                  </a:lnTo>
                  <a:lnTo>
                    <a:pt x="244711" y="613745"/>
                  </a:lnTo>
                  <a:lnTo>
                    <a:pt x="247465" y="612565"/>
                  </a:lnTo>
                  <a:lnTo>
                    <a:pt x="247072" y="609417"/>
                  </a:lnTo>
                  <a:lnTo>
                    <a:pt x="249826" y="609811"/>
                  </a:lnTo>
                  <a:lnTo>
                    <a:pt x="252580" y="609811"/>
                  </a:lnTo>
                  <a:lnTo>
                    <a:pt x="254153" y="607057"/>
                  </a:lnTo>
                  <a:lnTo>
                    <a:pt x="256907" y="605877"/>
                  </a:lnTo>
                  <a:lnTo>
                    <a:pt x="260055" y="605483"/>
                  </a:lnTo>
                  <a:lnTo>
                    <a:pt x="261629" y="608237"/>
                  </a:lnTo>
                  <a:lnTo>
                    <a:pt x="264382" y="606663"/>
                  </a:lnTo>
                  <a:lnTo>
                    <a:pt x="261629" y="605090"/>
                  </a:lnTo>
                  <a:lnTo>
                    <a:pt x="264382" y="605877"/>
                  </a:lnTo>
                  <a:lnTo>
                    <a:pt x="267136" y="605877"/>
                  </a:lnTo>
                  <a:lnTo>
                    <a:pt x="269890" y="604303"/>
                  </a:lnTo>
                  <a:lnTo>
                    <a:pt x="269890" y="603909"/>
                  </a:lnTo>
                  <a:lnTo>
                    <a:pt x="274612" y="604696"/>
                  </a:lnTo>
                  <a:lnTo>
                    <a:pt x="273431" y="605877"/>
                  </a:lnTo>
                  <a:lnTo>
                    <a:pt x="270677" y="606270"/>
                  </a:lnTo>
                  <a:lnTo>
                    <a:pt x="267530" y="607057"/>
                  </a:lnTo>
                  <a:lnTo>
                    <a:pt x="265956" y="610204"/>
                  </a:lnTo>
                  <a:lnTo>
                    <a:pt x="269104" y="609024"/>
                  </a:lnTo>
                  <a:lnTo>
                    <a:pt x="271858" y="608631"/>
                  </a:lnTo>
                  <a:lnTo>
                    <a:pt x="274612" y="607450"/>
                  </a:lnTo>
                  <a:lnTo>
                    <a:pt x="277759" y="605877"/>
                  </a:lnTo>
                  <a:lnTo>
                    <a:pt x="278939" y="605090"/>
                  </a:lnTo>
                  <a:lnTo>
                    <a:pt x="282480" y="605483"/>
                  </a:lnTo>
                  <a:lnTo>
                    <a:pt x="282087" y="605483"/>
                  </a:lnTo>
                  <a:lnTo>
                    <a:pt x="279333" y="607450"/>
                  </a:lnTo>
                  <a:lnTo>
                    <a:pt x="276579" y="608631"/>
                  </a:lnTo>
                  <a:lnTo>
                    <a:pt x="273431" y="609024"/>
                  </a:lnTo>
                  <a:lnTo>
                    <a:pt x="270677" y="609417"/>
                  </a:lnTo>
                  <a:lnTo>
                    <a:pt x="267923" y="609811"/>
                  </a:lnTo>
                  <a:lnTo>
                    <a:pt x="264776" y="610598"/>
                  </a:lnTo>
                  <a:lnTo>
                    <a:pt x="261629" y="612565"/>
                  </a:lnTo>
                  <a:lnTo>
                    <a:pt x="264776" y="611385"/>
                  </a:lnTo>
                  <a:lnTo>
                    <a:pt x="267530" y="611385"/>
                  </a:lnTo>
                  <a:lnTo>
                    <a:pt x="264382" y="612565"/>
                  </a:lnTo>
                  <a:lnTo>
                    <a:pt x="261629" y="613352"/>
                  </a:lnTo>
                  <a:lnTo>
                    <a:pt x="258875" y="614925"/>
                  </a:lnTo>
                  <a:lnTo>
                    <a:pt x="261629" y="615712"/>
                  </a:lnTo>
                  <a:lnTo>
                    <a:pt x="264382" y="612958"/>
                  </a:lnTo>
                  <a:lnTo>
                    <a:pt x="267136" y="611778"/>
                  </a:lnTo>
                  <a:lnTo>
                    <a:pt x="270284" y="612171"/>
                  </a:lnTo>
                  <a:lnTo>
                    <a:pt x="267136" y="614532"/>
                  </a:lnTo>
                  <a:lnTo>
                    <a:pt x="269890" y="614139"/>
                  </a:lnTo>
                  <a:lnTo>
                    <a:pt x="273038" y="612565"/>
                  </a:lnTo>
                  <a:lnTo>
                    <a:pt x="276185" y="610991"/>
                  </a:lnTo>
                  <a:lnTo>
                    <a:pt x="281693" y="607057"/>
                  </a:lnTo>
                  <a:lnTo>
                    <a:pt x="282480" y="609417"/>
                  </a:lnTo>
                  <a:lnTo>
                    <a:pt x="282480" y="609811"/>
                  </a:lnTo>
                  <a:lnTo>
                    <a:pt x="279726" y="610204"/>
                  </a:lnTo>
                  <a:lnTo>
                    <a:pt x="276579" y="611778"/>
                  </a:lnTo>
                  <a:lnTo>
                    <a:pt x="273825" y="613352"/>
                  </a:lnTo>
                  <a:lnTo>
                    <a:pt x="271071" y="614925"/>
                  </a:lnTo>
                  <a:lnTo>
                    <a:pt x="267923" y="616892"/>
                  </a:lnTo>
                  <a:lnTo>
                    <a:pt x="270677" y="616892"/>
                  </a:lnTo>
                  <a:lnTo>
                    <a:pt x="267923" y="617679"/>
                  </a:lnTo>
                  <a:lnTo>
                    <a:pt x="265169" y="618860"/>
                  </a:lnTo>
                  <a:lnTo>
                    <a:pt x="262022" y="620433"/>
                  </a:lnTo>
                  <a:lnTo>
                    <a:pt x="264776" y="620827"/>
                  </a:lnTo>
                  <a:lnTo>
                    <a:pt x="267530" y="618466"/>
                  </a:lnTo>
                  <a:lnTo>
                    <a:pt x="270677" y="618073"/>
                  </a:lnTo>
                  <a:lnTo>
                    <a:pt x="267923" y="620040"/>
                  </a:lnTo>
                  <a:lnTo>
                    <a:pt x="270677" y="620040"/>
                  </a:lnTo>
                  <a:lnTo>
                    <a:pt x="270284" y="622794"/>
                  </a:lnTo>
                  <a:lnTo>
                    <a:pt x="273038" y="620433"/>
                  </a:lnTo>
                  <a:lnTo>
                    <a:pt x="275792" y="618073"/>
                  </a:lnTo>
                  <a:lnTo>
                    <a:pt x="278546" y="617286"/>
                  </a:lnTo>
                  <a:lnTo>
                    <a:pt x="281300" y="617286"/>
                  </a:lnTo>
                  <a:lnTo>
                    <a:pt x="278546" y="618073"/>
                  </a:lnTo>
                  <a:lnTo>
                    <a:pt x="275792" y="619646"/>
                  </a:lnTo>
                  <a:lnTo>
                    <a:pt x="273038" y="622400"/>
                  </a:lnTo>
                  <a:lnTo>
                    <a:pt x="276185" y="621220"/>
                  </a:lnTo>
                  <a:lnTo>
                    <a:pt x="278939" y="619646"/>
                  </a:lnTo>
                  <a:lnTo>
                    <a:pt x="282087" y="618466"/>
                  </a:lnTo>
                  <a:lnTo>
                    <a:pt x="278939" y="620433"/>
                  </a:lnTo>
                  <a:lnTo>
                    <a:pt x="276579" y="623187"/>
                  </a:lnTo>
                  <a:lnTo>
                    <a:pt x="279333" y="623187"/>
                  </a:lnTo>
                  <a:lnTo>
                    <a:pt x="282087" y="622794"/>
                  </a:lnTo>
                  <a:lnTo>
                    <a:pt x="282087" y="622794"/>
                  </a:lnTo>
                  <a:lnTo>
                    <a:pt x="282087" y="623581"/>
                  </a:lnTo>
                  <a:lnTo>
                    <a:pt x="279333" y="625941"/>
                  </a:lnTo>
                  <a:lnTo>
                    <a:pt x="282087" y="624368"/>
                  </a:lnTo>
                  <a:lnTo>
                    <a:pt x="282087" y="625154"/>
                  </a:lnTo>
                  <a:lnTo>
                    <a:pt x="280906" y="626335"/>
                  </a:lnTo>
                  <a:lnTo>
                    <a:pt x="278152" y="628302"/>
                  </a:lnTo>
                  <a:lnTo>
                    <a:pt x="280906" y="627122"/>
                  </a:lnTo>
                  <a:lnTo>
                    <a:pt x="282087" y="625941"/>
                  </a:lnTo>
                  <a:lnTo>
                    <a:pt x="282087" y="626728"/>
                  </a:lnTo>
                  <a:lnTo>
                    <a:pt x="280119" y="628302"/>
                  </a:lnTo>
                  <a:lnTo>
                    <a:pt x="277366" y="629876"/>
                  </a:lnTo>
                  <a:lnTo>
                    <a:pt x="275792" y="633023"/>
                  </a:lnTo>
                  <a:lnTo>
                    <a:pt x="278546" y="631843"/>
                  </a:lnTo>
                  <a:lnTo>
                    <a:pt x="281300" y="631449"/>
                  </a:lnTo>
                  <a:lnTo>
                    <a:pt x="282087" y="631056"/>
                  </a:lnTo>
                  <a:lnTo>
                    <a:pt x="282087" y="632236"/>
                  </a:lnTo>
                  <a:lnTo>
                    <a:pt x="281300" y="632236"/>
                  </a:lnTo>
                  <a:lnTo>
                    <a:pt x="278546" y="632630"/>
                  </a:lnTo>
                  <a:lnTo>
                    <a:pt x="275792" y="634203"/>
                  </a:lnTo>
                  <a:lnTo>
                    <a:pt x="278546" y="636564"/>
                  </a:lnTo>
                  <a:lnTo>
                    <a:pt x="281300" y="634597"/>
                  </a:lnTo>
                  <a:lnTo>
                    <a:pt x="282480" y="637351"/>
                  </a:lnTo>
                  <a:lnTo>
                    <a:pt x="284054" y="637351"/>
                  </a:lnTo>
                  <a:lnTo>
                    <a:pt x="284447" y="637351"/>
                  </a:lnTo>
                  <a:lnTo>
                    <a:pt x="285628" y="637351"/>
                  </a:lnTo>
                  <a:lnTo>
                    <a:pt x="287988" y="637351"/>
                  </a:lnTo>
                  <a:lnTo>
                    <a:pt x="290742" y="635384"/>
                  </a:lnTo>
                  <a:lnTo>
                    <a:pt x="289562" y="637351"/>
                  </a:lnTo>
                  <a:lnTo>
                    <a:pt x="290349" y="637351"/>
                  </a:lnTo>
                  <a:lnTo>
                    <a:pt x="291136" y="637351"/>
                  </a:lnTo>
                  <a:lnTo>
                    <a:pt x="291922" y="637351"/>
                  </a:lnTo>
                  <a:lnTo>
                    <a:pt x="292709" y="637351"/>
                  </a:lnTo>
                  <a:lnTo>
                    <a:pt x="293889" y="637351"/>
                  </a:lnTo>
                  <a:lnTo>
                    <a:pt x="297037" y="635777"/>
                  </a:lnTo>
                  <a:lnTo>
                    <a:pt x="294283" y="633023"/>
                  </a:lnTo>
                  <a:lnTo>
                    <a:pt x="293103" y="633416"/>
                  </a:lnTo>
                  <a:lnTo>
                    <a:pt x="294676" y="632236"/>
                  </a:lnTo>
                  <a:lnTo>
                    <a:pt x="295857" y="632236"/>
                  </a:lnTo>
                  <a:lnTo>
                    <a:pt x="298611" y="629876"/>
                  </a:lnTo>
                  <a:lnTo>
                    <a:pt x="298611" y="629482"/>
                  </a:lnTo>
                  <a:lnTo>
                    <a:pt x="300971" y="627908"/>
                  </a:lnTo>
                  <a:lnTo>
                    <a:pt x="302151" y="628695"/>
                  </a:lnTo>
                  <a:lnTo>
                    <a:pt x="304119" y="625941"/>
                  </a:lnTo>
                  <a:lnTo>
                    <a:pt x="303332" y="628695"/>
                  </a:lnTo>
                  <a:lnTo>
                    <a:pt x="300971" y="631449"/>
                  </a:lnTo>
                  <a:lnTo>
                    <a:pt x="303725" y="631843"/>
                  </a:lnTo>
                  <a:lnTo>
                    <a:pt x="306086" y="632236"/>
                  </a:lnTo>
                  <a:lnTo>
                    <a:pt x="303332" y="631843"/>
                  </a:lnTo>
                  <a:lnTo>
                    <a:pt x="300578" y="633810"/>
                  </a:lnTo>
                  <a:lnTo>
                    <a:pt x="303332" y="635384"/>
                  </a:lnTo>
                  <a:lnTo>
                    <a:pt x="306479" y="635777"/>
                  </a:lnTo>
                  <a:lnTo>
                    <a:pt x="303332" y="636957"/>
                  </a:lnTo>
                  <a:lnTo>
                    <a:pt x="304119" y="637351"/>
                  </a:lnTo>
                  <a:lnTo>
                    <a:pt x="307266" y="638531"/>
                  </a:lnTo>
                  <a:lnTo>
                    <a:pt x="310020" y="639711"/>
                  </a:lnTo>
                  <a:lnTo>
                    <a:pt x="313167" y="636957"/>
                  </a:lnTo>
                  <a:lnTo>
                    <a:pt x="313167" y="634597"/>
                  </a:lnTo>
                  <a:lnTo>
                    <a:pt x="316315" y="635777"/>
                  </a:lnTo>
                  <a:lnTo>
                    <a:pt x="319462" y="636957"/>
                  </a:lnTo>
                  <a:lnTo>
                    <a:pt x="321429" y="636957"/>
                  </a:lnTo>
                  <a:lnTo>
                    <a:pt x="321036" y="634990"/>
                  </a:lnTo>
                  <a:lnTo>
                    <a:pt x="318282" y="634597"/>
                  </a:lnTo>
                  <a:lnTo>
                    <a:pt x="315135" y="634203"/>
                  </a:lnTo>
                  <a:lnTo>
                    <a:pt x="311987" y="633810"/>
                  </a:lnTo>
                  <a:lnTo>
                    <a:pt x="309233" y="633023"/>
                  </a:lnTo>
                  <a:lnTo>
                    <a:pt x="306873" y="632630"/>
                  </a:lnTo>
                  <a:lnTo>
                    <a:pt x="309626" y="632236"/>
                  </a:lnTo>
                  <a:lnTo>
                    <a:pt x="312774" y="633023"/>
                  </a:lnTo>
                  <a:lnTo>
                    <a:pt x="315528" y="633416"/>
                  </a:lnTo>
                  <a:lnTo>
                    <a:pt x="318675" y="634203"/>
                  </a:lnTo>
                  <a:lnTo>
                    <a:pt x="321429" y="634597"/>
                  </a:lnTo>
                  <a:lnTo>
                    <a:pt x="324183" y="633416"/>
                  </a:lnTo>
                  <a:lnTo>
                    <a:pt x="322610" y="630662"/>
                  </a:lnTo>
                  <a:lnTo>
                    <a:pt x="319856" y="630662"/>
                  </a:lnTo>
                  <a:lnTo>
                    <a:pt x="322610" y="629482"/>
                  </a:lnTo>
                  <a:lnTo>
                    <a:pt x="325757" y="629482"/>
                  </a:lnTo>
                  <a:lnTo>
                    <a:pt x="323790" y="626728"/>
                  </a:lnTo>
                  <a:lnTo>
                    <a:pt x="321036" y="625941"/>
                  </a:lnTo>
                  <a:lnTo>
                    <a:pt x="323790" y="624761"/>
                  </a:lnTo>
                  <a:lnTo>
                    <a:pt x="321036" y="625154"/>
                  </a:lnTo>
                  <a:lnTo>
                    <a:pt x="318282" y="626335"/>
                  </a:lnTo>
                  <a:lnTo>
                    <a:pt x="315135" y="627122"/>
                  </a:lnTo>
                  <a:lnTo>
                    <a:pt x="318282" y="625154"/>
                  </a:lnTo>
                  <a:lnTo>
                    <a:pt x="320643" y="622400"/>
                  </a:lnTo>
                  <a:lnTo>
                    <a:pt x="317495" y="621614"/>
                  </a:lnTo>
                  <a:lnTo>
                    <a:pt x="314741" y="621220"/>
                  </a:lnTo>
                  <a:lnTo>
                    <a:pt x="311987" y="620827"/>
                  </a:lnTo>
                  <a:lnTo>
                    <a:pt x="311594" y="620827"/>
                  </a:lnTo>
                  <a:lnTo>
                    <a:pt x="313167" y="619646"/>
                  </a:lnTo>
                  <a:lnTo>
                    <a:pt x="314741" y="620040"/>
                  </a:lnTo>
                  <a:lnTo>
                    <a:pt x="317495" y="617679"/>
                  </a:lnTo>
                  <a:lnTo>
                    <a:pt x="319069" y="620433"/>
                  </a:lnTo>
                  <a:lnTo>
                    <a:pt x="321823" y="621220"/>
                  </a:lnTo>
                  <a:lnTo>
                    <a:pt x="324577" y="622400"/>
                  </a:lnTo>
                  <a:lnTo>
                    <a:pt x="327724" y="622007"/>
                  </a:lnTo>
                  <a:lnTo>
                    <a:pt x="324577" y="620433"/>
                  </a:lnTo>
                  <a:lnTo>
                    <a:pt x="327724" y="620827"/>
                  </a:lnTo>
                  <a:lnTo>
                    <a:pt x="330478" y="620433"/>
                  </a:lnTo>
                  <a:lnTo>
                    <a:pt x="333232" y="620040"/>
                  </a:lnTo>
                  <a:lnTo>
                    <a:pt x="336380" y="619253"/>
                  </a:lnTo>
                  <a:lnTo>
                    <a:pt x="333232" y="618860"/>
                  </a:lnTo>
                  <a:lnTo>
                    <a:pt x="330478" y="618466"/>
                  </a:lnTo>
                  <a:lnTo>
                    <a:pt x="333232" y="618860"/>
                  </a:lnTo>
                  <a:lnTo>
                    <a:pt x="336380" y="618466"/>
                  </a:lnTo>
                  <a:lnTo>
                    <a:pt x="339133" y="616106"/>
                  </a:lnTo>
                  <a:lnTo>
                    <a:pt x="336380" y="617286"/>
                  </a:lnTo>
                  <a:lnTo>
                    <a:pt x="333626" y="618073"/>
                  </a:lnTo>
                  <a:lnTo>
                    <a:pt x="330478" y="617679"/>
                  </a:lnTo>
                  <a:lnTo>
                    <a:pt x="327724" y="616892"/>
                  </a:lnTo>
                  <a:lnTo>
                    <a:pt x="330478" y="617286"/>
                  </a:lnTo>
                  <a:lnTo>
                    <a:pt x="333232" y="617679"/>
                  </a:lnTo>
                  <a:lnTo>
                    <a:pt x="335986" y="617286"/>
                  </a:lnTo>
                  <a:lnTo>
                    <a:pt x="337560" y="614139"/>
                  </a:lnTo>
                  <a:lnTo>
                    <a:pt x="334806" y="613352"/>
                  </a:lnTo>
                  <a:lnTo>
                    <a:pt x="331658" y="613352"/>
                  </a:lnTo>
                  <a:lnTo>
                    <a:pt x="328904" y="612958"/>
                  </a:lnTo>
                  <a:lnTo>
                    <a:pt x="326150" y="612171"/>
                  </a:lnTo>
                  <a:lnTo>
                    <a:pt x="328904" y="612565"/>
                  </a:lnTo>
                  <a:lnTo>
                    <a:pt x="331658" y="612565"/>
                  </a:lnTo>
                  <a:lnTo>
                    <a:pt x="334806" y="613352"/>
                  </a:lnTo>
                  <a:lnTo>
                    <a:pt x="337560" y="613745"/>
                  </a:lnTo>
                  <a:lnTo>
                    <a:pt x="340707" y="612958"/>
                  </a:lnTo>
                  <a:lnTo>
                    <a:pt x="337953" y="612171"/>
                  </a:lnTo>
                  <a:lnTo>
                    <a:pt x="334806" y="611778"/>
                  </a:lnTo>
                  <a:lnTo>
                    <a:pt x="332052" y="610991"/>
                  </a:lnTo>
                  <a:lnTo>
                    <a:pt x="329298" y="610598"/>
                  </a:lnTo>
                  <a:lnTo>
                    <a:pt x="328511" y="610204"/>
                  </a:lnTo>
                  <a:lnTo>
                    <a:pt x="328904" y="609811"/>
                  </a:lnTo>
                  <a:lnTo>
                    <a:pt x="329298" y="609811"/>
                  </a:lnTo>
                  <a:lnTo>
                    <a:pt x="332052" y="610204"/>
                  </a:lnTo>
                  <a:lnTo>
                    <a:pt x="334806" y="610598"/>
                  </a:lnTo>
                  <a:lnTo>
                    <a:pt x="337953" y="610204"/>
                  </a:lnTo>
                  <a:lnTo>
                    <a:pt x="341101" y="609811"/>
                  </a:lnTo>
                  <a:lnTo>
                    <a:pt x="342674" y="607057"/>
                  </a:lnTo>
                  <a:lnTo>
                    <a:pt x="345428" y="605483"/>
                  </a:lnTo>
                  <a:lnTo>
                    <a:pt x="342674" y="605877"/>
                  </a:lnTo>
                  <a:lnTo>
                    <a:pt x="339920" y="605483"/>
                  </a:lnTo>
                  <a:lnTo>
                    <a:pt x="336773" y="605090"/>
                  </a:lnTo>
                  <a:lnTo>
                    <a:pt x="337560" y="604303"/>
                  </a:lnTo>
                  <a:lnTo>
                    <a:pt x="340314" y="604696"/>
                  </a:lnTo>
                  <a:lnTo>
                    <a:pt x="343461" y="604696"/>
                  </a:lnTo>
                  <a:lnTo>
                    <a:pt x="346215" y="603516"/>
                  </a:lnTo>
                  <a:lnTo>
                    <a:pt x="343068" y="602729"/>
                  </a:lnTo>
                  <a:lnTo>
                    <a:pt x="340314" y="602336"/>
                  </a:lnTo>
                  <a:lnTo>
                    <a:pt x="339920" y="602336"/>
                  </a:lnTo>
                  <a:lnTo>
                    <a:pt x="340314" y="601942"/>
                  </a:lnTo>
                  <a:lnTo>
                    <a:pt x="343068" y="601942"/>
                  </a:lnTo>
                  <a:lnTo>
                    <a:pt x="346215" y="602729"/>
                  </a:lnTo>
                  <a:lnTo>
                    <a:pt x="348969" y="600369"/>
                  </a:lnTo>
                  <a:lnTo>
                    <a:pt x="346215" y="600762"/>
                  </a:lnTo>
                  <a:lnTo>
                    <a:pt x="343461" y="600762"/>
                  </a:lnTo>
                  <a:lnTo>
                    <a:pt x="346215" y="599582"/>
                  </a:lnTo>
                  <a:lnTo>
                    <a:pt x="343461" y="598795"/>
                  </a:lnTo>
                  <a:lnTo>
                    <a:pt x="343461" y="598795"/>
                  </a:lnTo>
                  <a:lnTo>
                    <a:pt x="343855" y="598401"/>
                  </a:lnTo>
                  <a:lnTo>
                    <a:pt x="346215" y="598795"/>
                  </a:lnTo>
                  <a:lnTo>
                    <a:pt x="348969" y="599188"/>
                  </a:lnTo>
                  <a:lnTo>
                    <a:pt x="351723" y="598008"/>
                  </a:lnTo>
                  <a:lnTo>
                    <a:pt x="354477" y="595647"/>
                  </a:lnTo>
                  <a:lnTo>
                    <a:pt x="354870" y="592500"/>
                  </a:lnTo>
                  <a:lnTo>
                    <a:pt x="349756" y="592500"/>
                  </a:lnTo>
                  <a:lnTo>
                    <a:pt x="350543" y="591713"/>
                  </a:lnTo>
                  <a:lnTo>
                    <a:pt x="352510" y="591713"/>
                  </a:lnTo>
                  <a:lnTo>
                    <a:pt x="355264" y="592107"/>
                  </a:lnTo>
                  <a:lnTo>
                    <a:pt x="358411" y="591320"/>
                  </a:lnTo>
                  <a:lnTo>
                    <a:pt x="359985" y="588566"/>
                  </a:lnTo>
                  <a:lnTo>
                    <a:pt x="362739" y="586992"/>
                  </a:lnTo>
                  <a:lnTo>
                    <a:pt x="359985" y="588172"/>
                  </a:lnTo>
                  <a:lnTo>
                    <a:pt x="357231" y="587779"/>
                  </a:lnTo>
                  <a:lnTo>
                    <a:pt x="355264" y="586992"/>
                  </a:lnTo>
                  <a:lnTo>
                    <a:pt x="356051" y="586205"/>
                  </a:lnTo>
                  <a:lnTo>
                    <a:pt x="357231" y="586599"/>
                  </a:lnTo>
                  <a:lnTo>
                    <a:pt x="360379" y="586205"/>
                  </a:lnTo>
                  <a:lnTo>
                    <a:pt x="363133" y="585812"/>
                  </a:lnTo>
                  <a:lnTo>
                    <a:pt x="366280" y="583845"/>
                  </a:lnTo>
                  <a:lnTo>
                    <a:pt x="365100" y="581091"/>
                  </a:lnTo>
                  <a:lnTo>
                    <a:pt x="368247" y="580697"/>
                  </a:lnTo>
                  <a:lnTo>
                    <a:pt x="367854" y="577550"/>
                  </a:lnTo>
                  <a:lnTo>
                    <a:pt x="364706" y="577943"/>
                  </a:lnTo>
                  <a:lnTo>
                    <a:pt x="361952" y="579517"/>
                  </a:lnTo>
                  <a:lnTo>
                    <a:pt x="362739" y="577550"/>
                  </a:lnTo>
                  <a:lnTo>
                    <a:pt x="364313" y="576370"/>
                  </a:lnTo>
                  <a:lnTo>
                    <a:pt x="367460" y="573616"/>
                  </a:lnTo>
                  <a:lnTo>
                    <a:pt x="370214" y="570862"/>
                  </a:lnTo>
                  <a:lnTo>
                    <a:pt x="368640" y="568108"/>
                  </a:lnTo>
                  <a:lnTo>
                    <a:pt x="367460" y="567714"/>
                  </a:lnTo>
                  <a:lnTo>
                    <a:pt x="368247" y="565747"/>
                  </a:lnTo>
                  <a:lnTo>
                    <a:pt x="371001" y="566534"/>
                  </a:lnTo>
                  <a:lnTo>
                    <a:pt x="373755" y="566141"/>
                  </a:lnTo>
                  <a:lnTo>
                    <a:pt x="371001" y="564567"/>
                  </a:lnTo>
                  <a:lnTo>
                    <a:pt x="369427" y="563387"/>
                  </a:lnTo>
                  <a:lnTo>
                    <a:pt x="369821" y="562993"/>
                  </a:lnTo>
                  <a:lnTo>
                    <a:pt x="371394" y="563387"/>
                  </a:lnTo>
                  <a:lnTo>
                    <a:pt x="370608" y="561419"/>
                  </a:lnTo>
                  <a:lnTo>
                    <a:pt x="372968" y="556698"/>
                  </a:lnTo>
                  <a:lnTo>
                    <a:pt x="374148" y="556698"/>
                  </a:lnTo>
                  <a:lnTo>
                    <a:pt x="376903" y="556305"/>
                  </a:lnTo>
                  <a:lnTo>
                    <a:pt x="379657" y="555518"/>
                  </a:lnTo>
                  <a:lnTo>
                    <a:pt x="382804" y="554338"/>
                  </a:lnTo>
                  <a:lnTo>
                    <a:pt x="381624" y="553944"/>
                  </a:lnTo>
                  <a:lnTo>
                    <a:pt x="384377" y="552371"/>
                  </a:lnTo>
                  <a:lnTo>
                    <a:pt x="387525" y="552764"/>
                  </a:lnTo>
                  <a:lnTo>
                    <a:pt x="389492" y="549617"/>
                  </a:lnTo>
                  <a:lnTo>
                    <a:pt x="392246" y="550010"/>
                  </a:lnTo>
                  <a:lnTo>
                    <a:pt x="391853" y="546863"/>
                  </a:lnTo>
                  <a:lnTo>
                    <a:pt x="388705" y="546469"/>
                  </a:lnTo>
                  <a:lnTo>
                    <a:pt x="385951" y="546469"/>
                  </a:lnTo>
                  <a:lnTo>
                    <a:pt x="384377" y="545289"/>
                  </a:lnTo>
                  <a:lnTo>
                    <a:pt x="386345" y="544109"/>
                  </a:lnTo>
                  <a:lnTo>
                    <a:pt x="388705" y="544109"/>
                  </a:lnTo>
                  <a:lnTo>
                    <a:pt x="391459" y="546076"/>
                  </a:lnTo>
                  <a:lnTo>
                    <a:pt x="394607" y="545682"/>
                  </a:lnTo>
                  <a:lnTo>
                    <a:pt x="393426" y="542928"/>
                  </a:lnTo>
                  <a:lnTo>
                    <a:pt x="390672" y="541355"/>
                  </a:lnTo>
                  <a:lnTo>
                    <a:pt x="391066" y="541355"/>
                  </a:lnTo>
                  <a:lnTo>
                    <a:pt x="393426" y="541748"/>
                  </a:lnTo>
                  <a:lnTo>
                    <a:pt x="396180" y="544109"/>
                  </a:lnTo>
                  <a:lnTo>
                    <a:pt x="399328" y="543715"/>
                  </a:lnTo>
                  <a:lnTo>
                    <a:pt x="399721" y="540961"/>
                  </a:lnTo>
                  <a:lnTo>
                    <a:pt x="397361" y="537814"/>
                  </a:lnTo>
                  <a:lnTo>
                    <a:pt x="396967" y="537814"/>
                  </a:lnTo>
                  <a:lnTo>
                    <a:pt x="398147" y="537027"/>
                  </a:lnTo>
                  <a:lnTo>
                    <a:pt x="399328" y="538207"/>
                  </a:lnTo>
                  <a:lnTo>
                    <a:pt x="402475" y="540568"/>
                  </a:lnTo>
                  <a:lnTo>
                    <a:pt x="407983" y="540961"/>
                  </a:lnTo>
                  <a:lnTo>
                    <a:pt x="408377" y="538601"/>
                  </a:lnTo>
                  <a:lnTo>
                    <a:pt x="405229" y="536240"/>
                  </a:lnTo>
                  <a:lnTo>
                    <a:pt x="402475" y="534666"/>
                  </a:lnTo>
                  <a:lnTo>
                    <a:pt x="402475" y="534666"/>
                  </a:lnTo>
                  <a:lnTo>
                    <a:pt x="402869" y="534273"/>
                  </a:lnTo>
                  <a:lnTo>
                    <a:pt x="403262" y="534273"/>
                  </a:lnTo>
                  <a:lnTo>
                    <a:pt x="406016" y="535847"/>
                  </a:lnTo>
                  <a:lnTo>
                    <a:pt x="408770" y="537420"/>
                  </a:lnTo>
                  <a:lnTo>
                    <a:pt x="406016" y="535060"/>
                  </a:lnTo>
                  <a:lnTo>
                    <a:pt x="403655" y="533880"/>
                  </a:lnTo>
                  <a:lnTo>
                    <a:pt x="403655" y="533880"/>
                  </a:lnTo>
                  <a:lnTo>
                    <a:pt x="405623" y="534666"/>
                  </a:lnTo>
                  <a:lnTo>
                    <a:pt x="405623" y="532699"/>
                  </a:lnTo>
                  <a:lnTo>
                    <a:pt x="406409" y="532306"/>
                  </a:lnTo>
                  <a:lnTo>
                    <a:pt x="408377" y="533880"/>
                  </a:lnTo>
                  <a:lnTo>
                    <a:pt x="411131" y="535453"/>
                  </a:lnTo>
                  <a:lnTo>
                    <a:pt x="409164" y="532699"/>
                  </a:lnTo>
                  <a:lnTo>
                    <a:pt x="412311" y="534273"/>
                  </a:lnTo>
                  <a:lnTo>
                    <a:pt x="414278" y="531126"/>
                  </a:lnTo>
                  <a:lnTo>
                    <a:pt x="417032" y="532306"/>
                  </a:lnTo>
                  <a:lnTo>
                    <a:pt x="419786" y="531912"/>
                  </a:lnTo>
                  <a:lnTo>
                    <a:pt x="418606" y="529158"/>
                  </a:lnTo>
                  <a:lnTo>
                    <a:pt x="415458" y="527191"/>
                  </a:lnTo>
                  <a:lnTo>
                    <a:pt x="414672" y="527191"/>
                  </a:lnTo>
                  <a:lnTo>
                    <a:pt x="415852" y="526011"/>
                  </a:lnTo>
                  <a:lnTo>
                    <a:pt x="417819" y="526404"/>
                  </a:lnTo>
                  <a:lnTo>
                    <a:pt x="420573" y="526798"/>
                  </a:lnTo>
                  <a:lnTo>
                    <a:pt x="423720" y="526011"/>
                  </a:lnTo>
                  <a:lnTo>
                    <a:pt x="426474" y="526404"/>
                  </a:lnTo>
                  <a:lnTo>
                    <a:pt x="426081" y="523650"/>
                  </a:lnTo>
                  <a:lnTo>
                    <a:pt x="427261" y="520896"/>
                  </a:lnTo>
                  <a:lnTo>
                    <a:pt x="424507" y="519323"/>
                  </a:lnTo>
                  <a:lnTo>
                    <a:pt x="427261" y="518536"/>
                  </a:lnTo>
                  <a:lnTo>
                    <a:pt x="430409" y="515782"/>
                  </a:lnTo>
                  <a:lnTo>
                    <a:pt x="428442" y="513028"/>
                  </a:lnTo>
                  <a:lnTo>
                    <a:pt x="428442" y="513028"/>
                  </a:lnTo>
                  <a:lnTo>
                    <a:pt x="430015" y="511454"/>
                  </a:lnTo>
                  <a:lnTo>
                    <a:pt x="430802" y="511454"/>
                  </a:lnTo>
                  <a:lnTo>
                    <a:pt x="430802" y="511061"/>
                  </a:lnTo>
                  <a:lnTo>
                    <a:pt x="434343" y="507520"/>
                  </a:lnTo>
                  <a:lnTo>
                    <a:pt x="435130" y="507913"/>
                  </a:lnTo>
                  <a:lnTo>
                    <a:pt x="437883" y="507520"/>
                  </a:lnTo>
                  <a:lnTo>
                    <a:pt x="437097" y="504766"/>
                  </a:lnTo>
                  <a:lnTo>
                    <a:pt x="437097" y="504766"/>
                  </a:lnTo>
                  <a:lnTo>
                    <a:pt x="438277" y="503586"/>
                  </a:lnTo>
                  <a:lnTo>
                    <a:pt x="440638" y="503979"/>
                  </a:lnTo>
                  <a:lnTo>
                    <a:pt x="443785" y="504766"/>
                  </a:lnTo>
                  <a:lnTo>
                    <a:pt x="444179" y="504373"/>
                  </a:lnTo>
                  <a:lnTo>
                    <a:pt x="442605" y="501619"/>
                  </a:lnTo>
                  <a:lnTo>
                    <a:pt x="440638" y="501225"/>
                  </a:lnTo>
                  <a:lnTo>
                    <a:pt x="455981" y="485095"/>
                  </a:lnTo>
                  <a:lnTo>
                    <a:pt x="456375" y="484701"/>
                  </a:lnTo>
                  <a:lnTo>
                    <a:pt x="456768" y="483521"/>
                  </a:lnTo>
                  <a:lnTo>
                    <a:pt x="457161" y="482341"/>
                  </a:lnTo>
                  <a:lnTo>
                    <a:pt x="457555" y="481947"/>
                  </a:lnTo>
                  <a:lnTo>
                    <a:pt x="460309" y="480374"/>
                  </a:lnTo>
                  <a:lnTo>
                    <a:pt x="463456" y="480767"/>
                  </a:lnTo>
                  <a:lnTo>
                    <a:pt x="461096" y="478013"/>
                  </a:lnTo>
                  <a:lnTo>
                    <a:pt x="464243" y="476439"/>
                  </a:lnTo>
                  <a:lnTo>
                    <a:pt x="461096" y="475259"/>
                  </a:lnTo>
                  <a:lnTo>
                    <a:pt x="460309" y="475259"/>
                  </a:lnTo>
                  <a:lnTo>
                    <a:pt x="461883" y="471718"/>
                  </a:lnTo>
                  <a:lnTo>
                    <a:pt x="462276" y="472112"/>
                  </a:lnTo>
                  <a:lnTo>
                    <a:pt x="465423" y="473685"/>
                  </a:lnTo>
                  <a:lnTo>
                    <a:pt x="467390" y="470931"/>
                  </a:lnTo>
                  <a:lnTo>
                    <a:pt x="468964" y="469358"/>
                  </a:lnTo>
                  <a:lnTo>
                    <a:pt x="470538" y="468571"/>
                  </a:lnTo>
                  <a:lnTo>
                    <a:pt x="472898" y="469358"/>
                  </a:lnTo>
                  <a:lnTo>
                    <a:pt x="474472" y="472112"/>
                  </a:lnTo>
                  <a:lnTo>
                    <a:pt x="477226" y="471718"/>
                  </a:lnTo>
                  <a:lnTo>
                    <a:pt x="479980" y="470144"/>
                  </a:lnTo>
                  <a:lnTo>
                    <a:pt x="478800" y="467390"/>
                  </a:lnTo>
                  <a:lnTo>
                    <a:pt x="481947" y="468964"/>
                  </a:lnTo>
                  <a:lnTo>
                    <a:pt x="485095" y="471325"/>
                  </a:lnTo>
                  <a:lnTo>
                    <a:pt x="487849" y="470931"/>
                  </a:lnTo>
                  <a:lnTo>
                    <a:pt x="490603" y="471325"/>
                  </a:lnTo>
                  <a:lnTo>
                    <a:pt x="493357" y="471325"/>
                  </a:lnTo>
                  <a:lnTo>
                    <a:pt x="490603" y="468571"/>
                  </a:lnTo>
                  <a:lnTo>
                    <a:pt x="493357" y="468571"/>
                  </a:lnTo>
                  <a:lnTo>
                    <a:pt x="496111" y="468177"/>
                  </a:lnTo>
                  <a:lnTo>
                    <a:pt x="495717" y="470931"/>
                  </a:lnTo>
                  <a:lnTo>
                    <a:pt x="498471" y="469358"/>
                  </a:lnTo>
                  <a:lnTo>
                    <a:pt x="501225" y="470144"/>
                  </a:lnTo>
                  <a:lnTo>
                    <a:pt x="504373" y="467390"/>
                  </a:lnTo>
                  <a:lnTo>
                    <a:pt x="505946" y="464636"/>
                  </a:lnTo>
                  <a:lnTo>
                    <a:pt x="503193" y="463063"/>
                  </a:lnTo>
                  <a:lnTo>
                    <a:pt x="500438" y="461489"/>
                  </a:lnTo>
                  <a:lnTo>
                    <a:pt x="502012" y="458342"/>
                  </a:lnTo>
                  <a:lnTo>
                    <a:pt x="502799" y="461096"/>
                  </a:lnTo>
                  <a:lnTo>
                    <a:pt x="505946" y="461883"/>
                  </a:lnTo>
                  <a:lnTo>
                    <a:pt x="508700" y="461489"/>
                  </a:lnTo>
                  <a:lnTo>
                    <a:pt x="511454" y="459129"/>
                  </a:lnTo>
                  <a:lnTo>
                    <a:pt x="511061" y="455981"/>
                  </a:lnTo>
                  <a:lnTo>
                    <a:pt x="514208" y="454801"/>
                  </a:lnTo>
                  <a:lnTo>
                    <a:pt x="515389" y="452834"/>
                  </a:lnTo>
                  <a:lnTo>
                    <a:pt x="524437" y="449686"/>
                  </a:lnTo>
                  <a:lnTo>
                    <a:pt x="530339" y="450473"/>
                  </a:lnTo>
                  <a:lnTo>
                    <a:pt x="527585" y="452047"/>
                  </a:lnTo>
                  <a:lnTo>
                    <a:pt x="524437" y="453621"/>
                  </a:lnTo>
                  <a:lnTo>
                    <a:pt x="521683" y="455981"/>
                  </a:lnTo>
                  <a:lnTo>
                    <a:pt x="518930" y="457555"/>
                  </a:lnTo>
                  <a:lnTo>
                    <a:pt x="516175" y="459522"/>
                  </a:lnTo>
                  <a:lnTo>
                    <a:pt x="514995" y="462276"/>
                  </a:lnTo>
                  <a:lnTo>
                    <a:pt x="517749" y="461096"/>
                  </a:lnTo>
                  <a:lnTo>
                    <a:pt x="520897" y="462669"/>
                  </a:lnTo>
                  <a:lnTo>
                    <a:pt x="523651" y="464243"/>
                  </a:lnTo>
                  <a:lnTo>
                    <a:pt x="526404" y="463850"/>
                  </a:lnTo>
                  <a:lnTo>
                    <a:pt x="529552" y="464243"/>
                  </a:lnTo>
                  <a:lnTo>
                    <a:pt x="529945" y="461489"/>
                  </a:lnTo>
                  <a:lnTo>
                    <a:pt x="530732" y="458735"/>
                  </a:lnTo>
                  <a:lnTo>
                    <a:pt x="533880" y="458342"/>
                  </a:lnTo>
                  <a:lnTo>
                    <a:pt x="531519" y="461096"/>
                  </a:lnTo>
                  <a:lnTo>
                    <a:pt x="532700" y="463850"/>
                  </a:lnTo>
                  <a:lnTo>
                    <a:pt x="535453" y="461489"/>
                  </a:lnTo>
                  <a:lnTo>
                    <a:pt x="538601" y="461489"/>
                  </a:lnTo>
                  <a:lnTo>
                    <a:pt x="541355" y="460702"/>
                  </a:lnTo>
                  <a:lnTo>
                    <a:pt x="544109" y="459915"/>
                  </a:lnTo>
                  <a:lnTo>
                    <a:pt x="544896" y="457161"/>
                  </a:lnTo>
                  <a:lnTo>
                    <a:pt x="547649" y="459129"/>
                  </a:lnTo>
                  <a:lnTo>
                    <a:pt x="546863" y="462276"/>
                  </a:lnTo>
                  <a:lnTo>
                    <a:pt x="549617" y="461096"/>
                  </a:lnTo>
                  <a:lnTo>
                    <a:pt x="552764" y="461489"/>
                  </a:lnTo>
                  <a:lnTo>
                    <a:pt x="555518" y="459915"/>
                  </a:lnTo>
                  <a:lnTo>
                    <a:pt x="558666" y="457161"/>
                  </a:lnTo>
                  <a:lnTo>
                    <a:pt x="561419" y="455194"/>
                  </a:lnTo>
                  <a:lnTo>
                    <a:pt x="564567" y="455588"/>
                  </a:lnTo>
                  <a:lnTo>
                    <a:pt x="567321" y="455194"/>
                  </a:lnTo>
                  <a:lnTo>
                    <a:pt x="566927" y="454014"/>
                  </a:lnTo>
                  <a:lnTo>
                    <a:pt x="573615" y="450473"/>
                  </a:lnTo>
                  <a:lnTo>
                    <a:pt x="574009" y="450473"/>
                  </a:lnTo>
                  <a:lnTo>
                    <a:pt x="576763" y="451653"/>
                  </a:lnTo>
                  <a:lnTo>
                    <a:pt x="579517" y="452047"/>
                  </a:lnTo>
                  <a:lnTo>
                    <a:pt x="577550" y="449293"/>
                  </a:lnTo>
                  <a:lnTo>
                    <a:pt x="579517" y="447719"/>
                  </a:lnTo>
                  <a:lnTo>
                    <a:pt x="580697" y="447326"/>
                  </a:lnTo>
                  <a:lnTo>
                    <a:pt x="581091" y="450080"/>
                  </a:lnTo>
                  <a:lnTo>
                    <a:pt x="584238" y="450473"/>
                  </a:lnTo>
                  <a:lnTo>
                    <a:pt x="586992" y="448899"/>
                  </a:lnTo>
                  <a:lnTo>
                    <a:pt x="590140" y="447326"/>
                  </a:lnTo>
                  <a:lnTo>
                    <a:pt x="592893" y="446145"/>
                  </a:lnTo>
                  <a:lnTo>
                    <a:pt x="595648" y="443785"/>
                  </a:lnTo>
                  <a:lnTo>
                    <a:pt x="598402" y="442998"/>
                  </a:lnTo>
                  <a:lnTo>
                    <a:pt x="596828" y="440244"/>
                  </a:lnTo>
                  <a:lnTo>
                    <a:pt x="599582" y="437490"/>
                  </a:lnTo>
                  <a:lnTo>
                    <a:pt x="599188" y="440244"/>
                  </a:lnTo>
                  <a:lnTo>
                    <a:pt x="601942" y="439064"/>
                  </a:lnTo>
                  <a:lnTo>
                    <a:pt x="600369" y="441818"/>
                  </a:lnTo>
                  <a:lnTo>
                    <a:pt x="603516" y="440244"/>
                  </a:lnTo>
                  <a:lnTo>
                    <a:pt x="606270" y="438670"/>
                  </a:lnTo>
                  <a:lnTo>
                    <a:pt x="607844" y="435916"/>
                  </a:lnTo>
                  <a:lnTo>
                    <a:pt x="610598" y="437097"/>
                  </a:lnTo>
                  <a:lnTo>
                    <a:pt x="610204" y="433949"/>
                  </a:lnTo>
                  <a:lnTo>
                    <a:pt x="611385" y="431195"/>
                  </a:lnTo>
                  <a:lnTo>
                    <a:pt x="614532" y="431589"/>
                  </a:lnTo>
                  <a:lnTo>
                    <a:pt x="612958" y="430015"/>
                  </a:lnTo>
                  <a:lnTo>
                    <a:pt x="615319" y="429228"/>
                  </a:lnTo>
                  <a:lnTo>
                    <a:pt x="618073" y="428835"/>
                  </a:lnTo>
                  <a:lnTo>
                    <a:pt x="620827" y="427261"/>
                  </a:lnTo>
                  <a:lnTo>
                    <a:pt x="623974" y="426081"/>
                  </a:lnTo>
                  <a:lnTo>
                    <a:pt x="624368" y="423327"/>
                  </a:lnTo>
                  <a:lnTo>
                    <a:pt x="627909" y="421753"/>
                  </a:lnTo>
                  <a:lnTo>
                    <a:pt x="627515" y="420966"/>
                  </a:lnTo>
                  <a:lnTo>
                    <a:pt x="651514" y="406016"/>
                  </a:lnTo>
                  <a:lnTo>
                    <a:pt x="658989" y="404442"/>
                  </a:lnTo>
                  <a:lnTo>
                    <a:pt x="659776" y="404442"/>
                  </a:lnTo>
                  <a:lnTo>
                    <a:pt x="662530" y="404836"/>
                  </a:lnTo>
                  <a:lnTo>
                    <a:pt x="663317" y="403655"/>
                  </a:lnTo>
                  <a:lnTo>
                    <a:pt x="687316" y="398541"/>
                  </a:lnTo>
                  <a:lnTo>
                    <a:pt x="687709" y="398541"/>
                  </a:lnTo>
                  <a:lnTo>
                    <a:pt x="690463" y="398934"/>
                  </a:lnTo>
                  <a:lnTo>
                    <a:pt x="693217" y="398541"/>
                  </a:lnTo>
                  <a:lnTo>
                    <a:pt x="695972" y="398934"/>
                  </a:lnTo>
                  <a:lnTo>
                    <a:pt x="699119" y="398541"/>
                  </a:lnTo>
                  <a:lnTo>
                    <a:pt x="701873" y="398147"/>
                  </a:lnTo>
                  <a:lnTo>
                    <a:pt x="700692" y="396574"/>
                  </a:lnTo>
                  <a:lnTo>
                    <a:pt x="702266" y="396180"/>
                  </a:lnTo>
                  <a:lnTo>
                    <a:pt x="703053" y="396967"/>
                  </a:lnTo>
                  <a:lnTo>
                    <a:pt x="705807" y="398541"/>
                  </a:lnTo>
                  <a:lnTo>
                    <a:pt x="708954" y="398147"/>
                  </a:lnTo>
                  <a:lnTo>
                    <a:pt x="711709" y="397754"/>
                  </a:lnTo>
                  <a:lnTo>
                    <a:pt x="710135" y="394607"/>
                  </a:lnTo>
                  <a:lnTo>
                    <a:pt x="712889" y="394213"/>
                  </a:lnTo>
                  <a:lnTo>
                    <a:pt x="713282" y="393820"/>
                  </a:lnTo>
                  <a:lnTo>
                    <a:pt x="714069" y="391066"/>
                  </a:lnTo>
                  <a:lnTo>
                    <a:pt x="714069" y="385951"/>
                  </a:lnTo>
                  <a:lnTo>
                    <a:pt x="715643" y="385951"/>
                  </a:lnTo>
                  <a:lnTo>
                    <a:pt x="718397" y="387918"/>
                  </a:lnTo>
                  <a:lnTo>
                    <a:pt x="721150" y="389885"/>
                  </a:lnTo>
                  <a:lnTo>
                    <a:pt x="723905" y="391066"/>
                  </a:lnTo>
                  <a:lnTo>
                    <a:pt x="727052" y="390279"/>
                  </a:lnTo>
                  <a:lnTo>
                    <a:pt x="729806" y="388705"/>
                  </a:lnTo>
                  <a:lnTo>
                    <a:pt x="732953" y="388705"/>
                  </a:lnTo>
                  <a:lnTo>
                    <a:pt x="732953" y="385951"/>
                  </a:lnTo>
                  <a:lnTo>
                    <a:pt x="735707" y="387525"/>
                  </a:lnTo>
                  <a:lnTo>
                    <a:pt x="738461" y="387918"/>
                  </a:lnTo>
                  <a:lnTo>
                    <a:pt x="741216" y="386738"/>
                  </a:lnTo>
                  <a:lnTo>
                    <a:pt x="743969" y="385951"/>
                  </a:lnTo>
                  <a:lnTo>
                    <a:pt x="746723" y="385558"/>
                  </a:lnTo>
                  <a:lnTo>
                    <a:pt x="749871" y="384378"/>
                  </a:lnTo>
                  <a:lnTo>
                    <a:pt x="752231" y="382804"/>
                  </a:lnTo>
                  <a:lnTo>
                    <a:pt x="753018" y="382804"/>
                  </a:lnTo>
                  <a:lnTo>
                    <a:pt x="755379" y="383984"/>
                  </a:lnTo>
                  <a:lnTo>
                    <a:pt x="758526" y="383591"/>
                  </a:lnTo>
                  <a:lnTo>
                    <a:pt x="758920" y="382017"/>
                  </a:lnTo>
                  <a:lnTo>
                    <a:pt x="761280" y="382017"/>
                  </a:lnTo>
                  <a:lnTo>
                    <a:pt x="762460" y="383197"/>
                  </a:lnTo>
                  <a:lnTo>
                    <a:pt x="765214" y="381624"/>
                  </a:lnTo>
                  <a:lnTo>
                    <a:pt x="770329" y="381230"/>
                  </a:lnTo>
                  <a:lnTo>
                    <a:pt x="777804" y="381230"/>
                  </a:lnTo>
                  <a:close/>
                  <a:moveTo>
                    <a:pt x="1038646" y="79866"/>
                  </a:moveTo>
                  <a:lnTo>
                    <a:pt x="1038646" y="80259"/>
                  </a:lnTo>
                  <a:lnTo>
                    <a:pt x="1037859" y="79866"/>
                  </a:lnTo>
                  <a:lnTo>
                    <a:pt x="1038646" y="79866"/>
                  </a:lnTo>
                  <a:close/>
                  <a:moveTo>
                    <a:pt x="700692" y="21638"/>
                  </a:moveTo>
                  <a:lnTo>
                    <a:pt x="699119" y="20852"/>
                  </a:lnTo>
                  <a:lnTo>
                    <a:pt x="705020" y="21245"/>
                  </a:lnTo>
                  <a:lnTo>
                    <a:pt x="700692" y="21638"/>
                  </a:lnTo>
                  <a:close/>
                  <a:moveTo>
                    <a:pt x="699119" y="21245"/>
                  </a:moveTo>
                  <a:lnTo>
                    <a:pt x="695578" y="21245"/>
                  </a:lnTo>
                  <a:lnTo>
                    <a:pt x="692824" y="20852"/>
                  </a:lnTo>
                  <a:lnTo>
                    <a:pt x="692824" y="20852"/>
                  </a:lnTo>
                  <a:lnTo>
                    <a:pt x="699119" y="21245"/>
                  </a:lnTo>
                  <a:close/>
                  <a:moveTo>
                    <a:pt x="671972" y="22032"/>
                  </a:moveTo>
                  <a:lnTo>
                    <a:pt x="671579" y="19278"/>
                  </a:lnTo>
                  <a:lnTo>
                    <a:pt x="670399" y="18491"/>
                  </a:lnTo>
                  <a:lnTo>
                    <a:pt x="674726" y="18884"/>
                  </a:lnTo>
                  <a:lnTo>
                    <a:pt x="676694" y="20065"/>
                  </a:lnTo>
                  <a:lnTo>
                    <a:pt x="674726" y="22425"/>
                  </a:lnTo>
                  <a:lnTo>
                    <a:pt x="673546" y="22425"/>
                  </a:lnTo>
                  <a:lnTo>
                    <a:pt x="671972" y="22032"/>
                  </a:lnTo>
                  <a:close/>
                  <a:moveTo>
                    <a:pt x="280119" y="337166"/>
                  </a:moveTo>
                  <a:lnTo>
                    <a:pt x="282480" y="338740"/>
                  </a:lnTo>
                  <a:lnTo>
                    <a:pt x="282480" y="338740"/>
                  </a:lnTo>
                  <a:lnTo>
                    <a:pt x="280119" y="337166"/>
                  </a:lnTo>
                  <a:close/>
                  <a:moveTo>
                    <a:pt x="218352" y="388705"/>
                  </a:moveTo>
                  <a:lnTo>
                    <a:pt x="218745" y="388705"/>
                  </a:lnTo>
                  <a:lnTo>
                    <a:pt x="216778" y="389492"/>
                  </a:lnTo>
                  <a:lnTo>
                    <a:pt x="218352" y="388705"/>
                  </a:lnTo>
                  <a:close/>
                  <a:moveTo>
                    <a:pt x="193172" y="428835"/>
                  </a:moveTo>
                  <a:lnTo>
                    <a:pt x="193172" y="428835"/>
                  </a:lnTo>
                  <a:lnTo>
                    <a:pt x="193172" y="428835"/>
                  </a:lnTo>
                  <a:lnTo>
                    <a:pt x="191598" y="428441"/>
                  </a:lnTo>
                  <a:lnTo>
                    <a:pt x="193172" y="428835"/>
                  </a:lnTo>
                  <a:lnTo>
                    <a:pt x="193566" y="428835"/>
                  </a:lnTo>
                  <a:lnTo>
                    <a:pt x="194353" y="429228"/>
                  </a:lnTo>
                  <a:lnTo>
                    <a:pt x="193172" y="428835"/>
                  </a:lnTo>
                  <a:close/>
                  <a:moveTo>
                    <a:pt x="211663" y="504766"/>
                  </a:moveTo>
                  <a:lnTo>
                    <a:pt x="211663" y="504766"/>
                  </a:lnTo>
                  <a:lnTo>
                    <a:pt x="211663" y="504766"/>
                  </a:lnTo>
                  <a:lnTo>
                    <a:pt x="211663" y="504766"/>
                  </a:lnTo>
                  <a:close/>
                  <a:moveTo>
                    <a:pt x="381230" y="551584"/>
                  </a:moveTo>
                  <a:lnTo>
                    <a:pt x="382410" y="551977"/>
                  </a:lnTo>
                  <a:lnTo>
                    <a:pt x="379263" y="551584"/>
                  </a:lnTo>
                  <a:lnTo>
                    <a:pt x="376903" y="551977"/>
                  </a:lnTo>
                  <a:lnTo>
                    <a:pt x="378083" y="549223"/>
                  </a:lnTo>
                  <a:lnTo>
                    <a:pt x="381230" y="55158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5" name="Freeform: Shape 2479">
              <a:extLst>
                <a:ext uri="{FF2B5EF4-FFF2-40B4-BE49-F238E27FC236}">
                  <a16:creationId xmlns:a16="http://schemas.microsoft.com/office/drawing/2014/main" id="{33978FC3-C0B6-47A4-A010-AB018C1A9C01}"/>
                </a:ext>
              </a:extLst>
            </p:cNvPr>
            <p:cNvSpPr/>
            <p:nvPr/>
          </p:nvSpPr>
          <p:spPr>
            <a:xfrm>
              <a:off x="2182194" y="1732194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0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0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6" name="Freeform: Shape 2480">
              <a:extLst>
                <a:ext uri="{FF2B5EF4-FFF2-40B4-BE49-F238E27FC236}">
                  <a16:creationId xmlns:a16="http://schemas.microsoft.com/office/drawing/2014/main" id="{A7C779AB-00BA-48B4-91A5-49179A6C83F8}"/>
                </a:ext>
              </a:extLst>
            </p:cNvPr>
            <p:cNvSpPr/>
            <p:nvPr/>
          </p:nvSpPr>
          <p:spPr>
            <a:xfrm>
              <a:off x="3586726" y="2709072"/>
              <a:ext cx="3934" cy="3934"/>
            </a:xfrm>
            <a:custGeom>
              <a:avLst/>
              <a:gdLst>
                <a:gd name="connsiteX0" fmla="*/ 1180 w 0"/>
                <a:gd name="connsiteY0" fmla="*/ 0 h 3934"/>
                <a:gd name="connsiteX1" fmla="*/ 0 w 0"/>
                <a:gd name="connsiteY1" fmla="*/ 2754 h 3934"/>
                <a:gd name="connsiteX2" fmla="*/ 393 w 0"/>
                <a:gd name="connsiteY2" fmla="*/ 5901 h 3934"/>
                <a:gd name="connsiteX3" fmla="*/ 1574 w 0"/>
                <a:gd name="connsiteY3" fmla="*/ 5901 h 3934"/>
                <a:gd name="connsiteX4" fmla="*/ 787 w 0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1180" y="0"/>
                  </a:moveTo>
                  <a:lnTo>
                    <a:pt x="0" y="2754"/>
                  </a:lnTo>
                  <a:lnTo>
                    <a:pt x="393" y="5901"/>
                  </a:lnTo>
                  <a:lnTo>
                    <a:pt x="1574" y="5901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7" name="Freeform: Shape 2481">
              <a:extLst>
                <a:ext uri="{FF2B5EF4-FFF2-40B4-BE49-F238E27FC236}">
                  <a16:creationId xmlns:a16="http://schemas.microsoft.com/office/drawing/2014/main" id="{67383157-70F7-401E-AA9D-1CA1909118A3}"/>
                </a:ext>
              </a:extLst>
            </p:cNvPr>
            <p:cNvSpPr/>
            <p:nvPr/>
          </p:nvSpPr>
          <p:spPr>
            <a:xfrm>
              <a:off x="1986661" y="1354505"/>
              <a:ext cx="3009712" cy="4178188"/>
            </a:xfrm>
            <a:custGeom>
              <a:avLst/>
              <a:gdLst>
                <a:gd name="connsiteX0" fmla="*/ 3011680 w 3009712"/>
                <a:gd name="connsiteY0" fmla="*/ 2612351 h 4178187"/>
                <a:gd name="connsiteX1" fmla="*/ 3011680 w 3009712"/>
                <a:gd name="connsiteY1" fmla="*/ 2609597 h 4178187"/>
                <a:gd name="connsiteX2" fmla="*/ 3010106 w 3009712"/>
                <a:gd name="connsiteY2" fmla="*/ 2612351 h 4178187"/>
                <a:gd name="connsiteX3" fmla="*/ 3008926 w 3009712"/>
                <a:gd name="connsiteY3" fmla="*/ 2613925 h 4178187"/>
                <a:gd name="connsiteX4" fmla="*/ 3010106 w 3009712"/>
                <a:gd name="connsiteY4" fmla="*/ 2610777 h 4178187"/>
                <a:gd name="connsiteX5" fmla="*/ 3010106 w 3009712"/>
                <a:gd name="connsiteY5" fmla="*/ 2608023 h 4178187"/>
                <a:gd name="connsiteX6" fmla="*/ 3008532 w 3009712"/>
                <a:gd name="connsiteY6" fmla="*/ 2604876 h 4178187"/>
                <a:gd name="connsiteX7" fmla="*/ 3007745 w 3009712"/>
                <a:gd name="connsiteY7" fmla="*/ 2601728 h 4178187"/>
                <a:gd name="connsiteX8" fmla="*/ 3007352 w 3009712"/>
                <a:gd name="connsiteY8" fmla="*/ 2598581 h 4178187"/>
                <a:gd name="connsiteX9" fmla="*/ 3006958 w 3009712"/>
                <a:gd name="connsiteY9" fmla="*/ 2592680 h 4178187"/>
                <a:gd name="connsiteX10" fmla="*/ 3006171 w 3009712"/>
                <a:gd name="connsiteY10" fmla="*/ 2589926 h 4178187"/>
                <a:gd name="connsiteX11" fmla="*/ 3005778 w 3009712"/>
                <a:gd name="connsiteY11" fmla="*/ 2589139 h 4178187"/>
                <a:gd name="connsiteX12" fmla="*/ 3004204 w 3009712"/>
                <a:gd name="connsiteY12" fmla="*/ 2584418 h 4178187"/>
                <a:gd name="connsiteX13" fmla="*/ 3004204 w 3009712"/>
                <a:gd name="connsiteY13" fmla="*/ 2584024 h 4178187"/>
                <a:gd name="connsiteX14" fmla="*/ 3004204 w 3009712"/>
                <a:gd name="connsiteY14" fmla="*/ 2584024 h 4178187"/>
                <a:gd name="connsiteX15" fmla="*/ 3001844 w 3009712"/>
                <a:gd name="connsiteY15" fmla="*/ 2576549 h 4178187"/>
                <a:gd name="connsiteX16" fmla="*/ 3001844 w 3009712"/>
                <a:gd name="connsiteY16" fmla="*/ 2574582 h 4178187"/>
                <a:gd name="connsiteX17" fmla="*/ 3000664 w 3009712"/>
                <a:gd name="connsiteY17" fmla="*/ 2571828 h 4178187"/>
                <a:gd name="connsiteX18" fmla="*/ 2999877 w 3009712"/>
                <a:gd name="connsiteY18" fmla="*/ 2568681 h 4178187"/>
                <a:gd name="connsiteX19" fmla="*/ 2999090 w 3009712"/>
                <a:gd name="connsiteY19" fmla="*/ 2567894 h 4178187"/>
                <a:gd name="connsiteX20" fmla="*/ 2998697 w 3009712"/>
                <a:gd name="connsiteY20" fmla="*/ 2564746 h 4178187"/>
                <a:gd name="connsiteX21" fmla="*/ 2998303 w 3009712"/>
                <a:gd name="connsiteY21" fmla="*/ 2561992 h 4178187"/>
                <a:gd name="connsiteX22" fmla="*/ 2997123 w 3009712"/>
                <a:gd name="connsiteY22" fmla="*/ 2558845 h 4178187"/>
                <a:gd name="connsiteX23" fmla="*/ 2995549 w 3009712"/>
                <a:gd name="connsiteY23" fmla="*/ 2555697 h 4178187"/>
                <a:gd name="connsiteX24" fmla="*/ 2993975 w 3009712"/>
                <a:gd name="connsiteY24" fmla="*/ 2552944 h 4178187"/>
                <a:gd name="connsiteX25" fmla="*/ 2992795 w 3009712"/>
                <a:gd name="connsiteY25" fmla="*/ 2550190 h 4178187"/>
                <a:gd name="connsiteX26" fmla="*/ 2990041 w 3009712"/>
                <a:gd name="connsiteY26" fmla="*/ 2547436 h 4178187"/>
                <a:gd name="connsiteX27" fmla="*/ 2986894 w 3009712"/>
                <a:gd name="connsiteY27" fmla="*/ 2545862 h 4178187"/>
                <a:gd name="connsiteX28" fmla="*/ 2984140 w 3009712"/>
                <a:gd name="connsiteY28" fmla="*/ 2545468 h 4178187"/>
                <a:gd name="connsiteX29" fmla="*/ 2980992 w 3009712"/>
                <a:gd name="connsiteY29" fmla="*/ 2544682 h 4178187"/>
                <a:gd name="connsiteX30" fmla="*/ 2978238 w 3009712"/>
                <a:gd name="connsiteY30" fmla="*/ 2544288 h 4178187"/>
                <a:gd name="connsiteX31" fmla="*/ 2975484 w 3009712"/>
                <a:gd name="connsiteY31" fmla="*/ 2543501 h 4178187"/>
                <a:gd name="connsiteX32" fmla="*/ 2972337 w 3009712"/>
                <a:gd name="connsiteY32" fmla="*/ 2544288 h 4178187"/>
                <a:gd name="connsiteX33" fmla="*/ 2969583 w 3009712"/>
                <a:gd name="connsiteY33" fmla="*/ 2545075 h 4178187"/>
                <a:gd name="connsiteX34" fmla="*/ 2963681 w 3009712"/>
                <a:gd name="connsiteY34" fmla="*/ 2545075 h 4178187"/>
                <a:gd name="connsiteX35" fmla="*/ 2960927 w 3009712"/>
                <a:gd name="connsiteY35" fmla="*/ 2544682 h 4178187"/>
                <a:gd name="connsiteX36" fmla="*/ 2957780 w 3009712"/>
                <a:gd name="connsiteY36" fmla="*/ 2545075 h 4178187"/>
                <a:gd name="connsiteX37" fmla="*/ 2955026 w 3009712"/>
                <a:gd name="connsiteY37" fmla="*/ 2545468 h 4178187"/>
                <a:gd name="connsiteX38" fmla="*/ 2954239 w 3009712"/>
                <a:gd name="connsiteY38" fmla="*/ 2545468 h 4178187"/>
                <a:gd name="connsiteX39" fmla="*/ 2951485 w 3009712"/>
                <a:gd name="connsiteY39" fmla="*/ 2543895 h 4178187"/>
                <a:gd name="connsiteX40" fmla="*/ 2949125 w 3009712"/>
                <a:gd name="connsiteY40" fmla="*/ 2541141 h 4178187"/>
                <a:gd name="connsiteX41" fmla="*/ 2946371 w 3009712"/>
                <a:gd name="connsiteY41" fmla="*/ 2539567 h 4178187"/>
                <a:gd name="connsiteX42" fmla="*/ 2943617 w 3009712"/>
                <a:gd name="connsiteY42" fmla="*/ 2539960 h 4178187"/>
                <a:gd name="connsiteX43" fmla="*/ 2940863 w 3009712"/>
                <a:gd name="connsiteY43" fmla="*/ 2539567 h 4178187"/>
                <a:gd name="connsiteX44" fmla="*/ 2937322 w 3009712"/>
                <a:gd name="connsiteY44" fmla="*/ 2536026 h 4178187"/>
                <a:gd name="connsiteX45" fmla="*/ 2936535 w 3009712"/>
                <a:gd name="connsiteY45" fmla="*/ 2533272 h 4178187"/>
                <a:gd name="connsiteX46" fmla="*/ 2933781 w 3009712"/>
                <a:gd name="connsiteY46" fmla="*/ 2530912 h 4178187"/>
                <a:gd name="connsiteX47" fmla="*/ 2930634 w 3009712"/>
                <a:gd name="connsiteY47" fmla="*/ 2529731 h 4178187"/>
                <a:gd name="connsiteX48" fmla="*/ 2930634 w 3009712"/>
                <a:gd name="connsiteY48" fmla="*/ 2529731 h 4178187"/>
                <a:gd name="connsiteX49" fmla="*/ 2921585 w 3009712"/>
                <a:gd name="connsiteY49" fmla="*/ 2521470 h 4178187"/>
                <a:gd name="connsiteX50" fmla="*/ 2912143 w 3009712"/>
                <a:gd name="connsiteY50" fmla="*/ 2513994 h 4178187"/>
                <a:gd name="connsiteX51" fmla="*/ 2910569 w 3009712"/>
                <a:gd name="connsiteY51" fmla="*/ 2512421 h 4178187"/>
                <a:gd name="connsiteX52" fmla="*/ 2908995 w 3009712"/>
                <a:gd name="connsiteY52" fmla="*/ 2509667 h 4178187"/>
                <a:gd name="connsiteX53" fmla="*/ 2906635 w 3009712"/>
                <a:gd name="connsiteY53" fmla="*/ 2506913 h 4178187"/>
                <a:gd name="connsiteX54" fmla="*/ 2903881 w 3009712"/>
                <a:gd name="connsiteY54" fmla="*/ 2504552 h 4178187"/>
                <a:gd name="connsiteX55" fmla="*/ 2902307 w 3009712"/>
                <a:gd name="connsiteY55" fmla="*/ 2501798 h 4178187"/>
                <a:gd name="connsiteX56" fmla="*/ 2900733 w 3009712"/>
                <a:gd name="connsiteY56" fmla="*/ 2499044 h 4178187"/>
                <a:gd name="connsiteX57" fmla="*/ 2897979 w 3009712"/>
                <a:gd name="connsiteY57" fmla="*/ 2498257 h 4178187"/>
                <a:gd name="connsiteX58" fmla="*/ 2895225 w 3009712"/>
                <a:gd name="connsiteY58" fmla="*/ 2497470 h 4178187"/>
                <a:gd name="connsiteX59" fmla="*/ 2892471 w 3009712"/>
                <a:gd name="connsiteY59" fmla="*/ 2494716 h 4178187"/>
                <a:gd name="connsiteX60" fmla="*/ 2889324 w 3009712"/>
                <a:gd name="connsiteY60" fmla="*/ 2492356 h 4178187"/>
                <a:gd name="connsiteX61" fmla="*/ 2883816 w 3009712"/>
                <a:gd name="connsiteY61" fmla="*/ 2486848 h 4178187"/>
                <a:gd name="connsiteX62" fmla="*/ 2881062 w 3009712"/>
                <a:gd name="connsiteY62" fmla="*/ 2485274 h 4178187"/>
                <a:gd name="connsiteX63" fmla="*/ 2877915 w 3009712"/>
                <a:gd name="connsiteY63" fmla="*/ 2483700 h 4178187"/>
                <a:gd name="connsiteX64" fmla="*/ 2875161 w 3009712"/>
                <a:gd name="connsiteY64" fmla="*/ 2481340 h 4178187"/>
                <a:gd name="connsiteX65" fmla="*/ 2872407 w 3009712"/>
                <a:gd name="connsiteY65" fmla="*/ 2480160 h 4178187"/>
                <a:gd name="connsiteX66" fmla="*/ 2869653 w 3009712"/>
                <a:gd name="connsiteY66" fmla="*/ 2478586 h 4178187"/>
                <a:gd name="connsiteX67" fmla="*/ 2866505 w 3009712"/>
                <a:gd name="connsiteY67" fmla="*/ 2476225 h 4178187"/>
                <a:gd name="connsiteX68" fmla="*/ 2863751 w 3009712"/>
                <a:gd name="connsiteY68" fmla="*/ 2474258 h 4178187"/>
                <a:gd name="connsiteX69" fmla="*/ 2860997 w 3009712"/>
                <a:gd name="connsiteY69" fmla="*/ 2473078 h 4178187"/>
                <a:gd name="connsiteX70" fmla="*/ 2857850 w 3009712"/>
                <a:gd name="connsiteY70" fmla="*/ 2470324 h 4178187"/>
                <a:gd name="connsiteX71" fmla="*/ 2855096 w 3009712"/>
                <a:gd name="connsiteY71" fmla="*/ 2468750 h 4178187"/>
                <a:gd name="connsiteX72" fmla="*/ 2854702 w 3009712"/>
                <a:gd name="connsiteY72" fmla="*/ 2468357 h 4178187"/>
                <a:gd name="connsiteX73" fmla="*/ 2851949 w 3009712"/>
                <a:gd name="connsiteY73" fmla="*/ 2467963 h 4178187"/>
                <a:gd name="connsiteX74" fmla="*/ 2850768 w 3009712"/>
                <a:gd name="connsiteY74" fmla="*/ 2468357 h 4178187"/>
                <a:gd name="connsiteX75" fmla="*/ 2848014 w 3009712"/>
                <a:gd name="connsiteY75" fmla="*/ 2467176 h 4178187"/>
                <a:gd name="connsiteX76" fmla="*/ 2844867 w 3009712"/>
                <a:gd name="connsiteY76" fmla="*/ 2466783 h 4178187"/>
                <a:gd name="connsiteX77" fmla="*/ 2839359 w 3009712"/>
                <a:gd name="connsiteY77" fmla="*/ 2466783 h 4178187"/>
                <a:gd name="connsiteX78" fmla="*/ 2836605 w 3009712"/>
                <a:gd name="connsiteY78" fmla="*/ 2467963 h 4178187"/>
                <a:gd name="connsiteX79" fmla="*/ 2833457 w 3009712"/>
                <a:gd name="connsiteY79" fmla="*/ 2467963 h 4178187"/>
                <a:gd name="connsiteX80" fmla="*/ 2831490 w 3009712"/>
                <a:gd name="connsiteY80" fmla="*/ 2468357 h 4178187"/>
                <a:gd name="connsiteX81" fmla="*/ 2829523 w 3009712"/>
                <a:gd name="connsiteY81" fmla="*/ 2468357 h 4178187"/>
                <a:gd name="connsiteX82" fmla="*/ 2826376 w 3009712"/>
                <a:gd name="connsiteY82" fmla="*/ 2468750 h 4178187"/>
                <a:gd name="connsiteX83" fmla="*/ 2823622 w 3009712"/>
                <a:gd name="connsiteY83" fmla="*/ 2469144 h 4178187"/>
                <a:gd name="connsiteX84" fmla="*/ 2817720 w 3009712"/>
                <a:gd name="connsiteY84" fmla="*/ 2469144 h 4178187"/>
                <a:gd name="connsiteX85" fmla="*/ 2817720 w 3009712"/>
                <a:gd name="connsiteY85" fmla="*/ 2471898 h 4178187"/>
                <a:gd name="connsiteX86" fmla="*/ 2817327 w 3009712"/>
                <a:gd name="connsiteY86" fmla="*/ 2473865 h 4178187"/>
                <a:gd name="connsiteX87" fmla="*/ 2814573 w 3009712"/>
                <a:gd name="connsiteY87" fmla="*/ 2471504 h 4178187"/>
                <a:gd name="connsiteX88" fmla="*/ 2811819 w 3009712"/>
                <a:gd name="connsiteY88" fmla="*/ 2469931 h 4178187"/>
                <a:gd name="connsiteX89" fmla="*/ 2809065 w 3009712"/>
                <a:gd name="connsiteY89" fmla="*/ 2469537 h 4178187"/>
                <a:gd name="connsiteX90" fmla="*/ 2806311 w 3009712"/>
                <a:gd name="connsiteY90" fmla="*/ 2468750 h 4178187"/>
                <a:gd name="connsiteX91" fmla="*/ 2804737 w 3009712"/>
                <a:gd name="connsiteY91" fmla="*/ 2468357 h 4178187"/>
                <a:gd name="connsiteX92" fmla="*/ 2802377 w 3009712"/>
                <a:gd name="connsiteY92" fmla="*/ 2465603 h 4178187"/>
                <a:gd name="connsiteX93" fmla="*/ 2800016 w 3009712"/>
                <a:gd name="connsiteY93" fmla="*/ 2464816 h 4178187"/>
                <a:gd name="connsiteX94" fmla="*/ 2796869 w 3009712"/>
                <a:gd name="connsiteY94" fmla="*/ 2464029 h 4178187"/>
                <a:gd name="connsiteX95" fmla="*/ 2796869 w 3009712"/>
                <a:gd name="connsiteY95" fmla="*/ 2466783 h 4178187"/>
                <a:gd name="connsiteX96" fmla="*/ 2796475 w 3009712"/>
                <a:gd name="connsiteY96" fmla="*/ 2467570 h 4178187"/>
                <a:gd name="connsiteX97" fmla="*/ 2787033 w 3009712"/>
                <a:gd name="connsiteY97" fmla="*/ 2464029 h 4178187"/>
                <a:gd name="connsiteX98" fmla="*/ 2778771 w 3009712"/>
                <a:gd name="connsiteY98" fmla="*/ 2462062 h 4178187"/>
                <a:gd name="connsiteX99" fmla="*/ 2777984 w 3009712"/>
                <a:gd name="connsiteY99" fmla="*/ 2461669 h 4178187"/>
                <a:gd name="connsiteX100" fmla="*/ 2775230 w 3009712"/>
                <a:gd name="connsiteY100" fmla="*/ 2459702 h 4178187"/>
                <a:gd name="connsiteX101" fmla="*/ 2772083 w 3009712"/>
                <a:gd name="connsiteY101" fmla="*/ 2457734 h 4178187"/>
                <a:gd name="connsiteX102" fmla="*/ 2769329 w 3009712"/>
                <a:gd name="connsiteY102" fmla="*/ 2456161 h 4178187"/>
                <a:gd name="connsiteX103" fmla="*/ 2766575 w 3009712"/>
                <a:gd name="connsiteY103" fmla="*/ 2454587 h 4178187"/>
                <a:gd name="connsiteX104" fmla="*/ 2763821 w 3009712"/>
                <a:gd name="connsiteY104" fmla="*/ 2454193 h 4178187"/>
                <a:gd name="connsiteX105" fmla="*/ 2761067 w 3009712"/>
                <a:gd name="connsiteY105" fmla="*/ 2453013 h 4178187"/>
                <a:gd name="connsiteX106" fmla="*/ 2758313 w 3009712"/>
                <a:gd name="connsiteY106" fmla="*/ 2452226 h 4178187"/>
                <a:gd name="connsiteX107" fmla="*/ 2755165 w 3009712"/>
                <a:gd name="connsiteY107" fmla="*/ 2451439 h 4178187"/>
                <a:gd name="connsiteX108" fmla="*/ 2752411 w 3009712"/>
                <a:gd name="connsiteY108" fmla="*/ 2451833 h 4178187"/>
                <a:gd name="connsiteX109" fmla="*/ 2751625 w 3009712"/>
                <a:gd name="connsiteY109" fmla="*/ 2454587 h 4178187"/>
                <a:gd name="connsiteX110" fmla="*/ 2751625 w 3009712"/>
                <a:gd name="connsiteY110" fmla="*/ 2455374 h 4178187"/>
                <a:gd name="connsiteX111" fmla="*/ 2748871 w 3009712"/>
                <a:gd name="connsiteY111" fmla="*/ 2454587 h 4178187"/>
                <a:gd name="connsiteX112" fmla="*/ 2745723 w 3009712"/>
                <a:gd name="connsiteY112" fmla="*/ 2456161 h 4178187"/>
                <a:gd name="connsiteX113" fmla="*/ 2742969 w 3009712"/>
                <a:gd name="connsiteY113" fmla="*/ 2456554 h 4178187"/>
                <a:gd name="connsiteX114" fmla="*/ 2740215 w 3009712"/>
                <a:gd name="connsiteY114" fmla="*/ 2457734 h 4178187"/>
                <a:gd name="connsiteX115" fmla="*/ 2739428 w 3009712"/>
                <a:gd name="connsiteY115" fmla="*/ 2460488 h 4178187"/>
                <a:gd name="connsiteX116" fmla="*/ 2737855 w 3009712"/>
                <a:gd name="connsiteY116" fmla="*/ 2457734 h 4178187"/>
                <a:gd name="connsiteX117" fmla="*/ 2735494 w 3009712"/>
                <a:gd name="connsiteY117" fmla="*/ 2460488 h 4178187"/>
                <a:gd name="connsiteX118" fmla="*/ 2733921 w 3009712"/>
                <a:gd name="connsiteY118" fmla="*/ 2463242 h 4178187"/>
                <a:gd name="connsiteX119" fmla="*/ 2733921 w 3009712"/>
                <a:gd name="connsiteY119" fmla="*/ 2465996 h 4178187"/>
                <a:gd name="connsiteX120" fmla="*/ 2731167 w 3009712"/>
                <a:gd name="connsiteY120" fmla="*/ 2467176 h 4178187"/>
                <a:gd name="connsiteX121" fmla="*/ 2729986 w 3009712"/>
                <a:gd name="connsiteY121" fmla="*/ 2468357 h 4178187"/>
                <a:gd name="connsiteX122" fmla="*/ 2729986 w 3009712"/>
                <a:gd name="connsiteY122" fmla="*/ 2465603 h 4178187"/>
                <a:gd name="connsiteX123" fmla="*/ 2729199 w 3009712"/>
                <a:gd name="connsiteY123" fmla="*/ 2465996 h 4178187"/>
                <a:gd name="connsiteX124" fmla="*/ 2728413 w 3009712"/>
                <a:gd name="connsiteY124" fmla="*/ 2463636 h 4178187"/>
                <a:gd name="connsiteX125" fmla="*/ 2730773 w 3009712"/>
                <a:gd name="connsiteY125" fmla="*/ 2462456 h 4178187"/>
                <a:gd name="connsiteX126" fmla="*/ 2732347 w 3009712"/>
                <a:gd name="connsiteY126" fmla="*/ 2459702 h 4178187"/>
                <a:gd name="connsiteX127" fmla="*/ 2734707 w 3009712"/>
                <a:gd name="connsiteY127" fmla="*/ 2456554 h 4178187"/>
                <a:gd name="connsiteX128" fmla="*/ 2734707 w 3009712"/>
                <a:gd name="connsiteY128" fmla="*/ 2453800 h 4178187"/>
                <a:gd name="connsiteX129" fmla="*/ 2731953 w 3009712"/>
                <a:gd name="connsiteY129" fmla="*/ 2453800 h 4178187"/>
                <a:gd name="connsiteX130" fmla="*/ 2728806 w 3009712"/>
                <a:gd name="connsiteY130" fmla="*/ 2455374 h 4178187"/>
                <a:gd name="connsiteX131" fmla="*/ 2726839 w 3009712"/>
                <a:gd name="connsiteY131" fmla="*/ 2456947 h 4178187"/>
                <a:gd name="connsiteX132" fmla="*/ 2725265 w 3009712"/>
                <a:gd name="connsiteY132" fmla="*/ 2457734 h 4178187"/>
                <a:gd name="connsiteX133" fmla="*/ 2721724 w 3009712"/>
                <a:gd name="connsiteY133" fmla="*/ 2465996 h 4178187"/>
                <a:gd name="connsiteX134" fmla="*/ 2721724 w 3009712"/>
                <a:gd name="connsiteY134" fmla="*/ 2464029 h 4178187"/>
                <a:gd name="connsiteX135" fmla="*/ 2718577 w 3009712"/>
                <a:gd name="connsiteY135" fmla="*/ 2466390 h 4178187"/>
                <a:gd name="connsiteX136" fmla="*/ 2718970 w 3009712"/>
                <a:gd name="connsiteY136" fmla="*/ 2469537 h 4178187"/>
                <a:gd name="connsiteX137" fmla="*/ 2718970 w 3009712"/>
                <a:gd name="connsiteY137" fmla="*/ 2471898 h 4178187"/>
                <a:gd name="connsiteX138" fmla="*/ 2715429 w 3009712"/>
                <a:gd name="connsiteY138" fmla="*/ 2479373 h 4178187"/>
                <a:gd name="connsiteX139" fmla="*/ 2714249 w 3009712"/>
                <a:gd name="connsiteY139" fmla="*/ 2480160 h 4178187"/>
                <a:gd name="connsiteX140" fmla="*/ 2713856 w 3009712"/>
                <a:gd name="connsiteY140" fmla="*/ 2482914 h 4178187"/>
                <a:gd name="connsiteX141" fmla="*/ 2713462 w 3009712"/>
                <a:gd name="connsiteY141" fmla="*/ 2483700 h 4178187"/>
                <a:gd name="connsiteX142" fmla="*/ 2712675 w 3009712"/>
                <a:gd name="connsiteY142" fmla="*/ 2483307 h 4178187"/>
                <a:gd name="connsiteX143" fmla="*/ 2713462 w 3009712"/>
                <a:gd name="connsiteY143" fmla="*/ 2479766 h 4178187"/>
                <a:gd name="connsiteX144" fmla="*/ 2715429 w 3009712"/>
                <a:gd name="connsiteY144" fmla="*/ 2477799 h 4178187"/>
                <a:gd name="connsiteX145" fmla="*/ 2717397 w 3009712"/>
                <a:gd name="connsiteY145" fmla="*/ 2475045 h 4178187"/>
                <a:gd name="connsiteX146" fmla="*/ 2715429 w 3009712"/>
                <a:gd name="connsiteY146" fmla="*/ 2471898 h 4178187"/>
                <a:gd name="connsiteX147" fmla="*/ 2716216 w 3009712"/>
                <a:gd name="connsiteY147" fmla="*/ 2469144 h 4178187"/>
                <a:gd name="connsiteX148" fmla="*/ 2716216 w 3009712"/>
                <a:gd name="connsiteY148" fmla="*/ 2467963 h 4178187"/>
                <a:gd name="connsiteX149" fmla="*/ 2717397 w 3009712"/>
                <a:gd name="connsiteY149" fmla="*/ 2462456 h 4178187"/>
                <a:gd name="connsiteX150" fmla="*/ 2718184 w 3009712"/>
                <a:gd name="connsiteY150" fmla="*/ 2460488 h 4178187"/>
                <a:gd name="connsiteX151" fmla="*/ 2718184 w 3009712"/>
                <a:gd name="connsiteY151" fmla="*/ 2458128 h 4178187"/>
                <a:gd name="connsiteX152" fmla="*/ 2718577 w 3009712"/>
                <a:gd name="connsiteY152" fmla="*/ 2456947 h 4178187"/>
                <a:gd name="connsiteX153" fmla="*/ 2720151 w 3009712"/>
                <a:gd name="connsiteY153" fmla="*/ 2454193 h 4178187"/>
                <a:gd name="connsiteX154" fmla="*/ 2722904 w 3009712"/>
                <a:gd name="connsiteY154" fmla="*/ 2453407 h 4178187"/>
                <a:gd name="connsiteX155" fmla="*/ 2724478 w 3009712"/>
                <a:gd name="connsiteY155" fmla="*/ 2450259 h 4178187"/>
                <a:gd name="connsiteX156" fmla="*/ 2723691 w 3009712"/>
                <a:gd name="connsiteY156" fmla="*/ 2447505 h 4178187"/>
                <a:gd name="connsiteX157" fmla="*/ 2722118 w 3009712"/>
                <a:gd name="connsiteY157" fmla="*/ 2444751 h 4178187"/>
                <a:gd name="connsiteX158" fmla="*/ 2719364 w 3009712"/>
                <a:gd name="connsiteY158" fmla="*/ 2445932 h 4178187"/>
                <a:gd name="connsiteX159" fmla="*/ 2716610 w 3009712"/>
                <a:gd name="connsiteY159" fmla="*/ 2449079 h 4178187"/>
                <a:gd name="connsiteX160" fmla="*/ 2716216 w 3009712"/>
                <a:gd name="connsiteY160" fmla="*/ 2451046 h 4178187"/>
                <a:gd name="connsiteX161" fmla="*/ 2715036 w 3009712"/>
                <a:gd name="connsiteY161" fmla="*/ 2447899 h 4178187"/>
                <a:gd name="connsiteX162" fmla="*/ 2717397 w 3009712"/>
                <a:gd name="connsiteY162" fmla="*/ 2446325 h 4178187"/>
                <a:gd name="connsiteX163" fmla="*/ 2718970 w 3009712"/>
                <a:gd name="connsiteY163" fmla="*/ 2443571 h 4178187"/>
                <a:gd name="connsiteX164" fmla="*/ 2718577 w 3009712"/>
                <a:gd name="connsiteY164" fmla="*/ 2440817 h 4178187"/>
                <a:gd name="connsiteX165" fmla="*/ 2720544 w 3009712"/>
                <a:gd name="connsiteY165" fmla="*/ 2437670 h 4178187"/>
                <a:gd name="connsiteX166" fmla="*/ 2720151 w 3009712"/>
                <a:gd name="connsiteY166" fmla="*/ 2434916 h 4178187"/>
                <a:gd name="connsiteX167" fmla="*/ 2717003 w 3009712"/>
                <a:gd name="connsiteY167" fmla="*/ 2434129 h 4178187"/>
                <a:gd name="connsiteX168" fmla="*/ 2717397 w 3009712"/>
                <a:gd name="connsiteY168" fmla="*/ 2431375 h 4178187"/>
                <a:gd name="connsiteX169" fmla="*/ 2714643 w 3009712"/>
                <a:gd name="connsiteY169" fmla="*/ 2433735 h 4178187"/>
                <a:gd name="connsiteX170" fmla="*/ 2711889 w 3009712"/>
                <a:gd name="connsiteY170" fmla="*/ 2433342 h 4178187"/>
                <a:gd name="connsiteX171" fmla="*/ 2714643 w 3009712"/>
                <a:gd name="connsiteY171" fmla="*/ 2430588 h 4178187"/>
                <a:gd name="connsiteX172" fmla="*/ 2711495 w 3009712"/>
                <a:gd name="connsiteY172" fmla="*/ 2431768 h 4178187"/>
                <a:gd name="connsiteX173" fmla="*/ 2711889 w 3009712"/>
                <a:gd name="connsiteY173" fmla="*/ 2429014 h 4178187"/>
                <a:gd name="connsiteX174" fmla="*/ 2711102 w 3009712"/>
                <a:gd name="connsiteY174" fmla="*/ 2426260 h 4178187"/>
                <a:gd name="connsiteX175" fmla="*/ 2708348 w 3009712"/>
                <a:gd name="connsiteY175" fmla="*/ 2427047 h 4178187"/>
                <a:gd name="connsiteX176" fmla="*/ 2708741 w 3009712"/>
                <a:gd name="connsiteY176" fmla="*/ 2423900 h 4178187"/>
                <a:gd name="connsiteX177" fmla="*/ 2709921 w 3009712"/>
                <a:gd name="connsiteY177" fmla="*/ 2421146 h 4178187"/>
                <a:gd name="connsiteX178" fmla="*/ 2707167 w 3009712"/>
                <a:gd name="connsiteY178" fmla="*/ 2423113 h 4178187"/>
                <a:gd name="connsiteX179" fmla="*/ 2706774 w 3009712"/>
                <a:gd name="connsiteY179" fmla="*/ 2425867 h 4178187"/>
                <a:gd name="connsiteX180" fmla="*/ 2706774 w 3009712"/>
                <a:gd name="connsiteY180" fmla="*/ 2426260 h 4178187"/>
                <a:gd name="connsiteX181" fmla="*/ 2705987 w 3009712"/>
                <a:gd name="connsiteY181" fmla="*/ 2425867 h 4178187"/>
                <a:gd name="connsiteX182" fmla="*/ 2705987 w 3009712"/>
                <a:gd name="connsiteY182" fmla="*/ 2425473 h 4178187"/>
                <a:gd name="connsiteX183" fmla="*/ 2705987 w 3009712"/>
                <a:gd name="connsiteY183" fmla="*/ 2423506 h 4178187"/>
                <a:gd name="connsiteX184" fmla="*/ 2705987 w 3009712"/>
                <a:gd name="connsiteY184" fmla="*/ 2423113 h 4178187"/>
                <a:gd name="connsiteX185" fmla="*/ 2705987 w 3009712"/>
                <a:gd name="connsiteY185" fmla="*/ 2421932 h 4178187"/>
                <a:gd name="connsiteX186" fmla="*/ 2702840 w 3009712"/>
                <a:gd name="connsiteY186" fmla="*/ 2421539 h 4178187"/>
                <a:gd name="connsiteX187" fmla="*/ 2700086 w 3009712"/>
                <a:gd name="connsiteY187" fmla="*/ 2422719 h 4178187"/>
                <a:gd name="connsiteX188" fmla="*/ 2698512 w 3009712"/>
                <a:gd name="connsiteY188" fmla="*/ 2425473 h 4178187"/>
                <a:gd name="connsiteX189" fmla="*/ 2699299 w 3009712"/>
                <a:gd name="connsiteY189" fmla="*/ 2428227 h 4178187"/>
                <a:gd name="connsiteX190" fmla="*/ 2698119 w 3009712"/>
                <a:gd name="connsiteY190" fmla="*/ 2429801 h 4178187"/>
                <a:gd name="connsiteX191" fmla="*/ 2695758 w 3009712"/>
                <a:gd name="connsiteY191" fmla="*/ 2426654 h 4178187"/>
                <a:gd name="connsiteX192" fmla="*/ 2695758 w 3009712"/>
                <a:gd name="connsiteY192" fmla="*/ 2423900 h 4178187"/>
                <a:gd name="connsiteX193" fmla="*/ 2695365 w 3009712"/>
                <a:gd name="connsiteY193" fmla="*/ 2421146 h 4178187"/>
                <a:gd name="connsiteX194" fmla="*/ 2697332 w 3009712"/>
                <a:gd name="connsiteY194" fmla="*/ 2418392 h 4178187"/>
                <a:gd name="connsiteX195" fmla="*/ 2694578 w 3009712"/>
                <a:gd name="connsiteY195" fmla="*/ 2419572 h 4178187"/>
                <a:gd name="connsiteX196" fmla="*/ 2693004 w 3009712"/>
                <a:gd name="connsiteY196" fmla="*/ 2422719 h 4178187"/>
                <a:gd name="connsiteX197" fmla="*/ 2691824 w 3009712"/>
                <a:gd name="connsiteY197" fmla="*/ 2419572 h 4178187"/>
                <a:gd name="connsiteX198" fmla="*/ 2694184 w 3009712"/>
                <a:gd name="connsiteY198" fmla="*/ 2416818 h 4178187"/>
                <a:gd name="connsiteX199" fmla="*/ 2691430 w 3009712"/>
                <a:gd name="connsiteY199" fmla="*/ 2418392 h 4178187"/>
                <a:gd name="connsiteX200" fmla="*/ 2689857 w 3009712"/>
                <a:gd name="connsiteY200" fmla="*/ 2415244 h 4178187"/>
                <a:gd name="connsiteX201" fmla="*/ 2687103 w 3009712"/>
                <a:gd name="connsiteY201" fmla="*/ 2417605 h 4178187"/>
                <a:gd name="connsiteX202" fmla="*/ 2685529 w 3009712"/>
                <a:gd name="connsiteY202" fmla="*/ 2414851 h 4178187"/>
                <a:gd name="connsiteX203" fmla="*/ 2685136 w 3009712"/>
                <a:gd name="connsiteY203" fmla="*/ 2412097 h 4178187"/>
                <a:gd name="connsiteX204" fmla="*/ 2682382 w 3009712"/>
                <a:gd name="connsiteY204" fmla="*/ 2414851 h 4178187"/>
                <a:gd name="connsiteX205" fmla="*/ 2680808 w 3009712"/>
                <a:gd name="connsiteY205" fmla="*/ 2411703 h 4178187"/>
                <a:gd name="connsiteX206" fmla="*/ 2678054 w 3009712"/>
                <a:gd name="connsiteY206" fmla="*/ 2412097 h 4178187"/>
                <a:gd name="connsiteX207" fmla="*/ 2677660 w 3009712"/>
                <a:gd name="connsiteY207" fmla="*/ 2409343 h 4178187"/>
                <a:gd name="connsiteX208" fmla="*/ 2675693 w 3009712"/>
                <a:gd name="connsiteY208" fmla="*/ 2412490 h 4178187"/>
                <a:gd name="connsiteX209" fmla="*/ 2674120 w 3009712"/>
                <a:gd name="connsiteY209" fmla="*/ 2412490 h 4178187"/>
                <a:gd name="connsiteX210" fmla="*/ 2674513 w 3009712"/>
                <a:gd name="connsiteY210" fmla="*/ 2409736 h 4178187"/>
                <a:gd name="connsiteX211" fmla="*/ 2671759 w 3009712"/>
                <a:gd name="connsiteY211" fmla="*/ 2410523 h 4178187"/>
                <a:gd name="connsiteX212" fmla="*/ 2670579 w 3009712"/>
                <a:gd name="connsiteY212" fmla="*/ 2407376 h 4178187"/>
                <a:gd name="connsiteX213" fmla="*/ 2670972 w 3009712"/>
                <a:gd name="connsiteY213" fmla="*/ 2404622 h 4178187"/>
                <a:gd name="connsiteX214" fmla="*/ 2669005 w 3009712"/>
                <a:gd name="connsiteY214" fmla="*/ 2407376 h 4178187"/>
                <a:gd name="connsiteX215" fmla="*/ 2661530 w 3009712"/>
                <a:gd name="connsiteY215" fmla="*/ 2407769 h 4178187"/>
                <a:gd name="connsiteX216" fmla="*/ 2661923 w 3009712"/>
                <a:gd name="connsiteY216" fmla="*/ 2405015 h 4178187"/>
                <a:gd name="connsiteX217" fmla="*/ 2659170 w 3009712"/>
                <a:gd name="connsiteY217" fmla="*/ 2406589 h 4178187"/>
                <a:gd name="connsiteX218" fmla="*/ 2657596 w 3009712"/>
                <a:gd name="connsiteY218" fmla="*/ 2405802 h 4178187"/>
                <a:gd name="connsiteX219" fmla="*/ 2658383 w 3009712"/>
                <a:gd name="connsiteY219" fmla="*/ 2405802 h 4178187"/>
                <a:gd name="connsiteX220" fmla="*/ 2659170 w 3009712"/>
                <a:gd name="connsiteY220" fmla="*/ 2403048 h 4178187"/>
                <a:gd name="connsiteX221" fmla="*/ 2656416 w 3009712"/>
                <a:gd name="connsiteY221" fmla="*/ 2403442 h 4178187"/>
                <a:gd name="connsiteX222" fmla="*/ 2656809 w 3009712"/>
                <a:gd name="connsiteY222" fmla="*/ 2405802 h 4178187"/>
                <a:gd name="connsiteX223" fmla="*/ 2653661 w 3009712"/>
                <a:gd name="connsiteY223" fmla="*/ 2404228 h 4178187"/>
                <a:gd name="connsiteX224" fmla="*/ 2654448 w 3009712"/>
                <a:gd name="connsiteY224" fmla="*/ 2401081 h 4178187"/>
                <a:gd name="connsiteX225" fmla="*/ 2651694 w 3009712"/>
                <a:gd name="connsiteY225" fmla="*/ 2400688 h 4178187"/>
                <a:gd name="connsiteX226" fmla="*/ 2650907 w 3009712"/>
                <a:gd name="connsiteY226" fmla="*/ 2402261 h 4178187"/>
                <a:gd name="connsiteX227" fmla="*/ 2650514 w 3009712"/>
                <a:gd name="connsiteY227" fmla="*/ 2401868 h 4178187"/>
                <a:gd name="connsiteX228" fmla="*/ 2650514 w 3009712"/>
                <a:gd name="connsiteY228" fmla="*/ 2400688 h 4178187"/>
                <a:gd name="connsiteX229" fmla="*/ 2647760 w 3009712"/>
                <a:gd name="connsiteY229" fmla="*/ 2398720 h 4178187"/>
                <a:gd name="connsiteX230" fmla="*/ 2648153 w 3009712"/>
                <a:gd name="connsiteY230" fmla="*/ 2395573 h 4178187"/>
                <a:gd name="connsiteX231" fmla="*/ 2647367 w 3009712"/>
                <a:gd name="connsiteY231" fmla="*/ 2398720 h 4178187"/>
                <a:gd name="connsiteX232" fmla="*/ 2646186 w 3009712"/>
                <a:gd name="connsiteY232" fmla="*/ 2399507 h 4178187"/>
                <a:gd name="connsiteX233" fmla="*/ 2644219 w 3009712"/>
                <a:gd name="connsiteY233" fmla="*/ 2398327 h 4178187"/>
                <a:gd name="connsiteX234" fmla="*/ 2644219 w 3009712"/>
                <a:gd name="connsiteY234" fmla="*/ 2397934 h 4178187"/>
                <a:gd name="connsiteX235" fmla="*/ 2643826 w 3009712"/>
                <a:gd name="connsiteY235" fmla="*/ 2398327 h 4178187"/>
                <a:gd name="connsiteX236" fmla="*/ 2640285 w 3009712"/>
                <a:gd name="connsiteY236" fmla="*/ 2396360 h 4178187"/>
                <a:gd name="connsiteX237" fmla="*/ 2640285 w 3009712"/>
                <a:gd name="connsiteY237" fmla="*/ 2396360 h 4178187"/>
                <a:gd name="connsiteX238" fmla="*/ 2640285 w 3009712"/>
                <a:gd name="connsiteY238" fmla="*/ 2396360 h 4178187"/>
                <a:gd name="connsiteX239" fmla="*/ 2637924 w 3009712"/>
                <a:gd name="connsiteY239" fmla="*/ 2395180 h 4178187"/>
                <a:gd name="connsiteX240" fmla="*/ 2637924 w 3009712"/>
                <a:gd name="connsiteY240" fmla="*/ 2395180 h 4178187"/>
                <a:gd name="connsiteX241" fmla="*/ 2635564 w 3009712"/>
                <a:gd name="connsiteY241" fmla="*/ 2393999 h 4178187"/>
                <a:gd name="connsiteX242" fmla="*/ 2632810 w 3009712"/>
                <a:gd name="connsiteY242" fmla="*/ 2392425 h 4178187"/>
                <a:gd name="connsiteX243" fmla="*/ 2629663 w 3009712"/>
                <a:gd name="connsiteY243" fmla="*/ 2391245 h 4178187"/>
                <a:gd name="connsiteX244" fmla="*/ 2629269 w 3009712"/>
                <a:gd name="connsiteY244" fmla="*/ 2393212 h 4178187"/>
                <a:gd name="connsiteX245" fmla="*/ 2623368 w 3009712"/>
                <a:gd name="connsiteY245" fmla="*/ 2394786 h 4178187"/>
                <a:gd name="connsiteX246" fmla="*/ 2621794 w 3009712"/>
                <a:gd name="connsiteY246" fmla="*/ 2391639 h 4178187"/>
                <a:gd name="connsiteX247" fmla="*/ 2621794 w 3009712"/>
                <a:gd name="connsiteY247" fmla="*/ 2394786 h 4178187"/>
                <a:gd name="connsiteX248" fmla="*/ 2621794 w 3009712"/>
                <a:gd name="connsiteY248" fmla="*/ 2395180 h 4178187"/>
                <a:gd name="connsiteX249" fmla="*/ 2621400 w 3009712"/>
                <a:gd name="connsiteY249" fmla="*/ 2395180 h 4178187"/>
                <a:gd name="connsiteX250" fmla="*/ 2618646 w 3009712"/>
                <a:gd name="connsiteY250" fmla="*/ 2394393 h 4178187"/>
                <a:gd name="connsiteX251" fmla="*/ 2617073 w 3009712"/>
                <a:gd name="connsiteY251" fmla="*/ 2395180 h 4178187"/>
                <a:gd name="connsiteX252" fmla="*/ 2613926 w 3009712"/>
                <a:gd name="connsiteY252" fmla="*/ 2397934 h 4178187"/>
                <a:gd name="connsiteX253" fmla="*/ 2611171 w 3009712"/>
                <a:gd name="connsiteY253" fmla="*/ 2395573 h 4178187"/>
                <a:gd name="connsiteX254" fmla="*/ 2608417 w 3009712"/>
                <a:gd name="connsiteY254" fmla="*/ 2398720 h 4178187"/>
                <a:gd name="connsiteX255" fmla="*/ 2605663 w 3009712"/>
                <a:gd name="connsiteY255" fmla="*/ 2401474 h 4178187"/>
                <a:gd name="connsiteX256" fmla="*/ 2604090 w 3009712"/>
                <a:gd name="connsiteY256" fmla="*/ 2404228 h 4178187"/>
                <a:gd name="connsiteX257" fmla="*/ 2604483 w 3009712"/>
                <a:gd name="connsiteY257" fmla="*/ 2406982 h 4178187"/>
                <a:gd name="connsiteX258" fmla="*/ 2605270 w 3009712"/>
                <a:gd name="connsiteY258" fmla="*/ 2410130 h 4178187"/>
                <a:gd name="connsiteX259" fmla="*/ 2604483 w 3009712"/>
                <a:gd name="connsiteY259" fmla="*/ 2412490 h 4178187"/>
                <a:gd name="connsiteX260" fmla="*/ 2604090 w 3009712"/>
                <a:gd name="connsiteY260" fmla="*/ 2415244 h 4178187"/>
                <a:gd name="connsiteX261" fmla="*/ 2601336 w 3009712"/>
                <a:gd name="connsiteY261" fmla="*/ 2415244 h 4178187"/>
                <a:gd name="connsiteX262" fmla="*/ 2599369 w 3009712"/>
                <a:gd name="connsiteY262" fmla="*/ 2418392 h 4178187"/>
                <a:gd name="connsiteX263" fmla="*/ 2599369 w 3009712"/>
                <a:gd name="connsiteY263" fmla="*/ 2421539 h 4178187"/>
                <a:gd name="connsiteX264" fmla="*/ 2602516 w 3009712"/>
                <a:gd name="connsiteY264" fmla="*/ 2421146 h 4178187"/>
                <a:gd name="connsiteX265" fmla="*/ 2605663 w 3009712"/>
                <a:gd name="connsiteY265" fmla="*/ 2420752 h 4178187"/>
                <a:gd name="connsiteX266" fmla="*/ 2608417 w 3009712"/>
                <a:gd name="connsiteY266" fmla="*/ 2421146 h 4178187"/>
                <a:gd name="connsiteX267" fmla="*/ 2608811 w 3009712"/>
                <a:gd name="connsiteY267" fmla="*/ 2421539 h 4178187"/>
                <a:gd name="connsiteX268" fmla="*/ 2605663 w 3009712"/>
                <a:gd name="connsiteY268" fmla="*/ 2421932 h 4178187"/>
                <a:gd name="connsiteX269" fmla="*/ 2602909 w 3009712"/>
                <a:gd name="connsiteY269" fmla="*/ 2422326 h 4178187"/>
                <a:gd name="connsiteX270" fmla="*/ 2600156 w 3009712"/>
                <a:gd name="connsiteY270" fmla="*/ 2422719 h 4178187"/>
                <a:gd name="connsiteX271" fmla="*/ 2601336 w 3009712"/>
                <a:gd name="connsiteY271" fmla="*/ 2425473 h 4178187"/>
                <a:gd name="connsiteX272" fmla="*/ 2601729 w 3009712"/>
                <a:gd name="connsiteY272" fmla="*/ 2427834 h 4178187"/>
                <a:gd name="connsiteX273" fmla="*/ 2596221 w 3009712"/>
                <a:gd name="connsiteY273" fmla="*/ 2421146 h 4178187"/>
                <a:gd name="connsiteX274" fmla="*/ 2593467 w 3009712"/>
                <a:gd name="connsiteY274" fmla="*/ 2421539 h 4178187"/>
                <a:gd name="connsiteX275" fmla="*/ 2591500 w 3009712"/>
                <a:gd name="connsiteY275" fmla="*/ 2424293 h 4178187"/>
                <a:gd name="connsiteX276" fmla="*/ 2586779 w 3009712"/>
                <a:gd name="connsiteY276" fmla="*/ 2427441 h 4178187"/>
                <a:gd name="connsiteX277" fmla="*/ 2585205 w 3009712"/>
                <a:gd name="connsiteY277" fmla="*/ 2430588 h 4178187"/>
                <a:gd name="connsiteX278" fmla="*/ 2583632 w 3009712"/>
                <a:gd name="connsiteY278" fmla="*/ 2433342 h 4178187"/>
                <a:gd name="connsiteX279" fmla="*/ 2580878 w 3009712"/>
                <a:gd name="connsiteY279" fmla="*/ 2434129 h 4178187"/>
                <a:gd name="connsiteX280" fmla="*/ 2578517 w 3009712"/>
                <a:gd name="connsiteY280" fmla="*/ 2434522 h 4178187"/>
                <a:gd name="connsiteX281" fmla="*/ 2577730 w 3009712"/>
                <a:gd name="connsiteY281" fmla="*/ 2434916 h 4178187"/>
                <a:gd name="connsiteX282" fmla="*/ 2575370 w 3009712"/>
                <a:gd name="connsiteY282" fmla="*/ 2438063 h 4178187"/>
                <a:gd name="connsiteX283" fmla="*/ 2573796 w 3009712"/>
                <a:gd name="connsiteY283" fmla="*/ 2441210 h 4178187"/>
                <a:gd name="connsiteX284" fmla="*/ 2573009 w 3009712"/>
                <a:gd name="connsiteY284" fmla="*/ 2443964 h 4178187"/>
                <a:gd name="connsiteX285" fmla="*/ 2571829 w 3009712"/>
                <a:gd name="connsiteY285" fmla="*/ 2447112 h 4178187"/>
                <a:gd name="connsiteX286" fmla="*/ 2570649 w 3009712"/>
                <a:gd name="connsiteY286" fmla="*/ 2449866 h 4178187"/>
                <a:gd name="connsiteX287" fmla="*/ 2569075 w 3009712"/>
                <a:gd name="connsiteY287" fmla="*/ 2453013 h 4178187"/>
                <a:gd name="connsiteX288" fmla="*/ 2569075 w 3009712"/>
                <a:gd name="connsiteY288" fmla="*/ 2455767 h 4178187"/>
                <a:gd name="connsiteX289" fmla="*/ 2567501 w 3009712"/>
                <a:gd name="connsiteY289" fmla="*/ 2458128 h 4178187"/>
                <a:gd name="connsiteX290" fmla="*/ 2567108 w 3009712"/>
                <a:gd name="connsiteY290" fmla="*/ 2457734 h 4178187"/>
                <a:gd name="connsiteX291" fmla="*/ 2566714 w 3009712"/>
                <a:gd name="connsiteY291" fmla="*/ 2457341 h 4178187"/>
                <a:gd name="connsiteX292" fmla="*/ 2567895 w 3009712"/>
                <a:gd name="connsiteY292" fmla="*/ 2453800 h 4178187"/>
                <a:gd name="connsiteX293" fmla="*/ 2567501 w 3009712"/>
                <a:gd name="connsiteY293" fmla="*/ 2451046 h 4178187"/>
                <a:gd name="connsiteX294" fmla="*/ 2566714 w 3009712"/>
                <a:gd name="connsiteY294" fmla="*/ 2447899 h 4178187"/>
                <a:gd name="connsiteX295" fmla="*/ 2568681 w 3009712"/>
                <a:gd name="connsiteY295" fmla="*/ 2444751 h 4178187"/>
                <a:gd name="connsiteX296" fmla="*/ 2569075 w 3009712"/>
                <a:gd name="connsiteY296" fmla="*/ 2441604 h 4178187"/>
                <a:gd name="connsiteX297" fmla="*/ 2570649 w 3009712"/>
                <a:gd name="connsiteY297" fmla="*/ 2438850 h 4178187"/>
                <a:gd name="connsiteX298" fmla="*/ 2571042 w 3009712"/>
                <a:gd name="connsiteY298" fmla="*/ 2435702 h 4178187"/>
                <a:gd name="connsiteX299" fmla="*/ 2572616 w 3009712"/>
                <a:gd name="connsiteY299" fmla="*/ 2432949 h 4178187"/>
                <a:gd name="connsiteX300" fmla="*/ 2573796 w 3009712"/>
                <a:gd name="connsiteY300" fmla="*/ 2429801 h 4178187"/>
                <a:gd name="connsiteX301" fmla="*/ 2571042 w 3009712"/>
                <a:gd name="connsiteY301" fmla="*/ 2430195 h 4178187"/>
                <a:gd name="connsiteX302" fmla="*/ 2567895 w 3009712"/>
                <a:gd name="connsiteY302" fmla="*/ 2430588 h 4178187"/>
                <a:gd name="connsiteX303" fmla="*/ 2566321 w 3009712"/>
                <a:gd name="connsiteY303" fmla="*/ 2433735 h 4178187"/>
                <a:gd name="connsiteX304" fmla="*/ 2563173 w 3009712"/>
                <a:gd name="connsiteY304" fmla="*/ 2434522 h 4178187"/>
                <a:gd name="connsiteX305" fmla="*/ 2560419 w 3009712"/>
                <a:gd name="connsiteY305" fmla="*/ 2434916 h 4178187"/>
                <a:gd name="connsiteX306" fmla="*/ 2557665 w 3009712"/>
                <a:gd name="connsiteY306" fmla="*/ 2436883 h 4178187"/>
                <a:gd name="connsiteX307" fmla="*/ 2557272 w 3009712"/>
                <a:gd name="connsiteY307" fmla="*/ 2439637 h 4178187"/>
                <a:gd name="connsiteX308" fmla="*/ 2556879 w 3009712"/>
                <a:gd name="connsiteY308" fmla="*/ 2436883 h 4178187"/>
                <a:gd name="connsiteX309" fmla="*/ 2554912 w 3009712"/>
                <a:gd name="connsiteY309" fmla="*/ 2433735 h 4178187"/>
                <a:gd name="connsiteX310" fmla="*/ 2552158 w 3009712"/>
                <a:gd name="connsiteY310" fmla="*/ 2432555 h 4178187"/>
                <a:gd name="connsiteX311" fmla="*/ 2542715 w 3009712"/>
                <a:gd name="connsiteY311" fmla="*/ 2432555 h 4178187"/>
                <a:gd name="connsiteX312" fmla="*/ 2543109 w 3009712"/>
                <a:gd name="connsiteY312" fmla="*/ 2432555 h 4178187"/>
                <a:gd name="connsiteX313" fmla="*/ 2541142 w 3009712"/>
                <a:gd name="connsiteY313" fmla="*/ 2431375 h 4178187"/>
                <a:gd name="connsiteX314" fmla="*/ 2546256 w 3009712"/>
                <a:gd name="connsiteY314" fmla="*/ 2431375 h 4178187"/>
                <a:gd name="connsiteX315" fmla="*/ 2547043 w 3009712"/>
                <a:gd name="connsiteY315" fmla="*/ 2430981 h 4178187"/>
                <a:gd name="connsiteX316" fmla="*/ 2551764 w 3009712"/>
                <a:gd name="connsiteY316" fmla="*/ 2430588 h 4178187"/>
                <a:gd name="connsiteX317" fmla="*/ 2553338 w 3009712"/>
                <a:gd name="connsiteY317" fmla="*/ 2430195 h 4178187"/>
                <a:gd name="connsiteX318" fmla="*/ 2556092 w 3009712"/>
                <a:gd name="connsiteY318" fmla="*/ 2431768 h 4178187"/>
                <a:gd name="connsiteX319" fmla="*/ 2559239 w 3009712"/>
                <a:gd name="connsiteY319" fmla="*/ 2431375 h 4178187"/>
                <a:gd name="connsiteX320" fmla="*/ 2559632 w 3009712"/>
                <a:gd name="connsiteY320" fmla="*/ 2428227 h 4178187"/>
                <a:gd name="connsiteX321" fmla="*/ 2561600 w 3009712"/>
                <a:gd name="connsiteY321" fmla="*/ 2431375 h 4178187"/>
                <a:gd name="connsiteX322" fmla="*/ 2564354 w 3009712"/>
                <a:gd name="connsiteY322" fmla="*/ 2429014 h 4178187"/>
                <a:gd name="connsiteX323" fmla="*/ 2566714 w 3009712"/>
                <a:gd name="connsiteY323" fmla="*/ 2426260 h 4178187"/>
                <a:gd name="connsiteX324" fmla="*/ 2567108 w 3009712"/>
                <a:gd name="connsiteY324" fmla="*/ 2423113 h 4178187"/>
                <a:gd name="connsiteX325" fmla="*/ 2569075 w 3009712"/>
                <a:gd name="connsiteY325" fmla="*/ 2426260 h 4178187"/>
                <a:gd name="connsiteX326" fmla="*/ 2571829 w 3009712"/>
                <a:gd name="connsiteY326" fmla="*/ 2425473 h 4178187"/>
                <a:gd name="connsiteX327" fmla="*/ 2574583 w 3009712"/>
                <a:gd name="connsiteY327" fmla="*/ 2425867 h 4178187"/>
                <a:gd name="connsiteX328" fmla="*/ 2577337 w 3009712"/>
                <a:gd name="connsiteY328" fmla="*/ 2424293 h 4178187"/>
                <a:gd name="connsiteX329" fmla="*/ 2580484 w 3009712"/>
                <a:gd name="connsiteY329" fmla="*/ 2423506 h 4178187"/>
                <a:gd name="connsiteX330" fmla="*/ 2583238 w 3009712"/>
                <a:gd name="connsiteY330" fmla="*/ 2421932 h 4178187"/>
                <a:gd name="connsiteX331" fmla="*/ 2585992 w 3009712"/>
                <a:gd name="connsiteY331" fmla="*/ 2419965 h 4178187"/>
                <a:gd name="connsiteX332" fmla="*/ 2587172 w 3009712"/>
                <a:gd name="connsiteY332" fmla="*/ 2417212 h 4178187"/>
                <a:gd name="connsiteX333" fmla="*/ 2587566 w 3009712"/>
                <a:gd name="connsiteY333" fmla="*/ 2414064 h 4178187"/>
                <a:gd name="connsiteX334" fmla="*/ 2587566 w 3009712"/>
                <a:gd name="connsiteY334" fmla="*/ 2411310 h 4178187"/>
                <a:gd name="connsiteX335" fmla="*/ 2587959 w 3009712"/>
                <a:gd name="connsiteY335" fmla="*/ 2410917 h 4178187"/>
                <a:gd name="connsiteX336" fmla="*/ 2591107 w 3009712"/>
                <a:gd name="connsiteY336" fmla="*/ 2408163 h 4178187"/>
                <a:gd name="connsiteX337" fmla="*/ 2592680 w 3009712"/>
                <a:gd name="connsiteY337" fmla="*/ 2405015 h 4178187"/>
                <a:gd name="connsiteX338" fmla="*/ 2592680 w 3009712"/>
                <a:gd name="connsiteY338" fmla="*/ 2402261 h 4178187"/>
                <a:gd name="connsiteX339" fmla="*/ 2595828 w 3009712"/>
                <a:gd name="connsiteY339" fmla="*/ 2399901 h 4178187"/>
                <a:gd name="connsiteX340" fmla="*/ 2595828 w 3009712"/>
                <a:gd name="connsiteY340" fmla="*/ 2396753 h 4178187"/>
                <a:gd name="connsiteX341" fmla="*/ 2597008 w 3009712"/>
                <a:gd name="connsiteY341" fmla="*/ 2393999 h 4178187"/>
                <a:gd name="connsiteX342" fmla="*/ 2597402 w 3009712"/>
                <a:gd name="connsiteY342" fmla="*/ 2391245 h 4178187"/>
                <a:gd name="connsiteX343" fmla="*/ 2597795 w 3009712"/>
                <a:gd name="connsiteY343" fmla="*/ 2388098 h 4178187"/>
                <a:gd name="connsiteX344" fmla="*/ 2598975 w 3009712"/>
                <a:gd name="connsiteY344" fmla="*/ 2385344 h 4178187"/>
                <a:gd name="connsiteX345" fmla="*/ 2600549 w 3009712"/>
                <a:gd name="connsiteY345" fmla="*/ 2382196 h 4178187"/>
                <a:gd name="connsiteX346" fmla="*/ 2598582 w 3009712"/>
                <a:gd name="connsiteY346" fmla="*/ 2379049 h 4178187"/>
                <a:gd name="connsiteX347" fmla="*/ 2595828 w 3009712"/>
                <a:gd name="connsiteY347" fmla="*/ 2378656 h 4178187"/>
                <a:gd name="connsiteX348" fmla="*/ 2592680 w 3009712"/>
                <a:gd name="connsiteY348" fmla="*/ 2377869 h 4178187"/>
                <a:gd name="connsiteX349" fmla="*/ 2589926 w 3009712"/>
                <a:gd name="connsiteY349" fmla="*/ 2378262 h 4178187"/>
                <a:gd name="connsiteX350" fmla="*/ 2586779 w 3009712"/>
                <a:gd name="connsiteY350" fmla="*/ 2377475 h 4178187"/>
                <a:gd name="connsiteX351" fmla="*/ 2583632 w 3009712"/>
                <a:gd name="connsiteY351" fmla="*/ 2377082 h 4178187"/>
                <a:gd name="connsiteX352" fmla="*/ 2580484 w 3009712"/>
                <a:gd name="connsiteY352" fmla="*/ 2375902 h 4178187"/>
                <a:gd name="connsiteX353" fmla="*/ 2577337 w 3009712"/>
                <a:gd name="connsiteY353" fmla="*/ 2375115 h 4178187"/>
                <a:gd name="connsiteX354" fmla="*/ 2576943 w 3009712"/>
                <a:gd name="connsiteY354" fmla="*/ 2374328 h 4178187"/>
                <a:gd name="connsiteX355" fmla="*/ 2574583 w 3009712"/>
                <a:gd name="connsiteY355" fmla="*/ 2375115 h 4178187"/>
                <a:gd name="connsiteX356" fmla="*/ 2551371 w 3009712"/>
                <a:gd name="connsiteY356" fmla="*/ 2375508 h 4178187"/>
                <a:gd name="connsiteX357" fmla="*/ 2548617 w 3009712"/>
                <a:gd name="connsiteY357" fmla="*/ 2374721 h 4178187"/>
                <a:gd name="connsiteX358" fmla="*/ 2545863 w 3009712"/>
                <a:gd name="connsiteY358" fmla="*/ 2374328 h 4178187"/>
                <a:gd name="connsiteX359" fmla="*/ 2542322 w 3009712"/>
                <a:gd name="connsiteY359" fmla="*/ 2373935 h 4178187"/>
                <a:gd name="connsiteX360" fmla="*/ 2539568 w 3009712"/>
                <a:gd name="connsiteY360" fmla="*/ 2373541 h 4178187"/>
                <a:gd name="connsiteX361" fmla="*/ 2536420 w 3009712"/>
                <a:gd name="connsiteY361" fmla="*/ 2374721 h 4178187"/>
                <a:gd name="connsiteX362" fmla="*/ 2533666 w 3009712"/>
                <a:gd name="connsiteY362" fmla="*/ 2377082 h 4178187"/>
                <a:gd name="connsiteX363" fmla="*/ 2531306 w 3009712"/>
                <a:gd name="connsiteY363" fmla="*/ 2379836 h 4178187"/>
                <a:gd name="connsiteX364" fmla="*/ 2530125 w 3009712"/>
                <a:gd name="connsiteY364" fmla="*/ 2382983 h 4178187"/>
                <a:gd name="connsiteX365" fmla="*/ 2529732 w 3009712"/>
                <a:gd name="connsiteY365" fmla="*/ 2386131 h 4178187"/>
                <a:gd name="connsiteX366" fmla="*/ 2530125 w 3009712"/>
                <a:gd name="connsiteY366" fmla="*/ 2388885 h 4178187"/>
                <a:gd name="connsiteX367" fmla="*/ 2532093 w 3009712"/>
                <a:gd name="connsiteY367" fmla="*/ 2392032 h 4178187"/>
                <a:gd name="connsiteX368" fmla="*/ 2534847 w 3009712"/>
                <a:gd name="connsiteY368" fmla="*/ 2393606 h 4178187"/>
                <a:gd name="connsiteX369" fmla="*/ 2530519 w 3009712"/>
                <a:gd name="connsiteY369" fmla="*/ 2392425 h 4178187"/>
                <a:gd name="connsiteX370" fmla="*/ 2527765 w 3009712"/>
                <a:gd name="connsiteY370" fmla="*/ 2391639 h 4178187"/>
                <a:gd name="connsiteX371" fmla="*/ 2527372 w 3009712"/>
                <a:gd name="connsiteY371" fmla="*/ 2394393 h 4178187"/>
                <a:gd name="connsiteX372" fmla="*/ 2526978 w 3009712"/>
                <a:gd name="connsiteY372" fmla="*/ 2395180 h 4178187"/>
                <a:gd name="connsiteX373" fmla="*/ 2528552 w 3009712"/>
                <a:gd name="connsiteY373" fmla="*/ 2397934 h 4178187"/>
                <a:gd name="connsiteX374" fmla="*/ 2527372 w 3009712"/>
                <a:gd name="connsiteY374" fmla="*/ 2398327 h 4178187"/>
                <a:gd name="connsiteX375" fmla="*/ 2526585 w 3009712"/>
                <a:gd name="connsiteY375" fmla="*/ 2401081 h 4178187"/>
                <a:gd name="connsiteX376" fmla="*/ 2526978 w 3009712"/>
                <a:gd name="connsiteY376" fmla="*/ 2404228 h 4178187"/>
                <a:gd name="connsiteX377" fmla="*/ 2528552 w 3009712"/>
                <a:gd name="connsiteY377" fmla="*/ 2406982 h 4178187"/>
                <a:gd name="connsiteX378" fmla="*/ 2528945 w 3009712"/>
                <a:gd name="connsiteY378" fmla="*/ 2407376 h 4178187"/>
                <a:gd name="connsiteX379" fmla="*/ 2532093 w 3009712"/>
                <a:gd name="connsiteY379" fmla="*/ 2406589 h 4178187"/>
                <a:gd name="connsiteX380" fmla="*/ 2534453 w 3009712"/>
                <a:gd name="connsiteY380" fmla="*/ 2405015 h 4178187"/>
                <a:gd name="connsiteX381" fmla="*/ 2536027 w 3009712"/>
                <a:gd name="connsiteY381" fmla="*/ 2405409 h 4178187"/>
                <a:gd name="connsiteX382" fmla="*/ 2534453 w 3009712"/>
                <a:gd name="connsiteY382" fmla="*/ 2406982 h 4178187"/>
                <a:gd name="connsiteX383" fmla="*/ 2533666 w 3009712"/>
                <a:gd name="connsiteY383" fmla="*/ 2410130 h 4178187"/>
                <a:gd name="connsiteX384" fmla="*/ 2532093 w 3009712"/>
                <a:gd name="connsiteY384" fmla="*/ 2409736 h 4178187"/>
                <a:gd name="connsiteX385" fmla="*/ 2529339 w 3009712"/>
                <a:gd name="connsiteY385" fmla="*/ 2408556 h 4178187"/>
                <a:gd name="connsiteX386" fmla="*/ 2527765 w 3009712"/>
                <a:gd name="connsiteY386" fmla="*/ 2408556 h 4178187"/>
                <a:gd name="connsiteX387" fmla="*/ 2528552 w 3009712"/>
                <a:gd name="connsiteY387" fmla="*/ 2411703 h 4178187"/>
                <a:gd name="connsiteX388" fmla="*/ 2527765 w 3009712"/>
                <a:gd name="connsiteY388" fmla="*/ 2414458 h 4178187"/>
                <a:gd name="connsiteX389" fmla="*/ 2528552 w 3009712"/>
                <a:gd name="connsiteY389" fmla="*/ 2417605 h 4178187"/>
                <a:gd name="connsiteX390" fmla="*/ 2528552 w 3009712"/>
                <a:gd name="connsiteY390" fmla="*/ 2420359 h 4178187"/>
                <a:gd name="connsiteX391" fmla="*/ 2530519 w 3009712"/>
                <a:gd name="connsiteY391" fmla="*/ 2423506 h 4178187"/>
                <a:gd name="connsiteX392" fmla="*/ 2532880 w 3009712"/>
                <a:gd name="connsiteY392" fmla="*/ 2426654 h 4178187"/>
                <a:gd name="connsiteX393" fmla="*/ 2534847 w 3009712"/>
                <a:gd name="connsiteY393" fmla="*/ 2431768 h 4178187"/>
                <a:gd name="connsiteX394" fmla="*/ 2536420 w 3009712"/>
                <a:gd name="connsiteY394" fmla="*/ 2432162 h 4178187"/>
                <a:gd name="connsiteX395" fmla="*/ 2531699 w 3009712"/>
                <a:gd name="connsiteY395" fmla="*/ 2432162 h 4178187"/>
                <a:gd name="connsiteX396" fmla="*/ 2530912 w 3009712"/>
                <a:gd name="connsiteY396" fmla="*/ 2431375 h 4178187"/>
                <a:gd name="connsiteX397" fmla="*/ 2532093 w 3009712"/>
                <a:gd name="connsiteY397" fmla="*/ 2428621 h 4178187"/>
                <a:gd name="connsiteX398" fmla="*/ 2531699 w 3009712"/>
                <a:gd name="connsiteY398" fmla="*/ 2425473 h 4178187"/>
                <a:gd name="connsiteX399" fmla="*/ 2528945 w 3009712"/>
                <a:gd name="connsiteY399" fmla="*/ 2422326 h 4178187"/>
                <a:gd name="connsiteX400" fmla="*/ 2527765 w 3009712"/>
                <a:gd name="connsiteY400" fmla="*/ 2419572 h 4178187"/>
                <a:gd name="connsiteX401" fmla="*/ 2527372 w 3009712"/>
                <a:gd name="connsiteY401" fmla="*/ 2416818 h 4178187"/>
                <a:gd name="connsiteX402" fmla="*/ 2527765 w 3009712"/>
                <a:gd name="connsiteY402" fmla="*/ 2413671 h 4178187"/>
                <a:gd name="connsiteX403" fmla="*/ 2528158 w 3009712"/>
                <a:gd name="connsiteY403" fmla="*/ 2410917 h 4178187"/>
                <a:gd name="connsiteX404" fmla="*/ 2527372 w 3009712"/>
                <a:gd name="connsiteY404" fmla="*/ 2408163 h 4178187"/>
                <a:gd name="connsiteX405" fmla="*/ 2527372 w 3009712"/>
                <a:gd name="connsiteY405" fmla="*/ 2405015 h 4178187"/>
                <a:gd name="connsiteX406" fmla="*/ 2524618 w 3009712"/>
                <a:gd name="connsiteY406" fmla="*/ 2402261 h 4178187"/>
                <a:gd name="connsiteX407" fmla="*/ 2522257 w 3009712"/>
                <a:gd name="connsiteY407" fmla="*/ 2405409 h 4178187"/>
                <a:gd name="connsiteX408" fmla="*/ 2519503 w 3009712"/>
                <a:gd name="connsiteY408" fmla="*/ 2407769 h 4178187"/>
                <a:gd name="connsiteX409" fmla="*/ 2516749 w 3009712"/>
                <a:gd name="connsiteY409" fmla="*/ 2409343 h 4178187"/>
                <a:gd name="connsiteX410" fmla="*/ 2514782 w 3009712"/>
                <a:gd name="connsiteY410" fmla="*/ 2412490 h 4178187"/>
                <a:gd name="connsiteX411" fmla="*/ 2512028 w 3009712"/>
                <a:gd name="connsiteY411" fmla="*/ 2414064 h 4178187"/>
                <a:gd name="connsiteX412" fmla="*/ 2509274 w 3009712"/>
                <a:gd name="connsiteY412" fmla="*/ 2416425 h 4178187"/>
                <a:gd name="connsiteX413" fmla="*/ 2506127 w 3009712"/>
                <a:gd name="connsiteY413" fmla="*/ 2417998 h 4178187"/>
                <a:gd name="connsiteX414" fmla="*/ 2503373 w 3009712"/>
                <a:gd name="connsiteY414" fmla="*/ 2418785 h 4178187"/>
                <a:gd name="connsiteX415" fmla="*/ 2502586 w 3009712"/>
                <a:gd name="connsiteY415" fmla="*/ 2419179 h 4178187"/>
                <a:gd name="connsiteX416" fmla="*/ 2500225 w 3009712"/>
                <a:gd name="connsiteY416" fmla="*/ 2419572 h 4178187"/>
                <a:gd name="connsiteX417" fmla="*/ 2502192 w 3009712"/>
                <a:gd name="connsiteY417" fmla="*/ 2418392 h 4178187"/>
                <a:gd name="connsiteX418" fmla="*/ 2505340 w 3009712"/>
                <a:gd name="connsiteY418" fmla="*/ 2415638 h 4178187"/>
                <a:gd name="connsiteX419" fmla="*/ 2508094 w 3009712"/>
                <a:gd name="connsiteY419" fmla="*/ 2413277 h 4178187"/>
                <a:gd name="connsiteX420" fmla="*/ 2510454 w 3009712"/>
                <a:gd name="connsiteY420" fmla="*/ 2410130 h 4178187"/>
                <a:gd name="connsiteX421" fmla="*/ 2512028 w 3009712"/>
                <a:gd name="connsiteY421" fmla="*/ 2407376 h 4178187"/>
                <a:gd name="connsiteX422" fmla="*/ 2514782 w 3009712"/>
                <a:gd name="connsiteY422" fmla="*/ 2404228 h 4178187"/>
                <a:gd name="connsiteX423" fmla="*/ 2515175 w 3009712"/>
                <a:gd name="connsiteY423" fmla="*/ 2401474 h 4178187"/>
                <a:gd name="connsiteX424" fmla="*/ 2515962 w 3009712"/>
                <a:gd name="connsiteY424" fmla="*/ 2398327 h 4178187"/>
                <a:gd name="connsiteX425" fmla="*/ 2517536 w 3009712"/>
                <a:gd name="connsiteY425" fmla="*/ 2395573 h 4178187"/>
                <a:gd name="connsiteX426" fmla="*/ 2517142 w 3009712"/>
                <a:gd name="connsiteY426" fmla="*/ 2392425 h 4178187"/>
                <a:gd name="connsiteX427" fmla="*/ 2514388 w 3009712"/>
                <a:gd name="connsiteY427" fmla="*/ 2389672 h 4178187"/>
                <a:gd name="connsiteX428" fmla="*/ 2511241 w 3009712"/>
                <a:gd name="connsiteY428" fmla="*/ 2389672 h 4178187"/>
                <a:gd name="connsiteX429" fmla="*/ 2508487 w 3009712"/>
                <a:gd name="connsiteY429" fmla="*/ 2391245 h 4178187"/>
                <a:gd name="connsiteX430" fmla="*/ 2505733 w 3009712"/>
                <a:gd name="connsiteY430" fmla="*/ 2393999 h 4178187"/>
                <a:gd name="connsiteX431" fmla="*/ 2503373 w 3009712"/>
                <a:gd name="connsiteY431" fmla="*/ 2397147 h 4178187"/>
                <a:gd name="connsiteX432" fmla="*/ 2502979 w 3009712"/>
                <a:gd name="connsiteY432" fmla="*/ 2400294 h 4178187"/>
                <a:gd name="connsiteX433" fmla="*/ 2502586 w 3009712"/>
                <a:gd name="connsiteY433" fmla="*/ 2403048 h 4178187"/>
                <a:gd name="connsiteX434" fmla="*/ 2502979 w 3009712"/>
                <a:gd name="connsiteY434" fmla="*/ 2406195 h 4178187"/>
                <a:gd name="connsiteX435" fmla="*/ 2501799 w 3009712"/>
                <a:gd name="connsiteY435" fmla="*/ 2409343 h 4178187"/>
                <a:gd name="connsiteX436" fmla="*/ 2498651 w 3009712"/>
                <a:gd name="connsiteY436" fmla="*/ 2410917 h 4178187"/>
                <a:gd name="connsiteX437" fmla="*/ 2495898 w 3009712"/>
                <a:gd name="connsiteY437" fmla="*/ 2412490 h 4178187"/>
                <a:gd name="connsiteX438" fmla="*/ 2496291 w 3009712"/>
                <a:gd name="connsiteY438" fmla="*/ 2415638 h 4178187"/>
                <a:gd name="connsiteX439" fmla="*/ 2495111 w 3009712"/>
                <a:gd name="connsiteY439" fmla="*/ 2418785 h 4178187"/>
                <a:gd name="connsiteX440" fmla="*/ 2495504 w 3009712"/>
                <a:gd name="connsiteY440" fmla="*/ 2420752 h 4178187"/>
                <a:gd name="connsiteX441" fmla="*/ 2493144 w 3009712"/>
                <a:gd name="connsiteY441" fmla="*/ 2421146 h 4178187"/>
                <a:gd name="connsiteX442" fmla="*/ 2492357 w 3009712"/>
                <a:gd name="connsiteY442" fmla="*/ 2420359 h 4178187"/>
                <a:gd name="connsiteX443" fmla="*/ 2489996 w 3009712"/>
                <a:gd name="connsiteY443" fmla="*/ 2421539 h 4178187"/>
                <a:gd name="connsiteX444" fmla="*/ 2471112 w 3009712"/>
                <a:gd name="connsiteY444" fmla="*/ 2425473 h 4178187"/>
                <a:gd name="connsiteX445" fmla="*/ 2471112 w 3009712"/>
                <a:gd name="connsiteY445" fmla="*/ 2425080 h 4178187"/>
                <a:gd name="connsiteX446" fmla="*/ 2471505 w 3009712"/>
                <a:gd name="connsiteY446" fmla="*/ 2424293 h 4178187"/>
                <a:gd name="connsiteX447" fmla="*/ 2473866 w 3009712"/>
                <a:gd name="connsiteY447" fmla="*/ 2423506 h 4178187"/>
                <a:gd name="connsiteX448" fmla="*/ 2477013 w 3009712"/>
                <a:gd name="connsiteY448" fmla="*/ 2422326 h 4178187"/>
                <a:gd name="connsiteX449" fmla="*/ 2479767 w 3009712"/>
                <a:gd name="connsiteY449" fmla="*/ 2419965 h 4178187"/>
                <a:gd name="connsiteX450" fmla="*/ 2482914 w 3009712"/>
                <a:gd name="connsiteY450" fmla="*/ 2418785 h 4178187"/>
                <a:gd name="connsiteX451" fmla="*/ 2486062 w 3009712"/>
                <a:gd name="connsiteY451" fmla="*/ 2416818 h 4178187"/>
                <a:gd name="connsiteX452" fmla="*/ 2489209 w 3009712"/>
                <a:gd name="connsiteY452" fmla="*/ 2419179 h 4178187"/>
                <a:gd name="connsiteX453" fmla="*/ 2491963 w 3009712"/>
                <a:gd name="connsiteY453" fmla="*/ 2419179 h 4178187"/>
                <a:gd name="connsiteX454" fmla="*/ 2494717 w 3009712"/>
                <a:gd name="connsiteY454" fmla="*/ 2416425 h 4178187"/>
                <a:gd name="connsiteX455" fmla="*/ 2495111 w 3009712"/>
                <a:gd name="connsiteY455" fmla="*/ 2413277 h 4178187"/>
                <a:gd name="connsiteX456" fmla="*/ 2495504 w 3009712"/>
                <a:gd name="connsiteY456" fmla="*/ 2410523 h 4178187"/>
                <a:gd name="connsiteX457" fmla="*/ 2495504 w 3009712"/>
                <a:gd name="connsiteY457" fmla="*/ 2410130 h 4178187"/>
                <a:gd name="connsiteX458" fmla="*/ 2498651 w 3009712"/>
                <a:gd name="connsiteY458" fmla="*/ 2408556 h 4178187"/>
                <a:gd name="connsiteX459" fmla="*/ 2501405 w 3009712"/>
                <a:gd name="connsiteY459" fmla="*/ 2405802 h 4178187"/>
                <a:gd name="connsiteX460" fmla="*/ 2501012 w 3009712"/>
                <a:gd name="connsiteY460" fmla="*/ 2402655 h 4178187"/>
                <a:gd name="connsiteX461" fmla="*/ 2501012 w 3009712"/>
                <a:gd name="connsiteY461" fmla="*/ 2400294 h 4178187"/>
                <a:gd name="connsiteX462" fmla="*/ 2507307 w 3009712"/>
                <a:gd name="connsiteY462" fmla="*/ 2389278 h 4178187"/>
                <a:gd name="connsiteX463" fmla="*/ 2508487 w 3009712"/>
                <a:gd name="connsiteY463" fmla="*/ 2388098 h 4178187"/>
                <a:gd name="connsiteX464" fmla="*/ 2510061 w 3009712"/>
                <a:gd name="connsiteY464" fmla="*/ 2384951 h 4178187"/>
                <a:gd name="connsiteX465" fmla="*/ 2511241 w 3009712"/>
                <a:gd name="connsiteY465" fmla="*/ 2382196 h 4178187"/>
                <a:gd name="connsiteX466" fmla="*/ 2515569 w 3009712"/>
                <a:gd name="connsiteY466" fmla="*/ 2374721 h 4178187"/>
                <a:gd name="connsiteX467" fmla="*/ 2518323 w 3009712"/>
                <a:gd name="connsiteY467" fmla="*/ 2373541 h 4178187"/>
                <a:gd name="connsiteX468" fmla="*/ 2519503 w 3009712"/>
                <a:gd name="connsiteY468" fmla="*/ 2372754 h 4178187"/>
                <a:gd name="connsiteX469" fmla="*/ 2520683 w 3009712"/>
                <a:gd name="connsiteY469" fmla="*/ 2370787 h 4178187"/>
                <a:gd name="connsiteX470" fmla="*/ 2525011 w 3009712"/>
                <a:gd name="connsiteY470" fmla="*/ 2365673 h 4178187"/>
                <a:gd name="connsiteX471" fmla="*/ 2525405 w 3009712"/>
                <a:gd name="connsiteY471" fmla="*/ 2365279 h 4178187"/>
                <a:gd name="connsiteX472" fmla="*/ 2528158 w 3009712"/>
                <a:gd name="connsiteY472" fmla="*/ 2365279 h 4178187"/>
                <a:gd name="connsiteX473" fmla="*/ 2530519 w 3009712"/>
                <a:gd name="connsiteY473" fmla="*/ 2362132 h 4178187"/>
                <a:gd name="connsiteX474" fmla="*/ 2532880 w 3009712"/>
                <a:gd name="connsiteY474" fmla="*/ 2359378 h 4178187"/>
                <a:gd name="connsiteX475" fmla="*/ 2534847 w 3009712"/>
                <a:gd name="connsiteY475" fmla="*/ 2356624 h 4178187"/>
                <a:gd name="connsiteX476" fmla="*/ 2536420 w 3009712"/>
                <a:gd name="connsiteY476" fmla="*/ 2353476 h 4178187"/>
                <a:gd name="connsiteX477" fmla="*/ 2537207 w 3009712"/>
                <a:gd name="connsiteY477" fmla="*/ 2351509 h 4178187"/>
                <a:gd name="connsiteX478" fmla="*/ 2543109 w 3009712"/>
                <a:gd name="connsiteY478" fmla="*/ 2344821 h 4178187"/>
                <a:gd name="connsiteX479" fmla="*/ 2543109 w 3009712"/>
                <a:gd name="connsiteY479" fmla="*/ 2344821 h 4178187"/>
                <a:gd name="connsiteX480" fmla="*/ 2543109 w 3009712"/>
                <a:gd name="connsiteY480" fmla="*/ 2344821 h 4178187"/>
                <a:gd name="connsiteX481" fmla="*/ 2544682 w 3009712"/>
                <a:gd name="connsiteY481" fmla="*/ 2342854 h 4178187"/>
                <a:gd name="connsiteX482" fmla="*/ 2544682 w 3009712"/>
                <a:gd name="connsiteY482" fmla="*/ 2345608 h 4178187"/>
                <a:gd name="connsiteX483" fmla="*/ 2547043 w 3009712"/>
                <a:gd name="connsiteY483" fmla="*/ 2345214 h 4178187"/>
                <a:gd name="connsiteX484" fmla="*/ 2549797 w 3009712"/>
                <a:gd name="connsiteY484" fmla="*/ 2344034 h 4178187"/>
                <a:gd name="connsiteX485" fmla="*/ 2550190 w 3009712"/>
                <a:gd name="connsiteY485" fmla="*/ 2340887 h 4178187"/>
                <a:gd name="connsiteX486" fmla="*/ 2547436 w 3009712"/>
                <a:gd name="connsiteY486" fmla="*/ 2340493 h 4178187"/>
                <a:gd name="connsiteX487" fmla="*/ 2544682 w 3009712"/>
                <a:gd name="connsiteY487" fmla="*/ 2342067 h 4178187"/>
                <a:gd name="connsiteX488" fmla="*/ 2551764 w 3009712"/>
                <a:gd name="connsiteY488" fmla="*/ 2333805 h 4178187"/>
                <a:gd name="connsiteX489" fmla="*/ 2554518 w 3009712"/>
                <a:gd name="connsiteY489" fmla="*/ 2331051 h 4178187"/>
                <a:gd name="connsiteX490" fmla="*/ 2551764 w 3009712"/>
                <a:gd name="connsiteY490" fmla="*/ 2329477 h 4178187"/>
                <a:gd name="connsiteX491" fmla="*/ 2548223 w 3009712"/>
                <a:gd name="connsiteY491" fmla="*/ 2329871 h 4178187"/>
                <a:gd name="connsiteX492" fmla="*/ 2551764 w 3009712"/>
                <a:gd name="connsiteY492" fmla="*/ 2328297 h 4178187"/>
                <a:gd name="connsiteX493" fmla="*/ 2554518 w 3009712"/>
                <a:gd name="connsiteY493" fmla="*/ 2326723 h 4178187"/>
                <a:gd name="connsiteX494" fmla="*/ 2555305 w 3009712"/>
                <a:gd name="connsiteY494" fmla="*/ 2323576 h 4178187"/>
                <a:gd name="connsiteX495" fmla="*/ 2555698 w 3009712"/>
                <a:gd name="connsiteY495" fmla="*/ 2320822 h 4178187"/>
                <a:gd name="connsiteX496" fmla="*/ 2555305 w 3009712"/>
                <a:gd name="connsiteY496" fmla="*/ 2318068 h 4178187"/>
                <a:gd name="connsiteX497" fmla="*/ 2554518 w 3009712"/>
                <a:gd name="connsiteY497" fmla="*/ 2315314 h 4178187"/>
                <a:gd name="connsiteX498" fmla="*/ 2552158 w 3009712"/>
                <a:gd name="connsiteY498" fmla="*/ 2312167 h 4178187"/>
                <a:gd name="connsiteX499" fmla="*/ 2551371 w 3009712"/>
                <a:gd name="connsiteY499" fmla="*/ 2311773 h 4178187"/>
                <a:gd name="connsiteX500" fmla="*/ 2541142 w 3009712"/>
                <a:gd name="connsiteY500" fmla="*/ 2305872 h 4178187"/>
                <a:gd name="connsiteX501" fmla="*/ 2542715 w 3009712"/>
                <a:gd name="connsiteY501" fmla="*/ 2304691 h 4178187"/>
                <a:gd name="connsiteX502" fmla="*/ 2541535 w 3009712"/>
                <a:gd name="connsiteY502" fmla="*/ 2301937 h 4178187"/>
                <a:gd name="connsiteX503" fmla="*/ 2539568 w 3009712"/>
                <a:gd name="connsiteY503" fmla="*/ 2298790 h 4178187"/>
                <a:gd name="connsiteX504" fmla="*/ 2536814 w 3009712"/>
                <a:gd name="connsiteY504" fmla="*/ 2301151 h 4178187"/>
                <a:gd name="connsiteX505" fmla="*/ 2537601 w 3009712"/>
                <a:gd name="connsiteY505" fmla="*/ 2303905 h 4178187"/>
                <a:gd name="connsiteX506" fmla="*/ 2537601 w 3009712"/>
                <a:gd name="connsiteY506" fmla="*/ 2303905 h 4178187"/>
                <a:gd name="connsiteX507" fmla="*/ 2534453 w 3009712"/>
                <a:gd name="connsiteY507" fmla="*/ 2301937 h 4178187"/>
                <a:gd name="connsiteX508" fmla="*/ 2534060 w 3009712"/>
                <a:gd name="connsiteY508" fmla="*/ 2300757 h 4178187"/>
                <a:gd name="connsiteX509" fmla="*/ 2530912 w 3009712"/>
                <a:gd name="connsiteY509" fmla="*/ 2298790 h 4178187"/>
                <a:gd name="connsiteX510" fmla="*/ 2529339 w 3009712"/>
                <a:gd name="connsiteY510" fmla="*/ 2299184 h 4178187"/>
                <a:gd name="connsiteX511" fmla="*/ 2531306 w 3009712"/>
                <a:gd name="connsiteY511" fmla="*/ 2296430 h 4178187"/>
                <a:gd name="connsiteX512" fmla="*/ 2530519 w 3009712"/>
                <a:gd name="connsiteY512" fmla="*/ 2293282 h 4178187"/>
                <a:gd name="connsiteX513" fmla="*/ 2529339 w 3009712"/>
                <a:gd name="connsiteY513" fmla="*/ 2290528 h 4178187"/>
                <a:gd name="connsiteX514" fmla="*/ 2528945 w 3009712"/>
                <a:gd name="connsiteY514" fmla="*/ 2287774 h 4178187"/>
                <a:gd name="connsiteX515" fmla="*/ 2527372 w 3009712"/>
                <a:gd name="connsiteY515" fmla="*/ 2284233 h 4178187"/>
                <a:gd name="connsiteX516" fmla="*/ 2527372 w 3009712"/>
                <a:gd name="connsiteY516" fmla="*/ 2281479 h 4178187"/>
                <a:gd name="connsiteX517" fmla="*/ 2526585 w 3009712"/>
                <a:gd name="connsiteY517" fmla="*/ 2278332 h 4178187"/>
                <a:gd name="connsiteX518" fmla="*/ 2524224 w 3009712"/>
                <a:gd name="connsiteY518" fmla="*/ 2275184 h 4178187"/>
                <a:gd name="connsiteX519" fmla="*/ 2524224 w 3009712"/>
                <a:gd name="connsiteY519" fmla="*/ 2272430 h 4178187"/>
                <a:gd name="connsiteX520" fmla="*/ 2523437 w 3009712"/>
                <a:gd name="connsiteY520" fmla="*/ 2269283 h 4178187"/>
                <a:gd name="connsiteX521" fmla="*/ 2522257 w 3009712"/>
                <a:gd name="connsiteY521" fmla="*/ 2266136 h 4178187"/>
                <a:gd name="connsiteX522" fmla="*/ 2521864 w 3009712"/>
                <a:gd name="connsiteY522" fmla="*/ 2262988 h 4178187"/>
                <a:gd name="connsiteX523" fmla="*/ 2521077 w 3009712"/>
                <a:gd name="connsiteY523" fmla="*/ 2260234 h 4178187"/>
                <a:gd name="connsiteX524" fmla="*/ 2520683 w 3009712"/>
                <a:gd name="connsiteY524" fmla="*/ 2257480 h 4178187"/>
                <a:gd name="connsiteX525" fmla="*/ 2520290 w 3009712"/>
                <a:gd name="connsiteY525" fmla="*/ 2254333 h 4178187"/>
                <a:gd name="connsiteX526" fmla="*/ 2520290 w 3009712"/>
                <a:gd name="connsiteY526" fmla="*/ 2248038 h 4178187"/>
                <a:gd name="connsiteX527" fmla="*/ 2520683 w 3009712"/>
                <a:gd name="connsiteY527" fmla="*/ 2244891 h 4178187"/>
                <a:gd name="connsiteX528" fmla="*/ 2520290 w 3009712"/>
                <a:gd name="connsiteY528" fmla="*/ 2241743 h 4178187"/>
                <a:gd name="connsiteX529" fmla="*/ 2520290 w 3009712"/>
                <a:gd name="connsiteY529" fmla="*/ 2238989 h 4178187"/>
                <a:gd name="connsiteX530" fmla="*/ 2517929 w 3009712"/>
                <a:gd name="connsiteY530" fmla="*/ 2241743 h 4178187"/>
                <a:gd name="connsiteX531" fmla="*/ 2517536 w 3009712"/>
                <a:gd name="connsiteY531" fmla="*/ 2244891 h 4178187"/>
                <a:gd name="connsiteX532" fmla="*/ 2516749 w 3009712"/>
                <a:gd name="connsiteY532" fmla="*/ 2246464 h 4178187"/>
                <a:gd name="connsiteX533" fmla="*/ 2517142 w 3009712"/>
                <a:gd name="connsiteY533" fmla="*/ 2243710 h 4178187"/>
                <a:gd name="connsiteX534" fmla="*/ 2517536 w 3009712"/>
                <a:gd name="connsiteY534" fmla="*/ 2240563 h 4178187"/>
                <a:gd name="connsiteX535" fmla="*/ 2517536 w 3009712"/>
                <a:gd name="connsiteY535" fmla="*/ 2234662 h 4178187"/>
                <a:gd name="connsiteX536" fmla="*/ 2515962 w 3009712"/>
                <a:gd name="connsiteY536" fmla="*/ 2231514 h 4178187"/>
                <a:gd name="connsiteX537" fmla="*/ 2513995 w 3009712"/>
                <a:gd name="connsiteY537" fmla="*/ 2228760 h 4178187"/>
                <a:gd name="connsiteX538" fmla="*/ 2511241 w 3009712"/>
                <a:gd name="connsiteY538" fmla="*/ 2225613 h 4178187"/>
                <a:gd name="connsiteX539" fmla="*/ 2508094 w 3009712"/>
                <a:gd name="connsiteY539" fmla="*/ 2223252 h 4178187"/>
                <a:gd name="connsiteX540" fmla="*/ 2506520 w 3009712"/>
                <a:gd name="connsiteY540" fmla="*/ 2226400 h 4178187"/>
                <a:gd name="connsiteX541" fmla="*/ 2506913 w 3009712"/>
                <a:gd name="connsiteY541" fmla="*/ 2229154 h 4178187"/>
                <a:gd name="connsiteX542" fmla="*/ 2508094 w 3009712"/>
                <a:gd name="connsiteY542" fmla="*/ 2231908 h 4178187"/>
                <a:gd name="connsiteX543" fmla="*/ 2509274 w 3009712"/>
                <a:gd name="connsiteY543" fmla="*/ 2235055 h 4178187"/>
                <a:gd name="connsiteX544" fmla="*/ 2507307 w 3009712"/>
                <a:gd name="connsiteY544" fmla="*/ 2232301 h 4178187"/>
                <a:gd name="connsiteX545" fmla="*/ 2506520 w 3009712"/>
                <a:gd name="connsiteY545" fmla="*/ 2229154 h 4178187"/>
                <a:gd name="connsiteX546" fmla="*/ 2503766 w 3009712"/>
                <a:gd name="connsiteY546" fmla="*/ 2231908 h 4178187"/>
                <a:gd name="connsiteX547" fmla="*/ 2501799 w 3009712"/>
                <a:gd name="connsiteY547" fmla="*/ 2233481 h 4178187"/>
                <a:gd name="connsiteX548" fmla="*/ 2502979 w 3009712"/>
                <a:gd name="connsiteY548" fmla="*/ 2230334 h 4178187"/>
                <a:gd name="connsiteX549" fmla="*/ 2503373 w 3009712"/>
                <a:gd name="connsiteY549" fmla="*/ 2227580 h 4178187"/>
                <a:gd name="connsiteX550" fmla="*/ 2501799 w 3009712"/>
                <a:gd name="connsiteY550" fmla="*/ 2224826 h 4178187"/>
                <a:gd name="connsiteX551" fmla="*/ 2502586 w 3009712"/>
                <a:gd name="connsiteY551" fmla="*/ 2221679 h 4178187"/>
                <a:gd name="connsiteX552" fmla="*/ 2500619 w 3009712"/>
                <a:gd name="connsiteY552" fmla="*/ 2218925 h 4178187"/>
                <a:gd name="connsiteX553" fmla="*/ 2500225 w 3009712"/>
                <a:gd name="connsiteY553" fmla="*/ 2215777 h 4178187"/>
                <a:gd name="connsiteX554" fmla="*/ 2498258 w 3009712"/>
                <a:gd name="connsiteY554" fmla="*/ 2213023 h 4178187"/>
                <a:gd name="connsiteX555" fmla="*/ 2495504 w 3009712"/>
                <a:gd name="connsiteY555" fmla="*/ 2215384 h 4178187"/>
                <a:gd name="connsiteX556" fmla="*/ 2495504 w 3009712"/>
                <a:gd name="connsiteY556" fmla="*/ 2220892 h 4178187"/>
                <a:gd name="connsiteX557" fmla="*/ 2492357 w 3009712"/>
                <a:gd name="connsiteY557" fmla="*/ 2223252 h 4178187"/>
                <a:gd name="connsiteX558" fmla="*/ 2494717 w 3009712"/>
                <a:gd name="connsiteY558" fmla="*/ 2220498 h 4178187"/>
                <a:gd name="connsiteX559" fmla="*/ 2494717 w 3009712"/>
                <a:gd name="connsiteY559" fmla="*/ 2217351 h 4178187"/>
                <a:gd name="connsiteX560" fmla="*/ 2494324 w 3009712"/>
                <a:gd name="connsiteY560" fmla="*/ 2214597 h 4178187"/>
                <a:gd name="connsiteX561" fmla="*/ 2493144 w 3009712"/>
                <a:gd name="connsiteY561" fmla="*/ 2211843 h 4178187"/>
                <a:gd name="connsiteX562" fmla="*/ 2490783 w 3009712"/>
                <a:gd name="connsiteY562" fmla="*/ 2209089 h 4178187"/>
                <a:gd name="connsiteX563" fmla="*/ 2488029 w 3009712"/>
                <a:gd name="connsiteY563" fmla="*/ 2205942 h 4178187"/>
                <a:gd name="connsiteX564" fmla="*/ 2485275 w 3009712"/>
                <a:gd name="connsiteY564" fmla="*/ 2206728 h 4178187"/>
                <a:gd name="connsiteX565" fmla="*/ 2484095 w 3009712"/>
                <a:gd name="connsiteY565" fmla="*/ 2209089 h 4178187"/>
                <a:gd name="connsiteX566" fmla="*/ 2483308 w 3009712"/>
                <a:gd name="connsiteY566" fmla="*/ 2210269 h 4178187"/>
                <a:gd name="connsiteX567" fmla="*/ 2484095 w 3009712"/>
                <a:gd name="connsiteY567" fmla="*/ 2207515 h 4178187"/>
                <a:gd name="connsiteX568" fmla="*/ 2485668 w 3009712"/>
                <a:gd name="connsiteY568" fmla="*/ 2204368 h 4178187"/>
                <a:gd name="connsiteX569" fmla="*/ 2482914 w 3009712"/>
                <a:gd name="connsiteY569" fmla="*/ 2203974 h 4178187"/>
                <a:gd name="connsiteX570" fmla="*/ 2482521 w 3009712"/>
                <a:gd name="connsiteY570" fmla="*/ 2203581 h 4178187"/>
                <a:gd name="connsiteX571" fmla="*/ 2481341 w 3009712"/>
                <a:gd name="connsiteY571" fmla="*/ 2200827 h 4178187"/>
                <a:gd name="connsiteX572" fmla="*/ 2478587 w 3009712"/>
                <a:gd name="connsiteY572" fmla="*/ 2199253 h 4178187"/>
                <a:gd name="connsiteX573" fmla="*/ 2475439 w 3009712"/>
                <a:gd name="connsiteY573" fmla="*/ 2196499 h 4178187"/>
                <a:gd name="connsiteX574" fmla="*/ 2473472 w 3009712"/>
                <a:gd name="connsiteY574" fmla="*/ 2193352 h 4178187"/>
                <a:gd name="connsiteX575" fmla="*/ 2470718 w 3009712"/>
                <a:gd name="connsiteY575" fmla="*/ 2190598 h 4178187"/>
                <a:gd name="connsiteX576" fmla="*/ 2468358 w 3009712"/>
                <a:gd name="connsiteY576" fmla="*/ 2187450 h 4178187"/>
                <a:gd name="connsiteX577" fmla="*/ 2465604 w 3009712"/>
                <a:gd name="connsiteY577" fmla="*/ 2185090 h 4178187"/>
                <a:gd name="connsiteX578" fmla="*/ 2464030 w 3009712"/>
                <a:gd name="connsiteY578" fmla="*/ 2185483 h 4178187"/>
                <a:gd name="connsiteX579" fmla="*/ 2461276 w 3009712"/>
                <a:gd name="connsiteY579" fmla="*/ 2183910 h 4178187"/>
                <a:gd name="connsiteX580" fmla="*/ 2460096 w 3009712"/>
                <a:gd name="connsiteY580" fmla="*/ 2183516 h 4178187"/>
                <a:gd name="connsiteX581" fmla="*/ 2449473 w 3009712"/>
                <a:gd name="connsiteY581" fmla="*/ 2180762 h 4178187"/>
                <a:gd name="connsiteX582" fmla="*/ 2446326 w 3009712"/>
                <a:gd name="connsiteY582" fmla="*/ 2178402 h 4178187"/>
                <a:gd name="connsiteX583" fmla="*/ 2443572 w 3009712"/>
                <a:gd name="connsiteY583" fmla="*/ 2176435 h 4178187"/>
                <a:gd name="connsiteX584" fmla="*/ 2440818 w 3009712"/>
                <a:gd name="connsiteY584" fmla="*/ 2174861 h 4178187"/>
                <a:gd name="connsiteX585" fmla="*/ 2438064 w 3009712"/>
                <a:gd name="connsiteY585" fmla="*/ 2174467 h 4178187"/>
                <a:gd name="connsiteX586" fmla="*/ 2434916 w 3009712"/>
                <a:gd name="connsiteY586" fmla="*/ 2176435 h 4178187"/>
                <a:gd name="connsiteX587" fmla="*/ 2434130 w 3009712"/>
                <a:gd name="connsiteY587" fmla="*/ 2179189 h 4178187"/>
                <a:gd name="connsiteX588" fmla="*/ 2433736 w 3009712"/>
                <a:gd name="connsiteY588" fmla="*/ 2182336 h 4178187"/>
                <a:gd name="connsiteX589" fmla="*/ 2432162 w 3009712"/>
                <a:gd name="connsiteY589" fmla="*/ 2185090 h 4178187"/>
                <a:gd name="connsiteX590" fmla="*/ 2431769 w 3009712"/>
                <a:gd name="connsiteY590" fmla="*/ 2185877 h 4178187"/>
                <a:gd name="connsiteX591" fmla="*/ 2429015 w 3009712"/>
                <a:gd name="connsiteY591" fmla="*/ 2188237 h 4178187"/>
                <a:gd name="connsiteX592" fmla="*/ 2430589 w 3009712"/>
                <a:gd name="connsiteY592" fmla="*/ 2185483 h 4178187"/>
                <a:gd name="connsiteX593" fmla="*/ 2432949 w 3009712"/>
                <a:gd name="connsiteY593" fmla="*/ 2182336 h 4178187"/>
                <a:gd name="connsiteX594" fmla="*/ 2433343 w 3009712"/>
                <a:gd name="connsiteY594" fmla="*/ 2179582 h 4178187"/>
                <a:gd name="connsiteX595" fmla="*/ 2433736 w 3009712"/>
                <a:gd name="connsiteY595" fmla="*/ 2176828 h 4178187"/>
                <a:gd name="connsiteX596" fmla="*/ 2432162 w 3009712"/>
                <a:gd name="connsiteY596" fmla="*/ 2179975 h 4178187"/>
                <a:gd name="connsiteX597" fmla="*/ 2432162 w 3009712"/>
                <a:gd name="connsiteY597" fmla="*/ 2179582 h 4178187"/>
                <a:gd name="connsiteX598" fmla="*/ 2432949 w 3009712"/>
                <a:gd name="connsiteY598" fmla="*/ 2176828 h 4178187"/>
                <a:gd name="connsiteX599" fmla="*/ 2433343 w 3009712"/>
                <a:gd name="connsiteY599" fmla="*/ 2173681 h 4178187"/>
                <a:gd name="connsiteX600" fmla="*/ 2430589 w 3009712"/>
                <a:gd name="connsiteY600" fmla="*/ 2171713 h 4178187"/>
                <a:gd name="connsiteX601" fmla="*/ 2427835 w 3009712"/>
                <a:gd name="connsiteY601" fmla="*/ 2170140 h 4178187"/>
                <a:gd name="connsiteX602" fmla="*/ 2424687 w 3009712"/>
                <a:gd name="connsiteY602" fmla="*/ 2169353 h 4178187"/>
                <a:gd name="connsiteX603" fmla="*/ 2421933 w 3009712"/>
                <a:gd name="connsiteY603" fmla="*/ 2168959 h 4178187"/>
                <a:gd name="connsiteX604" fmla="*/ 2419179 w 3009712"/>
                <a:gd name="connsiteY604" fmla="*/ 2168566 h 4178187"/>
                <a:gd name="connsiteX605" fmla="*/ 2416425 w 3009712"/>
                <a:gd name="connsiteY605" fmla="*/ 2167779 h 4178187"/>
                <a:gd name="connsiteX606" fmla="*/ 2413278 w 3009712"/>
                <a:gd name="connsiteY606" fmla="*/ 2167386 h 4178187"/>
                <a:gd name="connsiteX607" fmla="*/ 2412884 w 3009712"/>
                <a:gd name="connsiteY607" fmla="*/ 2167386 h 4178187"/>
                <a:gd name="connsiteX608" fmla="*/ 2409737 w 3009712"/>
                <a:gd name="connsiteY608" fmla="*/ 2166599 h 4178187"/>
                <a:gd name="connsiteX609" fmla="*/ 2406983 w 3009712"/>
                <a:gd name="connsiteY609" fmla="*/ 2166205 h 4178187"/>
                <a:gd name="connsiteX610" fmla="*/ 2404229 w 3009712"/>
                <a:gd name="connsiteY610" fmla="*/ 2166205 h 4178187"/>
                <a:gd name="connsiteX611" fmla="*/ 2401082 w 3009712"/>
                <a:gd name="connsiteY611" fmla="*/ 2166205 h 4178187"/>
                <a:gd name="connsiteX612" fmla="*/ 2400688 w 3009712"/>
                <a:gd name="connsiteY612" fmla="*/ 2168959 h 4178187"/>
                <a:gd name="connsiteX613" fmla="*/ 2403836 w 3009712"/>
                <a:gd name="connsiteY613" fmla="*/ 2170533 h 4178187"/>
                <a:gd name="connsiteX614" fmla="*/ 2407770 w 3009712"/>
                <a:gd name="connsiteY614" fmla="*/ 2170927 h 4178187"/>
                <a:gd name="connsiteX615" fmla="*/ 2403836 w 3009712"/>
                <a:gd name="connsiteY615" fmla="*/ 2170927 h 4178187"/>
                <a:gd name="connsiteX616" fmla="*/ 2401082 w 3009712"/>
                <a:gd name="connsiteY616" fmla="*/ 2170533 h 4178187"/>
                <a:gd name="connsiteX617" fmla="*/ 2399901 w 3009712"/>
                <a:gd name="connsiteY617" fmla="*/ 2172107 h 4178187"/>
                <a:gd name="connsiteX618" fmla="*/ 2399115 w 3009712"/>
                <a:gd name="connsiteY618" fmla="*/ 2169353 h 4178187"/>
                <a:gd name="connsiteX619" fmla="*/ 2397147 w 3009712"/>
                <a:gd name="connsiteY619" fmla="*/ 2169746 h 4178187"/>
                <a:gd name="connsiteX620" fmla="*/ 2396361 w 3009712"/>
                <a:gd name="connsiteY620" fmla="*/ 2169353 h 4178187"/>
                <a:gd name="connsiteX621" fmla="*/ 2394000 w 3009712"/>
                <a:gd name="connsiteY621" fmla="*/ 2168172 h 4178187"/>
                <a:gd name="connsiteX622" fmla="*/ 2391246 w 3009712"/>
                <a:gd name="connsiteY622" fmla="*/ 2167386 h 4178187"/>
                <a:gd name="connsiteX623" fmla="*/ 2382591 w 3009712"/>
                <a:gd name="connsiteY623" fmla="*/ 2167386 h 4178187"/>
                <a:gd name="connsiteX624" fmla="*/ 2379443 w 3009712"/>
                <a:gd name="connsiteY624" fmla="*/ 2167779 h 4178187"/>
                <a:gd name="connsiteX625" fmla="*/ 2376689 w 3009712"/>
                <a:gd name="connsiteY625" fmla="*/ 2169746 h 4178187"/>
                <a:gd name="connsiteX626" fmla="*/ 2377083 w 3009712"/>
                <a:gd name="connsiteY626" fmla="*/ 2172107 h 4178187"/>
                <a:gd name="connsiteX627" fmla="*/ 2376689 w 3009712"/>
                <a:gd name="connsiteY627" fmla="*/ 2173681 h 4178187"/>
                <a:gd name="connsiteX628" fmla="*/ 2376689 w 3009712"/>
                <a:gd name="connsiteY628" fmla="*/ 2174861 h 4178187"/>
                <a:gd name="connsiteX629" fmla="*/ 2373935 w 3009712"/>
                <a:gd name="connsiteY629" fmla="*/ 2173287 h 4178187"/>
                <a:gd name="connsiteX630" fmla="*/ 2371181 w 3009712"/>
                <a:gd name="connsiteY630" fmla="*/ 2172500 h 4178187"/>
                <a:gd name="connsiteX631" fmla="*/ 2368427 w 3009712"/>
                <a:gd name="connsiteY631" fmla="*/ 2171320 h 4178187"/>
                <a:gd name="connsiteX632" fmla="*/ 2365673 w 3009712"/>
                <a:gd name="connsiteY632" fmla="*/ 2170140 h 4178187"/>
                <a:gd name="connsiteX633" fmla="*/ 2362526 w 3009712"/>
                <a:gd name="connsiteY633" fmla="*/ 2169746 h 4178187"/>
                <a:gd name="connsiteX634" fmla="*/ 2359772 w 3009712"/>
                <a:gd name="connsiteY634" fmla="*/ 2168566 h 4178187"/>
                <a:gd name="connsiteX635" fmla="*/ 2357018 w 3009712"/>
                <a:gd name="connsiteY635" fmla="*/ 2168566 h 4178187"/>
                <a:gd name="connsiteX636" fmla="*/ 2356231 w 3009712"/>
                <a:gd name="connsiteY636" fmla="*/ 2168959 h 4178187"/>
                <a:gd name="connsiteX637" fmla="*/ 2353477 w 3009712"/>
                <a:gd name="connsiteY637" fmla="*/ 2168172 h 4178187"/>
                <a:gd name="connsiteX638" fmla="*/ 2350723 w 3009712"/>
                <a:gd name="connsiteY638" fmla="*/ 2167386 h 4178187"/>
                <a:gd name="connsiteX639" fmla="*/ 2347576 w 3009712"/>
                <a:gd name="connsiteY639" fmla="*/ 2166992 h 4178187"/>
                <a:gd name="connsiteX640" fmla="*/ 2344822 w 3009712"/>
                <a:gd name="connsiteY640" fmla="*/ 2166992 h 4178187"/>
                <a:gd name="connsiteX641" fmla="*/ 2344035 w 3009712"/>
                <a:gd name="connsiteY641" fmla="*/ 2167779 h 4178187"/>
                <a:gd name="connsiteX642" fmla="*/ 2342855 w 3009712"/>
                <a:gd name="connsiteY642" fmla="*/ 2168172 h 4178187"/>
                <a:gd name="connsiteX643" fmla="*/ 2342461 w 3009712"/>
                <a:gd name="connsiteY643" fmla="*/ 2170140 h 4178187"/>
                <a:gd name="connsiteX644" fmla="*/ 2340887 w 3009712"/>
                <a:gd name="connsiteY644" fmla="*/ 2172894 h 4178187"/>
                <a:gd name="connsiteX645" fmla="*/ 2340887 w 3009712"/>
                <a:gd name="connsiteY645" fmla="*/ 2174074 h 4178187"/>
                <a:gd name="connsiteX646" fmla="*/ 2339314 w 3009712"/>
                <a:gd name="connsiteY646" fmla="*/ 2178008 h 4178187"/>
                <a:gd name="connsiteX647" fmla="*/ 2338920 w 3009712"/>
                <a:gd name="connsiteY647" fmla="*/ 2175254 h 4178187"/>
                <a:gd name="connsiteX648" fmla="*/ 2340101 w 3009712"/>
                <a:gd name="connsiteY648" fmla="*/ 2172500 h 4178187"/>
                <a:gd name="connsiteX649" fmla="*/ 2340494 w 3009712"/>
                <a:gd name="connsiteY649" fmla="*/ 2169353 h 4178187"/>
                <a:gd name="connsiteX650" fmla="*/ 2340101 w 3009712"/>
                <a:gd name="connsiteY650" fmla="*/ 2166599 h 4178187"/>
                <a:gd name="connsiteX651" fmla="*/ 2340101 w 3009712"/>
                <a:gd name="connsiteY651" fmla="*/ 2166205 h 4178187"/>
                <a:gd name="connsiteX652" fmla="*/ 2339707 w 3009712"/>
                <a:gd name="connsiteY652" fmla="*/ 2163058 h 4178187"/>
                <a:gd name="connsiteX653" fmla="*/ 2338133 w 3009712"/>
                <a:gd name="connsiteY653" fmla="*/ 2160304 h 4178187"/>
                <a:gd name="connsiteX654" fmla="*/ 2335379 w 3009712"/>
                <a:gd name="connsiteY654" fmla="*/ 2157550 h 4178187"/>
                <a:gd name="connsiteX655" fmla="*/ 2332626 w 3009712"/>
                <a:gd name="connsiteY655" fmla="*/ 2155976 h 4178187"/>
                <a:gd name="connsiteX656" fmla="*/ 2329872 w 3009712"/>
                <a:gd name="connsiteY656" fmla="*/ 2157550 h 4178187"/>
                <a:gd name="connsiteX657" fmla="*/ 2329478 w 3009712"/>
                <a:gd name="connsiteY657" fmla="*/ 2155976 h 4178187"/>
                <a:gd name="connsiteX658" fmla="*/ 2326724 w 3009712"/>
                <a:gd name="connsiteY658" fmla="*/ 2150468 h 4178187"/>
                <a:gd name="connsiteX659" fmla="*/ 2323577 w 3009712"/>
                <a:gd name="connsiteY659" fmla="*/ 2148108 h 4178187"/>
                <a:gd name="connsiteX660" fmla="*/ 2321216 w 3009712"/>
                <a:gd name="connsiteY660" fmla="*/ 2145354 h 4178187"/>
                <a:gd name="connsiteX661" fmla="*/ 2318462 w 3009712"/>
                <a:gd name="connsiteY661" fmla="*/ 2142600 h 4178187"/>
                <a:gd name="connsiteX662" fmla="*/ 2316495 w 3009712"/>
                <a:gd name="connsiteY662" fmla="*/ 2139846 h 4178187"/>
                <a:gd name="connsiteX663" fmla="*/ 2313741 w 3009712"/>
                <a:gd name="connsiteY663" fmla="*/ 2138666 h 4178187"/>
                <a:gd name="connsiteX664" fmla="*/ 2310987 w 3009712"/>
                <a:gd name="connsiteY664" fmla="*/ 2139059 h 4178187"/>
                <a:gd name="connsiteX665" fmla="*/ 2307840 w 3009712"/>
                <a:gd name="connsiteY665" fmla="*/ 2136698 h 4178187"/>
                <a:gd name="connsiteX666" fmla="*/ 2305086 w 3009712"/>
                <a:gd name="connsiteY666" fmla="*/ 2136305 h 4178187"/>
                <a:gd name="connsiteX667" fmla="*/ 2301938 w 3009712"/>
                <a:gd name="connsiteY667" fmla="*/ 2139059 h 4178187"/>
                <a:gd name="connsiteX668" fmla="*/ 2299184 w 3009712"/>
                <a:gd name="connsiteY668" fmla="*/ 2144567 h 4178187"/>
                <a:gd name="connsiteX669" fmla="*/ 2298791 w 3009712"/>
                <a:gd name="connsiteY669" fmla="*/ 2147321 h 4178187"/>
                <a:gd name="connsiteX670" fmla="*/ 2298397 w 3009712"/>
                <a:gd name="connsiteY670" fmla="*/ 2150468 h 4178187"/>
                <a:gd name="connsiteX671" fmla="*/ 2298004 w 3009712"/>
                <a:gd name="connsiteY671" fmla="*/ 2152042 h 4178187"/>
                <a:gd name="connsiteX672" fmla="*/ 2295643 w 3009712"/>
                <a:gd name="connsiteY672" fmla="*/ 2153222 h 4178187"/>
                <a:gd name="connsiteX673" fmla="*/ 2295643 w 3009712"/>
                <a:gd name="connsiteY673" fmla="*/ 2152435 h 4178187"/>
                <a:gd name="connsiteX674" fmla="*/ 2296037 w 3009712"/>
                <a:gd name="connsiteY674" fmla="*/ 2152042 h 4178187"/>
                <a:gd name="connsiteX675" fmla="*/ 2297611 w 3009712"/>
                <a:gd name="connsiteY675" fmla="*/ 2149288 h 4178187"/>
                <a:gd name="connsiteX676" fmla="*/ 2301545 w 3009712"/>
                <a:gd name="connsiteY676" fmla="*/ 2132371 h 4178187"/>
                <a:gd name="connsiteX677" fmla="*/ 2302332 w 3009712"/>
                <a:gd name="connsiteY677" fmla="*/ 2130010 h 4178187"/>
                <a:gd name="connsiteX678" fmla="*/ 2302725 w 3009712"/>
                <a:gd name="connsiteY678" fmla="*/ 2127256 h 4178187"/>
                <a:gd name="connsiteX679" fmla="*/ 2302332 w 3009712"/>
                <a:gd name="connsiteY679" fmla="*/ 2124896 h 4178187"/>
                <a:gd name="connsiteX680" fmla="*/ 2302725 w 3009712"/>
                <a:gd name="connsiteY680" fmla="*/ 2121748 h 4178187"/>
                <a:gd name="connsiteX681" fmla="*/ 2302332 w 3009712"/>
                <a:gd name="connsiteY681" fmla="*/ 2118994 h 4178187"/>
                <a:gd name="connsiteX682" fmla="*/ 2299971 w 3009712"/>
                <a:gd name="connsiteY682" fmla="*/ 2115847 h 4178187"/>
                <a:gd name="connsiteX683" fmla="*/ 2298397 w 3009712"/>
                <a:gd name="connsiteY683" fmla="*/ 2113093 h 4178187"/>
                <a:gd name="connsiteX684" fmla="*/ 2295643 w 3009712"/>
                <a:gd name="connsiteY684" fmla="*/ 2112699 h 4178187"/>
                <a:gd name="connsiteX685" fmla="*/ 2294463 w 3009712"/>
                <a:gd name="connsiteY685" fmla="*/ 2109945 h 4178187"/>
                <a:gd name="connsiteX686" fmla="*/ 2292889 w 3009712"/>
                <a:gd name="connsiteY686" fmla="*/ 2107585 h 4178187"/>
                <a:gd name="connsiteX687" fmla="*/ 2290922 w 3009712"/>
                <a:gd name="connsiteY687" fmla="*/ 2105618 h 4178187"/>
                <a:gd name="connsiteX688" fmla="*/ 2287775 w 3009712"/>
                <a:gd name="connsiteY688" fmla="*/ 2101684 h 4178187"/>
                <a:gd name="connsiteX689" fmla="*/ 2285414 w 3009712"/>
                <a:gd name="connsiteY689" fmla="*/ 2099716 h 4178187"/>
                <a:gd name="connsiteX690" fmla="*/ 2282660 w 3009712"/>
                <a:gd name="connsiteY690" fmla="*/ 2096962 h 4178187"/>
                <a:gd name="connsiteX691" fmla="*/ 2279906 w 3009712"/>
                <a:gd name="connsiteY691" fmla="*/ 2094995 h 4178187"/>
                <a:gd name="connsiteX692" fmla="*/ 2277152 w 3009712"/>
                <a:gd name="connsiteY692" fmla="*/ 2093028 h 4178187"/>
                <a:gd name="connsiteX693" fmla="*/ 2274005 w 3009712"/>
                <a:gd name="connsiteY693" fmla="*/ 2090668 h 4178187"/>
                <a:gd name="connsiteX694" fmla="*/ 2271251 w 3009712"/>
                <a:gd name="connsiteY694" fmla="*/ 2089094 h 4178187"/>
                <a:gd name="connsiteX695" fmla="*/ 2268497 w 3009712"/>
                <a:gd name="connsiteY695" fmla="*/ 2086733 h 4178187"/>
                <a:gd name="connsiteX696" fmla="*/ 2265350 w 3009712"/>
                <a:gd name="connsiteY696" fmla="*/ 2085160 h 4178187"/>
                <a:gd name="connsiteX697" fmla="*/ 2266923 w 3009712"/>
                <a:gd name="connsiteY697" fmla="*/ 2087914 h 4178187"/>
                <a:gd name="connsiteX698" fmla="*/ 2269677 w 3009712"/>
                <a:gd name="connsiteY698" fmla="*/ 2090274 h 4178187"/>
                <a:gd name="connsiteX699" fmla="*/ 2272431 w 3009712"/>
                <a:gd name="connsiteY699" fmla="*/ 2091848 h 4178187"/>
                <a:gd name="connsiteX700" fmla="*/ 2274792 w 3009712"/>
                <a:gd name="connsiteY700" fmla="*/ 2094602 h 4178187"/>
                <a:gd name="connsiteX701" fmla="*/ 2273218 w 3009712"/>
                <a:gd name="connsiteY701" fmla="*/ 2093028 h 4178187"/>
                <a:gd name="connsiteX702" fmla="*/ 2270464 w 3009712"/>
                <a:gd name="connsiteY702" fmla="*/ 2091061 h 4178187"/>
                <a:gd name="connsiteX703" fmla="*/ 2267710 w 3009712"/>
                <a:gd name="connsiteY703" fmla="*/ 2089487 h 4178187"/>
                <a:gd name="connsiteX704" fmla="*/ 2264563 w 3009712"/>
                <a:gd name="connsiteY704" fmla="*/ 2087520 h 4178187"/>
                <a:gd name="connsiteX705" fmla="*/ 2259055 w 3009712"/>
                <a:gd name="connsiteY705" fmla="*/ 2080832 h 4178187"/>
                <a:gd name="connsiteX706" fmla="*/ 2258661 w 3009712"/>
                <a:gd name="connsiteY706" fmla="*/ 2080438 h 4178187"/>
                <a:gd name="connsiteX707" fmla="*/ 2257088 w 3009712"/>
                <a:gd name="connsiteY707" fmla="*/ 2080045 h 4178187"/>
                <a:gd name="connsiteX708" fmla="*/ 2254334 w 3009712"/>
                <a:gd name="connsiteY708" fmla="*/ 2078471 h 4178187"/>
                <a:gd name="connsiteX709" fmla="*/ 2251580 w 3009712"/>
                <a:gd name="connsiteY709" fmla="*/ 2077684 h 4178187"/>
                <a:gd name="connsiteX710" fmla="*/ 2248826 w 3009712"/>
                <a:gd name="connsiteY710" fmla="*/ 2077291 h 4178187"/>
                <a:gd name="connsiteX711" fmla="*/ 2246072 w 3009712"/>
                <a:gd name="connsiteY711" fmla="*/ 2079258 h 4178187"/>
                <a:gd name="connsiteX712" fmla="*/ 2244498 w 3009712"/>
                <a:gd name="connsiteY712" fmla="*/ 2080832 h 4178187"/>
                <a:gd name="connsiteX713" fmla="*/ 2244105 w 3009712"/>
                <a:gd name="connsiteY713" fmla="*/ 2080438 h 4178187"/>
                <a:gd name="connsiteX714" fmla="*/ 2240957 w 3009712"/>
                <a:gd name="connsiteY714" fmla="*/ 2079651 h 4178187"/>
                <a:gd name="connsiteX715" fmla="*/ 2238203 w 3009712"/>
                <a:gd name="connsiteY715" fmla="*/ 2078078 h 4178187"/>
                <a:gd name="connsiteX716" fmla="*/ 2235449 w 3009712"/>
                <a:gd name="connsiteY716" fmla="*/ 2078471 h 4178187"/>
                <a:gd name="connsiteX717" fmla="*/ 2232302 w 3009712"/>
                <a:gd name="connsiteY717" fmla="*/ 2078471 h 4178187"/>
                <a:gd name="connsiteX718" fmla="*/ 2228761 w 3009712"/>
                <a:gd name="connsiteY718" fmla="*/ 2078471 h 4178187"/>
                <a:gd name="connsiteX719" fmla="*/ 2229154 w 3009712"/>
                <a:gd name="connsiteY719" fmla="*/ 2077684 h 4178187"/>
                <a:gd name="connsiteX720" fmla="*/ 2226400 w 3009712"/>
                <a:gd name="connsiteY720" fmla="*/ 2078471 h 4178187"/>
                <a:gd name="connsiteX721" fmla="*/ 2209483 w 3009712"/>
                <a:gd name="connsiteY721" fmla="*/ 2078078 h 4178187"/>
                <a:gd name="connsiteX722" fmla="*/ 2209877 w 3009712"/>
                <a:gd name="connsiteY722" fmla="*/ 2076898 h 4178187"/>
                <a:gd name="connsiteX723" fmla="*/ 2211450 w 3009712"/>
                <a:gd name="connsiteY723" fmla="*/ 2076898 h 4178187"/>
                <a:gd name="connsiteX724" fmla="*/ 2214204 w 3009712"/>
                <a:gd name="connsiteY724" fmla="*/ 2078078 h 4178187"/>
                <a:gd name="connsiteX725" fmla="*/ 2216958 w 3009712"/>
                <a:gd name="connsiteY725" fmla="*/ 2077684 h 4178187"/>
                <a:gd name="connsiteX726" fmla="*/ 2219712 w 3009712"/>
                <a:gd name="connsiteY726" fmla="*/ 2078078 h 4178187"/>
                <a:gd name="connsiteX727" fmla="*/ 2222860 w 3009712"/>
                <a:gd name="connsiteY727" fmla="*/ 2078078 h 4178187"/>
                <a:gd name="connsiteX728" fmla="*/ 2223253 w 3009712"/>
                <a:gd name="connsiteY728" fmla="*/ 2075324 h 4178187"/>
                <a:gd name="connsiteX729" fmla="*/ 2224040 w 3009712"/>
                <a:gd name="connsiteY729" fmla="*/ 2072570 h 4178187"/>
                <a:gd name="connsiteX730" fmla="*/ 2226007 w 3009712"/>
                <a:gd name="connsiteY730" fmla="*/ 2069423 h 4178187"/>
                <a:gd name="connsiteX731" fmla="*/ 2225614 w 3009712"/>
                <a:gd name="connsiteY731" fmla="*/ 2068242 h 4178187"/>
                <a:gd name="connsiteX732" fmla="*/ 2226007 w 3009712"/>
                <a:gd name="connsiteY732" fmla="*/ 2066275 h 4178187"/>
                <a:gd name="connsiteX733" fmla="*/ 2226400 w 3009712"/>
                <a:gd name="connsiteY733" fmla="*/ 2065882 h 4178187"/>
                <a:gd name="connsiteX734" fmla="*/ 2229154 w 3009712"/>
                <a:gd name="connsiteY734" fmla="*/ 2062734 h 4178187"/>
                <a:gd name="connsiteX735" fmla="*/ 2229154 w 3009712"/>
                <a:gd name="connsiteY735" fmla="*/ 2059980 h 4178187"/>
                <a:gd name="connsiteX736" fmla="*/ 2227581 w 3009712"/>
                <a:gd name="connsiteY736" fmla="*/ 2061554 h 4178187"/>
                <a:gd name="connsiteX737" fmla="*/ 2227974 w 3009712"/>
                <a:gd name="connsiteY737" fmla="*/ 2059587 h 4178187"/>
                <a:gd name="connsiteX738" fmla="*/ 2230335 w 3009712"/>
                <a:gd name="connsiteY738" fmla="*/ 2057620 h 4178187"/>
                <a:gd name="connsiteX739" fmla="*/ 2233089 w 3009712"/>
                <a:gd name="connsiteY739" fmla="*/ 2056046 h 4178187"/>
                <a:gd name="connsiteX740" fmla="*/ 2235843 w 3009712"/>
                <a:gd name="connsiteY740" fmla="*/ 2054079 h 4178187"/>
                <a:gd name="connsiteX741" fmla="*/ 2235056 w 3009712"/>
                <a:gd name="connsiteY741" fmla="*/ 2050931 h 4178187"/>
                <a:gd name="connsiteX742" fmla="*/ 2232302 w 3009712"/>
                <a:gd name="connsiteY742" fmla="*/ 2048177 h 4178187"/>
                <a:gd name="connsiteX743" fmla="*/ 2229548 w 3009712"/>
                <a:gd name="connsiteY743" fmla="*/ 2045424 h 4178187"/>
                <a:gd name="connsiteX744" fmla="*/ 2226400 w 3009712"/>
                <a:gd name="connsiteY744" fmla="*/ 2045030 h 4178187"/>
                <a:gd name="connsiteX745" fmla="*/ 2223253 w 3009712"/>
                <a:gd name="connsiteY745" fmla="*/ 2045030 h 4178187"/>
                <a:gd name="connsiteX746" fmla="*/ 2220106 w 3009712"/>
                <a:gd name="connsiteY746" fmla="*/ 2042670 h 4178187"/>
                <a:gd name="connsiteX747" fmla="*/ 2218138 w 3009712"/>
                <a:gd name="connsiteY747" fmla="*/ 2041096 h 4178187"/>
                <a:gd name="connsiteX748" fmla="*/ 2216565 w 3009712"/>
                <a:gd name="connsiteY748" fmla="*/ 2037948 h 4178187"/>
                <a:gd name="connsiteX749" fmla="*/ 2213811 w 3009712"/>
                <a:gd name="connsiteY749" fmla="*/ 2035194 h 4178187"/>
                <a:gd name="connsiteX750" fmla="*/ 2210663 w 3009712"/>
                <a:gd name="connsiteY750" fmla="*/ 2034801 h 4178187"/>
                <a:gd name="connsiteX751" fmla="*/ 2212237 w 3009712"/>
                <a:gd name="connsiteY751" fmla="*/ 2037555 h 4178187"/>
                <a:gd name="connsiteX752" fmla="*/ 2211450 w 3009712"/>
                <a:gd name="connsiteY752" fmla="*/ 2037948 h 4178187"/>
                <a:gd name="connsiteX753" fmla="*/ 2208696 w 3009712"/>
                <a:gd name="connsiteY753" fmla="*/ 2037162 h 4178187"/>
                <a:gd name="connsiteX754" fmla="*/ 2205942 w 3009712"/>
                <a:gd name="connsiteY754" fmla="*/ 2038342 h 4178187"/>
                <a:gd name="connsiteX755" fmla="*/ 2206729 w 3009712"/>
                <a:gd name="connsiteY755" fmla="*/ 2039916 h 4178187"/>
                <a:gd name="connsiteX756" fmla="*/ 2205549 w 3009712"/>
                <a:gd name="connsiteY756" fmla="*/ 2039522 h 4178187"/>
                <a:gd name="connsiteX757" fmla="*/ 2203975 w 3009712"/>
                <a:gd name="connsiteY757" fmla="*/ 2042670 h 4178187"/>
                <a:gd name="connsiteX758" fmla="*/ 2204368 w 3009712"/>
                <a:gd name="connsiteY758" fmla="*/ 2041883 h 4178187"/>
                <a:gd name="connsiteX759" fmla="*/ 2204762 w 3009712"/>
                <a:gd name="connsiteY759" fmla="*/ 2039129 h 4178187"/>
                <a:gd name="connsiteX760" fmla="*/ 2204368 w 3009712"/>
                <a:gd name="connsiteY760" fmla="*/ 2037555 h 4178187"/>
                <a:gd name="connsiteX761" fmla="*/ 2202008 w 3009712"/>
                <a:gd name="connsiteY761" fmla="*/ 2034801 h 4178187"/>
                <a:gd name="connsiteX762" fmla="*/ 2198861 w 3009712"/>
                <a:gd name="connsiteY762" fmla="*/ 2032047 h 4178187"/>
                <a:gd name="connsiteX763" fmla="*/ 2196107 w 3009712"/>
                <a:gd name="connsiteY763" fmla="*/ 2030867 h 4178187"/>
                <a:gd name="connsiteX764" fmla="*/ 2193353 w 3009712"/>
                <a:gd name="connsiteY764" fmla="*/ 2030867 h 4178187"/>
                <a:gd name="connsiteX765" fmla="*/ 2192959 w 3009712"/>
                <a:gd name="connsiteY765" fmla="*/ 2032440 h 4178187"/>
                <a:gd name="connsiteX766" fmla="*/ 2196107 w 3009712"/>
                <a:gd name="connsiteY766" fmla="*/ 2033227 h 4178187"/>
                <a:gd name="connsiteX767" fmla="*/ 2198861 w 3009712"/>
                <a:gd name="connsiteY767" fmla="*/ 2035588 h 4178187"/>
                <a:gd name="connsiteX768" fmla="*/ 2197287 w 3009712"/>
                <a:gd name="connsiteY768" fmla="*/ 2034801 h 4178187"/>
                <a:gd name="connsiteX769" fmla="*/ 2194533 w 3009712"/>
                <a:gd name="connsiteY769" fmla="*/ 2034014 h 4178187"/>
                <a:gd name="connsiteX770" fmla="*/ 2194926 w 3009712"/>
                <a:gd name="connsiteY770" fmla="*/ 2036768 h 4178187"/>
                <a:gd name="connsiteX771" fmla="*/ 2195320 w 3009712"/>
                <a:gd name="connsiteY771" fmla="*/ 2039916 h 4178187"/>
                <a:gd name="connsiteX772" fmla="*/ 2194533 w 3009712"/>
                <a:gd name="connsiteY772" fmla="*/ 2042670 h 4178187"/>
                <a:gd name="connsiteX773" fmla="*/ 2193353 w 3009712"/>
                <a:gd name="connsiteY773" fmla="*/ 2043063 h 4178187"/>
                <a:gd name="connsiteX774" fmla="*/ 2194926 w 3009712"/>
                <a:gd name="connsiteY774" fmla="*/ 2040702 h 4178187"/>
                <a:gd name="connsiteX775" fmla="*/ 2194926 w 3009712"/>
                <a:gd name="connsiteY775" fmla="*/ 2037948 h 4178187"/>
                <a:gd name="connsiteX776" fmla="*/ 2194533 w 3009712"/>
                <a:gd name="connsiteY776" fmla="*/ 2034801 h 4178187"/>
                <a:gd name="connsiteX777" fmla="*/ 2192566 w 3009712"/>
                <a:gd name="connsiteY777" fmla="*/ 2032047 h 4178187"/>
                <a:gd name="connsiteX778" fmla="*/ 2192959 w 3009712"/>
                <a:gd name="connsiteY778" fmla="*/ 2034801 h 4178187"/>
                <a:gd name="connsiteX779" fmla="*/ 2192172 w 3009712"/>
                <a:gd name="connsiteY779" fmla="*/ 2037948 h 4178187"/>
                <a:gd name="connsiteX780" fmla="*/ 2190205 w 3009712"/>
                <a:gd name="connsiteY780" fmla="*/ 2040702 h 4178187"/>
                <a:gd name="connsiteX781" fmla="*/ 2189812 w 3009712"/>
                <a:gd name="connsiteY781" fmla="*/ 2040309 h 4178187"/>
                <a:gd name="connsiteX782" fmla="*/ 2189812 w 3009712"/>
                <a:gd name="connsiteY782" fmla="*/ 2039916 h 4178187"/>
                <a:gd name="connsiteX783" fmla="*/ 2189812 w 3009712"/>
                <a:gd name="connsiteY783" fmla="*/ 2039522 h 4178187"/>
                <a:gd name="connsiteX784" fmla="*/ 2190599 w 3009712"/>
                <a:gd name="connsiteY784" fmla="*/ 2038735 h 4178187"/>
                <a:gd name="connsiteX785" fmla="*/ 2189418 w 3009712"/>
                <a:gd name="connsiteY785" fmla="*/ 2035588 h 4178187"/>
                <a:gd name="connsiteX786" fmla="*/ 2187058 w 3009712"/>
                <a:gd name="connsiteY786" fmla="*/ 2032834 h 4178187"/>
                <a:gd name="connsiteX787" fmla="*/ 2187451 w 3009712"/>
                <a:gd name="connsiteY787" fmla="*/ 2030473 h 4178187"/>
                <a:gd name="connsiteX788" fmla="*/ 2187451 w 3009712"/>
                <a:gd name="connsiteY788" fmla="*/ 2030080 h 4178187"/>
                <a:gd name="connsiteX789" fmla="*/ 2186664 w 3009712"/>
                <a:gd name="connsiteY789" fmla="*/ 2027326 h 4178187"/>
                <a:gd name="connsiteX790" fmla="*/ 2185484 w 3009712"/>
                <a:gd name="connsiteY790" fmla="*/ 2024178 h 4178187"/>
                <a:gd name="connsiteX791" fmla="*/ 2182730 w 3009712"/>
                <a:gd name="connsiteY791" fmla="*/ 2022998 h 4178187"/>
                <a:gd name="connsiteX792" fmla="*/ 2182730 w 3009712"/>
                <a:gd name="connsiteY792" fmla="*/ 2025752 h 4178187"/>
                <a:gd name="connsiteX793" fmla="*/ 2180370 w 3009712"/>
                <a:gd name="connsiteY793" fmla="*/ 2028900 h 4178187"/>
                <a:gd name="connsiteX794" fmla="*/ 2177222 w 3009712"/>
                <a:gd name="connsiteY794" fmla="*/ 2030473 h 4178187"/>
                <a:gd name="connsiteX795" fmla="*/ 2176829 w 3009712"/>
                <a:gd name="connsiteY795" fmla="*/ 2030473 h 4178187"/>
                <a:gd name="connsiteX796" fmla="*/ 2176435 w 3009712"/>
                <a:gd name="connsiteY796" fmla="*/ 2029293 h 4178187"/>
                <a:gd name="connsiteX797" fmla="*/ 2173681 w 3009712"/>
                <a:gd name="connsiteY797" fmla="*/ 2030473 h 4178187"/>
                <a:gd name="connsiteX798" fmla="*/ 2173288 w 3009712"/>
                <a:gd name="connsiteY798" fmla="*/ 2030473 h 4178187"/>
                <a:gd name="connsiteX799" fmla="*/ 2170927 w 3009712"/>
                <a:gd name="connsiteY799" fmla="*/ 2026933 h 4178187"/>
                <a:gd name="connsiteX800" fmla="*/ 2173288 w 3009712"/>
                <a:gd name="connsiteY800" fmla="*/ 2027326 h 4178187"/>
                <a:gd name="connsiteX801" fmla="*/ 2176435 w 3009712"/>
                <a:gd name="connsiteY801" fmla="*/ 2028900 h 4178187"/>
                <a:gd name="connsiteX802" fmla="*/ 2179189 w 3009712"/>
                <a:gd name="connsiteY802" fmla="*/ 2028113 h 4178187"/>
                <a:gd name="connsiteX803" fmla="*/ 2181943 w 3009712"/>
                <a:gd name="connsiteY803" fmla="*/ 2025359 h 4178187"/>
                <a:gd name="connsiteX804" fmla="*/ 2181156 w 3009712"/>
                <a:gd name="connsiteY804" fmla="*/ 2022605 h 4178187"/>
                <a:gd name="connsiteX805" fmla="*/ 2180763 w 3009712"/>
                <a:gd name="connsiteY805" fmla="*/ 2019851 h 4178187"/>
                <a:gd name="connsiteX806" fmla="*/ 2178009 w 3009712"/>
                <a:gd name="connsiteY806" fmla="*/ 2017097 h 4178187"/>
                <a:gd name="connsiteX807" fmla="*/ 2175255 w 3009712"/>
                <a:gd name="connsiteY807" fmla="*/ 2017884 h 4178187"/>
                <a:gd name="connsiteX808" fmla="*/ 2172501 w 3009712"/>
                <a:gd name="connsiteY808" fmla="*/ 2019457 h 4178187"/>
                <a:gd name="connsiteX809" fmla="*/ 2174075 w 3009712"/>
                <a:gd name="connsiteY809" fmla="*/ 2016310 h 4178187"/>
                <a:gd name="connsiteX810" fmla="*/ 2177222 w 3009712"/>
                <a:gd name="connsiteY810" fmla="*/ 2015917 h 4178187"/>
                <a:gd name="connsiteX811" fmla="*/ 2175648 w 3009712"/>
                <a:gd name="connsiteY811" fmla="*/ 2013163 h 4178187"/>
                <a:gd name="connsiteX812" fmla="*/ 2172501 w 3009712"/>
                <a:gd name="connsiteY812" fmla="*/ 2014736 h 4178187"/>
                <a:gd name="connsiteX813" fmla="*/ 2175648 w 3009712"/>
                <a:gd name="connsiteY813" fmla="*/ 2012769 h 4178187"/>
                <a:gd name="connsiteX814" fmla="*/ 2178402 w 3009712"/>
                <a:gd name="connsiteY814" fmla="*/ 2011982 h 4178187"/>
                <a:gd name="connsiteX815" fmla="*/ 2181156 w 3009712"/>
                <a:gd name="connsiteY815" fmla="*/ 2011589 h 4178187"/>
                <a:gd name="connsiteX816" fmla="*/ 2183910 w 3009712"/>
                <a:gd name="connsiteY816" fmla="*/ 2011589 h 4178187"/>
                <a:gd name="connsiteX817" fmla="*/ 2187058 w 3009712"/>
                <a:gd name="connsiteY817" fmla="*/ 2012376 h 4178187"/>
                <a:gd name="connsiteX818" fmla="*/ 2190205 w 3009712"/>
                <a:gd name="connsiteY818" fmla="*/ 2012376 h 4178187"/>
                <a:gd name="connsiteX819" fmla="*/ 2192959 w 3009712"/>
                <a:gd name="connsiteY819" fmla="*/ 2011982 h 4178187"/>
                <a:gd name="connsiteX820" fmla="*/ 2195320 w 3009712"/>
                <a:gd name="connsiteY820" fmla="*/ 2009228 h 4178187"/>
                <a:gd name="connsiteX821" fmla="*/ 2198074 w 3009712"/>
                <a:gd name="connsiteY821" fmla="*/ 2008835 h 4178187"/>
                <a:gd name="connsiteX822" fmla="*/ 2200828 w 3009712"/>
                <a:gd name="connsiteY822" fmla="*/ 2009228 h 4178187"/>
                <a:gd name="connsiteX823" fmla="*/ 2203975 w 3009712"/>
                <a:gd name="connsiteY823" fmla="*/ 2008441 h 4178187"/>
                <a:gd name="connsiteX824" fmla="*/ 2206336 w 3009712"/>
                <a:gd name="connsiteY824" fmla="*/ 2005687 h 4178187"/>
                <a:gd name="connsiteX825" fmla="*/ 2203582 w 3009712"/>
                <a:gd name="connsiteY825" fmla="*/ 2006081 h 4178187"/>
                <a:gd name="connsiteX826" fmla="*/ 2200828 w 3009712"/>
                <a:gd name="connsiteY826" fmla="*/ 2006868 h 4178187"/>
                <a:gd name="connsiteX827" fmla="*/ 2197680 w 3009712"/>
                <a:gd name="connsiteY827" fmla="*/ 2007655 h 4178187"/>
                <a:gd name="connsiteX828" fmla="*/ 2194926 w 3009712"/>
                <a:gd name="connsiteY828" fmla="*/ 2007261 h 4178187"/>
                <a:gd name="connsiteX829" fmla="*/ 2192172 w 3009712"/>
                <a:gd name="connsiteY829" fmla="*/ 2006868 h 4178187"/>
                <a:gd name="connsiteX830" fmla="*/ 2189025 w 3009712"/>
                <a:gd name="connsiteY830" fmla="*/ 2006081 h 4178187"/>
                <a:gd name="connsiteX831" fmla="*/ 2186271 w 3009712"/>
                <a:gd name="connsiteY831" fmla="*/ 2005687 h 4178187"/>
                <a:gd name="connsiteX832" fmla="*/ 2180370 w 3009712"/>
                <a:gd name="connsiteY832" fmla="*/ 2005687 h 4178187"/>
                <a:gd name="connsiteX833" fmla="*/ 2177615 w 3009712"/>
                <a:gd name="connsiteY833" fmla="*/ 2006474 h 4178187"/>
                <a:gd name="connsiteX834" fmla="*/ 2174861 w 3009712"/>
                <a:gd name="connsiteY834" fmla="*/ 2007261 h 4178187"/>
                <a:gd name="connsiteX835" fmla="*/ 2172107 w 3009712"/>
                <a:gd name="connsiteY835" fmla="*/ 2006474 h 4178187"/>
                <a:gd name="connsiteX836" fmla="*/ 2168960 w 3009712"/>
                <a:gd name="connsiteY836" fmla="*/ 2007261 h 4178187"/>
                <a:gd name="connsiteX837" fmla="*/ 2166206 w 3009712"/>
                <a:gd name="connsiteY837" fmla="*/ 2007655 h 4178187"/>
                <a:gd name="connsiteX838" fmla="*/ 2163059 w 3009712"/>
                <a:gd name="connsiteY838" fmla="*/ 2008048 h 4178187"/>
                <a:gd name="connsiteX839" fmla="*/ 2160305 w 3009712"/>
                <a:gd name="connsiteY839" fmla="*/ 2008441 h 4178187"/>
                <a:gd name="connsiteX840" fmla="*/ 2157551 w 3009712"/>
                <a:gd name="connsiteY840" fmla="*/ 2010015 h 4178187"/>
                <a:gd name="connsiteX841" fmla="*/ 2154797 w 3009712"/>
                <a:gd name="connsiteY841" fmla="*/ 2009622 h 4178187"/>
                <a:gd name="connsiteX842" fmla="*/ 2151649 w 3009712"/>
                <a:gd name="connsiteY842" fmla="*/ 2009228 h 4178187"/>
                <a:gd name="connsiteX843" fmla="*/ 2148895 w 3009712"/>
                <a:gd name="connsiteY843" fmla="*/ 2007655 h 4178187"/>
                <a:gd name="connsiteX844" fmla="*/ 2146141 w 3009712"/>
                <a:gd name="connsiteY844" fmla="*/ 2010015 h 4178187"/>
                <a:gd name="connsiteX845" fmla="*/ 2134339 w 3009712"/>
                <a:gd name="connsiteY845" fmla="*/ 2010015 h 4178187"/>
                <a:gd name="connsiteX846" fmla="*/ 2136699 w 3009712"/>
                <a:gd name="connsiteY846" fmla="*/ 2012769 h 4178187"/>
                <a:gd name="connsiteX847" fmla="*/ 2139453 w 3009712"/>
                <a:gd name="connsiteY847" fmla="*/ 2012376 h 4178187"/>
                <a:gd name="connsiteX848" fmla="*/ 2142600 w 3009712"/>
                <a:gd name="connsiteY848" fmla="*/ 2011982 h 4178187"/>
                <a:gd name="connsiteX849" fmla="*/ 2145354 w 3009712"/>
                <a:gd name="connsiteY849" fmla="*/ 2012769 h 4178187"/>
                <a:gd name="connsiteX850" fmla="*/ 2148109 w 3009712"/>
                <a:gd name="connsiteY850" fmla="*/ 2013163 h 4178187"/>
                <a:gd name="connsiteX851" fmla="*/ 2151256 w 3009712"/>
                <a:gd name="connsiteY851" fmla="*/ 2015523 h 4178187"/>
                <a:gd name="connsiteX852" fmla="*/ 2148109 w 3009712"/>
                <a:gd name="connsiteY852" fmla="*/ 2016703 h 4178187"/>
                <a:gd name="connsiteX853" fmla="*/ 2145354 w 3009712"/>
                <a:gd name="connsiteY853" fmla="*/ 2016310 h 4178187"/>
                <a:gd name="connsiteX854" fmla="*/ 2142600 w 3009712"/>
                <a:gd name="connsiteY854" fmla="*/ 2016703 h 4178187"/>
                <a:gd name="connsiteX855" fmla="*/ 2139847 w 3009712"/>
                <a:gd name="connsiteY855" fmla="*/ 2015917 h 4178187"/>
                <a:gd name="connsiteX856" fmla="*/ 2137093 w 3009712"/>
                <a:gd name="connsiteY856" fmla="*/ 2015917 h 4178187"/>
                <a:gd name="connsiteX857" fmla="*/ 2134339 w 3009712"/>
                <a:gd name="connsiteY857" fmla="*/ 2017884 h 4178187"/>
                <a:gd name="connsiteX858" fmla="*/ 2130404 w 3009712"/>
                <a:gd name="connsiteY858" fmla="*/ 2018277 h 4178187"/>
                <a:gd name="connsiteX859" fmla="*/ 2128831 w 3009712"/>
                <a:gd name="connsiteY859" fmla="*/ 2021424 h 4178187"/>
                <a:gd name="connsiteX860" fmla="*/ 2125683 w 3009712"/>
                <a:gd name="connsiteY860" fmla="*/ 2022211 h 4178187"/>
                <a:gd name="connsiteX861" fmla="*/ 2123323 w 3009712"/>
                <a:gd name="connsiteY861" fmla="*/ 2022211 h 4178187"/>
                <a:gd name="connsiteX862" fmla="*/ 2120569 w 3009712"/>
                <a:gd name="connsiteY862" fmla="*/ 2024572 h 4178187"/>
                <a:gd name="connsiteX863" fmla="*/ 2107586 w 3009712"/>
                <a:gd name="connsiteY863" fmla="*/ 2027719 h 4178187"/>
                <a:gd name="connsiteX864" fmla="*/ 2105225 w 3009712"/>
                <a:gd name="connsiteY864" fmla="*/ 2026933 h 4178187"/>
                <a:gd name="connsiteX865" fmla="*/ 2102471 w 3009712"/>
                <a:gd name="connsiteY865" fmla="*/ 2026539 h 4178187"/>
                <a:gd name="connsiteX866" fmla="*/ 2099324 w 3009712"/>
                <a:gd name="connsiteY866" fmla="*/ 2025752 h 4178187"/>
                <a:gd name="connsiteX867" fmla="*/ 2080439 w 3009712"/>
                <a:gd name="connsiteY867" fmla="*/ 2014736 h 4178187"/>
                <a:gd name="connsiteX868" fmla="*/ 2079652 w 3009712"/>
                <a:gd name="connsiteY868" fmla="*/ 2013163 h 4178187"/>
                <a:gd name="connsiteX869" fmla="*/ 2080046 w 3009712"/>
                <a:gd name="connsiteY869" fmla="*/ 2010409 h 4178187"/>
                <a:gd name="connsiteX870" fmla="*/ 2077292 w 3009712"/>
                <a:gd name="connsiteY870" fmla="*/ 2008835 h 4178187"/>
                <a:gd name="connsiteX871" fmla="*/ 2074538 w 3009712"/>
                <a:gd name="connsiteY871" fmla="*/ 2009228 h 4178187"/>
                <a:gd name="connsiteX872" fmla="*/ 2072177 w 3009712"/>
                <a:gd name="connsiteY872" fmla="*/ 2009622 h 4178187"/>
                <a:gd name="connsiteX873" fmla="*/ 2070997 w 3009712"/>
                <a:gd name="connsiteY873" fmla="*/ 2009228 h 4178187"/>
                <a:gd name="connsiteX874" fmla="*/ 2067849 w 3009712"/>
                <a:gd name="connsiteY874" fmla="*/ 2008835 h 4178187"/>
                <a:gd name="connsiteX875" fmla="*/ 2065096 w 3009712"/>
                <a:gd name="connsiteY875" fmla="*/ 2009228 h 4178187"/>
                <a:gd name="connsiteX876" fmla="*/ 2062342 w 3009712"/>
                <a:gd name="connsiteY876" fmla="*/ 2009228 h 4178187"/>
                <a:gd name="connsiteX877" fmla="*/ 2059588 w 3009712"/>
                <a:gd name="connsiteY877" fmla="*/ 2009622 h 4178187"/>
                <a:gd name="connsiteX878" fmla="*/ 2056440 w 3009712"/>
                <a:gd name="connsiteY878" fmla="*/ 2010015 h 4178187"/>
                <a:gd name="connsiteX879" fmla="*/ 2053686 w 3009712"/>
                <a:gd name="connsiteY879" fmla="*/ 2009622 h 4178187"/>
                <a:gd name="connsiteX880" fmla="*/ 2050932 w 3009712"/>
                <a:gd name="connsiteY880" fmla="*/ 2010802 h 4178187"/>
                <a:gd name="connsiteX881" fmla="*/ 2047785 w 3009712"/>
                <a:gd name="connsiteY881" fmla="*/ 2011589 h 4178187"/>
                <a:gd name="connsiteX882" fmla="*/ 2045031 w 3009712"/>
                <a:gd name="connsiteY882" fmla="*/ 2011982 h 4178187"/>
                <a:gd name="connsiteX883" fmla="*/ 2042277 w 3009712"/>
                <a:gd name="connsiteY883" fmla="*/ 2012376 h 4178187"/>
                <a:gd name="connsiteX884" fmla="*/ 2041883 w 3009712"/>
                <a:gd name="connsiteY884" fmla="*/ 2012376 h 4178187"/>
                <a:gd name="connsiteX885" fmla="*/ 2039129 w 3009712"/>
                <a:gd name="connsiteY885" fmla="*/ 2012769 h 4178187"/>
                <a:gd name="connsiteX886" fmla="*/ 2035982 w 3009712"/>
                <a:gd name="connsiteY886" fmla="*/ 2013163 h 4178187"/>
                <a:gd name="connsiteX887" fmla="*/ 2032835 w 3009712"/>
                <a:gd name="connsiteY887" fmla="*/ 2013949 h 4178187"/>
                <a:gd name="connsiteX888" fmla="*/ 2030867 w 3009712"/>
                <a:gd name="connsiteY888" fmla="*/ 2013949 h 4178187"/>
                <a:gd name="connsiteX889" fmla="*/ 2028113 w 3009712"/>
                <a:gd name="connsiteY889" fmla="*/ 2014736 h 4178187"/>
                <a:gd name="connsiteX890" fmla="*/ 2027720 w 3009712"/>
                <a:gd name="connsiteY890" fmla="*/ 2014343 h 4178187"/>
                <a:gd name="connsiteX891" fmla="*/ 2027326 w 3009712"/>
                <a:gd name="connsiteY891" fmla="*/ 2014343 h 4178187"/>
                <a:gd name="connsiteX892" fmla="*/ 2016704 w 3009712"/>
                <a:gd name="connsiteY892" fmla="*/ 2010015 h 4178187"/>
                <a:gd name="connsiteX893" fmla="*/ 2016704 w 3009712"/>
                <a:gd name="connsiteY893" fmla="*/ 2009622 h 4178187"/>
                <a:gd name="connsiteX894" fmla="*/ 2015524 w 3009712"/>
                <a:gd name="connsiteY894" fmla="*/ 2006868 h 4178187"/>
                <a:gd name="connsiteX895" fmla="*/ 2015130 w 3009712"/>
                <a:gd name="connsiteY895" fmla="*/ 2001360 h 4178187"/>
                <a:gd name="connsiteX896" fmla="*/ 2015917 w 3009712"/>
                <a:gd name="connsiteY896" fmla="*/ 1999393 h 4178187"/>
                <a:gd name="connsiteX897" fmla="*/ 2015524 w 3009712"/>
                <a:gd name="connsiteY897" fmla="*/ 1996639 h 4178187"/>
                <a:gd name="connsiteX898" fmla="*/ 2014737 w 3009712"/>
                <a:gd name="connsiteY898" fmla="*/ 1993885 h 4178187"/>
                <a:gd name="connsiteX899" fmla="*/ 2014343 w 3009712"/>
                <a:gd name="connsiteY899" fmla="*/ 1993098 h 4178187"/>
                <a:gd name="connsiteX900" fmla="*/ 2012770 w 3009712"/>
                <a:gd name="connsiteY900" fmla="*/ 1989950 h 4178187"/>
                <a:gd name="connsiteX901" fmla="*/ 2010016 w 3009712"/>
                <a:gd name="connsiteY901" fmla="*/ 1987196 h 4178187"/>
                <a:gd name="connsiteX902" fmla="*/ 2006868 w 3009712"/>
                <a:gd name="connsiteY902" fmla="*/ 1984836 h 4178187"/>
                <a:gd name="connsiteX903" fmla="*/ 2004508 w 3009712"/>
                <a:gd name="connsiteY903" fmla="*/ 1984049 h 4178187"/>
                <a:gd name="connsiteX904" fmla="*/ 2001360 w 3009712"/>
                <a:gd name="connsiteY904" fmla="*/ 1980902 h 4178187"/>
                <a:gd name="connsiteX905" fmla="*/ 1997426 w 3009712"/>
                <a:gd name="connsiteY905" fmla="*/ 1980902 h 4178187"/>
                <a:gd name="connsiteX906" fmla="*/ 1971460 w 3009712"/>
                <a:gd name="connsiteY906" fmla="*/ 1958083 h 4178187"/>
                <a:gd name="connsiteX907" fmla="*/ 1971460 w 3009712"/>
                <a:gd name="connsiteY907" fmla="*/ 1957689 h 4178187"/>
                <a:gd name="connsiteX908" fmla="*/ 1968706 w 3009712"/>
                <a:gd name="connsiteY908" fmla="*/ 1955329 h 4178187"/>
                <a:gd name="connsiteX909" fmla="*/ 1967919 w 3009712"/>
                <a:gd name="connsiteY909" fmla="*/ 1955329 h 4178187"/>
                <a:gd name="connsiteX910" fmla="*/ 1965952 w 3009712"/>
                <a:gd name="connsiteY910" fmla="*/ 1956509 h 4178187"/>
                <a:gd name="connsiteX911" fmla="*/ 1962018 w 3009712"/>
                <a:gd name="connsiteY911" fmla="*/ 1958476 h 4178187"/>
                <a:gd name="connsiteX912" fmla="*/ 1961231 w 3009712"/>
                <a:gd name="connsiteY912" fmla="*/ 1961230 h 4178187"/>
                <a:gd name="connsiteX913" fmla="*/ 1959657 w 3009712"/>
                <a:gd name="connsiteY913" fmla="*/ 1964378 h 4178187"/>
                <a:gd name="connsiteX914" fmla="*/ 1959264 w 3009712"/>
                <a:gd name="connsiteY914" fmla="*/ 1967132 h 4178187"/>
                <a:gd name="connsiteX915" fmla="*/ 1960838 w 3009712"/>
                <a:gd name="connsiteY915" fmla="*/ 1969886 h 4178187"/>
                <a:gd name="connsiteX916" fmla="*/ 1961231 w 3009712"/>
                <a:gd name="connsiteY916" fmla="*/ 1970673 h 4178187"/>
                <a:gd name="connsiteX917" fmla="*/ 1960838 w 3009712"/>
                <a:gd name="connsiteY917" fmla="*/ 1972246 h 4178187"/>
                <a:gd name="connsiteX918" fmla="*/ 1960444 w 3009712"/>
                <a:gd name="connsiteY918" fmla="*/ 1975394 h 4178187"/>
                <a:gd name="connsiteX919" fmla="*/ 1961624 w 3009712"/>
                <a:gd name="connsiteY919" fmla="*/ 1975394 h 4178187"/>
                <a:gd name="connsiteX920" fmla="*/ 1962411 w 3009712"/>
                <a:gd name="connsiteY920" fmla="*/ 1975000 h 4178187"/>
                <a:gd name="connsiteX921" fmla="*/ 1964378 w 3009712"/>
                <a:gd name="connsiteY921" fmla="*/ 1974213 h 4178187"/>
                <a:gd name="connsiteX922" fmla="*/ 1966739 w 3009712"/>
                <a:gd name="connsiteY922" fmla="*/ 1973426 h 4178187"/>
                <a:gd name="connsiteX923" fmla="*/ 1968706 w 3009712"/>
                <a:gd name="connsiteY923" fmla="*/ 1980115 h 4178187"/>
                <a:gd name="connsiteX924" fmla="*/ 1967526 w 3009712"/>
                <a:gd name="connsiteY924" fmla="*/ 1979721 h 4178187"/>
                <a:gd name="connsiteX925" fmla="*/ 1966345 w 3009712"/>
                <a:gd name="connsiteY925" fmla="*/ 1978541 h 4178187"/>
                <a:gd name="connsiteX926" fmla="*/ 1962411 w 3009712"/>
                <a:gd name="connsiteY926" fmla="*/ 1976574 h 4178187"/>
                <a:gd name="connsiteX927" fmla="*/ 1961624 w 3009712"/>
                <a:gd name="connsiteY927" fmla="*/ 1980115 h 4178187"/>
                <a:gd name="connsiteX928" fmla="*/ 1961624 w 3009712"/>
                <a:gd name="connsiteY928" fmla="*/ 1980115 h 4178187"/>
                <a:gd name="connsiteX929" fmla="*/ 1961231 w 3009712"/>
                <a:gd name="connsiteY929" fmla="*/ 1982869 h 4178187"/>
                <a:gd name="connsiteX930" fmla="*/ 1956510 w 3009712"/>
                <a:gd name="connsiteY930" fmla="*/ 1984836 h 4178187"/>
                <a:gd name="connsiteX931" fmla="*/ 1956116 w 3009712"/>
                <a:gd name="connsiteY931" fmla="*/ 1984836 h 4178187"/>
                <a:gd name="connsiteX932" fmla="*/ 1955723 w 3009712"/>
                <a:gd name="connsiteY932" fmla="*/ 1984836 h 4178187"/>
                <a:gd name="connsiteX933" fmla="*/ 1948641 w 3009712"/>
                <a:gd name="connsiteY933" fmla="*/ 1987590 h 4178187"/>
                <a:gd name="connsiteX934" fmla="*/ 1947461 w 3009712"/>
                <a:gd name="connsiteY934" fmla="*/ 1987590 h 4178187"/>
                <a:gd name="connsiteX935" fmla="*/ 1944314 w 3009712"/>
                <a:gd name="connsiteY935" fmla="*/ 1987590 h 4178187"/>
                <a:gd name="connsiteX936" fmla="*/ 1941560 w 3009712"/>
                <a:gd name="connsiteY936" fmla="*/ 1988377 h 4178187"/>
                <a:gd name="connsiteX937" fmla="*/ 1938412 w 3009712"/>
                <a:gd name="connsiteY937" fmla="*/ 1989557 h 4178187"/>
                <a:gd name="connsiteX938" fmla="*/ 1935658 w 3009712"/>
                <a:gd name="connsiteY938" fmla="*/ 1991524 h 4178187"/>
                <a:gd name="connsiteX939" fmla="*/ 1932904 w 3009712"/>
                <a:gd name="connsiteY939" fmla="*/ 1993098 h 4178187"/>
                <a:gd name="connsiteX940" fmla="*/ 1927396 w 3009712"/>
                <a:gd name="connsiteY940" fmla="*/ 1995852 h 4178187"/>
                <a:gd name="connsiteX941" fmla="*/ 1925823 w 3009712"/>
                <a:gd name="connsiteY941" fmla="*/ 1996245 h 4178187"/>
                <a:gd name="connsiteX942" fmla="*/ 1923068 w 3009712"/>
                <a:gd name="connsiteY942" fmla="*/ 1998999 h 4178187"/>
                <a:gd name="connsiteX943" fmla="*/ 1922282 w 3009712"/>
                <a:gd name="connsiteY943" fmla="*/ 1999393 h 4178187"/>
                <a:gd name="connsiteX944" fmla="*/ 1922282 w 3009712"/>
                <a:gd name="connsiteY944" fmla="*/ 1999393 h 4178187"/>
                <a:gd name="connsiteX945" fmla="*/ 1917954 w 3009712"/>
                <a:gd name="connsiteY945" fmla="*/ 2002540 h 4178187"/>
                <a:gd name="connsiteX946" fmla="*/ 1918347 w 3009712"/>
                <a:gd name="connsiteY946" fmla="*/ 2003327 h 4178187"/>
                <a:gd name="connsiteX947" fmla="*/ 1918741 w 3009712"/>
                <a:gd name="connsiteY947" fmla="*/ 2003327 h 4178187"/>
                <a:gd name="connsiteX948" fmla="*/ 1918347 w 3009712"/>
                <a:gd name="connsiteY948" fmla="*/ 2010015 h 4178187"/>
                <a:gd name="connsiteX949" fmla="*/ 1920314 w 3009712"/>
                <a:gd name="connsiteY949" fmla="*/ 2014736 h 4178187"/>
                <a:gd name="connsiteX950" fmla="*/ 1920314 w 3009712"/>
                <a:gd name="connsiteY950" fmla="*/ 2016310 h 4178187"/>
                <a:gd name="connsiteX951" fmla="*/ 1921888 w 3009712"/>
                <a:gd name="connsiteY951" fmla="*/ 2019064 h 4178187"/>
                <a:gd name="connsiteX952" fmla="*/ 1922675 w 3009712"/>
                <a:gd name="connsiteY952" fmla="*/ 2020638 h 4178187"/>
                <a:gd name="connsiteX953" fmla="*/ 1923855 w 3009712"/>
                <a:gd name="connsiteY953" fmla="*/ 2022998 h 4178187"/>
                <a:gd name="connsiteX954" fmla="*/ 1924249 w 3009712"/>
                <a:gd name="connsiteY954" fmla="*/ 2023392 h 4178187"/>
                <a:gd name="connsiteX955" fmla="*/ 1924642 w 3009712"/>
                <a:gd name="connsiteY955" fmla="*/ 2023785 h 4178187"/>
                <a:gd name="connsiteX956" fmla="*/ 1927003 w 3009712"/>
                <a:gd name="connsiteY956" fmla="*/ 2030473 h 4178187"/>
                <a:gd name="connsiteX957" fmla="*/ 1930544 w 3009712"/>
                <a:gd name="connsiteY957" fmla="*/ 2034407 h 4178187"/>
                <a:gd name="connsiteX958" fmla="*/ 1930937 w 3009712"/>
                <a:gd name="connsiteY958" fmla="*/ 2035194 h 4178187"/>
                <a:gd name="connsiteX959" fmla="*/ 1930937 w 3009712"/>
                <a:gd name="connsiteY959" fmla="*/ 2037948 h 4178187"/>
                <a:gd name="connsiteX960" fmla="*/ 1930937 w 3009712"/>
                <a:gd name="connsiteY960" fmla="*/ 2043850 h 4178187"/>
                <a:gd name="connsiteX961" fmla="*/ 1930150 w 3009712"/>
                <a:gd name="connsiteY961" fmla="*/ 2046210 h 4178187"/>
                <a:gd name="connsiteX962" fmla="*/ 1930544 w 3009712"/>
                <a:gd name="connsiteY962" fmla="*/ 2048964 h 4178187"/>
                <a:gd name="connsiteX963" fmla="*/ 1930544 w 3009712"/>
                <a:gd name="connsiteY963" fmla="*/ 2049751 h 4178187"/>
                <a:gd name="connsiteX964" fmla="*/ 1930937 w 3009712"/>
                <a:gd name="connsiteY964" fmla="*/ 2052505 h 4178187"/>
                <a:gd name="connsiteX965" fmla="*/ 1926216 w 3009712"/>
                <a:gd name="connsiteY965" fmla="*/ 2057620 h 4178187"/>
                <a:gd name="connsiteX966" fmla="*/ 1925823 w 3009712"/>
                <a:gd name="connsiteY966" fmla="*/ 2058800 h 4178187"/>
                <a:gd name="connsiteX967" fmla="*/ 1923855 w 3009712"/>
                <a:gd name="connsiteY967" fmla="*/ 2060374 h 4178187"/>
                <a:gd name="connsiteX968" fmla="*/ 1914413 w 3009712"/>
                <a:gd name="connsiteY968" fmla="*/ 2063128 h 4178187"/>
                <a:gd name="connsiteX969" fmla="*/ 1909692 w 3009712"/>
                <a:gd name="connsiteY969" fmla="*/ 2056833 h 4178187"/>
                <a:gd name="connsiteX970" fmla="*/ 1910872 w 3009712"/>
                <a:gd name="connsiteY970" fmla="*/ 2054472 h 4178187"/>
                <a:gd name="connsiteX971" fmla="*/ 1911266 w 3009712"/>
                <a:gd name="connsiteY971" fmla="*/ 2051718 h 4178187"/>
                <a:gd name="connsiteX972" fmla="*/ 1909299 w 3009712"/>
                <a:gd name="connsiteY972" fmla="*/ 2050931 h 4178187"/>
                <a:gd name="connsiteX973" fmla="*/ 1903397 w 3009712"/>
                <a:gd name="connsiteY973" fmla="*/ 2041489 h 4178187"/>
                <a:gd name="connsiteX974" fmla="*/ 1904184 w 3009712"/>
                <a:gd name="connsiteY974" fmla="*/ 2030080 h 4178187"/>
                <a:gd name="connsiteX975" fmla="*/ 1908905 w 3009712"/>
                <a:gd name="connsiteY975" fmla="*/ 2023785 h 4178187"/>
                <a:gd name="connsiteX976" fmla="*/ 1909299 w 3009712"/>
                <a:gd name="connsiteY976" fmla="*/ 2023392 h 4178187"/>
                <a:gd name="connsiteX977" fmla="*/ 1916380 w 3009712"/>
                <a:gd name="connsiteY977" fmla="*/ 2014736 h 4178187"/>
                <a:gd name="connsiteX978" fmla="*/ 1916774 w 3009712"/>
                <a:gd name="connsiteY978" fmla="*/ 2013163 h 4178187"/>
                <a:gd name="connsiteX979" fmla="*/ 1917561 w 3009712"/>
                <a:gd name="connsiteY979" fmla="*/ 2010409 h 4178187"/>
                <a:gd name="connsiteX980" fmla="*/ 1917561 w 3009712"/>
                <a:gd name="connsiteY980" fmla="*/ 2010015 h 4178187"/>
                <a:gd name="connsiteX981" fmla="*/ 1918347 w 3009712"/>
                <a:gd name="connsiteY981" fmla="*/ 2007261 h 4178187"/>
                <a:gd name="connsiteX982" fmla="*/ 1917167 w 3009712"/>
                <a:gd name="connsiteY982" fmla="*/ 2004114 h 4178187"/>
                <a:gd name="connsiteX983" fmla="*/ 1916774 w 3009712"/>
                <a:gd name="connsiteY983" fmla="*/ 2004114 h 4178187"/>
                <a:gd name="connsiteX984" fmla="*/ 1916380 w 3009712"/>
                <a:gd name="connsiteY984" fmla="*/ 2003720 h 4178187"/>
                <a:gd name="connsiteX985" fmla="*/ 1915200 w 3009712"/>
                <a:gd name="connsiteY985" fmla="*/ 2001360 h 4178187"/>
                <a:gd name="connsiteX986" fmla="*/ 1914807 w 3009712"/>
                <a:gd name="connsiteY986" fmla="*/ 1998606 h 4178187"/>
                <a:gd name="connsiteX987" fmla="*/ 1913626 w 3009712"/>
                <a:gd name="connsiteY987" fmla="*/ 1995458 h 4178187"/>
                <a:gd name="connsiteX988" fmla="*/ 1914020 w 3009712"/>
                <a:gd name="connsiteY988" fmla="*/ 1995065 h 4178187"/>
                <a:gd name="connsiteX989" fmla="*/ 1916774 w 3009712"/>
                <a:gd name="connsiteY989" fmla="*/ 1994672 h 4178187"/>
                <a:gd name="connsiteX990" fmla="*/ 1914807 w 3009712"/>
                <a:gd name="connsiteY990" fmla="*/ 1993491 h 4178187"/>
                <a:gd name="connsiteX991" fmla="*/ 1928577 w 3009712"/>
                <a:gd name="connsiteY991" fmla="*/ 1967132 h 4178187"/>
                <a:gd name="connsiteX992" fmla="*/ 1929757 w 3009712"/>
                <a:gd name="connsiteY992" fmla="*/ 1965165 h 4178187"/>
                <a:gd name="connsiteX993" fmla="*/ 1932511 w 3009712"/>
                <a:gd name="connsiteY993" fmla="*/ 1963197 h 4178187"/>
                <a:gd name="connsiteX994" fmla="*/ 1935265 w 3009712"/>
                <a:gd name="connsiteY994" fmla="*/ 1960443 h 4178187"/>
                <a:gd name="connsiteX995" fmla="*/ 1934871 w 3009712"/>
                <a:gd name="connsiteY995" fmla="*/ 1957689 h 4178187"/>
                <a:gd name="connsiteX996" fmla="*/ 1933691 w 3009712"/>
                <a:gd name="connsiteY996" fmla="*/ 1954542 h 4178187"/>
                <a:gd name="connsiteX997" fmla="*/ 1932511 w 3009712"/>
                <a:gd name="connsiteY997" fmla="*/ 1951788 h 4178187"/>
                <a:gd name="connsiteX998" fmla="*/ 1930937 w 3009712"/>
                <a:gd name="connsiteY998" fmla="*/ 1950214 h 4178187"/>
                <a:gd name="connsiteX999" fmla="*/ 1928183 w 3009712"/>
                <a:gd name="connsiteY999" fmla="*/ 1949034 h 4178187"/>
                <a:gd name="connsiteX1000" fmla="*/ 1925429 w 3009712"/>
                <a:gd name="connsiteY1000" fmla="*/ 1947460 h 4178187"/>
                <a:gd name="connsiteX1001" fmla="*/ 1922675 w 3009712"/>
                <a:gd name="connsiteY1001" fmla="*/ 1946280 h 4178187"/>
                <a:gd name="connsiteX1002" fmla="*/ 1919528 w 3009712"/>
                <a:gd name="connsiteY1002" fmla="*/ 1947854 h 4178187"/>
                <a:gd name="connsiteX1003" fmla="*/ 1916774 w 3009712"/>
                <a:gd name="connsiteY1003" fmla="*/ 1949821 h 4178187"/>
                <a:gd name="connsiteX1004" fmla="*/ 1914020 w 3009712"/>
                <a:gd name="connsiteY1004" fmla="*/ 1949427 h 4178187"/>
                <a:gd name="connsiteX1005" fmla="*/ 1910872 w 3009712"/>
                <a:gd name="connsiteY1005" fmla="*/ 1952182 h 4178187"/>
                <a:gd name="connsiteX1006" fmla="*/ 1911659 w 3009712"/>
                <a:gd name="connsiteY1006" fmla="*/ 1953362 h 4178187"/>
                <a:gd name="connsiteX1007" fmla="*/ 1910872 w 3009712"/>
                <a:gd name="connsiteY1007" fmla="*/ 1953362 h 4178187"/>
                <a:gd name="connsiteX1008" fmla="*/ 1910479 w 3009712"/>
                <a:gd name="connsiteY1008" fmla="*/ 1952575 h 4178187"/>
                <a:gd name="connsiteX1009" fmla="*/ 1907725 w 3009712"/>
                <a:gd name="connsiteY1009" fmla="*/ 1953362 h 4178187"/>
                <a:gd name="connsiteX1010" fmla="*/ 1904577 w 3009712"/>
                <a:gd name="connsiteY1010" fmla="*/ 1954149 h 4178187"/>
                <a:gd name="connsiteX1011" fmla="*/ 1905364 w 3009712"/>
                <a:gd name="connsiteY1011" fmla="*/ 1956903 h 4178187"/>
                <a:gd name="connsiteX1012" fmla="*/ 1902217 w 3009712"/>
                <a:gd name="connsiteY1012" fmla="*/ 1959263 h 4178187"/>
                <a:gd name="connsiteX1013" fmla="*/ 1886480 w 3009712"/>
                <a:gd name="connsiteY1013" fmla="*/ 1972246 h 4178187"/>
                <a:gd name="connsiteX1014" fmla="*/ 1884119 w 3009712"/>
                <a:gd name="connsiteY1014" fmla="*/ 1972640 h 4178187"/>
                <a:gd name="connsiteX1015" fmla="*/ 1883726 w 3009712"/>
                <a:gd name="connsiteY1015" fmla="*/ 1972640 h 4178187"/>
                <a:gd name="connsiteX1016" fmla="*/ 1880972 w 3009712"/>
                <a:gd name="connsiteY1016" fmla="*/ 1975000 h 4178187"/>
                <a:gd name="connsiteX1017" fmla="*/ 1878611 w 3009712"/>
                <a:gd name="connsiteY1017" fmla="*/ 1977361 h 4178187"/>
                <a:gd name="connsiteX1018" fmla="*/ 1858940 w 3009712"/>
                <a:gd name="connsiteY1018" fmla="*/ 1987590 h 4178187"/>
                <a:gd name="connsiteX1019" fmla="*/ 1853039 w 3009712"/>
                <a:gd name="connsiteY1019" fmla="*/ 1987590 h 4178187"/>
                <a:gd name="connsiteX1020" fmla="*/ 1850285 w 3009712"/>
                <a:gd name="connsiteY1020" fmla="*/ 1987196 h 4178187"/>
                <a:gd name="connsiteX1021" fmla="*/ 1847531 w 3009712"/>
                <a:gd name="connsiteY1021" fmla="*/ 1986016 h 4178187"/>
                <a:gd name="connsiteX1022" fmla="*/ 1844383 w 3009712"/>
                <a:gd name="connsiteY1022" fmla="*/ 1984443 h 4178187"/>
                <a:gd name="connsiteX1023" fmla="*/ 1841629 w 3009712"/>
                <a:gd name="connsiteY1023" fmla="*/ 1985229 h 4178187"/>
                <a:gd name="connsiteX1024" fmla="*/ 1838875 w 3009712"/>
                <a:gd name="connsiteY1024" fmla="*/ 1987590 h 4178187"/>
                <a:gd name="connsiteX1025" fmla="*/ 1838482 w 3009712"/>
                <a:gd name="connsiteY1025" fmla="*/ 1990344 h 4178187"/>
                <a:gd name="connsiteX1026" fmla="*/ 1838482 w 3009712"/>
                <a:gd name="connsiteY1026" fmla="*/ 1993098 h 4178187"/>
                <a:gd name="connsiteX1027" fmla="*/ 1836908 w 3009712"/>
                <a:gd name="connsiteY1027" fmla="*/ 1996245 h 4178187"/>
                <a:gd name="connsiteX1028" fmla="*/ 1836515 w 3009712"/>
                <a:gd name="connsiteY1028" fmla="*/ 1996639 h 4178187"/>
                <a:gd name="connsiteX1029" fmla="*/ 1835728 w 3009712"/>
                <a:gd name="connsiteY1029" fmla="*/ 1998999 h 4178187"/>
                <a:gd name="connsiteX1030" fmla="*/ 1834941 w 3009712"/>
                <a:gd name="connsiteY1030" fmla="*/ 1999786 h 4178187"/>
                <a:gd name="connsiteX1031" fmla="*/ 1834548 w 3009712"/>
                <a:gd name="connsiteY1031" fmla="*/ 2000180 h 4178187"/>
                <a:gd name="connsiteX1032" fmla="*/ 1830613 w 3009712"/>
                <a:gd name="connsiteY1032" fmla="*/ 2004900 h 4178187"/>
                <a:gd name="connsiteX1033" fmla="*/ 1829433 w 3009712"/>
                <a:gd name="connsiteY1033" fmla="*/ 1997032 h 4178187"/>
                <a:gd name="connsiteX1034" fmla="*/ 1832974 w 3009712"/>
                <a:gd name="connsiteY1034" fmla="*/ 1997032 h 4178187"/>
                <a:gd name="connsiteX1035" fmla="*/ 1835728 w 3009712"/>
                <a:gd name="connsiteY1035" fmla="*/ 1996245 h 4178187"/>
                <a:gd name="connsiteX1036" fmla="*/ 1835728 w 3009712"/>
                <a:gd name="connsiteY1036" fmla="*/ 1995852 h 4178187"/>
                <a:gd name="connsiteX1037" fmla="*/ 1819204 w 3009712"/>
                <a:gd name="connsiteY1037" fmla="*/ 1991917 h 4178187"/>
                <a:gd name="connsiteX1038" fmla="*/ 1816843 w 3009712"/>
                <a:gd name="connsiteY1038" fmla="*/ 1993885 h 4178187"/>
                <a:gd name="connsiteX1039" fmla="*/ 1816450 w 3009712"/>
                <a:gd name="connsiteY1039" fmla="*/ 1994278 h 4178187"/>
                <a:gd name="connsiteX1040" fmla="*/ 1807008 w 3009712"/>
                <a:gd name="connsiteY1040" fmla="*/ 2002933 h 4178187"/>
                <a:gd name="connsiteX1041" fmla="*/ 1806614 w 3009712"/>
                <a:gd name="connsiteY1041" fmla="*/ 2004507 h 4178187"/>
                <a:gd name="connsiteX1042" fmla="*/ 1806614 w 3009712"/>
                <a:gd name="connsiteY1042" fmla="*/ 2006081 h 4178187"/>
                <a:gd name="connsiteX1043" fmla="*/ 1804254 w 3009712"/>
                <a:gd name="connsiteY1043" fmla="*/ 2006474 h 4178187"/>
                <a:gd name="connsiteX1044" fmla="*/ 1801500 w 3009712"/>
                <a:gd name="connsiteY1044" fmla="*/ 2008441 h 4178187"/>
                <a:gd name="connsiteX1045" fmla="*/ 1798746 w 3009712"/>
                <a:gd name="connsiteY1045" fmla="*/ 2011195 h 4178187"/>
                <a:gd name="connsiteX1046" fmla="*/ 1798746 w 3009712"/>
                <a:gd name="connsiteY1046" fmla="*/ 2013949 h 4178187"/>
                <a:gd name="connsiteX1047" fmla="*/ 1798352 w 3009712"/>
                <a:gd name="connsiteY1047" fmla="*/ 2016703 h 4178187"/>
                <a:gd name="connsiteX1048" fmla="*/ 1797566 w 3009712"/>
                <a:gd name="connsiteY1048" fmla="*/ 2019851 h 4178187"/>
                <a:gd name="connsiteX1049" fmla="*/ 1795598 w 3009712"/>
                <a:gd name="connsiteY1049" fmla="*/ 2021031 h 4178187"/>
                <a:gd name="connsiteX1050" fmla="*/ 1794418 w 3009712"/>
                <a:gd name="connsiteY1050" fmla="*/ 2023785 h 4178187"/>
                <a:gd name="connsiteX1051" fmla="*/ 1796385 w 3009712"/>
                <a:gd name="connsiteY1051" fmla="*/ 2024178 h 4178187"/>
                <a:gd name="connsiteX1052" fmla="*/ 1795598 w 3009712"/>
                <a:gd name="connsiteY1052" fmla="*/ 2026933 h 4178187"/>
                <a:gd name="connsiteX1053" fmla="*/ 1795205 w 3009712"/>
                <a:gd name="connsiteY1053" fmla="*/ 2030080 h 4178187"/>
                <a:gd name="connsiteX1054" fmla="*/ 1794812 w 3009712"/>
                <a:gd name="connsiteY1054" fmla="*/ 2032047 h 4178187"/>
                <a:gd name="connsiteX1055" fmla="*/ 1793631 w 3009712"/>
                <a:gd name="connsiteY1055" fmla="*/ 2034407 h 4178187"/>
                <a:gd name="connsiteX1056" fmla="*/ 1792058 w 3009712"/>
                <a:gd name="connsiteY1056" fmla="*/ 2037948 h 4178187"/>
                <a:gd name="connsiteX1057" fmla="*/ 1790484 w 3009712"/>
                <a:gd name="connsiteY1057" fmla="*/ 2040702 h 4178187"/>
                <a:gd name="connsiteX1058" fmla="*/ 1791664 w 3009712"/>
                <a:gd name="connsiteY1058" fmla="*/ 2041489 h 4178187"/>
                <a:gd name="connsiteX1059" fmla="*/ 1789303 w 3009712"/>
                <a:gd name="connsiteY1059" fmla="*/ 2050145 h 4178187"/>
                <a:gd name="connsiteX1060" fmla="*/ 1786549 w 3009712"/>
                <a:gd name="connsiteY1060" fmla="*/ 2049751 h 4178187"/>
                <a:gd name="connsiteX1061" fmla="*/ 1783796 w 3009712"/>
                <a:gd name="connsiteY1061" fmla="*/ 2050145 h 4178187"/>
                <a:gd name="connsiteX1062" fmla="*/ 1780648 w 3009712"/>
                <a:gd name="connsiteY1062" fmla="*/ 2052505 h 4178187"/>
                <a:gd name="connsiteX1063" fmla="*/ 1777894 w 3009712"/>
                <a:gd name="connsiteY1063" fmla="*/ 2055259 h 4178187"/>
                <a:gd name="connsiteX1064" fmla="*/ 1775534 w 3009712"/>
                <a:gd name="connsiteY1064" fmla="*/ 2058013 h 4178187"/>
                <a:gd name="connsiteX1065" fmla="*/ 1774747 w 3009712"/>
                <a:gd name="connsiteY1065" fmla="*/ 2059980 h 4178187"/>
                <a:gd name="connsiteX1066" fmla="*/ 1767665 w 3009712"/>
                <a:gd name="connsiteY1066" fmla="*/ 2067455 h 4178187"/>
                <a:gd name="connsiteX1067" fmla="*/ 1766878 w 3009712"/>
                <a:gd name="connsiteY1067" fmla="*/ 2069423 h 4178187"/>
                <a:gd name="connsiteX1068" fmla="*/ 1764124 w 3009712"/>
                <a:gd name="connsiteY1068" fmla="*/ 2071783 h 4178187"/>
                <a:gd name="connsiteX1069" fmla="*/ 1761370 w 3009712"/>
                <a:gd name="connsiteY1069" fmla="*/ 2072963 h 4178187"/>
                <a:gd name="connsiteX1070" fmla="*/ 1758616 w 3009712"/>
                <a:gd name="connsiteY1070" fmla="*/ 2075717 h 4178187"/>
                <a:gd name="connsiteX1071" fmla="*/ 1755862 w 3009712"/>
                <a:gd name="connsiteY1071" fmla="*/ 2076504 h 4178187"/>
                <a:gd name="connsiteX1072" fmla="*/ 1753108 w 3009712"/>
                <a:gd name="connsiteY1072" fmla="*/ 2078078 h 4178187"/>
                <a:gd name="connsiteX1073" fmla="*/ 1754289 w 3009712"/>
                <a:gd name="connsiteY1073" fmla="*/ 2080832 h 4178187"/>
                <a:gd name="connsiteX1074" fmla="*/ 1755862 w 3009712"/>
                <a:gd name="connsiteY1074" fmla="*/ 2083586 h 4178187"/>
                <a:gd name="connsiteX1075" fmla="*/ 1756649 w 3009712"/>
                <a:gd name="connsiteY1075" fmla="*/ 2086340 h 4178187"/>
                <a:gd name="connsiteX1076" fmla="*/ 1756256 w 3009712"/>
                <a:gd name="connsiteY1076" fmla="*/ 2089094 h 4178187"/>
                <a:gd name="connsiteX1077" fmla="*/ 1756649 w 3009712"/>
                <a:gd name="connsiteY1077" fmla="*/ 2091848 h 4178187"/>
                <a:gd name="connsiteX1078" fmla="*/ 1757042 w 3009712"/>
                <a:gd name="connsiteY1078" fmla="*/ 2094602 h 4178187"/>
                <a:gd name="connsiteX1079" fmla="*/ 1754289 w 3009712"/>
                <a:gd name="connsiteY1079" fmla="*/ 2093028 h 4178187"/>
                <a:gd name="connsiteX1080" fmla="*/ 1749961 w 3009712"/>
                <a:gd name="connsiteY1080" fmla="*/ 2089094 h 4178187"/>
                <a:gd name="connsiteX1081" fmla="*/ 1746420 w 3009712"/>
                <a:gd name="connsiteY1081" fmla="*/ 2085160 h 4178187"/>
                <a:gd name="connsiteX1082" fmla="*/ 1744846 w 3009712"/>
                <a:gd name="connsiteY1082" fmla="*/ 2082799 h 4178187"/>
                <a:gd name="connsiteX1083" fmla="*/ 1742092 w 3009712"/>
                <a:gd name="connsiteY1083" fmla="*/ 2080438 h 4178187"/>
                <a:gd name="connsiteX1084" fmla="*/ 1741699 w 3009712"/>
                <a:gd name="connsiteY1084" fmla="*/ 2079651 h 4178187"/>
                <a:gd name="connsiteX1085" fmla="*/ 1741305 w 3009712"/>
                <a:gd name="connsiteY1085" fmla="*/ 2077291 h 4178187"/>
                <a:gd name="connsiteX1086" fmla="*/ 1739732 w 3009712"/>
                <a:gd name="connsiteY1086" fmla="*/ 2074537 h 4178187"/>
                <a:gd name="connsiteX1087" fmla="*/ 1720847 w 3009712"/>
                <a:gd name="connsiteY1087" fmla="*/ 2055653 h 4178187"/>
                <a:gd name="connsiteX1088" fmla="*/ 1711012 w 3009712"/>
                <a:gd name="connsiteY1088" fmla="*/ 2051718 h 4178187"/>
                <a:gd name="connsiteX1089" fmla="*/ 1710225 w 3009712"/>
                <a:gd name="connsiteY1089" fmla="*/ 2051325 h 4178187"/>
                <a:gd name="connsiteX1090" fmla="*/ 1707471 w 3009712"/>
                <a:gd name="connsiteY1090" fmla="*/ 2049358 h 4178187"/>
                <a:gd name="connsiteX1091" fmla="*/ 1704717 w 3009712"/>
                <a:gd name="connsiteY1091" fmla="*/ 2048964 h 4178187"/>
                <a:gd name="connsiteX1092" fmla="*/ 1692127 w 3009712"/>
                <a:gd name="connsiteY1092" fmla="*/ 2045424 h 4178187"/>
                <a:gd name="connsiteX1093" fmla="*/ 1692914 w 3009712"/>
                <a:gd name="connsiteY1093" fmla="*/ 2044637 h 4178187"/>
                <a:gd name="connsiteX1094" fmla="*/ 1690160 w 3009712"/>
                <a:gd name="connsiteY1094" fmla="*/ 2045030 h 4178187"/>
                <a:gd name="connsiteX1095" fmla="*/ 1683472 w 3009712"/>
                <a:gd name="connsiteY1095" fmla="*/ 2044637 h 4178187"/>
                <a:gd name="connsiteX1096" fmla="*/ 1681111 w 3009712"/>
                <a:gd name="connsiteY1096" fmla="*/ 2044243 h 4178187"/>
                <a:gd name="connsiteX1097" fmla="*/ 1678357 w 3009712"/>
                <a:gd name="connsiteY1097" fmla="*/ 2043850 h 4178187"/>
                <a:gd name="connsiteX1098" fmla="*/ 1675603 w 3009712"/>
                <a:gd name="connsiteY1098" fmla="*/ 2043063 h 4178187"/>
                <a:gd name="connsiteX1099" fmla="*/ 1672849 w 3009712"/>
                <a:gd name="connsiteY1099" fmla="*/ 2045424 h 4178187"/>
                <a:gd name="connsiteX1100" fmla="*/ 1670489 w 3009712"/>
                <a:gd name="connsiteY1100" fmla="*/ 2048177 h 4178187"/>
                <a:gd name="connsiteX1101" fmla="*/ 1667735 w 3009712"/>
                <a:gd name="connsiteY1101" fmla="*/ 2050538 h 4178187"/>
                <a:gd name="connsiteX1102" fmla="*/ 1667341 w 3009712"/>
                <a:gd name="connsiteY1102" fmla="*/ 2050538 h 4178187"/>
                <a:gd name="connsiteX1103" fmla="*/ 1665768 w 3009712"/>
                <a:gd name="connsiteY1103" fmla="*/ 2051718 h 4178187"/>
                <a:gd name="connsiteX1104" fmla="*/ 1665768 w 3009712"/>
                <a:gd name="connsiteY1104" fmla="*/ 2051325 h 4178187"/>
                <a:gd name="connsiteX1105" fmla="*/ 1665374 w 3009712"/>
                <a:gd name="connsiteY1105" fmla="*/ 2050931 h 4178187"/>
                <a:gd name="connsiteX1106" fmla="*/ 1664981 w 3009712"/>
                <a:gd name="connsiteY1106" fmla="*/ 2051325 h 4178187"/>
                <a:gd name="connsiteX1107" fmla="*/ 1664587 w 3009712"/>
                <a:gd name="connsiteY1107" fmla="*/ 2052505 h 4178187"/>
                <a:gd name="connsiteX1108" fmla="*/ 1661833 w 3009712"/>
                <a:gd name="connsiteY1108" fmla="*/ 2052505 h 4178187"/>
                <a:gd name="connsiteX1109" fmla="*/ 1656325 w 3009712"/>
                <a:gd name="connsiteY1109" fmla="*/ 2056833 h 4178187"/>
                <a:gd name="connsiteX1110" fmla="*/ 1655932 w 3009712"/>
                <a:gd name="connsiteY1110" fmla="*/ 2056833 h 4178187"/>
                <a:gd name="connsiteX1111" fmla="*/ 1654752 w 3009712"/>
                <a:gd name="connsiteY1111" fmla="*/ 2057226 h 4178187"/>
                <a:gd name="connsiteX1112" fmla="*/ 1652391 w 3009712"/>
                <a:gd name="connsiteY1112" fmla="*/ 2058013 h 4178187"/>
                <a:gd name="connsiteX1113" fmla="*/ 1650424 w 3009712"/>
                <a:gd name="connsiteY1113" fmla="*/ 2058407 h 4178187"/>
                <a:gd name="connsiteX1114" fmla="*/ 1647277 w 3009712"/>
                <a:gd name="connsiteY1114" fmla="*/ 2059194 h 4178187"/>
                <a:gd name="connsiteX1115" fmla="*/ 1644523 w 3009712"/>
                <a:gd name="connsiteY1115" fmla="*/ 2060767 h 4178187"/>
                <a:gd name="connsiteX1116" fmla="*/ 1644129 w 3009712"/>
                <a:gd name="connsiteY1116" fmla="*/ 2061161 h 4178187"/>
                <a:gd name="connsiteX1117" fmla="*/ 1641375 w 3009712"/>
                <a:gd name="connsiteY1117" fmla="*/ 2062734 h 4178187"/>
                <a:gd name="connsiteX1118" fmla="*/ 1638228 w 3009712"/>
                <a:gd name="connsiteY1118" fmla="*/ 2065095 h 4178187"/>
                <a:gd name="connsiteX1119" fmla="*/ 1635474 w 3009712"/>
                <a:gd name="connsiteY1119" fmla="*/ 2067455 h 4178187"/>
                <a:gd name="connsiteX1120" fmla="*/ 1633507 w 3009712"/>
                <a:gd name="connsiteY1120" fmla="*/ 2067849 h 4178187"/>
                <a:gd name="connsiteX1121" fmla="*/ 1633507 w 3009712"/>
                <a:gd name="connsiteY1121" fmla="*/ 2067849 h 4178187"/>
                <a:gd name="connsiteX1122" fmla="*/ 1625245 w 3009712"/>
                <a:gd name="connsiteY1122" fmla="*/ 2070209 h 4178187"/>
                <a:gd name="connsiteX1123" fmla="*/ 1614622 w 3009712"/>
                <a:gd name="connsiteY1123" fmla="*/ 2068636 h 4178187"/>
                <a:gd name="connsiteX1124" fmla="*/ 1613048 w 3009712"/>
                <a:gd name="connsiteY1124" fmla="*/ 2065882 h 4178187"/>
                <a:gd name="connsiteX1125" fmla="*/ 1611081 w 3009712"/>
                <a:gd name="connsiteY1125" fmla="*/ 2063128 h 4178187"/>
                <a:gd name="connsiteX1126" fmla="*/ 1608327 w 3009712"/>
                <a:gd name="connsiteY1126" fmla="*/ 2060767 h 4178187"/>
                <a:gd name="connsiteX1127" fmla="*/ 1607934 w 3009712"/>
                <a:gd name="connsiteY1127" fmla="*/ 2058800 h 4178187"/>
                <a:gd name="connsiteX1128" fmla="*/ 1605180 w 3009712"/>
                <a:gd name="connsiteY1128" fmla="*/ 2059194 h 4178187"/>
                <a:gd name="connsiteX1129" fmla="*/ 1607147 w 3009712"/>
                <a:gd name="connsiteY1129" fmla="*/ 2061947 h 4178187"/>
                <a:gd name="connsiteX1130" fmla="*/ 1603213 w 3009712"/>
                <a:gd name="connsiteY1130" fmla="*/ 2065095 h 4178187"/>
                <a:gd name="connsiteX1131" fmla="*/ 1602819 w 3009712"/>
                <a:gd name="connsiteY1131" fmla="*/ 2065095 h 4178187"/>
                <a:gd name="connsiteX1132" fmla="*/ 1600065 w 3009712"/>
                <a:gd name="connsiteY1132" fmla="*/ 2065488 h 4178187"/>
                <a:gd name="connsiteX1133" fmla="*/ 1596918 w 3009712"/>
                <a:gd name="connsiteY1133" fmla="*/ 2063128 h 4178187"/>
                <a:gd name="connsiteX1134" fmla="*/ 1594951 w 3009712"/>
                <a:gd name="connsiteY1134" fmla="*/ 2058013 h 4178187"/>
                <a:gd name="connsiteX1135" fmla="*/ 1594951 w 3009712"/>
                <a:gd name="connsiteY1135" fmla="*/ 2056833 h 4178187"/>
                <a:gd name="connsiteX1136" fmla="*/ 1594164 w 3009712"/>
                <a:gd name="connsiteY1136" fmla="*/ 2056439 h 4178187"/>
                <a:gd name="connsiteX1137" fmla="*/ 1592590 w 3009712"/>
                <a:gd name="connsiteY1137" fmla="*/ 2052505 h 4178187"/>
                <a:gd name="connsiteX1138" fmla="*/ 1592590 w 3009712"/>
                <a:gd name="connsiteY1138" fmla="*/ 2050145 h 4178187"/>
                <a:gd name="connsiteX1139" fmla="*/ 1590230 w 3009712"/>
                <a:gd name="connsiteY1139" fmla="*/ 2047391 h 4178187"/>
                <a:gd name="connsiteX1140" fmla="*/ 1589836 w 3009712"/>
                <a:gd name="connsiteY1140" fmla="*/ 2046604 h 4178187"/>
                <a:gd name="connsiteX1141" fmla="*/ 1587082 w 3009712"/>
                <a:gd name="connsiteY1141" fmla="*/ 2043850 h 4178187"/>
                <a:gd name="connsiteX1142" fmla="*/ 1577640 w 3009712"/>
                <a:gd name="connsiteY1142" fmla="*/ 2035981 h 4178187"/>
                <a:gd name="connsiteX1143" fmla="*/ 1574099 w 3009712"/>
                <a:gd name="connsiteY1143" fmla="*/ 2029293 h 4178187"/>
                <a:gd name="connsiteX1144" fmla="*/ 1572919 w 3009712"/>
                <a:gd name="connsiteY1144" fmla="*/ 2029293 h 4178187"/>
                <a:gd name="connsiteX1145" fmla="*/ 1572132 w 3009712"/>
                <a:gd name="connsiteY1145" fmla="*/ 2029293 h 4178187"/>
                <a:gd name="connsiteX1146" fmla="*/ 1569378 w 3009712"/>
                <a:gd name="connsiteY1146" fmla="*/ 2025359 h 4178187"/>
                <a:gd name="connsiteX1147" fmla="*/ 1569378 w 3009712"/>
                <a:gd name="connsiteY1147" fmla="*/ 2024965 h 4178187"/>
                <a:gd name="connsiteX1148" fmla="*/ 1567804 w 3009712"/>
                <a:gd name="connsiteY1148" fmla="*/ 2022211 h 4178187"/>
                <a:gd name="connsiteX1149" fmla="*/ 1565837 w 3009712"/>
                <a:gd name="connsiteY1149" fmla="*/ 2019457 h 4178187"/>
                <a:gd name="connsiteX1150" fmla="*/ 1561510 w 3009712"/>
                <a:gd name="connsiteY1150" fmla="*/ 2010409 h 4178187"/>
                <a:gd name="connsiteX1151" fmla="*/ 1561116 w 3009712"/>
                <a:gd name="connsiteY1151" fmla="*/ 2009622 h 4178187"/>
                <a:gd name="connsiteX1152" fmla="*/ 1560723 w 3009712"/>
                <a:gd name="connsiteY1152" fmla="*/ 2007655 h 4178187"/>
                <a:gd name="connsiteX1153" fmla="*/ 1557969 w 3009712"/>
                <a:gd name="connsiteY1153" fmla="*/ 2004900 h 4178187"/>
                <a:gd name="connsiteX1154" fmla="*/ 1559149 w 3009712"/>
                <a:gd name="connsiteY1154" fmla="*/ 2003720 h 4178187"/>
                <a:gd name="connsiteX1155" fmla="*/ 1559543 w 3009712"/>
                <a:gd name="connsiteY1155" fmla="*/ 2000966 h 4178187"/>
                <a:gd name="connsiteX1156" fmla="*/ 1558362 w 3009712"/>
                <a:gd name="connsiteY1156" fmla="*/ 1998212 h 4178187"/>
                <a:gd name="connsiteX1157" fmla="*/ 1556002 w 3009712"/>
                <a:gd name="connsiteY1157" fmla="*/ 1997426 h 4178187"/>
                <a:gd name="connsiteX1158" fmla="*/ 1556002 w 3009712"/>
                <a:gd name="connsiteY1158" fmla="*/ 1997032 h 4178187"/>
                <a:gd name="connsiteX1159" fmla="*/ 1554428 w 3009712"/>
                <a:gd name="connsiteY1159" fmla="*/ 1994278 h 4178187"/>
                <a:gd name="connsiteX1160" fmla="*/ 1556395 w 3009712"/>
                <a:gd name="connsiteY1160" fmla="*/ 1978148 h 4178187"/>
                <a:gd name="connsiteX1161" fmla="*/ 1559936 w 3009712"/>
                <a:gd name="connsiteY1161" fmla="*/ 1973033 h 4178187"/>
                <a:gd name="connsiteX1162" fmla="*/ 1559543 w 3009712"/>
                <a:gd name="connsiteY1162" fmla="*/ 1967525 h 4178187"/>
                <a:gd name="connsiteX1163" fmla="*/ 1557969 w 3009712"/>
                <a:gd name="connsiteY1163" fmla="*/ 1967525 h 4178187"/>
                <a:gd name="connsiteX1164" fmla="*/ 1559149 w 3009712"/>
                <a:gd name="connsiteY1164" fmla="*/ 1959263 h 4178187"/>
                <a:gd name="connsiteX1165" fmla="*/ 1559543 w 3009712"/>
                <a:gd name="connsiteY1165" fmla="*/ 1958083 h 4178187"/>
                <a:gd name="connsiteX1166" fmla="*/ 1559543 w 3009712"/>
                <a:gd name="connsiteY1166" fmla="*/ 1959263 h 4178187"/>
                <a:gd name="connsiteX1167" fmla="*/ 1560723 w 3009712"/>
                <a:gd name="connsiteY1167" fmla="*/ 1962017 h 4178187"/>
                <a:gd name="connsiteX1168" fmla="*/ 1560723 w 3009712"/>
                <a:gd name="connsiteY1168" fmla="*/ 1959263 h 4178187"/>
                <a:gd name="connsiteX1169" fmla="*/ 1561116 w 3009712"/>
                <a:gd name="connsiteY1169" fmla="*/ 1956509 h 4178187"/>
                <a:gd name="connsiteX1170" fmla="*/ 1561510 w 3009712"/>
                <a:gd name="connsiteY1170" fmla="*/ 1953755 h 4178187"/>
                <a:gd name="connsiteX1171" fmla="*/ 1562296 w 3009712"/>
                <a:gd name="connsiteY1171" fmla="*/ 1951001 h 4178187"/>
                <a:gd name="connsiteX1172" fmla="*/ 1563083 w 3009712"/>
                <a:gd name="connsiteY1172" fmla="*/ 1941952 h 4178187"/>
                <a:gd name="connsiteX1173" fmla="*/ 1564657 w 3009712"/>
                <a:gd name="connsiteY1173" fmla="*/ 1940772 h 4178187"/>
                <a:gd name="connsiteX1174" fmla="*/ 1565050 w 3009712"/>
                <a:gd name="connsiteY1174" fmla="*/ 1942346 h 4178187"/>
                <a:gd name="connsiteX1175" fmla="*/ 1563477 w 3009712"/>
                <a:gd name="connsiteY1175" fmla="*/ 1943133 h 4178187"/>
                <a:gd name="connsiteX1176" fmla="*/ 1563870 w 3009712"/>
                <a:gd name="connsiteY1176" fmla="*/ 1945887 h 4178187"/>
                <a:gd name="connsiteX1177" fmla="*/ 1563870 w 3009712"/>
                <a:gd name="connsiteY1177" fmla="*/ 1948641 h 4178187"/>
                <a:gd name="connsiteX1178" fmla="*/ 1564657 w 3009712"/>
                <a:gd name="connsiteY1178" fmla="*/ 1948247 h 4178187"/>
                <a:gd name="connsiteX1179" fmla="*/ 1567804 w 3009712"/>
                <a:gd name="connsiteY1179" fmla="*/ 1947854 h 4178187"/>
                <a:gd name="connsiteX1180" fmla="*/ 1567411 w 3009712"/>
                <a:gd name="connsiteY1180" fmla="*/ 1945100 h 4178187"/>
                <a:gd name="connsiteX1181" fmla="*/ 1566624 w 3009712"/>
                <a:gd name="connsiteY1181" fmla="*/ 1942346 h 4178187"/>
                <a:gd name="connsiteX1182" fmla="*/ 1566624 w 3009712"/>
                <a:gd name="connsiteY1182" fmla="*/ 1939592 h 4178187"/>
                <a:gd name="connsiteX1183" fmla="*/ 1567411 w 3009712"/>
                <a:gd name="connsiteY1183" fmla="*/ 1935264 h 4178187"/>
                <a:gd name="connsiteX1184" fmla="*/ 1568591 w 3009712"/>
                <a:gd name="connsiteY1184" fmla="*/ 1930936 h 4178187"/>
                <a:gd name="connsiteX1185" fmla="*/ 1568591 w 3009712"/>
                <a:gd name="connsiteY1185" fmla="*/ 1914019 h 4178187"/>
                <a:gd name="connsiteX1186" fmla="*/ 1570165 w 3009712"/>
                <a:gd name="connsiteY1186" fmla="*/ 1908511 h 4178187"/>
                <a:gd name="connsiteX1187" fmla="*/ 1578820 w 3009712"/>
                <a:gd name="connsiteY1187" fmla="*/ 1888446 h 4178187"/>
                <a:gd name="connsiteX1188" fmla="*/ 1579214 w 3009712"/>
                <a:gd name="connsiteY1188" fmla="*/ 1888053 h 4178187"/>
                <a:gd name="connsiteX1189" fmla="*/ 1581181 w 3009712"/>
                <a:gd name="connsiteY1189" fmla="*/ 1885299 h 4178187"/>
                <a:gd name="connsiteX1190" fmla="*/ 1582361 w 3009712"/>
                <a:gd name="connsiteY1190" fmla="*/ 1882152 h 4178187"/>
                <a:gd name="connsiteX1191" fmla="*/ 1581968 w 3009712"/>
                <a:gd name="connsiteY1191" fmla="*/ 1879398 h 4178187"/>
                <a:gd name="connsiteX1192" fmla="*/ 1581968 w 3009712"/>
                <a:gd name="connsiteY1192" fmla="*/ 1877824 h 4178187"/>
                <a:gd name="connsiteX1193" fmla="*/ 1580394 w 3009712"/>
                <a:gd name="connsiteY1193" fmla="*/ 1871136 h 4178187"/>
                <a:gd name="connsiteX1194" fmla="*/ 1579214 w 3009712"/>
                <a:gd name="connsiteY1194" fmla="*/ 1868382 h 4178187"/>
                <a:gd name="connsiteX1195" fmla="*/ 1585902 w 3009712"/>
                <a:gd name="connsiteY1195" fmla="*/ 1859726 h 4178187"/>
                <a:gd name="connsiteX1196" fmla="*/ 1580787 w 3009712"/>
                <a:gd name="connsiteY1196" fmla="*/ 1855398 h 4178187"/>
                <a:gd name="connsiteX1197" fmla="*/ 1580394 w 3009712"/>
                <a:gd name="connsiteY1197" fmla="*/ 1854218 h 4178187"/>
                <a:gd name="connsiteX1198" fmla="*/ 1579607 w 3009712"/>
                <a:gd name="connsiteY1198" fmla="*/ 1851464 h 4178187"/>
                <a:gd name="connsiteX1199" fmla="*/ 1576853 w 3009712"/>
                <a:gd name="connsiteY1199" fmla="*/ 1849497 h 4178187"/>
                <a:gd name="connsiteX1200" fmla="*/ 1574099 w 3009712"/>
                <a:gd name="connsiteY1200" fmla="*/ 1848317 h 4178187"/>
                <a:gd name="connsiteX1201" fmla="*/ 1571345 w 3009712"/>
                <a:gd name="connsiteY1201" fmla="*/ 1847530 h 4178187"/>
                <a:gd name="connsiteX1202" fmla="*/ 1574099 w 3009712"/>
                <a:gd name="connsiteY1202" fmla="*/ 1849104 h 4178187"/>
                <a:gd name="connsiteX1203" fmla="*/ 1574099 w 3009712"/>
                <a:gd name="connsiteY1203" fmla="*/ 1850284 h 4178187"/>
                <a:gd name="connsiteX1204" fmla="*/ 1574099 w 3009712"/>
                <a:gd name="connsiteY1204" fmla="*/ 1849891 h 4178187"/>
                <a:gd name="connsiteX1205" fmla="*/ 1570952 w 3009712"/>
                <a:gd name="connsiteY1205" fmla="*/ 1851071 h 4178187"/>
                <a:gd name="connsiteX1206" fmla="*/ 1569772 w 3009712"/>
                <a:gd name="connsiteY1206" fmla="*/ 1851071 h 4178187"/>
                <a:gd name="connsiteX1207" fmla="*/ 1563083 w 3009712"/>
                <a:gd name="connsiteY1207" fmla="*/ 1845563 h 4178187"/>
                <a:gd name="connsiteX1208" fmla="*/ 1561510 w 3009712"/>
                <a:gd name="connsiteY1208" fmla="*/ 1846743 h 4178187"/>
                <a:gd name="connsiteX1209" fmla="*/ 1559149 w 3009712"/>
                <a:gd name="connsiteY1209" fmla="*/ 1842415 h 4178187"/>
                <a:gd name="connsiteX1210" fmla="*/ 1569378 w 3009712"/>
                <a:gd name="connsiteY1210" fmla="*/ 1846350 h 4178187"/>
                <a:gd name="connsiteX1211" fmla="*/ 1568985 w 3009712"/>
                <a:gd name="connsiteY1211" fmla="*/ 1845170 h 4178187"/>
                <a:gd name="connsiteX1212" fmla="*/ 1567411 w 3009712"/>
                <a:gd name="connsiteY1212" fmla="*/ 1844383 h 4178187"/>
                <a:gd name="connsiteX1213" fmla="*/ 1558756 w 3009712"/>
                <a:gd name="connsiteY1213" fmla="*/ 1835334 h 4178187"/>
                <a:gd name="connsiteX1214" fmla="*/ 1555608 w 3009712"/>
                <a:gd name="connsiteY1214" fmla="*/ 1831793 h 4178187"/>
                <a:gd name="connsiteX1215" fmla="*/ 1554035 w 3009712"/>
                <a:gd name="connsiteY1215" fmla="*/ 1831006 h 4178187"/>
                <a:gd name="connsiteX1216" fmla="*/ 1550887 w 3009712"/>
                <a:gd name="connsiteY1216" fmla="*/ 1831006 h 4178187"/>
                <a:gd name="connsiteX1217" fmla="*/ 1548133 w 3009712"/>
                <a:gd name="connsiteY1217" fmla="*/ 1832580 h 4178187"/>
                <a:gd name="connsiteX1218" fmla="*/ 1544199 w 3009712"/>
                <a:gd name="connsiteY1218" fmla="*/ 1830219 h 4178187"/>
                <a:gd name="connsiteX1219" fmla="*/ 1544199 w 3009712"/>
                <a:gd name="connsiteY1219" fmla="*/ 1829432 h 4178187"/>
                <a:gd name="connsiteX1220" fmla="*/ 1541445 w 3009712"/>
                <a:gd name="connsiteY1220" fmla="*/ 1828252 h 4178187"/>
                <a:gd name="connsiteX1221" fmla="*/ 1538691 w 3009712"/>
                <a:gd name="connsiteY1221" fmla="*/ 1827072 h 4178187"/>
                <a:gd name="connsiteX1222" fmla="*/ 1537117 w 3009712"/>
                <a:gd name="connsiteY1222" fmla="*/ 1826285 h 4178187"/>
                <a:gd name="connsiteX1223" fmla="*/ 1534363 w 3009712"/>
                <a:gd name="connsiteY1223" fmla="*/ 1825498 h 4178187"/>
                <a:gd name="connsiteX1224" fmla="*/ 1533970 w 3009712"/>
                <a:gd name="connsiteY1224" fmla="*/ 1825498 h 4178187"/>
                <a:gd name="connsiteX1225" fmla="*/ 1513905 w 3009712"/>
                <a:gd name="connsiteY1225" fmla="*/ 1827072 h 4178187"/>
                <a:gd name="connsiteX1226" fmla="*/ 1512725 w 3009712"/>
                <a:gd name="connsiteY1226" fmla="*/ 1826285 h 4178187"/>
                <a:gd name="connsiteX1227" fmla="*/ 1509971 w 3009712"/>
                <a:gd name="connsiteY1227" fmla="*/ 1825105 h 4178187"/>
                <a:gd name="connsiteX1228" fmla="*/ 1507217 w 3009712"/>
                <a:gd name="connsiteY1228" fmla="*/ 1824711 h 4178187"/>
                <a:gd name="connsiteX1229" fmla="*/ 1504463 w 3009712"/>
                <a:gd name="connsiteY1229" fmla="*/ 1824711 h 4178187"/>
                <a:gd name="connsiteX1230" fmla="*/ 1507217 w 3009712"/>
                <a:gd name="connsiteY1230" fmla="*/ 1826285 h 4178187"/>
                <a:gd name="connsiteX1231" fmla="*/ 1501709 w 3009712"/>
                <a:gd name="connsiteY1231" fmla="*/ 1829039 h 4178187"/>
                <a:gd name="connsiteX1232" fmla="*/ 1501315 w 3009712"/>
                <a:gd name="connsiteY1232" fmla="*/ 1829039 h 4178187"/>
                <a:gd name="connsiteX1233" fmla="*/ 1498168 w 3009712"/>
                <a:gd name="connsiteY1233" fmla="*/ 1829432 h 4178187"/>
                <a:gd name="connsiteX1234" fmla="*/ 1495807 w 3009712"/>
                <a:gd name="connsiteY1234" fmla="*/ 1831793 h 4178187"/>
                <a:gd name="connsiteX1235" fmla="*/ 1492660 w 3009712"/>
                <a:gd name="connsiteY1235" fmla="*/ 1833367 h 4178187"/>
                <a:gd name="connsiteX1236" fmla="*/ 1492267 w 3009712"/>
                <a:gd name="connsiteY1236" fmla="*/ 1833760 h 4178187"/>
                <a:gd name="connsiteX1237" fmla="*/ 1491480 w 3009712"/>
                <a:gd name="connsiteY1237" fmla="*/ 1833367 h 4178187"/>
                <a:gd name="connsiteX1238" fmla="*/ 1489906 w 3009712"/>
                <a:gd name="connsiteY1238" fmla="*/ 1832186 h 4178187"/>
                <a:gd name="connsiteX1239" fmla="*/ 1487152 w 3009712"/>
                <a:gd name="connsiteY1239" fmla="*/ 1832580 h 4178187"/>
                <a:gd name="connsiteX1240" fmla="*/ 1484398 w 3009712"/>
                <a:gd name="connsiteY1240" fmla="*/ 1832580 h 4178187"/>
                <a:gd name="connsiteX1241" fmla="*/ 1481644 w 3009712"/>
                <a:gd name="connsiteY1241" fmla="*/ 1832186 h 4178187"/>
                <a:gd name="connsiteX1242" fmla="*/ 1481251 w 3009712"/>
                <a:gd name="connsiteY1242" fmla="*/ 1832186 h 4178187"/>
                <a:gd name="connsiteX1243" fmla="*/ 1467087 w 3009712"/>
                <a:gd name="connsiteY1243" fmla="*/ 1831400 h 4178187"/>
                <a:gd name="connsiteX1244" fmla="*/ 1465120 w 3009712"/>
                <a:gd name="connsiteY1244" fmla="*/ 1831006 h 4178187"/>
                <a:gd name="connsiteX1245" fmla="*/ 1462366 w 3009712"/>
                <a:gd name="connsiteY1245" fmla="*/ 1831793 h 4178187"/>
                <a:gd name="connsiteX1246" fmla="*/ 1459219 w 3009712"/>
                <a:gd name="connsiteY1246" fmla="*/ 1832186 h 4178187"/>
                <a:gd name="connsiteX1247" fmla="*/ 1456465 w 3009712"/>
                <a:gd name="connsiteY1247" fmla="*/ 1829432 h 4178187"/>
                <a:gd name="connsiteX1248" fmla="*/ 1453711 w 3009712"/>
                <a:gd name="connsiteY1248" fmla="*/ 1828252 h 4178187"/>
                <a:gd name="connsiteX1249" fmla="*/ 1452137 w 3009712"/>
                <a:gd name="connsiteY1249" fmla="*/ 1829039 h 4178187"/>
                <a:gd name="connsiteX1250" fmla="*/ 1449383 w 3009712"/>
                <a:gd name="connsiteY1250" fmla="*/ 1829432 h 4178187"/>
                <a:gd name="connsiteX1251" fmla="*/ 1447809 w 3009712"/>
                <a:gd name="connsiteY1251" fmla="*/ 1831006 h 4178187"/>
                <a:gd name="connsiteX1252" fmla="*/ 1438367 w 3009712"/>
                <a:gd name="connsiteY1252" fmla="*/ 1834941 h 4178187"/>
                <a:gd name="connsiteX1253" fmla="*/ 1436793 w 3009712"/>
                <a:gd name="connsiteY1253" fmla="*/ 1834547 h 4178187"/>
                <a:gd name="connsiteX1254" fmla="*/ 1436400 w 3009712"/>
                <a:gd name="connsiteY1254" fmla="*/ 1833760 h 4178187"/>
                <a:gd name="connsiteX1255" fmla="*/ 1433646 w 3009712"/>
                <a:gd name="connsiteY1255" fmla="*/ 1831400 h 4178187"/>
                <a:gd name="connsiteX1256" fmla="*/ 1431285 w 3009712"/>
                <a:gd name="connsiteY1256" fmla="*/ 1829826 h 4178187"/>
                <a:gd name="connsiteX1257" fmla="*/ 1428138 w 3009712"/>
                <a:gd name="connsiteY1257" fmla="*/ 1828252 h 4178187"/>
                <a:gd name="connsiteX1258" fmla="*/ 1430499 w 3009712"/>
                <a:gd name="connsiteY1258" fmla="*/ 1831006 h 4178187"/>
                <a:gd name="connsiteX1259" fmla="*/ 1428925 w 3009712"/>
                <a:gd name="connsiteY1259" fmla="*/ 1831400 h 4178187"/>
                <a:gd name="connsiteX1260" fmla="*/ 1427745 w 3009712"/>
                <a:gd name="connsiteY1260" fmla="*/ 1834154 h 4178187"/>
                <a:gd name="connsiteX1261" fmla="*/ 1427351 w 3009712"/>
                <a:gd name="connsiteY1261" fmla="*/ 1834547 h 4178187"/>
                <a:gd name="connsiteX1262" fmla="*/ 1426564 w 3009712"/>
                <a:gd name="connsiteY1262" fmla="*/ 1836121 h 4178187"/>
                <a:gd name="connsiteX1263" fmla="*/ 1426171 w 3009712"/>
                <a:gd name="connsiteY1263" fmla="*/ 1834547 h 4178187"/>
                <a:gd name="connsiteX1264" fmla="*/ 1425778 w 3009712"/>
                <a:gd name="connsiteY1264" fmla="*/ 1834154 h 4178187"/>
                <a:gd name="connsiteX1265" fmla="*/ 1423024 w 3009712"/>
                <a:gd name="connsiteY1265" fmla="*/ 1832186 h 4178187"/>
                <a:gd name="connsiteX1266" fmla="*/ 1421843 w 3009712"/>
                <a:gd name="connsiteY1266" fmla="*/ 1830613 h 4178187"/>
                <a:gd name="connsiteX1267" fmla="*/ 1419089 w 3009712"/>
                <a:gd name="connsiteY1267" fmla="*/ 1830219 h 4178187"/>
                <a:gd name="connsiteX1268" fmla="*/ 1418696 w 3009712"/>
                <a:gd name="connsiteY1268" fmla="*/ 1829432 h 4178187"/>
                <a:gd name="connsiteX1269" fmla="*/ 1424991 w 3009712"/>
                <a:gd name="connsiteY1269" fmla="*/ 1819990 h 4178187"/>
                <a:gd name="connsiteX1270" fmla="*/ 1428138 w 3009712"/>
                <a:gd name="connsiteY1270" fmla="*/ 1816843 h 4178187"/>
                <a:gd name="connsiteX1271" fmla="*/ 1428925 w 3009712"/>
                <a:gd name="connsiteY1271" fmla="*/ 1816449 h 4178187"/>
                <a:gd name="connsiteX1272" fmla="*/ 1431679 w 3009712"/>
                <a:gd name="connsiteY1272" fmla="*/ 1816056 h 4178187"/>
                <a:gd name="connsiteX1273" fmla="*/ 1433646 w 3009712"/>
                <a:gd name="connsiteY1273" fmla="*/ 1813302 h 4178187"/>
                <a:gd name="connsiteX1274" fmla="*/ 1436007 w 3009712"/>
                <a:gd name="connsiteY1274" fmla="*/ 1810548 h 4178187"/>
                <a:gd name="connsiteX1275" fmla="*/ 1436793 w 3009712"/>
                <a:gd name="connsiteY1275" fmla="*/ 1807794 h 4178187"/>
                <a:gd name="connsiteX1276" fmla="*/ 1438761 w 3009712"/>
                <a:gd name="connsiteY1276" fmla="*/ 1805040 h 4178187"/>
                <a:gd name="connsiteX1277" fmla="*/ 1438367 w 3009712"/>
                <a:gd name="connsiteY1277" fmla="*/ 1808187 h 4178187"/>
                <a:gd name="connsiteX1278" fmla="*/ 1439548 w 3009712"/>
                <a:gd name="connsiteY1278" fmla="*/ 1805040 h 4178187"/>
                <a:gd name="connsiteX1279" fmla="*/ 1440728 w 3009712"/>
                <a:gd name="connsiteY1279" fmla="*/ 1802286 h 4178187"/>
                <a:gd name="connsiteX1280" fmla="*/ 1441121 w 3009712"/>
                <a:gd name="connsiteY1280" fmla="*/ 1799532 h 4178187"/>
                <a:gd name="connsiteX1281" fmla="*/ 1442301 w 3009712"/>
                <a:gd name="connsiteY1281" fmla="*/ 1797565 h 4178187"/>
                <a:gd name="connsiteX1282" fmla="*/ 1442695 w 3009712"/>
                <a:gd name="connsiteY1282" fmla="*/ 1794811 h 4178187"/>
                <a:gd name="connsiteX1283" fmla="*/ 1443875 w 3009712"/>
                <a:gd name="connsiteY1283" fmla="*/ 1792057 h 4178187"/>
                <a:gd name="connsiteX1284" fmla="*/ 1442695 w 3009712"/>
                <a:gd name="connsiteY1284" fmla="*/ 1789303 h 4178187"/>
                <a:gd name="connsiteX1285" fmla="*/ 1446236 w 3009712"/>
                <a:gd name="connsiteY1285" fmla="*/ 1775140 h 4178187"/>
                <a:gd name="connsiteX1286" fmla="*/ 1446629 w 3009712"/>
                <a:gd name="connsiteY1286" fmla="*/ 1774746 h 4178187"/>
                <a:gd name="connsiteX1287" fmla="*/ 1446629 w 3009712"/>
                <a:gd name="connsiteY1287" fmla="*/ 1774746 h 4178187"/>
                <a:gd name="connsiteX1288" fmla="*/ 1450170 w 3009712"/>
                <a:gd name="connsiteY1288" fmla="*/ 1760583 h 4178187"/>
                <a:gd name="connsiteX1289" fmla="*/ 1448990 w 3009712"/>
                <a:gd name="connsiteY1289" fmla="*/ 1763337 h 4178187"/>
                <a:gd name="connsiteX1290" fmla="*/ 1450170 w 3009712"/>
                <a:gd name="connsiteY1290" fmla="*/ 1760583 h 4178187"/>
                <a:gd name="connsiteX1291" fmla="*/ 1450170 w 3009712"/>
                <a:gd name="connsiteY1291" fmla="*/ 1760583 h 4178187"/>
                <a:gd name="connsiteX1292" fmla="*/ 1450563 w 3009712"/>
                <a:gd name="connsiteY1292" fmla="*/ 1759009 h 4178187"/>
                <a:gd name="connsiteX1293" fmla="*/ 1452137 w 3009712"/>
                <a:gd name="connsiteY1293" fmla="*/ 1756255 h 4178187"/>
                <a:gd name="connsiteX1294" fmla="*/ 1453317 w 3009712"/>
                <a:gd name="connsiteY1294" fmla="*/ 1753501 h 4178187"/>
                <a:gd name="connsiteX1295" fmla="*/ 1453711 w 3009712"/>
                <a:gd name="connsiteY1295" fmla="*/ 1749960 h 4178187"/>
                <a:gd name="connsiteX1296" fmla="*/ 1452137 w 3009712"/>
                <a:gd name="connsiteY1296" fmla="*/ 1747206 h 4178187"/>
                <a:gd name="connsiteX1297" fmla="*/ 1445842 w 3009712"/>
                <a:gd name="connsiteY1297" fmla="*/ 1747206 h 4178187"/>
                <a:gd name="connsiteX1298" fmla="*/ 1445449 w 3009712"/>
                <a:gd name="connsiteY1298" fmla="*/ 1747206 h 4178187"/>
                <a:gd name="connsiteX1299" fmla="*/ 1445055 w 3009712"/>
                <a:gd name="connsiteY1299" fmla="*/ 1742485 h 4178187"/>
                <a:gd name="connsiteX1300" fmla="*/ 1450957 w 3009712"/>
                <a:gd name="connsiteY1300" fmla="*/ 1747206 h 4178187"/>
                <a:gd name="connsiteX1301" fmla="*/ 1451350 w 3009712"/>
                <a:gd name="connsiteY1301" fmla="*/ 1753108 h 4178187"/>
                <a:gd name="connsiteX1302" fmla="*/ 1454498 w 3009712"/>
                <a:gd name="connsiteY1302" fmla="*/ 1753108 h 4178187"/>
                <a:gd name="connsiteX1303" fmla="*/ 1457252 w 3009712"/>
                <a:gd name="connsiteY1303" fmla="*/ 1752714 h 4178187"/>
                <a:gd name="connsiteX1304" fmla="*/ 1458038 w 3009712"/>
                <a:gd name="connsiteY1304" fmla="*/ 1752714 h 4178187"/>
                <a:gd name="connsiteX1305" fmla="*/ 1460006 w 3009712"/>
                <a:gd name="connsiteY1305" fmla="*/ 1753108 h 4178187"/>
                <a:gd name="connsiteX1306" fmla="*/ 1457645 w 3009712"/>
                <a:gd name="connsiteY1306" fmla="*/ 1750747 h 4178187"/>
                <a:gd name="connsiteX1307" fmla="*/ 1460399 w 3009712"/>
                <a:gd name="connsiteY1307" fmla="*/ 1744452 h 4178187"/>
                <a:gd name="connsiteX1308" fmla="*/ 1461186 w 3009712"/>
                <a:gd name="connsiteY1308" fmla="*/ 1742879 h 4178187"/>
                <a:gd name="connsiteX1309" fmla="*/ 1461579 w 3009712"/>
                <a:gd name="connsiteY1309" fmla="*/ 1741305 h 4178187"/>
                <a:gd name="connsiteX1310" fmla="*/ 1473382 w 3009712"/>
                <a:gd name="connsiteY1310" fmla="*/ 1713765 h 4178187"/>
                <a:gd name="connsiteX1311" fmla="*/ 1470628 w 3009712"/>
                <a:gd name="connsiteY1311" fmla="*/ 1714159 h 4178187"/>
                <a:gd name="connsiteX1312" fmla="*/ 1468268 w 3009712"/>
                <a:gd name="connsiteY1312" fmla="*/ 1717306 h 4178187"/>
                <a:gd name="connsiteX1313" fmla="*/ 1470235 w 3009712"/>
                <a:gd name="connsiteY1313" fmla="*/ 1710618 h 4178187"/>
                <a:gd name="connsiteX1314" fmla="*/ 1472202 w 3009712"/>
                <a:gd name="connsiteY1314" fmla="*/ 1710618 h 4178187"/>
                <a:gd name="connsiteX1315" fmla="*/ 1474956 w 3009712"/>
                <a:gd name="connsiteY1315" fmla="*/ 1708257 h 4178187"/>
                <a:gd name="connsiteX1316" fmla="*/ 1474562 w 3009712"/>
                <a:gd name="connsiteY1316" fmla="*/ 1705503 h 4178187"/>
                <a:gd name="connsiteX1317" fmla="*/ 1471808 w 3009712"/>
                <a:gd name="connsiteY1317" fmla="*/ 1705503 h 4178187"/>
                <a:gd name="connsiteX1318" fmla="*/ 1471808 w 3009712"/>
                <a:gd name="connsiteY1318" fmla="*/ 1705503 h 4178187"/>
                <a:gd name="connsiteX1319" fmla="*/ 1474956 w 3009712"/>
                <a:gd name="connsiteY1319" fmla="*/ 1696061 h 4178187"/>
                <a:gd name="connsiteX1320" fmla="*/ 1475743 w 3009712"/>
                <a:gd name="connsiteY1320" fmla="*/ 1695668 h 4178187"/>
                <a:gd name="connsiteX1321" fmla="*/ 1475349 w 3009712"/>
                <a:gd name="connsiteY1321" fmla="*/ 1698422 h 4178187"/>
                <a:gd name="connsiteX1322" fmla="*/ 1476923 w 3009712"/>
                <a:gd name="connsiteY1322" fmla="*/ 1695668 h 4178187"/>
                <a:gd name="connsiteX1323" fmla="*/ 1476923 w 3009712"/>
                <a:gd name="connsiteY1323" fmla="*/ 1695274 h 4178187"/>
                <a:gd name="connsiteX1324" fmla="*/ 1477316 w 3009712"/>
                <a:gd name="connsiteY1324" fmla="*/ 1694094 h 4178187"/>
                <a:gd name="connsiteX1325" fmla="*/ 1476923 w 3009712"/>
                <a:gd name="connsiteY1325" fmla="*/ 1690946 h 4178187"/>
                <a:gd name="connsiteX1326" fmla="*/ 1491873 w 3009712"/>
                <a:gd name="connsiteY1326" fmla="*/ 1670095 h 4178187"/>
                <a:gd name="connsiteX1327" fmla="*/ 1498561 w 3009712"/>
                <a:gd name="connsiteY1327" fmla="*/ 1662226 h 4178187"/>
                <a:gd name="connsiteX1328" fmla="*/ 1499742 w 3009712"/>
                <a:gd name="connsiteY1328" fmla="*/ 1659866 h 4178187"/>
                <a:gd name="connsiteX1329" fmla="*/ 1500922 w 3009712"/>
                <a:gd name="connsiteY1329" fmla="*/ 1656718 h 4178187"/>
                <a:gd name="connsiteX1330" fmla="*/ 1502496 w 3009712"/>
                <a:gd name="connsiteY1330" fmla="*/ 1654358 h 4178187"/>
                <a:gd name="connsiteX1331" fmla="*/ 1501709 w 3009712"/>
                <a:gd name="connsiteY1331" fmla="*/ 1651210 h 4178187"/>
                <a:gd name="connsiteX1332" fmla="*/ 1502496 w 3009712"/>
                <a:gd name="connsiteY1332" fmla="*/ 1648456 h 4178187"/>
                <a:gd name="connsiteX1333" fmla="*/ 1502889 w 3009712"/>
                <a:gd name="connsiteY1333" fmla="*/ 1645702 h 4178187"/>
                <a:gd name="connsiteX1334" fmla="*/ 1502496 w 3009712"/>
                <a:gd name="connsiteY1334" fmla="*/ 1642555 h 4178187"/>
                <a:gd name="connsiteX1335" fmla="*/ 1499742 w 3009712"/>
                <a:gd name="connsiteY1335" fmla="*/ 1640194 h 4178187"/>
                <a:gd name="connsiteX1336" fmla="*/ 1496988 w 3009712"/>
                <a:gd name="connsiteY1336" fmla="*/ 1637047 h 4178187"/>
                <a:gd name="connsiteX1337" fmla="*/ 1494234 w 3009712"/>
                <a:gd name="connsiteY1337" fmla="*/ 1637440 h 4178187"/>
                <a:gd name="connsiteX1338" fmla="*/ 1491086 w 3009712"/>
                <a:gd name="connsiteY1338" fmla="*/ 1639014 h 4178187"/>
                <a:gd name="connsiteX1339" fmla="*/ 1487939 w 3009712"/>
                <a:gd name="connsiteY1339" fmla="*/ 1638621 h 4178187"/>
                <a:gd name="connsiteX1340" fmla="*/ 1485185 w 3009712"/>
                <a:gd name="connsiteY1340" fmla="*/ 1641375 h 4178187"/>
                <a:gd name="connsiteX1341" fmla="*/ 1488332 w 3009712"/>
                <a:gd name="connsiteY1341" fmla="*/ 1642948 h 4178187"/>
                <a:gd name="connsiteX1342" fmla="*/ 1482431 w 3009712"/>
                <a:gd name="connsiteY1342" fmla="*/ 1640981 h 4178187"/>
                <a:gd name="connsiteX1343" fmla="*/ 1478103 w 3009712"/>
                <a:gd name="connsiteY1343" fmla="*/ 1639801 h 4178187"/>
                <a:gd name="connsiteX1344" fmla="*/ 1477710 w 3009712"/>
                <a:gd name="connsiteY1344" fmla="*/ 1639801 h 4178187"/>
                <a:gd name="connsiteX1345" fmla="*/ 1474956 w 3009712"/>
                <a:gd name="connsiteY1345" fmla="*/ 1640194 h 4178187"/>
                <a:gd name="connsiteX1346" fmla="*/ 1477710 w 3009712"/>
                <a:gd name="connsiteY1346" fmla="*/ 1640588 h 4178187"/>
                <a:gd name="connsiteX1347" fmla="*/ 1477316 w 3009712"/>
                <a:gd name="connsiteY1347" fmla="*/ 1640981 h 4178187"/>
                <a:gd name="connsiteX1348" fmla="*/ 1474562 w 3009712"/>
                <a:gd name="connsiteY1348" fmla="*/ 1640588 h 4178187"/>
                <a:gd name="connsiteX1349" fmla="*/ 1471808 w 3009712"/>
                <a:gd name="connsiteY1349" fmla="*/ 1638621 h 4178187"/>
                <a:gd name="connsiteX1350" fmla="*/ 1469055 w 3009712"/>
                <a:gd name="connsiteY1350" fmla="*/ 1638621 h 4178187"/>
                <a:gd name="connsiteX1351" fmla="*/ 1466300 w 3009712"/>
                <a:gd name="connsiteY1351" fmla="*/ 1637440 h 4178187"/>
                <a:gd name="connsiteX1352" fmla="*/ 1462760 w 3009712"/>
                <a:gd name="connsiteY1352" fmla="*/ 1637834 h 4178187"/>
                <a:gd name="connsiteX1353" fmla="*/ 1459612 w 3009712"/>
                <a:gd name="connsiteY1353" fmla="*/ 1638227 h 4178187"/>
                <a:gd name="connsiteX1354" fmla="*/ 1458038 w 3009712"/>
                <a:gd name="connsiteY1354" fmla="*/ 1637834 h 4178187"/>
                <a:gd name="connsiteX1355" fmla="*/ 1454891 w 3009712"/>
                <a:gd name="connsiteY1355" fmla="*/ 1638227 h 4178187"/>
                <a:gd name="connsiteX1356" fmla="*/ 1452137 w 3009712"/>
                <a:gd name="connsiteY1356" fmla="*/ 1638621 h 4178187"/>
                <a:gd name="connsiteX1357" fmla="*/ 1449383 w 3009712"/>
                <a:gd name="connsiteY1357" fmla="*/ 1640588 h 4178187"/>
                <a:gd name="connsiteX1358" fmla="*/ 1428138 w 3009712"/>
                <a:gd name="connsiteY1358" fmla="*/ 1645702 h 4178187"/>
                <a:gd name="connsiteX1359" fmla="*/ 1426171 w 3009712"/>
                <a:gd name="connsiteY1359" fmla="*/ 1645702 h 4178187"/>
                <a:gd name="connsiteX1360" fmla="*/ 1423417 w 3009712"/>
                <a:gd name="connsiteY1360" fmla="*/ 1646096 h 4178187"/>
                <a:gd name="connsiteX1361" fmla="*/ 1420270 w 3009712"/>
                <a:gd name="connsiteY1361" fmla="*/ 1646489 h 4178187"/>
                <a:gd name="connsiteX1362" fmla="*/ 1417515 w 3009712"/>
                <a:gd name="connsiteY1362" fmla="*/ 1646883 h 4178187"/>
                <a:gd name="connsiteX1363" fmla="*/ 1414761 w 3009712"/>
                <a:gd name="connsiteY1363" fmla="*/ 1647276 h 4178187"/>
                <a:gd name="connsiteX1364" fmla="*/ 1411614 w 3009712"/>
                <a:gd name="connsiteY1364" fmla="*/ 1648456 h 4178187"/>
                <a:gd name="connsiteX1365" fmla="*/ 1408860 w 3009712"/>
                <a:gd name="connsiteY1365" fmla="*/ 1650030 h 4178187"/>
                <a:gd name="connsiteX1366" fmla="*/ 1407680 w 3009712"/>
                <a:gd name="connsiteY1366" fmla="*/ 1650423 h 4178187"/>
                <a:gd name="connsiteX1367" fmla="*/ 1404926 w 3009712"/>
                <a:gd name="connsiteY1367" fmla="*/ 1651997 h 4178187"/>
                <a:gd name="connsiteX1368" fmla="*/ 1402172 w 3009712"/>
                <a:gd name="connsiteY1368" fmla="*/ 1653571 h 4178187"/>
                <a:gd name="connsiteX1369" fmla="*/ 1399418 w 3009712"/>
                <a:gd name="connsiteY1369" fmla="*/ 1655538 h 4178187"/>
                <a:gd name="connsiteX1370" fmla="*/ 1397057 w 3009712"/>
                <a:gd name="connsiteY1370" fmla="*/ 1658292 h 4178187"/>
                <a:gd name="connsiteX1371" fmla="*/ 1395877 w 3009712"/>
                <a:gd name="connsiteY1371" fmla="*/ 1661046 h 4178187"/>
                <a:gd name="connsiteX1372" fmla="*/ 1395484 w 3009712"/>
                <a:gd name="connsiteY1372" fmla="*/ 1661439 h 4178187"/>
                <a:gd name="connsiteX1373" fmla="*/ 1395877 w 3009712"/>
                <a:gd name="connsiteY1373" fmla="*/ 1661439 h 4178187"/>
                <a:gd name="connsiteX1374" fmla="*/ 1396271 w 3009712"/>
                <a:gd name="connsiteY1374" fmla="*/ 1661046 h 4178187"/>
                <a:gd name="connsiteX1375" fmla="*/ 1396664 w 3009712"/>
                <a:gd name="connsiteY1375" fmla="*/ 1661439 h 4178187"/>
                <a:gd name="connsiteX1376" fmla="*/ 1396271 w 3009712"/>
                <a:gd name="connsiteY1376" fmla="*/ 1661833 h 4178187"/>
                <a:gd name="connsiteX1377" fmla="*/ 1395877 w 3009712"/>
                <a:gd name="connsiteY1377" fmla="*/ 1663013 h 4178187"/>
                <a:gd name="connsiteX1378" fmla="*/ 1393517 w 3009712"/>
                <a:gd name="connsiteY1378" fmla="*/ 1666161 h 4178187"/>
                <a:gd name="connsiteX1379" fmla="*/ 1393123 w 3009712"/>
                <a:gd name="connsiteY1379" fmla="*/ 1668915 h 4178187"/>
                <a:gd name="connsiteX1380" fmla="*/ 1391943 w 3009712"/>
                <a:gd name="connsiteY1380" fmla="*/ 1671668 h 4178187"/>
                <a:gd name="connsiteX1381" fmla="*/ 1391549 w 3009712"/>
                <a:gd name="connsiteY1381" fmla="*/ 1672062 h 4178187"/>
                <a:gd name="connsiteX1382" fmla="*/ 1391549 w 3009712"/>
                <a:gd name="connsiteY1382" fmla="*/ 1673242 h 4178187"/>
                <a:gd name="connsiteX1383" fmla="*/ 1389976 w 3009712"/>
                <a:gd name="connsiteY1383" fmla="*/ 1681111 h 4178187"/>
                <a:gd name="connsiteX1384" fmla="*/ 1389976 w 3009712"/>
                <a:gd name="connsiteY1384" fmla="*/ 1681111 h 4178187"/>
                <a:gd name="connsiteX1385" fmla="*/ 1389582 w 3009712"/>
                <a:gd name="connsiteY1385" fmla="*/ 1684258 h 4178187"/>
                <a:gd name="connsiteX1386" fmla="*/ 1389189 w 3009712"/>
                <a:gd name="connsiteY1386" fmla="*/ 1684652 h 4178187"/>
                <a:gd name="connsiteX1387" fmla="*/ 1388795 w 3009712"/>
                <a:gd name="connsiteY1387" fmla="*/ 1687799 h 4178187"/>
                <a:gd name="connsiteX1388" fmla="*/ 1389189 w 3009712"/>
                <a:gd name="connsiteY1388" fmla="*/ 1690553 h 4178187"/>
                <a:gd name="connsiteX1389" fmla="*/ 1387615 w 3009712"/>
                <a:gd name="connsiteY1389" fmla="*/ 1693307 h 4178187"/>
                <a:gd name="connsiteX1390" fmla="*/ 1386041 w 3009712"/>
                <a:gd name="connsiteY1390" fmla="*/ 1694881 h 4178187"/>
                <a:gd name="connsiteX1391" fmla="*/ 1383287 w 3009712"/>
                <a:gd name="connsiteY1391" fmla="*/ 1696848 h 4178187"/>
                <a:gd name="connsiteX1392" fmla="*/ 1381320 w 3009712"/>
                <a:gd name="connsiteY1392" fmla="*/ 1699602 h 4178187"/>
                <a:gd name="connsiteX1393" fmla="*/ 1380534 w 3009712"/>
                <a:gd name="connsiteY1393" fmla="*/ 1702356 h 4178187"/>
                <a:gd name="connsiteX1394" fmla="*/ 1379747 w 3009712"/>
                <a:gd name="connsiteY1394" fmla="*/ 1705503 h 4178187"/>
                <a:gd name="connsiteX1395" fmla="*/ 1379353 w 3009712"/>
                <a:gd name="connsiteY1395" fmla="*/ 1708257 h 4178187"/>
                <a:gd name="connsiteX1396" fmla="*/ 1378566 w 3009712"/>
                <a:gd name="connsiteY1396" fmla="*/ 1711405 h 4178187"/>
                <a:gd name="connsiteX1397" fmla="*/ 1373452 w 3009712"/>
                <a:gd name="connsiteY1397" fmla="*/ 1716519 h 4178187"/>
                <a:gd name="connsiteX1398" fmla="*/ 1362042 w 3009712"/>
                <a:gd name="connsiteY1398" fmla="*/ 1724388 h 4178187"/>
                <a:gd name="connsiteX1399" fmla="*/ 1360862 w 3009712"/>
                <a:gd name="connsiteY1399" fmla="*/ 1724781 h 4178187"/>
                <a:gd name="connsiteX1400" fmla="*/ 1358108 w 3009712"/>
                <a:gd name="connsiteY1400" fmla="*/ 1726355 h 4178187"/>
                <a:gd name="connsiteX1401" fmla="*/ 1355354 w 3009712"/>
                <a:gd name="connsiteY1401" fmla="*/ 1727929 h 4178187"/>
                <a:gd name="connsiteX1402" fmla="*/ 1352994 w 3009712"/>
                <a:gd name="connsiteY1402" fmla="*/ 1730682 h 4178187"/>
                <a:gd name="connsiteX1403" fmla="*/ 1358895 w 3009712"/>
                <a:gd name="connsiteY1403" fmla="*/ 1737371 h 4178187"/>
                <a:gd name="connsiteX1404" fmla="*/ 1357715 w 3009712"/>
                <a:gd name="connsiteY1404" fmla="*/ 1737371 h 4178187"/>
                <a:gd name="connsiteX1405" fmla="*/ 1354961 w 3009712"/>
                <a:gd name="connsiteY1405" fmla="*/ 1739338 h 4178187"/>
                <a:gd name="connsiteX1406" fmla="*/ 1352207 w 3009712"/>
                <a:gd name="connsiteY1406" fmla="*/ 1740518 h 4178187"/>
                <a:gd name="connsiteX1407" fmla="*/ 1351420 w 3009712"/>
                <a:gd name="connsiteY1407" fmla="*/ 1743272 h 4178187"/>
                <a:gd name="connsiteX1408" fmla="*/ 1349846 w 3009712"/>
                <a:gd name="connsiteY1408" fmla="*/ 1742879 h 4178187"/>
                <a:gd name="connsiteX1409" fmla="*/ 1347092 w 3009712"/>
                <a:gd name="connsiteY1409" fmla="*/ 1742485 h 4178187"/>
                <a:gd name="connsiteX1410" fmla="*/ 1343945 w 3009712"/>
                <a:gd name="connsiteY1410" fmla="*/ 1742092 h 4178187"/>
                <a:gd name="connsiteX1411" fmla="*/ 1341191 w 3009712"/>
                <a:gd name="connsiteY1411" fmla="*/ 1743666 h 4178187"/>
                <a:gd name="connsiteX1412" fmla="*/ 1340797 w 3009712"/>
                <a:gd name="connsiteY1412" fmla="*/ 1743272 h 4178187"/>
                <a:gd name="connsiteX1413" fmla="*/ 1341191 w 3009712"/>
                <a:gd name="connsiteY1413" fmla="*/ 1740912 h 4178187"/>
                <a:gd name="connsiteX1414" fmla="*/ 1338437 w 3009712"/>
                <a:gd name="connsiteY1414" fmla="*/ 1737764 h 4178187"/>
                <a:gd name="connsiteX1415" fmla="*/ 1338437 w 3009712"/>
                <a:gd name="connsiteY1415" fmla="*/ 1737371 h 4178187"/>
                <a:gd name="connsiteX1416" fmla="*/ 1338830 w 3009712"/>
                <a:gd name="connsiteY1416" fmla="*/ 1736977 h 4178187"/>
                <a:gd name="connsiteX1417" fmla="*/ 1341584 w 3009712"/>
                <a:gd name="connsiteY1417" fmla="*/ 1736977 h 4178187"/>
                <a:gd name="connsiteX1418" fmla="*/ 1341191 w 3009712"/>
                <a:gd name="connsiteY1418" fmla="*/ 1736584 h 4178187"/>
                <a:gd name="connsiteX1419" fmla="*/ 1339617 w 3009712"/>
                <a:gd name="connsiteY1419" fmla="*/ 1733830 h 4178187"/>
                <a:gd name="connsiteX1420" fmla="*/ 1336863 w 3009712"/>
                <a:gd name="connsiteY1420" fmla="*/ 1734223 h 4178187"/>
                <a:gd name="connsiteX1421" fmla="*/ 1327421 w 3009712"/>
                <a:gd name="connsiteY1421" fmla="*/ 1735797 h 4178187"/>
                <a:gd name="connsiteX1422" fmla="*/ 1326634 w 3009712"/>
                <a:gd name="connsiteY1422" fmla="*/ 1735797 h 4178187"/>
                <a:gd name="connsiteX1423" fmla="*/ 1323487 w 3009712"/>
                <a:gd name="connsiteY1423" fmla="*/ 1736190 h 4178187"/>
                <a:gd name="connsiteX1424" fmla="*/ 1319946 w 3009712"/>
                <a:gd name="connsiteY1424" fmla="*/ 1737764 h 4178187"/>
                <a:gd name="connsiteX1425" fmla="*/ 1316798 w 3009712"/>
                <a:gd name="connsiteY1425" fmla="*/ 1738944 h 4178187"/>
                <a:gd name="connsiteX1426" fmla="*/ 1317192 w 3009712"/>
                <a:gd name="connsiteY1426" fmla="*/ 1742092 h 4178187"/>
                <a:gd name="connsiteX1427" fmla="*/ 1316798 w 3009712"/>
                <a:gd name="connsiteY1427" fmla="*/ 1743272 h 4178187"/>
                <a:gd name="connsiteX1428" fmla="*/ 1316798 w 3009712"/>
                <a:gd name="connsiteY1428" fmla="*/ 1742092 h 4178187"/>
                <a:gd name="connsiteX1429" fmla="*/ 1314831 w 3009712"/>
                <a:gd name="connsiteY1429" fmla="*/ 1740518 h 4178187"/>
                <a:gd name="connsiteX1430" fmla="*/ 1311684 w 3009712"/>
                <a:gd name="connsiteY1430" fmla="*/ 1742092 h 4178187"/>
                <a:gd name="connsiteX1431" fmla="*/ 1308536 w 3009712"/>
                <a:gd name="connsiteY1431" fmla="*/ 1742879 h 4178187"/>
                <a:gd name="connsiteX1432" fmla="*/ 1305389 w 3009712"/>
                <a:gd name="connsiteY1432" fmla="*/ 1743272 h 4178187"/>
                <a:gd name="connsiteX1433" fmla="*/ 1302635 w 3009712"/>
                <a:gd name="connsiteY1433" fmla="*/ 1743666 h 4178187"/>
                <a:gd name="connsiteX1434" fmla="*/ 1301848 w 3009712"/>
                <a:gd name="connsiteY1434" fmla="*/ 1744059 h 4178187"/>
                <a:gd name="connsiteX1435" fmla="*/ 1300668 w 3009712"/>
                <a:gd name="connsiteY1435" fmla="*/ 1743272 h 4178187"/>
                <a:gd name="connsiteX1436" fmla="*/ 1297914 w 3009712"/>
                <a:gd name="connsiteY1436" fmla="*/ 1743666 h 4178187"/>
                <a:gd name="connsiteX1437" fmla="*/ 1295160 w 3009712"/>
                <a:gd name="connsiteY1437" fmla="*/ 1743272 h 4178187"/>
                <a:gd name="connsiteX1438" fmla="*/ 1292013 w 3009712"/>
                <a:gd name="connsiteY1438" fmla="*/ 1743666 h 4178187"/>
                <a:gd name="connsiteX1439" fmla="*/ 1289259 w 3009712"/>
                <a:gd name="connsiteY1439" fmla="*/ 1744452 h 4178187"/>
                <a:gd name="connsiteX1440" fmla="*/ 1286505 w 3009712"/>
                <a:gd name="connsiteY1440" fmla="*/ 1745633 h 4178187"/>
                <a:gd name="connsiteX1441" fmla="*/ 1283357 w 3009712"/>
                <a:gd name="connsiteY1441" fmla="*/ 1747206 h 4178187"/>
                <a:gd name="connsiteX1442" fmla="*/ 1281390 w 3009712"/>
                <a:gd name="connsiteY1442" fmla="*/ 1748387 h 4178187"/>
                <a:gd name="connsiteX1443" fmla="*/ 1286505 w 3009712"/>
                <a:gd name="connsiteY1443" fmla="*/ 1746420 h 4178187"/>
                <a:gd name="connsiteX1444" fmla="*/ 1287291 w 3009712"/>
                <a:gd name="connsiteY1444" fmla="*/ 1746026 h 4178187"/>
                <a:gd name="connsiteX1445" fmla="*/ 1289259 w 3009712"/>
                <a:gd name="connsiteY1445" fmla="*/ 1745239 h 4178187"/>
                <a:gd name="connsiteX1446" fmla="*/ 1290045 w 3009712"/>
                <a:gd name="connsiteY1446" fmla="*/ 1745239 h 4178187"/>
                <a:gd name="connsiteX1447" fmla="*/ 1284537 w 3009712"/>
                <a:gd name="connsiteY1447" fmla="*/ 1747206 h 4178187"/>
                <a:gd name="connsiteX1448" fmla="*/ 1284144 w 3009712"/>
                <a:gd name="connsiteY1448" fmla="*/ 1747206 h 4178187"/>
                <a:gd name="connsiteX1449" fmla="*/ 1284144 w 3009712"/>
                <a:gd name="connsiteY1449" fmla="*/ 1747206 h 4178187"/>
                <a:gd name="connsiteX1450" fmla="*/ 1280210 w 3009712"/>
                <a:gd name="connsiteY1450" fmla="*/ 1748780 h 4178187"/>
                <a:gd name="connsiteX1451" fmla="*/ 1277062 w 3009712"/>
                <a:gd name="connsiteY1451" fmla="*/ 1749567 h 4178187"/>
                <a:gd name="connsiteX1452" fmla="*/ 1275095 w 3009712"/>
                <a:gd name="connsiteY1452" fmla="*/ 1750354 h 4178187"/>
                <a:gd name="connsiteX1453" fmla="*/ 1272341 w 3009712"/>
                <a:gd name="connsiteY1453" fmla="*/ 1751141 h 4178187"/>
                <a:gd name="connsiteX1454" fmla="*/ 1264866 w 3009712"/>
                <a:gd name="connsiteY1454" fmla="*/ 1753108 h 4178187"/>
                <a:gd name="connsiteX1455" fmla="*/ 1264473 w 3009712"/>
                <a:gd name="connsiteY1455" fmla="*/ 1753108 h 4178187"/>
                <a:gd name="connsiteX1456" fmla="*/ 1263292 w 3009712"/>
                <a:gd name="connsiteY1456" fmla="*/ 1753501 h 4178187"/>
                <a:gd name="connsiteX1457" fmla="*/ 1259752 w 3009712"/>
                <a:gd name="connsiteY1457" fmla="*/ 1752321 h 4178187"/>
                <a:gd name="connsiteX1458" fmla="*/ 1258965 w 3009712"/>
                <a:gd name="connsiteY1458" fmla="*/ 1750747 h 4178187"/>
                <a:gd name="connsiteX1459" fmla="*/ 1258571 w 3009712"/>
                <a:gd name="connsiteY1459" fmla="*/ 1749173 h 4178187"/>
                <a:gd name="connsiteX1460" fmla="*/ 1256604 w 3009712"/>
                <a:gd name="connsiteY1460" fmla="*/ 1746026 h 4178187"/>
                <a:gd name="connsiteX1461" fmla="*/ 1255030 w 3009712"/>
                <a:gd name="connsiteY1461" fmla="*/ 1743272 h 4178187"/>
                <a:gd name="connsiteX1462" fmla="*/ 1254244 w 3009712"/>
                <a:gd name="connsiteY1462" fmla="*/ 1740518 h 4178187"/>
                <a:gd name="connsiteX1463" fmla="*/ 1251489 w 3009712"/>
                <a:gd name="connsiteY1463" fmla="*/ 1740125 h 4178187"/>
                <a:gd name="connsiteX1464" fmla="*/ 1248736 w 3009712"/>
                <a:gd name="connsiteY1464" fmla="*/ 1739731 h 4178187"/>
                <a:gd name="connsiteX1465" fmla="*/ 1247162 w 3009712"/>
                <a:gd name="connsiteY1465" fmla="*/ 1737371 h 4178187"/>
                <a:gd name="connsiteX1466" fmla="*/ 1244408 w 3009712"/>
                <a:gd name="connsiteY1466" fmla="*/ 1734617 h 4178187"/>
                <a:gd name="connsiteX1467" fmla="*/ 1241260 w 3009712"/>
                <a:gd name="connsiteY1467" fmla="*/ 1734223 h 4178187"/>
                <a:gd name="connsiteX1468" fmla="*/ 1238506 w 3009712"/>
                <a:gd name="connsiteY1468" fmla="*/ 1734617 h 4178187"/>
                <a:gd name="connsiteX1469" fmla="*/ 1235752 w 3009712"/>
                <a:gd name="connsiteY1469" fmla="*/ 1734223 h 4178187"/>
                <a:gd name="connsiteX1470" fmla="*/ 1231032 w 3009712"/>
                <a:gd name="connsiteY1470" fmla="*/ 1733830 h 4178187"/>
                <a:gd name="connsiteX1471" fmla="*/ 1230638 w 3009712"/>
                <a:gd name="connsiteY1471" fmla="*/ 1733436 h 4178187"/>
                <a:gd name="connsiteX1472" fmla="*/ 1227491 w 3009712"/>
                <a:gd name="connsiteY1472" fmla="*/ 1731863 h 4178187"/>
                <a:gd name="connsiteX1473" fmla="*/ 1224737 w 3009712"/>
                <a:gd name="connsiteY1473" fmla="*/ 1734223 h 4178187"/>
                <a:gd name="connsiteX1474" fmla="*/ 1221589 w 3009712"/>
                <a:gd name="connsiteY1474" fmla="*/ 1734223 h 4178187"/>
                <a:gd name="connsiteX1475" fmla="*/ 1221983 w 3009712"/>
                <a:gd name="connsiteY1475" fmla="*/ 1733436 h 4178187"/>
                <a:gd name="connsiteX1476" fmla="*/ 1221589 w 3009712"/>
                <a:gd name="connsiteY1476" fmla="*/ 1734223 h 4178187"/>
                <a:gd name="connsiteX1477" fmla="*/ 1221589 w 3009712"/>
                <a:gd name="connsiteY1477" fmla="*/ 1734223 h 4178187"/>
                <a:gd name="connsiteX1478" fmla="*/ 1221983 w 3009712"/>
                <a:gd name="connsiteY1478" fmla="*/ 1733436 h 4178187"/>
                <a:gd name="connsiteX1479" fmla="*/ 1222376 w 3009712"/>
                <a:gd name="connsiteY1479" fmla="*/ 1731863 h 4178187"/>
                <a:gd name="connsiteX1480" fmla="*/ 1219622 w 3009712"/>
                <a:gd name="connsiteY1480" fmla="*/ 1730289 h 4178187"/>
                <a:gd name="connsiteX1481" fmla="*/ 1223163 w 3009712"/>
                <a:gd name="connsiteY1481" fmla="*/ 1731469 h 4178187"/>
                <a:gd name="connsiteX1482" fmla="*/ 1225130 w 3009712"/>
                <a:gd name="connsiteY1482" fmla="*/ 1731863 h 4178187"/>
                <a:gd name="connsiteX1483" fmla="*/ 1218835 w 3009712"/>
                <a:gd name="connsiteY1483" fmla="*/ 1722420 h 4178187"/>
                <a:gd name="connsiteX1484" fmla="*/ 1217262 w 3009712"/>
                <a:gd name="connsiteY1484" fmla="*/ 1720453 h 4178187"/>
                <a:gd name="connsiteX1485" fmla="*/ 1217655 w 3009712"/>
                <a:gd name="connsiteY1485" fmla="*/ 1719667 h 4178187"/>
                <a:gd name="connsiteX1486" fmla="*/ 1215688 w 3009712"/>
                <a:gd name="connsiteY1486" fmla="*/ 1716519 h 4178187"/>
                <a:gd name="connsiteX1487" fmla="*/ 1213327 w 3009712"/>
                <a:gd name="connsiteY1487" fmla="*/ 1713765 h 4178187"/>
                <a:gd name="connsiteX1488" fmla="*/ 1212934 w 3009712"/>
                <a:gd name="connsiteY1488" fmla="*/ 1710618 h 4178187"/>
                <a:gd name="connsiteX1489" fmla="*/ 1213327 w 3009712"/>
                <a:gd name="connsiteY1489" fmla="*/ 1708257 h 4178187"/>
                <a:gd name="connsiteX1490" fmla="*/ 1212147 w 3009712"/>
                <a:gd name="connsiteY1490" fmla="*/ 1705503 h 4178187"/>
                <a:gd name="connsiteX1491" fmla="*/ 1211754 w 3009712"/>
                <a:gd name="connsiteY1491" fmla="*/ 1702356 h 4178187"/>
                <a:gd name="connsiteX1492" fmla="*/ 1212147 w 3009712"/>
                <a:gd name="connsiteY1492" fmla="*/ 1699602 h 4178187"/>
                <a:gd name="connsiteX1493" fmla="*/ 1211754 w 3009712"/>
                <a:gd name="connsiteY1493" fmla="*/ 1696848 h 4178187"/>
                <a:gd name="connsiteX1494" fmla="*/ 1210180 w 3009712"/>
                <a:gd name="connsiteY1494" fmla="*/ 1693700 h 4178187"/>
                <a:gd name="connsiteX1495" fmla="*/ 1208606 w 3009712"/>
                <a:gd name="connsiteY1495" fmla="*/ 1690946 h 4178187"/>
                <a:gd name="connsiteX1496" fmla="*/ 1208606 w 3009712"/>
                <a:gd name="connsiteY1496" fmla="*/ 1690553 h 4178187"/>
                <a:gd name="connsiteX1497" fmla="*/ 1207819 w 3009712"/>
                <a:gd name="connsiteY1497" fmla="*/ 1688979 h 4178187"/>
                <a:gd name="connsiteX1498" fmla="*/ 1205852 w 3009712"/>
                <a:gd name="connsiteY1498" fmla="*/ 1685438 h 4178187"/>
                <a:gd name="connsiteX1499" fmla="*/ 1205459 w 3009712"/>
                <a:gd name="connsiteY1499" fmla="*/ 1684652 h 4178187"/>
                <a:gd name="connsiteX1500" fmla="*/ 1203885 w 3009712"/>
                <a:gd name="connsiteY1500" fmla="*/ 1681898 h 4178187"/>
                <a:gd name="connsiteX1501" fmla="*/ 1201525 w 3009712"/>
                <a:gd name="connsiteY1501" fmla="*/ 1678357 h 4178187"/>
                <a:gd name="connsiteX1502" fmla="*/ 1200738 w 3009712"/>
                <a:gd name="connsiteY1502" fmla="*/ 1676783 h 4178187"/>
                <a:gd name="connsiteX1503" fmla="*/ 1198770 w 3009712"/>
                <a:gd name="connsiteY1503" fmla="*/ 1674029 h 4178187"/>
                <a:gd name="connsiteX1504" fmla="*/ 1196016 w 3009712"/>
                <a:gd name="connsiteY1504" fmla="*/ 1669308 h 4178187"/>
                <a:gd name="connsiteX1505" fmla="*/ 1194836 w 3009712"/>
                <a:gd name="connsiteY1505" fmla="*/ 1664587 h 4178187"/>
                <a:gd name="connsiteX1506" fmla="*/ 1194836 w 3009712"/>
                <a:gd name="connsiteY1506" fmla="*/ 1663013 h 4178187"/>
                <a:gd name="connsiteX1507" fmla="*/ 1193656 w 3009712"/>
                <a:gd name="connsiteY1507" fmla="*/ 1659866 h 4178187"/>
                <a:gd name="connsiteX1508" fmla="*/ 1192869 w 3009712"/>
                <a:gd name="connsiteY1508" fmla="*/ 1657505 h 4178187"/>
                <a:gd name="connsiteX1509" fmla="*/ 1192869 w 3009712"/>
                <a:gd name="connsiteY1509" fmla="*/ 1657112 h 4178187"/>
                <a:gd name="connsiteX1510" fmla="*/ 1190902 w 3009712"/>
                <a:gd name="connsiteY1510" fmla="*/ 1645702 h 4178187"/>
                <a:gd name="connsiteX1511" fmla="*/ 1191689 w 3009712"/>
                <a:gd name="connsiteY1511" fmla="*/ 1644129 h 4178187"/>
                <a:gd name="connsiteX1512" fmla="*/ 1193656 w 3009712"/>
                <a:gd name="connsiteY1512" fmla="*/ 1640981 h 4178187"/>
                <a:gd name="connsiteX1513" fmla="*/ 1195230 w 3009712"/>
                <a:gd name="connsiteY1513" fmla="*/ 1638227 h 4178187"/>
                <a:gd name="connsiteX1514" fmla="*/ 1195623 w 3009712"/>
                <a:gd name="connsiteY1514" fmla="*/ 1636260 h 4178187"/>
                <a:gd name="connsiteX1515" fmla="*/ 1193262 w 3009712"/>
                <a:gd name="connsiteY1515" fmla="*/ 1633506 h 4178187"/>
                <a:gd name="connsiteX1516" fmla="*/ 1193262 w 3009712"/>
                <a:gd name="connsiteY1516" fmla="*/ 1633506 h 4178187"/>
                <a:gd name="connsiteX1517" fmla="*/ 1185787 w 3009712"/>
                <a:gd name="connsiteY1517" fmla="*/ 1616195 h 4178187"/>
                <a:gd name="connsiteX1518" fmla="*/ 1186181 w 3009712"/>
                <a:gd name="connsiteY1518" fmla="*/ 1612655 h 4178187"/>
                <a:gd name="connsiteX1519" fmla="*/ 1186574 w 3009712"/>
                <a:gd name="connsiteY1519" fmla="*/ 1596917 h 4178187"/>
                <a:gd name="connsiteX1520" fmla="*/ 1188935 w 3009712"/>
                <a:gd name="connsiteY1520" fmla="*/ 1594164 h 4178187"/>
                <a:gd name="connsiteX1521" fmla="*/ 1190115 w 3009712"/>
                <a:gd name="connsiteY1521" fmla="*/ 1591016 h 4178187"/>
                <a:gd name="connsiteX1522" fmla="*/ 1191689 w 3009712"/>
                <a:gd name="connsiteY1522" fmla="*/ 1588262 h 4178187"/>
                <a:gd name="connsiteX1523" fmla="*/ 1192082 w 3009712"/>
                <a:gd name="connsiteY1523" fmla="*/ 1585115 h 4178187"/>
                <a:gd name="connsiteX1524" fmla="*/ 1192082 w 3009712"/>
                <a:gd name="connsiteY1524" fmla="*/ 1584721 h 4178187"/>
                <a:gd name="connsiteX1525" fmla="*/ 1194049 w 3009712"/>
                <a:gd name="connsiteY1525" fmla="*/ 1572918 h 4178187"/>
                <a:gd name="connsiteX1526" fmla="*/ 1194049 w 3009712"/>
                <a:gd name="connsiteY1526" fmla="*/ 1572132 h 4178187"/>
                <a:gd name="connsiteX1527" fmla="*/ 1195623 w 3009712"/>
                <a:gd name="connsiteY1527" fmla="*/ 1566624 h 4178187"/>
                <a:gd name="connsiteX1528" fmla="*/ 1195623 w 3009712"/>
                <a:gd name="connsiteY1528" fmla="*/ 1563870 h 4178187"/>
                <a:gd name="connsiteX1529" fmla="*/ 1194049 w 3009712"/>
                <a:gd name="connsiteY1529" fmla="*/ 1560722 h 4178187"/>
                <a:gd name="connsiteX1530" fmla="*/ 1196803 w 3009712"/>
                <a:gd name="connsiteY1530" fmla="*/ 1560329 h 4178187"/>
                <a:gd name="connsiteX1531" fmla="*/ 1197197 w 3009712"/>
                <a:gd name="connsiteY1531" fmla="*/ 1557575 h 4178187"/>
                <a:gd name="connsiteX1532" fmla="*/ 1197590 w 3009712"/>
                <a:gd name="connsiteY1532" fmla="*/ 1555214 h 4178187"/>
                <a:gd name="connsiteX1533" fmla="*/ 1208213 w 3009712"/>
                <a:gd name="connsiteY1533" fmla="*/ 1524527 h 4178187"/>
                <a:gd name="connsiteX1534" fmla="*/ 1210180 w 3009712"/>
                <a:gd name="connsiteY1534" fmla="*/ 1519413 h 4178187"/>
                <a:gd name="connsiteX1535" fmla="*/ 1214114 w 3009712"/>
                <a:gd name="connsiteY1535" fmla="*/ 1512331 h 4178187"/>
                <a:gd name="connsiteX1536" fmla="*/ 1215688 w 3009712"/>
                <a:gd name="connsiteY1536" fmla="*/ 1509970 h 4178187"/>
                <a:gd name="connsiteX1537" fmla="*/ 1218048 w 3009712"/>
                <a:gd name="connsiteY1537" fmla="*/ 1506823 h 4178187"/>
                <a:gd name="connsiteX1538" fmla="*/ 1220409 w 3009712"/>
                <a:gd name="connsiteY1538" fmla="*/ 1504069 h 4178187"/>
                <a:gd name="connsiteX1539" fmla="*/ 1221983 w 3009712"/>
                <a:gd name="connsiteY1539" fmla="*/ 1501315 h 4178187"/>
                <a:gd name="connsiteX1540" fmla="*/ 1223556 w 3009712"/>
                <a:gd name="connsiteY1540" fmla="*/ 1498167 h 4178187"/>
                <a:gd name="connsiteX1541" fmla="*/ 1225130 w 3009712"/>
                <a:gd name="connsiteY1541" fmla="*/ 1495414 h 4178187"/>
                <a:gd name="connsiteX1542" fmla="*/ 1226310 w 3009712"/>
                <a:gd name="connsiteY1542" fmla="*/ 1492266 h 4178187"/>
                <a:gd name="connsiteX1543" fmla="*/ 1227097 w 3009712"/>
                <a:gd name="connsiteY1543" fmla="*/ 1489512 h 4178187"/>
                <a:gd name="connsiteX1544" fmla="*/ 1228277 w 3009712"/>
                <a:gd name="connsiteY1544" fmla="*/ 1486365 h 4178187"/>
                <a:gd name="connsiteX1545" fmla="*/ 1228277 w 3009712"/>
                <a:gd name="connsiteY1545" fmla="*/ 1483611 h 4178187"/>
                <a:gd name="connsiteX1546" fmla="*/ 1227884 w 3009712"/>
                <a:gd name="connsiteY1546" fmla="*/ 1484004 h 4178187"/>
                <a:gd name="connsiteX1547" fmla="*/ 1224343 w 3009712"/>
                <a:gd name="connsiteY1547" fmla="*/ 1463939 h 4178187"/>
                <a:gd name="connsiteX1548" fmla="*/ 1231032 w 3009712"/>
                <a:gd name="connsiteY1548" fmla="*/ 1440334 h 4178187"/>
                <a:gd name="connsiteX1549" fmla="*/ 1232605 w 3009712"/>
                <a:gd name="connsiteY1549" fmla="*/ 1437580 h 4178187"/>
                <a:gd name="connsiteX1550" fmla="*/ 1234572 w 3009712"/>
                <a:gd name="connsiteY1550" fmla="*/ 1434432 h 4178187"/>
                <a:gd name="connsiteX1551" fmla="*/ 1238113 w 3009712"/>
                <a:gd name="connsiteY1551" fmla="*/ 1428925 h 4178187"/>
                <a:gd name="connsiteX1552" fmla="*/ 1235752 w 3009712"/>
                <a:gd name="connsiteY1552" fmla="*/ 1425777 h 4178187"/>
                <a:gd name="connsiteX1553" fmla="*/ 1236146 w 3009712"/>
                <a:gd name="connsiteY1553" fmla="*/ 1423023 h 4178187"/>
                <a:gd name="connsiteX1554" fmla="*/ 1235752 w 3009712"/>
                <a:gd name="connsiteY1554" fmla="*/ 1423023 h 4178187"/>
                <a:gd name="connsiteX1555" fmla="*/ 1232605 w 3009712"/>
                <a:gd name="connsiteY1555" fmla="*/ 1422630 h 4178187"/>
                <a:gd name="connsiteX1556" fmla="*/ 1236933 w 3009712"/>
                <a:gd name="connsiteY1556" fmla="*/ 1421843 h 4178187"/>
                <a:gd name="connsiteX1557" fmla="*/ 1243228 w 3009712"/>
                <a:gd name="connsiteY1557" fmla="*/ 1421843 h 4178187"/>
                <a:gd name="connsiteX1558" fmla="*/ 1245588 w 3009712"/>
                <a:gd name="connsiteY1558" fmla="*/ 1419089 h 4178187"/>
                <a:gd name="connsiteX1559" fmla="*/ 1248342 w 3009712"/>
                <a:gd name="connsiteY1559" fmla="*/ 1415941 h 4178187"/>
                <a:gd name="connsiteX1560" fmla="*/ 1248736 w 3009712"/>
                <a:gd name="connsiteY1560" fmla="*/ 1413581 h 4178187"/>
                <a:gd name="connsiteX1561" fmla="*/ 1249129 w 3009712"/>
                <a:gd name="connsiteY1561" fmla="*/ 1413187 h 4178187"/>
                <a:gd name="connsiteX1562" fmla="*/ 1251489 w 3009712"/>
                <a:gd name="connsiteY1562" fmla="*/ 1410433 h 4178187"/>
                <a:gd name="connsiteX1563" fmla="*/ 1251096 w 3009712"/>
                <a:gd name="connsiteY1563" fmla="*/ 1413187 h 4178187"/>
                <a:gd name="connsiteX1564" fmla="*/ 1253850 w 3009712"/>
                <a:gd name="connsiteY1564" fmla="*/ 1411614 h 4178187"/>
                <a:gd name="connsiteX1565" fmla="*/ 1256604 w 3009712"/>
                <a:gd name="connsiteY1565" fmla="*/ 1408860 h 4178187"/>
                <a:gd name="connsiteX1566" fmla="*/ 1258178 w 3009712"/>
                <a:gd name="connsiteY1566" fmla="*/ 1403352 h 4178187"/>
                <a:gd name="connsiteX1567" fmla="*/ 1257784 w 3009712"/>
                <a:gd name="connsiteY1567" fmla="*/ 1401778 h 4178187"/>
                <a:gd name="connsiteX1568" fmla="*/ 1259752 w 3009712"/>
                <a:gd name="connsiteY1568" fmla="*/ 1404532 h 4178187"/>
                <a:gd name="connsiteX1569" fmla="*/ 1262506 w 3009712"/>
                <a:gd name="connsiteY1569" fmla="*/ 1406106 h 4178187"/>
                <a:gd name="connsiteX1570" fmla="*/ 1265653 w 3009712"/>
                <a:gd name="connsiteY1570" fmla="*/ 1404532 h 4178187"/>
                <a:gd name="connsiteX1571" fmla="*/ 1268407 w 3009712"/>
                <a:gd name="connsiteY1571" fmla="*/ 1402958 h 4178187"/>
                <a:gd name="connsiteX1572" fmla="*/ 1268800 w 3009712"/>
                <a:gd name="connsiteY1572" fmla="*/ 1402171 h 4178187"/>
                <a:gd name="connsiteX1573" fmla="*/ 1264473 w 3009712"/>
                <a:gd name="connsiteY1573" fmla="*/ 1395483 h 4178187"/>
                <a:gd name="connsiteX1574" fmla="*/ 1266046 w 3009712"/>
                <a:gd name="connsiteY1574" fmla="*/ 1394696 h 4178187"/>
                <a:gd name="connsiteX1575" fmla="*/ 1268407 w 3009712"/>
                <a:gd name="connsiteY1575" fmla="*/ 1397450 h 4178187"/>
                <a:gd name="connsiteX1576" fmla="*/ 1269981 w 3009712"/>
                <a:gd name="connsiteY1576" fmla="*/ 1394696 h 4178187"/>
                <a:gd name="connsiteX1577" fmla="*/ 1269587 w 3009712"/>
                <a:gd name="connsiteY1577" fmla="*/ 1392336 h 4178187"/>
                <a:gd name="connsiteX1578" fmla="*/ 1269981 w 3009712"/>
                <a:gd name="connsiteY1578" fmla="*/ 1392336 h 4178187"/>
                <a:gd name="connsiteX1579" fmla="*/ 1271161 w 3009712"/>
                <a:gd name="connsiteY1579" fmla="*/ 1395090 h 4178187"/>
                <a:gd name="connsiteX1580" fmla="*/ 1273915 w 3009712"/>
                <a:gd name="connsiteY1580" fmla="*/ 1394303 h 4178187"/>
                <a:gd name="connsiteX1581" fmla="*/ 1276669 w 3009712"/>
                <a:gd name="connsiteY1581" fmla="*/ 1395877 h 4178187"/>
                <a:gd name="connsiteX1582" fmla="*/ 1277062 w 3009712"/>
                <a:gd name="connsiteY1582" fmla="*/ 1395877 h 4178187"/>
                <a:gd name="connsiteX1583" fmla="*/ 1275882 w 3009712"/>
                <a:gd name="connsiteY1583" fmla="*/ 1396663 h 4178187"/>
                <a:gd name="connsiteX1584" fmla="*/ 1275489 w 3009712"/>
                <a:gd name="connsiteY1584" fmla="*/ 1397057 h 4178187"/>
                <a:gd name="connsiteX1585" fmla="*/ 1273915 w 3009712"/>
                <a:gd name="connsiteY1585" fmla="*/ 1400598 h 4178187"/>
                <a:gd name="connsiteX1586" fmla="*/ 1276669 w 3009712"/>
                <a:gd name="connsiteY1586" fmla="*/ 1399418 h 4178187"/>
                <a:gd name="connsiteX1587" fmla="*/ 1278636 w 3009712"/>
                <a:gd name="connsiteY1587" fmla="*/ 1398237 h 4178187"/>
                <a:gd name="connsiteX1588" fmla="*/ 1280603 w 3009712"/>
                <a:gd name="connsiteY1588" fmla="*/ 1397450 h 4178187"/>
                <a:gd name="connsiteX1589" fmla="*/ 1282570 w 3009712"/>
                <a:gd name="connsiteY1589" fmla="*/ 1396663 h 4178187"/>
                <a:gd name="connsiteX1590" fmla="*/ 1285718 w 3009712"/>
                <a:gd name="connsiteY1590" fmla="*/ 1395483 h 4178187"/>
                <a:gd name="connsiteX1591" fmla="*/ 1288472 w 3009712"/>
                <a:gd name="connsiteY1591" fmla="*/ 1393909 h 4178187"/>
                <a:gd name="connsiteX1592" fmla="*/ 1285718 w 3009712"/>
                <a:gd name="connsiteY1592" fmla="*/ 1394696 h 4178187"/>
                <a:gd name="connsiteX1593" fmla="*/ 1290832 w 3009712"/>
                <a:gd name="connsiteY1593" fmla="*/ 1392336 h 4178187"/>
                <a:gd name="connsiteX1594" fmla="*/ 1291226 w 3009712"/>
                <a:gd name="connsiteY1594" fmla="*/ 1392336 h 4178187"/>
                <a:gd name="connsiteX1595" fmla="*/ 1293980 w 3009712"/>
                <a:gd name="connsiteY1595" fmla="*/ 1390762 h 4178187"/>
                <a:gd name="connsiteX1596" fmla="*/ 1296340 w 3009712"/>
                <a:gd name="connsiteY1596" fmla="*/ 1389582 h 4178187"/>
                <a:gd name="connsiteX1597" fmla="*/ 1301061 w 3009712"/>
                <a:gd name="connsiteY1597" fmla="*/ 1387221 h 4178187"/>
                <a:gd name="connsiteX1598" fmla="*/ 1303815 w 3009712"/>
                <a:gd name="connsiteY1598" fmla="*/ 1385648 h 4178187"/>
                <a:gd name="connsiteX1599" fmla="*/ 1306569 w 3009712"/>
                <a:gd name="connsiteY1599" fmla="*/ 1383287 h 4178187"/>
                <a:gd name="connsiteX1600" fmla="*/ 1309323 w 3009712"/>
                <a:gd name="connsiteY1600" fmla="*/ 1381713 h 4178187"/>
                <a:gd name="connsiteX1601" fmla="*/ 1309717 w 3009712"/>
                <a:gd name="connsiteY1601" fmla="*/ 1378566 h 4178187"/>
                <a:gd name="connsiteX1602" fmla="*/ 1312471 w 3009712"/>
                <a:gd name="connsiteY1602" fmla="*/ 1376992 h 4178187"/>
                <a:gd name="connsiteX1603" fmla="*/ 1317979 w 3009712"/>
                <a:gd name="connsiteY1603" fmla="*/ 1373058 h 4178187"/>
                <a:gd name="connsiteX1604" fmla="*/ 1318372 w 3009712"/>
                <a:gd name="connsiteY1604" fmla="*/ 1372664 h 4178187"/>
                <a:gd name="connsiteX1605" fmla="*/ 1320733 w 3009712"/>
                <a:gd name="connsiteY1605" fmla="*/ 1370697 h 4178187"/>
                <a:gd name="connsiteX1606" fmla="*/ 1317979 w 3009712"/>
                <a:gd name="connsiteY1606" fmla="*/ 1369124 h 4178187"/>
                <a:gd name="connsiteX1607" fmla="*/ 1317585 w 3009712"/>
                <a:gd name="connsiteY1607" fmla="*/ 1364796 h 4178187"/>
                <a:gd name="connsiteX1608" fmla="*/ 1318372 w 3009712"/>
                <a:gd name="connsiteY1608" fmla="*/ 1363222 h 4178187"/>
                <a:gd name="connsiteX1609" fmla="*/ 1317585 w 3009712"/>
                <a:gd name="connsiteY1609" fmla="*/ 1360468 h 4178187"/>
                <a:gd name="connsiteX1610" fmla="*/ 1318766 w 3009712"/>
                <a:gd name="connsiteY1610" fmla="*/ 1359288 h 4178187"/>
                <a:gd name="connsiteX1611" fmla="*/ 1319159 w 3009712"/>
                <a:gd name="connsiteY1611" fmla="*/ 1359681 h 4178187"/>
                <a:gd name="connsiteX1612" fmla="*/ 1321913 w 3009712"/>
                <a:gd name="connsiteY1612" fmla="*/ 1361255 h 4178187"/>
                <a:gd name="connsiteX1613" fmla="*/ 1322306 w 3009712"/>
                <a:gd name="connsiteY1613" fmla="*/ 1360862 h 4178187"/>
                <a:gd name="connsiteX1614" fmla="*/ 1326241 w 3009712"/>
                <a:gd name="connsiteY1614" fmla="*/ 1362435 h 4178187"/>
                <a:gd name="connsiteX1615" fmla="*/ 1325847 w 3009712"/>
                <a:gd name="connsiteY1615" fmla="*/ 1363222 h 4178187"/>
                <a:gd name="connsiteX1616" fmla="*/ 1323880 w 3009712"/>
                <a:gd name="connsiteY1616" fmla="*/ 1365976 h 4178187"/>
                <a:gd name="connsiteX1617" fmla="*/ 1327027 w 3009712"/>
                <a:gd name="connsiteY1617" fmla="*/ 1365189 h 4178187"/>
                <a:gd name="connsiteX1618" fmla="*/ 1329781 w 3009712"/>
                <a:gd name="connsiteY1618" fmla="*/ 1364796 h 4178187"/>
                <a:gd name="connsiteX1619" fmla="*/ 1332535 w 3009712"/>
                <a:gd name="connsiteY1619" fmla="*/ 1365189 h 4178187"/>
                <a:gd name="connsiteX1620" fmla="*/ 1329781 w 3009712"/>
                <a:gd name="connsiteY1620" fmla="*/ 1366370 h 4178187"/>
                <a:gd name="connsiteX1621" fmla="*/ 1327814 w 3009712"/>
                <a:gd name="connsiteY1621" fmla="*/ 1367943 h 4178187"/>
                <a:gd name="connsiteX1622" fmla="*/ 1325060 w 3009712"/>
                <a:gd name="connsiteY1622" fmla="*/ 1369517 h 4178187"/>
                <a:gd name="connsiteX1623" fmla="*/ 1322306 w 3009712"/>
                <a:gd name="connsiteY1623" fmla="*/ 1372271 h 4178187"/>
                <a:gd name="connsiteX1624" fmla="*/ 1322700 w 3009712"/>
                <a:gd name="connsiteY1624" fmla="*/ 1372271 h 4178187"/>
                <a:gd name="connsiteX1625" fmla="*/ 1323093 w 3009712"/>
                <a:gd name="connsiteY1625" fmla="*/ 1371878 h 4178187"/>
                <a:gd name="connsiteX1626" fmla="*/ 1338437 w 3009712"/>
                <a:gd name="connsiteY1626" fmla="*/ 1364796 h 4178187"/>
                <a:gd name="connsiteX1627" fmla="*/ 1340797 w 3009712"/>
                <a:gd name="connsiteY1627" fmla="*/ 1364009 h 4178187"/>
                <a:gd name="connsiteX1628" fmla="*/ 1343551 w 3009712"/>
                <a:gd name="connsiteY1628" fmla="*/ 1362435 h 4178187"/>
                <a:gd name="connsiteX1629" fmla="*/ 1346699 w 3009712"/>
                <a:gd name="connsiteY1629" fmla="*/ 1361649 h 4178187"/>
                <a:gd name="connsiteX1630" fmla="*/ 1349453 w 3009712"/>
                <a:gd name="connsiteY1630" fmla="*/ 1361649 h 4178187"/>
                <a:gd name="connsiteX1631" fmla="*/ 1352207 w 3009712"/>
                <a:gd name="connsiteY1631" fmla="*/ 1361255 h 4178187"/>
                <a:gd name="connsiteX1632" fmla="*/ 1351027 w 3009712"/>
                <a:gd name="connsiteY1632" fmla="*/ 1358895 h 4178187"/>
                <a:gd name="connsiteX1633" fmla="*/ 1350633 w 3009712"/>
                <a:gd name="connsiteY1633" fmla="*/ 1356927 h 4178187"/>
                <a:gd name="connsiteX1634" fmla="*/ 1356928 w 3009712"/>
                <a:gd name="connsiteY1634" fmla="*/ 1351026 h 4178187"/>
                <a:gd name="connsiteX1635" fmla="*/ 1352207 w 3009712"/>
                <a:gd name="connsiteY1635" fmla="*/ 1358895 h 4178187"/>
                <a:gd name="connsiteX1636" fmla="*/ 1355354 w 3009712"/>
                <a:gd name="connsiteY1636" fmla="*/ 1359681 h 4178187"/>
                <a:gd name="connsiteX1637" fmla="*/ 1358108 w 3009712"/>
                <a:gd name="connsiteY1637" fmla="*/ 1358895 h 4178187"/>
                <a:gd name="connsiteX1638" fmla="*/ 1360862 w 3009712"/>
                <a:gd name="connsiteY1638" fmla="*/ 1358501 h 4178187"/>
                <a:gd name="connsiteX1639" fmla="*/ 1366370 w 3009712"/>
                <a:gd name="connsiteY1639" fmla="*/ 1358501 h 4178187"/>
                <a:gd name="connsiteX1640" fmla="*/ 1367550 w 3009712"/>
                <a:gd name="connsiteY1640" fmla="*/ 1356927 h 4178187"/>
                <a:gd name="connsiteX1641" fmla="*/ 1369911 w 3009712"/>
                <a:gd name="connsiteY1641" fmla="*/ 1350239 h 4178187"/>
                <a:gd name="connsiteX1642" fmla="*/ 1371878 w 3009712"/>
                <a:gd name="connsiteY1642" fmla="*/ 1350239 h 4178187"/>
                <a:gd name="connsiteX1643" fmla="*/ 1368337 w 3009712"/>
                <a:gd name="connsiteY1643" fmla="*/ 1356927 h 4178187"/>
                <a:gd name="connsiteX1644" fmla="*/ 1371091 w 3009712"/>
                <a:gd name="connsiteY1644" fmla="*/ 1357714 h 4178187"/>
                <a:gd name="connsiteX1645" fmla="*/ 1374239 w 3009712"/>
                <a:gd name="connsiteY1645" fmla="*/ 1358501 h 4178187"/>
                <a:gd name="connsiteX1646" fmla="*/ 1376993 w 3009712"/>
                <a:gd name="connsiteY1646" fmla="*/ 1359681 h 4178187"/>
                <a:gd name="connsiteX1647" fmla="*/ 1379747 w 3009712"/>
                <a:gd name="connsiteY1647" fmla="*/ 1360862 h 4178187"/>
                <a:gd name="connsiteX1648" fmla="*/ 1382501 w 3009712"/>
                <a:gd name="connsiteY1648" fmla="*/ 1362829 h 4178187"/>
                <a:gd name="connsiteX1649" fmla="*/ 1385254 w 3009712"/>
                <a:gd name="connsiteY1649" fmla="*/ 1364402 h 4178187"/>
                <a:gd name="connsiteX1650" fmla="*/ 1388402 w 3009712"/>
                <a:gd name="connsiteY1650" fmla="*/ 1364796 h 4178187"/>
                <a:gd name="connsiteX1651" fmla="*/ 1391156 w 3009712"/>
                <a:gd name="connsiteY1651" fmla="*/ 1365189 h 4178187"/>
                <a:gd name="connsiteX1652" fmla="*/ 1394303 w 3009712"/>
                <a:gd name="connsiteY1652" fmla="*/ 1365976 h 4178187"/>
                <a:gd name="connsiteX1653" fmla="*/ 1397057 w 3009712"/>
                <a:gd name="connsiteY1653" fmla="*/ 1365976 h 4178187"/>
                <a:gd name="connsiteX1654" fmla="*/ 1399811 w 3009712"/>
                <a:gd name="connsiteY1654" fmla="*/ 1364402 h 4178187"/>
                <a:gd name="connsiteX1655" fmla="*/ 1402959 w 3009712"/>
                <a:gd name="connsiteY1655" fmla="*/ 1364402 h 4178187"/>
                <a:gd name="connsiteX1656" fmla="*/ 1402172 w 3009712"/>
                <a:gd name="connsiteY1656" fmla="*/ 1363222 h 4178187"/>
                <a:gd name="connsiteX1657" fmla="*/ 1406500 w 3009712"/>
                <a:gd name="connsiteY1657" fmla="*/ 1363222 h 4178187"/>
                <a:gd name="connsiteX1658" fmla="*/ 1403352 w 3009712"/>
                <a:gd name="connsiteY1658" fmla="*/ 1364796 h 4178187"/>
                <a:gd name="connsiteX1659" fmla="*/ 1406106 w 3009712"/>
                <a:gd name="connsiteY1659" fmla="*/ 1366370 h 4178187"/>
                <a:gd name="connsiteX1660" fmla="*/ 1409254 w 3009712"/>
                <a:gd name="connsiteY1660" fmla="*/ 1367550 h 4178187"/>
                <a:gd name="connsiteX1661" fmla="*/ 1412008 w 3009712"/>
                <a:gd name="connsiteY1661" fmla="*/ 1365189 h 4178187"/>
                <a:gd name="connsiteX1662" fmla="*/ 1412008 w 3009712"/>
                <a:gd name="connsiteY1662" fmla="*/ 1364796 h 4178187"/>
                <a:gd name="connsiteX1663" fmla="*/ 1409647 w 3009712"/>
                <a:gd name="connsiteY1663" fmla="*/ 1363616 h 4178187"/>
                <a:gd name="connsiteX1664" fmla="*/ 1416335 w 3009712"/>
                <a:gd name="connsiteY1664" fmla="*/ 1363616 h 4178187"/>
                <a:gd name="connsiteX1665" fmla="*/ 1417122 w 3009712"/>
                <a:gd name="connsiteY1665" fmla="*/ 1364796 h 4178187"/>
                <a:gd name="connsiteX1666" fmla="*/ 1419876 w 3009712"/>
                <a:gd name="connsiteY1666" fmla="*/ 1365583 h 4178187"/>
                <a:gd name="connsiteX1667" fmla="*/ 1422630 w 3009712"/>
                <a:gd name="connsiteY1667" fmla="*/ 1367550 h 4178187"/>
                <a:gd name="connsiteX1668" fmla="*/ 1425384 w 3009712"/>
                <a:gd name="connsiteY1668" fmla="*/ 1364796 h 4178187"/>
                <a:gd name="connsiteX1669" fmla="*/ 1424991 w 3009712"/>
                <a:gd name="connsiteY1669" fmla="*/ 1366370 h 4178187"/>
                <a:gd name="connsiteX1670" fmla="*/ 1424204 w 3009712"/>
                <a:gd name="connsiteY1670" fmla="*/ 1369124 h 4178187"/>
                <a:gd name="connsiteX1671" fmla="*/ 1426171 w 3009712"/>
                <a:gd name="connsiteY1671" fmla="*/ 1371878 h 4178187"/>
                <a:gd name="connsiteX1672" fmla="*/ 1426564 w 3009712"/>
                <a:gd name="connsiteY1672" fmla="*/ 1375025 h 4178187"/>
                <a:gd name="connsiteX1673" fmla="*/ 1426958 w 3009712"/>
                <a:gd name="connsiteY1673" fmla="*/ 1377779 h 4178187"/>
                <a:gd name="connsiteX1674" fmla="*/ 1429712 w 3009712"/>
                <a:gd name="connsiteY1674" fmla="*/ 1377386 h 4178187"/>
                <a:gd name="connsiteX1675" fmla="*/ 1432072 w 3009712"/>
                <a:gd name="connsiteY1675" fmla="*/ 1380140 h 4178187"/>
                <a:gd name="connsiteX1676" fmla="*/ 1434826 w 3009712"/>
                <a:gd name="connsiteY1676" fmla="*/ 1379353 h 4178187"/>
                <a:gd name="connsiteX1677" fmla="*/ 1437580 w 3009712"/>
                <a:gd name="connsiteY1677" fmla="*/ 1380140 h 4178187"/>
                <a:gd name="connsiteX1678" fmla="*/ 1439154 w 3009712"/>
                <a:gd name="connsiteY1678" fmla="*/ 1379746 h 4178187"/>
                <a:gd name="connsiteX1679" fmla="*/ 1439941 w 3009712"/>
                <a:gd name="connsiteY1679" fmla="*/ 1376992 h 4178187"/>
                <a:gd name="connsiteX1680" fmla="*/ 1450563 w 3009712"/>
                <a:gd name="connsiteY1680" fmla="*/ 1380140 h 4178187"/>
                <a:gd name="connsiteX1681" fmla="*/ 1450563 w 3009712"/>
                <a:gd name="connsiteY1681" fmla="*/ 1381320 h 4178187"/>
                <a:gd name="connsiteX1682" fmla="*/ 1452531 w 3009712"/>
                <a:gd name="connsiteY1682" fmla="*/ 1380926 h 4178187"/>
                <a:gd name="connsiteX1683" fmla="*/ 1455285 w 3009712"/>
                <a:gd name="connsiteY1683" fmla="*/ 1378959 h 4178187"/>
                <a:gd name="connsiteX1684" fmla="*/ 1456858 w 3009712"/>
                <a:gd name="connsiteY1684" fmla="*/ 1377386 h 4178187"/>
                <a:gd name="connsiteX1685" fmla="*/ 1456858 w 3009712"/>
                <a:gd name="connsiteY1685" fmla="*/ 1374632 h 4178187"/>
                <a:gd name="connsiteX1686" fmla="*/ 1458825 w 3009712"/>
                <a:gd name="connsiteY1686" fmla="*/ 1371484 h 4178187"/>
                <a:gd name="connsiteX1687" fmla="*/ 1456465 w 3009712"/>
                <a:gd name="connsiteY1687" fmla="*/ 1368730 h 4178187"/>
                <a:gd name="connsiteX1688" fmla="*/ 1456465 w 3009712"/>
                <a:gd name="connsiteY1688" fmla="*/ 1368337 h 4178187"/>
                <a:gd name="connsiteX1689" fmla="*/ 1456465 w 3009712"/>
                <a:gd name="connsiteY1689" fmla="*/ 1365189 h 4178187"/>
                <a:gd name="connsiteX1690" fmla="*/ 1461186 w 3009712"/>
                <a:gd name="connsiteY1690" fmla="*/ 1367943 h 4178187"/>
                <a:gd name="connsiteX1691" fmla="*/ 1473382 w 3009712"/>
                <a:gd name="connsiteY1691" fmla="*/ 1386828 h 4178187"/>
                <a:gd name="connsiteX1692" fmla="*/ 1479677 w 3009712"/>
                <a:gd name="connsiteY1692" fmla="*/ 1382894 h 4178187"/>
                <a:gd name="connsiteX1693" fmla="*/ 1482431 w 3009712"/>
                <a:gd name="connsiteY1693" fmla="*/ 1384861 h 4178187"/>
                <a:gd name="connsiteX1694" fmla="*/ 1482824 w 3009712"/>
                <a:gd name="connsiteY1694" fmla="*/ 1382107 h 4178187"/>
                <a:gd name="connsiteX1695" fmla="*/ 1485972 w 3009712"/>
                <a:gd name="connsiteY1695" fmla="*/ 1380533 h 4178187"/>
                <a:gd name="connsiteX1696" fmla="*/ 1486759 w 3009712"/>
                <a:gd name="connsiteY1696" fmla="*/ 1378172 h 4178187"/>
                <a:gd name="connsiteX1697" fmla="*/ 1483611 w 3009712"/>
                <a:gd name="connsiteY1697" fmla="*/ 1373845 h 4178187"/>
                <a:gd name="connsiteX1698" fmla="*/ 1483611 w 3009712"/>
                <a:gd name="connsiteY1698" fmla="*/ 1373058 h 4178187"/>
                <a:gd name="connsiteX1699" fmla="*/ 1483218 w 3009712"/>
                <a:gd name="connsiteY1699" fmla="*/ 1373058 h 4178187"/>
                <a:gd name="connsiteX1700" fmla="*/ 1472595 w 3009712"/>
                <a:gd name="connsiteY1700" fmla="*/ 1367157 h 4178187"/>
                <a:gd name="connsiteX1701" fmla="*/ 1478103 w 3009712"/>
                <a:gd name="connsiteY1701" fmla="*/ 1356927 h 4178187"/>
                <a:gd name="connsiteX1702" fmla="*/ 1481251 w 3009712"/>
                <a:gd name="connsiteY1702" fmla="*/ 1357321 h 4178187"/>
                <a:gd name="connsiteX1703" fmla="*/ 1482824 w 3009712"/>
                <a:gd name="connsiteY1703" fmla="*/ 1354567 h 4178187"/>
                <a:gd name="connsiteX1704" fmla="*/ 1483218 w 3009712"/>
                <a:gd name="connsiteY1704" fmla="*/ 1351813 h 4178187"/>
                <a:gd name="connsiteX1705" fmla="*/ 1482038 w 3009712"/>
                <a:gd name="connsiteY1705" fmla="*/ 1349846 h 4178187"/>
                <a:gd name="connsiteX1706" fmla="*/ 1479283 w 3009712"/>
                <a:gd name="connsiteY1706" fmla="*/ 1349452 h 4178187"/>
                <a:gd name="connsiteX1707" fmla="*/ 1478103 w 3009712"/>
                <a:gd name="connsiteY1707" fmla="*/ 1349846 h 4178187"/>
                <a:gd name="connsiteX1708" fmla="*/ 1470235 w 3009712"/>
                <a:gd name="connsiteY1708" fmla="*/ 1349846 h 4178187"/>
                <a:gd name="connsiteX1709" fmla="*/ 1472989 w 3009712"/>
                <a:gd name="connsiteY1709" fmla="*/ 1348272 h 4178187"/>
                <a:gd name="connsiteX1710" fmla="*/ 1475743 w 3009712"/>
                <a:gd name="connsiteY1710" fmla="*/ 1346305 h 4178187"/>
                <a:gd name="connsiteX1711" fmla="*/ 1476923 w 3009712"/>
                <a:gd name="connsiteY1711" fmla="*/ 1344731 h 4178187"/>
                <a:gd name="connsiteX1712" fmla="*/ 1471415 w 3009712"/>
                <a:gd name="connsiteY1712" fmla="*/ 1344338 h 4178187"/>
                <a:gd name="connsiteX1713" fmla="*/ 1471022 w 3009712"/>
                <a:gd name="connsiteY1713" fmla="*/ 1344338 h 4178187"/>
                <a:gd name="connsiteX1714" fmla="*/ 1466300 w 3009712"/>
                <a:gd name="connsiteY1714" fmla="*/ 1346698 h 4178187"/>
                <a:gd name="connsiteX1715" fmla="*/ 1465907 w 3009712"/>
                <a:gd name="connsiteY1715" fmla="*/ 1346698 h 4178187"/>
                <a:gd name="connsiteX1716" fmla="*/ 1461973 w 3009712"/>
                <a:gd name="connsiteY1716" fmla="*/ 1347092 h 4178187"/>
                <a:gd name="connsiteX1717" fmla="*/ 1459612 w 3009712"/>
                <a:gd name="connsiteY1717" fmla="*/ 1339223 h 4178187"/>
                <a:gd name="connsiteX1718" fmla="*/ 1466300 w 3009712"/>
                <a:gd name="connsiteY1718" fmla="*/ 1336863 h 4178187"/>
                <a:gd name="connsiteX1719" fmla="*/ 1468661 w 3009712"/>
                <a:gd name="connsiteY1719" fmla="*/ 1338436 h 4178187"/>
                <a:gd name="connsiteX1720" fmla="*/ 1473382 w 3009712"/>
                <a:gd name="connsiteY1720" fmla="*/ 1341977 h 4178187"/>
                <a:gd name="connsiteX1721" fmla="*/ 1474562 w 3009712"/>
                <a:gd name="connsiteY1721" fmla="*/ 1341584 h 4178187"/>
                <a:gd name="connsiteX1722" fmla="*/ 1477316 w 3009712"/>
                <a:gd name="connsiteY1722" fmla="*/ 1343551 h 4178187"/>
                <a:gd name="connsiteX1723" fmla="*/ 1478890 w 3009712"/>
                <a:gd name="connsiteY1723" fmla="*/ 1343551 h 4178187"/>
                <a:gd name="connsiteX1724" fmla="*/ 1478890 w 3009712"/>
                <a:gd name="connsiteY1724" fmla="*/ 1343944 h 4178187"/>
                <a:gd name="connsiteX1725" fmla="*/ 1481644 w 3009712"/>
                <a:gd name="connsiteY1725" fmla="*/ 1343157 h 4178187"/>
                <a:gd name="connsiteX1726" fmla="*/ 1484398 w 3009712"/>
                <a:gd name="connsiteY1726" fmla="*/ 1341977 h 4178187"/>
                <a:gd name="connsiteX1727" fmla="*/ 1487152 w 3009712"/>
                <a:gd name="connsiteY1727" fmla="*/ 1339617 h 4178187"/>
                <a:gd name="connsiteX1728" fmla="*/ 1488726 w 3009712"/>
                <a:gd name="connsiteY1728" fmla="*/ 1338043 h 4178187"/>
                <a:gd name="connsiteX1729" fmla="*/ 1488332 w 3009712"/>
                <a:gd name="connsiteY1729" fmla="*/ 1337650 h 4178187"/>
                <a:gd name="connsiteX1730" fmla="*/ 1489906 w 3009712"/>
                <a:gd name="connsiteY1730" fmla="*/ 1337650 h 4178187"/>
                <a:gd name="connsiteX1731" fmla="*/ 1490299 w 3009712"/>
                <a:gd name="connsiteY1731" fmla="*/ 1337650 h 4178187"/>
                <a:gd name="connsiteX1732" fmla="*/ 1492660 w 3009712"/>
                <a:gd name="connsiteY1732" fmla="*/ 1337650 h 4178187"/>
                <a:gd name="connsiteX1733" fmla="*/ 1495414 w 3009712"/>
                <a:gd name="connsiteY1733" fmla="*/ 1336863 h 4178187"/>
                <a:gd name="connsiteX1734" fmla="*/ 1497381 w 3009712"/>
                <a:gd name="connsiteY1734" fmla="*/ 1336469 h 4178187"/>
                <a:gd name="connsiteX1735" fmla="*/ 1499742 w 3009712"/>
                <a:gd name="connsiteY1735" fmla="*/ 1336076 h 4178187"/>
                <a:gd name="connsiteX1736" fmla="*/ 1501315 w 3009712"/>
                <a:gd name="connsiteY1736" fmla="*/ 1336076 h 4178187"/>
                <a:gd name="connsiteX1737" fmla="*/ 1502102 w 3009712"/>
                <a:gd name="connsiteY1737" fmla="*/ 1335682 h 4178187"/>
                <a:gd name="connsiteX1738" fmla="*/ 1501315 w 3009712"/>
                <a:gd name="connsiteY1738" fmla="*/ 1335289 h 4178187"/>
                <a:gd name="connsiteX1739" fmla="*/ 1501709 w 3009712"/>
                <a:gd name="connsiteY1739" fmla="*/ 1334896 h 4178187"/>
                <a:gd name="connsiteX1740" fmla="*/ 1503282 w 3009712"/>
                <a:gd name="connsiteY1740" fmla="*/ 1335289 h 4178187"/>
                <a:gd name="connsiteX1741" fmla="*/ 1506036 w 3009712"/>
                <a:gd name="connsiteY1741" fmla="*/ 1337650 h 4178187"/>
                <a:gd name="connsiteX1742" fmla="*/ 1509184 w 3009712"/>
                <a:gd name="connsiteY1742" fmla="*/ 1337256 h 4178187"/>
                <a:gd name="connsiteX1743" fmla="*/ 1509577 w 3009712"/>
                <a:gd name="connsiteY1743" fmla="*/ 1336469 h 4178187"/>
                <a:gd name="connsiteX1744" fmla="*/ 1509971 w 3009712"/>
                <a:gd name="connsiteY1744" fmla="*/ 1336469 h 4178187"/>
                <a:gd name="connsiteX1745" fmla="*/ 1512725 w 3009712"/>
                <a:gd name="connsiteY1745" fmla="*/ 1338830 h 4178187"/>
                <a:gd name="connsiteX1746" fmla="*/ 1515085 w 3009712"/>
                <a:gd name="connsiteY1746" fmla="*/ 1336469 h 4178187"/>
                <a:gd name="connsiteX1747" fmla="*/ 1517839 w 3009712"/>
                <a:gd name="connsiteY1747" fmla="*/ 1336076 h 4178187"/>
                <a:gd name="connsiteX1748" fmla="*/ 1520593 w 3009712"/>
                <a:gd name="connsiteY1748" fmla="*/ 1336863 h 4178187"/>
                <a:gd name="connsiteX1749" fmla="*/ 1523741 w 3009712"/>
                <a:gd name="connsiteY1749" fmla="*/ 1335682 h 4178187"/>
                <a:gd name="connsiteX1750" fmla="*/ 1524528 w 3009712"/>
                <a:gd name="connsiteY1750" fmla="*/ 1332928 h 4178187"/>
                <a:gd name="connsiteX1751" fmla="*/ 1525708 w 3009712"/>
                <a:gd name="connsiteY1751" fmla="*/ 1330174 h 4178187"/>
                <a:gd name="connsiteX1752" fmla="*/ 1527282 w 3009712"/>
                <a:gd name="connsiteY1752" fmla="*/ 1327420 h 4178187"/>
                <a:gd name="connsiteX1753" fmla="*/ 1528855 w 3009712"/>
                <a:gd name="connsiteY1753" fmla="*/ 1325847 h 4178187"/>
                <a:gd name="connsiteX1754" fmla="*/ 1529249 w 3009712"/>
                <a:gd name="connsiteY1754" fmla="*/ 1324667 h 4178187"/>
                <a:gd name="connsiteX1755" fmla="*/ 1529249 w 3009712"/>
                <a:gd name="connsiteY1755" fmla="*/ 1325847 h 4178187"/>
                <a:gd name="connsiteX1756" fmla="*/ 1529642 w 3009712"/>
                <a:gd name="connsiteY1756" fmla="*/ 1326634 h 4178187"/>
                <a:gd name="connsiteX1757" fmla="*/ 1530822 w 3009712"/>
                <a:gd name="connsiteY1757" fmla="*/ 1327027 h 4178187"/>
                <a:gd name="connsiteX1758" fmla="*/ 1531216 w 3009712"/>
                <a:gd name="connsiteY1758" fmla="*/ 1329781 h 4178187"/>
                <a:gd name="connsiteX1759" fmla="*/ 1530036 w 3009712"/>
                <a:gd name="connsiteY1759" fmla="*/ 1332535 h 4178187"/>
                <a:gd name="connsiteX1760" fmla="*/ 1529642 w 3009712"/>
                <a:gd name="connsiteY1760" fmla="*/ 1335289 h 4178187"/>
                <a:gd name="connsiteX1761" fmla="*/ 1532003 w 3009712"/>
                <a:gd name="connsiteY1761" fmla="*/ 1338043 h 4178187"/>
                <a:gd name="connsiteX1762" fmla="*/ 1530036 w 3009712"/>
                <a:gd name="connsiteY1762" fmla="*/ 1340797 h 4178187"/>
                <a:gd name="connsiteX1763" fmla="*/ 1527282 w 3009712"/>
                <a:gd name="connsiteY1763" fmla="*/ 1340404 h 4178187"/>
                <a:gd name="connsiteX1764" fmla="*/ 1530036 w 3009712"/>
                <a:gd name="connsiteY1764" fmla="*/ 1341190 h 4178187"/>
                <a:gd name="connsiteX1765" fmla="*/ 1533183 w 3009712"/>
                <a:gd name="connsiteY1765" fmla="*/ 1341190 h 4178187"/>
                <a:gd name="connsiteX1766" fmla="*/ 1535937 w 3009712"/>
                <a:gd name="connsiteY1766" fmla="*/ 1340797 h 4178187"/>
                <a:gd name="connsiteX1767" fmla="*/ 1538691 w 3009712"/>
                <a:gd name="connsiteY1767" fmla="*/ 1339223 h 4178187"/>
                <a:gd name="connsiteX1768" fmla="*/ 1541445 w 3009712"/>
                <a:gd name="connsiteY1768" fmla="*/ 1337650 h 4178187"/>
                <a:gd name="connsiteX1769" fmla="*/ 1543019 w 3009712"/>
                <a:gd name="connsiteY1769" fmla="*/ 1335682 h 4178187"/>
                <a:gd name="connsiteX1770" fmla="*/ 1544199 w 3009712"/>
                <a:gd name="connsiteY1770" fmla="*/ 1333322 h 4178187"/>
                <a:gd name="connsiteX1771" fmla="*/ 1545773 w 3009712"/>
                <a:gd name="connsiteY1771" fmla="*/ 1335289 h 4178187"/>
                <a:gd name="connsiteX1772" fmla="*/ 1543019 w 3009712"/>
                <a:gd name="connsiteY1772" fmla="*/ 1338043 h 4178187"/>
                <a:gd name="connsiteX1773" fmla="*/ 1540265 w 3009712"/>
                <a:gd name="connsiteY1773" fmla="*/ 1339223 h 4178187"/>
                <a:gd name="connsiteX1774" fmla="*/ 1543019 w 3009712"/>
                <a:gd name="connsiteY1774" fmla="*/ 1339223 h 4178187"/>
                <a:gd name="connsiteX1775" fmla="*/ 1546166 w 3009712"/>
                <a:gd name="connsiteY1775" fmla="*/ 1338830 h 4178187"/>
                <a:gd name="connsiteX1776" fmla="*/ 1548526 w 3009712"/>
                <a:gd name="connsiteY1776" fmla="*/ 1336076 h 4178187"/>
                <a:gd name="connsiteX1777" fmla="*/ 1550100 w 3009712"/>
                <a:gd name="connsiteY1777" fmla="*/ 1335289 h 4178187"/>
                <a:gd name="connsiteX1778" fmla="*/ 1552067 w 3009712"/>
                <a:gd name="connsiteY1778" fmla="*/ 1332535 h 4178187"/>
                <a:gd name="connsiteX1779" fmla="*/ 1551674 w 3009712"/>
                <a:gd name="connsiteY1779" fmla="*/ 1332142 h 4178187"/>
                <a:gd name="connsiteX1780" fmla="*/ 1551674 w 3009712"/>
                <a:gd name="connsiteY1780" fmla="*/ 1331748 h 4178187"/>
                <a:gd name="connsiteX1781" fmla="*/ 1553248 w 3009712"/>
                <a:gd name="connsiteY1781" fmla="*/ 1330961 h 4178187"/>
                <a:gd name="connsiteX1782" fmla="*/ 1553248 w 3009712"/>
                <a:gd name="connsiteY1782" fmla="*/ 1334502 h 4178187"/>
                <a:gd name="connsiteX1783" fmla="*/ 1555608 w 3009712"/>
                <a:gd name="connsiteY1783" fmla="*/ 1331355 h 4178187"/>
                <a:gd name="connsiteX1784" fmla="*/ 1556789 w 3009712"/>
                <a:gd name="connsiteY1784" fmla="*/ 1329781 h 4178187"/>
                <a:gd name="connsiteX1785" fmla="*/ 1557182 w 3009712"/>
                <a:gd name="connsiteY1785" fmla="*/ 1329388 h 4178187"/>
                <a:gd name="connsiteX1786" fmla="*/ 1556002 w 3009712"/>
                <a:gd name="connsiteY1786" fmla="*/ 1332142 h 4178187"/>
                <a:gd name="connsiteX1787" fmla="*/ 1556395 w 3009712"/>
                <a:gd name="connsiteY1787" fmla="*/ 1332535 h 4178187"/>
                <a:gd name="connsiteX1788" fmla="*/ 1555608 w 3009712"/>
                <a:gd name="connsiteY1788" fmla="*/ 1335682 h 4178187"/>
                <a:gd name="connsiteX1789" fmla="*/ 1554428 w 3009712"/>
                <a:gd name="connsiteY1789" fmla="*/ 1336076 h 4178187"/>
                <a:gd name="connsiteX1790" fmla="*/ 1551280 w 3009712"/>
                <a:gd name="connsiteY1790" fmla="*/ 1336469 h 4178187"/>
                <a:gd name="connsiteX1791" fmla="*/ 1554035 w 3009712"/>
                <a:gd name="connsiteY1791" fmla="*/ 1336469 h 4178187"/>
                <a:gd name="connsiteX1792" fmla="*/ 1557182 w 3009712"/>
                <a:gd name="connsiteY1792" fmla="*/ 1336076 h 4178187"/>
                <a:gd name="connsiteX1793" fmla="*/ 1558362 w 3009712"/>
                <a:gd name="connsiteY1793" fmla="*/ 1335682 h 4178187"/>
                <a:gd name="connsiteX1794" fmla="*/ 1567018 w 3009712"/>
                <a:gd name="connsiteY1794" fmla="*/ 1334896 h 4178187"/>
                <a:gd name="connsiteX1795" fmla="*/ 1580394 w 3009712"/>
                <a:gd name="connsiteY1795" fmla="*/ 1334502 h 4178187"/>
                <a:gd name="connsiteX1796" fmla="*/ 1578820 w 3009712"/>
                <a:gd name="connsiteY1796" fmla="*/ 1336076 h 4178187"/>
                <a:gd name="connsiteX1797" fmla="*/ 1574099 w 3009712"/>
                <a:gd name="connsiteY1797" fmla="*/ 1336076 h 4178187"/>
                <a:gd name="connsiteX1798" fmla="*/ 1572132 w 3009712"/>
                <a:gd name="connsiteY1798" fmla="*/ 1335682 h 4178187"/>
                <a:gd name="connsiteX1799" fmla="*/ 1571345 w 3009712"/>
                <a:gd name="connsiteY1799" fmla="*/ 1335289 h 4178187"/>
                <a:gd name="connsiteX1800" fmla="*/ 1570165 w 3009712"/>
                <a:gd name="connsiteY1800" fmla="*/ 1335289 h 4178187"/>
                <a:gd name="connsiteX1801" fmla="*/ 1572919 w 3009712"/>
                <a:gd name="connsiteY1801" fmla="*/ 1336469 h 4178187"/>
                <a:gd name="connsiteX1802" fmla="*/ 1573313 w 3009712"/>
                <a:gd name="connsiteY1802" fmla="*/ 1336469 h 4178187"/>
                <a:gd name="connsiteX1803" fmla="*/ 1582755 w 3009712"/>
                <a:gd name="connsiteY1803" fmla="*/ 1340010 h 4178187"/>
                <a:gd name="connsiteX1804" fmla="*/ 1584722 w 3009712"/>
                <a:gd name="connsiteY1804" fmla="*/ 1340797 h 4178187"/>
                <a:gd name="connsiteX1805" fmla="*/ 1587476 w 3009712"/>
                <a:gd name="connsiteY1805" fmla="*/ 1342764 h 4178187"/>
                <a:gd name="connsiteX1806" fmla="*/ 1589836 w 3009712"/>
                <a:gd name="connsiteY1806" fmla="*/ 1342371 h 4178187"/>
                <a:gd name="connsiteX1807" fmla="*/ 1587869 w 3009712"/>
                <a:gd name="connsiteY1807" fmla="*/ 1339223 h 4178187"/>
                <a:gd name="connsiteX1808" fmla="*/ 1590623 w 3009712"/>
                <a:gd name="connsiteY1808" fmla="*/ 1339617 h 4178187"/>
                <a:gd name="connsiteX1809" fmla="*/ 1592984 w 3009712"/>
                <a:gd name="connsiteY1809" fmla="*/ 1339223 h 4178187"/>
                <a:gd name="connsiteX1810" fmla="*/ 1592984 w 3009712"/>
                <a:gd name="connsiteY1810" fmla="*/ 1340404 h 4178187"/>
                <a:gd name="connsiteX1811" fmla="*/ 1591017 w 3009712"/>
                <a:gd name="connsiteY1811" fmla="*/ 1342371 h 4178187"/>
                <a:gd name="connsiteX1812" fmla="*/ 1593377 w 3009712"/>
                <a:gd name="connsiteY1812" fmla="*/ 1344731 h 4178187"/>
                <a:gd name="connsiteX1813" fmla="*/ 1592984 w 3009712"/>
                <a:gd name="connsiteY1813" fmla="*/ 1345912 h 4178187"/>
                <a:gd name="connsiteX1814" fmla="*/ 1594557 w 3009712"/>
                <a:gd name="connsiteY1814" fmla="*/ 1348665 h 4178187"/>
                <a:gd name="connsiteX1815" fmla="*/ 1594951 w 3009712"/>
                <a:gd name="connsiteY1815" fmla="*/ 1349059 h 4178187"/>
                <a:gd name="connsiteX1816" fmla="*/ 1594557 w 3009712"/>
                <a:gd name="connsiteY1816" fmla="*/ 1349059 h 4178187"/>
                <a:gd name="connsiteX1817" fmla="*/ 1594164 w 3009712"/>
                <a:gd name="connsiteY1817" fmla="*/ 1349059 h 4178187"/>
                <a:gd name="connsiteX1818" fmla="*/ 1596918 w 3009712"/>
                <a:gd name="connsiteY1818" fmla="*/ 1351026 h 4178187"/>
                <a:gd name="connsiteX1819" fmla="*/ 1598492 w 3009712"/>
                <a:gd name="connsiteY1819" fmla="*/ 1353780 h 4178187"/>
                <a:gd name="connsiteX1820" fmla="*/ 1598885 w 3009712"/>
                <a:gd name="connsiteY1820" fmla="*/ 1356927 h 4178187"/>
                <a:gd name="connsiteX1821" fmla="*/ 1597311 w 3009712"/>
                <a:gd name="connsiteY1821" fmla="*/ 1359681 h 4178187"/>
                <a:gd name="connsiteX1822" fmla="*/ 1598885 w 3009712"/>
                <a:gd name="connsiteY1822" fmla="*/ 1359681 h 4178187"/>
                <a:gd name="connsiteX1823" fmla="*/ 1601639 w 3009712"/>
                <a:gd name="connsiteY1823" fmla="*/ 1359288 h 4178187"/>
                <a:gd name="connsiteX1824" fmla="*/ 1604787 w 3009712"/>
                <a:gd name="connsiteY1824" fmla="*/ 1358895 h 4178187"/>
                <a:gd name="connsiteX1825" fmla="*/ 1607540 w 3009712"/>
                <a:gd name="connsiteY1825" fmla="*/ 1358501 h 4178187"/>
                <a:gd name="connsiteX1826" fmla="*/ 1607934 w 3009712"/>
                <a:gd name="connsiteY1826" fmla="*/ 1358108 h 4178187"/>
                <a:gd name="connsiteX1827" fmla="*/ 1608327 w 3009712"/>
                <a:gd name="connsiteY1827" fmla="*/ 1357714 h 4178187"/>
                <a:gd name="connsiteX1828" fmla="*/ 1610688 w 3009712"/>
                <a:gd name="connsiteY1828" fmla="*/ 1357321 h 4178187"/>
                <a:gd name="connsiteX1829" fmla="*/ 1613442 w 3009712"/>
                <a:gd name="connsiteY1829" fmla="*/ 1356927 h 4178187"/>
                <a:gd name="connsiteX1830" fmla="*/ 1616196 w 3009712"/>
                <a:gd name="connsiteY1830" fmla="*/ 1355354 h 4178187"/>
                <a:gd name="connsiteX1831" fmla="*/ 1619343 w 3009712"/>
                <a:gd name="connsiteY1831" fmla="*/ 1353780 h 4178187"/>
                <a:gd name="connsiteX1832" fmla="*/ 1622097 w 3009712"/>
                <a:gd name="connsiteY1832" fmla="*/ 1352206 h 4178187"/>
                <a:gd name="connsiteX1833" fmla="*/ 1624851 w 3009712"/>
                <a:gd name="connsiteY1833" fmla="*/ 1351813 h 4178187"/>
                <a:gd name="connsiteX1834" fmla="*/ 1624458 w 3009712"/>
                <a:gd name="connsiteY1834" fmla="*/ 1349059 h 4178187"/>
                <a:gd name="connsiteX1835" fmla="*/ 1624851 w 3009712"/>
                <a:gd name="connsiteY1835" fmla="*/ 1349059 h 4178187"/>
                <a:gd name="connsiteX1836" fmla="*/ 1626425 w 3009712"/>
                <a:gd name="connsiteY1836" fmla="*/ 1349059 h 4178187"/>
                <a:gd name="connsiteX1837" fmla="*/ 1642162 w 3009712"/>
                <a:gd name="connsiteY1837" fmla="*/ 1349059 h 4178187"/>
                <a:gd name="connsiteX1838" fmla="*/ 1651211 w 3009712"/>
                <a:gd name="connsiteY1838" fmla="*/ 1364402 h 4178187"/>
                <a:gd name="connsiteX1839" fmla="*/ 1651211 w 3009712"/>
                <a:gd name="connsiteY1839" fmla="*/ 1365189 h 4178187"/>
                <a:gd name="connsiteX1840" fmla="*/ 1653178 w 3009712"/>
                <a:gd name="connsiteY1840" fmla="*/ 1367550 h 4178187"/>
                <a:gd name="connsiteX1841" fmla="*/ 1656325 w 3009712"/>
                <a:gd name="connsiteY1841" fmla="*/ 1372664 h 4178187"/>
                <a:gd name="connsiteX1842" fmla="*/ 1653965 w 3009712"/>
                <a:gd name="connsiteY1842" fmla="*/ 1421843 h 4178187"/>
                <a:gd name="connsiteX1843" fmla="*/ 1654752 w 3009712"/>
                <a:gd name="connsiteY1843" fmla="*/ 1424990 h 4178187"/>
                <a:gd name="connsiteX1844" fmla="*/ 1655538 w 3009712"/>
                <a:gd name="connsiteY1844" fmla="*/ 1427744 h 4178187"/>
                <a:gd name="connsiteX1845" fmla="*/ 1655145 w 3009712"/>
                <a:gd name="connsiteY1845" fmla="*/ 1424990 h 4178187"/>
                <a:gd name="connsiteX1846" fmla="*/ 1657506 w 3009712"/>
                <a:gd name="connsiteY1846" fmla="*/ 1427744 h 4178187"/>
                <a:gd name="connsiteX1847" fmla="*/ 1659866 w 3009712"/>
                <a:gd name="connsiteY1847" fmla="*/ 1424597 h 4178187"/>
                <a:gd name="connsiteX1848" fmla="*/ 1659866 w 3009712"/>
                <a:gd name="connsiteY1848" fmla="*/ 1424203 h 4178187"/>
                <a:gd name="connsiteX1849" fmla="*/ 1659866 w 3009712"/>
                <a:gd name="connsiteY1849" fmla="*/ 1430892 h 4178187"/>
                <a:gd name="connsiteX1850" fmla="*/ 1658293 w 3009712"/>
                <a:gd name="connsiteY1850" fmla="*/ 1433646 h 4178187"/>
                <a:gd name="connsiteX1851" fmla="*/ 1655538 w 3009712"/>
                <a:gd name="connsiteY1851" fmla="*/ 1434432 h 4178187"/>
                <a:gd name="connsiteX1852" fmla="*/ 1658293 w 3009712"/>
                <a:gd name="connsiteY1852" fmla="*/ 1437186 h 4178187"/>
                <a:gd name="connsiteX1853" fmla="*/ 1658686 w 3009712"/>
                <a:gd name="connsiteY1853" fmla="*/ 1439940 h 4178187"/>
                <a:gd name="connsiteX1854" fmla="*/ 1658686 w 3009712"/>
                <a:gd name="connsiteY1854" fmla="*/ 1443088 h 4178187"/>
                <a:gd name="connsiteX1855" fmla="*/ 1659866 w 3009712"/>
                <a:gd name="connsiteY1855" fmla="*/ 1448596 h 4178187"/>
                <a:gd name="connsiteX1856" fmla="*/ 1660653 w 3009712"/>
                <a:gd name="connsiteY1856" fmla="*/ 1451743 h 4178187"/>
                <a:gd name="connsiteX1857" fmla="*/ 1661047 w 3009712"/>
                <a:gd name="connsiteY1857" fmla="*/ 1453710 h 4178187"/>
                <a:gd name="connsiteX1858" fmla="*/ 1662620 w 3009712"/>
                <a:gd name="connsiteY1858" fmla="*/ 1456464 h 4178187"/>
                <a:gd name="connsiteX1859" fmla="*/ 1665374 w 3009712"/>
                <a:gd name="connsiteY1859" fmla="*/ 1457251 h 4178187"/>
                <a:gd name="connsiteX1860" fmla="*/ 1666161 w 3009712"/>
                <a:gd name="connsiteY1860" fmla="*/ 1455677 h 4178187"/>
                <a:gd name="connsiteX1861" fmla="*/ 1669702 w 3009712"/>
                <a:gd name="connsiteY1861" fmla="*/ 1457251 h 4178187"/>
                <a:gd name="connsiteX1862" fmla="*/ 1669702 w 3009712"/>
                <a:gd name="connsiteY1862" fmla="*/ 1457645 h 4178187"/>
                <a:gd name="connsiteX1863" fmla="*/ 1668128 w 3009712"/>
                <a:gd name="connsiteY1863" fmla="*/ 1460792 h 4178187"/>
                <a:gd name="connsiteX1864" fmla="*/ 1668128 w 3009712"/>
                <a:gd name="connsiteY1864" fmla="*/ 1466300 h 4178187"/>
                <a:gd name="connsiteX1865" fmla="*/ 1670489 w 3009712"/>
                <a:gd name="connsiteY1865" fmla="*/ 1466300 h 4178187"/>
                <a:gd name="connsiteX1866" fmla="*/ 1668915 w 3009712"/>
                <a:gd name="connsiteY1866" fmla="*/ 1467087 h 4178187"/>
                <a:gd name="connsiteX1867" fmla="*/ 1672062 w 3009712"/>
                <a:gd name="connsiteY1867" fmla="*/ 1469447 h 4178187"/>
                <a:gd name="connsiteX1868" fmla="*/ 1672456 w 3009712"/>
                <a:gd name="connsiteY1868" fmla="*/ 1472595 h 4178187"/>
                <a:gd name="connsiteX1869" fmla="*/ 1672062 w 3009712"/>
                <a:gd name="connsiteY1869" fmla="*/ 1478103 h 4178187"/>
                <a:gd name="connsiteX1870" fmla="*/ 1672062 w 3009712"/>
                <a:gd name="connsiteY1870" fmla="*/ 1480857 h 4178187"/>
                <a:gd name="connsiteX1871" fmla="*/ 1673636 w 3009712"/>
                <a:gd name="connsiteY1871" fmla="*/ 1483217 h 4178187"/>
                <a:gd name="connsiteX1872" fmla="*/ 1673243 w 3009712"/>
                <a:gd name="connsiteY1872" fmla="*/ 1485578 h 4178187"/>
                <a:gd name="connsiteX1873" fmla="*/ 1685045 w 3009712"/>
                <a:gd name="connsiteY1873" fmla="*/ 1509183 h 4178187"/>
                <a:gd name="connsiteX1874" fmla="*/ 1685439 w 3009712"/>
                <a:gd name="connsiteY1874" fmla="*/ 1511937 h 4178187"/>
                <a:gd name="connsiteX1875" fmla="*/ 1688193 w 3009712"/>
                <a:gd name="connsiteY1875" fmla="*/ 1513511 h 4178187"/>
                <a:gd name="connsiteX1876" fmla="*/ 1690947 w 3009712"/>
                <a:gd name="connsiteY1876" fmla="*/ 1513118 h 4178187"/>
                <a:gd name="connsiteX1877" fmla="*/ 1694094 w 3009712"/>
                <a:gd name="connsiteY1877" fmla="*/ 1511937 h 4178187"/>
                <a:gd name="connsiteX1878" fmla="*/ 1696848 w 3009712"/>
                <a:gd name="connsiteY1878" fmla="*/ 1513118 h 4178187"/>
                <a:gd name="connsiteX1879" fmla="*/ 1699602 w 3009712"/>
                <a:gd name="connsiteY1879" fmla="*/ 1512724 h 4178187"/>
                <a:gd name="connsiteX1880" fmla="*/ 1702356 w 3009712"/>
                <a:gd name="connsiteY1880" fmla="*/ 1509970 h 4178187"/>
                <a:gd name="connsiteX1881" fmla="*/ 1705110 w 3009712"/>
                <a:gd name="connsiteY1881" fmla="*/ 1511544 h 4178187"/>
                <a:gd name="connsiteX1882" fmla="*/ 1707471 w 3009712"/>
                <a:gd name="connsiteY1882" fmla="*/ 1508397 h 4178187"/>
                <a:gd name="connsiteX1883" fmla="*/ 1710618 w 3009712"/>
                <a:gd name="connsiteY1883" fmla="*/ 1505643 h 4178187"/>
                <a:gd name="connsiteX1884" fmla="*/ 1710225 w 3009712"/>
                <a:gd name="connsiteY1884" fmla="*/ 1502889 h 4178187"/>
                <a:gd name="connsiteX1885" fmla="*/ 1711798 w 3009712"/>
                <a:gd name="connsiteY1885" fmla="*/ 1500135 h 4178187"/>
                <a:gd name="connsiteX1886" fmla="*/ 1716913 w 3009712"/>
                <a:gd name="connsiteY1886" fmla="*/ 1492266 h 4178187"/>
                <a:gd name="connsiteX1887" fmla="*/ 1718093 w 3009712"/>
                <a:gd name="connsiteY1887" fmla="*/ 1489119 h 4178187"/>
                <a:gd name="connsiteX1888" fmla="*/ 1720061 w 3009712"/>
                <a:gd name="connsiteY1888" fmla="*/ 1486365 h 4178187"/>
                <a:gd name="connsiteX1889" fmla="*/ 1720454 w 3009712"/>
                <a:gd name="connsiteY1889" fmla="*/ 1483217 h 4178187"/>
                <a:gd name="connsiteX1890" fmla="*/ 1721241 w 3009712"/>
                <a:gd name="connsiteY1890" fmla="*/ 1480463 h 4178187"/>
                <a:gd name="connsiteX1891" fmla="*/ 1722028 w 3009712"/>
                <a:gd name="connsiteY1891" fmla="*/ 1477316 h 4178187"/>
                <a:gd name="connsiteX1892" fmla="*/ 1723208 w 3009712"/>
                <a:gd name="connsiteY1892" fmla="*/ 1474562 h 4178187"/>
                <a:gd name="connsiteX1893" fmla="*/ 1725568 w 3009712"/>
                <a:gd name="connsiteY1893" fmla="*/ 1465907 h 4178187"/>
                <a:gd name="connsiteX1894" fmla="*/ 1726749 w 3009712"/>
                <a:gd name="connsiteY1894" fmla="*/ 1462759 h 4178187"/>
                <a:gd name="connsiteX1895" fmla="*/ 1727142 w 3009712"/>
                <a:gd name="connsiteY1895" fmla="*/ 1460399 h 4178187"/>
                <a:gd name="connsiteX1896" fmla="*/ 1727535 w 3009712"/>
                <a:gd name="connsiteY1896" fmla="*/ 1457645 h 4178187"/>
                <a:gd name="connsiteX1897" fmla="*/ 1727535 w 3009712"/>
                <a:gd name="connsiteY1897" fmla="*/ 1454497 h 4178187"/>
                <a:gd name="connsiteX1898" fmla="*/ 1727142 w 3009712"/>
                <a:gd name="connsiteY1898" fmla="*/ 1452923 h 4178187"/>
                <a:gd name="connsiteX1899" fmla="*/ 1727142 w 3009712"/>
                <a:gd name="connsiteY1899" fmla="*/ 1452530 h 4178187"/>
                <a:gd name="connsiteX1900" fmla="*/ 1727535 w 3009712"/>
                <a:gd name="connsiteY1900" fmla="*/ 1449776 h 4178187"/>
                <a:gd name="connsiteX1901" fmla="*/ 1726749 w 3009712"/>
                <a:gd name="connsiteY1901" fmla="*/ 1446629 h 4178187"/>
                <a:gd name="connsiteX1902" fmla="*/ 1725175 w 3009712"/>
                <a:gd name="connsiteY1902" fmla="*/ 1443875 h 4178187"/>
                <a:gd name="connsiteX1903" fmla="*/ 1724782 w 3009712"/>
                <a:gd name="connsiteY1903" fmla="*/ 1443875 h 4178187"/>
                <a:gd name="connsiteX1904" fmla="*/ 1723995 w 3009712"/>
                <a:gd name="connsiteY1904" fmla="*/ 1444268 h 4178187"/>
                <a:gd name="connsiteX1905" fmla="*/ 1724388 w 3009712"/>
                <a:gd name="connsiteY1905" fmla="*/ 1443875 h 4178187"/>
                <a:gd name="connsiteX1906" fmla="*/ 1725175 w 3009712"/>
                <a:gd name="connsiteY1906" fmla="*/ 1440727 h 4178187"/>
                <a:gd name="connsiteX1907" fmla="*/ 1724388 w 3009712"/>
                <a:gd name="connsiteY1907" fmla="*/ 1437973 h 4178187"/>
                <a:gd name="connsiteX1908" fmla="*/ 1723995 w 3009712"/>
                <a:gd name="connsiteY1908" fmla="*/ 1434826 h 4178187"/>
                <a:gd name="connsiteX1909" fmla="*/ 1723601 w 3009712"/>
                <a:gd name="connsiteY1909" fmla="*/ 1432072 h 4178187"/>
                <a:gd name="connsiteX1910" fmla="*/ 1723601 w 3009712"/>
                <a:gd name="connsiteY1910" fmla="*/ 1429318 h 4178187"/>
                <a:gd name="connsiteX1911" fmla="*/ 1723208 w 3009712"/>
                <a:gd name="connsiteY1911" fmla="*/ 1426564 h 4178187"/>
                <a:gd name="connsiteX1912" fmla="*/ 1722815 w 3009712"/>
                <a:gd name="connsiteY1912" fmla="*/ 1423416 h 4178187"/>
                <a:gd name="connsiteX1913" fmla="*/ 1722028 w 3009712"/>
                <a:gd name="connsiteY1913" fmla="*/ 1420663 h 4178187"/>
                <a:gd name="connsiteX1914" fmla="*/ 1720847 w 3009712"/>
                <a:gd name="connsiteY1914" fmla="*/ 1415155 h 4178187"/>
                <a:gd name="connsiteX1915" fmla="*/ 1720454 w 3009712"/>
                <a:gd name="connsiteY1915" fmla="*/ 1412007 h 4178187"/>
                <a:gd name="connsiteX1916" fmla="*/ 1719274 w 3009712"/>
                <a:gd name="connsiteY1916" fmla="*/ 1406499 h 4178187"/>
                <a:gd name="connsiteX1917" fmla="*/ 1718880 w 3009712"/>
                <a:gd name="connsiteY1917" fmla="*/ 1404925 h 4178187"/>
                <a:gd name="connsiteX1918" fmla="*/ 1721241 w 3009712"/>
                <a:gd name="connsiteY1918" fmla="*/ 1413581 h 4178187"/>
                <a:gd name="connsiteX1919" fmla="*/ 1721241 w 3009712"/>
                <a:gd name="connsiteY1919" fmla="*/ 1415155 h 4178187"/>
                <a:gd name="connsiteX1920" fmla="*/ 1722815 w 3009712"/>
                <a:gd name="connsiteY1920" fmla="*/ 1420663 h 4178187"/>
                <a:gd name="connsiteX1921" fmla="*/ 1723208 w 3009712"/>
                <a:gd name="connsiteY1921" fmla="*/ 1422236 h 4178187"/>
                <a:gd name="connsiteX1922" fmla="*/ 1721634 w 3009712"/>
                <a:gd name="connsiteY1922" fmla="*/ 1408073 h 4178187"/>
                <a:gd name="connsiteX1923" fmla="*/ 1721634 w 3009712"/>
                <a:gd name="connsiteY1923" fmla="*/ 1407679 h 4178187"/>
                <a:gd name="connsiteX1924" fmla="*/ 1722421 w 3009712"/>
                <a:gd name="connsiteY1924" fmla="*/ 1404925 h 4178187"/>
                <a:gd name="connsiteX1925" fmla="*/ 1724782 w 3009712"/>
                <a:gd name="connsiteY1925" fmla="*/ 1401778 h 4178187"/>
                <a:gd name="connsiteX1926" fmla="*/ 1724388 w 3009712"/>
                <a:gd name="connsiteY1926" fmla="*/ 1399024 h 4178187"/>
                <a:gd name="connsiteX1927" fmla="*/ 1723601 w 3009712"/>
                <a:gd name="connsiteY1927" fmla="*/ 1396270 h 4178187"/>
                <a:gd name="connsiteX1928" fmla="*/ 1722421 w 3009712"/>
                <a:gd name="connsiteY1928" fmla="*/ 1393516 h 4178187"/>
                <a:gd name="connsiteX1929" fmla="*/ 1721241 w 3009712"/>
                <a:gd name="connsiteY1929" fmla="*/ 1390369 h 4178187"/>
                <a:gd name="connsiteX1930" fmla="*/ 1720454 w 3009712"/>
                <a:gd name="connsiteY1930" fmla="*/ 1387615 h 4178187"/>
                <a:gd name="connsiteX1931" fmla="*/ 1719274 w 3009712"/>
                <a:gd name="connsiteY1931" fmla="*/ 1384861 h 4178187"/>
                <a:gd name="connsiteX1932" fmla="*/ 1718880 w 3009712"/>
                <a:gd name="connsiteY1932" fmla="*/ 1382894 h 4178187"/>
                <a:gd name="connsiteX1933" fmla="*/ 1714159 w 3009712"/>
                <a:gd name="connsiteY1933" fmla="*/ 1349846 h 4178187"/>
                <a:gd name="connsiteX1934" fmla="*/ 1714552 w 3009712"/>
                <a:gd name="connsiteY1934" fmla="*/ 1347092 h 4178187"/>
                <a:gd name="connsiteX1935" fmla="*/ 1714552 w 3009712"/>
                <a:gd name="connsiteY1935" fmla="*/ 1346698 h 4178187"/>
                <a:gd name="connsiteX1936" fmla="*/ 1715339 w 3009712"/>
                <a:gd name="connsiteY1936" fmla="*/ 1336863 h 4178187"/>
                <a:gd name="connsiteX1937" fmla="*/ 1714946 w 3009712"/>
                <a:gd name="connsiteY1937" fmla="*/ 1329388 h 4178187"/>
                <a:gd name="connsiteX1938" fmla="*/ 1716126 w 3009712"/>
                <a:gd name="connsiteY1938" fmla="*/ 1328207 h 4178187"/>
                <a:gd name="connsiteX1939" fmla="*/ 1714552 w 3009712"/>
                <a:gd name="connsiteY1939" fmla="*/ 1325847 h 4178187"/>
                <a:gd name="connsiteX1940" fmla="*/ 1716520 w 3009712"/>
                <a:gd name="connsiteY1940" fmla="*/ 1319158 h 4178187"/>
                <a:gd name="connsiteX1941" fmla="*/ 1718093 w 3009712"/>
                <a:gd name="connsiteY1941" fmla="*/ 1316798 h 4178187"/>
                <a:gd name="connsiteX1942" fmla="*/ 1718487 w 3009712"/>
                <a:gd name="connsiteY1942" fmla="*/ 1314044 h 4178187"/>
                <a:gd name="connsiteX1943" fmla="*/ 1720061 w 3009712"/>
                <a:gd name="connsiteY1943" fmla="*/ 1311290 h 4178187"/>
                <a:gd name="connsiteX1944" fmla="*/ 1723208 w 3009712"/>
                <a:gd name="connsiteY1944" fmla="*/ 1309716 h 4178187"/>
                <a:gd name="connsiteX1945" fmla="*/ 1725962 w 3009712"/>
                <a:gd name="connsiteY1945" fmla="*/ 1307356 h 4178187"/>
                <a:gd name="connsiteX1946" fmla="*/ 1723601 w 3009712"/>
                <a:gd name="connsiteY1946" fmla="*/ 1304602 h 4178187"/>
                <a:gd name="connsiteX1947" fmla="*/ 1721241 w 3009712"/>
                <a:gd name="connsiteY1947" fmla="*/ 1303421 h 4178187"/>
                <a:gd name="connsiteX1948" fmla="*/ 1723995 w 3009712"/>
                <a:gd name="connsiteY1948" fmla="*/ 1303815 h 4178187"/>
                <a:gd name="connsiteX1949" fmla="*/ 1726749 w 3009712"/>
                <a:gd name="connsiteY1949" fmla="*/ 1304208 h 4178187"/>
                <a:gd name="connsiteX1950" fmla="*/ 1726355 w 3009712"/>
                <a:gd name="connsiteY1950" fmla="*/ 1302635 h 4178187"/>
                <a:gd name="connsiteX1951" fmla="*/ 1727142 w 3009712"/>
                <a:gd name="connsiteY1951" fmla="*/ 1302635 h 4178187"/>
                <a:gd name="connsiteX1952" fmla="*/ 1729503 w 3009712"/>
                <a:gd name="connsiteY1952" fmla="*/ 1299881 h 4178187"/>
                <a:gd name="connsiteX1953" fmla="*/ 1729503 w 3009712"/>
                <a:gd name="connsiteY1953" fmla="*/ 1299881 h 4178187"/>
                <a:gd name="connsiteX1954" fmla="*/ 1740519 w 3009712"/>
                <a:gd name="connsiteY1954" fmla="*/ 1285717 h 4178187"/>
                <a:gd name="connsiteX1955" fmla="*/ 1741305 w 3009712"/>
                <a:gd name="connsiteY1955" fmla="*/ 1285717 h 4178187"/>
                <a:gd name="connsiteX1956" fmla="*/ 1741699 w 3009712"/>
                <a:gd name="connsiteY1956" fmla="*/ 1284144 h 4178187"/>
                <a:gd name="connsiteX1957" fmla="*/ 1742879 w 3009712"/>
                <a:gd name="connsiteY1957" fmla="*/ 1282570 h 4178187"/>
                <a:gd name="connsiteX1958" fmla="*/ 1744846 w 3009712"/>
                <a:gd name="connsiteY1958" fmla="*/ 1282176 h 4178187"/>
                <a:gd name="connsiteX1959" fmla="*/ 1744059 w 3009712"/>
                <a:gd name="connsiteY1959" fmla="*/ 1280996 h 4178187"/>
                <a:gd name="connsiteX1960" fmla="*/ 1746420 w 3009712"/>
                <a:gd name="connsiteY1960" fmla="*/ 1278242 h 4178187"/>
                <a:gd name="connsiteX1961" fmla="*/ 1748387 w 3009712"/>
                <a:gd name="connsiteY1961" fmla="*/ 1275488 h 4178187"/>
                <a:gd name="connsiteX1962" fmla="*/ 1746813 w 3009712"/>
                <a:gd name="connsiteY1962" fmla="*/ 1278242 h 4178187"/>
                <a:gd name="connsiteX1963" fmla="*/ 1749568 w 3009712"/>
                <a:gd name="connsiteY1963" fmla="*/ 1276668 h 4178187"/>
                <a:gd name="connsiteX1964" fmla="*/ 1751928 w 3009712"/>
                <a:gd name="connsiteY1964" fmla="*/ 1273914 h 4178187"/>
                <a:gd name="connsiteX1965" fmla="*/ 1749568 w 3009712"/>
                <a:gd name="connsiteY1965" fmla="*/ 1271554 h 4178187"/>
                <a:gd name="connsiteX1966" fmla="*/ 1751535 w 3009712"/>
                <a:gd name="connsiteY1966" fmla="*/ 1270767 h 4178187"/>
                <a:gd name="connsiteX1967" fmla="*/ 1752322 w 3009712"/>
                <a:gd name="connsiteY1967" fmla="*/ 1271947 h 4178187"/>
                <a:gd name="connsiteX1968" fmla="*/ 1752715 w 3009712"/>
                <a:gd name="connsiteY1968" fmla="*/ 1270374 h 4178187"/>
                <a:gd name="connsiteX1969" fmla="*/ 1753108 w 3009712"/>
                <a:gd name="connsiteY1969" fmla="*/ 1269980 h 4178187"/>
                <a:gd name="connsiteX1970" fmla="*/ 1753108 w 3009712"/>
                <a:gd name="connsiteY1970" fmla="*/ 1271947 h 4178187"/>
                <a:gd name="connsiteX1971" fmla="*/ 1755862 w 3009712"/>
                <a:gd name="connsiteY1971" fmla="*/ 1272341 h 4178187"/>
                <a:gd name="connsiteX1972" fmla="*/ 1759010 w 3009712"/>
                <a:gd name="connsiteY1972" fmla="*/ 1269980 h 4178187"/>
                <a:gd name="connsiteX1973" fmla="*/ 1756256 w 3009712"/>
                <a:gd name="connsiteY1973" fmla="*/ 1270374 h 4178187"/>
                <a:gd name="connsiteX1974" fmla="*/ 1759010 w 3009712"/>
                <a:gd name="connsiteY1974" fmla="*/ 1268406 h 4178187"/>
                <a:gd name="connsiteX1975" fmla="*/ 1758223 w 3009712"/>
                <a:gd name="connsiteY1975" fmla="*/ 1268013 h 4178187"/>
                <a:gd name="connsiteX1976" fmla="*/ 1774353 w 3009712"/>
                <a:gd name="connsiteY1976" fmla="*/ 1261325 h 4178187"/>
                <a:gd name="connsiteX1977" fmla="*/ 1774747 w 3009712"/>
                <a:gd name="connsiteY1977" fmla="*/ 1260538 h 4178187"/>
                <a:gd name="connsiteX1978" fmla="*/ 1774747 w 3009712"/>
                <a:gd name="connsiteY1978" fmla="*/ 1260145 h 4178187"/>
                <a:gd name="connsiteX1979" fmla="*/ 1777501 w 3009712"/>
                <a:gd name="connsiteY1979" fmla="*/ 1259358 h 4178187"/>
                <a:gd name="connsiteX1980" fmla="*/ 1778681 w 3009712"/>
                <a:gd name="connsiteY1980" fmla="*/ 1256604 h 4178187"/>
                <a:gd name="connsiteX1981" fmla="*/ 1778288 w 3009712"/>
                <a:gd name="connsiteY1981" fmla="*/ 1253850 h 4178187"/>
                <a:gd name="connsiteX1982" fmla="*/ 1778681 w 3009712"/>
                <a:gd name="connsiteY1982" fmla="*/ 1253456 h 4178187"/>
                <a:gd name="connsiteX1983" fmla="*/ 1780255 w 3009712"/>
                <a:gd name="connsiteY1983" fmla="*/ 1256210 h 4178187"/>
                <a:gd name="connsiteX1984" fmla="*/ 1783009 w 3009712"/>
                <a:gd name="connsiteY1984" fmla="*/ 1255423 h 4178187"/>
                <a:gd name="connsiteX1985" fmla="*/ 1786156 w 3009712"/>
                <a:gd name="connsiteY1985" fmla="*/ 1253063 h 4178187"/>
                <a:gd name="connsiteX1986" fmla="*/ 1788910 w 3009712"/>
                <a:gd name="connsiteY1986" fmla="*/ 1251489 h 4178187"/>
                <a:gd name="connsiteX1987" fmla="*/ 1789697 w 3009712"/>
                <a:gd name="connsiteY1987" fmla="*/ 1248735 h 4178187"/>
                <a:gd name="connsiteX1988" fmla="*/ 1792451 w 3009712"/>
                <a:gd name="connsiteY1988" fmla="*/ 1247161 h 4178187"/>
                <a:gd name="connsiteX1989" fmla="*/ 1795205 w 3009712"/>
                <a:gd name="connsiteY1989" fmla="*/ 1247948 h 4178187"/>
                <a:gd name="connsiteX1990" fmla="*/ 1798352 w 3009712"/>
                <a:gd name="connsiteY1990" fmla="*/ 1245194 h 4178187"/>
                <a:gd name="connsiteX1991" fmla="*/ 1798746 w 3009712"/>
                <a:gd name="connsiteY1991" fmla="*/ 1243227 h 4178187"/>
                <a:gd name="connsiteX1992" fmla="*/ 1801500 w 3009712"/>
                <a:gd name="connsiteY1992" fmla="*/ 1242834 h 4178187"/>
                <a:gd name="connsiteX1993" fmla="*/ 1802287 w 3009712"/>
                <a:gd name="connsiteY1993" fmla="*/ 1240473 h 4178187"/>
                <a:gd name="connsiteX1994" fmla="*/ 1803467 w 3009712"/>
                <a:gd name="connsiteY1994" fmla="*/ 1239686 h 4178187"/>
                <a:gd name="connsiteX1995" fmla="*/ 1803860 w 3009712"/>
                <a:gd name="connsiteY1995" fmla="*/ 1240080 h 4178187"/>
                <a:gd name="connsiteX1996" fmla="*/ 1805041 w 3009712"/>
                <a:gd name="connsiteY1996" fmla="*/ 1238113 h 4178187"/>
                <a:gd name="connsiteX1997" fmla="*/ 1825892 w 3009712"/>
                <a:gd name="connsiteY1997" fmla="*/ 1220015 h 4178187"/>
                <a:gd name="connsiteX1998" fmla="*/ 1827073 w 3009712"/>
                <a:gd name="connsiteY1998" fmla="*/ 1219622 h 4178187"/>
                <a:gd name="connsiteX1999" fmla="*/ 1827466 w 3009712"/>
                <a:gd name="connsiteY1999" fmla="*/ 1218441 h 4178187"/>
                <a:gd name="connsiteX2000" fmla="*/ 1827859 w 3009712"/>
                <a:gd name="connsiteY2000" fmla="*/ 1218835 h 4178187"/>
                <a:gd name="connsiteX2001" fmla="*/ 1831007 w 3009712"/>
                <a:gd name="connsiteY2001" fmla="*/ 1218048 h 4178187"/>
                <a:gd name="connsiteX2002" fmla="*/ 1833761 w 3009712"/>
                <a:gd name="connsiteY2002" fmla="*/ 1217655 h 4178187"/>
                <a:gd name="connsiteX2003" fmla="*/ 1836515 w 3009712"/>
                <a:gd name="connsiteY2003" fmla="*/ 1217261 h 4178187"/>
                <a:gd name="connsiteX2004" fmla="*/ 1839269 w 3009712"/>
                <a:gd name="connsiteY2004" fmla="*/ 1217261 h 4178187"/>
                <a:gd name="connsiteX2005" fmla="*/ 1842416 w 3009712"/>
                <a:gd name="connsiteY2005" fmla="*/ 1218048 h 4178187"/>
                <a:gd name="connsiteX2006" fmla="*/ 1845170 w 3009712"/>
                <a:gd name="connsiteY2006" fmla="*/ 1215294 h 4178187"/>
                <a:gd name="connsiteX2007" fmla="*/ 1846744 w 3009712"/>
                <a:gd name="connsiteY2007" fmla="*/ 1212540 h 4178187"/>
                <a:gd name="connsiteX2008" fmla="*/ 1847531 w 3009712"/>
                <a:gd name="connsiteY2008" fmla="*/ 1210573 h 4178187"/>
                <a:gd name="connsiteX2009" fmla="*/ 1847924 w 3009712"/>
                <a:gd name="connsiteY2009" fmla="*/ 1210573 h 4178187"/>
                <a:gd name="connsiteX2010" fmla="*/ 1847924 w 3009712"/>
                <a:gd name="connsiteY2010" fmla="*/ 1212933 h 4178187"/>
                <a:gd name="connsiteX2011" fmla="*/ 1847531 w 3009712"/>
                <a:gd name="connsiteY2011" fmla="*/ 1215687 h 4178187"/>
                <a:gd name="connsiteX2012" fmla="*/ 1849104 w 3009712"/>
                <a:gd name="connsiteY2012" fmla="*/ 1212540 h 4178187"/>
                <a:gd name="connsiteX2013" fmla="*/ 1850285 w 3009712"/>
                <a:gd name="connsiteY2013" fmla="*/ 1209786 h 4178187"/>
                <a:gd name="connsiteX2014" fmla="*/ 1884119 w 3009712"/>
                <a:gd name="connsiteY2014" fmla="*/ 1191295 h 4178187"/>
                <a:gd name="connsiteX2015" fmla="*/ 1885693 w 3009712"/>
                <a:gd name="connsiteY2015" fmla="*/ 1191295 h 4178187"/>
                <a:gd name="connsiteX2016" fmla="*/ 1888447 w 3009712"/>
                <a:gd name="connsiteY2016" fmla="*/ 1191295 h 4178187"/>
                <a:gd name="connsiteX2017" fmla="*/ 1888447 w 3009712"/>
                <a:gd name="connsiteY2017" fmla="*/ 1190902 h 4178187"/>
                <a:gd name="connsiteX2018" fmla="*/ 1885693 w 3009712"/>
                <a:gd name="connsiteY2018" fmla="*/ 1190902 h 4178187"/>
                <a:gd name="connsiteX2019" fmla="*/ 1884513 w 3009712"/>
                <a:gd name="connsiteY2019" fmla="*/ 1190902 h 4178187"/>
                <a:gd name="connsiteX2020" fmla="*/ 1886087 w 3009712"/>
                <a:gd name="connsiteY2020" fmla="*/ 1190115 h 4178187"/>
                <a:gd name="connsiteX2021" fmla="*/ 1888054 w 3009712"/>
                <a:gd name="connsiteY2021" fmla="*/ 1190508 h 4178187"/>
                <a:gd name="connsiteX2022" fmla="*/ 1894348 w 3009712"/>
                <a:gd name="connsiteY2022" fmla="*/ 1188148 h 4178187"/>
                <a:gd name="connsiteX2023" fmla="*/ 1897496 w 3009712"/>
                <a:gd name="connsiteY2023" fmla="*/ 1187361 h 4178187"/>
                <a:gd name="connsiteX2024" fmla="*/ 1900250 w 3009712"/>
                <a:gd name="connsiteY2024" fmla="*/ 1188934 h 4178187"/>
                <a:gd name="connsiteX2025" fmla="*/ 1903004 w 3009712"/>
                <a:gd name="connsiteY2025" fmla="*/ 1186967 h 4178187"/>
                <a:gd name="connsiteX2026" fmla="*/ 1905364 w 3009712"/>
                <a:gd name="connsiteY2026" fmla="*/ 1183820 h 4178187"/>
                <a:gd name="connsiteX2027" fmla="*/ 1908118 w 3009712"/>
                <a:gd name="connsiteY2027" fmla="*/ 1181853 h 4178187"/>
                <a:gd name="connsiteX2028" fmla="*/ 1909692 w 3009712"/>
                <a:gd name="connsiteY2028" fmla="*/ 1179886 h 4178187"/>
                <a:gd name="connsiteX2029" fmla="*/ 1908905 w 3009712"/>
                <a:gd name="connsiteY2029" fmla="*/ 1179886 h 4178187"/>
                <a:gd name="connsiteX2030" fmla="*/ 1906545 w 3009712"/>
                <a:gd name="connsiteY2030" fmla="*/ 1179886 h 4178187"/>
                <a:gd name="connsiteX2031" fmla="*/ 1904971 w 3009712"/>
                <a:gd name="connsiteY2031" fmla="*/ 1179886 h 4178187"/>
                <a:gd name="connsiteX2032" fmla="*/ 1903791 w 3009712"/>
                <a:gd name="connsiteY2032" fmla="*/ 1179886 h 4178187"/>
                <a:gd name="connsiteX2033" fmla="*/ 1903397 w 3009712"/>
                <a:gd name="connsiteY2033" fmla="*/ 1179886 h 4178187"/>
                <a:gd name="connsiteX2034" fmla="*/ 1897889 w 3009712"/>
                <a:gd name="connsiteY2034" fmla="*/ 1179886 h 4178187"/>
                <a:gd name="connsiteX2035" fmla="*/ 1917561 w 3009712"/>
                <a:gd name="connsiteY2035" fmla="*/ 1168083 h 4178187"/>
                <a:gd name="connsiteX2036" fmla="*/ 1920708 w 3009712"/>
                <a:gd name="connsiteY2036" fmla="*/ 1166509 h 4178187"/>
                <a:gd name="connsiteX2037" fmla="*/ 1923068 w 3009712"/>
                <a:gd name="connsiteY2037" fmla="*/ 1163755 h 4178187"/>
                <a:gd name="connsiteX2038" fmla="*/ 1925823 w 3009712"/>
                <a:gd name="connsiteY2038" fmla="*/ 1161395 h 4178187"/>
                <a:gd name="connsiteX2039" fmla="*/ 1927790 w 3009712"/>
                <a:gd name="connsiteY2039" fmla="*/ 1158247 h 4178187"/>
                <a:gd name="connsiteX2040" fmla="*/ 1930937 w 3009712"/>
                <a:gd name="connsiteY2040" fmla="*/ 1159427 h 4178187"/>
                <a:gd name="connsiteX2041" fmla="*/ 1931724 w 3009712"/>
                <a:gd name="connsiteY2041" fmla="*/ 1156280 h 4178187"/>
                <a:gd name="connsiteX2042" fmla="*/ 1933691 w 3009712"/>
                <a:gd name="connsiteY2042" fmla="*/ 1153526 h 4178187"/>
                <a:gd name="connsiteX2043" fmla="*/ 1934084 w 3009712"/>
                <a:gd name="connsiteY2043" fmla="*/ 1150772 h 4178187"/>
                <a:gd name="connsiteX2044" fmla="*/ 1933298 w 3009712"/>
                <a:gd name="connsiteY2044" fmla="*/ 1148018 h 4178187"/>
                <a:gd name="connsiteX2045" fmla="*/ 1930544 w 3009712"/>
                <a:gd name="connsiteY2045" fmla="*/ 1149985 h 4178187"/>
                <a:gd name="connsiteX2046" fmla="*/ 1927790 w 3009712"/>
                <a:gd name="connsiteY2046" fmla="*/ 1149985 h 4178187"/>
                <a:gd name="connsiteX2047" fmla="*/ 1927003 w 3009712"/>
                <a:gd name="connsiteY2047" fmla="*/ 1153133 h 4178187"/>
                <a:gd name="connsiteX2048" fmla="*/ 1925823 w 3009712"/>
                <a:gd name="connsiteY2048" fmla="*/ 1155887 h 4178187"/>
                <a:gd name="connsiteX2049" fmla="*/ 1923068 w 3009712"/>
                <a:gd name="connsiteY2049" fmla="*/ 1157460 h 4178187"/>
                <a:gd name="connsiteX2050" fmla="*/ 1925036 w 3009712"/>
                <a:gd name="connsiteY2050" fmla="*/ 1154313 h 4178187"/>
                <a:gd name="connsiteX2051" fmla="*/ 1925429 w 3009712"/>
                <a:gd name="connsiteY2051" fmla="*/ 1151559 h 4178187"/>
                <a:gd name="connsiteX2052" fmla="*/ 1927396 w 3009712"/>
                <a:gd name="connsiteY2052" fmla="*/ 1148411 h 4178187"/>
                <a:gd name="connsiteX2053" fmla="*/ 1924642 w 3009712"/>
                <a:gd name="connsiteY2053" fmla="*/ 1146051 h 4178187"/>
                <a:gd name="connsiteX2054" fmla="*/ 1921888 w 3009712"/>
                <a:gd name="connsiteY2054" fmla="*/ 1146444 h 4178187"/>
                <a:gd name="connsiteX2055" fmla="*/ 1919134 w 3009712"/>
                <a:gd name="connsiteY2055" fmla="*/ 1148018 h 4178187"/>
                <a:gd name="connsiteX2056" fmla="*/ 1915987 w 3009712"/>
                <a:gd name="connsiteY2056" fmla="*/ 1146838 h 4178187"/>
                <a:gd name="connsiteX2057" fmla="*/ 1912839 w 3009712"/>
                <a:gd name="connsiteY2057" fmla="*/ 1148018 h 4178187"/>
                <a:gd name="connsiteX2058" fmla="*/ 1910085 w 3009712"/>
                <a:gd name="connsiteY2058" fmla="*/ 1148411 h 4178187"/>
                <a:gd name="connsiteX2059" fmla="*/ 1908905 w 3009712"/>
                <a:gd name="connsiteY2059" fmla="*/ 1148018 h 4178187"/>
                <a:gd name="connsiteX2060" fmla="*/ 1914413 w 3009712"/>
                <a:gd name="connsiteY2060" fmla="*/ 1145658 h 4178187"/>
                <a:gd name="connsiteX2061" fmla="*/ 1915200 w 3009712"/>
                <a:gd name="connsiteY2061" fmla="*/ 1145658 h 4178187"/>
                <a:gd name="connsiteX2062" fmla="*/ 1917167 w 3009712"/>
                <a:gd name="connsiteY2062" fmla="*/ 1144477 h 4178187"/>
                <a:gd name="connsiteX2063" fmla="*/ 1920708 w 3009712"/>
                <a:gd name="connsiteY2063" fmla="*/ 1142904 h 4178187"/>
                <a:gd name="connsiteX2064" fmla="*/ 1921888 w 3009712"/>
                <a:gd name="connsiteY2064" fmla="*/ 1141723 h 4178187"/>
                <a:gd name="connsiteX2065" fmla="*/ 1924249 w 3009712"/>
                <a:gd name="connsiteY2065" fmla="*/ 1142510 h 4178187"/>
                <a:gd name="connsiteX2066" fmla="*/ 1923462 w 3009712"/>
                <a:gd name="connsiteY2066" fmla="*/ 1139756 h 4178187"/>
                <a:gd name="connsiteX2067" fmla="*/ 1923462 w 3009712"/>
                <a:gd name="connsiteY2067" fmla="*/ 1139756 h 4178187"/>
                <a:gd name="connsiteX2068" fmla="*/ 1926609 w 3009712"/>
                <a:gd name="connsiteY2068" fmla="*/ 1141723 h 4178187"/>
                <a:gd name="connsiteX2069" fmla="*/ 1929363 w 3009712"/>
                <a:gd name="connsiteY2069" fmla="*/ 1140543 h 4178187"/>
                <a:gd name="connsiteX2070" fmla="*/ 1927790 w 3009712"/>
                <a:gd name="connsiteY2070" fmla="*/ 1137396 h 4178187"/>
                <a:gd name="connsiteX2071" fmla="*/ 1930937 w 3009712"/>
                <a:gd name="connsiteY2071" fmla="*/ 1139756 h 4178187"/>
                <a:gd name="connsiteX2072" fmla="*/ 1933298 w 3009712"/>
                <a:gd name="connsiteY2072" fmla="*/ 1136609 h 4178187"/>
                <a:gd name="connsiteX2073" fmla="*/ 1934871 w 3009712"/>
                <a:gd name="connsiteY2073" fmla="*/ 1139756 h 4178187"/>
                <a:gd name="connsiteX2074" fmla="*/ 1934871 w 3009712"/>
                <a:gd name="connsiteY2074" fmla="*/ 1142510 h 4178187"/>
                <a:gd name="connsiteX2075" fmla="*/ 1936052 w 3009712"/>
                <a:gd name="connsiteY2075" fmla="*/ 1139363 h 4178187"/>
                <a:gd name="connsiteX2076" fmla="*/ 1936052 w 3009712"/>
                <a:gd name="connsiteY2076" fmla="*/ 1136609 h 4178187"/>
                <a:gd name="connsiteX2077" fmla="*/ 1935265 w 3009712"/>
                <a:gd name="connsiteY2077" fmla="*/ 1133855 h 4178187"/>
                <a:gd name="connsiteX2078" fmla="*/ 1934084 w 3009712"/>
                <a:gd name="connsiteY2078" fmla="*/ 1131101 h 4178187"/>
                <a:gd name="connsiteX2079" fmla="*/ 1934084 w 3009712"/>
                <a:gd name="connsiteY2079" fmla="*/ 1127953 h 4178187"/>
                <a:gd name="connsiteX2080" fmla="*/ 1934478 w 3009712"/>
                <a:gd name="connsiteY2080" fmla="*/ 1127560 h 4178187"/>
                <a:gd name="connsiteX2081" fmla="*/ 1934084 w 3009712"/>
                <a:gd name="connsiteY2081" fmla="*/ 1125986 h 4178187"/>
                <a:gd name="connsiteX2082" fmla="*/ 1934478 w 3009712"/>
                <a:gd name="connsiteY2082" fmla="*/ 1127560 h 4178187"/>
                <a:gd name="connsiteX2083" fmla="*/ 1935658 w 3009712"/>
                <a:gd name="connsiteY2083" fmla="*/ 1127560 h 4178187"/>
                <a:gd name="connsiteX2084" fmla="*/ 1936445 w 3009712"/>
                <a:gd name="connsiteY2084" fmla="*/ 1127560 h 4178187"/>
                <a:gd name="connsiteX2085" fmla="*/ 1937232 w 3009712"/>
                <a:gd name="connsiteY2085" fmla="*/ 1127560 h 4178187"/>
                <a:gd name="connsiteX2086" fmla="*/ 1938019 w 3009712"/>
                <a:gd name="connsiteY2086" fmla="*/ 1127560 h 4178187"/>
                <a:gd name="connsiteX2087" fmla="*/ 1937625 w 3009712"/>
                <a:gd name="connsiteY2087" fmla="*/ 1130314 h 4178187"/>
                <a:gd name="connsiteX2088" fmla="*/ 1937625 w 3009712"/>
                <a:gd name="connsiteY2088" fmla="*/ 1133068 h 4178187"/>
                <a:gd name="connsiteX2089" fmla="*/ 1937232 w 3009712"/>
                <a:gd name="connsiteY2089" fmla="*/ 1136215 h 4178187"/>
                <a:gd name="connsiteX2090" fmla="*/ 1938019 w 3009712"/>
                <a:gd name="connsiteY2090" fmla="*/ 1138969 h 4178187"/>
                <a:gd name="connsiteX2091" fmla="*/ 1937625 w 3009712"/>
                <a:gd name="connsiteY2091" fmla="*/ 1141723 h 4178187"/>
                <a:gd name="connsiteX2092" fmla="*/ 1938019 w 3009712"/>
                <a:gd name="connsiteY2092" fmla="*/ 1144871 h 4178187"/>
                <a:gd name="connsiteX2093" fmla="*/ 1938412 w 3009712"/>
                <a:gd name="connsiteY2093" fmla="*/ 1147625 h 4178187"/>
                <a:gd name="connsiteX2094" fmla="*/ 1938806 w 3009712"/>
                <a:gd name="connsiteY2094" fmla="*/ 1150379 h 4178187"/>
                <a:gd name="connsiteX2095" fmla="*/ 1939199 w 3009712"/>
                <a:gd name="connsiteY2095" fmla="*/ 1147625 h 4178187"/>
                <a:gd name="connsiteX2096" fmla="*/ 1938806 w 3009712"/>
                <a:gd name="connsiteY2096" fmla="*/ 1144871 h 4178187"/>
                <a:gd name="connsiteX2097" fmla="*/ 1938019 w 3009712"/>
                <a:gd name="connsiteY2097" fmla="*/ 1142117 h 4178187"/>
                <a:gd name="connsiteX2098" fmla="*/ 1938019 w 3009712"/>
                <a:gd name="connsiteY2098" fmla="*/ 1139363 h 4178187"/>
                <a:gd name="connsiteX2099" fmla="*/ 1937625 w 3009712"/>
                <a:gd name="connsiteY2099" fmla="*/ 1136609 h 4178187"/>
                <a:gd name="connsiteX2100" fmla="*/ 1938019 w 3009712"/>
                <a:gd name="connsiteY2100" fmla="*/ 1133461 h 4178187"/>
                <a:gd name="connsiteX2101" fmla="*/ 1938412 w 3009712"/>
                <a:gd name="connsiteY2101" fmla="*/ 1127953 h 4178187"/>
                <a:gd name="connsiteX2102" fmla="*/ 1938412 w 3009712"/>
                <a:gd name="connsiteY2102" fmla="*/ 1127560 h 4178187"/>
                <a:gd name="connsiteX2103" fmla="*/ 1938412 w 3009712"/>
                <a:gd name="connsiteY2103" fmla="*/ 1124412 h 4178187"/>
                <a:gd name="connsiteX2104" fmla="*/ 1938019 w 3009712"/>
                <a:gd name="connsiteY2104" fmla="*/ 1121659 h 4178187"/>
                <a:gd name="connsiteX2105" fmla="*/ 1938412 w 3009712"/>
                <a:gd name="connsiteY2105" fmla="*/ 1118511 h 4178187"/>
                <a:gd name="connsiteX2106" fmla="*/ 1938412 w 3009712"/>
                <a:gd name="connsiteY2106" fmla="*/ 1115757 h 4178187"/>
                <a:gd name="connsiteX2107" fmla="*/ 1935658 w 3009712"/>
                <a:gd name="connsiteY2107" fmla="*/ 1115364 h 4178187"/>
                <a:gd name="connsiteX2108" fmla="*/ 1932904 w 3009712"/>
                <a:gd name="connsiteY2108" fmla="*/ 1114970 h 4178187"/>
                <a:gd name="connsiteX2109" fmla="*/ 1929757 w 3009712"/>
                <a:gd name="connsiteY2109" fmla="*/ 1113397 h 4178187"/>
                <a:gd name="connsiteX2110" fmla="*/ 1928970 w 3009712"/>
                <a:gd name="connsiteY2110" fmla="*/ 1115364 h 4178187"/>
                <a:gd name="connsiteX2111" fmla="*/ 1928970 w 3009712"/>
                <a:gd name="connsiteY2111" fmla="*/ 1116937 h 4178187"/>
                <a:gd name="connsiteX2112" fmla="*/ 1926216 w 3009712"/>
                <a:gd name="connsiteY2112" fmla="*/ 1114970 h 4178187"/>
                <a:gd name="connsiteX2113" fmla="*/ 1924642 w 3009712"/>
                <a:gd name="connsiteY2113" fmla="*/ 1113790 h 4178187"/>
                <a:gd name="connsiteX2114" fmla="*/ 1923068 w 3009712"/>
                <a:gd name="connsiteY2114" fmla="*/ 1110643 h 4178187"/>
                <a:gd name="connsiteX2115" fmla="*/ 1921888 w 3009712"/>
                <a:gd name="connsiteY2115" fmla="*/ 1107889 h 4178187"/>
                <a:gd name="connsiteX2116" fmla="*/ 1919134 w 3009712"/>
                <a:gd name="connsiteY2116" fmla="*/ 1105528 h 4178187"/>
                <a:gd name="connsiteX2117" fmla="*/ 1915987 w 3009712"/>
                <a:gd name="connsiteY2117" fmla="*/ 1104741 h 4178187"/>
                <a:gd name="connsiteX2118" fmla="*/ 1914020 w 3009712"/>
                <a:gd name="connsiteY2118" fmla="*/ 1101987 h 4178187"/>
                <a:gd name="connsiteX2119" fmla="*/ 1911266 w 3009712"/>
                <a:gd name="connsiteY2119" fmla="*/ 1101987 h 4178187"/>
                <a:gd name="connsiteX2120" fmla="*/ 1909692 w 3009712"/>
                <a:gd name="connsiteY2120" fmla="*/ 1101987 h 4178187"/>
                <a:gd name="connsiteX2121" fmla="*/ 1907725 w 3009712"/>
                <a:gd name="connsiteY2121" fmla="*/ 1100414 h 4178187"/>
                <a:gd name="connsiteX2122" fmla="*/ 1910479 w 3009712"/>
                <a:gd name="connsiteY2122" fmla="*/ 1101200 h 4178187"/>
                <a:gd name="connsiteX2123" fmla="*/ 1911266 w 3009712"/>
                <a:gd name="connsiteY2123" fmla="*/ 1101200 h 4178187"/>
                <a:gd name="connsiteX2124" fmla="*/ 1914413 w 3009712"/>
                <a:gd name="connsiteY2124" fmla="*/ 1101987 h 4178187"/>
                <a:gd name="connsiteX2125" fmla="*/ 1916774 w 3009712"/>
                <a:gd name="connsiteY2125" fmla="*/ 1103561 h 4178187"/>
                <a:gd name="connsiteX2126" fmla="*/ 1919528 w 3009712"/>
                <a:gd name="connsiteY2126" fmla="*/ 1103954 h 4178187"/>
                <a:gd name="connsiteX2127" fmla="*/ 1922282 w 3009712"/>
                <a:gd name="connsiteY2127" fmla="*/ 1104348 h 4178187"/>
                <a:gd name="connsiteX2128" fmla="*/ 1923068 w 3009712"/>
                <a:gd name="connsiteY2128" fmla="*/ 1104348 h 4178187"/>
                <a:gd name="connsiteX2129" fmla="*/ 1923462 w 3009712"/>
                <a:gd name="connsiteY2129" fmla="*/ 1107102 h 4178187"/>
                <a:gd name="connsiteX2130" fmla="*/ 1925823 w 3009712"/>
                <a:gd name="connsiteY2130" fmla="*/ 1109856 h 4178187"/>
                <a:gd name="connsiteX2131" fmla="*/ 1927396 w 3009712"/>
                <a:gd name="connsiteY2131" fmla="*/ 1113003 h 4178187"/>
                <a:gd name="connsiteX2132" fmla="*/ 1930150 w 3009712"/>
                <a:gd name="connsiteY2132" fmla="*/ 1111429 h 4178187"/>
                <a:gd name="connsiteX2133" fmla="*/ 1932511 w 3009712"/>
                <a:gd name="connsiteY2133" fmla="*/ 1108675 h 4178187"/>
                <a:gd name="connsiteX2134" fmla="*/ 1931724 w 3009712"/>
                <a:gd name="connsiteY2134" fmla="*/ 1105921 h 4178187"/>
                <a:gd name="connsiteX2135" fmla="*/ 1928970 w 3009712"/>
                <a:gd name="connsiteY2135" fmla="*/ 1104348 h 4178187"/>
                <a:gd name="connsiteX2136" fmla="*/ 1925823 w 3009712"/>
                <a:gd name="connsiteY2136" fmla="*/ 1101987 h 4178187"/>
                <a:gd name="connsiteX2137" fmla="*/ 1925429 w 3009712"/>
                <a:gd name="connsiteY2137" fmla="*/ 1101200 h 4178187"/>
                <a:gd name="connsiteX2138" fmla="*/ 1926216 w 3009712"/>
                <a:gd name="connsiteY2138" fmla="*/ 1100414 h 4178187"/>
                <a:gd name="connsiteX2139" fmla="*/ 1929363 w 3009712"/>
                <a:gd name="connsiteY2139" fmla="*/ 1102774 h 4178187"/>
                <a:gd name="connsiteX2140" fmla="*/ 1932117 w 3009712"/>
                <a:gd name="connsiteY2140" fmla="*/ 1101987 h 4178187"/>
                <a:gd name="connsiteX2141" fmla="*/ 1930937 w 3009712"/>
                <a:gd name="connsiteY2141" fmla="*/ 1098840 h 4178187"/>
                <a:gd name="connsiteX2142" fmla="*/ 1930937 w 3009712"/>
                <a:gd name="connsiteY2142" fmla="*/ 1098840 h 4178187"/>
                <a:gd name="connsiteX2143" fmla="*/ 1933691 w 3009712"/>
                <a:gd name="connsiteY2143" fmla="*/ 1099233 h 4178187"/>
                <a:gd name="connsiteX2144" fmla="*/ 1936445 w 3009712"/>
                <a:gd name="connsiteY2144" fmla="*/ 1098840 h 4178187"/>
                <a:gd name="connsiteX2145" fmla="*/ 1936838 w 3009712"/>
                <a:gd name="connsiteY2145" fmla="*/ 1097266 h 4178187"/>
                <a:gd name="connsiteX2146" fmla="*/ 1937232 w 3009712"/>
                <a:gd name="connsiteY2146" fmla="*/ 1094512 h 4178187"/>
                <a:gd name="connsiteX2147" fmla="*/ 1935265 w 3009712"/>
                <a:gd name="connsiteY2147" fmla="*/ 1094512 h 4178187"/>
                <a:gd name="connsiteX2148" fmla="*/ 1934084 w 3009712"/>
                <a:gd name="connsiteY2148" fmla="*/ 1092152 h 4178187"/>
                <a:gd name="connsiteX2149" fmla="*/ 1934084 w 3009712"/>
                <a:gd name="connsiteY2149" fmla="*/ 1091365 h 4178187"/>
                <a:gd name="connsiteX2150" fmla="*/ 1933691 w 3009712"/>
                <a:gd name="connsiteY2150" fmla="*/ 1091365 h 4178187"/>
                <a:gd name="connsiteX2151" fmla="*/ 1932511 w 3009712"/>
                <a:gd name="connsiteY2151" fmla="*/ 1089004 h 4178187"/>
                <a:gd name="connsiteX2152" fmla="*/ 1934871 w 3009712"/>
                <a:gd name="connsiteY2152" fmla="*/ 1090578 h 4178187"/>
                <a:gd name="connsiteX2153" fmla="*/ 1937625 w 3009712"/>
                <a:gd name="connsiteY2153" fmla="*/ 1088611 h 4178187"/>
                <a:gd name="connsiteX2154" fmla="*/ 1939199 w 3009712"/>
                <a:gd name="connsiteY2154" fmla="*/ 1085857 h 4178187"/>
                <a:gd name="connsiteX2155" fmla="*/ 1941953 w 3009712"/>
                <a:gd name="connsiteY2155" fmla="*/ 1082709 h 4178187"/>
                <a:gd name="connsiteX2156" fmla="*/ 1941953 w 3009712"/>
                <a:gd name="connsiteY2156" fmla="*/ 1081922 h 4178187"/>
                <a:gd name="connsiteX2157" fmla="*/ 1937232 w 3009712"/>
                <a:gd name="connsiteY2157" fmla="*/ 1078382 h 4178187"/>
                <a:gd name="connsiteX2158" fmla="*/ 1936052 w 3009712"/>
                <a:gd name="connsiteY2158" fmla="*/ 1076808 h 4178187"/>
                <a:gd name="connsiteX2159" fmla="*/ 1934871 w 3009712"/>
                <a:gd name="connsiteY2159" fmla="*/ 1073660 h 4178187"/>
                <a:gd name="connsiteX2160" fmla="*/ 1930150 w 3009712"/>
                <a:gd name="connsiteY2160" fmla="*/ 1073267 h 4178187"/>
                <a:gd name="connsiteX2161" fmla="*/ 1926609 w 3009712"/>
                <a:gd name="connsiteY2161" fmla="*/ 1072480 h 4178187"/>
                <a:gd name="connsiteX2162" fmla="*/ 1926216 w 3009712"/>
                <a:gd name="connsiteY2162" fmla="*/ 1070907 h 4178187"/>
                <a:gd name="connsiteX2163" fmla="*/ 1924642 w 3009712"/>
                <a:gd name="connsiteY2163" fmla="*/ 1068153 h 4178187"/>
                <a:gd name="connsiteX2164" fmla="*/ 1921495 w 3009712"/>
                <a:gd name="connsiteY2164" fmla="*/ 1067366 h 4178187"/>
                <a:gd name="connsiteX2165" fmla="*/ 1919134 w 3009712"/>
                <a:gd name="connsiteY2165" fmla="*/ 1067759 h 4178187"/>
                <a:gd name="connsiteX2166" fmla="*/ 1918347 w 3009712"/>
                <a:gd name="connsiteY2166" fmla="*/ 1065398 h 4178187"/>
                <a:gd name="connsiteX2167" fmla="*/ 1920708 w 3009712"/>
                <a:gd name="connsiteY2167" fmla="*/ 1061071 h 4178187"/>
                <a:gd name="connsiteX2168" fmla="*/ 1924249 w 3009712"/>
                <a:gd name="connsiteY2168" fmla="*/ 1057923 h 4178187"/>
                <a:gd name="connsiteX2169" fmla="*/ 1924642 w 3009712"/>
                <a:gd name="connsiteY2169" fmla="*/ 1057923 h 4178187"/>
                <a:gd name="connsiteX2170" fmla="*/ 1925823 w 3009712"/>
                <a:gd name="connsiteY2170" fmla="*/ 1057137 h 4178187"/>
                <a:gd name="connsiteX2171" fmla="*/ 1926216 w 3009712"/>
                <a:gd name="connsiteY2171" fmla="*/ 1055956 h 4178187"/>
                <a:gd name="connsiteX2172" fmla="*/ 1928970 w 3009712"/>
                <a:gd name="connsiteY2172" fmla="*/ 1054383 h 4178187"/>
                <a:gd name="connsiteX2173" fmla="*/ 1929757 w 3009712"/>
                <a:gd name="connsiteY2173" fmla="*/ 1052022 h 4178187"/>
                <a:gd name="connsiteX2174" fmla="*/ 1930150 w 3009712"/>
                <a:gd name="connsiteY2174" fmla="*/ 1050448 h 4178187"/>
                <a:gd name="connsiteX2175" fmla="*/ 1930150 w 3009712"/>
                <a:gd name="connsiteY2175" fmla="*/ 1048088 h 4178187"/>
                <a:gd name="connsiteX2176" fmla="*/ 1930937 w 3009712"/>
                <a:gd name="connsiteY2176" fmla="*/ 1049268 h 4178187"/>
                <a:gd name="connsiteX2177" fmla="*/ 1930150 w 3009712"/>
                <a:gd name="connsiteY2177" fmla="*/ 1051629 h 4178187"/>
                <a:gd name="connsiteX2178" fmla="*/ 1929363 w 3009712"/>
                <a:gd name="connsiteY2178" fmla="*/ 1054383 h 4178187"/>
                <a:gd name="connsiteX2179" fmla="*/ 1926609 w 3009712"/>
                <a:gd name="connsiteY2179" fmla="*/ 1055956 h 4178187"/>
                <a:gd name="connsiteX2180" fmla="*/ 1923855 w 3009712"/>
                <a:gd name="connsiteY2180" fmla="*/ 1057923 h 4178187"/>
                <a:gd name="connsiteX2181" fmla="*/ 1920708 w 3009712"/>
                <a:gd name="connsiteY2181" fmla="*/ 1061071 h 4178187"/>
                <a:gd name="connsiteX2182" fmla="*/ 1919921 w 3009712"/>
                <a:gd name="connsiteY2182" fmla="*/ 1063825 h 4178187"/>
                <a:gd name="connsiteX2183" fmla="*/ 1922675 w 3009712"/>
                <a:gd name="connsiteY2183" fmla="*/ 1065398 h 4178187"/>
                <a:gd name="connsiteX2184" fmla="*/ 1925429 w 3009712"/>
                <a:gd name="connsiteY2184" fmla="*/ 1063825 h 4178187"/>
                <a:gd name="connsiteX2185" fmla="*/ 1927003 w 3009712"/>
                <a:gd name="connsiteY2185" fmla="*/ 1066579 h 4178187"/>
                <a:gd name="connsiteX2186" fmla="*/ 1929757 w 3009712"/>
                <a:gd name="connsiteY2186" fmla="*/ 1068939 h 4178187"/>
                <a:gd name="connsiteX2187" fmla="*/ 1930150 w 3009712"/>
                <a:gd name="connsiteY2187" fmla="*/ 1066185 h 4178187"/>
                <a:gd name="connsiteX2188" fmla="*/ 1930937 w 3009712"/>
                <a:gd name="connsiteY2188" fmla="*/ 1066185 h 4178187"/>
                <a:gd name="connsiteX2189" fmla="*/ 1930544 w 3009712"/>
                <a:gd name="connsiteY2189" fmla="*/ 1068939 h 4178187"/>
                <a:gd name="connsiteX2190" fmla="*/ 1933298 w 3009712"/>
                <a:gd name="connsiteY2190" fmla="*/ 1070513 h 4178187"/>
                <a:gd name="connsiteX2191" fmla="*/ 1936052 w 3009712"/>
                <a:gd name="connsiteY2191" fmla="*/ 1071693 h 4178187"/>
                <a:gd name="connsiteX2192" fmla="*/ 1938806 w 3009712"/>
                <a:gd name="connsiteY2192" fmla="*/ 1073267 h 4178187"/>
                <a:gd name="connsiteX2193" fmla="*/ 1940379 w 3009712"/>
                <a:gd name="connsiteY2193" fmla="*/ 1076021 h 4178187"/>
                <a:gd name="connsiteX2194" fmla="*/ 1942346 w 3009712"/>
                <a:gd name="connsiteY2194" fmla="*/ 1073267 h 4178187"/>
                <a:gd name="connsiteX2195" fmla="*/ 1941560 w 3009712"/>
                <a:gd name="connsiteY2195" fmla="*/ 1070120 h 4178187"/>
                <a:gd name="connsiteX2196" fmla="*/ 1939592 w 3009712"/>
                <a:gd name="connsiteY2196" fmla="*/ 1067366 h 4178187"/>
                <a:gd name="connsiteX2197" fmla="*/ 1937232 w 3009712"/>
                <a:gd name="connsiteY2197" fmla="*/ 1064218 h 4178187"/>
                <a:gd name="connsiteX2198" fmla="*/ 1936838 w 3009712"/>
                <a:gd name="connsiteY2198" fmla="*/ 1061464 h 4178187"/>
                <a:gd name="connsiteX2199" fmla="*/ 1937625 w 3009712"/>
                <a:gd name="connsiteY2199" fmla="*/ 1058710 h 4178187"/>
                <a:gd name="connsiteX2200" fmla="*/ 1938412 w 3009712"/>
                <a:gd name="connsiteY2200" fmla="*/ 1056350 h 4178187"/>
                <a:gd name="connsiteX2201" fmla="*/ 1937625 w 3009712"/>
                <a:gd name="connsiteY2201" fmla="*/ 1059497 h 4178187"/>
                <a:gd name="connsiteX2202" fmla="*/ 1937232 w 3009712"/>
                <a:gd name="connsiteY2202" fmla="*/ 1062251 h 4178187"/>
                <a:gd name="connsiteX2203" fmla="*/ 1938806 w 3009712"/>
                <a:gd name="connsiteY2203" fmla="*/ 1065005 h 4178187"/>
                <a:gd name="connsiteX2204" fmla="*/ 1941953 w 3009712"/>
                <a:gd name="connsiteY2204" fmla="*/ 1067759 h 4178187"/>
                <a:gd name="connsiteX2205" fmla="*/ 1943527 w 3009712"/>
                <a:gd name="connsiteY2205" fmla="*/ 1064612 h 4178187"/>
                <a:gd name="connsiteX2206" fmla="*/ 1941953 w 3009712"/>
                <a:gd name="connsiteY2206" fmla="*/ 1061858 h 4178187"/>
                <a:gd name="connsiteX2207" fmla="*/ 1942346 w 3009712"/>
                <a:gd name="connsiteY2207" fmla="*/ 1059104 h 4178187"/>
                <a:gd name="connsiteX2208" fmla="*/ 1943133 w 3009712"/>
                <a:gd name="connsiteY2208" fmla="*/ 1056350 h 4178187"/>
                <a:gd name="connsiteX2209" fmla="*/ 1943133 w 3009712"/>
                <a:gd name="connsiteY2209" fmla="*/ 1053202 h 4178187"/>
                <a:gd name="connsiteX2210" fmla="*/ 1944707 w 3009712"/>
                <a:gd name="connsiteY2210" fmla="*/ 1050448 h 4178187"/>
                <a:gd name="connsiteX2211" fmla="*/ 1945101 w 3009712"/>
                <a:gd name="connsiteY2211" fmla="*/ 1047301 h 4178187"/>
                <a:gd name="connsiteX2212" fmla="*/ 1946281 w 3009712"/>
                <a:gd name="connsiteY2212" fmla="*/ 1044940 h 4178187"/>
                <a:gd name="connsiteX2213" fmla="*/ 1946674 w 3009712"/>
                <a:gd name="connsiteY2213" fmla="*/ 1044547 h 4178187"/>
                <a:gd name="connsiteX2214" fmla="*/ 1949821 w 3009712"/>
                <a:gd name="connsiteY2214" fmla="*/ 1045334 h 4178187"/>
                <a:gd name="connsiteX2215" fmla="*/ 1947854 w 3009712"/>
                <a:gd name="connsiteY2215" fmla="*/ 1042580 h 4178187"/>
                <a:gd name="connsiteX2216" fmla="*/ 1948248 w 3009712"/>
                <a:gd name="connsiteY2216" fmla="*/ 1042186 h 4178187"/>
                <a:gd name="connsiteX2217" fmla="*/ 1950608 w 3009712"/>
                <a:gd name="connsiteY2217" fmla="*/ 1041793 h 4178187"/>
                <a:gd name="connsiteX2218" fmla="*/ 1949428 w 3009712"/>
                <a:gd name="connsiteY2218" fmla="*/ 1040219 h 4178187"/>
                <a:gd name="connsiteX2219" fmla="*/ 1953362 w 3009712"/>
                <a:gd name="connsiteY2219" fmla="*/ 1034711 h 4178187"/>
                <a:gd name="connsiteX2220" fmla="*/ 1953756 w 3009712"/>
                <a:gd name="connsiteY2220" fmla="*/ 1034711 h 4178187"/>
                <a:gd name="connsiteX2221" fmla="*/ 1954543 w 3009712"/>
                <a:gd name="connsiteY2221" fmla="*/ 1032744 h 4178187"/>
                <a:gd name="connsiteX2222" fmla="*/ 1956116 w 3009712"/>
                <a:gd name="connsiteY2222" fmla="*/ 1031564 h 4178187"/>
                <a:gd name="connsiteX2223" fmla="*/ 1956510 w 3009712"/>
                <a:gd name="connsiteY2223" fmla="*/ 1034318 h 4178187"/>
                <a:gd name="connsiteX2224" fmla="*/ 1958084 w 3009712"/>
                <a:gd name="connsiteY2224" fmla="*/ 1031564 h 4178187"/>
                <a:gd name="connsiteX2225" fmla="*/ 1958477 w 3009712"/>
                <a:gd name="connsiteY2225" fmla="*/ 1030777 h 4178187"/>
                <a:gd name="connsiteX2226" fmla="*/ 1960051 w 3009712"/>
                <a:gd name="connsiteY2226" fmla="*/ 1029990 h 4178187"/>
                <a:gd name="connsiteX2227" fmla="*/ 1958870 w 3009712"/>
                <a:gd name="connsiteY2227" fmla="*/ 1032744 h 4178187"/>
                <a:gd name="connsiteX2228" fmla="*/ 1961624 w 3009712"/>
                <a:gd name="connsiteY2228" fmla="*/ 1031564 h 4178187"/>
                <a:gd name="connsiteX2229" fmla="*/ 1963198 w 3009712"/>
                <a:gd name="connsiteY2229" fmla="*/ 1028810 h 4178187"/>
                <a:gd name="connsiteX2230" fmla="*/ 1965165 w 3009712"/>
                <a:gd name="connsiteY2230" fmla="*/ 1026449 h 4178187"/>
                <a:gd name="connsiteX2231" fmla="*/ 1967919 w 3009712"/>
                <a:gd name="connsiteY2231" fmla="*/ 1026449 h 4178187"/>
                <a:gd name="connsiteX2232" fmla="*/ 1968706 w 3009712"/>
                <a:gd name="connsiteY2232" fmla="*/ 1026056 h 4178187"/>
                <a:gd name="connsiteX2233" fmla="*/ 1966345 w 3009712"/>
                <a:gd name="connsiteY2233" fmla="*/ 1029203 h 4178187"/>
                <a:gd name="connsiteX2234" fmla="*/ 1967132 w 3009712"/>
                <a:gd name="connsiteY2234" fmla="*/ 1028810 h 4178187"/>
                <a:gd name="connsiteX2235" fmla="*/ 1964378 w 3009712"/>
                <a:gd name="connsiteY2235" fmla="*/ 1033138 h 4178187"/>
                <a:gd name="connsiteX2236" fmla="*/ 1963591 w 3009712"/>
                <a:gd name="connsiteY2236" fmla="*/ 1033138 h 4178187"/>
                <a:gd name="connsiteX2237" fmla="*/ 1960838 w 3009712"/>
                <a:gd name="connsiteY2237" fmla="*/ 1034711 h 4178187"/>
                <a:gd name="connsiteX2238" fmla="*/ 1957690 w 3009712"/>
                <a:gd name="connsiteY2238" fmla="*/ 1037465 h 4178187"/>
                <a:gd name="connsiteX2239" fmla="*/ 1955329 w 3009712"/>
                <a:gd name="connsiteY2239" fmla="*/ 1040613 h 4178187"/>
                <a:gd name="connsiteX2240" fmla="*/ 1955723 w 3009712"/>
                <a:gd name="connsiteY2240" fmla="*/ 1043367 h 4178187"/>
                <a:gd name="connsiteX2241" fmla="*/ 1958477 w 3009712"/>
                <a:gd name="connsiteY2241" fmla="*/ 1041006 h 4178187"/>
                <a:gd name="connsiteX2242" fmla="*/ 1956903 w 3009712"/>
                <a:gd name="connsiteY2242" fmla="*/ 1043760 h 4178187"/>
                <a:gd name="connsiteX2243" fmla="*/ 1956903 w 3009712"/>
                <a:gd name="connsiteY2243" fmla="*/ 1044940 h 4178187"/>
                <a:gd name="connsiteX2244" fmla="*/ 1954149 w 3009712"/>
                <a:gd name="connsiteY2244" fmla="*/ 1046121 h 4178187"/>
                <a:gd name="connsiteX2245" fmla="*/ 1951395 w 3009712"/>
                <a:gd name="connsiteY2245" fmla="*/ 1046514 h 4178187"/>
                <a:gd name="connsiteX2246" fmla="*/ 1949821 w 3009712"/>
                <a:gd name="connsiteY2246" fmla="*/ 1049268 h 4178187"/>
                <a:gd name="connsiteX2247" fmla="*/ 1952575 w 3009712"/>
                <a:gd name="connsiteY2247" fmla="*/ 1048088 h 4178187"/>
                <a:gd name="connsiteX2248" fmla="*/ 1953362 w 3009712"/>
                <a:gd name="connsiteY2248" fmla="*/ 1047694 h 4178187"/>
                <a:gd name="connsiteX2249" fmla="*/ 1954149 w 3009712"/>
                <a:gd name="connsiteY2249" fmla="*/ 1052415 h 4178187"/>
                <a:gd name="connsiteX2250" fmla="*/ 1953756 w 3009712"/>
                <a:gd name="connsiteY2250" fmla="*/ 1052809 h 4178187"/>
                <a:gd name="connsiteX2251" fmla="*/ 1951002 w 3009712"/>
                <a:gd name="connsiteY2251" fmla="*/ 1051629 h 4178187"/>
                <a:gd name="connsiteX2252" fmla="*/ 1948641 w 3009712"/>
                <a:gd name="connsiteY2252" fmla="*/ 1054776 h 4178187"/>
                <a:gd name="connsiteX2253" fmla="*/ 1951395 w 3009712"/>
                <a:gd name="connsiteY2253" fmla="*/ 1053989 h 4178187"/>
                <a:gd name="connsiteX2254" fmla="*/ 1952575 w 3009712"/>
                <a:gd name="connsiteY2254" fmla="*/ 1056743 h 4178187"/>
                <a:gd name="connsiteX2255" fmla="*/ 1954936 w 3009712"/>
                <a:gd name="connsiteY2255" fmla="*/ 1058710 h 4178187"/>
                <a:gd name="connsiteX2256" fmla="*/ 1954936 w 3009712"/>
                <a:gd name="connsiteY2256" fmla="*/ 1059891 h 4178187"/>
                <a:gd name="connsiteX2257" fmla="*/ 1952182 w 3009712"/>
                <a:gd name="connsiteY2257" fmla="*/ 1058710 h 4178187"/>
                <a:gd name="connsiteX2258" fmla="*/ 1949428 w 3009712"/>
                <a:gd name="connsiteY2258" fmla="*/ 1058317 h 4178187"/>
                <a:gd name="connsiteX2259" fmla="*/ 1950608 w 3009712"/>
                <a:gd name="connsiteY2259" fmla="*/ 1061071 h 4178187"/>
                <a:gd name="connsiteX2260" fmla="*/ 1947461 w 3009712"/>
                <a:gd name="connsiteY2260" fmla="*/ 1063431 h 4178187"/>
                <a:gd name="connsiteX2261" fmla="*/ 1946674 w 3009712"/>
                <a:gd name="connsiteY2261" fmla="*/ 1066185 h 4178187"/>
                <a:gd name="connsiteX2262" fmla="*/ 1949428 w 3009712"/>
                <a:gd name="connsiteY2262" fmla="*/ 1068153 h 4178187"/>
                <a:gd name="connsiteX2263" fmla="*/ 1951002 w 3009712"/>
                <a:gd name="connsiteY2263" fmla="*/ 1071300 h 4178187"/>
                <a:gd name="connsiteX2264" fmla="*/ 1952182 w 3009712"/>
                <a:gd name="connsiteY2264" fmla="*/ 1068153 h 4178187"/>
                <a:gd name="connsiteX2265" fmla="*/ 1953756 w 3009712"/>
                <a:gd name="connsiteY2265" fmla="*/ 1069726 h 4178187"/>
                <a:gd name="connsiteX2266" fmla="*/ 1954543 w 3009712"/>
                <a:gd name="connsiteY2266" fmla="*/ 1071300 h 4178187"/>
                <a:gd name="connsiteX2267" fmla="*/ 1953362 w 3009712"/>
                <a:gd name="connsiteY2267" fmla="*/ 1072874 h 4178187"/>
                <a:gd name="connsiteX2268" fmla="*/ 1955723 w 3009712"/>
                <a:gd name="connsiteY2268" fmla="*/ 1073660 h 4178187"/>
                <a:gd name="connsiteX2269" fmla="*/ 1956903 w 3009712"/>
                <a:gd name="connsiteY2269" fmla="*/ 1075628 h 4178187"/>
                <a:gd name="connsiteX2270" fmla="*/ 1956903 w 3009712"/>
                <a:gd name="connsiteY2270" fmla="*/ 1076808 h 4178187"/>
                <a:gd name="connsiteX2271" fmla="*/ 1954149 w 3009712"/>
                <a:gd name="connsiteY2271" fmla="*/ 1078382 h 4178187"/>
                <a:gd name="connsiteX2272" fmla="*/ 1952575 w 3009712"/>
                <a:gd name="connsiteY2272" fmla="*/ 1081136 h 4178187"/>
                <a:gd name="connsiteX2273" fmla="*/ 1955723 w 3009712"/>
                <a:gd name="connsiteY2273" fmla="*/ 1079562 h 4178187"/>
                <a:gd name="connsiteX2274" fmla="*/ 1958477 w 3009712"/>
                <a:gd name="connsiteY2274" fmla="*/ 1079562 h 4178187"/>
                <a:gd name="connsiteX2275" fmla="*/ 1958870 w 3009712"/>
                <a:gd name="connsiteY2275" fmla="*/ 1079955 h 4178187"/>
                <a:gd name="connsiteX2276" fmla="*/ 1956116 w 3009712"/>
                <a:gd name="connsiteY2276" fmla="*/ 1081529 h 4178187"/>
                <a:gd name="connsiteX2277" fmla="*/ 1956116 w 3009712"/>
                <a:gd name="connsiteY2277" fmla="*/ 1084283 h 4178187"/>
                <a:gd name="connsiteX2278" fmla="*/ 1953362 w 3009712"/>
                <a:gd name="connsiteY2278" fmla="*/ 1085463 h 4178187"/>
                <a:gd name="connsiteX2279" fmla="*/ 1952575 w 3009712"/>
                <a:gd name="connsiteY2279" fmla="*/ 1088217 h 4178187"/>
                <a:gd name="connsiteX2280" fmla="*/ 1949821 w 3009712"/>
                <a:gd name="connsiteY2280" fmla="*/ 1089791 h 4178187"/>
                <a:gd name="connsiteX2281" fmla="*/ 1947068 w 3009712"/>
                <a:gd name="connsiteY2281" fmla="*/ 1092938 h 4178187"/>
                <a:gd name="connsiteX2282" fmla="*/ 1945494 w 3009712"/>
                <a:gd name="connsiteY2282" fmla="*/ 1095692 h 4178187"/>
                <a:gd name="connsiteX2283" fmla="*/ 1944314 w 3009712"/>
                <a:gd name="connsiteY2283" fmla="*/ 1098840 h 4178187"/>
                <a:gd name="connsiteX2284" fmla="*/ 1942346 w 3009712"/>
                <a:gd name="connsiteY2284" fmla="*/ 1101594 h 4178187"/>
                <a:gd name="connsiteX2285" fmla="*/ 1941560 w 3009712"/>
                <a:gd name="connsiteY2285" fmla="*/ 1104348 h 4178187"/>
                <a:gd name="connsiteX2286" fmla="*/ 1941953 w 3009712"/>
                <a:gd name="connsiteY2286" fmla="*/ 1106708 h 4178187"/>
                <a:gd name="connsiteX2287" fmla="*/ 1944707 w 3009712"/>
                <a:gd name="connsiteY2287" fmla="*/ 1106315 h 4178187"/>
                <a:gd name="connsiteX2288" fmla="*/ 1945887 w 3009712"/>
                <a:gd name="connsiteY2288" fmla="*/ 1103561 h 4178187"/>
                <a:gd name="connsiteX2289" fmla="*/ 1947068 w 3009712"/>
                <a:gd name="connsiteY2289" fmla="*/ 1101200 h 4178187"/>
                <a:gd name="connsiteX2290" fmla="*/ 1951395 w 3009712"/>
                <a:gd name="connsiteY2290" fmla="*/ 1096086 h 4178187"/>
                <a:gd name="connsiteX2291" fmla="*/ 1952182 w 3009712"/>
                <a:gd name="connsiteY2291" fmla="*/ 1095692 h 4178187"/>
                <a:gd name="connsiteX2292" fmla="*/ 1954936 w 3009712"/>
                <a:gd name="connsiteY2292" fmla="*/ 1094905 h 4178187"/>
                <a:gd name="connsiteX2293" fmla="*/ 1956903 w 3009712"/>
                <a:gd name="connsiteY2293" fmla="*/ 1091758 h 4178187"/>
                <a:gd name="connsiteX2294" fmla="*/ 1958870 w 3009712"/>
                <a:gd name="connsiteY2294" fmla="*/ 1089004 h 4178187"/>
                <a:gd name="connsiteX2295" fmla="*/ 1961231 w 3009712"/>
                <a:gd name="connsiteY2295" fmla="*/ 1085857 h 4178187"/>
                <a:gd name="connsiteX2296" fmla="*/ 1963985 w 3009712"/>
                <a:gd name="connsiteY2296" fmla="*/ 1083103 h 4178187"/>
                <a:gd name="connsiteX2297" fmla="*/ 1965558 w 3009712"/>
                <a:gd name="connsiteY2297" fmla="*/ 1080349 h 4178187"/>
                <a:gd name="connsiteX2298" fmla="*/ 1967919 w 3009712"/>
                <a:gd name="connsiteY2298" fmla="*/ 1077595 h 4178187"/>
                <a:gd name="connsiteX2299" fmla="*/ 1971853 w 3009712"/>
                <a:gd name="connsiteY2299" fmla="*/ 1073267 h 4178187"/>
                <a:gd name="connsiteX2300" fmla="*/ 1973034 w 3009712"/>
                <a:gd name="connsiteY2300" fmla="*/ 1072480 h 4178187"/>
                <a:gd name="connsiteX2301" fmla="*/ 1975788 w 3009712"/>
                <a:gd name="connsiteY2301" fmla="*/ 1069726 h 4178187"/>
                <a:gd name="connsiteX2302" fmla="*/ 1978542 w 3009712"/>
                <a:gd name="connsiteY2302" fmla="*/ 1068153 h 4178187"/>
                <a:gd name="connsiteX2303" fmla="*/ 1978935 w 3009712"/>
                <a:gd name="connsiteY2303" fmla="*/ 1065398 h 4178187"/>
                <a:gd name="connsiteX2304" fmla="*/ 1980509 w 3009712"/>
                <a:gd name="connsiteY2304" fmla="*/ 1063431 h 4178187"/>
                <a:gd name="connsiteX2305" fmla="*/ 1980902 w 3009712"/>
                <a:gd name="connsiteY2305" fmla="*/ 1063431 h 4178187"/>
                <a:gd name="connsiteX2306" fmla="*/ 1979722 w 3009712"/>
                <a:gd name="connsiteY2306" fmla="*/ 1066185 h 4178187"/>
                <a:gd name="connsiteX2307" fmla="*/ 1981296 w 3009712"/>
                <a:gd name="connsiteY2307" fmla="*/ 1063431 h 4178187"/>
                <a:gd name="connsiteX2308" fmla="*/ 1981689 w 3009712"/>
                <a:gd name="connsiteY2308" fmla="*/ 1060677 h 4178187"/>
                <a:gd name="connsiteX2309" fmla="*/ 1980902 w 3009712"/>
                <a:gd name="connsiteY2309" fmla="*/ 1060284 h 4178187"/>
                <a:gd name="connsiteX2310" fmla="*/ 1980902 w 3009712"/>
                <a:gd name="connsiteY2310" fmla="*/ 1057923 h 4178187"/>
                <a:gd name="connsiteX2311" fmla="*/ 1982082 w 3009712"/>
                <a:gd name="connsiteY2311" fmla="*/ 1057137 h 4178187"/>
                <a:gd name="connsiteX2312" fmla="*/ 1980902 w 3009712"/>
                <a:gd name="connsiteY2312" fmla="*/ 1056743 h 4178187"/>
                <a:gd name="connsiteX2313" fmla="*/ 1983656 w 3009712"/>
                <a:gd name="connsiteY2313" fmla="*/ 1053989 h 4178187"/>
                <a:gd name="connsiteX2314" fmla="*/ 1981689 w 3009712"/>
                <a:gd name="connsiteY2314" fmla="*/ 1051235 h 4178187"/>
                <a:gd name="connsiteX2315" fmla="*/ 1981689 w 3009712"/>
                <a:gd name="connsiteY2315" fmla="*/ 1051235 h 4178187"/>
                <a:gd name="connsiteX2316" fmla="*/ 1984050 w 3009712"/>
                <a:gd name="connsiteY2316" fmla="*/ 1034711 h 4178187"/>
                <a:gd name="connsiteX2317" fmla="*/ 1985623 w 3009712"/>
                <a:gd name="connsiteY2317" fmla="*/ 1036285 h 4178187"/>
                <a:gd name="connsiteX2318" fmla="*/ 1986410 w 3009712"/>
                <a:gd name="connsiteY2318" fmla="*/ 1036678 h 4178187"/>
                <a:gd name="connsiteX2319" fmla="*/ 1991525 w 3009712"/>
                <a:gd name="connsiteY2319" fmla="*/ 1043367 h 4178187"/>
                <a:gd name="connsiteX2320" fmla="*/ 1990345 w 3009712"/>
                <a:gd name="connsiteY2320" fmla="*/ 1044547 h 4178187"/>
                <a:gd name="connsiteX2321" fmla="*/ 1988771 w 3009712"/>
                <a:gd name="connsiteY2321" fmla="*/ 1047301 h 4178187"/>
                <a:gd name="connsiteX2322" fmla="*/ 1991525 w 3009712"/>
                <a:gd name="connsiteY2322" fmla="*/ 1046907 h 4178187"/>
                <a:gd name="connsiteX2323" fmla="*/ 1993098 w 3009712"/>
                <a:gd name="connsiteY2323" fmla="*/ 1046121 h 4178187"/>
                <a:gd name="connsiteX2324" fmla="*/ 1995852 w 3009712"/>
                <a:gd name="connsiteY2324" fmla="*/ 1043760 h 4178187"/>
                <a:gd name="connsiteX2325" fmla="*/ 1997033 w 3009712"/>
                <a:gd name="connsiteY2325" fmla="*/ 1042186 h 4178187"/>
                <a:gd name="connsiteX2326" fmla="*/ 2004901 w 3009712"/>
                <a:gd name="connsiteY2326" fmla="*/ 1034711 h 4178187"/>
                <a:gd name="connsiteX2327" fmla="*/ 2007262 w 3009712"/>
                <a:gd name="connsiteY2327" fmla="*/ 1033924 h 4178187"/>
                <a:gd name="connsiteX2328" fmla="*/ 2008049 w 3009712"/>
                <a:gd name="connsiteY2328" fmla="*/ 1031564 h 4178187"/>
                <a:gd name="connsiteX2329" fmla="*/ 2011983 w 3009712"/>
                <a:gd name="connsiteY2329" fmla="*/ 1028023 h 4178187"/>
                <a:gd name="connsiteX2330" fmla="*/ 2013557 w 3009712"/>
                <a:gd name="connsiteY2330" fmla="*/ 1028023 h 4178187"/>
                <a:gd name="connsiteX2331" fmla="*/ 2014737 w 3009712"/>
                <a:gd name="connsiteY2331" fmla="*/ 1025269 h 4178187"/>
                <a:gd name="connsiteX2332" fmla="*/ 2015130 w 3009712"/>
                <a:gd name="connsiteY2332" fmla="*/ 1024876 h 4178187"/>
                <a:gd name="connsiteX2333" fmla="*/ 2017884 w 3009712"/>
                <a:gd name="connsiteY2333" fmla="*/ 1023302 h 4178187"/>
                <a:gd name="connsiteX2334" fmla="*/ 2019458 w 3009712"/>
                <a:gd name="connsiteY2334" fmla="*/ 1020548 h 4178187"/>
                <a:gd name="connsiteX2335" fmla="*/ 2021032 w 3009712"/>
                <a:gd name="connsiteY2335" fmla="*/ 1017401 h 4178187"/>
                <a:gd name="connsiteX2336" fmla="*/ 2023392 w 3009712"/>
                <a:gd name="connsiteY2336" fmla="*/ 1014646 h 4178187"/>
                <a:gd name="connsiteX2337" fmla="*/ 2023786 w 3009712"/>
                <a:gd name="connsiteY2337" fmla="*/ 1013466 h 4178187"/>
                <a:gd name="connsiteX2338" fmla="*/ 2024966 w 3009712"/>
                <a:gd name="connsiteY2338" fmla="*/ 1011893 h 4178187"/>
                <a:gd name="connsiteX2339" fmla="*/ 2026146 w 3009712"/>
                <a:gd name="connsiteY2339" fmla="*/ 1011893 h 4178187"/>
                <a:gd name="connsiteX2340" fmla="*/ 2023392 w 3009712"/>
                <a:gd name="connsiteY2340" fmla="*/ 1017401 h 4178187"/>
                <a:gd name="connsiteX2341" fmla="*/ 2026933 w 3009712"/>
                <a:gd name="connsiteY2341" fmla="*/ 1011893 h 4178187"/>
                <a:gd name="connsiteX2342" fmla="*/ 2027720 w 3009712"/>
                <a:gd name="connsiteY2342" fmla="*/ 1009139 h 4178187"/>
                <a:gd name="connsiteX2343" fmla="*/ 2029687 w 3009712"/>
                <a:gd name="connsiteY2343" fmla="*/ 1005991 h 4178187"/>
                <a:gd name="connsiteX2344" fmla="*/ 2031261 w 3009712"/>
                <a:gd name="connsiteY2344" fmla="*/ 1003237 h 4178187"/>
                <a:gd name="connsiteX2345" fmla="*/ 2032835 w 3009712"/>
                <a:gd name="connsiteY2345" fmla="*/ 1000483 h 4178187"/>
                <a:gd name="connsiteX2346" fmla="*/ 2033621 w 3009712"/>
                <a:gd name="connsiteY2346" fmla="*/ 997729 h 4178187"/>
                <a:gd name="connsiteX2347" fmla="*/ 2030867 w 3009712"/>
                <a:gd name="connsiteY2347" fmla="*/ 997336 h 4178187"/>
                <a:gd name="connsiteX2348" fmla="*/ 2027720 w 3009712"/>
                <a:gd name="connsiteY2348" fmla="*/ 996942 h 4178187"/>
                <a:gd name="connsiteX2349" fmla="*/ 2026540 w 3009712"/>
                <a:gd name="connsiteY2349" fmla="*/ 994582 h 4178187"/>
                <a:gd name="connsiteX2350" fmla="*/ 2032048 w 3009712"/>
                <a:gd name="connsiteY2350" fmla="*/ 987894 h 4178187"/>
                <a:gd name="connsiteX2351" fmla="*/ 2032441 w 3009712"/>
                <a:gd name="connsiteY2351" fmla="*/ 988287 h 4178187"/>
                <a:gd name="connsiteX2352" fmla="*/ 2035195 w 3009712"/>
                <a:gd name="connsiteY2352" fmla="*/ 987107 h 4178187"/>
                <a:gd name="connsiteX2353" fmla="*/ 2035982 w 3009712"/>
                <a:gd name="connsiteY2353" fmla="*/ 985533 h 4178187"/>
                <a:gd name="connsiteX2354" fmla="*/ 2036769 w 3009712"/>
                <a:gd name="connsiteY2354" fmla="*/ 984746 h 4178187"/>
                <a:gd name="connsiteX2355" fmla="*/ 2036375 w 3009712"/>
                <a:gd name="connsiteY2355" fmla="*/ 985926 h 4178187"/>
                <a:gd name="connsiteX2356" fmla="*/ 2039523 w 3009712"/>
                <a:gd name="connsiteY2356" fmla="*/ 984353 h 4178187"/>
                <a:gd name="connsiteX2357" fmla="*/ 2042277 w 3009712"/>
                <a:gd name="connsiteY2357" fmla="*/ 983959 h 4178187"/>
                <a:gd name="connsiteX2358" fmla="*/ 2044637 w 3009712"/>
                <a:gd name="connsiteY2358" fmla="*/ 980812 h 4178187"/>
                <a:gd name="connsiteX2359" fmla="*/ 2047785 w 3009712"/>
                <a:gd name="connsiteY2359" fmla="*/ 979238 h 4178187"/>
                <a:gd name="connsiteX2360" fmla="*/ 2049359 w 3009712"/>
                <a:gd name="connsiteY2360" fmla="*/ 977664 h 4178187"/>
                <a:gd name="connsiteX2361" fmla="*/ 2084373 w 3009712"/>
                <a:gd name="connsiteY2361" fmla="*/ 968616 h 4178187"/>
                <a:gd name="connsiteX2362" fmla="*/ 2084767 w 3009712"/>
                <a:gd name="connsiteY2362" fmla="*/ 968616 h 4178187"/>
                <a:gd name="connsiteX2363" fmla="*/ 2087521 w 3009712"/>
                <a:gd name="connsiteY2363" fmla="*/ 968616 h 4178187"/>
                <a:gd name="connsiteX2364" fmla="*/ 2088701 w 3009712"/>
                <a:gd name="connsiteY2364" fmla="*/ 967435 h 4178187"/>
                <a:gd name="connsiteX2365" fmla="*/ 2089094 w 3009712"/>
                <a:gd name="connsiteY2365" fmla="*/ 965468 h 4178187"/>
                <a:gd name="connsiteX2366" fmla="*/ 2089094 w 3009712"/>
                <a:gd name="connsiteY2366" fmla="*/ 967435 h 4178187"/>
                <a:gd name="connsiteX2367" fmla="*/ 2091849 w 3009712"/>
                <a:gd name="connsiteY2367" fmla="*/ 967435 h 4178187"/>
                <a:gd name="connsiteX2368" fmla="*/ 2093816 w 3009712"/>
                <a:gd name="connsiteY2368" fmla="*/ 967435 h 4178187"/>
                <a:gd name="connsiteX2369" fmla="*/ 2102864 w 3009712"/>
                <a:gd name="connsiteY2369" fmla="*/ 967042 h 4178187"/>
                <a:gd name="connsiteX2370" fmla="*/ 2105619 w 3009712"/>
                <a:gd name="connsiteY2370" fmla="*/ 966649 h 4178187"/>
                <a:gd name="connsiteX2371" fmla="*/ 2108373 w 3009712"/>
                <a:gd name="connsiteY2371" fmla="*/ 966255 h 4178187"/>
                <a:gd name="connsiteX2372" fmla="*/ 2111520 w 3009712"/>
                <a:gd name="connsiteY2372" fmla="*/ 965468 h 4178187"/>
                <a:gd name="connsiteX2373" fmla="*/ 2114274 w 3009712"/>
                <a:gd name="connsiteY2373" fmla="*/ 964681 h 4178187"/>
                <a:gd name="connsiteX2374" fmla="*/ 2116634 w 3009712"/>
                <a:gd name="connsiteY2374" fmla="*/ 961534 h 4178187"/>
                <a:gd name="connsiteX2375" fmla="*/ 2117028 w 3009712"/>
                <a:gd name="connsiteY2375" fmla="*/ 958780 h 4178187"/>
                <a:gd name="connsiteX2376" fmla="*/ 2124110 w 3009712"/>
                <a:gd name="connsiteY2376" fmla="*/ 954452 h 4178187"/>
                <a:gd name="connsiteX2377" fmla="*/ 2124503 w 3009712"/>
                <a:gd name="connsiteY2377" fmla="*/ 955633 h 4178187"/>
                <a:gd name="connsiteX2378" fmla="*/ 2123323 w 3009712"/>
                <a:gd name="connsiteY2378" fmla="*/ 958780 h 4178187"/>
                <a:gd name="connsiteX2379" fmla="*/ 2122142 w 3009712"/>
                <a:gd name="connsiteY2379" fmla="*/ 961534 h 4178187"/>
                <a:gd name="connsiteX2380" fmla="*/ 2124503 w 3009712"/>
                <a:gd name="connsiteY2380" fmla="*/ 961140 h 4178187"/>
                <a:gd name="connsiteX2381" fmla="*/ 2127257 w 3009712"/>
                <a:gd name="connsiteY2381" fmla="*/ 961140 h 4178187"/>
                <a:gd name="connsiteX2382" fmla="*/ 2130011 w 3009712"/>
                <a:gd name="connsiteY2382" fmla="*/ 959960 h 4178187"/>
                <a:gd name="connsiteX2383" fmla="*/ 2131585 w 3009712"/>
                <a:gd name="connsiteY2383" fmla="*/ 957993 h 4178187"/>
                <a:gd name="connsiteX2384" fmla="*/ 2133552 w 3009712"/>
                <a:gd name="connsiteY2384" fmla="*/ 957206 h 4178187"/>
                <a:gd name="connsiteX2385" fmla="*/ 2134732 w 3009712"/>
                <a:gd name="connsiteY2385" fmla="*/ 957206 h 4178187"/>
                <a:gd name="connsiteX2386" fmla="*/ 2137486 w 3009712"/>
                <a:gd name="connsiteY2386" fmla="*/ 955633 h 4178187"/>
                <a:gd name="connsiteX2387" fmla="*/ 2140633 w 3009712"/>
                <a:gd name="connsiteY2387" fmla="*/ 954059 h 4178187"/>
                <a:gd name="connsiteX2388" fmla="*/ 2139060 w 3009712"/>
                <a:gd name="connsiteY2388" fmla="*/ 956813 h 4178187"/>
                <a:gd name="connsiteX2389" fmla="*/ 2137486 w 3009712"/>
                <a:gd name="connsiteY2389" fmla="*/ 959960 h 4178187"/>
                <a:gd name="connsiteX2390" fmla="*/ 2140240 w 3009712"/>
                <a:gd name="connsiteY2390" fmla="*/ 959960 h 4178187"/>
                <a:gd name="connsiteX2391" fmla="*/ 2143387 w 3009712"/>
                <a:gd name="connsiteY2391" fmla="*/ 958780 h 4178187"/>
                <a:gd name="connsiteX2392" fmla="*/ 2146141 w 3009712"/>
                <a:gd name="connsiteY2392" fmla="*/ 957206 h 4178187"/>
                <a:gd name="connsiteX2393" fmla="*/ 2149289 w 3009712"/>
                <a:gd name="connsiteY2393" fmla="*/ 956813 h 4178187"/>
                <a:gd name="connsiteX2394" fmla="*/ 2152043 w 3009712"/>
                <a:gd name="connsiteY2394" fmla="*/ 956419 h 4178187"/>
                <a:gd name="connsiteX2395" fmla="*/ 2155190 w 3009712"/>
                <a:gd name="connsiteY2395" fmla="*/ 956026 h 4178187"/>
                <a:gd name="connsiteX2396" fmla="*/ 2156764 w 3009712"/>
                <a:gd name="connsiteY2396" fmla="*/ 956026 h 4178187"/>
                <a:gd name="connsiteX2397" fmla="*/ 2159518 w 3009712"/>
                <a:gd name="connsiteY2397" fmla="*/ 953665 h 4178187"/>
                <a:gd name="connsiteX2398" fmla="*/ 2159124 w 3009712"/>
                <a:gd name="connsiteY2398" fmla="*/ 950911 h 4178187"/>
                <a:gd name="connsiteX2399" fmla="*/ 2160698 w 3009712"/>
                <a:gd name="connsiteY2399" fmla="*/ 948157 h 4178187"/>
                <a:gd name="connsiteX2400" fmla="*/ 2160305 w 3009712"/>
                <a:gd name="connsiteY2400" fmla="*/ 945797 h 4178187"/>
                <a:gd name="connsiteX2401" fmla="*/ 2158731 w 3009712"/>
                <a:gd name="connsiteY2401" fmla="*/ 943043 h 4178187"/>
                <a:gd name="connsiteX2402" fmla="*/ 2155977 w 3009712"/>
                <a:gd name="connsiteY2402" fmla="*/ 942650 h 4178187"/>
                <a:gd name="connsiteX2403" fmla="*/ 2158731 w 3009712"/>
                <a:gd name="connsiteY2403" fmla="*/ 945403 h 4178187"/>
                <a:gd name="connsiteX2404" fmla="*/ 2157944 w 3009712"/>
                <a:gd name="connsiteY2404" fmla="*/ 948157 h 4178187"/>
                <a:gd name="connsiteX2405" fmla="*/ 2159911 w 3009712"/>
                <a:gd name="connsiteY2405" fmla="*/ 948157 h 4178187"/>
                <a:gd name="connsiteX2406" fmla="*/ 2158731 w 3009712"/>
                <a:gd name="connsiteY2406" fmla="*/ 951698 h 4178187"/>
                <a:gd name="connsiteX2407" fmla="*/ 2144961 w 3009712"/>
                <a:gd name="connsiteY2407" fmla="*/ 952485 h 4178187"/>
                <a:gd name="connsiteX2408" fmla="*/ 2145354 w 3009712"/>
                <a:gd name="connsiteY2408" fmla="*/ 949338 h 4178187"/>
                <a:gd name="connsiteX2409" fmla="*/ 2143781 w 3009712"/>
                <a:gd name="connsiteY2409" fmla="*/ 946977 h 4178187"/>
                <a:gd name="connsiteX2410" fmla="*/ 2143387 w 3009712"/>
                <a:gd name="connsiteY2410" fmla="*/ 945797 h 4178187"/>
                <a:gd name="connsiteX2411" fmla="*/ 2143387 w 3009712"/>
                <a:gd name="connsiteY2411" fmla="*/ 943830 h 4178187"/>
                <a:gd name="connsiteX2412" fmla="*/ 2143781 w 3009712"/>
                <a:gd name="connsiteY2412" fmla="*/ 941076 h 4178187"/>
                <a:gd name="connsiteX2413" fmla="*/ 2143387 w 3009712"/>
                <a:gd name="connsiteY2413" fmla="*/ 938322 h 4178187"/>
                <a:gd name="connsiteX2414" fmla="*/ 2141027 w 3009712"/>
                <a:gd name="connsiteY2414" fmla="*/ 936355 h 4178187"/>
                <a:gd name="connsiteX2415" fmla="*/ 2144174 w 3009712"/>
                <a:gd name="connsiteY2415" fmla="*/ 927699 h 4178187"/>
                <a:gd name="connsiteX2416" fmla="*/ 2144568 w 3009712"/>
                <a:gd name="connsiteY2416" fmla="*/ 927306 h 4178187"/>
                <a:gd name="connsiteX2417" fmla="*/ 2147322 w 3009712"/>
                <a:gd name="connsiteY2417" fmla="*/ 926519 h 4178187"/>
                <a:gd name="connsiteX2418" fmla="*/ 2150076 w 3009712"/>
                <a:gd name="connsiteY2418" fmla="*/ 924945 h 4178187"/>
                <a:gd name="connsiteX2419" fmla="*/ 2147715 w 3009712"/>
                <a:gd name="connsiteY2419" fmla="*/ 922191 h 4178187"/>
                <a:gd name="connsiteX2420" fmla="*/ 2148502 w 3009712"/>
                <a:gd name="connsiteY2420" fmla="*/ 919437 h 4178187"/>
                <a:gd name="connsiteX2421" fmla="*/ 2147322 w 3009712"/>
                <a:gd name="connsiteY2421" fmla="*/ 917864 h 4178187"/>
                <a:gd name="connsiteX2422" fmla="*/ 2148895 w 3009712"/>
                <a:gd name="connsiteY2422" fmla="*/ 916290 h 4178187"/>
                <a:gd name="connsiteX2423" fmla="*/ 2154010 w 3009712"/>
                <a:gd name="connsiteY2423" fmla="*/ 910782 h 4178187"/>
                <a:gd name="connsiteX2424" fmla="*/ 2153617 w 3009712"/>
                <a:gd name="connsiteY2424" fmla="*/ 909602 h 4178187"/>
                <a:gd name="connsiteX2425" fmla="*/ 2156370 w 3009712"/>
                <a:gd name="connsiteY2425" fmla="*/ 908421 h 4178187"/>
                <a:gd name="connsiteX2426" fmla="*/ 2158731 w 3009712"/>
                <a:gd name="connsiteY2426" fmla="*/ 905274 h 4178187"/>
                <a:gd name="connsiteX2427" fmla="*/ 2159518 w 3009712"/>
                <a:gd name="connsiteY2427" fmla="*/ 904094 h 4178187"/>
                <a:gd name="connsiteX2428" fmla="*/ 2165026 w 3009712"/>
                <a:gd name="connsiteY2428" fmla="*/ 899373 h 4178187"/>
                <a:gd name="connsiteX2429" fmla="*/ 2166206 w 3009712"/>
                <a:gd name="connsiteY2429" fmla="*/ 898586 h 4178187"/>
                <a:gd name="connsiteX2430" fmla="*/ 2168960 w 3009712"/>
                <a:gd name="connsiteY2430" fmla="*/ 896619 h 4178187"/>
                <a:gd name="connsiteX2431" fmla="*/ 2169354 w 3009712"/>
                <a:gd name="connsiteY2431" fmla="*/ 895045 h 4178187"/>
                <a:gd name="connsiteX2432" fmla="*/ 2171714 w 3009712"/>
                <a:gd name="connsiteY2432" fmla="*/ 893078 h 4178187"/>
                <a:gd name="connsiteX2433" fmla="*/ 2172894 w 3009712"/>
                <a:gd name="connsiteY2433" fmla="*/ 892684 h 4178187"/>
                <a:gd name="connsiteX2434" fmla="*/ 2172894 w 3009712"/>
                <a:gd name="connsiteY2434" fmla="*/ 891898 h 4178187"/>
                <a:gd name="connsiteX2435" fmla="*/ 2183517 w 3009712"/>
                <a:gd name="connsiteY2435" fmla="*/ 882455 h 4178187"/>
                <a:gd name="connsiteX2436" fmla="*/ 2183124 w 3009712"/>
                <a:gd name="connsiteY2436" fmla="*/ 883242 h 4178187"/>
                <a:gd name="connsiteX2437" fmla="*/ 2182730 w 3009712"/>
                <a:gd name="connsiteY2437" fmla="*/ 883636 h 4178187"/>
                <a:gd name="connsiteX2438" fmla="*/ 2182337 w 3009712"/>
                <a:gd name="connsiteY2438" fmla="*/ 885209 h 4178187"/>
                <a:gd name="connsiteX2439" fmla="*/ 2181943 w 3009712"/>
                <a:gd name="connsiteY2439" fmla="*/ 886389 h 4178187"/>
                <a:gd name="connsiteX2440" fmla="*/ 2185877 w 3009712"/>
                <a:gd name="connsiteY2440" fmla="*/ 887963 h 4178187"/>
                <a:gd name="connsiteX2441" fmla="*/ 2188238 w 3009712"/>
                <a:gd name="connsiteY2441" fmla="*/ 885209 h 4178187"/>
                <a:gd name="connsiteX2442" fmla="*/ 2189025 w 3009712"/>
                <a:gd name="connsiteY2442" fmla="*/ 882455 h 4178187"/>
                <a:gd name="connsiteX2443" fmla="*/ 2189418 w 3009712"/>
                <a:gd name="connsiteY2443" fmla="*/ 879308 h 4178187"/>
                <a:gd name="connsiteX2444" fmla="*/ 2188238 w 3009712"/>
                <a:gd name="connsiteY2444" fmla="*/ 879701 h 4178187"/>
                <a:gd name="connsiteX2445" fmla="*/ 2192172 w 3009712"/>
                <a:gd name="connsiteY2445" fmla="*/ 876160 h 4178187"/>
                <a:gd name="connsiteX2446" fmla="*/ 2189812 w 3009712"/>
                <a:gd name="connsiteY2446" fmla="*/ 878914 h 4178187"/>
                <a:gd name="connsiteX2447" fmla="*/ 2189418 w 3009712"/>
                <a:gd name="connsiteY2447" fmla="*/ 881668 h 4178187"/>
                <a:gd name="connsiteX2448" fmla="*/ 2189025 w 3009712"/>
                <a:gd name="connsiteY2448" fmla="*/ 884422 h 4178187"/>
                <a:gd name="connsiteX2449" fmla="*/ 2190205 w 3009712"/>
                <a:gd name="connsiteY2449" fmla="*/ 881668 h 4178187"/>
                <a:gd name="connsiteX2450" fmla="*/ 2192566 w 3009712"/>
                <a:gd name="connsiteY2450" fmla="*/ 879308 h 4178187"/>
                <a:gd name="connsiteX2451" fmla="*/ 2192959 w 3009712"/>
                <a:gd name="connsiteY2451" fmla="*/ 878914 h 4178187"/>
                <a:gd name="connsiteX2452" fmla="*/ 2192566 w 3009712"/>
                <a:gd name="connsiteY2452" fmla="*/ 882062 h 4178187"/>
                <a:gd name="connsiteX2453" fmla="*/ 2194139 w 3009712"/>
                <a:gd name="connsiteY2453" fmla="*/ 880882 h 4178187"/>
                <a:gd name="connsiteX2454" fmla="*/ 2194926 w 3009712"/>
                <a:gd name="connsiteY2454" fmla="*/ 882062 h 4178187"/>
                <a:gd name="connsiteX2455" fmla="*/ 2194926 w 3009712"/>
                <a:gd name="connsiteY2455" fmla="*/ 882849 h 4178187"/>
                <a:gd name="connsiteX2456" fmla="*/ 2196107 w 3009712"/>
                <a:gd name="connsiteY2456" fmla="*/ 884029 h 4178187"/>
                <a:gd name="connsiteX2457" fmla="*/ 2202401 w 3009712"/>
                <a:gd name="connsiteY2457" fmla="*/ 878521 h 4178187"/>
                <a:gd name="connsiteX2458" fmla="*/ 2204368 w 3009712"/>
                <a:gd name="connsiteY2458" fmla="*/ 879308 h 4178187"/>
                <a:gd name="connsiteX2459" fmla="*/ 2207122 w 3009712"/>
                <a:gd name="connsiteY2459" fmla="*/ 878914 h 4178187"/>
                <a:gd name="connsiteX2460" fmla="*/ 2209877 w 3009712"/>
                <a:gd name="connsiteY2460" fmla="*/ 877341 h 4178187"/>
                <a:gd name="connsiteX2461" fmla="*/ 2211450 w 3009712"/>
                <a:gd name="connsiteY2461" fmla="*/ 874587 h 4178187"/>
                <a:gd name="connsiteX2462" fmla="*/ 2213811 w 3009712"/>
                <a:gd name="connsiteY2462" fmla="*/ 871439 h 4178187"/>
                <a:gd name="connsiteX2463" fmla="*/ 2216565 w 3009712"/>
                <a:gd name="connsiteY2463" fmla="*/ 869079 h 4178187"/>
                <a:gd name="connsiteX2464" fmla="*/ 2217351 w 3009712"/>
                <a:gd name="connsiteY2464" fmla="*/ 866325 h 4178187"/>
                <a:gd name="connsiteX2465" fmla="*/ 2218532 w 3009712"/>
                <a:gd name="connsiteY2465" fmla="*/ 865144 h 4178187"/>
                <a:gd name="connsiteX2466" fmla="*/ 2220499 w 3009712"/>
                <a:gd name="connsiteY2466" fmla="*/ 863571 h 4178187"/>
                <a:gd name="connsiteX2467" fmla="*/ 2223253 w 3009712"/>
                <a:gd name="connsiteY2467" fmla="*/ 861997 h 4178187"/>
                <a:gd name="connsiteX2468" fmla="*/ 2224433 w 3009712"/>
                <a:gd name="connsiteY2468" fmla="*/ 859637 h 4178187"/>
                <a:gd name="connsiteX2469" fmla="*/ 2224040 w 3009712"/>
                <a:gd name="connsiteY2469" fmla="*/ 862784 h 4178187"/>
                <a:gd name="connsiteX2470" fmla="*/ 2223253 w 3009712"/>
                <a:gd name="connsiteY2470" fmla="*/ 865538 h 4178187"/>
                <a:gd name="connsiteX2471" fmla="*/ 2224040 w 3009712"/>
                <a:gd name="connsiteY2471" fmla="*/ 868292 h 4178187"/>
                <a:gd name="connsiteX2472" fmla="*/ 2226794 w 3009712"/>
                <a:gd name="connsiteY2472" fmla="*/ 869866 h 4178187"/>
                <a:gd name="connsiteX2473" fmla="*/ 2227581 w 3009712"/>
                <a:gd name="connsiteY2473" fmla="*/ 871046 h 4178187"/>
                <a:gd name="connsiteX2474" fmla="*/ 2231515 w 3009712"/>
                <a:gd name="connsiteY2474" fmla="*/ 869079 h 4178187"/>
                <a:gd name="connsiteX2475" fmla="*/ 2232695 w 3009712"/>
                <a:gd name="connsiteY2475" fmla="*/ 871439 h 4178187"/>
                <a:gd name="connsiteX2476" fmla="*/ 2235449 w 3009712"/>
                <a:gd name="connsiteY2476" fmla="*/ 869079 h 4178187"/>
                <a:gd name="connsiteX2477" fmla="*/ 2238597 w 3009712"/>
                <a:gd name="connsiteY2477" fmla="*/ 867505 h 4178187"/>
                <a:gd name="connsiteX2478" fmla="*/ 2238203 w 3009712"/>
                <a:gd name="connsiteY2478" fmla="*/ 866325 h 4178187"/>
                <a:gd name="connsiteX2479" fmla="*/ 2241351 w 3009712"/>
                <a:gd name="connsiteY2479" fmla="*/ 864751 h 4178187"/>
                <a:gd name="connsiteX2480" fmla="*/ 2241351 w 3009712"/>
                <a:gd name="connsiteY2480" fmla="*/ 867899 h 4178187"/>
                <a:gd name="connsiteX2481" fmla="*/ 2244105 w 3009712"/>
                <a:gd name="connsiteY2481" fmla="*/ 866325 h 4178187"/>
                <a:gd name="connsiteX2482" fmla="*/ 2244105 w 3009712"/>
                <a:gd name="connsiteY2482" fmla="*/ 864358 h 4178187"/>
                <a:gd name="connsiteX2483" fmla="*/ 2252760 w 3009712"/>
                <a:gd name="connsiteY2483" fmla="*/ 862391 h 4178187"/>
                <a:gd name="connsiteX2484" fmla="*/ 2255514 w 3009712"/>
                <a:gd name="connsiteY2484" fmla="*/ 861604 h 4178187"/>
                <a:gd name="connsiteX2485" fmla="*/ 2257481 w 3009712"/>
                <a:gd name="connsiteY2485" fmla="*/ 859243 h 4178187"/>
                <a:gd name="connsiteX2486" fmla="*/ 2258268 w 3009712"/>
                <a:gd name="connsiteY2486" fmla="*/ 858456 h 4178187"/>
                <a:gd name="connsiteX2487" fmla="*/ 2261022 w 3009712"/>
                <a:gd name="connsiteY2487" fmla="*/ 858850 h 4178187"/>
                <a:gd name="connsiteX2488" fmla="*/ 2263776 w 3009712"/>
                <a:gd name="connsiteY2488" fmla="*/ 857276 h 4178187"/>
                <a:gd name="connsiteX2489" fmla="*/ 2266530 w 3009712"/>
                <a:gd name="connsiteY2489" fmla="*/ 857276 h 4178187"/>
                <a:gd name="connsiteX2490" fmla="*/ 2269677 w 3009712"/>
                <a:gd name="connsiteY2490" fmla="*/ 856883 h 4178187"/>
                <a:gd name="connsiteX2491" fmla="*/ 2272431 w 3009712"/>
                <a:gd name="connsiteY2491" fmla="*/ 854522 h 4178187"/>
                <a:gd name="connsiteX2492" fmla="*/ 2275579 w 3009712"/>
                <a:gd name="connsiteY2492" fmla="*/ 852948 h 4178187"/>
                <a:gd name="connsiteX2493" fmla="*/ 2275579 w 3009712"/>
                <a:gd name="connsiteY2493" fmla="*/ 850194 h 4178187"/>
                <a:gd name="connsiteX2494" fmla="*/ 2272825 w 3009712"/>
                <a:gd name="connsiteY2494" fmla="*/ 851375 h 4178187"/>
                <a:gd name="connsiteX2495" fmla="*/ 2274005 w 3009712"/>
                <a:gd name="connsiteY2495" fmla="*/ 848621 h 4178187"/>
                <a:gd name="connsiteX2496" fmla="*/ 2276365 w 3009712"/>
                <a:gd name="connsiteY2496" fmla="*/ 847047 h 4178187"/>
                <a:gd name="connsiteX2497" fmla="*/ 2276365 w 3009712"/>
                <a:gd name="connsiteY2497" fmla="*/ 846260 h 4178187"/>
                <a:gd name="connsiteX2498" fmla="*/ 2276759 w 3009712"/>
                <a:gd name="connsiteY2498" fmla="*/ 847047 h 4178187"/>
                <a:gd name="connsiteX2499" fmla="*/ 2276759 w 3009712"/>
                <a:gd name="connsiteY2499" fmla="*/ 846654 h 4178187"/>
                <a:gd name="connsiteX2500" fmla="*/ 2276365 w 3009712"/>
                <a:gd name="connsiteY2500" fmla="*/ 843506 h 4178187"/>
                <a:gd name="connsiteX2501" fmla="*/ 2275972 w 3009712"/>
                <a:gd name="connsiteY2501" fmla="*/ 843113 h 4178187"/>
                <a:gd name="connsiteX2502" fmla="*/ 2275972 w 3009712"/>
                <a:gd name="connsiteY2502" fmla="*/ 843113 h 4178187"/>
                <a:gd name="connsiteX2503" fmla="*/ 2275185 w 3009712"/>
                <a:gd name="connsiteY2503" fmla="*/ 841145 h 4178187"/>
                <a:gd name="connsiteX2504" fmla="*/ 2274398 w 3009712"/>
                <a:gd name="connsiteY2504" fmla="*/ 840752 h 4178187"/>
                <a:gd name="connsiteX2505" fmla="*/ 2276759 w 3009712"/>
                <a:gd name="connsiteY2505" fmla="*/ 840752 h 4178187"/>
                <a:gd name="connsiteX2506" fmla="*/ 2276759 w 3009712"/>
                <a:gd name="connsiteY2506" fmla="*/ 842326 h 4178187"/>
                <a:gd name="connsiteX2507" fmla="*/ 2279513 w 3009712"/>
                <a:gd name="connsiteY2507" fmla="*/ 841145 h 4178187"/>
                <a:gd name="connsiteX2508" fmla="*/ 2282267 w 3009712"/>
                <a:gd name="connsiteY2508" fmla="*/ 841932 h 4178187"/>
                <a:gd name="connsiteX2509" fmla="*/ 2283841 w 3009712"/>
                <a:gd name="connsiteY2509" fmla="*/ 844686 h 4178187"/>
                <a:gd name="connsiteX2510" fmla="*/ 2286595 w 3009712"/>
                <a:gd name="connsiteY2510" fmla="*/ 844293 h 4178187"/>
                <a:gd name="connsiteX2511" fmla="*/ 2289742 w 3009712"/>
                <a:gd name="connsiteY2511" fmla="*/ 843113 h 4178187"/>
                <a:gd name="connsiteX2512" fmla="*/ 2292496 w 3009712"/>
                <a:gd name="connsiteY2512" fmla="*/ 841932 h 4178187"/>
                <a:gd name="connsiteX2513" fmla="*/ 2295250 w 3009712"/>
                <a:gd name="connsiteY2513" fmla="*/ 843113 h 4178187"/>
                <a:gd name="connsiteX2514" fmla="*/ 2298004 w 3009712"/>
                <a:gd name="connsiteY2514" fmla="*/ 841539 h 4178187"/>
                <a:gd name="connsiteX2515" fmla="*/ 2299184 w 3009712"/>
                <a:gd name="connsiteY2515" fmla="*/ 839965 h 4178187"/>
                <a:gd name="connsiteX2516" fmla="*/ 2301938 w 3009712"/>
                <a:gd name="connsiteY2516" fmla="*/ 840359 h 4178187"/>
                <a:gd name="connsiteX2517" fmla="*/ 2304692 w 3009712"/>
                <a:gd name="connsiteY2517" fmla="*/ 838392 h 4178187"/>
                <a:gd name="connsiteX2518" fmla="*/ 2303119 w 3009712"/>
                <a:gd name="connsiteY2518" fmla="*/ 835244 h 4178187"/>
                <a:gd name="connsiteX2519" fmla="*/ 2305872 w 3009712"/>
                <a:gd name="connsiteY2519" fmla="*/ 836818 h 4178187"/>
                <a:gd name="connsiteX2520" fmla="*/ 2306659 w 3009712"/>
                <a:gd name="connsiteY2520" fmla="*/ 836818 h 4178187"/>
                <a:gd name="connsiteX2521" fmla="*/ 2309413 w 3009712"/>
                <a:gd name="connsiteY2521" fmla="*/ 839178 h 4178187"/>
                <a:gd name="connsiteX2522" fmla="*/ 2312167 w 3009712"/>
                <a:gd name="connsiteY2522" fmla="*/ 837605 h 4178187"/>
                <a:gd name="connsiteX2523" fmla="*/ 2315315 w 3009712"/>
                <a:gd name="connsiteY2523" fmla="*/ 836818 h 4178187"/>
                <a:gd name="connsiteX2524" fmla="*/ 2318069 w 3009712"/>
                <a:gd name="connsiteY2524" fmla="*/ 835638 h 4178187"/>
                <a:gd name="connsiteX2525" fmla="*/ 2320823 w 3009712"/>
                <a:gd name="connsiteY2525" fmla="*/ 834851 h 4178187"/>
                <a:gd name="connsiteX2526" fmla="*/ 2323577 w 3009712"/>
                <a:gd name="connsiteY2526" fmla="*/ 833277 h 4178187"/>
                <a:gd name="connsiteX2527" fmla="*/ 2326724 w 3009712"/>
                <a:gd name="connsiteY2527" fmla="*/ 831703 h 4178187"/>
                <a:gd name="connsiteX2528" fmla="*/ 2329478 w 3009712"/>
                <a:gd name="connsiteY2528" fmla="*/ 830523 h 4178187"/>
                <a:gd name="connsiteX2529" fmla="*/ 2332232 w 3009712"/>
                <a:gd name="connsiteY2529" fmla="*/ 829343 h 4178187"/>
                <a:gd name="connsiteX2530" fmla="*/ 2335379 w 3009712"/>
                <a:gd name="connsiteY2530" fmla="*/ 828556 h 4178187"/>
                <a:gd name="connsiteX2531" fmla="*/ 2338133 w 3009712"/>
                <a:gd name="connsiteY2531" fmla="*/ 827376 h 4178187"/>
                <a:gd name="connsiteX2532" fmla="*/ 2340887 w 3009712"/>
                <a:gd name="connsiteY2532" fmla="*/ 825408 h 4178187"/>
                <a:gd name="connsiteX2533" fmla="*/ 2344035 w 3009712"/>
                <a:gd name="connsiteY2533" fmla="*/ 825802 h 4178187"/>
                <a:gd name="connsiteX2534" fmla="*/ 2346789 w 3009712"/>
                <a:gd name="connsiteY2534" fmla="*/ 823441 h 4178187"/>
                <a:gd name="connsiteX2535" fmla="*/ 2347576 w 3009712"/>
                <a:gd name="connsiteY2535" fmla="*/ 822654 h 4178187"/>
                <a:gd name="connsiteX2536" fmla="*/ 2354657 w 3009712"/>
                <a:gd name="connsiteY2536" fmla="*/ 820294 h 4178187"/>
                <a:gd name="connsiteX2537" fmla="*/ 2354657 w 3009712"/>
                <a:gd name="connsiteY2537" fmla="*/ 820687 h 4178187"/>
                <a:gd name="connsiteX2538" fmla="*/ 2355838 w 3009712"/>
                <a:gd name="connsiteY2538" fmla="*/ 819900 h 4178187"/>
                <a:gd name="connsiteX2539" fmla="*/ 2360559 w 3009712"/>
                <a:gd name="connsiteY2539" fmla="*/ 818327 h 4178187"/>
                <a:gd name="connsiteX2540" fmla="*/ 2358985 w 3009712"/>
                <a:gd name="connsiteY2540" fmla="*/ 818720 h 4178187"/>
                <a:gd name="connsiteX2541" fmla="*/ 2356231 w 3009712"/>
                <a:gd name="connsiteY2541" fmla="*/ 821081 h 4178187"/>
                <a:gd name="connsiteX2542" fmla="*/ 2353084 w 3009712"/>
                <a:gd name="connsiteY2542" fmla="*/ 823441 h 4178187"/>
                <a:gd name="connsiteX2543" fmla="*/ 2350330 w 3009712"/>
                <a:gd name="connsiteY2543" fmla="*/ 825015 h 4178187"/>
                <a:gd name="connsiteX2544" fmla="*/ 2347576 w 3009712"/>
                <a:gd name="connsiteY2544" fmla="*/ 826589 h 4178187"/>
                <a:gd name="connsiteX2545" fmla="*/ 2342068 w 3009712"/>
                <a:gd name="connsiteY2545" fmla="*/ 830523 h 4178187"/>
                <a:gd name="connsiteX2546" fmla="*/ 2339314 w 3009712"/>
                <a:gd name="connsiteY2546" fmla="*/ 831703 h 4178187"/>
                <a:gd name="connsiteX2547" fmla="*/ 2338133 w 3009712"/>
                <a:gd name="connsiteY2547" fmla="*/ 834457 h 4178187"/>
                <a:gd name="connsiteX2548" fmla="*/ 2341281 w 3009712"/>
                <a:gd name="connsiteY2548" fmla="*/ 836031 h 4178187"/>
                <a:gd name="connsiteX2549" fmla="*/ 2379443 w 3009712"/>
                <a:gd name="connsiteY2549" fmla="*/ 833670 h 4178187"/>
                <a:gd name="connsiteX2550" fmla="*/ 2378263 w 3009712"/>
                <a:gd name="connsiteY2550" fmla="*/ 834457 h 4178187"/>
                <a:gd name="connsiteX2551" fmla="*/ 2376296 w 3009712"/>
                <a:gd name="connsiteY2551" fmla="*/ 835244 h 4178187"/>
                <a:gd name="connsiteX2552" fmla="*/ 2374329 w 3009712"/>
                <a:gd name="connsiteY2552" fmla="*/ 835244 h 4178187"/>
                <a:gd name="connsiteX2553" fmla="*/ 2371575 w 3009712"/>
                <a:gd name="connsiteY2553" fmla="*/ 835638 h 4178187"/>
                <a:gd name="connsiteX2554" fmla="*/ 2368427 w 3009712"/>
                <a:gd name="connsiteY2554" fmla="*/ 836818 h 4178187"/>
                <a:gd name="connsiteX2555" fmla="*/ 2365673 w 3009712"/>
                <a:gd name="connsiteY2555" fmla="*/ 837998 h 4178187"/>
                <a:gd name="connsiteX2556" fmla="*/ 2362919 w 3009712"/>
                <a:gd name="connsiteY2556" fmla="*/ 838785 h 4178187"/>
                <a:gd name="connsiteX2557" fmla="*/ 2359772 w 3009712"/>
                <a:gd name="connsiteY2557" fmla="*/ 840359 h 4178187"/>
                <a:gd name="connsiteX2558" fmla="*/ 2358985 w 3009712"/>
                <a:gd name="connsiteY2558" fmla="*/ 843113 h 4178187"/>
                <a:gd name="connsiteX2559" fmla="*/ 2359379 w 3009712"/>
                <a:gd name="connsiteY2559" fmla="*/ 846260 h 4178187"/>
                <a:gd name="connsiteX2560" fmla="*/ 2358198 w 3009712"/>
                <a:gd name="connsiteY2560" fmla="*/ 846260 h 4178187"/>
                <a:gd name="connsiteX2561" fmla="*/ 2358985 w 3009712"/>
                <a:gd name="connsiteY2561" fmla="*/ 844686 h 4178187"/>
                <a:gd name="connsiteX2562" fmla="*/ 2356625 w 3009712"/>
                <a:gd name="connsiteY2562" fmla="*/ 841539 h 4178187"/>
                <a:gd name="connsiteX2563" fmla="*/ 2353870 w 3009712"/>
                <a:gd name="connsiteY2563" fmla="*/ 842719 h 4178187"/>
                <a:gd name="connsiteX2564" fmla="*/ 2355444 w 3009712"/>
                <a:gd name="connsiteY2564" fmla="*/ 839965 h 4178187"/>
                <a:gd name="connsiteX2565" fmla="*/ 2355051 w 3009712"/>
                <a:gd name="connsiteY2565" fmla="*/ 836818 h 4178187"/>
                <a:gd name="connsiteX2566" fmla="*/ 2352297 w 3009712"/>
                <a:gd name="connsiteY2566" fmla="*/ 838392 h 4178187"/>
                <a:gd name="connsiteX2567" fmla="*/ 2349543 w 3009712"/>
                <a:gd name="connsiteY2567" fmla="*/ 839178 h 4178187"/>
                <a:gd name="connsiteX2568" fmla="*/ 2346396 w 3009712"/>
                <a:gd name="connsiteY2568" fmla="*/ 839965 h 4178187"/>
                <a:gd name="connsiteX2569" fmla="*/ 2343642 w 3009712"/>
                <a:gd name="connsiteY2569" fmla="*/ 840359 h 4178187"/>
                <a:gd name="connsiteX2570" fmla="*/ 2340887 w 3009712"/>
                <a:gd name="connsiteY2570" fmla="*/ 841932 h 4178187"/>
                <a:gd name="connsiteX2571" fmla="*/ 2337740 w 3009712"/>
                <a:gd name="connsiteY2571" fmla="*/ 843506 h 4178187"/>
                <a:gd name="connsiteX2572" fmla="*/ 2334593 w 3009712"/>
                <a:gd name="connsiteY2572" fmla="*/ 845080 h 4178187"/>
                <a:gd name="connsiteX2573" fmla="*/ 2331839 w 3009712"/>
                <a:gd name="connsiteY2573" fmla="*/ 846260 h 4178187"/>
                <a:gd name="connsiteX2574" fmla="*/ 2326331 w 3009712"/>
                <a:gd name="connsiteY2574" fmla="*/ 849014 h 4178187"/>
                <a:gd name="connsiteX2575" fmla="*/ 2323183 w 3009712"/>
                <a:gd name="connsiteY2575" fmla="*/ 850588 h 4178187"/>
                <a:gd name="connsiteX2576" fmla="*/ 2320429 w 3009712"/>
                <a:gd name="connsiteY2576" fmla="*/ 852161 h 4178187"/>
                <a:gd name="connsiteX2577" fmla="*/ 2317282 w 3009712"/>
                <a:gd name="connsiteY2577" fmla="*/ 853735 h 4178187"/>
                <a:gd name="connsiteX2578" fmla="*/ 2314528 w 3009712"/>
                <a:gd name="connsiteY2578" fmla="*/ 856489 h 4178187"/>
                <a:gd name="connsiteX2579" fmla="*/ 2317282 w 3009712"/>
                <a:gd name="connsiteY2579" fmla="*/ 855702 h 4178187"/>
                <a:gd name="connsiteX2580" fmla="*/ 2311380 w 3009712"/>
                <a:gd name="connsiteY2580" fmla="*/ 859243 h 4178187"/>
                <a:gd name="connsiteX2581" fmla="*/ 2310987 w 3009712"/>
                <a:gd name="connsiteY2581" fmla="*/ 856883 h 4178187"/>
                <a:gd name="connsiteX2582" fmla="*/ 2308233 w 3009712"/>
                <a:gd name="connsiteY2582" fmla="*/ 858456 h 4178187"/>
                <a:gd name="connsiteX2583" fmla="*/ 2305086 w 3009712"/>
                <a:gd name="connsiteY2583" fmla="*/ 860030 h 4178187"/>
                <a:gd name="connsiteX2584" fmla="*/ 2299578 w 3009712"/>
                <a:gd name="connsiteY2584" fmla="*/ 863964 h 4178187"/>
                <a:gd name="connsiteX2585" fmla="*/ 2296824 w 3009712"/>
                <a:gd name="connsiteY2585" fmla="*/ 866718 h 4178187"/>
                <a:gd name="connsiteX2586" fmla="*/ 2299971 w 3009712"/>
                <a:gd name="connsiteY2586" fmla="*/ 864751 h 4178187"/>
                <a:gd name="connsiteX2587" fmla="*/ 2302725 w 3009712"/>
                <a:gd name="connsiteY2587" fmla="*/ 862391 h 4178187"/>
                <a:gd name="connsiteX2588" fmla="*/ 2305479 w 3009712"/>
                <a:gd name="connsiteY2588" fmla="*/ 860817 h 4178187"/>
                <a:gd name="connsiteX2589" fmla="*/ 2308626 w 3009712"/>
                <a:gd name="connsiteY2589" fmla="*/ 860817 h 4178187"/>
                <a:gd name="connsiteX2590" fmla="*/ 2305872 w 3009712"/>
                <a:gd name="connsiteY2590" fmla="*/ 862784 h 4178187"/>
                <a:gd name="connsiteX2591" fmla="*/ 2303119 w 3009712"/>
                <a:gd name="connsiteY2591" fmla="*/ 864358 h 4178187"/>
                <a:gd name="connsiteX2592" fmla="*/ 2299971 w 3009712"/>
                <a:gd name="connsiteY2592" fmla="*/ 866718 h 4178187"/>
                <a:gd name="connsiteX2593" fmla="*/ 2297611 w 3009712"/>
                <a:gd name="connsiteY2593" fmla="*/ 869472 h 4178187"/>
                <a:gd name="connsiteX2594" fmla="*/ 2296037 w 3009712"/>
                <a:gd name="connsiteY2594" fmla="*/ 872226 h 4178187"/>
                <a:gd name="connsiteX2595" fmla="*/ 2293676 w 3009712"/>
                <a:gd name="connsiteY2595" fmla="*/ 875374 h 4178187"/>
                <a:gd name="connsiteX2596" fmla="*/ 2293283 w 3009712"/>
                <a:gd name="connsiteY2596" fmla="*/ 878128 h 4178187"/>
                <a:gd name="connsiteX2597" fmla="*/ 2292496 w 3009712"/>
                <a:gd name="connsiteY2597" fmla="*/ 880882 h 4178187"/>
                <a:gd name="connsiteX2598" fmla="*/ 2291316 w 3009712"/>
                <a:gd name="connsiteY2598" fmla="*/ 883636 h 4178187"/>
                <a:gd name="connsiteX2599" fmla="*/ 2291316 w 3009712"/>
                <a:gd name="connsiteY2599" fmla="*/ 886389 h 4178187"/>
                <a:gd name="connsiteX2600" fmla="*/ 2292889 w 3009712"/>
                <a:gd name="connsiteY2600" fmla="*/ 889537 h 4178187"/>
                <a:gd name="connsiteX2601" fmla="*/ 2298791 w 3009712"/>
                <a:gd name="connsiteY2601" fmla="*/ 889537 h 4178187"/>
                <a:gd name="connsiteX2602" fmla="*/ 2299184 w 3009712"/>
                <a:gd name="connsiteY2602" fmla="*/ 891111 h 4178187"/>
                <a:gd name="connsiteX2603" fmla="*/ 2298397 w 3009712"/>
                <a:gd name="connsiteY2603" fmla="*/ 893865 h 4178187"/>
                <a:gd name="connsiteX2604" fmla="*/ 2301151 w 3009712"/>
                <a:gd name="connsiteY2604" fmla="*/ 895045 h 4178187"/>
                <a:gd name="connsiteX2605" fmla="*/ 2303905 w 3009712"/>
                <a:gd name="connsiteY2605" fmla="*/ 893865 h 4178187"/>
                <a:gd name="connsiteX2606" fmla="*/ 2305086 w 3009712"/>
                <a:gd name="connsiteY2606" fmla="*/ 896619 h 4178187"/>
                <a:gd name="connsiteX2607" fmla="*/ 2306659 w 3009712"/>
                <a:gd name="connsiteY2607" fmla="*/ 893471 h 4178187"/>
                <a:gd name="connsiteX2608" fmla="*/ 2309413 w 3009712"/>
                <a:gd name="connsiteY2608" fmla="*/ 893471 h 4178187"/>
                <a:gd name="connsiteX2609" fmla="*/ 2310594 w 3009712"/>
                <a:gd name="connsiteY2609" fmla="*/ 890717 h 4178187"/>
                <a:gd name="connsiteX2610" fmla="*/ 2310594 w 3009712"/>
                <a:gd name="connsiteY2610" fmla="*/ 889144 h 4178187"/>
                <a:gd name="connsiteX2611" fmla="*/ 2313348 w 3009712"/>
                <a:gd name="connsiteY2611" fmla="*/ 889144 h 4178187"/>
                <a:gd name="connsiteX2612" fmla="*/ 2313741 w 3009712"/>
                <a:gd name="connsiteY2612" fmla="*/ 889537 h 4178187"/>
                <a:gd name="connsiteX2613" fmla="*/ 2313741 w 3009712"/>
                <a:gd name="connsiteY2613" fmla="*/ 889144 h 4178187"/>
                <a:gd name="connsiteX2614" fmla="*/ 2316889 w 3009712"/>
                <a:gd name="connsiteY2614" fmla="*/ 889144 h 4178187"/>
                <a:gd name="connsiteX2615" fmla="*/ 2318462 w 3009712"/>
                <a:gd name="connsiteY2615" fmla="*/ 889144 h 4178187"/>
                <a:gd name="connsiteX2616" fmla="*/ 2321216 w 3009712"/>
                <a:gd name="connsiteY2616" fmla="*/ 887176 h 4178187"/>
                <a:gd name="connsiteX2617" fmla="*/ 2323970 w 3009712"/>
                <a:gd name="connsiteY2617" fmla="*/ 885603 h 4178187"/>
                <a:gd name="connsiteX2618" fmla="*/ 2326724 w 3009712"/>
                <a:gd name="connsiteY2618" fmla="*/ 883636 h 4178187"/>
                <a:gd name="connsiteX2619" fmla="*/ 2327904 w 3009712"/>
                <a:gd name="connsiteY2619" fmla="*/ 880488 h 4178187"/>
                <a:gd name="connsiteX2620" fmla="*/ 2331052 w 3009712"/>
                <a:gd name="connsiteY2620" fmla="*/ 880095 h 4178187"/>
                <a:gd name="connsiteX2621" fmla="*/ 2333806 w 3009712"/>
                <a:gd name="connsiteY2621" fmla="*/ 877341 h 4178187"/>
                <a:gd name="connsiteX2622" fmla="*/ 2335773 w 3009712"/>
                <a:gd name="connsiteY2622" fmla="*/ 874587 h 4178187"/>
                <a:gd name="connsiteX2623" fmla="*/ 2336953 w 3009712"/>
                <a:gd name="connsiteY2623" fmla="*/ 874193 h 4178187"/>
                <a:gd name="connsiteX2624" fmla="*/ 2340101 w 3009712"/>
                <a:gd name="connsiteY2624" fmla="*/ 873406 h 4178187"/>
                <a:gd name="connsiteX2625" fmla="*/ 2342855 w 3009712"/>
                <a:gd name="connsiteY2625" fmla="*/ 871046 h 4178187"/>
                <a:gd name="connsiteX2626" fmla="*/ 2343248 w 3009712"/>
                <a:gd name="connsiteY2626" fmla="*/ 869079 h 4178187"/>
                <a:gd name="connsiteX2627" fmla="*/ 2344035 w 3009712"/>
                <a:gd name="connsiteY2627" fmla="*/ 868292 h 4178187"/>
                <a:gd name="connsiteX2628" fmla="*/ 2346396 w 3009712"/>
                <a:gd name="connsiteY2628" fmla="*/ 869079 h 4178187"/>
                <a:gd name="connsiteX2629" fmla="*/ 2346789 w 3009712"/>
                <a:gd name="connsiteY2629" fmla="*/ 866325 h 4178187"/>
                <a:gd name="connsiteX2630" fmla="*/ 2353477 w 3009712"/>
                <a:gd name="connsiteY2630" fmla="*/ 863177 h 4178187"/>
                <a:gd name="connsiteX2631" fmla="*/ 2353477 w 3009712"/>
                <a:gd name="connsiteY2631" fmla="*/ 863177 h 4178187"/>
                <a:gd name="connsiteX2632" fmla="*/ 2356231 w 3009712"/>
                <a:gd name="connsiteY2632" fmla="*/ 861997 h 4178187"/>
                <a:gd name="connsiteX2633" fmla="*/ 2356231 w 3009712"/>
                <a:gd name="connsiteY2633" fmla="*/ 861604 h 4178187"/>
                <a:gd name="connsiteX2634" fmla="*/ 2359772 w 3009712"/>
                <a:gd name="connsiteY2634" fmla="*/ 860030 h 4178187"/>
                <a:gd name="connsiteX2635" fmla="*/ 2360559 w 3009712"/>
                <a:gd name="connsiteY2635" fmla="*/ 861997 h 4178187"/>
                <a:gd name="connsiteX2636" fmla="*/ 2363313 w 3009712"/>
                <a:gd name="connsiteY2636" fmla="*/ 863571 h 4178187"/>
                <a:gd name="connsiteX2637" fmla="*/ 2366460 w 3009712"/>
                <a:gd name="connsiteY2637" fmla="*/ 863177 h 4178187"/>
                <a:gd name="connsiteX2638" fmla="*/ 2369214 w 3009712"/>
                <a:gd name="connsiteY2638" fmla="*/ 861210 h 4178187"/>
                <a:gd name="connsiteX2639" fmla="*/ 2369608 w 3009712"/>
                <a:gd name="connsiteY2639" fmla="*/ 858456 h 4178187"/>
                <a:gd name="connsiteX2640" fmla="*/ 2369214 w 3009712"/>
                <a:gd name="connsiteY2640" fmla="*/ 855309 h 4178187"/>
                <a:gd name="connsiteX2641" fmla="*/ 2370394 w 3009712"/>
                <a:gd name="connsiteY2641" fmla="*/ 856489 h 4178187"/>
                <a:gd name="connsiteX2642" fmla="*/ 2371575 w 3009712"/>
                <a:gd name="connsiteY2642" fmla="*/ 858063 h 4178187"/>
                <a:gd name="connsiteX2643" fmla="*/ 2374722 w 3009712"/>
                <a:gd name="connsiteY2643" fmla="*/ 857276 h 4178187"/>
                <a:gd name="connsiteX2644" fmla="*/ 2377476 w 3009712"/>
                <a:gd name="connsiteY2644" fmla="*/ 857669 h 4178187"/>
                <a:gd name="connsiteX2645" fmla="*/ 2386525 w 3009712"/>
                <a:gd name="connsiteY2645" fmla="*/ 854915 h 4178187"/>
                <a:gd name="connsiteX2646" fmla="*/ 2386918 w 3009712"/>
                <a:gd name="connsiteY2646" fmla="*/ 854915 h 4178187"/>
                <a:gd name="connsiteX2647" fmla="*/ 2389672 w 3009712"/>
                <a:gd name="connsiteY2647" fmla="*/ 854522 h 4178187"/>
                <a:gd name="connsiteX2648" fmla="*/ 2392033 w 3009712"/>
                <a:gd name="connsiteY2648" fmla="*/ 853342 h 4178187"/>
                <a:gd name="connsiteX2649" fmla="*/ 2416425 w 3009712"/>
                <a:gd name="connsiteY2649" fmla="*/ 845473 h 4178187"/>
                <a:gd name="connsiteX2650" fmla="*/ 2420360 w 3009712"/>
                <a:gd name="connsiteY2650" fmla="*/ 843899 h 4178187"/>
                <a:gd name="connsiteX2651" fmla="*/ 2422720 w 3009712"/>
                <a:gd name="connsiteY2651" fmla="*/ 842719 h 4178187"/>
                <a:gd name="connsiteX2652" fmla="*/ 2425081 w 3009712"/>
                <a:gd name="connsiteY2652" fmla="*/ 841932 h 4178187"/>
                <a:gd name="connsiteX2653" fmla="*/ 2427835 w 3009712"/>
                <a:gd name="connsiteY2653" fmla="*/ 840359 h 4178187"/>
                <a:gd name="connsiteX2654" fmla="*/ 2430982 w 3009712"/>
                <a:gd name="connsiteY2654" fmla="*/ 840359 h 4178187"/>
                <a:gd name="connsiteX2655" fmla="*/ 2433736 w 3009712"/>
                <a:gd name="connsiteY2655" fmla="*/ 839965 h 4178187"/>
                <a:gd name="connsiteX2656" fmla="*/ 2436490 w 3009712"/>
                <a:gd name="connsiteY2656" fmla="*/ 837998 h 4178187"/>
                <a:gd name="connsiteX2657" fmla="*/ 2439244 w 3009712"/>
                <a:gd name="connsiteY2657" fmla="*/ 837605 h 4178187"/>
                <a:gd name="connsiteX2658" fmla="*/ 2441998 w 3009712"/>
                <a:gd name="connsiteY2658" fmla="*/ 838392 h 4178187"/>
                <a:gd name="connsiteX2659" fmla="*/ 2444752 w 3009712"/>
                <a:gd name="connsiteY2659" fmla="*/ 836818 h 4178187"/>
                <a:gd name="connsiteX2660" fmla="*/ 2446326 w 3009712"/>
                <a:gd name="connsiteY2660" fmla="*/ 834064 h 4178187"/>
                <a:gd name="connsiteX2661" fmla="*/ 2443572 w 3009712"/>
                <a:gd name="connsiteY2661" fmla="*/ 833670 h 4178187"/>
                <a:gd name="connsiteX2662" fmla="*/ 2440424 w 3009712"/>
                <a:gd name="connsiteY2662" fmla="*/ 834064 h 4178187"/>
                <a:gd name="connsiteX2663" fmla="*/ 2440424 w 3009712"/>
                <a:gd name="connsiteY2663" fmla="*/ 830523 h 4178187"/>
                <a:gd name="connsiteX2664" fmla="*/ 2441998 w 3009712"/>
                <a:gd name="connsiteY2664" fmla="*/ 828162 h 4178187"/>
                <a:gd name="connsiteX2665" fmla="*/ 2440424 w 3009712"/>
                <a:gd name="connsiteY2665" fmla="*/ 825408 h 4178187"/>
                <a:gd name="connsiteX2666" fmla="*/ 2440031 w 3009712"/>
                <a:gd name="connsiteY2666" fmla="*/ 824228 h 4178187"/>
                <a:gd name="connsiteX2667" fmla="*/ 2437277 w 3009712"/>
                <a:gd name="connsiteY2667" fmla="*/ 822654 h 4178187"/>
                <a:gd name="connsiteX2668" fmla="*/ 2434523 w 3009712"/>
                <a:gd name="connsiteY2668" fmla="*/ 825015 h 4178187"/>
                <a:gd name="connsiteX2669" fmla="*/ 2431769 w 3009712"/>
                <a:gd name="connsiteY2669" fmla="*/ 824622 h 4178187"/>
                <a:gd name="connsiteX2670" fmla="*/ 2428622 w 3009712"/>
                <a:gd name="connsiteY2670" fmla="*/ 823048 h 4178187"/>
                <a:gd name="connsiteX2671" fmla="*/ 2428228 w 3009712"/>
                <a:gd name="connsiteY2671" fmla="*/ 819900 h 4178187"/>
                <a:gd name="connsiteX2672" fmla="*/ 2427048 w 3009712"/>
                <a:gd name="connsiteY2672" fmla="*/ 817147 h 4178187"/>
                <a:gd name="connsiteX2673" fmla="*/ 2424294 w 3009712"/>
                <a:gd name="connsiteY2673" fmla="*/ 819114 h 4178187"/>
                <a:gd name="connsiteX2674" fmla="*/ 2421147 w 3009712"/>
                <a:gd name="connsiteY2674" fmla="*/ 820687 h 4178187"/>
                <a:gd name="connsiteX2675" fmla="*/ 2418393 w 3009712"/>
                <a:gd name="connsiteY2675" fmla="*/ 822261 h 4178187"/>
                <a:gd name="connsiteX2676" fmla="*/ 2415638 w 3009712"/>
                <a:gd name="connsiteY2676" fmla="*/ 823048 h 4178187"/>
                <a:gd name="connsiteX2677" fmla="*/ 2412884 w 3009712"/>
                <a:gd name="connsiteY2677" fmla="*/ 824622 h 4178187"/>
                <a:gd name="connsiteX2678" fmla="*/ 2410130 w 3009712"/>
                <a:gd name="connsiteY2678" fmla="*/ 823441 h 4178187"/>
                <a:gd name="connsiteX2679" fmla="*/ 2407377 w 3009712"/>
                <a:gd name="connsiteY2679" fmla="*/ 825015 h 4178187"/>
                <a:gd name="connsiteX2680" fmla="*/ 2404229 w 3009712"/>
                <a:gd name="connsiteY2680" fmla="*/ 825408 h 4178187"/>
                <a:gd name="connsiteX2681" fmla="*/ 2405803 w 3009712"/>
                <a:gd name="connsiteY2681" fmla="*/ 823441 h 4178187"/>
                <a:gd name="connsiteX2682" fmla="*/ 2408557 w 3009712"/>
                <a:gd name="connsiteY2682" fmla="*/ 822261 h 4178187"/>
                <a:gd name="connsiteX2683" fmla="*/ 2405803 w 3009712"/>
                <a:gd name="connsiteY2683" fmla="*/ 820687 h 4178187"/>
                <a:gd name="connsiteX2684" fmla="*/ 2402655 w 3009712"/>
                <a:gd name="connsiteY2684" fmla="*/ 820294 h 4178187"/>
                <a:gd name="connsiteX2685" fmla="*/ 2399901 w 3009712"/>
                <a:gd name="connsiteY2685" fmla="*/ 819900 h 4178187"/>
                <a:gd name="connsiteX2686" fmla="*/ 2397147 w 3009712"/>
                <a:gd name="connsiteY2686" fmla="*/ 821081 h 4178187"/>
                <a:gd name="connsiteX2687" fmla="*/ 2394000 w 3009712"/>
                <a:gd name="connsiteY2687" fmla="*/ 821081 h 4178187"/>
                <a:gd name="connsiteX2688" fmla="*/ 2391246 w 3009712"/>
                <a:gd name="connsiteY2688" fmla="*/ 819507 h 4178187"/>
                <a:gd name="connsiteX2689" fmla="*/ 2388492 w 3009712"/>
                <a:gd name="connsiteY2689" fmla="*/ 817147 h 4178187"/>
                <a:gd name="connsiteX2690" fmla="*/ 2385345 w 3009712"/>
                <a:gd name="connsiteY2690" fmla="*/ 817147 h 4178187"/>
                <a:gd name="connsiteX2691" fmla="*/ 2384558 w 3009712"/>
                <a:gd name="connsiteY2691" fmla="*/ 817540 h 4178187"/>
                <a:gd name="connsiteX2692" fmla="*/ 2378656 w 3009712"/>
                <a:gd name="connsiteY2692" fmla="*/ 815179 h 4178187"/>
                <a:gd name="connsiteX2693" fmla="*/ 2377476 w 3009712"/>
                <a:gd name="connsiteY2693" fmla="*/ 813606 h 4178187"/>
                <a:gd name="connsiteX2694" fmla="*/ 2374722 w 3009712"/>
                <a:gd name="connsiteY2694" fmla="*/ 813606 h 4178187"/>
                <a:gd name="connsiteX2695" fmla="*/ 2378656 w 3009712"/>
                <a:gd name="connsiteY2695" fmla="*/ 811245 h 4178187"/>
                <a:gd name="connsiteX2696" fmla="*/ 2379837 w 3009712"/>
                <a:gd name="connsiteY2696" fmla="*/ 811245 h 4178187"/>
                <a:gd name="connsiteX2697" fmla="*/ 2382984 w 3009712"/>
                <a:gd name="connsiteY2697" fmla="*/ 808885 h 4178187"/>
                <a:gd name="connsiteX2698" fmla="*/ 2362526 w 3009712"/>
                <a:gd name="connsiteY2698" fmla="*/ 785279 h 4178187"/>
                <a:gd name="connsiteX2699" fmla="*/ 2364100 w 3009712"/>
                <a:gd name="connsiteY2699" fmla="*/ 782525 h 4178187"/>
                <a:gd name="connsiteX2700" fmla="*/ 2366854 w 3009712"/>
                <a:gd name="connsiteY2700" fmla="*/ 780164 h 4178187"/>
                <a:gd name="connsiteX2701" fmla="*/ 2365280 w 3009712"/>
                <a:gd name="connsiteY2701" fmla="*/ 777410 h 4178187"/>
                <a:gd name="connsiteX2702" fmla="*/ 2362526 w 3009712"/>
                <a:gd name="connsiteY2702" fmla="*/ 777410 h 4178187"/>
                <a:gd name="connsiteX2703" fmla="*/ 2359379 w 3009712"/>
                <a:gd name="connsiteY2703" fmla="*/ 777804 h 4178187"/>
                <a:gd name="connsiteX2704" fmla="*/ 2356625 w 3009712"/>
                <a:gd name="connsiteY2704" fmla="*/ 778591 h 4178187"/>
                <a:gd name="connsiteX2705" fmla="*/ 2355838 w 3009712"/>
                <a:gd name="connsiteY2705" fmla="*/ 777017 h 4178187"/>
                <a:gd name="connsiteX2706" fmla="*/ 2353084 w 3009712"/>
                <a:gd name="connsiteY2706" fmla="*/ 777017 h 4178187"/>
                <a:gd name="connsiteX2707" fmla="*/ 2355838 w 3009712"/>
                <a:gd name="connsiteY2707" fmla="*/ 775837 h 4178187"/>
                <a:gd name="connsiteX2708" fmla="*/ 2358592 w 3009712"/>
                <a:gd name="connsiteY2708" fmla="*/ 774263 h 4178187"/>
                <a:gd name="connsiteX2709" fmla="*/ 2361346 w 3009712"/>
                <a:gd name="connsiteY2709" fmla="*/ 772689 h 4178187"/>
                <a:gd name="connsiteX2710" fmla="*/ 2364100 w 3009712"/>
                <a:gd name="connsiteY2710" fmla="*/ 770722 h 4178187"/>
                <a:gd name="connsiteX2711" fmla="*/ 2366854 w 3009712"/>
                <a:gd name="connsiteY2711" fmla="*/ 768362 h 4178187"/>
                <a:gd name="connsiteX2712" fmla="*/ 2369608 w 3009712"/>
                <a:gd name="connsiteY2712" fmla="*/ 766001 h 4178187"/>
                <a:gd name="connsiteX2713" fmla="*/ 2371181 w 3009712"/>
                <a:gd name="connsiteY2713" fmla="*/ 762854 h 4178187"/>
                <a:gd name="connsiteX2714" fmla="*/ 2373148 w 3009712"/>
                <a:gd name="connsiteY2714" fmla="*/ 760100 h 4178187"/>
                <a:gd name="connsiteX2715" fmla="*/ 2375903 w 3009712"/>
                <a:gd name="connsiteY2715" fmla="*/ 757739 h 4178187"/>
                <a:gd name="connsiteX2716" fmla="*/ 2379050 w 3009712"/>
                <a:gd name="connsiteY2716" fmla="*/ 755379 h 4178187"/>
                <a:gd name="connsiteX2717" fmla="*/ 2375903 w 3009712"/>
                <a:gd name="connsiteY2717" fmla="*/ 755772 h 4178187"/>
                <a:gd name="connsiteX2718" fmla="*/ 2375509 w 3009712"/>
                <a:gd name="connsiteY2718" fmla="*/ 753018 h 4178187"/>
                <a:gd name="connsiteX2719" fmla="*/ 2372755 w 3009712"/>
                <a:gd name="connsiteY2719" fmla="*/ 753411 h 4178187"/>
                <a:gd name="connsiteX2720" fmla="*/ 2370001 w 3009712"/>
                <a:gd name="connsiteY2720" fmla="*/ 752231 h 4178187"/>
                <a:gd name="connsiteX2721" fmla="*/ 2366854 w 3009712"/>
                <a:gd name="connsiteY2721" fmla="*/ 752625 h 4178187"/>
                <a:gd name="connsiteX2722" fmla="*/ 2364100 w 3009712"/>
                <a:gd name="connsiteY2722" fmla="*/ 753805 h 4178187"/>
                <a:gd name="connsiteX2723" fmla="*/ 2361346 w 3009712"/>
                <a:gd name="connsiteY2723" fmla="*/ 755379 h 4178187"/>
                <a:gd name="connsiteX2724" fmla="*/ 2358592 w 3009712"/>
                <a:gd name="connsiteY2724" fmla="*/ 756952 h 4178187"/>
                <a:gd name="connsiteX2725" fmla="*/ 2355444 w 3009712"/>
                <a:gd name="connsiteY2725" fmla="*/ 757739 h 4178187"/>
                <a:gd name="connsiteX2726" fmla="*/ 2352690 w 3009712"/>
                <a:gd name="connsiteY2726" fmla="*/ 759313 h 4178187"/>
                <a:gd name="connsiteX2727" fmla="*/ 2350723 w 3009712"/>
                <a:gd name="connsiteY2727" fmla="*/ 759313 h 4178187"/>
                <a:gd name="connsiteX2728" fmla="*/ 2350723 w 3009712"/>
                <a:gd name="connsiteY2728" fmla="*/ 756952 h 4178187"/>
                <a:gd name="connsiteX2729" fmla="*/ 2351116 w 3009712"/>
                <a:gd name="connsiteY2729" fmla="*/ 754198 h 4178187"/>
                <a:gd name="connsiteX2730" fmla="*/ 2350723 w 3009712"/>
                <a:gd name="connsiteY2730" fmla="*/ 751051 h 4178187"/>
                <a:gd name="connsiteX2731" fmla="*/ 2347969 w 3009712"/>
                <a:gd name="connsiteY2731" fmla="*/ 749477 h 4178187"/>
                <a:gd name="connsiteX2732" fmla="*/ 2344822 w 3009712"/>
                <a:gd name="connsiteY2732" fmla="*/ 749084 h 4178187"/>
                <a:gd name="connsiteX2733" fmla="*/ 2342068 w 3009712"/>
                <a:gd name="connsiteY2733" fmla="*/ 747510 h 4178187"/>
                <a:gd name="connsiteX2734" fmla="*/ 2338920 w 3009712"/>
                <a:gd name="connsiteY2734" fmla="*/ 746330 h 4178187"/>
                <a:gd name="connsiteX2735" fmla="*/ 2336166 w 3009712"/>
                <a:gd name="connsiteY2735" fmla="*/ 744363 h 4178187"/>
                <a:gd name="connsiteX2736" fmla="*/ 2345609 w 3009712"/>
                <a:gd name="connsiteY2736" fmla="*/ 742789 h 4178187"/>
                <a:gd name="connsiteX2737" fmla="*/ 2346396 w 3009712"/>
                <a:gd name="connsiteY2737" fmla="*/ 742789 h 4178187"/>
                <a:gd name="connsiteX2738" fmla="*/ 2346789 w 3009712"/>
                <a:gd name="connsiteY2738" fmla="*/ 742396 h 4178187"/>
                <a:gd name="connsiteX2739" fmla="*/ 2352297 w 3009712"/>
                <a:gd name="connsiteY2739" fmla="*/ 741609 h 4178187"/>
                <a:gd name="connsiteX2740" fmla="*/ 2352690 w 3009712"/>
                <a:gd name="connsiteY2740" fmla="*/ 742396 h 4178187"/>
                <a:gd name="connsiteX2741" fmla="*/ 2355838 w 3009712"/>
                <a:gd name="connsiteY2741" fmla="*/ 743182 h 4178187"/>
                <a:gd name="connsiteX2742" fmla="*/ 2358592 w 3009712"/>
                <a:gd name="connsiteY2742" fmla="*/ 744363 h 4178187"/>
                <a:gd name="connsiteX2743" fmla="*/ 2361739 w 3009712"/>
                <a:gd name="connsiteY2743" fmla="*/ 746330 h 4178187"/>
                <a:gd name="connsiteX2744" fmla="*/ 2364493 w 3009712"/>
                <a:gd name="connsiteY2744" fmla="*/ 745936 h 4178187"/>
                <a:gd name="connsiteX2745" fmla="*/ 2367640 w 3009712"/>
                <a:gd name="connsiteY2745" fmla="*/ 745149 h 4178187"/>
                <a:gd name="connsiteX2746" fmla="*/ 2370394 w 3009712"/>
                <a:gd name="connsiteY2746" fmla="*/ 743576 h 4178187"/>
                <a:gd name="connsiteX2747" fmla="*/ 2373148 w 3009712"/>
                <a:gd name="connsiteY2747" fmla="*/ 742396 h 4178187"/>
                <a:gd name="connsiteX2748" fmla="*/ 2376296 w 3009712"/>
                <a:gd name="connsiteY2748" fmla="*/ 740035 h 4178187"/>
                <a:gd name="connsiteX2749" fmla="*/ 2379050 w 3009712"/>
                <a:gd name="connsiteY2749" fmla="*/ 739642 h 4178187"/>
                <a:gd name="connsiteX2750" fmla="*/ 2381804 w 3009712"/>
                <a:gd name="connsiteY2750" fmla="*/ 738068 h 4178187"/>
                <a:gd name="connsiteX2751" fmla="*/ 2384558 w 3009712"/>
                <a:gd name="connsiteY2751" fmla="*/ 735314 h 4178187"/>
                <a:gd name="connsiteX2752" fmla="*/ 2384951 w 3009712"/>
                <a:gd name="connsiteY2752" fmla="*/ 734920 h 4178187"/>
                <a:gd name="connsiteX2753" fmla="*/ 2388099 w 3009712"/>
                <a:gd name="connsiteY2753" fmla="*/ 734134 h 4178187"/>
                <a:gd name="connsiteX2754" fmla="*/ 2391246 w 3009712"/>
                <a:gd name="connsiteY2754" fmla="*/ 733347 h 4178187"/>
                <a:gd name="connsiteX2755" fmla="*/ 2394000 w 3009712"/>
                <a:gd name="connsiteY2755" fmla="*/ 732953 h 4178187"/>
                <a:gd name="connsiteX2756" fmla="*/ 2397147 w 3009712"/>
                <a:gd name="connsiteY2756" fmla="*/ 730986 h 4178187"/>
                <a:gd name="connsiteX2757" fmla="*/ 2399901 w 3009712"/>
                <a:gd name="connsiteY2757" fmla="*/ 729412 h 4178187"/>
                <a:gd name="connsiteX2758" fmla="*/ 2399508 w 3009712"/>
                <a:gd name="connsiteY2758" fmla="*/ 726658 h 4178187"/>
                <a:gd name="connsiteX2759" fmla="*/ 2401475 w 3009712"/>
                <a:gd name="connsiteY2759" fmla="*/ 723511 h 4178187"/>
                <a:gd name="connsiteX2760" fmla="*/ 2398721 w 3009712"/>
                <a:gd name="connsiteY2760" fmla="*/ 720757 h 4178187"/>
                <a:gd name="connsiteX2761" fmla="*/ 2397541 w 3009712"/>
                <a:gd name="connsiteY2761" fmla="*/ 720757 h 4178187"/>
                <a:gd name="connsiteX2762" fmla="*/ 2399115 w 3009712"/>
                <a:gd name="connsiteY2762" fmla="*/ 720364 h 4178187"/>
                <a:gd name="connsiteX2763" fmla="*/ 2397541 w 3009712"/>
                <a:gd name="connsiteY2763" fmla="*/ 719183 h 4178187"/>
                <a:gd name="connsiteX2764" fmla="*/ 2397147 w 3009712"/>
                <a:gd name="connsiteY2764" fmla="*/ 718790 h 4178187"/>
                <a:gd name="connsiteX2765" fmla="*/ 2398721 w 3009712"/>
                <a:gd name="connsiteY2765" fmla="*/ 718003 h 4178187"/>
                <a:gd name="connsiteX2766" fmla="*/ 2401475 w 3009712"/>
                <a:gd name="connsiteY2766" fmla="*/ 718790 h 4178187"/>
                <a:gd name="connsiteX2767" fmla="*/ 2404623 w 3009712"/>
                <a:gd name="connsiteY2767" fmla="*/ 719577 h 4178187"/>
                <a:gd name="connsiteX2768" fmla="*/ 2405016 w 3009712"/>
                <a:gd name="connsiteY2768" fmla="*/ 716823 h 4178187"/>
                <a:gd name="connsiteX2769" fmla="*/ 2402655 w 3009712"/>
                <a:gd name="connsiteY2769" fmla="*/ 713675 h 4178187"/>
                <a:gd name="connsiteX2770" fmla="*/ 2399901 w 3009712"/>
                <a:gd name="connsiteY2770" fmla="*/ 710921 h 4178187"/>
                <a:gd name="connsiteX2771" fmla="*/ 2397147 w 3009712"/>
                <a:gd name="connsiteY2771" fmla="*/ 709348 h 4178187"/>
                <a:gd name="connsiteX2772" fmla="*/ 2394000 w 3009712"/>
                <a:gd name="connsiteY2772" fmla="*/ 707774 h 4178187"/>
                <a:gd name="connsiteX2773" fmla="*/ 2391246 w 3009712"/>
                <a:gd name="connsiteY2773" fmla="*/ 706200 h 4178187"/>
                <a:gd name="connsiteX2774" fmla="*/ 2388099 w 3009712"/>
                <a:gd name="connsiteY2774" fmla="*/ 705807 h 4178187"/>
                <a:gd name="connsiteX2775" fmla="*/ 2385345 w 3009712"/>
                <a:gd name="connsiteY2775" fmla="*/ 705413 h 4178187"/>
                <a:gd name="connsiteX2776" fmla="*/ 2382591 w 3009712"/>
                <a:gd name="connsiteY2776" fmla="*/ 705020 h 4178187"/>
                <a:gd name="connsiteX2777" fmla="*/ 2379443 w 3009712"/>
                <a:gd name="connsiteY2777" fmla="*/ 704627 h 4178187"/>
                <a:gd name="connsiteX2778" fmla="*/ 2376689 w 3009712"/>
                <a:gd name="connsiteY2778" fmla="*/ 704233 h 4178187"/>
                <a:gd name="connsiteX2779" fmla="*/ 2373542 w 3009712"/>
                <a:gd name="connsiteY2779" fmla="*/ 704627 h 4178187"/>
                <a:gd name="connsiteX2780" fmla="*/ 2373148 w 3009712"/>
                <a:gd name="connsiteY2780" fmla="*/ 704627 h 4178187"/>
                <a:gd name="connsiteX2781" fmla="*/ 2371575 w 3009712"/>
                <a:gd name="connsiteY2781" fmla="*/ 705020 h 4178187"/>
                <a:gd name="connsiteX2782" fmla="*/ 2370001 w 3009712"/>
                <a:gd name="connsiteY2782" fmla="*/ 705413 h 4178187"/>
                <a:gd name="connsiteX2783" fmla="*/ 2367247 w 3009712"/>
                <a:gd name="connsiteY2783" fmla="*/ 705413 h 4178187"/>
                <a:gd name="connsiteX2784" fmla="*/ 2364100 w 3009712"/>
                <a:gd name="connsiteY2784" fmla="*/ 705807 h 4178187"/>
                <a:gd name="connsiteX2785" fmla="*/ 2361346 w 3009712"/>
                <a:gd name="connsiteY2785" fmla="*/ 705807 h 4178187"/>
                <a:gd name="connsiteX2786" fmla="*/ 2358592 w 3009712"/>
                <a:gd name="connsiteY2786" fmla="*/ 706200 h 4178187"/>
                <a:gd name="connsiteX2787" fmla="*/ 2355444 w 3009712"/>
                <a:gd name="connsiteY2787" fmla="*/ 706594 h 4178187"/>
                <a:gd name="connsiteX2788" fmla="*/ 2352690 w 3009712"/>
                <a:gd name="connsiteY2788" fmla="*/ 707381 h 4178187"/>
                <a:gd name="connsiteX2789" fmla="*/ 2349936 w 3009712"/>
                <a:gd name="connsiteY2789" fmla="*/ 708167 h 4178187"/>
                <a:gd name="connsiteX2790" fmla="*/ 2346789 w 3009712"/>
                <a:gd name="connsiteY2790" fmla="*/ 708561 h 4178187"/>
                <a:gd name="connsiteX2791" fmla="*/ 2344035 w 3009712"/>
                <a:gd name="connsiteY2791" fmla="*/ 709348 h 4178187"/>
                <a:gd name="connsiteX2792" fmla="*/ 2341281 w 3009712"/>
                <a:gd name="connsiteY2792" fmla="*/ 710135 h 4178187"/>
                <a:gd name="connsiteX2793" fmla="*/ 2338527 w 3009712"/>
                <a:gd name="connsiteY2793" fmla="*/ 710921 h 4178187"/>
                <a:gd name="connsiteX2794" fmla="*/ 2335773 w 3009712"/>
                <a:gd name="connsiteY2794" fmla="*/ 712102 h 4178187"/>
                <a:gd name="connsiteX2795" fmla="*/ 2332626 w 3009712"/>
                <a:gd name="connsiteY2795" fmla="*/ 713675 h 4178187"/>
                <a:gd name="connsiteX2796" fmla="*/ 2329872 w 3009712"/>
                <a:gd name="connsiteY2796" fmla="*/ 714462 h 4178187"/>
                <a:gd name="connsiteX2797" fmla="*/ 2327118 w 3009712"/>
                <a:gd name="connsiteY2797" fmla="*/ 714856 h 4178187"/>
                <a:gd name="connsiteX2798" fmla="*/ 2324364 w 3009712"/>
                <a:gd name="connsiteY2798" fmla="*/ 715249 h 4178187"/>
                <a:gd name="connsiteX2799" fmla="*/ 2323183 w 3009712"/>
                <a:gd name="connsiteY2799" fmla="*/ 715642 h 4178187"/>
                <a:gd name="connsiteX2800" fmla="*/ 2318069 w 3009712"/>
                <a:gd name="connsiteY2800" fmla="*/ 716823 h 4178187"/>
                <a:gd name="connsiteX2801" fmla="*/ 2312954 w 3009712"/>
                <a:gd name="connsiteY2801" fmla="*/ 719183 h 4178187"/>
                <a:gd name="connsiteX2802" fmla="*/ 2310200 w 3009712"/>
                <a:gd name="connsiteY2802" fmla="*/ 720364 h 4178187"/>
                <a:gd name="connsiteX2803" fmla="*/ 2307053 w 3009712"/>
                <a:gd name="connsiteY2803" fmla="*/ 721544 h 4178187"/>
                <a:gd name="connsiteX2804" fmla="*/ 2304299 w 3009712"/>
                <a:gd name="connsiteY2804" fmla="*/ 722724 h 4178187"/>
                <a:gd name="connsiteX2805" fmla="*/ 2301545 w 3009712"/>
                <a:gd name="connsiteY2805" fmla="*/ 723118 h 4178187"/>
                <a:gd name="connsiteX2806" fmla="*/ 2298397 w 3009712"/>
                <a:gd name="connsiteY2806" fmla="*/ 723904 h 4178187"/>
                <a:gd name="connsiteX2807" fmla="*/ 2295643 w 3009712"/>
                <a:gd name="connsiteY2807" fmla="*/ 725478 h 4178187"/>
                <a:gd name="connsiteX2808" fmla="*/ 2292496 w 3009712"/>
                <a:gd name="connsiteY2808" fmla="*/ 727445 h 4178187"/>
                <a:gd name="connsiteX2809" fmla="*/ 2289742 w 3009712"/>
                <a:gd name="connsiteY2809" fmla="*/ 727839 h 4178187"/>
                <a:gd name="connsiteX2810" fmla="*/ 2286595 w 3009712"/>
                <a:gd name="connsiteY2810" fmla="*/ 730199 h 4178187"/>
                <a:gd name="connsiteX2811" fmla="*/ 2284628 w 3009712"/>
                <a:gd name="connsiteY2811" fmla="*/ 730593 h 4178187"/>
                <a:gd name="connsiteX2812" fmla="*/ 2281874 w 3009712"/>
                <a:gd name="connsiteY2812" fmla="*/ 732166 h 4178187"/>
                <a:gd name="connsiteX2813" fmla="*/ 2278726 w 3009712"/>
                <a:gd name="connsiteY2813" fmla="*/ 733347 h 4178187"/>
                <a:gd name="connsiteX2814" fmla="*/ 2275972 w 3009712"/>
                <a:gd name="connsiteY2814" fmla="*/ 734920 h 4178187"/>
                <a:gd name="connsiteX2815" fmla="*/ 2273218 w 3009712"/>
                <a:gd name="connsiteY2815" fmla="*/ 736494 h 4178187"/>
                <a:gd name="connsiteX2816" fmla="*/ 2270071 w 3009712"/>
                <a:gd name="connsiteY2816" fmla="*/ 738068 h 4178187"/>
                <a:gd name="connsiteX2817" fmla="*/ 2267317 w 3009712"/>
                <a:gd name="connsiteY2817" fmla="*/ 740428 h 4178187"/>
                <a:gd name="connsiteX2818" fmla="*/ 2258661 w 3009712"/>
                <a:gd name="connsiteY2818" fmla="*/ 745543 h 4178187"/>
                <a:gd name="connsiteX2819" fmla="*/ 2255514 w 3009712"/>
                <a:gd name="connsiteY2819" fmla="*/ 747117 h 4178187"/>
                <a:gd name="connsiteX2820" fmla="*/ 2252760 w 3009712"/>
                <a:gd name="connsiteY2820" fmla="*/ 749477 h 4178187"/>
                <a:gd name="connsiteX2821" fmla="*/ 2250006 w 3009712"/>
                <a:gd name="connsiteY2821" fmla="*/ 752625 h 4178187"/>
                <a:gd name="connsiteX2822" fmla="*/ 2246858 w 3009712"/>
                <a:gd name="connsiteY2822" fmla="*/ 754985 h 4178187"/>
                <a:gd name="connsiteX2823" fmla="*/ 2244105 w 3009712"/>
                <a:gd name="connsiteY2823" fmla="*/ 756952 h 4178187"/>
                <a:gd name="connsiteX2824" fmla="*/ 2242138 w 3009712"/>
                <a:gd name="connsiteY2824" fmla="*/ 758526 h 4178187"/>
                <a:gd name="connsiteX2825" fmla="*/ 2235056 w 3009712"/>
                <a:gd name="connsiteY2825" fmla="*/ 762854 h 4178187"/>
                <a:gd name="connsiteX2826" fmla="*/ 2227974 w 3009712"/>
                <a:gd name="connsiteY2826" fmla="*/ 768362 h 4178187"/>
                <a:gd name="connsiteX2827" fmla="*/ 2226794 w 3009712"/>
                <a:gd name="connsiteY2827" fmla="*/ 768755 h 4178187"/>
                <a:gd name="connsiteX2828" fmla="*/ 2224827 w 3009712"/>
                <a:gd name="connsiteY2828" fmla="*/ 770722 h 4178187"/>
                <a:gd name="connsiteX2829" fmla="*/ 2220892 w 3009712"/>
                <a:gd name="connsiteY2829" fmla="*/ 774263 h 4178187"/>
                <a:gd name="connsiteX2830" fmla="*/ 2215384 w 3009712"/>
                <a:gd name="connsiteY2830" fmla="*/ 776624 h 4178187"/>
                <a:gd name="connsiteX2831" fmla="*/ 2217745 w 3009712"/>
                <a:gd name="connsiteY2831" fmla="*/ 774656 h 4178187"/>
                <a:gd name="connsiteX2832" fmla="*/ 2216565 w 3009712"/>
                <a:gd name="connsiteY2832" fmla="*/ 774656 h 4178187"/>
                <a:gd name="connsiteX2833" fmla="*/ 2214991 w 3009712"/>
                <a:gd name="connsiteY2833" fmla="*/ 777017 h 4178187"/>
                <a:gd name="connsiteX2834" fmla="*/ 2197680 w 3009712"/>
                <a:gd name="connsiteY2834" fmla="*/ 784492 h 4178187"/>
                <a:gd name="connsiteX2835" fmla="*/ 2195713 w 3009712"/>
                <a:gd name="connsiteY2835" fmla="*/ 784492 h 4178187"/>
                <a:gd name="connsiteX2836" fmla="*/ 2192566 w 3009712"/>
                <a:gd name="connsiteY2836" fmla="*/ 786459 h 4178187"/>
                <a:gd name="connsiteX2837" fmla="*/ 2189812 w 3009712"/>
                <a:gd name="connsiteY2837" fmla="*/ 788033 h 4178187"/>
                <a:gd name="connsiteX2838" fmla="*/ 2189418 w 3009712"/>
                <a:gd name="connsiteY2838" fmla="*/ 788033 h 4178187"/>
                <a:gd name="connsiteX2839" fmla="*/ 2189418 w 3009712"/>
                <a:gd name="connsiteY2839" fmla="*/ 787640 h 4178187"/>
                <a:gd name="connsiteX2840" fmla="*/ 2189812 w 3009712"/>
                <a:gd name="connsiteY2840" fmla="*/ 787640 h 4178187"/>
                <a:gd name="connsiteX2841" fmla="*/ 2192959 w 3009712"/>
                <a:gd name="connsiteY2841" fmla="*/ 785672 h 4178187"/>
                <a:gd name="connsiteX2842" fmla="*/ 2193353 w 3009712"/>
                <a:gd name="connsiteY2842" fmla="*/ 785672 h 4178187"/>
                <a:gd name="connsiteX2843" fmla="*/ 2204762 w 3009712"/>
                <a:gd name="connsiteY2843" fmla="*/ 778197 h 4178187"/>
                <a:gd name="connsiteX2844" fmla="*/ 2207122 w 3009712"/>
                <a:gd name="connsiteY2844" fmla="*/ 777804 h 4178187"/>
                <a:gd name="connsiteX2845" fmla="*/ 2209877 w 3009712"/>
                <a:gd name="connsiteY2845" fmla="*/ 776624 h 4178187"/>
                <a:gd name="connsiteX2846" fmla="*/ 2213024 w 3009712"/>
                <a:gd name="connsiteY2846" fmla="*/ 773870 h 4178187"/>
                <a:gd name="connsiteX2847" fmla="*/ 2215778 w 3009712"/>
                <a:gd name="connsiteY2847" fmla="*/ 771509 h 4178187"/>
                <a:gd name="connsiteX2848" fmla="*/ 2216565 w 3009712"/>
                <a:gd name="connsiteY2848" fmla="*/ 770329 h 4178187"/>
                <a:gd name="connsiteX2849" fmla="*/ 2225220 w 3009712"/>
                <a:gd name="connsiteY2849" fmla="*/ 764427 h 4178187"/>
                <a:gd name="connsiteX2850" fmla="*/ 2226794 w 3009712"/>
                <a:gd name="connsiteY2850" fmla="*/ 764034 h 4178187"/>
                <a:gd name="connsiteX2851" fmla="*/ 2229548 w 3009712"/>
                <a:gd name="connsiteY2851" fmla="*/ 762460 h 4178187"/>
                <a:gd name="connsiteX2852" fmla="*/ 2230728 w 3009712"/>
                <a:gd name="connsiteY2852" fmla="*/ 760493 h 4178187"/>
                <a:gd name="connsiteX2853" fmla="*/ 2237416 w 3009712"/>
                <a:gd name="connsiteY2853" fmla="*/ 755772 h 4178187"/>
                <a:gd name="connsiteX2854" fmla="*/ 2240170 w 3009712"/>
                <a:gd name="connsiteY2854" fmla="*/ 754198 h 4178187"/>
                <a:gd name="connsiteX2855" fmla="*/ 2242531 w 3009712"/>
                <a:gd name="connsiteY2855" fmla="*/ 751444 h 4178187"/>
                <a:gd name="connsiteX2856" fmla="*/ 2245285 w 3009712"/>
                <a:gd name="connsiteY2856" fmla="*/ 748690 h 4178187"/>
                <a:gd name="connsiteX2857" fmla="*/ 2248039 w 3009712"/>
                <a:gd name="connsiteY2857" fmla="*/ 745936 h 4178187"/>
                <a:gd name="connsiteX2858" fmla="*/ 2250399 w 3009712"/>
                <a:gd name="connsiteY2858" fmla="*/ 742789 h 4178187"/>
                <a:gd name="connsiteX2859" fmla="*/ 2247645 w 3009712"/>
                <a:gd name="connsiteY2859" fmla="*/ 741609 h 4178187"/>
                <a:gd name="connsiteX2860" fmla="*/ 2245285 w 3009712"/>
                <a:gd name="connsiteY2860" fmla="*/ 738855 h 4178187"/>
                <a:gd name="connsiteX2861" fmla="*/ 2238597 w 3009712"/>
                <a:gd name="connsiteY2861" fmla="*/ 736887 h 4178187"/>
                <a:gd name="connsiteX2862" fmla="*/ 2238203 w 3009712"/>
                <a:gd name="connsiteY2862" fmla="*/ 736887 h 4178187"/>
                <a:gd name="connsiteX2863" fmla="*/ 2235449 w 3009712"/>
                <a:gd name="connsiteY2863" fmla="*/ 735707 h 4178187"/>
                <a:gd name="connsiteX2864" fmla="*/ 2240957 w 3009712"/>
                <a:gd name="connsiteY2864" fmla="*/ 736887 h 4178187"/>
                <a:gd name="connsiteX2865" fmla="*/ 2242924 w 3009712"/>
                <a:gd name="connsiteY2865" fmla="*/ 738068 h 4178187"/>
                <a:gd name="connsiteX2866" fmla="*/ 2245678 w 3009712"/>
                <a:gd name="connsiteY2866" fmla="*/ 737674 h 4178187"/>
                <a:gd name="connsiteX2867" fmla="*/ 2247252 w 3009712"/>
                <a:gd name="connsiteY2867" fmla="*/ 738855 h 4178187"/>
                <a:gd name="connsiteX2868" fmla="*/ 2248826 w 3009712"/>
                <a:gd name="connsiteY2868" fmla="*/ 741609 h 4178187"/>
                <a:gd name="connsiteX2869" fmla="*/ 2251580 w 3009712"/>
                <a:gd name="connsiteY2869" fmla="*/ 742002 h 4178187"/>
                <a:gd name="connsiteX2870" fmla="*/ 2254727 w 3009712"/>
                <a:gd name="connsiteY2870" fmla="*/ 740035 h 4178187"/>
                <a:gd name="connsiteX2871" fmla="*/ 2260235 w 3009712"/>
                <a:gd name="connsiteY2871" fmla="*/ 736494 h 4178187"/>
                <a:gd name="connsiteX2872" fmla="*/ 2263382 w 3009712"/>
                <a:gd name="connsiteY2872" fmla="*/ 734134 h 4178187"/>
                <a:gd name="connsiteX2873" fmla="*/ 2266136 w 3009712"/>
                <a:gd name="connsiteY2873" fmla="*/ 731773 h 4178187"/>
                <a:gd name="connsiteX2874" fmla="*/ 2268104 w 3009712"/>
                <a:gd name="connsiteY2874" fmla="*/ 728626 h 4178187"/>
                <a:gd name="connsiteX2875" fmla="*/ 2270858 w 3009712"/>
                <a:gd name="connsiteY2875" fmla="*/ 727052 h 4178187"/>
                <a:gd name="connsiteX2876" fmla="*/ 2274005 w 3009712"/>
                <a:gd name="connsiteY2876" fmla="*/ 725085 h 4178187"/>
                <a:gd name="connsiteX2877" fmla="*/ 2276365 w 3009712"/>
                <a:gd name="connsiteY2877" fmla="*/ 721937 h 4178187"/>
                <a:gd name="connsiteX2878" fmla="*/ 2279513 w 3009712"/>
                <a:gd name="connsiteY2878" fmla="*/ 719970 h 4178187"/>
                <a:gd name="connsiteX2879" fmla="*/ 2280300 w 3009712"/>
                <a:gd name="connsiteY2879" fmla="*/ 719577 h 4178187"/>
                <a:gd name="connsiteX2880" fmla="*/ 2283447 w 3009712"/>
                <a:gd name="connsiteY2880" fmla="*/ 718003 h 4178187"/>
                <a:gd name="connsiteX2881" fmla="*/ 2286201 w 3009712"/>
                <a:gd name="connsiteY2881" fmla="*/ 716429 h 4178187"/>
                <a:gd name="connsiteX2882" fmla="*/ 2289349 w 3009712"/>
                <a:gd name="connsiteY2882" fmla="*/ 714856 h 4178187"/>
                <a:gd name="connsiteX2883" fmla="*/ 2292102 w 3009712"/>
                <a:gd name="connsiteY2883" fmla="*/ 712495 h 4178187"/>
                <a:gd name="connsiteX2884" fmla="*/ 2295250 w 3009712"/>
                <a:gd name="connsiteY2884" fmla="*/ 710921 h 4178187"/>
                <a:gd name="connsiteX2885" fmla="*/ 2298004 w 3009712"/>
                <a:gd name="connsiteY2885" fmla="*/ 709741 h 4178187"/>
                <a:gd name="connsiteX2886" fmla="*/ 2299184 w 3009712"/>
                <a:gd name="connsiteY2886" fmla="*/ 706594 h 4178187"/>
                <a:gd name="connsiteX2887" fmla="*/ 2299971 w 3009712"/>
                <a:gd name="connsiteY2887" fmla="*/ 708167 h 4178187"/>
                <a:gd name="connsiteX2888" fmla="*/ 2298004 w 3009712"/>
                <a:gd name="connsiteY2888" fmla="*/ 710921 h 4178187"/>
                <a:gd name="connsiteX2889" fmla="*/ 2301151 w 3009712"/>
                <a:gd name="connsiteY2889" fmla="*/ 709348 h 4178187"/>
                <a:gd name="connsiteX2890" fmla="*/ 2303905 w 3009712"/>
                <a:gd name="connsiteY2890" fmla="*/ 709348 h 4178187"/>
                <a:gd name="connsiteX2891" fmla="*/ 2302725 w 3009712"/>
                <a:gd name="connsiteY2891" fmla="*/ 706594 h 4178187"/>
                <a:gd name="connsiteX2892" fmla="*/ 2304692 w 3009712"/>
                <a:gd name="connsiteY2892" fmla="*/ 706594 h 4178187"/>
                <a:gd name="connsiteX2893" fmla="*/ 2307840 w 3009712"/>
                <a:gd name="connsiteY2893" fmla="*/ 704627 h 4178187"/>
                <a:gd name="connsiteX2894" fmla="*/ 2310594 w 3009712"/>
                <a:gd name="connsiteY2894" fmla="*/ 703053 h 4178187"/>
                <a:gd name="connsiteX2895" fmla="*/ 2313348 w 3009712"/>
                <a:gd name="connsiteY2895" fmla="*/ 703053 h 4178187"/>
                <a:gd name="connsiteX2896" fmla="*/ 2316495 w 3009712"/>
                <a:gd name="connsiteY2896" fmla="*/ 703446 h 4178187"/>
                <a:gd name="connsiteX2897" fmla="*/ 2319249 w 3009712"/>
                <a:gd name="connsiteY2897" fmla="*/ 702266 h 4178187"/>
                <a:gd name="connsiteX2898" fmla="*/ 2322396 w 3009712"/>
                <a:gd name="connsiteY2898" fmla="*/ 701873 h 4178187"/>
                <a:gd name="connsiteX2899" fmla="*/ 2325544 w 3009712"/>
                <a:gd name="connsiteY2899" fmla="*/ 701479 h 4178187"/>
                <a:gd name="connsiteX2900" fmla="*/ 2328298 w 3009712"/>
                <a:gd name="connsiteY2900" fmla="*/ 701479 h 4178187"/>
                <a:gd name="connsiteX2901" fmla="*/ 2331445 w 3009712"/>
                <a:gd name="connsiteY2901" fmla="*/ 699119 h 4178187"/>
                <a:gd name="connsiteX2902" fmla="*/ 2334199 w 3009712"/>
                <a:gd name="connsiteY2902" fmla="*/ 696758 h 4178187"/>
                <a:gd name="connsiteX2903" fmla="*/ 2335379 w 3009712"/>
                <a:gd name="connsiteY2903" fmla="*/ 694004 h 4178187"/>
                <a:gd name="connsiteX2904" fmla="*/ 2339314 w 3009712"/>
                <a:gd name="connsiteY2904" fmla="*/ 688496 h 4178187"/>
                <a:gd name="connsiteX2905" fmla="*/ 2341281 w 3009712"/>
                <a:gd name="connsiteY2905" fmla="*/ 685742 h 4178187"/>
                <a:gd name="connsiteX2906" fmla="*/ 2344428 w 3009712"/>
                <a:gd name="connsiteY2906" fmla="*/ 685349 h 4178187"/>
                <a:gd name="connsiteX2907" fmla="*/ 2347182 w 3009712"/>
                <a:gd name="connsiteY2907" fmla="*/ 682595 h 4178187"/>
                <a:gd name="connsiteX2908" fmla="*/ 2349936 w 3009712"/>
                <a:gd name="connsiteY2908" fmla="*/ 679447 h 4178187"/>
                <a:gd name="connsiteX2909" fmla="*/ 2350723 w 3009712"/>
                <a:gd name="connsiteY2909" fmla="*/ 679054 h 4178187"/>
                <a:gd name="connsiteX2910" fmla="*/ 2353870 w 3009712"/>
                <a:gd name="connsiteY2910" fmla="*/ 678660 h 4178187"/>
                <a:gd name="connsiteX2911" fmla="*/ 2356625 w 3009712"/>
                <a:gd name="connsiteY2911" fmla="*/ 676300 h 4178187"/>
                <a:gd name="connsiteX2912" fmla="*/ 2359772 w 3009712"/>
                <a:gd name="connsiteY2912" fmla="*/ 673546 h 4178187"/>
                <a:gd name="connsiteX2913" fmla="*/ 2360559 w 3009712"/>
                <a:gd name="connsiteY2913" fmla="*/ 674333 h 4178187"/>
                <a:gd name="connsiteX2914" fmla="*/ 2363706 w 3009712"/>
                <a:gd name="connsiteY2914" fmla="*/ 675120 h 4178187"/>
                <a:gd name="connsiteX2915" fmla="*/ 2363313 w 3009712"/>
                <a:gd name="connsiteY2915" fmla="*/ 673152 h 4178187"/>
                <a:gd name="connsiteX2916" fmla="*/ 2370394 w 3009712"/>
                <a:gd name="connsiteY2916" fmla="*/ 672759 h 4178187"/>
                <a:gd name="connsiteX2917" fmla="*/ 2371968 w 3009712"/>
                <a:gd name="connsiteY2917" fmla="*/ 672759 h 4178187"/>
                <a:gd name="connsiteX2918" fmla="*/ 2373935 w 3009712"/>
                <a:gd name="connsiteY2918" fmla="*/ 672366 h 4178187"/>
                <a:gd name="connsiteX2919" fmla="*/ 2404229 w 3009712"/>
                <a:gd name="connsiteY2919" fmla="*/ 670398 h 4178187"/>
                <a:gd name="connsiteX2920" fmla="*/ 2406590 w 3009712"/>
                <a:gd name="connsiteY2920" fmla="*/ 670792 h 4178187"/>
                <a:gd name="connsiteX2921" fmla="*/ 2409344 w 3009712"/>
                <a:gd name="connsiteY2921" fmla="*/ 670398 h 4178187"/>
                <a:gd name="connsiteX2922" fmla="*/ 2412098 w 3009712"/>
                <a:gd name="connsiteY2922" fmla="*/ 670398 h 4178187"/>
                <a:gd name="connsiteX2923" fmla="*/ 2415245 w 3009712"/>
                <a:gd name="connsiteY2923" fmla="*/ 670005 h 4178187"/>
                <a:gd name="connsiteX2924" fmla="*/ 2417999 w 3009712"/>
                <a:gd name="connsiteY2924" fmla="*/ 668825 h 4178187"/>
                <a:gd name="connsiteX2925" fmla="*/ 2419573 w 3009712"/>
                <a:gd name="connsiteY2925" fmla="*/ 669612 h 4178187"/>
                <a:gd name="connsiteX2926" fmla="*/ 2422327 w 3009712"/>
                <a:gd name="connsiteY2926" fmla="*/ 670398 h 4178187"/>
                <a:gd name="connsiteX2927" fmla="*/ 2425081 w 3009712"/>
                <a:gd name="connsiteY2927" fmla="*/ 670398 h 4178187"/>
                <a:gd name="connsiteX2928" fmla="*/ 2428228 w 3009712"/>
                <a:gd name="connsiteY2928" fmla="*/ 669612 h 4178187"/>
                <a:gd name="connsiteX2929" fmla="*/ 2429802 w 3009712"/>
                <a:gd name="connsiteY2929" fmla="*/ 669612 h 4178187"/>
                <a:gd name="connsiteX2930" fmla="*/ 2435310 w 3009712"/>
                <a:gd name="connsiteY2930" fmla="*/ 670005 h 4178187"/>
                <a:gd name="connsiteX2931" fmla="*/ 2436884 w 3009712"/>
                <a:gd name="connsiteY2931" fmla="*/ 670792 h 4178187"/>
                <a:gd name="connsiteX2932" fmla="*/ 2440031 w 3009712"/>
                <a:gd name="connsiteY2932" fmla="*/ 671185 h 4178187"/>
                <a:gd name="connsiteX2933" fmla="*/ 2442785 w 3009712"/>
                <a:gd name="connsiteY2933" fmla="*/ 672759 h 4178187"/>
                <a:gd name="connsiteX2934" fmla="*/ 2445539 w 3009712"/>
                <a:gd name="connsiteY2934" fmla="*/ 671972 h 4178187"/>
                <a:gd name="connsiteX2935" fmla="*/ 2448293 w 3009712"/>
                <a:gd name="connsiteY2935" fmla="*/ 671972 h 4178187"/>
                <a:gd name="connsiteX2936" fmla="*/ 2449867 w 3009712"/>
                <a:gd name="connsiteY2936" fmla="*/ 671185 h 4178187"/>
                <a:gd name="connsiteX2937" fmla="*/ 2483701 w 3009712"/>
                <a:gd name="connsiteY2937" fmla="*/ 673152 h 4178187"/>
                <a:gd name="connsiteX2938" fmla="*/ 2484488 w 3009712"/>
                <a:gd name="connsiteY2938" fmla="*/ 675513 h 4178187"/>
                <a:gd name="connsiteX2939" fmla="*/ 2487242 w 3009712"/>
                <a:gd name="connsiteY2939" fmla="*/ 674726 h 4178187"/>
                <a:gd name="connsiteX2940" fmla="*/ 2490390 w 3009712"/>
                <a:gd name="connsiteY2940" fmla="*/ 673939 h 4178187"/>
                <a:gd name="connsiteX2941" fmla="*/ 2488029 w 3009712"/>
                <a:gd name="connsiteY2941" fmla="*/ 675513 h 4178187"/>
                <a:gd name="connsiteX2942" fmla="*/ 2484881 w 3009712"/>
                <a:gd name="connsiteY2942" fmla="*/ 677087 h 4178187"/>
                <a:gd name="connsiteX2943" fmla="*/ 2488029 w 3009712"/>
                <a:gd name="connsiteY2943" fmla="*/ 676693 h 4178187"/>
                <a:gd name="connsiteX2944" fmla="*/ 2490783 w 3009712"/>
                <a:gd name="connsiteY2944" fmla="*/ 675513 h 4178187"/>
                <a:gd name="connsiteX2945" fmla="*/ 2493537 w 3009712"/>
                <a:gd name="connsiteY2945" fmla="*/ 674726 h 4178187"/>
                <a:gd name="connsiteX2946" fmla="*/ 2496291 w 3009712"/>
                <a:gd name="connsiteY2946" fmla="*/ 674333 h 4178187"/>
                <a:gd name="connsiteX2947" fmla="*/ 2497471 w 3009712"/>
                <a:gd name="connsiteY2947" fmla="*/ 674333 h 4178187"/>
                <a:gd name="connsiteX2948" fmla="*/ 2499832 w 3009712"/>
                <a:gd name="connsiteY2948" fmla="*/ 674333 h 4178187"/>
                <a:gd name="connsiteX2949" fmla="*/ 2502586 w 3009712"/>
                <a:gd name="connsiteY2949" fmla="*/ 674726 h 4178187"/>
                <a:gd name="connsiteX2950" fmla="*/ 2503766 w 3009712"/>
                <a:gd name="connsiteY2950" fmla="*/ 674333 h 4178187"/>
                <a:gd name="connsiteX2951" fmla="*/ 2509668 w 3009712"/>
                <a:gd name="connsiteY2951" fmla="*/ 673939 h 4178187"/>
                <a:gd name="connsiteX2952" fmla="*/ 2511635 w 3009712"/>
                <a:gd name="connsiteY2952" fmla="*/ 673939 h 4178187"/>
                <a:gd name="connsiteX2953" fmla="*/ 2514388 w 3009712"/>
                <a:gd name="connsiteY2953" fmla="*/ 673546 h 4178187"/>
                <a:gd name="connsiteX2954" fmla="*/ 2517536 w 3009712"/>
                <a:gd name="connsiteY2954" fmla="*/ 673546 h 4178187"/>
                <a:gd name="connsiteX2955" fmla="*/ 2518716 w 3009712"/>
                <a:gd name="connsiteY2955" fmla="*/ 673152 h 4178187"/>
                <a:gd name="connsiteX2956" fmla="*/ 2526978 w 3009712"/>
                <a:gd name="connsiteY2956" fmla="*/ 672759 h 4178187"/>
                <a:gd name="connsiteX2957" fmla="*/ 2529732 w 3009712"/>
                <a:gd name="connsiteY2957" fmla="*/ 673152 h 4178187"/>
                <a:gd name="connsiteX2958" fmla="*/ 2532880 w 3009712"/>
                <a:gd name="connsiteY2958" fmla="*/ 672366 h 4178187"/>
                <a:gd name="connsiteX2959" fmla="*/ 2534453 w 3009712"/>
                <a:gd name="connsiteY2959" fmla="*/ 671579 h 4178187"/>
                <a:gd name="connsiteX2960" fmla="*/ 2536420 w 3009712"/>
                <a:gd name="connsiteY2960" fmla="*/ 670792 h 4178187"/>
                <a:gd name="connsiteX2961" fmla="*/ 2536814 w 3009712"/>
                <a:gd name="connsiteY2961" fmla="*/ 670398 h 4178187"/>
                <a:gd name="connsiteX2962" fmla="*/ 2547043 w 3009712"/>
                <a:gd name="connsiteY2962" fmla="*/ 664891 h 4178187"/>
                <a:gd name="connsiteX2963" fmla="*/ 2554125 w 3009712"/>
                <a:gd name="connsiteY2963" fmla="*/ 660169 h 4178187"/>
                <a:gd name="connsiteX2964" fmla="*/ 2554518 w 3009712"/>
                <a:gd name="connsiteY2964" fmla="*/ 662530 h 4178187"/>
                <a:gd name="connsiteX2965" fmla="*/ 2554912 w 3009712"/>
                <a:gd name="connsiteY2965" fmla="*/ 659776 h 4178187"/>
                <a:gd name="connsiteX2966" fmla="*/ 2554518 w 3009712"/>
                <a:gd name="connsiteY2966" fmla="*/ 659776 h 4178187"/>
                <a:gd name="connsiteX2967" fmla="*/ 2558846 w 3009712"/>
                <a:gd name="connsiteY2967" fmla="*/ 656629 h 4178187"/>
                <a:gd name="connsiteX2968" fmla="*/ 2559239 w 3009712"/>
                <a:gd name="connsiteY2968" fmla="*/ 656629 h 4178187"/>
                <a:gd name="connsiteX2969" fmla="*/ 2561993 w 3009712"/>
                <a:gd name="connsiteY2969" fmla="*/ 654661 h 4178187"/>
                <a:gd name="connsiteX2970" fmla="*/ 2562387 w 3009712"/>
                <a:gd name="connsiteY2970" fmla="*/ 654268 h 4178187"/>
                <a:gd name="connsiteX2971" fmla="*/ 2564747 w 3009712"/>
                <a:gd name="connsiteY2971" fmla="*/ 652694 h 4178187"/>
                <a:gd name="connsiteX2972" fmla="*/ 2564354 w 3009712"/>
                <a:gd name="connsiteY2972" fmla="*/ 655055 h 4178187"/>
                <a:gd name="connsiteX2973" fmla="*/ 2567108 w 3009712"/>
                <a:gd name="connsiteY2973" fmla="*/ 653481 h 4178187"/>
                <a:gd name="connsiteX2974" fmla="*/ 2567895 w 3009712"/>
                <a:gd name="connsiteY2974" fmla="*/ 650334 h 4178187"/>
                <a:gd name="connsiteX2975" fmla="*/ 2571042 w 3009712"/>
                <a:gd name="connsiteY2975" fmla="*/ 647580 h 4178187"/>
                <a:gd name="connsiteX2976" fmla="*/ 2571435 w 3009712"/>
                <a:gd name="connsiteY2976" fmla="*/ 647580 h 4178187"/>
                <a:gd name="connsiteX2977" fmla="*/ 2574583 w 3009712"/>
                <a:gd name="connsiteY2977" fmla="*/ 645219 h 4178187"/>
                <a:gd name="connsiteX2978" fmla="*/ 2577337 w 3009712"/>
                <a:gd name="connsiteY2978" fmla="*/ 644039 h 4178187"/>
                <a:gd name="connsiteX2979" fmla="*/ 2580484 w 3009712"/>
                <a:gd name="connsiteY2979" fmla="*/ 642465 h 4178187"/>
                <a:gd name="connsiteX2980" fmla="*/ 2579697 w 3009712"/>
                <a:gd name="connsiteY2980" fmla="*/ 639711 h 4178187"/>
                <a:gd name="connsiteX2981" fmla="*/ 2586386 w 3009712"/>
                <a:gd name="connsiteY2981" fmla="*/ 638924 h 4178187"/>
                <a:gd name="connsiteX2982" fmla="*/ 2583632 w 3009712"/>
                <a:gd name="connsiteY2982" fmla="*/ 640498 h 4178187"/>
                <a:gd name="connsiteX2983" fmla="*/ 2586386 w 3009712"/>
                <a:gd name="connsiteY2983" fmla="*/ 638924 h 4178187"/>
                <a:gd name="connsiteX2984" fmla="*/ 2586386 w 3009712"/>
                <a:gd name="connsiteY2984" fmla="*/ 638531 h 4178187"/>
                <a:gd name="connsiteX2985" fmla="*/ 2589139 w 3009712"/>
                <a:gd name="connsiteY2985" fmla="*/ 638138 h 4178187"/>
                <a:gd name="connsiteX2986" fmla="*/ 2589139 w 3009712"/>
                <a:gd name="connsiteY2986" fmla="*/ 638138 h 4178187"/>
                <a:gd name="connsiteX2987" fmla="*/ 2592287 w 3009712"/>
                <a:gd name="connsiteY2987" fmla="*/ 638531 h 4178187"/>
                <a:gd name="connsiteX2988" fmla="*/ 2595041 w 3009712"/>
                <a:gd name="connsiteY2988" fmla="*/ 637744 h 4178187"/>
                <a:gd name="connsiteX2989" fmla="*/ 2596221 w 3009712"/>
                <a:gd name="connsiteY2989" fmla="*/ 637351 h 4178187"/>
                <a:gd name="connsiteX2990" fmla="*/ 2621400 w 3009712"/>
                <a:gd name="connsiteY2990" fmla="*/ 634203 h 4178187"/>
                <a:gd name="connsiteX2991" fmla="*/ 2622974 w 3009712"/>
                <a:gd name="connsiteY2991" fmla="*/ 633810 h 4178187"/>
                <a:gd name="connsiteX2992" fmla="*/ 2625728 w 3009712"/>
                <a:gd name="connsiteY2992" fmla="*/ 633023 h 4178187"/>
                <a:gd name="connsiteX2993" fmla="*/ 2628482 w 3009712"/>
                <a:gd name="connsiteY2993" fmla="*/ 632236 h 4178187"/>
                <a:gd name="connsiteX2994" fmla="*/ 2631630 w 3009712"/>
                <a:gd name="connsiteY2994" fmla="*/ 629876 h 4178187"/>
                <a:gd name="connsiteX2995" fmla="*/ 2634384 w 3009712"/>
                <a:gd name="connsiteY2995" fmla="*/ 627515 h 4178187"/>
                <a:gd name="connsiteX2996" fmla="*/ 2637138 w 3009712"/>
                <a:gd name="connsiteY2996" fmla="*/ 626728 h 4178187"/>
                <a:gd name="connsiteX2997" fmla="*/ 2639892 w 3009712"/>
                <a:gd name="connsiteY2997" fmla="*/ 625154 h 4178187"/>
                <a:gd name="connsiteX2998" fmla="*/ 2643039 w 3009712"/>
                <a:gd name="connsiteY2998" fmla="*/ 623581 h 4178187"/>
                <a:gd name="connsiteX2999" fmla="*/ 2645793 w 3009712"/>
                <a:gd name="connsiteY2999" fmla="*/ 622007 h 4178187"/>
                <a:gd name="connsiteX3000" fmla="*/ 2648940 w 3009712"/>
                <a:gd name="connsiteY3000" fmla="*/ 621614 h 4178187"/>
                <a:gd name="connsiteX3001" fmla="*/ 2651694 w 3009712"/>
                <a:gd name="connsiteY3001" fmla="*/ 619646 h 4178187"/>
                <a:gd name="connsiteX3002" fmla="*/ 2654448 w 3009712"/>
                <a:gd name="connsiteY3002" fmla="*/ 618073 h 4178187"/>
                <a:gd name="connsiteX3003" fmla="*/ 2657596 w 3009712"/>
                <a:gd name="connsiteY3003" fmla="*/ 617286 h 4178187"/>
                <a:gd name="connsiteX3004" fmla="*/ 2660350 w 3009712"/>
                <a:gd name="connsiteY3004" fmla="*/ 614532 h 4178187"/>
                <a:gd name="connsiteX3005" fmla="*/ 2663104 w 3009712"/>
                <a:gd name="connsiteY3005" fmla="*/ 612171 h 4178187"/>
                <a:gd name="connsiteX3006" fmla="*/ 2666251 w 3009712"/>
                <a:gd name="connsiteY3006" fmla="*/ 611385 h 4178187"/>
                <a:gd name="connsiteX3007" fmla="*/ 2665464 w 3009712"/>
                <a:gd name="connsiteY3007" fmla="*/ 608631 h 4178187"/>
                <a:gd name="connsiteX3008" fmla="*/ 2667038 w 3009712"/>
                <a:gd name="connsiteY3008" fmla="*/ 605877 h 4178187"/>
                <a:gd name="connsiteX3009" fmla="*/ 2663890 w 3009712"/>
                <a:gd name="connsiteY3009" fmla="*/ 604303 h 4178187"/>
                <a:gd name="connsiteX3010" fmla="*/ 2661923 w 3009712"/>
                <a:gd name="connsiteY3010" fmla="*/ 603123 h 4178187"/>
                <a:gd name="connsiteX3011" fmla="*/ 2662710 w 3009712"/>
                <a:gd name="connsiteY3011" fmla="*/ 602729 h 4178187"/>
                <a:gd name="connsiteX3012" fmla="*/ 2664284 w 3009712"/>
                <a:gd name="connsiteY3012" fmla="*/ 603516 h 4178187"/>
                <a:gd name="connsiteX3013" fmla="*/ 2667038 w 3009712"/>
                <a:gd name="connsiteY3013" fmla="*/ 603123 h 4178187"/>
                <a:gd name="connsiteX3014" fmla="*/ 2670185 w 3009712"/>
                <a:gd name="connsiteY3014" fmla="*/ 603909 h 4178187"/>
                <a:gd name="connsiteX3015" fmla="*/ 2670185 w 3009712"/>
                <a:gd name="connsiteY3015" fmla="*/ 601155 h 4178187"/>
                <a:gd name="connsiteX3016" fmla="*/ 2669399 w 3009712"/>
                <a:gd name="connsiteY3016" fmla="*/ 594074 h 4178187"/>
                <a:gd name="connsiteX3017" fmla="*/ 2668218 w 3009712"/>
                <a:gd name="connsiteY3017" fmla="*/ 593680 h 4178187"/>
                <a:gd name="connsiteX3018" fmla="*/ 2667825 w 3009712"/>
                <a:gd name="connsiteY3018" fmla="*/ 593680 h 4178187"/>
                <a:gd name="connsiteX3019" fmla="*/ 2663890 w 3009712"/>
                <a:gd name="connsiteY3019" fmla="*/ 592893 h 4178187"/>
                <a:gd name="connsiteX3020" fmla="*/ 2662317 w 3009712"/>
                <a:gd name="connsiteY3020" fmla="*/ 592500 h 4178187"/>
                <a:gd name="connsiteX3021" fmla="*/ 2661530 w 3009712"/>
                <a:gd name="connsiteY3021" fmla="*/ 592500 h 4178187"/>
                <a:gd name="connsiteX3022" fmla="*/ 2660743 w 3009712"/>
                <a:gd name="connsiteY3022" fmla="*/ 592500 h 4178187"/>
                <a:gd name="connsiteX3023" fmla="*/ 2663497 w 3009712"/>
                <a:gd name="connsiteY3023" fmla="*/ 591713 h 4178187"/>
                <a:gd name="connsiteX3024" fmla="*/ 2666251 w 3009712"/>
                <a:gd name="connsiteY3024" fmla="*/ 592107 h 4178187"/>
                <a:gd name="connsiteX3025" fmla="*/ 2665858 w 3009712"/>
                <a:gd name="connsiteY3025" fmla="*/ 589353 h 4178187"/>
                <a:gd name="connsiteX3026" fmla="*/ 2669005 w 3009712"/>
                <a:gd name="connsiteY3026" fmla="*/ 590140 h 4178187"/>
                <a:gd name="connsiteX3027" fmla="*/ 2671759 w 3009712"/>
                <a:gd name="connsiteY3027" fmla="*/ 591320 h 4178187"/>
                <a:gd name="connsiteX3028" fmla="*/ 2673333 w 3009712"/>
                <a:gd name="connsiteY3028" fmla="*/ 588172 h 4178187"/>
                <a:gd name="connsiteX3029" fmla="*/ 2670579 w 3009712"/>
                <a:gd name="connsiteY3029" fmla="*/ 588172 h 4178187"/>
                <a:gd name="connsiteX3030" fmla="*/ 2667825 w 3009712"/>
                <a:gd name="connsiteY3030" fmla="*/ 587386 h 4178187"/>
                <a:gd name="connsiteX3031" fmla="*/ 2666645 w 3009712"/>
                <a:gd name="connsiteY3031" fmla="*/ 584632 h 4178187"/>
                <a:gd name="connsiteX3032" fmla="*/ 2669399 w 3009712"/>
                <a:gd name="connsiteY3032" fmla="*/ 584632 h 4178187"/>
                <a:gd name="connsiteX3033" fmla="*/ 2672546 w 3009712"/>
                <a:gd name="connsiteY3033" fmla="*/ 584238 h 4178187"/>
                <a:gd name="connsiteX3034" fmla="*/ 2675300 w 3009712"/>
                <a:gd name="connsiteY3034" fmla="*/ 582271 h 4178187"/>
                <a:gd name="connsiteX3035" fmla="*/ 2674513 w 3009712"/>
                <a:gd name="connsiteY3035" fmla="*/ 579517 h 4178187"/>
                <a:gd name="connsiteX3036" fmla="*/ 2671366 w 3009712"/>
                <a:gd name="connsiteY3036" fmla="*/ 578337 h 4178187"/>
                <a:gd name="connsiteX3037" fmla="*/ 2669399 w 3009712"/>
                <a:gd name="connsiteY3037" fmla="*/ 577550 h 4178187"/>
                <a:gd name="connsiteX3038" fmla="*/ 2669792 w 3009712"/>
                <a:gd name="connsiteY3038" fmla="*/ 577156 h 4178187"/>
                <a:gd name="connsiteX3039" fmla="*/ 2671759 w 3009712"/>
                <a:gd name="connsiteY3039" fmla="*/ 577156 h 4178187"/>
                <a:gd name="connsiteX3040" fmla="*/ 2674513 w 3009712"/>
                <a:gd name="connsiteY3040" fmla="*/ 577550 h 4178187"/>
                <a:gd name="connsiteX3041" fmla="*/ 2677660 w 3009712"/>
                <a:gd name="connsiteY3041" fmla="*/ 575189 h 4178187"/>
                <a:gd name="connsiteX3042" fmla="*/ 2680414 w 3009712"/>
                <a:gd name="connsiteY3042" fmla="*/ 572829 h 4178187"/>
                <a:gd name="connsiteX3043" fmla="*/ 2680021 w 3009712"/>
                <a:gd name="connsiteY3043" fmla="*/ 570075 h 4178187"/>
                <a:gd name="connsiteX3044" fmla="*/ 2680808 w 3009712"/>
                <a:gd name="connsiteY3044" fmla="*/ 567321 h 4178187"/>
                <a:gd name="connsiteX3045" fmla="*/ 2679234 w 3009712"/>
                <a:gd name="connsiteY3045" fmla="*/ 565747 h 4178187"/>
                <a:gd name="connsiteX3046" fmla="*/ 2676087 w 3009712"/>
                <a:gd name="connsiteY3046" fmla="*/ 566140 h 4178187"/>
                <a:gd name="connsiteX3047" fmla="*/ 2676480 w 3009712"/>
                <a:gd name="connsiteY3047" fmla="*/ 563387 h 4178187"/>
                <a:gd name="connsiteX3048" fmla="*/ 2674120 w 3009712"/>
                <a:gd name="connsiteY3048" fmla="*/ 560633 h 4178187"/>
                <a:gd name="connsiteX3049" fmla="*/ 2676874 w 3009712"/>
                <a:gd name="connsiteY3049" fmla="*/ 559846 h 4178187"/>
                <a:gd name="connsiteX3050" fmla="*/ 2674120 w 3009712"/>
                <a:gd name="connsiteY3050" fmla="*/ 559846 h 4178187"/>
                <a:gd name="connsiteX3051" fmla="*/ 2671366 w 3009712"/>
                <a:gd name="connsiteY3051" fmla="*/ 558272 h 4178187"/>
                <a:gd name="connsiteX3052" fmla="*/ 2668612 w 3009712"/>
                <a:gd name="connsiteY3052" fmla="*/ 558665 h 4178187"/>
                <a:gd name="connsiteX3053" fmla="*/ 2665464 w 3009712"/>
                <a:gd name="connsiteY3053" fmla="*/ 558272 h 4178187"/>
                <a:gd name="connsiteX3054" fmla="*/ 2662710 w 3009712"/>
                <a:gd name="connsiteY3054" fmla="*/ 556698 h 4178187"/>
                <a:gd name="connsiteX3055" fmla="*/ 2665858 w 3009712"/>
                <a:gd name="connsiteY3055" fmla="*/ 557092 h 4178187"/>
                <a:gd name="connsiteX3056" fmla="*/ 2668218 w 3009712"/>
                <a:gd name="connsiteY3056" fmla="*/ 554338 h 4178187"/>
                <a:gd name="connsiteX3057" fmla="*/ 2665464 w 3009712"/>
                <a:gd name="connsiteY3057" fmla="*/ 555911 h 4178187"/>
                <a:gd name="connsiteX3058" fmla="*/ 2662317 w 3009712"/>
                <a:gd name="connsiteY3058" fmla="*/ 555518 h 4178187"/>
                <a:gd name="connsiteX3059" fmla="*/ 2656809 w 3009712"/>
                <a:gd name="connsiteY3059" fmla="*/ 555518 h 4178187"/>
                <a:gd name="connsiteX3060" fmla="*/ 2654055 w 3009712"/>
                <a:gd name="connsiteY3060" fmla="*/ 557092 h 4178187"/>
                <a:gd name="connsiteX3061" fmla="*/ 2651301 w 3009712"/>
                <a:gd name="connsiteY3061" fmla="*/ 559846 h 4178187"/>
                <a:gd name="connsiteX3062" fmla="*/ 2650121 w 3009712"/>
                <a:gd name="connsiteY3062" fmla="*/ 561026 h 4178187"/>
                <a:gd name="connsiteX3063" fmla="*/ 2646186 w 3009712"/>
                <a:gd name="connsiteY3063" fmla="*/ 560239 h 4178187"/>
                <a:gd name="connsiteX3064" fmla="*/ 2646186 w 3009712"/>
                <a:gd name="connsiteY3064" fmla="*/ 559846 h 4178187"/>
                <a:gd name="connsiteX3065" fmla="*/ 2643433 w 3009712"/>
                <a:gd name="connsiteY3065" fmla="*/ 559452 h 4178187"/>
                <a:gd name="connsiteX3066" fmla="*/ 2644613 w 3009712"/>
                <a:gd name="connsiteY3066" fmla="*/ 557485 h 4178187"/>
                <a:gd name="connsiteX3067" fmla="*/ 2646973 w 3009712"/>
                <a:gd name="connsiteY3067" fmla="*/ 557092 h 4178187"/>
                <a:gd name="connsiteX3068" fmla="*/ 2649727 w 3009712"/>
                <a:gd name="connsiteY3068" fmla="*/ 555911 h 4178187"/>
                <a:gd name="connsiteX3069" fmla="*/ 2652481 w 3009712"/>
                <a:gd name="connsiteY3069" fmla="*/ 553944 h 4178187"/>
                <a:gd name="connsiteX3070" fmla="*/ 2655629 w 3009712"/>
                <a:gd name="connsiteY3070" fmla="*/ 551977 h 4178187"/>
                <a:gd name="connsiteX3071" fmla="*/ 2653268 w 3009712"/>
                <a:gd name="connsiteY3071" fmla="*/ 549223 h 4178187"/>
                <a:gd name="connsiteX3072" fmla="*/ 2652875 w 3009712"/>
                <a:gd name="connsiteY3072" fmla="*/ 546469 h 4178187"/>
                <a:gd name="connsiteX3073" fmla="*/ 2652481 w 3009712"/>
                <a:gd name="connsiteY3073" fmla="*/ 543322 h 4178187"/>
                <a:gd name="connsiteX3074" fmla="*/ 2652088 w 3009712"/>
                <a:gd name="connsiteY3074" fmla="*/ 540568 h 4178187"/>
                <a:gd name="connsiteX3075" fmla="*/ 2649334 w 3009712"/>
                <a:gd name="connsiteY3075" fmla="*/ 540961 h 4178187"/>
                <a:gd name="connsiteX3076" fmla="*/ 2646186 w 3009712"/>
                <a:gd name="connsiteY3076" fmla="*/ 540174 h 4178187"/>
                <a:gd name="connsiteX3077" fmla="*/ 2643433 w 3009712"/>
                <a:gd name="connsiteY3077" fmla="*/ 540568 h 4178187"/>
                <a:gd name="connsiteX3078" fmla="*/ 2640678 w 3009712"/>
                <a:gd name="connsiteY3078" fmla="*/ 540174 h 4178187"/>
                <a:gd name="connsiteX3079" fmla="*/ 2637924 w 3009712"/>
                <a:gd name="connsiteY3079" fmla="*/ 539388 h 4178187"/>
                <a:gd name="connsiteX3080" fmla="*/ 2633990 w 3009712"/>
                <a:gd name="connsiteY3080" fmla="*/ 539388 h 4178187"/>
                <a:gd name="connsiteX3081" fmla="*/ 2631236 w 3009712"/>
                <a:gd name="connsiteY3081" fmla="*/ 540174 h 4178187"/>
                <a:gd name="connsiteX3082" fmla="*/ 2628482 w 3009712"/>
                <a:gd name="connsiteY3082" fmla="*/ 540174 h 4178187"/>
                <a:gd name="connsiteX3083" fmla="*/ 2627302 w 3009712"/>
                <a:gd name="connsiteY3083" fmla="*/ 543322 h 4178187"/>
                <a:gd name="connsiteX3084" fmla="*/ 2630056 w 3009712"/>
                <a:gd name="connsiteY3084" fmla="*/ 542928 h 4178187"/>
                <a:gd name="connsiteX3085" fmla="*/ 2633203 w 3009712"/>
                <a:gd name="connsiteY3085" fmla="*/ 542535 h 4178187"/>
                <a:gd name="connsiteX3086" fmla="*/ 2635957 w 3009712"/>
                <a:gd name="connsiteY3086" fmla="*/ 542928 h 4178187"/>
                <a:gd name="connsiteX3087" fmla="*/ 2638711 w 3009712"/>
                <a:gd name="connsiteY3087" fmla="*/ 543715 h 4178187"/>
                <a:gd name="connsiteX3088" fmla="*/ 2635957 w 3009712"/>
                <a:gd name="connsiteY3088" fmla="*/ 544502 h 4178187"/>
                <a:gd name="connsiteX3089" fmla="*/ 2633203 w 3009712"/>
                <a:gd name="connsiteY3089" fmla="*/ 544109 h 4178187"/>
                <a:gd name="connsiteX3090" fmla="*/ 2630056 w 3009712"/>
                <a:gd name="connsiteY3090" fmla="*/ 542928 h 4178187"/>
                <a:gd name="connsiteX3091" fmla="*/ 2627302 w 3009712"/>
                <a:gd name="connsiteY3091" fmla="*/ 543322 h 4178187"/>
                <a:gd name="connsiteX3092" fmla="*/ 2624155 w 3009712"/>
                <a:gd name="connsiteY3092" fmla="*/ 544502 h 4178187"/>
                <a:gd name="connsiteX3093" fmla="*/ 2621400 w 3009712"/>
                <a:gd name="connsiteY3093" fmla="*/ 544895 h 4178187"/>
                <a:gd name="connsiteX3094" fmla="*/ 2618646 w 3009712"/>
                <a:gd name="connsiteY3094" fmla="*/ 546076 h 4178187"/>
                <a:gd name="connsiteX3095" fmla="*/ 2615893 w 3009712"/>
                <a:gd name="connsiteY3095" fmla="*/ 546863 h 4178187"/>
                <a:gd name="connsiteX3096" fmla="*/ 2612745 w 3009712"/>
                <a:gd name="connsiteY3096" fmla="*/ 547256 h 4178187"/>
                <a:gd name="connsiteX3097" fmla="*/ 2609598 w 3009712"/>
                <a:gd name="connsiteY3097" fmla="*/ 549617 h 4178187"/>
                <a:gd name="connsiteX3098" fmla="*/ 2606844 w 3009712"/>
                <a:gd name="connsiteY3098" fmla="*/ 551190 h 4178187"/>
                <a:gd name="connsiteX3099" fmla="*/ 2605270 w 3009712"/>
                <a:gd name="connsiteY3099" fmla="*/ 554338 h 4178187"/>
                <a:gd name="connsiteX3100" fmla="*/ 2602516 w 3009712"/>
                <a:gd name="connsiteY3100" fmla="*/ 555911 h 4178187"/>
                <a:gd name="connsiteX3101" fmla="*/ 2599369 w 3009712"/>
                <a:gd name="connsiteY3101" fmla="*/ 555518 h 4178187"/>
                <a:gd name="connsiteX3102" fmla="*/ 2596615 w 3009712"/>
                <a:gd name="connsiteY3102" fmla="*/ 556305 h 4178187"/>
                <a:gd name="connsiteX3103" fmla="*/ 2593861 w 3009712"/>
                <a:gd name="connsiteY3103" fmla="*/ 557879 h 4178187"/>
                <a:gd name="connsiteX3104" fmla="*/ 2590713 w 3009712"/>
                <a:gd name="connsiteY3104" fmla="*/ 559452 h 4178187"/>
                <a:gd name="connsiteX3105" fmla="*/ 2587566 w 3009712"/>
                <a:gd name="connsiteY3105" fmla="*/ 560633 h 4178187"/>
                <a:gd name="connsiteX3106" fmla="*/ 2584812 w 3009712"/>
                <a:gd name="connsiteY3106" fmla="*/ 561026 h 4178187"/>
                <a:gd name="connsiteX3107" fmla="*/ 2582058 w 3009712"/>
                <a:gd name="connsiteY3107" fmla="*/ 560633 h 4178187"/>
                <a:gd name="connsiteX3108" fmla="*/ 2579697 w 3009712"/>
                <a:gd name="connsiteY3108" fmla="*/ 563387 h 4178187"/>
                <a:gd name="connsiteX3109" fmla="*/ 2579304 w 3009712"/>
                <a:gd name="connsiteY3109" fmla="*/ 563387 h 4178187"/>
                <a:gd name="connsiteX3110" fmla="*/ 2576550 w 3009712"/>
                <a:gd name="connsiteY3110" fmla="*/ 564960 h 4178187"/>
                <a:gd name="connsiteX3111" fmla="*/ 2575370 w 3009712"/>
                <a:gd name="connsiteY3111" fmla="*/ 565354 h 4178187"/>
                <a:gd name="connsiteX3112" fmla="*/ 2568288 w 3009712"/>
                <a:gd name="connsiteY3112" fmla="*/ 567321 h 4178187"/>
                <a:gd name="connsiteX3113" fmla="*/ 2565927 w 3009712"/>
                <a:gd name="connsiteY3113" fmla="*/ 566534 h 4178187"/>
                <a:gd name="connsiteX3114" fmla="*/ 2568681 w 3009712"/>
                <a:gd name="connsiteY3114" fmla="*/ 564567 h 4178187"/>
                <a:gd name="connsiteX3115" fmla="*/ 2571435 w 3009712"/>
                <a:gd name="connsiteY3115" fmla="*/ 562993 h 4178187"/>
                <a:gd name="connsiteX3116" fmla="*/ 2574583 w 3009712"/>
                <a:gd name="connsiteY3116" fmla="*/ 562600 h 4178187"/>
                <a:gd name="connsiteX3117" fmla="*/ 2573009 w 3009712"/>
                <a:gd name="connsiteY3117" fmla="*/ 559846 h 4178187"/>
                <a:gd name="connsiteX3118" fmla="*/ 2570255 w 3009712"/>
                <a:gd name="connsiteY3118" fmla="*/ 559059 h 4178187"/>
                <a:gd name="connsiteX3119" fmla="*/ 2567501 w 3009712"/>
                <a:gd name="connsiteY3119" fmla="*/ 556305 h 4178187"/>
                <a:gd name="connsiteX3120" fmla="*/ 2564747 w 3009712"/>
                <a:gd name="connsiteY3120" fmla="*/ 555125 h 4178187"/>
                <a:gd name="connsiteX3121" fmla="*/ 2561600 w 3009712"/>
                <a:gd name="connsiteY3121" fmla="*/ 554731 h 4178187"/>
                <a:gd name="connsiteX3122" fmla="*/ 2560813 w 3009712"/>
                <a:gd name="connsiteY3122" fmla="*/ 554731 h 4178187"/>
                <a:gd name="connsiteX3123" fmla="*/ 2560026 w 3009712"/>
                <a:gd name="connsiteY3123" fmla="*/ 550797 h 4178187"/>
                <a:gd name="connsiteX3124" fmla="*/ 2562387 w 3009712"/>
                <a:gd name="connsiteY3124" fmla="*/ 553551 h 4178187"/>
                <a:gd name="connsiteX3125" fmla="*/ 2565141 w 3009712"/>
                <a:gd name="connsiteY3125" fmla="*/ 553944 h 4178187"/>
                <a:gd name="connsiteX3126" fmla="*/ 2567895 w 3009712"/>
                <a:gd name="connsiteY3126" fmla="*/ 555518 h 4178187"/>
                <a:gd name="connsiteX3127" fmla="*/ 2571042 w 3009712"/>
                <a:gd name="connsiteY3127" fmla="*/ 557879 h 4178187"/>
                <a:gd name="connsiteX3128" fmla="*/ 2573796 w 3009712"/>
                <a:gd name="connsiteY3128" fmla="*/ 559452 h 4178187"/>
                <a:gd name="connsiteX3129" fmla="*/ 2576156 w 3009712"/>
                <a:gd name="connsiteY3129" fmla="*/ 556305 h 4178187"/>
                <a:gd name="connsiteX3130" fmla="*/ 2578910 w 3009712"/>
                <a:gd name="connsiteY3130" fmla="*/ 554338 h 4178187"/>
                <a:gd name="connsiteX3131" fmla="*/ 2580484 w 3009712"/>
                <a:gd name="connsiteY3131" fmla="*/ 551977 h 4178187"/>
                <a:gd name="connsiteX3132" fmla="*/ 2583238 w 3009712"/>
                <a:gd name="connsiteY3132" fmla="*/ 551584 h 4178187"/>
                <a:gd name="connsiteX3133" fmla="*/ 2585992 w 3009712"/>
                <a:gd name="connsiteY3133" fmla="*/ 550010 h 4178187"/>
                <a:gd name="connsiteX3134" fmla="*/ 2589139 w 3009712"/>
                <a:gd name="connsiteY3134" fmla="*/ 550403 h 4178187"/>
                <a:gd name="connsiteX3135" fmla="*/ 2591893 w 3009712"/>
                <a:gd name="connsiteY3135" fmla="*/ 550797 h 4178187"/>
                <a:gd name="connsiteX3136" fmla="*/ 2594648 w 3009712"/>
                <a:gd name="connsiteY3136" fmla="*/ 550403 h 4178187"/>
                <a:gd name="connsiteX3137" fmla="*/ 2597795 w 3009712"/>
                <a:gd name="connsiteY3137" fmla="*/ 548830 h 4178187"/>
                <a:gd name="connsiteX3138" fmla="*/ 2600549 w 3009712"/>
                <a:gd name="connsiteY3138" fmla="*/ 547649 h 4178187"/>
                <a:gd name="connsiteX3139" fmla="*/ 2603696 w 3009712"/>
                <a:gd name="connsiteY3139" fmla="*/ 546863 h 4178187"/>
                <a:gd name="connsiteX3140" fmla="*/ 2606450 w 3009712"/>
                <a:gd name="connsiteY3140" fmla="*/ 546469 h 4178187"/>
                <a:gd name="connsiteX3141" fmla="*/ 2609204 w 3009712"/>
                <a:gd name="connsiteY3141" fmla="*/ 545682 h 4178187"/>
                <a:gd name="connsiteX3142" fmla="*/ 2612352 w 3009712"/>
                <a:gd name="connsiteY3142" fmla="*/ 543322 h 4178187"/>
                <a:gd name="connsiteX3143" fmla="*/ 2615106 w 3009712"/>
                <a:gd name="connsiteY3143" fmla="*/ 543715 h 4178187"/>
                <a:gd name="connsiteX3144" fmla="*/ 2617860 w 3009712"/>
                <a:gd name="connsiteY3144" fmla="*/ 543715 h 4178187"/>
                <a:gd name="connsiteX3145" fmla="*/ 2621007 w 3009712"/>
                <a:gd name="connsiteY3145" fmla="*/ 541748 h 4178187"/>
                <a:gd name="connsiteX3146" fmla="*/ 2623761 w 3009712"/>
                <a:gd name="connsiteY3146" fmla="*/ 540174 h 4178187"/>
                <a:gd name="connsiteX3147" fmla="*/ 2626909 w 3009712"/>
                <a:gd name="connsiteY3147" fmla="*/ 537814 h 4178187"/>
                <a:gd name="connsiteX3148" fmla="*/ 2623761 w 3009712"/>
                <a:gd name="connsiteY3148" fmla="*/ 538601 h 4178187"/>
                <a:gd name="connsiteX3149" fmla="*/ 2621007 w 3009712"/>
                <a:gd name="connsiteY3149" fmla="*/ 539388 h 4178187"/>
                <a:gd name="connsiteX3150" fmla="*/ 2618253 w 3009712"/>
                <a:gd name="connsiteY3150" fmla="*/ 540568 h 4178187"/>
                <a:gd name="connsiteX3151" fmla="*/ 2615106 w 3009712"/>
                <a:gd name="connsiteY3151" fmla="*/ 540961 h 4178187"/>
                <a:gd name="connsiteX3152" fmla="*/ 2612352 w 3009712"/>
                <a:gd name="connsiteY3152" fmla="*/ 541355 h 4178187"/>
                <a:gd name="connsiteX3153" fmla="*/ 2610385 w 3009712"/>
                <a:gd name="connsiteY3153" fmla="*/ 542928 h 4178187"/>
                <a:gd name="connsiteX3154" fmla="*/ 2607631 w 3009712"/>
                <a:gd name="connsiteY3154" fmla="*/ 543322 h 4178187"/>
                <a:gd name="connsiteX3155" fmla="*/ 2604877 w 3009712"/>
                <a:gd name="connsiteY3155" fmla="*/ 544109 h 4178187"/>
                <a:gd name="connsiteX3156" fmla="*/ 2601729 w 3009712"/>
                <a:gd name="connsiteY3156" fmla="*/ 544502 h 4178187"/>
                <a:gd name="connsiteX3157" fmla="*/ 2598582 w 3009712"/>
                <a:gd name="connsiteY3157" fmla="*/ 544502 h 4178187"/>
                <a:gd name="connsiteX3158" fmla="*/ 2597008 w 3009712"/>
                <a:gd name="connsiteY3158" fmla="*/ 544895 h 4178187"/>
                <a:gd name="connsiteX3159" fmla="*/ 2596221 w 3009712"/>
                <a:gd name="connsiteY3159" fmla="*/ 544895 h 4178187"/>
                <a:gd name="connsiteX3160" fmla="*/ 2609204 w 3009712"/>
                <a:gd name="connsiteY3160" fmla="*/ 541355 h 4178187"/>
                <a:gd name="connsiteX3161" fmla="*/ 2613532 w 3009712"/>
                <a:gd name="connsiteY3161" fmla="*/ 540568 h 4178187"/>
                <a:gd name="connsiteX3162" fmla="*/ 2616679 w 3009712"/>
                <a:gd name="connsiteY3162" fmla="*/ 540568 h 4178187"/>
                <a:gd name="connsiteX3163" fmla="*/ 2619433 w 3009712"/>
                <a:gd name="connsiteY3163" fmla="*/ 540174 h 4178187"/>
                <a:gd name="connsiteX3164" fmla="*/ 2622581 w 3009712"/>
                <a:gd name="connsiteY3164" fmla="*/ 538994 h 4178187"/>
                <a:gd name="connsiteX3165" fmla="*/ 2625335 w 3009712"/>
                <a:gd name="connsiteY3165" fmla="*/ 537814 h 4178187"/>
                <a:gd name="connsiteX3166" fmla="*/ 2628482 w 3009712"/>
                <a:gd name="connsiteY3166" fmla="*/ 537420 h 4178187"/>
                <a:gd name="connsiteX3167" fmla="*/ 2631236 w 3009712"/>
                <a:gd name="connsiteY3167" fmla="*/ 537027 h 4178187"/>
                <a:gd name="connsiteX3168" fmla="*/ 2633990 w 3009712"/>
                <a:gd name="connsiteY3168" fmla="*/ 534666 h 4178187"/>
                <a:gd name="connsiteX3169" fmla="*/ 2639892 w 3009712"/>
                <a:gd name="connsiteY3169" fmla="*/ 533093 h 4178187"/>
                <a:gd name="connsiteX3170" fmla="*/ 2648547 w 3009712"/>
                <a:gd name="connsiteY3170" fmla="*/ 533093 h 4178187"/>
                <a:gd name="connsiteX3171" fmla="*/ 2651694 w 3009712"/>
                <a:gd name="connsiteY3171" fmla="*/ 531912 h 4178187"/>
                <a:gd name="connsiteX3172" fmla="*/ 2654448 w 3009712"/>
                <a:gd name="connsiteY3172" fmla="*/ 530339 h 4178187"/>
                <a:gd name="connsiteX3173" fmla="*/ 2651694 w 3009712"/>
                <a:gd name="connsiteY3173" fmla="*/ 530339 h 4178187"/>
                <a:gd name="connsiteX3174" fmla="*/ 2648940 w 3009712"/>
                <a:gd name="connsiteY3174" fmla="*/ 530732 h 4178187"/>
                <a:gd name="connsiteX3175" fmla="*/ 2650907 w 3009712"/>
                <a:gd name="connsiteY3175" fmla="*/ 529945 h 4178187"/>
                <a:gd name="connsiteX3176" fmla="*/ 2653661 w 3009712"/>
                <a:gd name="connsiteY3176" fmla="*/ 529945 h 4178187"/>
                <a:gd name="connsiteX3177" fmla="*/ 2656809 w 3009712"/>
                <a:gd name="connsiteY3177" fmla="*/ 529552 h 4178187"/>
                <a:gd name="connsiteX3178" fmla="*/ 2659170 w 3009712"/>
                <a:gd name="connsiteY3178" fmla="*/ 526404 h 4178187"/>
                <a:gd name="connsiteX3179" fmla="*/ 2656416 w 3009712"/>
                <a:gd name="connsiteY3179" fmla="*/ 524437 h 4178187"/>
                <a:gd name="connsiteX3180" fmla="*/ 2653268 w 3009712"/>
                <a:gd name="connsiteY3180" fmla="*/ 524831 h 4178187"/>
                <a:gd name="connsiteX3181" fmla="*/ 2650514 w 3009712"/>
                <a:gd name="connsiteY3181" fmla="*/ 523257 h 4178187"/>
                <a:gd name="connsiteX3182" fmla="*/ 2647760 w 3009712"/>
                <a:gd name="connsiteY3182" fmla="*/ 521290 h 4178187"/>
                <a:gd name="connsiteX3183" fmla="*/ 2645006 w 3009712"/>
                <a:gd name="connsiteY3183" fmla="*/ 521683 h 4178187"/>
                <a:gd name="connsiteX3184" fmla="*/ 2642252 w 3009712"/>
                <a:gd name="connsiteY3184" fmla="*/ 521290 h 4178187"/>
                <a:gd name="connsiteX3185" fmla="*/ 2639105 w 3009712"/>
                <a:gd name="connsiteY3185" fmla="*/ 519716 h 4178187"/>
                <a:gd name="connsiteX3186" fmla="*/ 2636351 w 3009712"/>
                <a:gd name="connsiteY3186" fmla="*/ 520110 h 4178187"/>
                <a:gd name="connsiteX3187" fmla="*/ 2633203 w 3009712"/>
                <a:gd name="connsiteY3187" fmla="*/ 519716 h 4178187"/>
                <a:gd name="connsiteX3188" fmla="*/ 2630449 w 3009712"/>
                <a:gd name="connsiteY3188" fmla="*/ 519323 h 4178187"/>
                <a:gd name="connsiteX3189" fmla="*/ 2627695 w 3009712"/>
                <a:gd name="connsiteY3189" fmla="*/ 518929 h 4178187"/>
                <a:gd name="connsiteX3190" fmla="*/ 2625728 w 3009712"/>
                <a:gd name="connsiteY3190" fmla="*/ 516175 h 4178187"/>
                <a:gd name="connsiteX3191" fmla="*/ 2622974 w 3009712"/>
                <a:gd name="connsiteY3191" fmla="*/ 516569 h 4178187"/>
                <a:gd name="connsiteX3192" fmla="*/ 2625728 w 3009712"/>
                <a:gd name="connsiteY3192" fmla="*/ 515388 h 4178187"/>
                <a:gd name="connsiteX3193" fmla="*/ 2624548 w 3009712"/>
                <a:gd name="connsiteY3193" fmla="*/ 512635 h 4178187"/>
                <a:gd name="connsiteX3194" fmla="*/ 2626122 w 3009712"/>
                <a:gd name="connsiteY3194" fmla="*/ 509881 h 4178187"/>
                <a:gd name="connsiteX3195" fmla="*/ 2623368 w 3009712"/>
                <a:gd name="connsiteY3195" fmla="*/ 510274 h 4178187"/>
                <a:gd name="connsiteX3196" fmla="*/ 2620614 w 3009712"/>
                <a:gd name="connsiteY3196" fmla="*/ 511061 h 4178187"/>
                <a:gd name="connsiteX3197" fmla="*/ 2617466 w 3009712"/>
                <a:gd name="connsiteY3197" fmla="*/ 513028 h 4178187"/>
                <a:gd name="connsiteX3198" fmla="*/ 2616286 w 3009712"/>
                <a:gd name="connsiteY3198" fmla="*/ 513421 h 4178187"/>
                <a:gd name="connsiteX3199" fmla="*/ 2615893 w 3009712"/>
                <a:gd name="connsiteY3199" fmla="*/ 513028 h 4178187"/>
                <a:gd name="connsiteX3200" fmla="*/ 2617466 w 3009712"/>
                <a:gd name="connsiteY3200" fmla="*/ 512241 h 4178187"/>
                <a:gd name="connsiteX3201" fmla="*/ 2620614 w 3009712"/>
                <a:gd name="connsiteY3201" fmla="*/ 509881 h 4178187"/>
                <a:gd name="connsiteX3202" fmla="*/ 2622974 w 3009712"/>
                <a:gd name="connsiteY3202" fmla="*/ 507127 h 4178187"/>
                <a:gd name="connsiteX3203" fmla="*/ 2620220 w 3009712"/>
                <a:gd name="connsiteY3203" fmla="*/ 507520 h 4178187"/>
                <a:gd name="connsiteX3204" fmla="*/ 2617073 w 3009712"/>
                <a:gd name="connsiteY3204" fmla="*/ 510274 h 4178187"/>
                <a:gd name="connsiteX3205" fmla="*/ 2613926 w 3009712"/>
                <a:gd name="connsiteY3205" fmla="*/ 511848 h 4178187"/>
                <a:gd name="connsiteX3206" fmla="*/ 2613532 w 3009712"/>
                <a:gd name="connsiteY3206" fmla="*/ 512241 h 4178187"/>
                <a:gd name="connsiteX3207" fmla="*/ 2612745 w 3009712"/>
                <a:gd name="connsiteY3207" fmla="*/ 511848 h 4178187"/>
                <a:gd name="connsiteX3208" fmla="*/ 2615106 w 3009712"/>
                <a:gd name="connsiteY3208" fmla="*/ 510274 h 4178187"/>
                <a:gd name="connsiteX3209" fmla="*/ 2614712 w 3009712"/>
                <a:gd name="connsiteY3209" fmla="*/ 507127 h 4178187"/>
                <a:gd name="connsiteX3210" fmla="*/ 2611565 w 3009712"/>
                <a:gd name="connsiteY3210" fmla="*/ 509094 h 4178187"/>
                <a:gd name="connsiteX3211" fmla="*/ 2608811 w 3009712"/>
                <a:gd name="connsiteY3211" fmla="*/ 509487 h 4178187"/>
                <a:gd name="connsiteX3212" fmla="*/ 2608417 w 3009712"/>
                <a:gd name="connsiteY3212" fmla="*/ 509487 h 4178187"/>
                <a:gd name="connsiteX3213" fmla="*/ 2606450 w 3009712"/>
                <a:gd name="connsiteY3213" fmla="*/ 508307 h 4178187"/>
                <a:gd name="connsiteX3214" fmla="*/ 2608811 w 3009712"/>
                <a:gd name="connsiteY3214" fmla="*/ 506733 h 4178187"/>
                <a:gd name="connsiteX3215" fmla="*/ 2608417 w 3009712"/>
                <a:gd name="connsiteY3215" fmla="*/ 503586 h 4178187"/>
                <a:gd name="connsiteX3216" fmla="*/ 2605270 w 3009712"/>
                <a:gd name="connsiteY3216" fmla="*/ 505159 h 4178187"/>
                <a:gd name="connsiteX3217" fmla="*/ 2602516 w 3009712"/>
                <a:gd name="connsiteY3217" fmla="*/ 505946 h 4178187"/>
                <a:gd name="connsiteX3218" fmla="*/ 2600942 w 3009712"/>
                <a:gd name="connsiteY3218" fmla="*/ 507127 h 4178187"/>
                <a:gd name="connsiteX3219" fmla="*/ 2600942 w 3009712"/>
                <a:gd name="connsiteY3219" fmla="*/ 507127 h 4178187"/>
                <a:gd name="connsiteX3220" fmla="*/ 2592287 w 3009712"/>
                <a:gd name="connsiteY3220" fmla="*/ 513028 h 4178187"/>
                <a:gd name="connsiteX3221" fmla="*/ 2595041 w 3009712"/>
                <a:gd name="connsiteY3221" fmla="*/ 510667 h 4178187"/>
                <a:gd name="connsiteX3222" fmla="*/ 2597795 w 3009712"/>
                <a:gd name="connsiteY3222" fmla="*/ 509094 h 4178187"/>
                <a:gd name="connsiteX3223" fmla="*/ 2600156 w 3009712"/>
                <a:gd name="connsiteY3223" fmla="*/ 505946 h 4178187"/>
                <a:gd name="connsiteX3224" fmla="*/ 2597402 w 3009712"/>
                <a:gd name="connsiteY3224" fmla="*/ 505553 h 4178187"/>
                <a:gd name="connsiteX3225" fmla="*/ 2594254 w 3009712"/>
                <a:gd name="connsiteY3225" fmla="*/ 507127 h 4178187"/>
                <a:gd name="connsiteX3226" fmla="*/ 2591107 w 3009712"/>
                <a:gd name="connsiteY3226" fmla="*/ 508700 h 4178187"/>
                <a:gd name="connsiteX3227" fmla="*/ 2588353 w 3009712"/>
                <a:gd name="connsiteY3227" fmla="*/ 510667 h 4178187"/>
                <a:gd name="connsiteX3228" fmla="*/ 2585205 w 3009712"/>
                <a:gd name="connsiteY3228" fmla="*/ 512241 h 4178187"/>
                <a:gd name="connsiteX3229" fmla="*/ 2582451 w 3009712"/>
                <a:gd name="connsiteY3229" fmla="*/ 514208 h 4178187"/>
                <a:gd name="connsiteX3230" fmla="*/ 2582058 w 3009712"/>
                <a:gd name="connsiteY3230" fmla="*/ 514208 h 4178187"/>
                <a:gd name="connsiteX3231" fmla="*/ 2583238 w 3009712"/>
                <a:gd name="connsiteY3231" fmla="*/ 512635 h 4178187"/>
                <a:gd name="connsiteX3232" fmla="*/ 2584812 w 3009712"/>
                <a:gd name="connsiteY3232" fmla="*/ 511454 h 4178187"/>
                <a:gd name="connsiteX3233" fmla="*/ 2587959 w 3009712"/>
                <a:gd name="connsiteY3233" fmla="*/ 509881 h 4178187"/>
                <a:gd name="connsiteX3234" fmla="*/ 2591107 w 3009712"/>
                <a:gd name="connsiteY3234" fmla="*/ 507520 h 4178187"/>
                <a:gd name="connsiteX3235" fmla="*/ 2593861 w 3009712"/>
                <a:gd name="connsiteY3235" fmla="*/ 505553 h 4178187"/>
                <a:gd name="connsiteX3236" fmla="*/ 2591107 w 3009712"/>
                <a:gd name="connsiteY3236" fmla="*/ 506340 h 4178187"/>
                <a:gd name="connsiteX3237" fmla="*/ 2587959 w 3009712"/>
                <a:gd name="connsiteY3237" fmla="*/ 507913 h 4178187"/>
                <a:gd name="connsiteX3238" fmla="*/ 2590713 w 3009712"/>
                <a:gd name="connsiteY3238" fmla="*/ 505553 h 4178187"/>
                <a:gd name="connsiteX3239" fmla="*/ 2593467 w 3009712"/>
                <a:gd name="connsiteY3239" fmla="*/ 504766 h 4178187"/>
                <a:gd name="connsiteX3240" fmla="*/ 2595828 w 3009712"/>
                <a:gd name="connsiteY3240" fmla="*/ 501619 h 4178187"/>
                <a:gd name="connsiteX3241" fmla="*/ 2598975 w 3009712"/>
                <a:gd name="connsiteY3241" fmla="*/ 501225 h 4178187"/>
                <a:gd name="connsiteX3242" fmla="*/ 2600156 w 3009712"/>
                <a:gd name="connsiteY3242" fmla="*/ 498471 h 4178187"/>
                <a:gd name="connsiteX3243" fmla="*/ 2597402 w 3009712"/>
                <a:gd name="connsiteY3243" fmla="*/ 499258 h 4178187"/>
                <a:gd name="connsiteX3244" fmla="*/ 2594254 w 3009712"/>
                <a:gd name="connsiteY3244" fmla="*/ 500832 h 4178187"/>
                <a:gd name="connsiteX3245" fmla="*/ 2597008 w 3009712"/>
                <a:gd name="connsiteY3245" fmla="*/ 498865 h 4178187"/>
                <a:gd name="connsiteX3246" fmla="*/ 2597795 w 3009712"/>
                <a:gd name="connsiteY3246" fmla="*/ 496111 h 4178187"/>
                <a:gd name="connsiteX3247" fmla="*/ 2597008 w 3009712"/>
                <a:gd name="connsiteY3247" fmla="*/ 492963 h 4178187"/>
                <a:gd name="connsiteX3248" fmla="*/ 2599762 w 3009712"/>
                <a:gd name="connsiteY3248" fmla="*/ 492176 h 4178187"/>
                <a:gd name="connsiteX3249" fmla="*/ 2600942 w 3009712"/>
                <a:gd name="connsiteY3249" fmla="*/ 489029 h 4178187"/>
                <a:gd name="connsiteX3250" fmla="*/ 2598188 w 3009712"/>
                <a:gd name="connsiteY3250" fmla="*/ 489029 h 4178187"/>
                <a:gd name="connsiteX3251" fmla="*/ 2595828 w 3009712"/>
                <a:gd name="connsiteY3251" fmla="*/ 491783 h 4178187"/>
                <a:gd name="connsiteX3252" fmla="*/ 2592680 w 3009712"/>
                <a:gd name="connsiteY3252" fmla="*/ 493750 h 4178187"/>
                <a:gd name="connsiteX3253" fmla="*/ 2595041 w 3009712"/>
                <a:gd name="connsiteY3253" fmla="*/ 490603 h 4178187"/>
                <a:gd name="connsiteX3254" fmla="*/ 2595434 w 3009712"/>
                <a:gd name="connsiteY3254" fmla="*/ 487849 h 4178187"/>
                <a:gd name="connsiteX3255" fmla="*/ 2592680 w 3009712"/>
                <a:gd name="connsiteY3255" fmla="*/ 490209 h 4178187"/>
                <a:gd name="connsiteX3256" fmla="*/ 2589926 w 3009712"/>
                <a:gd name="connsiteY3256" fmla="*/ 490603 h 4178187"/>
                <a:gd name="connsiteX3257" fmla="*/ 2588353 w 3009712"/>
                <a:gd name="connsiteY3257" fmla="*/ 490209 h 4178187"/>
                <a:gd name="connsiteX3258" fmla="*/ 2591107 w 3009712"/>
                <a:gd name="connsiteY3258" fmla="*/ 489816 h 4178187"/>
                <a:gd name="connsiteX3259" fmla="*/ 2591500 w 3009712"/>
                <a:gd name="connsiteY3259" fmla="*/ 487062 h 4178187"/>
                <a:gd name="connsiteX3260" fmla="*/ 2588746 w 3009712"/>
                <a:gd name="connsiteY3260" fmla="*/ 486668 h 4178187"/>
                <a:gd name="connsiteX3261" fmla="*/ 2585599 w 3009712"/>
                <a:gd name="connsiteY3261" fmla="*/ 487062 h 4178187"/>
                <a:gd name="connsiteX3262" fmla="*/ 2584025 w 3009712"/>
                <a:gd name="connsiteY3262" fmla="*/ 486275 h 4178187"/>
                <a:gd name="connsiteX3263" fmla="*/ 2583238 w 3009712"/>
                <a:gd name="connsiteY3263" fmla="*/ 485095 h 4178187"/>
                <a:gd name="connsiteX3264" fmla="*/ 2585599 w 3009712"/>
                <a:gd name="connsiteY3264" fmla="*/ 483128 h 4178187"/>
                <a:gd name="connsiteX3265" fmla="*/ 2582845 w 3009712"/>
                <a:gd name="connsiteY3265" fmla="*/ 483128 h 4178187"/>
                <a:gd name="connsiteX3266" fmla="*/ 2580484 w 3009712"/>
                <a:gd name="connsiteY3266" fmla="*/ 481947 h 4178187"/>
                <a:gd name="connsiteX3267" fmla="*/ 2578910 w 3009712"/>
                <a:gd name="connsiteY3267" fmla="*/ 479980 h 4178187"/>
                <a:gd name="connsiteX3268" fmla="*/ 2581665 w 3009712"/>
                <a:gd name="connsiteY3268" fmla="*/ 478800 h 4178187"/>
                <a:gd name="connsiteX3269" fmla="*/ 2578517 w 3009712"/>
                <a:gd name="connsiteY3269" fmla="*/ 479587 h 4178187"/>
                <a:gd name="connsiteX3270" fmla="*/ 2580091 w 3009712"/>
                <a:gd name="connsiteY3270" fmla="*/ 476833 h 4178187"/>
                <a:gd name="connsiteX3271" fmla="*/ 2582451 w 3009712"/>
                <a:gd name="connsiteY3271" fmla="*/ 473685 h 4178187"/>
                <a:gd name="connsiteX3272" fmla="*/ 2579697 w 3009712"/>
                <a:gd name="connsiteY3272" fmla="*/ 474079 h 4178187"/>
                <a:gd name="connsiteX3273" fmla="*/ 2576943 w 3009712"/>
                <a:gd name="connsiteY3273" fmla="*/ 473685 h 4178187"/>
                <a:gd name="connsiteX3274" fmla="*/ 2574189 w 3009712"/>
                <a:gd name="connsiteY3274" fmla="*/ 474079 h 4178187"/>
                <a:gd name="connsiteX3275" fmla="*/ 2573009 w 3009712"/>
                <a:gd name="connsiteY3275" fmla="*/ 474472 h 4178187"/>
                <a:gd name="connsiteX3276" fmla="*/ 2573009 w 3009712"/>
                <a:gd name="connsiteY3276" fmla="*/ 473685 h 4178187"/>
                <a:gd name="connsiteX3277" fmla="*/ 2572616 w 3009712"/>
                <a:gd name="connsiteY3277" fmla="*/ 473685 h 4178187"/>
                <a:gd name="connsiteX3278" fmla="*/ 2572222 w 3009712"/>
                <a:gd name="connsiteY3278" fmla="*/ 472505 h 4178187"/>
                <a:gd name="connsiteX3279" fmla="*/ 2573009 w 3009712"/>
                <a:gd name="connsiteY3279" fmla="*/ 472898 h 4178187"/>
                <a:gd name="connsiteX3280" fmla="*/ 2575763 w 3009712"/>
                <a:gd name="connsiteY3280" fmla="*/ 472112 h 4178187"/>
                <a:gd name="connsiteX3281" fmla="*/ 2573009 w 3009712"/>
                <a:gd name="connsiteY3281" fmla="*/ 471325 h 4178187"/>
                <a:gd name="connsiteX3282" fmla="*/ 2576156 w 3009712"/>
                <a:gd name="connsiteY3282" fmla="*/ 470931 h 4178187"/>
                <a:gd name="connsiteX3283" fmla="*/ 2573402 w 3009712"/>
                <a:gd name="connsiteY3283" fmla="*/ 468177 h 4178187"/>
                <a:gd name="connsiteX3284" fmla="*/ 2570255 w 3009712"/>
                <a:gd name="connsiteY3284" fmla="*/ 467784 h 4178187"/>
                <a:gd name="connsiteX3285" fmla="*/ 2570255 w 3009712"/>
                <a:gd name="connsiteY3285" fmla="*/ 467784 h 4178187"/>
                <a:gd name="connsiteX3286" fmla="*/ 2569468 w 3009712"/>
                <a:gd name="connsiteY3286" fmla="*/ 465423 h 4178187"/>
                <a:gd name="connsiteX3287" fmla="*/ 2570649 w 3009712"/>
                <a:gd name="connsiteY3287" fmla="*/ 465030 h 4178187"/>
                <a:gd name="connsiteX3288" fmla="*/ 2573402 w 3009712"/>
                <a:gd name="connsiteY3288" fmla="*/ 464637 h 4178187"/>
                <a:gd name="connsiteX3289" fmla="*/ 2576550 w 3009712"/>
                <a:gd name="connsiteY3289" fmla="*/ 465423 h 4178187"/>
                <a:gd name="connsiteX3290" fmla="*/ 2579304 w 3009712"/>
                <a:gd name="connsiteY3290" fmla="*/ 462669 h 4178187"/>
                <a:gd name="connsiteX3291" fmla="*/ 2576550 w 3009712"/>
                <a:gd name="connsiteY3291" fmla="*/ 462276 h 4178187"/>
                <a:gd name="connsiteX3292" fmla="*/ 2573796 w 3009712"/>
                <a:gd name="connsiteY3292" fmla="*/ 462669 h 4178187"/>
                <a:gd name="connsiteX3293" fmla="*/ 2570649 w 3009712"/>
                <a:gd name="connsiteY3293" fmla="*/ 462276 h 4178187"/>
                <a:gd name="connsiteX3294" fmla="*/ 2567895 w 3009712"/>
                <a:gd name="connsiteY3294" fmla="*/ 461882 h 4178187"/>
                <a:gd name="connsiteX3295" fmla="*/ 2568681 w 3009712"/>
                <a:gd name="connsiteY3295" fmla="*/ 461489 h 4178187"/>
                <a:gd name="connsiteX3296" fmla="*/ 2571829 w 3009712"/>
                <a:gd name="connsiteY3296" fmla="*/ 461882 h 4178187"/>
                <a:gd name="connsiteX3297" fmla="*/ 2574583 w 3009712"/>
                <a:gd name="connsiteY3297" fmla="*/ 461489 h 4178187"/>
                <a:gd name="connsiteX3298" fmla="*/ 2571829 w 3009712"/>
                <a:gd name="connsiteY3298" fmla="*/ 460702 h 4178187"/>
                <a:gd name="connsiteX3299" fmla="*/ 2571435 w 3009712"/>
                <a:gd name="connsiteY3299" fmla="*/ 460702 h 4178187"/>
                <a:gd name="connsiteX3300" fmla="*/ 2573402 w 3009712"/>
                <a:gd name="connsiteY3300" fmla="*/ 459915 h 4178187"/>
                <a:gd name="connsiteX3301" fmla="*/ 2575370 w 3009712"/>
                <a:gd name="connsiteY3301" fmla="*/ 460702 h 4178187"/>
                <a:gd name="connsiteX3302" fmla="*/ 2578124 w 3009712"/>
                <a:gd name="connsiteY3302" fmla="*/ 461489 h 4178187"/>
                <a:gd name="connsiteX3303" fmla="*/ 2581271 w 3009712"/>
                <a:gd name="connsiteY3303" fmla="*/ 460702 h 4178187"/>
                <a:gd name="connsiteX3304" fmla="*/ 2580878 w 3009712"/>
                <a:gd name="connsiteY3304" fmla="*/ 457555 h 4178187"/>
                <a:gd name="connsiteX3305" fmla="*/ 2578124 w 3009712"/>
                <a:gd name="connsiteY3305" fmla="*/ 459522 h 4178187"/>
                <a:gd name="connsiteX3306" fmla="*/ 2580091 w 3009712"/>
                <a:gd name="connsiteY3306" fmla="*/ 457555 h 4178187"/>
                <a:gd name="connsiteX3307" fmla="*/ 2582845 w 3009712"/>
                <a:gd name="connsiteY3307" fmla="*/ 456375 h 4178187"/>
                <a:gd name="connsiteX3308" fmla="*/ 2584025 w 3009712"/>
                <a:gd name="connsiteY3308" fmla="*/ 456375 h 4178187"/>
                <a:gd name="connsiteX3309" fmla="*/ 2584812 w 3009712"/>
                <a:gd name="connsiteY3309" fmla="*/ 455981 h 4178187"/>
                <a:gd name="connsiteX3310" fmla="*/ 2587959 w 3009712"/>
                <a:gd name="connsiteY3310" fmla="*/ 454801 h 4178187"/>
                <a:gd name="connsiteX3311" fmla="*/ 2586386 w 3009712"/>
                <a:gd name="connsiteY3311" fmla="*/ 456768 h 4178187"/>
                <a:gd name="connsiteX3312" fmla="*/ 2585599 w 3009712"/>
                <a:gd name="connsiteY3312" fmla="*/ 459522 h 4178187"/>
                <a:gd name="connsiteX3313" fmla="*/ 2587959 w 3009712"/>
                <a:gd name="connsiteY3313" fmla="*/ 462669 h 4178187"/>
                <a:gd name="connsiteX3314" fmla="*/ 2591107 w 3009712"/>
                <a:gd name="connsiteY3314" fmla="*/ 460309 h 4178187"/>
                <a:gd name="connsiteX3315" fmla="*/ 2591893 w 3009712"/>
                <a:gd name="connsiteY3315" fmla="*/ 457555 h 4178187"/>
                <a:gd name="connsiteX3316" fmla="*/ 2589139 w 3009712"/>
                <a:gd name="connsiteY3316" fmla="*/ 457161 h 4178187"/>
                <a:gd name="connsiteX3317" fmla="*/ 2591893 w 3009712"/>
                <a:gd name="connsiteY3317" fmla="*/ 456375 h 4178187"/>
                <a:gd name="connsiteX3318" fmla="*/ 2594648 w 3009712"/>
                <a:gd name="connsiteY3318" fmla="*/ 453621 h 4178187"/>
                <a:gd name="connsiteX3319" fmla="*/ 2594254 w 3009712"/>
                <a:gd name="connsiteY3319" fmla="*/ 453227 h 4178187"/>
                <a:gd name="connsiteX3320" fmla="*/ 2593467 w 3009712"/>
                <a:gd name="connsiteY3320" fmla="*/ 453227 h 4178187"/>
                <a:gd name="connsiteX3321" fmla="*/ 2595434 w 3009712"/>
                <a:gd name="connsiteY3321" fmla="*/ 452440 h 4178187"/>
                <a:gd name="connsiteX3322" fmla="*/ 2595828 w 3009712"/>
                <a:gd name="connsiteY3322" fmla="*/ 452047 h 4178187"/>
                <a:gd name="connsiteX3323" fmla="*/ 2596615 w 3009712"/>
                <a:gd name="connsiteY3323" fmla="*/ 449293 h 4178187"/>
                <a:gd name="connsiteX3324" fmla="*/ 2594254 w 3009712"/>
                <a:gd name="connsiteY3324" fmla="*/ 446145 h 4178187"/>
                <a:gd name="connsiteX3325" fmla="*/ 2592287 w 3009712"/>
                <a:gd name="connsiteY3325" fmla="*/ 444965 h 4178187"/>
                <a:gd name="connsiteX3326" fmla="*/ 2589139 w 3009712"/>
                <a:gd name="connsiteY3326" fmla="*/ 436703 h 4178187"/>
                <a:gd name="connsiteX3327" fmla="*/ 2591107 w 3009712"/>
                <a:gd name="connsiteY3327" fmla="*/ 436310 h 4178187"/>
                <a:gd name="connsiteX3328" fmla="*/ 2593861 w 3009712"/>
                <a:gd name="connsiteY3328" fmla="*/ 433949 h 4178187"/>
                <a:gd name="connsiteX3329" fmla="*/ 2591107 w 3009712"/>
                <a:gd name="connsiteY3329" fmla="*/ 433556 h 4178187"/>
                <a:gd name="connsiteX3330" fmla="*/ 2588353 w 3009712"/>
                <a:gd name="connsiteY3330" fmla="*/ 434343 h 4178187"/>
                <a:gd name="connsiteX3331" fmla="*/ 2588353 w 3009712"/>
                <a:gd name="connsiteY3331" fmla="*/ 435130 h 4178187"/>
                <a:gd name="connsiteX3332" fmla="*/ 2587566 w 3009712"/>
                <a:gd name="connsiteY3332" fmla="*/ 433162 h 4178187"/>
                <a:gd name="connsiteX3333" fmla="*/ 2587959 w 3009712"/>
                <a:gd name="connsiteY3333" fmla="*/ 432769 h 4178187"/>
                <a:gd name="connsiteX3334" fmla="*/ 2590713 w 3009712"/>
                <a:gd name="connsiteY3334" fmla="*/ 432376 h 4178187"/>
                <a:gd name="connsiteX3335" fmla="*/ 2592287 w 3009712"/>
                <a:gd name="connsiteY3335" fmla="*/ 429622 h 4178187"/>
                <a:gd name="connsiteX3336" fmla="*/ 2589533 w 3009712"/>
                <a:gd name="connsiteY3336" fmla="*/ 426868 h 4178187"/>
                <a:gd name="connsiteX3337" fmla="*/ 2592287 w 3009712"/>
                <a:gd name="connsiteY3337" fmla="*/ 423720 h 4178187"/>
                <a:gd name="connsiteX3338" fmla="*/ 2591893 w 3009712"/>
                <a:gd name="connsiteY3338" fmla="*/ 420966 h 4178187"/>
                <a:gd name="connsiteX3339" fmla="*/ 2589139 w 3009712"/>
                <a:gd name="connsiteY3339" fmla="*/ 422146 h 4178187"/>
                <a:gd name="connsiteX3340" fmla="*/ 2586386 w 3009712"/>
                <a:gd name="connsiteY3340" fmla="*/ 421753 h 4178187"/>
                <a:gd name="connsiteX3341" fmla="*/ 2584419 w 3009712"/>
                <a:gd name="connsiteY3341" fmla="*/ 424114 h 4178187"/>
                <a:gd name="connsiteX3342" fmla="*/ 2584419 w 3009712"/>
                <a:gd name="connsiteY3342" fmla="*/ 423720 h 4178187"/>
                <a:gd name="connsiteX3343" fmla="*/ 2585205 w 3009712"/>
                <a:gd name="connsiteY3343" fmla="*/ 421753 h 4178187"/>
                <a:gd name="connsiteX3344" fmla="*/ 2583632 w 3009712"/>
                <a:gd name="connsiteY3344" fmla="*/ 421753 h 4178187"/>
                <a:gd name="connsiteX3345" fmla="*/ 2583238 w 3009712"/>
                <a:gd name="connsiteY3345" fmla="*/ 420573 h 4178187"/>
                <a:gd name="connsiteX3346" fmla="*/ 2585599 w 3009712"/>
                <a:gd name="connsiteY3346" fmla="*/ 420179 h 4178187"/>
                <a:gd name="connsiteX3347" fmla="*/ 2588746 w 3009712"/>
                <a:gd name="connsiteY3347" fmla="*/ 419786 h 4178187"/>
                <a:gd name="connsiteX3348" fmla="*/ 2588353 w 3009712"/>
                <a:gd name="connsiteY3348" fmla="*/ 417032 h 4178187"/>
                <a:gd name="connsiteX3349" fmla="*/ 2585599 w 3009712"/>
                <a:gd name="connsiteY3349" fmla="*/ 417819 h 4178187"/>
                <a:gd name="connsiteX3350" fmla="*/ 2587959 w 3009712"/>
                <a:gd name="connsiteY3350" fmla="*/ 415065 h 4178187"/>
                <a:gd name="connsiteX3351" fmla="*/ 2585205 w 3009712"/>
                <a:gd name="connsiteY3351" fmla="*/ 415458 h 4178187"/>
                <a:gd name="connsiteX3352" fmla="*/ 2582058 w 3009712"/>
                <a:gd name="connsiteY3352" fmla="*/ 416245 h 4178187"/>
                <a:gd name="connsiteX3353" fmla="*/ 2579697 w 3009712"/>
                <a:gd name="connsiteY3353" fmla="*/ 416638 h 4178187"/>
                <a:gd name="connsiteX3354" fmla="*/ 2574976 w 3009712"/>
                <a:gd name="connsiteY3354" fmla="*/ 413098 h 4178187"/>
                <a:gd name="connsiteX3355" fmla="*/ 2573009 w 3009712"/>
                <a:gd name="connsiteY3355" fmla="*/ 414278 h 4178187"/>
                <a:gd name="connsiteX3356" fmla="*/ 2567895 w 3009712"/>
                <a:gd name="connsiteY3356" fmla="*/ 415065 h 4178187"/>
                <a:gd name="connsiteX3357" fmla="*/ 2570255 w 3009712"/>
                <a:gd name="connsiteY3357" fmla="*/ 414278 h 4178187"/>
                <a:gd name="connsiteX3358" fmla="*/ 2573009 w 3009712"/>
                <a:gd name="connsiteY3358" fmla="*/ 412704 h 4178187"/>
                <a:gd name="connsiteX3359" fmla="*/ 2575763 w 3009712"/>
                <a:gd name="connsiteY3359" fmla="*/ 412311 h 4178187"/>
                <a:gd name="connsiteX3360" fmla="*/ 2578517 w 3009712"/>
                <a:gd name="connsiteY3360" fmla="*/ 411917 h 4178187"/>
                <a:gd name="connsiteX3361" fmla="*/ 2581665 w 3009712"/>
                <a:gd name="connsiteY3361" fmla="*/ 409950 h 4178187"/>
                <a:gd name="connsiteX3362" fmla="*/ 2578910 w 3009712"/>
                <a:gd name="connsiteY3362" fmla="*/ 409163 h 4178187"/>
                <a:gd name="connsiteX3363" fmla="*/ 2581665 w 3009712"/>
                <a:gd name="connsiteY3363" fmla="*/ 409163 h 4178187"/>
                <a:gd name="connsiteX3364" fmla="*/ 2584812 w 3009712"/>
                <a:gd name="connsiteY3364" fmla="*/ 407590 h 4178187"/>
                <a:gd name="connsiteX3365" fmla="*/ 2585599 w 3009712"/>
                <a:gd name="connsiteY3365" fmla="*/ 404836 h 4178187"/>
                <a:gd name="connsiteX3366" fmla="*/ 2587172 w 3009712"/>
                <a:gd name="connsiteY3366" fmla="*/ 402082 h 4178187"/>
                <a:gd name="connsiteX3367" fmla="*/ 2584419 w 3009712"/>
                <a:gd name="connsiteY3367" fmla="*/ 402475 h 4178187"/>
                <a:gd name="connsiteX3368" fmla="*/ 2581665 w 3009712"/>
                <a:gd name="connsiteY3368" fmla="*/ 402869 h 4178187"/>
                <a:gd name="connsiteX3369" fmla="*/ 2578517 w 3009712"/>
                <a:gd name="connsiteY3369" fmla="*/ 403262 h 4178187"/>
                <a:gd name="connsiteX3370" fmla="*/ 2575763 w 3009712"/>
                <a:gd name="connsiteY3370" fmla="*/ 403655 h 4178187"/>
                <a:gd name="connsiteX3371" fmla="*/ 2573009 w 3009712"/>
                <a:gd name="connsiteY3371" fmla="*/ 405229 h 4178187"/>
                <a:gd name="connsiteX3372" fmla="*/ 2575763 w 3009712"/>
                <a:gd name="connsiteY3372" fmla="*/ 402869 h 4178187"/>
                <a:gd name="connsiteX3373" fmla="*/ 2573009 w 3009712"/>
                <a:gd name="connsiteY3373" fmla="*/ 402475 h 4178187"/>
                <a:gd name="connsiteX3374" fmla="*/ 2569862 w 3009712"/>
                <a:gd name="connsiteY3374" fmla="*/ 403655 h 4178187"/>
                <a:gd name="connsiteX3375" fmla="*/ 2570255 w 3009712"/>
                <a:gd name="connsiteY3375" fmla="*/ 401688 h 4178187"/>
                <a:gd name="connsiteX3376" fmla="*/ 2572222 w 3009712"/>
                <a:gd name="connsiteY3376" fmla="*/ 401688 h 4178187"/>
                <a:gd name="connsiteX3377" fmla="*/ 2574976 w 3009712"/>
                <a:gd name="connsiteY3377" fmla="*/ 401295 h 4178187"/>
                <a:gd name="connsiteX3378" fmla="*/ 2577730 w 3009712"/>
                <a:gd name="connsiteY3378" fmla="*/ 399721 h 4178187"/>
                <a:gd name="connsiteX3379" fmla="*/ 2580484 w 3009712"/>
                <a:gd name="connsiteY3379" fmla="*/ 399328 h 4178187"/>
                <a:gd name="connsiteX3380" fmla="*/ 2583238 w 3009712"/>
                <a:gd name="connsiteY3380" fmla="*/ 397361 h 4178187"/>
                <a:gd name="connsiteX3381" fmla="*/ 2582845 w 3009712"/>
                <a:gd name="connsiteY3381" fmla="*/ 394607 h 4178187"/>
                <a:gd name="connsiteX3382" fmla="*/ 2585205 w 3009712"/>
                <a:gd name="connsiteY3382" fmla="*/ 391853 h 4178187"/>
                <a:gd name="connsiteX3383" fmla="*/ 2582451 w 3009712"/>
                <a:gd name="connsiteY3383" fmla="*/ 389492 h 4178187"/>
                <a:gd name="connsiteX3384" fmla="*/ 2579304 w 3009712"/>
                <a:gd name="connsiteY3384" fmla="*/ 391066 h 4178187"/>
                <a:gd name="connsiteX3385" fmla="*/ 2576156 w 3009712"/>
                <a:gd name="connsiteY3385" fmla="*/ 390672 h 4178187"/>
                <a:gd name="connsiteX3386" fmla="*/ 2579304 w 3009712"/>
                <a:gd name="connsiteY3386" fmla="*/ 389886 h 4178187"/>
                <a:gd name="connsiteX3387" fmla="*/ 2581271 w 3009712"/>
                <a:gd name="connsiteY3387" fmla="*/ 386738 h 4178187"/>
                <a:gd name="connsiteX3388" fmla="*/ 2578124 w 3009712"/>
                <a:gd name="connsiteY3388" fmla="*/ 387918 h 4178187"/>
                <a:gd name="connsiteX3389" fmla="*/ 2581271 w 3009712"/>
                <a:gd name="connsiteY3389" fmla="*/ 385558 h 4178187"/>
                <a:gd name="connsiteX3390" fmla="*/ 2584025 w 3009712"/>
                <a:gd name="connsiteY3390" fmla="*/ 384378 h 4178187"/>
                <a:gd name="connsiteX3391" fmla="*/ 2581271 w 3009712"/>
                <a:gd name="connsiteY3391" fmla="*/ 383984 h 4178187"/>
                <a:gd name="connsiteX3392" fmla="*/ 2578517 w 3009712"/>
                <a:gd name="connsiteY3392" fmla="*/ 383591 h 4178187"/>
                <a:gd name="connsiteX3393" fmla="*/ 2575370 w 3009712"/>
                <a:gd name="connsiteY3393" fmla="*/ 384378 h 4178187"/>
                <a:gd name="connsiteX3394" fmla="*/ 2574976 w 3009712"/>
                <a:gd name="connsiteY3394" fmla="*/ 383197 h 4178187"/>
                <a:gd name="connsiteX3395" fmla="*/ 2575370 w 3009712"/>
                <a:gd name="connsiteY3395" fmla="*/ 382804 h 4178187"/>
                <a:gd name="connsiteX3396" fmla="*/ 2578124 w 3009712"/>
                <a:gd name="connsiteY3396" fmla="*/ 380050 h 4178187"/>
                <a:gd name="connsiteX3397" fmla="*/ 2580484 w 3009712"/>
                <a:gd name="connsiteY3397" fmla="*/ 377296 h 4178187"/>
                <a:gd name="connsiteX3398" fmla="*/ 2577337 w 3009712"/>
                <a:gd name="connsiteY3398" fmla="*/ 378870 h 4178187"/>
                <a:gd name="connsiteX3399" fmla="*/ 2574583 w 3009712"/>
                <a:gd name="connsiteY3399" fmla="*/ 379263 h 4178187"/>
                <a:gd name="connsiteX3400" fmla="*/ 2577337 w 3009712"/>
                <a:gd name="connsiteY3400" fmla="*/ 378083 h 4178187"/>
                <a:gd name="connsiteX3401" fmla="*/ 2578124 w 3009712"/>
                <a:gd name="connsiteY3401" fmla="*/ 374935 h 4178187"/>
                <a:gd name="connsiteX3402" fmla="*/ 2574976 w 3009712"/>
                <a:gd name="connsiteY3402" fmla="*/ 375329 h 4178187"/>
                <a:gd name="connsiteX3403" fmla="*/ 2573402 w 3009712"/>
                <a:gd name="connsiteY3403" fmla="*/ 376509 h 4178187"/>
                <a:gd name="connsiteX3404" fmla="*/ 2573009 w 3009712"/>
                <a:gd name="connsiteY3404" fmla="*/ 374148 h 4178187"/>
                <a:gd name="connsiteX3405" fmla="*/ 2573402 w 3009712"/>
                <a:gd name="connsiteY3405" fmla="*/ 372181 h 4178187"/>
                <a:gd name="connsiteX3406" fmla="*/ 2574976 w 3009712"/>
                <a:gd name="connsiteY3406" fmla="*/ 372181 h 4178187"/>
                <a:gd name="connsiteX3407" fmla="*/ 2577730 w 3009712"/>
                <a:gd name="connsiteY3407" fmla="*/ 369427 h 4178187"/>
                <a:gd name="connsiteX3408" fmla="*/ 2574976 w 3009712"/>
                <a:gd name="connsiteY3408" fmla="*/ 367854 h 4178187"/>
                <a:gd name="connsiteX3409" fmla="*/ 2573796 w 3009712"/>
                <a:gd name="connsiteY3409" fmla="*/ 368247 h 4178187"/>
                <a:gd name="connsiteX3410" fmla="*/ 2574583 w 3009712"/>
                <a:gd name="connsiteY3410" fmla="*/ 362346 h 4178187"/>
                <a:gd name="connsiteX3411" fmla="*/ 2576156 w 3009712"/>
                <a:gd name="connsiteY3411" fmla="*/ 361952 h 4178187"/>
                <a:gd name="connsiteX3412" fmla="*/ 2575763 w 3009712"/>
                <a:gd name="connsiteY3412" fmla="*/ 359198 h 4178187"/>
                <a:gd name="connsiteX3413" fmla="*/ 2575370 w 3009712"/>
                <a:gd name="connsiteY3413" fmla="*/ 359198 h 4178187"/>
                <a:gd name="connsiteX3414" fmla="*/ 2575763 w 3009712"/>
                <a:gd name="connsiteY3414" fmla="*/ 354084 h 4178187"/>
                <a:gd name="connsiteX3415" fmla="*/ 2574189 w 3009712"/>
                <a:gd name="connsiteY3415" fmla="*/ 354084 h 4178187"/>
                <a:gd name="connsiteX3416" fmla="*/ 2568288 w 3009712"/>
                <a:gd name="connsiteY3416" fmla="*/ 354084 h 4178187"/>
                <a:gd name="connsiteX3417" fmla="*/ 2567108 w 3009712"/>
                <a:gd name="connsiteY3417" fmla="*/ 354084 h 4178187"/>
                <a:gd name="connsiteX3418" fmla="*/ 2570255 w 3009712"/>
                <a:gd name="connsiteY3418" fmla="*/ 351723 h 4178187"/>
                <a:gd name="connsiteX3419" fmla="*/ 2567501 w 3009712"/>
                <a:gd name="connsiteY3419" fmla="*/ 352510 h 4178187"/>
                <a:gd name="connsiteX3420" fmla="*/ 2564354 w 3009712"/>
                <a:gd name="connsiteY3420" fmla="*/ 352903 h 4178187"/>
                <a:gd name="connsiteX3421" fmla="*/ 2561206 w 3009712"/>
                <a:gd name="connsiteY3421" fmla="*/ 354084 h 4178187"/>
                <a:gd name="connsiteX3422" fmla="*/ 2559632 w 3009712"/>
                <a:gd name="connsiteY3422" fmla="*/ 354084 h 4178187"/>
                <a:gd name="connsiteX3423" fmla="*/ 2560026 w 3009712"/>
                <a:gd name="connsiteY3423" fmla="*/ 353690 h 4178187"/>
                <a:gd name="connsiteX3424" fmla="*/ 2563173 w 3009712"/>
                <a:gd name="connsiteY3424" fmla="*/ 352903 h 4178187"/>
                <a:gd name="connsiteX3425" fmla="*/ 2565927 w 3009712"/>
                <a:gd name="connsiteY3425" fmla="*/ 351723 h 4178187"/>
                <a:gd name="connsiteX3426" fmla="*/ 2569075 w 3009712"/>
                <a:gd name="connsiteY3426" fmla="*/ 350936 h 4178187"/>
                <a:gd name="connsiteX3427" fmla="*/ 2571435 w 3009712"/>
                <a:gd name="connsiteY3427" fmla="*/ 348182 h 4178187"/>
                <a:gd name="connsiteX3428" fmla="*/ 2568681 w 3009712"/>
                <a:gd name="connsiteY3428" fmla="*/ 348576 h 4178187"/>
                <a:gd name="connsiteX3429" fmla="*/ 2571435 w 3009712"/>
                <a:gd name="connsiteY3429" fmla="*/ 346609 h 4178187"/>
                <a:gd name="connsiteX3430" fmla="*/ 2569468 w 3009712"/>
                <a:gd name="connsiteY3430" fmla="*/ 346215 h 4178187"/>
                <a:gd name="connsiteX3431" fmla="*/ 2571435 w 3009712"/>
                <a:gd name="connsiteY3431" fmla="*/ 344641 h 4178187"/>
                <a:gd name="connsiteX3432" fmla="*/ 2568681 w 3009712"/>
                <a:gd name="connsiteY3432" fmla="*/ 345822 h 4178187"/>
                <a:gd name="connsiteX3433" fmla="*/ 2568288 w 3009712"/>
                <a:gd name="connsiteY3433" fmla="*/ 345822 h 4178187"/>
                <a:gd name="connsiteX3434" fmla="*/ 2565534 w 3009712"/>
                <a:gd name="connsiteY3434" fmla="*/ 346215 h 4178187"/>
                <a:gd name="connsiteX3435" fmla="*/ 2568681 w 3009712"/>
                <a:gd name="connsiteY3435" fmla="*/ 345035 h 4178187"/>
                <a:gd name="connsiteX3436" fmla="*/ 2571435 w 3009712"/>
                <a:gd name="connsiteY3436" fmla="*/ 344641 h 4178187"/>
                <a:gd name="connsiteX3437" fmla="*/ 2569075 w 3009712"/>
                <a:gd name="connsiteY3437" fmla="*/ 343068 h 4178187"/>
                <a:gd name="connsiteX3438" fmla="*/ 2565927 w 3009712"/>
                <a:gd name="connsiteY3438" fmla="*/ 342674 h 4178187"/>
                <a:gd name="connsiteX3439" fmla="*/ 2563173 w 3009712"/>
                <a:gd name="connsiteY3439" fmla="*/ 344641 h 4178187"/>
                <a:gd name="connsiteX3440" fmla="*/ 2561600 w 3009712"/>
                <a:gd name="connsiteY3440" fmla="*/ 347395 h 4178187"/>
                <a:gd name="connsiteX3441" fmla="*/ 2558452 w 3009712"/>
                <a:gd name="connsiteY3441" fmla="*/ 348969 h 4178187"/>
                <a:gd name="connsiteX3442" fmla="*/ 2555698 w 3009712"/>
                <a:gd name="connsiteY3442" fmla="*/ 351330 h 4178187"/>
                <a:gd name="connsiteX3443" fmla="*/ 2552944 w 3009712"/>
                <a:gd name="connsiteY3443" fmla="*/ 353297 h 4178187"/>
                <a:gd name="connsiteX3444" fmla="*/ 2550977 w 3009712"/>
                <a:gd name="connsiteY3444" fmla="*/ 355657 h 4178187"/>
                <a:gd name="connsiteX3445" fmla="*/ 2547830 w 3009712"/>
                <a:gd name="connsiteY3445" fmla="*/ 357231 h 4178187"/>
                <a:gd name="connsiteX3446" fmla="*/ 2548617 w 3009712"/>
                <a:gd name="connsiteY3446" fmla="*/ 359985 h 4178187"/>
                <a:gd name="connsiteX3447" fmla="*/ 2549403 w 3009712"/>
                <a:gd name="connsiteY3447" fmla="*/ 360379 h 4178187"/>
                <a:gd name="connsiteX3448" fmla="*/ 2549403 w 3009712"/>
                <a:gd name="connsiteY3448" fmla="*/ 360772 h 4178187"/>
                <a:gd name="connsiteX3449" fmla="*/ 2548223 w 3009712"/>
                <a:gd name="connsiteY3449" fmla="*/ 360772 h 4178187"/>
                <a:gd name="connsiteX3450" fmla="*/ 2545469 w 3009712"/>
                <a:gd name="connsiteY3450" fmla="*/ 359198 h 4178187"/>
                <a:gd name="connsiteX3451" fmla="*/ 2542715 w 3009712"/>
                <a:gd name="connsiteY3451" fmla="*/ 360379 h 4178187"/>
                <a:gd name="connsiteX3452" fmla="*/ 2539961 w 3009712"/>
                <a:gd name="connsiteY3452" fmla="*/ 360772 h 4178187"/>
                <a:gd name="connsiteX3453" fmla="*/ 2537601 w 3009712"/>
                <a:gd name="connsiteY3453" fmla="*/ 363526 h 4178187"/>
                <a:gd name="connsiteX3454" fmla="*/ 2537207 w 3009712"/>
                <a:gd name="connsiteY3454" fmla="*/ 366280 h 4178187"/>
                <a:gd name="connsiteX3455" fmla="*/ 2539568 w 3009712"/>
                <a:gd name="connsiteY3455" fmla="*/ 369427 h 4178187"/>
                <a:gd name="connsiteX3456" fmla="*/ 2542322 w 3009712"/>
                <a:gd name="connsiteY3456" fmla="*/ 370608 h 4178187"/>
                <a:gd name="connsiteX3457" fmla="*/ 2543895 w 3009712"/>
                <a:gd name="connsiteY3457" fmla="*/ 373362 h 4178187"/>
                <a:gd name="connsiteX3458" fmla="*/ 2541928 w 3009712"/>
                <a:gd name="connsiteY3458" fmla="*/ 371788 h 4178187"/>
                <a:gd name="connsiteX3459" fmla="*/ 2539174 w 3009712"/>
                <a:gd name="connsiteY3459" fmla="*/ 370214 h 4178187"/>
                <a:gd name="connsiteX3460" fmla="*/ 2536420 w 3009712"/>
                <a:gd name="connsiteY3460" fmla="*/ 370608 h 4178187"/>
                <a:gd name="connsiteX3461" fmla="*/ 2533666 w 3009712"/>
                <a:gd name="connsiteY3461" fmla="*/ 370214 h 4178187"/>
                <a:gd name="connsiteX3462" fmla="*/ 2534847 w 3009712"/>
                <a:gd name="connsiteY3462" fmla="*/ 372968 h 4178187"/>
                <a:gd name="connsiteX3463" fmla="*/ 2533666 w 3009712"/>
                <a:gd name="connsiteY3463" fmla="*/ 375722 h 4178187"/>
                <a:gd name="connsiteX3464" fmla="*/ 2530912 w 3009712"/>
                <a:gd name="connsiteY3464" fmla="*/ 374542 h 4178187"/>
                <a:gd name="connsiteX3465" fmla="*/ 2530912 w 3009712"/>
                <a:gd name="connsiteY3465" fmla="*/ 377296 h 4178187"/>
                <a:gd name="connsiteX3466" fmla="*/ 2528158 w 3009712"/>
                <a:gd name="connsiteY3466" fmla="*/ 378870 h 4178187"/>
                <a:gd name="connsiteX3467" fmla="*/ 2525405 w 3009712"/>
                <a:gd name="connsiteY3467" fmla="*/ 377296 h 4178187"/>
                <a:gd name="connsiteX3468" fmla="*/ 2524224 w 3009712"/>
                <a:gd name="connsiteY3468" fmla="*/ 380050 h 4178187"/>
                <a:gd name="connsiteX3469" fmla="*/ 2525798 w 3009712"/>
                <a:gd name="connsiteY3469" fmla="*/ 382804 h 4178187"/>
                <a:gd name="connsiteX3470" fmla="*/ 2528552 w 3009712"/>
                <a:gd name="connsiteY3470" fmla="*/ 382410 h 4178187"/>
                <a:gd name="connsiteX3471" fmla="*/ 2528945 w 3009712"/>
                <a:gd name="connsiteY3471" fmla="*/ 382410 h 4178187"/>
                <a:gd name="connsiteX3472" fmla="*/ 2525011 w 3009712"/>
                <a:gd name="connsiteY3472" fmla="*/ 384771 h 4178187"/>
                <a:gd name="connsiteX3473" fmla="*/ 2522651 w 3009712"/>
                <a:gd name="connsiteY3473" fmla="*/ 383591 h 4178187"/>
                <a:gd name="connsiteX3474" fmla="*/ 2519897 w 3009712"/>
                <a:gd name="connsiteY3474" fmla="*/ 385951 h 4178187"/>
                <a:gd name="connsiteX3475" fmla="*/ 2517142 w 3009712"/>
                <a:gd name="connsiteY3475" fmla="*/ 387131 h 4178187"/>
                <a:gd name="connsiteX3476" fmla="*/ 2513995 w 3009712"/>
                <a:gd name="connsiteY3476" fmla="*/ 389099 h 4178187"/>
                <a:gd name="connsiteX3477" fmla="*/ 2517142 w 3009712"/>
                <a:gd name="connsiteY3477" fmla="*/ 389886 h 4178187"/>
                <a:gd name="connsiteX3478" fmla="*/ 2515569 w 3009712"/>
                <a:gd name="connsiteY3478" fmla="*/ 390279 h 4178187"/>
                <a:gd name="connsiteX3479" fmla="*/ 2512028 w 3009712"/>
                <a:gd name="connsiteY3479" fmla="*/ 390279 h 4178187"/>
                <a:gd name="connsiteX3480" fmla="*/ 2509274 w 3009712"/>
                <a:gd name="connsiteY3480" fmla="*/ 390672 h 4178187"/>
                <a:gd name="connsiteX3481" fmla="*/ 2508487 w 3009712"/>
                <a:gd name="connsiteY3481" fmla="*/ 393820 h 4178187"/>
                <a:gd name="connsiteX3482" fmla="*/ 2510454 w 3009712"/>
                <a:gd name="connsiteY3482" fmla="*/ 396574 h 4178187"/>
                <a:gd name="connsiteX3483" fmla="*/ 2504553 w 3009712"/>
                <a:gd name="connsiteY3483" fmla="*/ 402869 h 4178187"/>
                <a:gd name="connsiteX3484" fmla="*/ 2504946 w 3009712"/>
                <a:gd name="connsiteY3484" fmla="*/ 400901 h 4178187"/>
                <a:gd name="connsiteX3485" fmla="*/ 2507700 w 3009712"/>
                <a:gd name="connsiteY3485" fmla="*/ 398541 h 4178187"/>
                <a:gd name="connsiteX3486" fmla="*/ 2506127 w 3009712"/>
                <a:gd name="connsiteY3486" fmla="*/ 395787 h 4178187"/>
                <a:gd name="connsiteX3487" fmla="*/ 2504553 w 3009712"/>
                <a:gd name="connsiteY3487" fmla="*/ 393033 h 4178187"/>
                <a:gd name="connsiteX3488" fmla="*/ 2502192 w 3009712"/>
                <a:gd name="connsiteY3488" fmla="*/ 390279 h 4178187"/>
                <a:gd name="connsiteX3489" fmla="*/ 2499045 w 3009712"/>
                <a:gd name="connsiteY3489" fmla="*/ 391459 h 4178187"/>
                <a:gd name="connsiteX3490" fmla="*/ 2496291 w 3009712"/>
                <a:gd name="connsiteY3490" fmla="*/ 394213 h 4178187"/>
                <a:gd name="connsiteX3491" fmla="*/ 2493537 w 3009712"/>
                <a:gd name="connsiteY3491" fmla="*/ 395787 h 4178187"/>
                <a:gd name="connsiteX3492" fmla="*/ 2491176 w 3009712"/>
                <a:gd name="connsiteY3492" fmla="*/ 398541 h 4178187"/>
                <a:gd name="connsiteX3493" fmla="*/ 2489603 w 3009712"/>
                <a:gd name="connsiteY3493" fmla="*/ 401688 h 4178187"/>
                <a:gd name="connsiteX3494" fmla="*/ 2486849 w 3009712"/>
                <a:gd name="connsiteY3494" fmla="*/ 401295 h 4178187"/>
                <a:gd name="connsiteX3495" fmla="*/ 2484095 w 3009712"/>
                <a:gd name="connsiteY3495" fmla="*/ 402869 h 4178187"/>
                <a:gd name="connsiteX3496" fmla="*/ 2481734 w 3009712"/>
                <a:gd name="connsiteY3496" fmla="*/ 401688 h 4178187"/>
                <a:gd name="connsiteX3497" fmla="*/ 2478980 w 3009712"/>
                <a:gd name="connsiteY3497" fmla="*/ 404049 h 4178187"/>
                <a:gd name="connsiteX3498" fmla="*/ 2475833 w 3009712"/>
                <a:gd name="connsiteY3498" fmla="*/ 405623 h 4178187"/>
                <a:gd name="connsiteX3499" fmla="*/ 2473079 w 3009712"/>
                <a:gd name="connsiteY3499" fmla="*/ 406803 h 4178187"/>
                <a:gd name="connsiteX3500" fmla="*/ 2470325 w 3009712"/>
                <a:gd name="connsiteY3500" fmla="*/ 407196 h 4178187"/>
                <a:gd name="connsiteX3501" fmla="*/ 2467177 w 3009712"/>
                <a:gd name="connsiteY3501" fmla="*/ 407983 h 4178187"/>
                <a:gd name="connsiteX3502" fmla="*/ 2464423 w 3009712"/>
                <a:gd name="connsiteY3502" fmla="*/ 409557 h 4178187"/>
                <a:gd name="connsiteX3503" fmla="*/ 2461276 w 3009712"/>
                <a:gd name="connsiteY3503" fmla="*/ 411131 h 4178187"/>
                <a:gd name="connsiteX3504" fmla="*/ 2458522 w 3009712"/>
                <a:gd name="connsiteY3504" fmla="*/ 413491 h 4178187"/>
                <a:gd name="connsiteX3505" fmla="*/ 2456555 w 3009712"/>
                <a:gd name="connsiteY3505" fmla="*/ 416245 h 4178187"/>
                <a:gd name="connsiteX3506" fmla="*/ 2454194 w 3009712"/>
                <a:gd name="connsiteY3506" fmla="*/ 419392 h 4178187"/>
                <a:gd name="connsiteX3507" fmla="*/ 2455374 w 3009712"/>
                <a:gd name="connsiteY3507" fmla="*/ 417032 h 4178187"/>
                <a:gd name="connsiteX3508" fmla="*/ 2457735 w 3009712"/>
                <a:gd name="connsiteY3508" fmla="*/ 414278 h 4178187"/>
                <a:gd name="connsiteX3509" fmla="*/ 2458915 w 3009712"/>
                <a:gd name="connsiteY3509" fmla="*/ 411131 h 4178187"/>
                <a:gd name="connsiteX3510" fmla="*/ 2461276 w 3009712"/>
                <a:gd name="connsiteY3510" fmla="*/ 408377 h 4178187"/>
                <a:gd name="connsiteX3511" fmla="*/ 2462063 w 3009712"/>
                <a:gd name="connsiteY3511" fmla="*/ 405623 h 4178187"/>
                <a:gd name="connsiteX3512" fmla="*/ 2461669 w 3009712"/>
                <a:gd name="connsiteY3512" fmla="*/ 402869 h 4178187"/>
                <a:gd name="connsiteX3513" fmla="*/ 2458915 w 3009712"/>
                <a:gd name="connsiteY3513" fmla="*/ 405623 h 4178187"/>
                <a:gd name="connsiteX3514" fmla="*/ 2456555 w 3009712"/>
                <a:gd name="connsiteY3514" fmla="*/ 408377 h 4178187"/>
                <a:gd name="connsiteX3515" fmla="*/ 2453801 w 3009712"/>
                <a:gd name="connsiteY3515" fmla="*/ 409950 h 4178187"/>
                <a:gd name="connsiteX3516" fmla="*/ 2451047 w 3009712"/>
                <a:gd name="connsiteY3516" fmla="*/ 412311 h 4178187"/>
                <a:gd name="connsiteX3517" fmla="*/ 2448293 w 3009712"/>
                <a:gd name="connsiteY3517" fmla="*/ 413098 h 4178187"/>
                <a:gd name="connsiteX3518" fmla="*/ 2451047 w 3009712"/>
                <a:gd name="connsiteY3518" fmla="*/ 411131 h 4178187"/>
                <a:gd name="connsiteX3519" fmla="*/ 2453801 w 3009712"/>
                <a:gd name="connsiteY3519" fmla="*/ 409557 h 4178187"/>
                <a:gd name="connsiteX3520" fmla="*/ 2456555 w 3009712"/>
                <a:gd name="connsiteY3520" fmla="*/ 407196 h 4178187"/>
                <a:gd name="connsiteX3521" fmla="*/ 2456948 w 3009712"/>
                <a:gd name="connsiteY3521" fmla="*/ 404442 h 4178187"/>
                <a:gd name="connsiteX3522" fmla="*/ 2458915 w 3009712"/>
                <a:gd name="connsiteY3522" fmla="*/ 401688 h 4178187"/>
                <a:gd name="connsiteX3523" fmla="*/ 2457735 w 3009712"/>
                <a:gd name="connsiteY3523" fmla="*/ 398934 h 4178187"/>
                <a:gd name="connsiteX3524" fmla="*/ 2454588 w 3009712"/>
                <a:gd name="connsiteY3524" fmla="*/ 400508 h 4178187"/>
                <a:gd name="connsiteX3525" fmla="*/ 2451834 w 3009712"/>
                <a:gd name="connsiteY3525" fmla="*/ 402869 h 4178187"/>
                <a:gd name="connsiteX3526" fmla="*/ 2449867 w 3009712"/>
                <a:gd name="connsiteY3526" fmla="*/ 405623 h 4178187"/>
                <a:gd name="connsiteX3527" fmla="*/ 2447113 w 3009712"/>
                <a:gd name="connsiteY3527" fmla="*/ 408770 h 4178187"/>
                <a:gd name="connsiteX3528" fmla="*/ 2444359 w 3009712"/>
                <a:gd name="connsiteY3528" fmla="*/ 410737 h 4178187"/>
                <a:gd name="connsiteX3529" fmla="*/ 2442785 w 3009712"/>
                <a:gd name="connsiteY3529" fmla="*/ 413491 h 4178187"/>
                <a:gd name="connsiteX3530" fmla="*/ 2440031 w 3009712"/>
                <a:gd name="connsiteY3530" fmla="*/ 415065 h 4178187"/>
                <a:gd name="connsiteX3531" fmla="*/ 2437277 w 3009712"/>
                <a:gd name="connsiteY3531" fmla="*/ 416245 h 4178187"/>
                <a:gd name="connsiteX3532" fmla="*/ 2434523 w 3009712"/>
                <a:gd name="connsiteY3532" fmla="*/ 416638 h 4178187"/>
                <a:gd name="connsiteX3533" fmla="*/ 2431376 w 3009712"/>
                <a:gd name="connsiteY3533" fmla="*/ 417032 h 4178187"/>
                <a:gd name="connsiteX3534" fmla="*/ 2428622 w 3009712"/>
                <a:gd name="connsiteY3534" fmla="*/ 417819 h 4178187"/>
                <a:gd name="connsiteX3535" fmla="*/ 2425867 w 3009712"/>
                <a:gd name="connsiteY3535" fmla="*/ 418212 h 4178187"/>
                <a:gd name="connsiteX3536" fmla="*/ 2422720 w 3009712"/>
                <a:gd name="connsiteY3536" fmla="*/ 418999 h 4178187"/>
                <a:gd name="connsiteX3537" fmla="*/ 2419966 w 3009712"/>
                <a:gd name="connsiteY3537" fmla="*/ 420179 h 4178187"/>
                <a:gd name="connsiteX3538" fmla="*/ 2417212 w 3009712"/>
                <a:gd name="connsiteY3538" fmla="*/ 421753 h 4178187"/>
                <a:gd name="connsiteX3539" fmla="*/ 2414458 w 3009712"/>
                <a:gd name="connsiteY3539" fmla="*/ 422933 h 4178187"/>
                <a:gd name="connsiteX3540" fmla="*/ 2412098 w 3009712"/>
                <a:gd name="connsiteY3540" fmla="*/ 423720 h 4178187"/>
                <a:gd name="connsiteX3541" fmla="*/ 2414458 w 3009712"/>
                <a:gd name="connsiteY3541" fmla="*/ 422146 h 4178187"/>
                <a:gd name="connsiteX3542" fmla="*/ 2417606 w 3009712"/>
                <a:gd name="connsiteY3542" fmla="*/ 420573 h 4178187"/>
                <a:gd name="connsiteX3543" fmla="*/ 2420360 w 3009712"/>
                <a:gd name="connsiteY3543" fmla="*/ 419392 h 4178187"/>
                <a:gd name="connsiteX3544" fmla="*/ 2423507 w 3009712"/>
                <a:gd name="connsiteY3544" fmla="*/ 418212 h 4178187"/>
                <a:gd name="connsiteX3545" fmla="*/ 2426261 w 3009712"/>
                <a:gd name="connsiteY3545" fmla="*/ 417425 h 4178187"/>
                <a:gd name="connsiteX3546" fmla="*/ 2429015 w 3009712"/>
                <a:gd name="connsiteY3546" fmla="*/ 417032 h 4178187"/>
                <a:gd name="connsiteX3547" fmla="*/ 2431769 w 3009712"/>
                <a:gd name="connsiteY3547" fmla="*/ 416245 h 4178187"/>
                <a:gd name="connsiteX3548" fmla="*/ 2434523 w 3009712"/>
                <a:gd name="connsiteY3548" fmla="*/ 415852 h 4178187"/>
                <a:gd name="connsiteX3549" fmla="*/ 2437277 w 3009712"/>
                <a:gd name="connsiteY3549" fmla="*/ 415458 h 4178187"/>
                <a:gd name="connsiteX3550" fmla="*/ 2440424 w 3009712"/>
                <a:gd name="connsiteY3550" fmla="*/ 413884 h 4178187"/>
                <a:gd name="connsiteX3551" fmla="*/ 2443178 w 3009712"/>
                <a:gd name="connsiteY3551" fmla="*/ 411524 h 4178187"/>
                <a:gd name="connsiteX3552" fmla="*/ 2445932 w 3009712"/>
                <a:gd name="connsiteY3552" fmla="*/ 408377 h 4178187"/>
                <a:gd name="connsiteX3553" fmla="*/ 2448686 w 3009712"/>
                <a:gd name="connsiteY3553" fmla="*/ 405623 h 4178187"/>
                <a:gd name="connsiteX3554" fmla="*/ 2451047 w 3009712"/>
                <a:gd name="connsiteY3554" fmla="*/ 402869 h 4178187"/>
                <a:gd name="connsiteX3555" fmla="*/ 2450654 w 3009712"/>
                <a:gd name="connsiteY3555" fmla="*/ 400115 h 4178187"/>
                <a:gd name="connsiteX3556" fmla="*/ 2451047 w 3009712"/>
                <a:gd name="connsiteY3556" fmla="*/ 397361 h 4178187"/>
                <a:gd name="connsiteX3557" fmla="*/ 2451834 w 3009712"/>
                <a:gd name="connsiteY3557" fmla="*/ 394607 h 4178187"/>
                <a:gd name="connsiteX3558" fmla="*/ 2451834 w 3009712"/>
                <a:gd name="connsiteY3558" fmla="*/ 391459 h 4178187"/>
                <a:gd name="connsiteX3559" fmla="*/ 2449080 w 3009712"/>
                <a:gd name="connsiteY3559" fmla="*/ 389099 h 4178187"/>
                <a:gd name="connsiteX3560" fmla="*/ 2445932 w 3009712"/>
                <a:gd name="connsiteY3560" fmla="*/ 388312 h 4178187"/>
                <a:gd name="connsiteX3561" fmla="*/ 2443178 w 3009712"/>
                <a:gd name="connsiteY3561" fmla="*/ 389492 h 4178187"/>
                <a:gd name="connsiteX3562" fmla="*/ 2440424 w 3009712"/>
                <a:gd name="connsiteY3562" fmla="*/ 389099 h 4178187"/>
                <a:gd name="connsiteX3563" fmla="*/ 2437277 w 3009712"/>
                <a:gd name="connsiteY3563" fmla="*/ 389099 h 4178187"/>
                <a:gd name="connsiteX3564" fmla="*/ 2434523 w 3009712"/>
                <a:gd name="connsiteY3564" fmla="*/ 389492 h 4178187"/>
                <a:gd name="connsiteX3565" fmla="*/ 2431769 w 3009712"/>
                <a:gd name="connsiteY3565" fmla="*/ 389886 h 4178187"/>
                <a:gd name="connsiteX3566" fmla="*/ 2429015 w 3009712"/>
                <a:gd name="connsiteY3566" fmla="*/ 391459 h 4178187"/>
                <a:gd name="connsiteX3567" fmla="*/ 2425867 w 3009712"/>
                <a:gd name="connsiteY3567" fmla="*/ 393033 h 4178187"/>
                <a:gd name="connsiteX3568" fmla="*/ 2423114 w 3009712"/>
                <a:gd name="connsiteY3568" fmla="*/ 393426 h 4178187"/>
                <a:gd name="connsiteX3569" fmla="*/ 2420360 w 3009712"/>
                <a:gd name="connsiteY3569" fmla="*/ 395000 h 4178187"/>
                <a:gd name="connsiteX3570" fmla="*/ 2417212 w 3009712"/>
                <a:gd name="connsiteY3570" fmla="*/ 396967 h 4178187"/>
                <a:gd name="connsiteX3571" fmla="*/ 2414458 w 3009712"/>
                <a:gd name="connsiteY3571" fmla="*/ 397361 h 4178187"/>
                <a:gd name="connsiteX3572" fmla="*/ 2417212 w 3009712"/>
                <a:gd name="connsiteY3572" fmla="*/ 394607 h 4178187"/>
                <a:gd name="connsiteX3573" fmla="*/ 2414458 w 3009712"/>
                <a:gd name="connsiteY3573" fmla="*/ 395000 h 4178187"/>
                <a:gd name="connsiteX3574" fmla="*/ 2413671 w 3009712"/>
                <a:gd name="connsiteY3574" fmla="*/ 393426 h 4178187"/>
                <a:gd name="connsiteX3575" fmla="*/ 2414852 w 3009712"/>
                <a:gd name="connsiteY3575" fmla="*/ 391459 h 4178187"/>
                <a:gd name="connsiteX3576" fmla="*/ 2417606 w 3009712"/>
                <a:gd name="connsiteY3576" fmla="*/ 391066 h 4178187"/>
                <a:gd name="connsiteX3577" fmla="*/ 2420753 w 3009712"/>
                <a:gd name="connsiteY3577" fmla="*/ 390672 h 4178187"/>
                <a:gd name="connsiteX3578" fmla="*/ 2422327 w 3009712"/>
                <a:gd name="connsiteY3578" fmla="*/ 387918 h 4178187"/>
                <a:gd name="connsiteX3579" fmla="*/ 2422327 w 3009712"/>
                <a:gd name="connsiteY3579" fmla="*/ 385164 h 4178187"/>
                <a:gd name="connsiteX3580" fmla="*/ 2425081 w 3009712"/>
                <a:gd name="connsiteY3580" fmla="*/ 386738 h 4178187"/>
                <a:gd name="connsiteX3581" fmla="*/ 2424294 w 3009712"/>
                <a:gd name="connsiteY3581" fmla="*/ 389492 h 4178187"/>
                <a:gd name="connsiteX3582" fmla="*/ 2424687 w 3009712"/>
                <a:gd name="connsiteY3582" fmla="*/ 392246 h 4178187"/>
                <a:gd name="connsiteX3583" fmla="*/ 2427441 w 3009712"/>
                <a:gd name="connsiteY3583" fmla="*/ 390279 h 4178187"/>
                <a:gd name="connsiteX3584" fmla="*/ 2430589 w 3009712"/>
                <a:gd name="connsiteY3584" fmla="*/ 387918 h 4178187"/>
                <a:gd name="connsiteX3585" fmla="*/ 2435703 w 3009712"/>
                <a:gd name="connsiteY3585" fmla="*/ 382410 h 4178187"/>
                <a:gd name="connsiteX3586" fmla="*/ 2432949 w 3009712"/>
                <a:gd name="connsiteY3586" fmla="*/ 380837 h 4178187"/>
                <a:gd name="connsiteX3587" fmla="*/ 2435703 w 3009712"/>
                <a:gd name="connsiteY3587" fmla="*/ 379263 h 4178187"/>
                <a:gd name="connsiteX3588" fmla="*/ 2438457 w 3009712"/>
                <a:gd name="connsiteY3588" fmla="*/ 378476 h 4178187"/>
                <a:gd name="connsiteX3589" fmla="*/ 2441211 w 3009712"/>
                <a:gd name="connsiteY3589" fmla="*/ 378870 h 4178187"/>
                <a:gd name="connsiteX3590" fmla="*/ 2440818 w 3009712"/>
                <a:gd name="connsiteY3590" fmla="*/ 375722 h 4178187"/>
                <a:gd name="connsiteX3591" fmla="*/ 2438064 w 3009712"/>
                <a:gd name="connsiteY3591" fmla="*/ 374935 h 4178187"/>
                <a:gd name="connsiteX3592" fmla="*/ 2434916 w 3009712"/>
                <a:gd name="connsiteY3592" fmla="*/ 375329 h 4178187"/>
                <a:gd name="connsiteX3593" fmla="*/ 2431769 w 3009712"/>
                <a:gd name="connsiteY3593" fmla="*/ 374935 h 4178187"/>
                <a:gd name="connsiteX3594" fmla="*/ 2434916 w 3009712"/>
                <a:gd name="connsiteY3594" fmla="*/ 372575 h 4178187"/>
                <a:gd name="connsiteX3595" fmla="*/ 2434523 w 3009712"/>
                <a:gd name="connsiteY3595" fmla="*/ 369821 h 4178187"/>
                <a:gd name="connsiteX3596" fmla="*/ 2437277 w 3009712"/>
                <a:gd name="connsiteY3596" fmla="*/ 368247 h 4178187"/>
                <a:gd name="connsiteX3597" fmla="*/ 2440424 w 3009712"/>
                <a:gd name="connsiteY3597" fmla="*/ 367067 h 4178187"/>
                <a:gd name="connsiteX3598" fmla="*/ 2439637 w 3009712"/>
                <a:gd name="connsiteY3598" fmla="*/ 364313 h 4178187"/>
                <a:gd name="connsiteX3599" fmla="*/ 2442391 w 3009712"/>
                <a:gd name="connsiteY3599" fmla="*/ 361559 h 4178187"/>
                <a:gd name="connsiteX3600" fmla="*/ 2442785 w 3009712"/>
                <a:gd name="connsiteY3600" fmla="*/ 358805 h 4178187"/>
                <a:gd name="connsiteX3601" fmla="*/ 2441998 w 3009712"/>
                <a:gd name="connsiteY3601" fmla="*/ 356051 h 4178187"/>
                <a:gd name="connsiteX3602" fmla="*/ 2439244 w 3009712"/>
                <a:gd name="connsiteY3602" fmla="*/ 356444 h 4178187"/>
                <a:gd name="connsiteX3603" fmla="*/ 2436490 w 3009712"/>
                <a:gd name="connsiteY3603" fmla="*/ 356444 h 4178187"/>
                <a:gd name="connsiteX3604" fmla="*/ 2419966 w 3009712"/>
                <a:gd name="connsiteY3604" fmla="*/ 354871 h 4178187"/>
                <a:gd name="connsiteX3605" fmla="*/ 2419179 w 3009712"/>
                <a:gd name="connsiteY3605" fmla="*/ 354477 h 4178187"/>
                <a:gd name="connsiteX3606" fmla="*/ 2416032 w 3009712"/>
                <a:gd name="connsiteY3606" fmla="*/ 353690 h 4178187"/>
                <a:gd name="connsiteX3607" fmla="*/ 2413278 w 3009712"/>
                <a:gd name="connsiteY3607" fmla="*/ 353297 h 4178187"/>
                <a:gd name="connsiteX3608" fmla="*/ 2422327 w 3009712"/>
                <a:gd name="connsiteY3608" fmla="*/ 354871 h 4178187"/>
                <a:gd name="connsiteX3609" fmla="*/ 2423900 w 3009712"/>
                <a:gd name="connsiteY3609" fmla="*/ 355264 h 4178187"/>
                <a:gd name="connsiteX3610" fmla="*/ 2426654 w 3009712"/>
                <a:gd name="connsiteY3610" fmla="*/ 354871 h 4178187"/>
                <a:gd name="connsiteX3611" fmla="*/ 2428228 w 3009712"/>
                <a:gd name="connsiteY3611" fmla="*/ 354871 h 4178187"/>
                <a:gd name="connsiteX3612" fmla="*/ 2434523 w 3009712"/>
                <a:gd name="connsiteY3612" fmla="*/ 354871 h 4178187"/>
                <a:gd name="connsiteX3613" fmla="*/ 2437277 w 3009712"/>
                <a:gd name="connsiteY3613" fmla="*/ 354871 h 4178187"/>
                <a:gd name="connsiteX3614" fmla="*/ 2440031 w 3009712"/>
                <a:gd name="connsiteY3614" fmla="*/ 354871 h 4178187"/>
                <a:gd name="connsiteX3615" fmla="*/ 2442785 w 3009712"/>
                <a:gd name="connsiteY3615" fmla="*/ 354871 h 4178187"/>
                <a:gd name="connsiteX3616" fmla="*/ 2443178 w 3009712"/>
                <a:gd name="connsiteY3616" fmla="*/ 353690 h 4178187"/>
                <a:gd name="connsiteX3617" fmla="*/ 2444752 w 3009712"/>
                <a:gd name="connsiteY3617" fmla="*/ 353690 h 4178187"/>
                <a:gd name="connsiteX3618" fmla="*/ 2447506 w 3009712"/>
                <a:gd name="connsiteY3618" fmla="*/ 352903 h 4178187"/>
                <a:gd name="connsiteX3619" fmla="*/ 2449867 w 3009712"/>
                <a:gd name="connsiteY3619" fmla="*/ 350149 h 4178187"/>
                <a:gd name="connsiteX3620" fmla="*/ 2449867 w 3009712"/>
                <a:gd name="connsiteY3620" fmla="*/ 347002 h 4178187"/>
                <a:gd name="connsiteX3621" fmla="*/ 2450260 w 3009712"/>
                <a:gd name="connsiteY3621" fmla="*/ 344248 h 4178187"/>
                <a:gd name="connsiteX3622" fmla="*/ 2451047 w 3009712"/>
                <a:gd name="connsiteY3622" fmla="*/ 341494 h 4178187"/>
                <a:gd name="connsiteX3623" fmla="*/ 2452621 w 3009712"/>
                <a:gd name="connsiteY3623" fmla="*/ 338740 h 4178187"/>
                <a:gd name="connsiteX3624" fmla="*/ 2455768 w 3009712"/>
                <a:gd name="connsiteY3624" fmla="*/ 336773 h 4178187"/>
                <a:gd name="connsiteX3625" fmla="*/ 2457342 w 3009712"/>
                <a:gd name="connsiteY3625" fmla="*/ 334019 h 4178187"/>
                <a:gd name="connsiteX3626" fmla="*/ 2460489 w 3009712"/>
                <a:gd name="connsiteY3626" fmla="*/ 332445 h 4178187"/>
                <a:gd name="connsiteX3627" fmla="*/ 2463243 w 3009712"/>
                <a:gd name="connsiteY3627" fmla="*/ 331658 h 4178187"/>
                <a:gd name="connsiteX3628" fmla="*/ 2466391 w 3009712"/>
                <a:gd name="connsiteY3628" fmla="*/ 330872 h 4178187"/>
                <a:gd name="connsiteX3629" fmla="*/ 2468358 w 3009712"/>
                <a:gd name="connsiteY3629" fmla="*/ 328118 h 4178187"/>
                <a:gd name="connsiteX3630" fmla="*/ 2468358 w 3009712"/>
                <a:gd name="connsiteY3630" fmla="*/ 325364 h 4178187"/>
                <a:gd name="connsiteX3631" fmla="*/ 2465997 w 3009712"/>
                <a:gd name="connsiteY3631" fmla="*/ 322610 h 4178187"/>
                <a:gd name="connsiteX3632" fmla="*/ 2462850 w 3009712"/>
                <a:gd name="connsiteY3632" fmla="*/ 325364 h 4178187"/>
                <a:gd name="connsiteX3633" fmla="*/ 2462063 w 3009712"/>
                <a:gd name="connsiteY3633" fmla="*/ 328118 h 4178187"/>
                <a:gd name="connsiteX3634" fmla="*/ 2459309 w 3009712"/>
                <a:gd name="connsiteY3634" fmla="*/ 327331 h 4178187"/>
                <a:gd name="connsiteX3635" fmla="*/ 2456555 w 3009712"/>
                <a:gd name="connsiteY3635" fmla="*/ 329691 h 4178187"/>
                <a:gd name="connsiteX3636" fmla="*/ 2453407 w 3009712"/>
                <a:gd name="connsiteY3636" fmla="*/ 329298 h 4178187"/>
                <a:gd name="connsiteX3637" fmla="*/ 2450654 w 3009712"/>
                <a:gd name="connsiteY3637" fmla="*/ 328118 h 4178187"/>
                <a:gd name="connsiteX3638" fmla="*/ 2453014 w 3009712"/>
                <a:gd name="connsiteY3638" fmla="*/ 324970 h 4178187"/>
                <a:gd name="connsiteX3639" fmla="*/ 2452227 w 3009712"/>
                <a:gd name="connsiteY3639" fmla="*/ 322216 h 4178187"/>
                <a:gd name="connsiteX3640" fmla="*/ 2449473 w 3009712"/>
                <a:gd name="connsiteY3640" fmla="*/ 321823 h 4178187"/>
                <a:gd name="connsiteX3641" fmla="*/ 2446719 w 3009712"/>
                <a:gd name="connsiteY3641" fmla="*/ 323396 h 4178187"/>
                <a:gd name="connsiteX3642" fmla="*/ 2443965 w 3009712"/>
                <a:gd name="connsiteY3642" fmla="*/ 323790 h 4178187"/>
                <a:gd name="connsiteX3643" fmla="*/ 2440818 w 3009712"/>
                <a:gd name="connsiteY3643" fmla="*/ 322216 h 4178187"/>
                <a:gd name="connsiteX3644" fmla="*/ 2438064 w 3009712"/>
                <a:gd name="connsiteY3644" fmla="*/ 322216 h 4178187"/>
                <a:gd name="connsiteX3645" fmla="*/ 2437670 w 3009712"/>
                <a:gd name="connsiteY3645" fmla="*/ 321823 h 4178187"/>
                <a:gd name="connsiteX3646" fmla="*/ 2437670 w 3009712"/>
                <a:gd name="connsiteY3646" fmla="*/ 321823 h 4178187"/>
                <a:gd name="connsiteX3647" fmla="*/ 2425867 w 3009712"/>
                <a:gd name="connsiteY3647" fmla="*/ 311594 h 4178187"/>
                <a:gd name="connsiteX3648" fmla="*/ 2426261 w 3009712"/>
                <a:gd name="connsiteY3648" fmla="*/ 311594 h 4178187"/>
                <a:gd name="connsiteX3649" fmla="*/ 2425867 w 3009712"/>
                <a:gd name="connsiteY3649" fmla="*/ 311594 h 4178187"/>
                <a:gd name="connsiteX3650" fmla="*/ 2423114 w 3009712"/>
                <a:gd name="connsiteY3650" fmla="*/ 309233 h 4178187"/>
                <a:gd name="connsiteX3651" fmla="*/ 2424687 w 3009712"/>
                <a:gd name="connsiteY3651" fmla="*/ 307659 h 4178187"/>
                <a:gd name="connsiteX3652" fmla="*/ 2427441 w 3009712"/>
                <a:gd name="connsiteY3652" fmla="*/ 307266 h 4178187"/>
                <a:gd name="connsiteX3653" fmla="*/ 2430589 w 3009712"/>
                <a:gd name="connsiteY3653" fmla="*/ 306479 h 4178187"/>
                <a:gd name="connsiteX3654" fmla="*/ 2425474 w 3009712"/>
                <a:gd name="connsiteY3654" fmla="*/ 302938 h 4178187"/>
                <a:gd name="connsiteX3655" fmla="*/ 2422327 w 3009712"/>
                <a:gd name="connsiteY3655" fmla="*/ 302151 h 4178187"/>
                <a:gd name="connsiteX3656" fmla="*/ 2419573 w 3009712"/>
                <a:gd name="connsiteY3656" fmla="*/ 301758 h 4178187"/>
                <a:gd name="connsiteX3657" fmla="*/ 2417212 w 3009712"/>
                <a:gd name="connsiteY3657" fmla="*/ 304905 h 4178187"/>
                <a:gd name="connsiteX3658" fmla="*/ 2414852 w 3009712"/>
                <a:gd name="connsiteY3658" fmla="*/ 305299 h 4178187"/>
                <a:gd name="connsiteX3659" fmla="*/ 2414458 w 3009712"/>
                <a:gd name="connsiteY3659" fmla="*/ 304905 h 4178187"/>
                <a:gd name="connsiteX3660" fmla="*/ 2417606 w 3009712"/>
                <a:gd name="connsiteY3660" fmla="*/ 303332 h 4178187"/>
                <a:gd name="connsiteX3661" fmla="*/ 2417999 w 3009712"/>
                <a:gd name="connsiteY3661" fmla="*/ 300578 h 4178187"/>
                <a:gd name="connsiteX3662" fmla="*/ 2415245 w 3009712"/>
                <a:gd name="connsiteY3662" fmla="*/ 299791 h 4178187"/>
                <a:gd name="connsiteX3663" fmla="*/ 2417606 w 3009712"/>
                <a:gd name="connsiteY3663" fmla="*/ 297037 h 4178187"/>
                <a:gd name="connsiteX3664" fmla="*/ 2414458 w 3009712"/>
                <a:gd name="connsiteY3664" fmla="*/ 296643 h 4178187"/>
                <a:gd name="connsiteX3665" fmla="*/ 2411704 w 3009712"/>
                <a:gd name="connsiteY3665" fmla="*/ 295463 h 4178187"/>
                <a:gd name="connsiteX3666" fmla="*/ 2408950 w 3009712"/>
                <a:gd name="connsiteY3666" fmla="*/ 295070 h 4178187"/>
                <a:gd name="connsiteX3667" fmla="*/ 2406196 w 3009712"/>
                <a:gd name="connsiteY3667" fmla="*/ 296643 h 4178187"/>
                <a:gd name="connsiteX3668" fmla="*/ 2403442 w 3009712"/>
                <a:gd name="connsiteY3668" fmla="*/ 297824 h 4178187"/>
                <a:gd name="connsiteX3669" fmla="*/ 2405410 w 3009712"/>
                <a:gd name="connsiteY3669" fmla="*/ 296643 h 4178187"/>
                <a:gd name="connsiteX3670" fmla="*/ 2408557 w 3009712"/>
                <a:gd name="connsiteY3670" fmla="*/ 294283 h 4178187"/>
                <a:gd name="connsiteX3671" fmla="*/ 2411311 w 3009712"/>
                <a:gd name="connsiteY3671" fmla="*/ 291922 h 4178187"/>
                <a:gd name="connsiteX3672" fmla="*/ 2411704 w 3009712"/>
                <a:gd name="connsiteY3672" fmla="*/ 289168 h 4178187"/>
                <a:gd name="connsiteX3673" fmla="*/ 2408557 w 3009712"/>
                <a:gd name="connsiteY3673" fmla="*/ 289562 h 4178187"/>
                <a:gd name="connsiteX3674" fmla="*/ 2405803 w 3009712"/>
                <a:gd name="connsiteY3674" fmla="*/ 287595 h 4178187"/>
                <a:gd name="connsiteX3675" fmla="*/ 2403049 w 3009712"/>
                <a:gd name="connsiteY3675" fmla="*/ 285628 h 4178187"/>
                <a:gd name="connsiteX3676" fmla="*/ 2401869 w 3009712"/>
                <a:gd name="connsiteY3676" fmla="*/ 282874 h 4178187"/>
                <a:gd name="connsiteX3677" fmla="*/ 2398721 w 3009712"/>
                <a:gd name="connsiteY3677" fmla="*/ 281693 h 4178187"/>
                <a:gd name="connsiteX3678" fmla="*/ 2395967 w 3009712"/>
                <a:gd name="connsiteY3678" fmla="*/ 281300 h 4178187"/>
                <a:gd name="connsiteX3679" fmla="*/ 2393607 w 3009712"/>
                <a:gd name="connsiteY3679" fmla="*/ 278546 h 4178187"/>
                <a:gd name="connsiteX3680" fmla="*/ 2390853 w 3009712"/>
                <a:gd name="connsiteY3680" fmla="*/ 278939 h 4178187"/>
                <a:gd name="connsiteX3681" fmla="*/ 2388099 w 3009712"/>
                <a:gd name="connsiteY3681" fmla="*/ 280513 h 4178187"/>
                <a:gd name="connsiteX3682" fmla="*/ 2384951 w 3009712"/>
                <a:gd name="connsiteY3682" fmla="*/ 282480 h 4178187"/>
                <a:gd name="connsiteX3683" fmla="*/ 2382197 w 3009712"/>
                <a:gd name="connsiteY3683" fmla="*/ 282874 h 4178187"/>
                <a:gd name="connsiteX3684" fmla="*/ 2379050 w 3009712"/>
                <a:gd name="connsiteY3684" fmla="*/ 283267 h 4178187"/>
                <a:gd name="connsiteX3685" fmla="*/ 2376296 w 3009712"/>
                <a:gd name="connsiteY3685" fmla="*/ 284841 h 4178187"/>
                <a:gd name="connsiteX3686" fmla="*/ 2373148 w 3009712"/>
                <a:gd name="connsiteY3686" fmla="*/ 285628 h 4178187"/>
                <a:gd name="connsiteX3687" fmla="*/ 2367640 w 3009712"/>
                <a:gd name="connsiteY3687" fmla="*/ 285628 h 4178187"/>
                <a:gd name="connsiteX3688" fmla="*/ 2365280 w 3009712"/>
                <a:gd name="connsiteY3688" fmla="*/ 286808 h 4178187"/>
                <a:gd name="connsiteX3689" fmla="*/ 2360559 w 3009712"/>
                <a:gd name="connsiteY3689" fmla="*/ 285234 h 4178187"/>
                <a:gd name="connsiteX3690" fmla="*/ 2359772 w 3009712"/>
                <a:gd name="connsiteY3690" fmla="*/ 284841 h 4178187"/>
                <a:gd name="connsiteX3691" fmla="*/ 2357018 w 3009712"/>
                <a:gd name="connsiteY3691" fmla="*/ 284054 h 4178187"/>
                <a:gd name="connsiteX3692" fmla="*/ 2353870 w 3009712"/>
                <a:gd name="connsiteY3692" fmla="*/ 283660 h 4178187"/>
                <a:gd name="connsiteX3693" fmla="*/ 2350723 w 3009712"/>
                <a:gd name="connsiteY3693" fmla="*/ 284054 h 4178187"/>
                <a:gd name="connsiteX3694" fmla="*/ 2347969 w 3009712"/>
                <a:gd name="connsiteY3694" fmla="*/ 284841 h 4178187"/>
                <a:gd name="connsiteX3695" fmla="*/ 2344822 w 3009712"/>
                <a:gd name="connsiteY3695" fmla="*/ 286414 h 4178187"/>
                <a:gd name="connsiteX3696" fmla="*/ 2342068 w 3009712"/>
                <a:gd name="connsiteY3696" fmla="*/ 287201 h 4178187"/>
                <a:gd name="connsiteX3697" fmla="*/ 2339314 w 3009712"/>
                <a:gd name="connsiteY3697" fmla="*/ 288382 h 4178187"/>
                <a:gd name="connsiteX3698" fmla="*/ 2340101 w 3009712"/>
                <a:gd name="connsiteY3698" fmla="*/ 287201 h 4178187"/>
                <a:gd name="connsiteX3699" fmla="*/ 2342855 w 3009712"/>
                <a:gd name="connsiteY3699" fmla="*/ 286021 h 4178187"/>
                <a:gd name="connsiteX3700" fmla="*/ 2345609 w 3009712"/>
                <a:gd name="connsiteY3700" fmla="*/ 284054 h 4178187"/>
                <a:gd name="connsiteX3701" fmla="*/ 2342855 w 3009712"/>
                <a:gd name="connsiteY3701" fmla="*/ 283660 h 4178187"/>
                <a:gd name="connsiteX3702" fmla="*/ 2339707 w 3009712"/>
                <a:gd name="connsiteY3702" fmla="*/ 282087 h 4178187"/>
                <a:gd name="connsiteX3703" fmla="*/ 2336953 w 3009712"/>
                <a:gd name="connsiteY3703" fmla="*/ 282480 h 4178187"/>
                <a:gd name="connsiteX3704" fmla="*/ 2333806 w 3009712"/>
                <a:gd name="connsiteY3704" fmla="*/ 280906 h 4178187"/>
                <a:gd name="connsiteX3705" fmla="*/ 2331052 w 3009712"/>
                <a:gd name="connsiteY3705" fmla="*/ 280120 h 4178187"/>
                <a:gd name="connsiteX3706" fmla="*/ 2328298 w 3009712"/>
                <a:gd name="connsiteY3706" fmla="*/ 278939 h 4178187"/>
                <a:gd name="connsiteX3707" fmla="*/ 2325150 w 3009712"/>
                <a:gd name="connsiteY3707" fmla="*/ 278152 h 4178187"/>
                <a:gd name="connsiteX3708" fmla="*/ 2322396 w 3009712"/>
                <a:gd name="connsiteY3708" fmla="*/ 277366 h 4178187"/>
                <a:gd name="connsiteX3709" fmla="*/ 2319642 w 3009712"/>
                <a:gd name="connsiteY3709" fmla="*/ 276972 h 4178187"/>
                <a:gd name="connsiteX3710" fmla="*/ 2316495 w 3009712"/>
                <a:gd name="connsiteY3710" fmla="*/ 277366 h 4178187"/>
                <a:gd name="connsiteX3711" fmla="*/ 2313741 w 3009712"/>
                <a:gd name="connsiteY3711" fmla="*/ 276579 h 4178187"/>
                <a:gd name="connsiteX3712" fmla="*/ 2310594 w 3009712"/>
                <a:gd name="connsiteY3712" fmla="*/ 275398 h 4178187"/>
                <a:gd name="connsiteX3713" fmla="*/ 2307840 w 3009712"/>
                <a:gd name="connsiteY3713" fmla="*/ 276579 h 4178187"/>
                <a:gd name="connsiteX3714" fmla="*/ 2304692 w 3009712"/>
                <a:gd name="connsiteY3714" fmla="*/ 277366 h 4178187"/>
                <a:gd name="connsiteX3715" fmla="*/ 2301938 w 3009712"/>
                <a:gd name="connsiteY3715" fmla="*/ 278939 h 4178187"/>
                <a:gd name="connsiteX3716" fmla="*/ 2299184 w 3009712"/>
                <a:gd name="connsiteY3716" fmla="*/ 279333 h 4178187"/>
                <a:gd name="connsiteX3717" fmla="*/ 2296037 w 3009712"/>
                <a:gd name="connsiteY3717" fmla="*/ 280513 h 4178187"/>
                <a:gd name="connsiteX3718" fmla="*/ 2293283 w 3009712"/>
                <a:gd name="connsiteY3718" fmla="*/ 281300 h 4178187"/>
                <a:gd name="connsiteX3719" fmla="*/ 2290529 w 3009712"/>
                <a:gd name="connsiteY3719" fmla="*/ 282480 h 4178187"/>
                <a:gd name="connsiteX3720" fmla="*/ 2287382 w 3009712"/>
                <a:gd name="connsiteY3720" fmla="*/ 284841 h 4178187"/>
                <a:gd name="connsiteX3721" fmla="*/ 2285021 w 3009712"/>
                <a:gd name="connsiteY3721" fmla="*/ 287988 h 4178187"/>
                <a:gd name="connsiteX3722" fmla="*/ 2283447 w 3009712"/>
                <a:gd name="connsiteY3722" fmla="*/ 291135 h 4178187"/>
                <a:gd name="connsiteX3723" fmla="*/ 2282267 w 3009712"/>
                <a:gd name="connsiteY3723" fmla="*/ 293889 h 4178187"/>
                <a:gd name="connsiteX3724" fmla="*/ 2280693 w 3009712"/>
                <a:gd name="connsiteY3724" fmla="*/ 296643 h 4178187"/>
                <a:gd name="connsiteX3725" fmla="*/ 2280300 w 3009712"/>
                <a:gd name="connsiteY3725" fmla="*/ 297037 h 4178187"/>
                <a:gd name="connsiteX3726" fmla="*/ 2280300 w 3009712"/>
                <a:gd name="connsiteY3726" fmla="*/ 297430 h 4178187"/>
                <a:gd name="connsiteX3727" fmla="*/ 2266923 w 3009712"/>
                <a:gd name="connsiteY3727" fmla="*/ 323790 h 4178187"/>
                <a:gd name="connsiteX3728" fmla="*/ 2266136 w 3009712"/>
                <a:gd name="connsiteY3728" fmla="*/ 324183 h 4178187"/>
                <a:gd name="connsiteX3729" fmla="*/ 2263382 w 3009712"/>
                <a:gd name="connsiteY3729" fmla="*/ 325757 h 4178187"/>
                <a:gd name="connsiteX3730" fmla="*/ 2260235 w 3009712"/>
                <a:gd name="connsiteY3730" fmla="*/ 327331 h 4178187"/>
                <a:gd name="connsiteX3731" fmla="*/ 2258268 w 3009712"/>
                <a:gd name="connsiteY3731" fmla="*/ 330478 h 4178187"/>
                <a:gd name="connsiteX3732" fmla="*/ 2261022 w 3009712"/>
                <a:gd name="connsiteY3732" fmla="*/ 330085 h 4178187"/>
                <a:gd name="connsiteX3733" fmla="*/ 2263776 w 3009712"/>
                <a:gd name="connsiteY3733" fmla="*/ 329691 h 4178187"/>
                <a:gd name="connsiteX3734" fmla="*/ 2261022 w 3009712"/>
                <a:gd name="connsiteY3734" fmla="*/ 330872 h 4178187"/>
                <a:gd name="connsiteX3735" fmla="*/ 2263382 w 3009712"/>
                <a:gd name="connsiteY3735" fmla="*/ 331265 h 4178187"/>
                <a:gd name="connsiteX3736" fmla="*/ 2263382 w 3009712"/>
                <a:gd name="connsiteY3736" fmla="*/ 335199 h 4178187"/>
                <a:gd name="connsiteX3737" fmla="*/ 2261809 w 3009712"/>
                <a:gd name="connsiteY3737" fmla="*/ 337166 h 4178187"/>
                <a:gd name="connsiteX3738" fmla="*/ 2263382 w 3009712"/>
                <a:gd name="connsiteY3738" fmla="*/ 337560 h 4178187"/>
                <a:gd name="connsiteX3739" fmla="*/ 2263382 w 3009712"/>
                <a:gd name="connsiteY3739" fmla="*/ 340314 h 4178187"/>
                <a:gd name="connsiteX3740" fmla="*/ 2261809 w 3009712"/>
                <a:gd name="connsiteY3740" fmla="*/ 340707 h 4178187"/>
                <a:gd name="connsiteX3741" fmla="*/ 2258661 w 3009712"/>
                <a:gd name="connsiteY3741" fmla="*/ 343068 h 4178187"/>
                <a:gd name="connsiteX3742" fmla="*/ 2260628 w 3009712"/>
                <a:gd name="connsiteY3742" fmla="*/ 345822 h 4178187"/>
                <a:gd name="connsiteX3743" fmla="*/ 2261415 w 3009712"/>
                <a:gd name="connsiteY3743" fmla="*/ 348576 h 4178187"/>
                <a:gd name="connsiteX3744" fmla="*/ 2259842 w 3009712"/>
                <a:gd name="connsiteY3744" fmla="*/ 351330 h 4178187"/>
                <a:gd name="connsiteX3745" fmla="*/ 2257088 w 3009712"/>
                <a:gd name="connsiteY3745" fmla="*/ 354084 h 4178187"/>
                <a:gd name="connsiteX3746" fmla="*/ 2259842 w 3009712"/>
                <a:gd name="connsiteY3746" fmla="*/ 353690 h 4178187"/>
                <a:gd name="connsiteX3747" fmla="*/ 2262989 w 3009712"/>
                <a:gd name="connsiteY3747" fmla="*/ 355264 h 4178187"/>
                <a:gd name="connsiteX3748" fmla="*/ 2260628 w 3009712"/>
                <a:gd name="connsiteY3748" fmla="*/ 356444 h 4178187"/>
                <a:gd name="connsiteX3749" fmla="*/ 2256301 w 3009712"/>
                <a:gd name="connsiteY3749" fmla="*/ 358018 h 4178187"/>
                <a:gd name="connsiteX3750" fmla="*/ 2251973 w 3009712"/>
                <a:gd name="connsiteY3750" fmla="*/ 361559 h 4178187"/>
                <a:gd name="connsiteX3751" fmla="*/ 2251580 w 3009712"/>
                <a:gd name="connsiteY3751" fmla="*/ 361559 h 4178187"/>
                <a:gd name="connsiteX3752" fmla="*/ 2248826 w 3009712"/>
                <a:gd name="connsiteY3752" fmla="*/ 362739 h 4178187"/>
                <a:gd name="connsiteX3753" fmla="*/ 2248432 w 3009712"/>
                <a:gd name="connsiteY3753" fmla="*/ 364313 h 4178187"/>
                <a:gd name="connsiteX3754" fmla="*/ 2246858 w 3009712"/>
                <a:gd name="connsiteY3754" fmla="*/ 365493 h 4178187"/>
                <a:gd name="connsiteX3755" fmla="*/ 2245285 w 3009712"/>
                <a:gd name="connsiteY3755" fmla="*/ 364706 h 4178187"/>
                <a:gd name="connsiteX3756" fmla="*/ 2242531 w 3009712"/>
                <a:gd name="connsiteY3756" fmla="*/ 363919 h 4178187"/>
                <a:gd name="connsiteX3757" fmla="*/ 2242138 w 3009712"/>
                <a:gd name="connsiteY3757" fmla="*/ 366673 h 4178187"/>
                <a:gd name="connsiteX3758" fmla="*/ 2239383 w 3009712"/>
                <a:gd name="connsiteY3758" fmla="*/ 369034 h 4178187"/>
                <a:gd name="connsiteX3759" fmla="*/ 2236236 w 3009712"/>
                <a:gd name="connsiteY3759" fmla="*/ 369821 h 4178187"/>
                <a:gd name="connsiteX3760" fmla="*/ 2234662 w 3009712"/>
                <a:gd name="connsiteY3760" fmla="*/ 372575 h 4178187"/>
                <a:gd name="connsiteX3761" fmla="*/ 2236236 w 3009712"/>
                <a:gd name="connsiteY3761" fmla="*/ 372968 h 4178187"/>
                <a:gd name="connsiteX3762" fmla="*/ 2234662 w 3009712"/>
                <a:gd name="connsiteY3762" fmla="*/ 374148 h 4178187"/>
                <a:gd name="connsiteX3763" fmla="*/ 2233089 w 3009712"/>
                <a:gd name="connsiteY3763" fmla="*/ 375722 h 4178187"/>
                <a:gd name="connsiteX3764" fmla="*/ 2230335 w 3009712"/>
                <a:gd name="connsiteY3764" fmla="*/ 377296 h 4178187"/>
                <a:gd name="connsiteX3765" fmla="*/ 2227187 w 3009712"/>
                <a:gd name="connsiteY3765" fmla="*/ 378476 h 4178187"/>
                <a:gd name="connsiteX3766" fmla="*/ 2224433 w 3009712"/>
                <a:gd name="connsiteY3766" fmla="*/ 379263 h 4178187"/>
                <a:gd name="connsiteX3767" fmla="*/ 2221679 w 3009712"/>
                <a:gd name="connsiteY3767" fmla="*/ 382017 h 4178187"/>
                <a:gd name="connsiteX3768" fmla="*/ 2218925 w 3009712"/>
                <a:gd name="connsiteY3768" fmla="*/ 383591 h 4178187"/>
                <a:gd name="connsiteX3769" fmla="*/ 2216171 w 3009712"/>
                <a:gd name="connsiteY3769" fmla="*/ 385951 h 4178187"/>
                <a:gd name="connsiteX3770" fmla="*/ 2213417 w 3009712"/>
                <a:gd name="connsiteY3770" fmla="*/ 386738 h 4178187"/>
                <a:gd name="connsiteX3771" fmla="*/ 2210270 w 3009712"/>
                <a:gd name="connsiteY3771" fmla="*/ 387525 h 4178187"/>
                <a:gd name="connsiteX3772" fmla="*/ 2207516 w 3009712"/>
                <a:gd name="connsiteY3772" fmla="*/ 388312 h 4178187"/>
                <a:gd name="connsiteX3773" fmla="*/ 2207122 w 3009712"/>
                <a:gd name="connsiteY3773" fmla="*/ 391459 h 4178187"/>
                <a:gd name="connsiteX3774" fmla="*/ 2205549 w 3009712"/>
                <a:gd name="connsiteY3774" fmla="*/ 394213 h 4178187"/>
                <a:gd name="connsiteX3775" fmla="*/ 2203188 w 3009712"/>
                <a:gd name="connsiteY3775" fmla="*/ 397361 h 4178187"/>
                <a:gd name="connsiteX3776" fmla="*/ 2206336 w 3009712"/>
                <a:gd name="connsiteY3776" fmla="*/ 397754 h 4178187"/>
                <a:gd name="connsiteX3777" fmla="*/ 2207122 w 3009712"/>
                <a:gd name="connsiteY3777" fmla="*/ 400508 h 4178187"/>
                <a:gd name="connsiteX3778" fmla="*/ 2209877 w 3009712"/>
                <a:gd name="connsiteY3778" fmla="*/ 402082 h 4178187"/>
                <a:gd name="connsiteX3779" fmla="*/ 2210270 w 3009712"/>
                <a:gd name="connsiteY3779" fmla="*/ 401688 h 4178187"/>
                <a:gd name="connsiteX3780" fmla="*/ 2210270 w 3009712"/>
                <a:gd name="connsiteY3780" fmla="*/ 402082 h 4178187"/>
                <a:gd name="connsiteX3781" fmla="*/ 2210663 w 3009712"/>
                <a:gd name="connsiteY3781" fmla="*/ 402869 h 4178187"/>
                <a:gd name="connsiteX3782" fmla="*/ 2211450 w 3009712"/>
                <a:gd name="connsiteY3782" fmla="*/ 406016 h 4178187"/>
                <a:gd name="connsiteX3783" fmla="*/ 2211450 w 3009712"/>
                <a:gd name="connsiteY3783" fmla="*/ 406409 h 4178187"/>
                <a:gd name="connsiteX3784" fmla="*/ 2211450 w 3009712"/>
                <a:gd name="connsiteY3784" fmla="*/ 406409 h 4178187"/>
                <a:gd name="connsiteX3785" fmla="*/ 2221679 w 3009712"/>
                <a:gd name="connsiteY3785" fmla="*/ 444572 h 4178187"/>
                <a:gd name="connsiteX3786" fmla="*/ 2219319 w 3009712"/>
                <a:gd name="connsiteY3786" fmla="*/ 447326 h 4178187"/>
                <a:gd name="connsiteX3787" fmla="*/ 2218138 w 3009712"/>
                <a:gd name="connsiteY3787" fmla="*/ 450080 h 4178187"/>
                <a:gd name="connsiteX3788" fmla="*/ 2155977 w 3009712"/>
                <a:gd name="connsiteY3788" fmla="*/ 502799 h 4178187"/>
                <a:gd name="connsiteX3789" fmla="*/ 2153223 w 3009712"/>
                <a:gd name="connsiteY3789" fmla="*/ 503979 h 4178187"/>
                <a:gd name="connsiteX3790" fmla="*/ 2152830 w 3009712"/>
                <a:gd name="connsiteY3790" fmla="*/ 503979 h 4178187"/>
                <a:gd name="connsiteX3791" fmla="*/ 2149682 w 3009712"/>
                <a:gd name="connsiteY3791" fmla="*/ 505159 h 4178187"/>
                <a:gd name="connsiteX3792" fmla="*/ 2147322 w 3009712"/>
                <a:gd name="connsiteY3792" fmla="*/ 505946 h 4178187"/>
                <a:gd name="connsiteX3793" fmla="*/ 2132371 w 3009712"/>
                <a:gd name="connsiteY3793" fmla="*/ 511454 h 4178187"/>
                <a:gd name="connsiteX3794" fmla="*/ 2131585 w 3009712"/>
                <a:gd name="connsiteY3794" fmla="*/ 511848 h 4178187"/>
                <a:gd name="connsiteX3795" fmla="*/ 2128831 w 3009712"/>
                <a:gd name="connsiteY3795" fmla="*/ 512635 h 4178187"/>
                <a:gd name="connsiteX3796" fmla="*/ 2125683 w 3009712"/>
                <a:gd name="connsiteY3796" fmla="*/ 513815 h 4178187"/>
                <a:gd name="connsiteX3797" fmla="*/ 2122536 w 3009712"/>
                <a:gd name="connsiteY3797" fmla="*/ 514208 h 4178187"/>
                <a:gd name="connsiteX3798" fmla="*/ 2119782 w 3009712"/>
                <a:gd name="connsiteY3798" fmla="*/ 515782 h 4178187"/>
                <a:gd name="connsiteX3799" fmla="*/ 2117028 w 3009712"/>
                <a:gd name="connsiteY3799" fmla="*/ 516962 h 4178187"/>
                <a:gd name="connsiteX3800" fmla="*/ 2114274 w 3009712"/>
                <a:gd name="connsiteY3800" fmla="*/ 517356 h 4178187"/>
                <a:gd name="connsiteX3801" fmla="*/ 2111126 w 3009712"/>
                <a:gd name="connsiteY3801" fmla="*/ 517749 h 4178187"/>
                <a:gd name="connsiteX3802" fmla="*/ 2107979 w 3009712"/>
                <a:gd name="connsiteY3802" fmla="*/ 518929 h 4178187"/>
                <a:gd name="connsiteX3803" fmla="*/ 2105225 w 3009712"/>
                <a:gd name="connsiteY3803" fmla="*/ 519323 h 4178187"/>
                <a:gd name="connsiteX3804" fmla="*/ 2102471 w 3009712"/>
                <a:gd name="connsiteY3804" fmla="*/ 520110 h 4178187"/>
                <a:gd name="connsiteX3805" fmla="*/ 2099324 w 3009712"/>
                <a:gd name="connsiteY3805" fmla="*/ 520896 h 4178187"/>
                <a:gd name="connsiteX3806" fmla="*/ 2096570 w 3009712"/>
                <a:gd name="connsiteY3806" fmla="*/ 523257 h 4178187"/>
                <a:gd name="connsiteX3807" fmla="*/ 2099324 w 3009712"/>
                <a:gd name="connsiteY3807" fmla="*/ 524831 h 4178187"/>
                <a:gd name="connsiteX3808" fmla="*/ 2098143 w 3009712"/>
                <a:gd name="connsiteY3808" fmla="*/ 527978 h 4178187"/>
                <a:gd name="connsiteX3809" fmla="*/ 2096963 w 3009712"/>
                <a:gd name="connsiteY3809" fmla="*/ 530732 h 4178187"/>
                <a:gd name="connsiteX3810" fmla="*/ 2096176 w 3009712"/>
                <a:gd name="connsiteY3810" fmla="*/ 533486 h 4178187"/>
                <a:gd name="connsiteX3811" fmla="*/ 2098930 w 3009712"/>
                <a:gd name="connsiteY3811" fmla="*/ 535453 h 4178187"/>
                <a:gd name="connsiteX3812" fmla="*/ 2096176 w 3009712"/>
                <a:gd name="connsiteY3812" fmla="*/ 537027 h 4178187"/>
                <a:gd name="connsiteX3813" fmla="*/ 2098930 w 3009712"/>
                <a:gd name="connsiteY3813" fmla="*/ 538207 h 4178187"/>
                <a:gd name="connsiteX3814" fmla="*/ 2102078 w 3009712"/>
                <a:gd name="connsiteY3814" fmla="*/ 539388 h 4178187"/>
                <a:gd name="connsiteX3815" fmla="*/ 2098930 w 3009712"/>
                <a:gd name="connsiteY3815" fmla="*/ 540961 h 4178187"/>
                <a:gd name="connsiteX3816" fmla="*/ 2101684 w 3009712"/>
                <a:gd name="connsiteY3816" fmla="*/ 543322 h 4178187"/>
                <a:gd name="connsiteX3817" fmla="*/ 2098930 w 3009712"/>
                <a:gd name="connsiteY3817" fmla="*/ 545289 h 4178187"/>
                <a:gd name="connsiteX3818" fmla="*/ 2098143 w 3009712"/>
                <a:gd name="connsiteY3818" fmla="*/ 548043 h 4178187"/>
                <a:gd name="connsiteX3819" fmla="*/ 2100897 w 3009712"/>
                <a:gd name="connsiteY3819" fmla="*/ 549617 h 4178187"/>
                <a:gd name="connsiteX3820" fmla="*/ 2098930 w 3009712"/>
                <a:gd name="connsiteY3820" fmla="*/ 550797 h 4178187"/>
                <a:gd name="connsiteX3821" fmla="*/ 2096963 w 3009712"/>
                <a:gd name="connsiteY3821" fmla="*/ 553551 h 4178187"/>
                <a:gd name="connsiteX3822" fmla="*/ 2094209 w 3009712"/>
                <a:gd name="connsiteY3822" fmla="*/ 554338 h 4178187"/>
                <a:gd name="connsiteX3823" fmla="*/ 2096963 w 3009712"/>
                <a:gd name="connsiteY3823" fmla="*/ 555125 h 4178187"/>
                <a:gd name="connsiteX3824" fmla="*/ 2093816 w 3009712"/>
                <a:gd name="connsiteY3824" fmla="*/ 557879 h 4178187"/>
                <a:gd name="connsiteX3825" fmla="*/ 2096963 w 3009712"/>
                <a:gd name="connsiteY3825" fmla="*/ 557879 h 4178187"/>
                <a:gd name="connsiteX3826" fmla="*/ 2094603 w 3009712"/>
                <a:gd name="connsiteY3826" fmla="*/ 560633 h 4178187"/>
                <a:gd name="connsiteX3827" fmla="*/ 2091849 w 3009712"/>
                <a:gd name="connsiteY3827" fmla="*/ 562206 h 4178187"/>
                <a:gd name="connsiteX3828" fmla="*/ 2093029 w 3009712"/>
                <a:gd name="connsiteY3828" fmla="*/ 564960 h 4178187"/>
                <a:gd name="connsiteX3829" fmla="*/ 2091062 w 3009712"/>
                <a:gd name="connsiteY3829" fmla="*/ 567714 h 4178187"/>
                <a:gd name="connsiteX3830" fmla="*/ 2090275 w 3009712"/>
                <a:gd name="connsiteY3830" fmla="*/ 570468 h 4178187"/>
                <a:gd name="connsiteX3831" fmla="*/ 2087914 w 3009712"/>
                <a:gd name="connsiteY3831" fmla="*/ 573222 h 4178187"/>
                <a:gd name="connsiteX3832" fmla="*/ 2085947 w 3009712"/>
                <a:gd name="connsiteY3832" fmla="*/ 575976 h 4178187"/>
                <a:gd name="connsiteX3833" fmla="*/ 2088701 w 3009712"/>
                <a:gd name="connsiteY3833" fmla="*/ 577550 h 4178187"/>
                <a:gd name="connsiteX3834" fmla="*/ 2087521 w 3009712"/>
                <a:gd name="connsiteY3834" fmla="*/ 577943 h 4178187"/>
                <a:gd name="connsiteX3835" fmla="*/ 2087127 w 3009712"/>
                <a:gd name="connsiteY3835" fmla="*/ 580697 h 4178187"/>
                <a:gd name="connsiteX3836" fmla="*/ 2087914 w 3009712"/>
                <a:gd name="connsiteY3836" fmla="*/ 580697 h 4178187"/>
                <a:gd name="connsiteX3837" fmla="*/ 2087127 w 3009712"/>
                <a:gd name="connsiteY3837" fmla="*/ 583845 h 4178187"/>
                <a:gd name="connsiteX3838" fmla="*/ 2084767 w 3009712"/>
                <a:gd name="connsiteY3838" fmla="*/ 584238 h 4178187"/>
                <a:gd name="connsiteX3839" fmla="*/ 2085554 w 3009712"/>
                <a:gd name="connsiteY3839" fmla="*/ 586992 h 4178187"/>
                <a:gd name="connsiteX3840" fmla="*/ 2085554 w 3009712"/>
                <a:gd name="connsiteY3840" fmla="*/ 589746 h 4178187"/>
                <a:gd name="connsiteX3841" fmla="*/ 2084373 w 3009712"/>
                <a:gd name="connsiteY3841" fmla="*/ 591320 h 4178187"/>
                <a:gd name="connsiteX3842" fmla="*/ 2085554 w 3009712"/>
                <a:gd name="connsiteY3842" fmla="*/ 591320 h 4178187"/>
                <a:gd name="connsiteX3843" fmla="*/ 2086340 w 3009712"/>
                <a:gd name="connsiteY3843" fmla="*/ 597615 h 4178187"/>
                <a:gd name="connsiteX3844" fmla="*/ 2083586 w 3009712"/>
                <a:gd name="connsiteY3844" fmla="*/ 600369 h 4178187"/>
                <a:gd name="connsiteX3845" fmla="*/ 2085554 w 3009712"/>
                <a:gd name="connsiteY3845" fmla="*/ 600762 h 4178187"/>
                <a:gd name="connsiteX3846" fmla="*/ 2082406 w 3009712"/>
                <a:gd name="connsiteY3846" fmla="*/ 601942 h 4178187"/>
                <a:gd name="connsiteX3847" fmla="*/ 2080439 w 3009712"/>
                <a:gd name="connsiteY3847" fmla="*/ 604696 h 4178187"/>
                <a:gd name="connsiteX3848" fmla="*/ 2077292 w 3009712"/>
                <a:gd name="connsiteY3848" fmla="*/ 607057 h 4178187"/>
                <a:gd name="connsiteX3849" fmla="*/ 2071784 w 3009712"/>
                <a:gd name="connsiteY3849" fmla="*/ 610598 h 4178187"/>
                <a:gd name="connsiteX3850" fmla="*/ 2068636 w 3009712"/>
                <a:gd name="connsiteY3850" fmla="*/ 611385 h 4178187"/>
                <a:gd name="connsiteX3851" fmla="*/ 2068636 w 3009712"/>
                <a:gd name="connsiteY3851" fmla="*/ 614139 h 4178187"/>
                <a:gd name="connsiteX3852" fmla="*/ 2066276 w 3009712"/>
                <a:gd name="connsiteY3852" fmla="*/ 615712 h 4178187"/>
                <a:gd name="connsiteX3853" fmla="*/ 2065489 w 3009712"/>
                <a:gd name="connsiteY3853" fmla="*/ 616106 h 4178187"/>
                <a:gd name="connsiteX3854" fmla="*/ 2062342 w 3009712"/>
                <a:gd name="connsiteY3854" fmla="*/ 618466 h 4178187"/>
                <a:gd name="connsiteX3855" fmla="*/ 2064702 w 3009712"/>
                <a:gd name="connsiteY3855" fmla="*/ 623187 h 4178187"/>
                <a:gd name="connsiteX3856" fmla="*/ 2063522 w 3009712"/>
                <a:gd name="connsiteY3856" fmla="*/ 625548 h 4178187"/>
                <a:gd name="connsiteX3857" fmla="*/ 2066276 w 3009712"/>
                <a:gd name="connsiteY3857" fmla="*/ 626335 h 4178187"/>
                <a:gd name="connsiteX3858" fmla="*/ 2064702 w 3009712"/>
                <a:gd name="connsiteY3858" fmla="*/ 626335 h 4178187"/>
                <a:gd name="connsiteX3859" fmla="*/ 2061555 w 3009712"/>
                <a:gd name="connsiteY3859" fmla="*/ 627908 h 4178187"/>
                <a:gd name="connsiteX3860" fmla="*/ 2060374 w 3009712"/>
                <a:gd name="connsiteY3860" fmla="*/ 630662 h 4178187"/>
                <a:gd name="connsiteX3861" fmla="*/ 2059194 w 3009712"/>
                <a:gd name="connsiteY3861" fmla="*/ 631056 h 4178187"/>
                <a:gd name="connsiteX3862" fmla="*/ 2056047 w 3009712"/>
                <a:gd name="connsiteY3862" fmla="*/ 633810 h 4178187"/>
                <a:gd name="connsiteX3863" fmla="*/ 2056440 w 3009712"/>
                <a:gd name="connsiteY3863" fmla="*/ 636564 h 4178187"/>
                <a:gd name="connsiteX3864" fmla="*/ 2055653 w 3009712"/>
                <a:gd name="connsiteY3864" fmla="*/ 635777 h 4178187"/>
                <a:gd name="connsiteX3865" fmla="*/ 2055260 w 3009712"/>
                <a:gd name="connsiteY3865" fmla="*/ 633416 h 4178187"/>
                <a:gd name="connsiteX3866" fmla="*/ 2056440 w 3009712"/>
                <a:gd name="connsiteY3866" fmla="*/ 630662 h 4178187"/>
                <a:gd name="connsiteX3867" fmla="*/ 2056833 w 3009712"/>
                <a:gd name="connsiteY3867" fmla="*/ 627908 h 4178187"/>
                <a:gd name="connsiteX3868" fmla="*/ 2054473 w 3009712"/>
                <a:gd name="connsiteY3868" fmla="*/ 624761 h 4178187"/>
                <a:gd name="connsiteX3869" fmla="*/ 2051719 w 3009712"/>
                <a:gd name="connsiteY3869" fmla="*/ 624368 h 4178187"/>
                <a:gd name="connsiteX3870" fmla="*/ 2053293 w 3009712"/>
                <a:gd name="connsiteY3870" fmla="*/ 621614 h 4178187"/>
                <a:gd name="connsiteX3871" fmla="*/ 2050539 w 3009712"/>
                <a:gd name="connsiteY3871" fmla="*/ 621614 h 4178187"/>
                <a:gd name="connsiteX3872" fmla="*/ 2047785 w 3009712"/>
                <a:gd name="connsiteY3872" fmla="*/ 623187 h 4178187"/>
                <a:gd name="connsiteX3873" fmla="*/ 2044637 w 3009712"/>
                <a:gd name="connsiteY3873" fmla="*/ 624368 h 4178187"/>
                <a:gd name="connsiteX3874" fmla="*/ 2043064 w 3009712"/>
                <a:gd name="connsiteY3874" fmla="*/ 627122 h 4178187"/>
                <a:gd name="connsiteX3875" fmla="*/ 2040703 w 3009712"/>
                <a:gd name="connsiteY3875" fmla="*/ 628695 h 4178187"/>
                <a:gd name="connsiteX3876" fmla="*/ 2037556 w 3009712"/>
                <a:gd name="connsiteY3876" fmla="*/ 631056 h 4178187"/>
                <a:gd name="connsiteX3877" fmla="*/ 2035195 w 3009712"/>
                <a:gd name="connsiteY3877" fmla="*/ 634203 h 4178187"/>
                <a:gd name="connsiteX3878" fmla="*/ 2032835 w 3009712"/>
                <a:gd name="connsiteY3878" fmla="*/ 636957 h 4178187"/>
                <a:gd name="connsiteX3879" fmla="*/ 2032441 w 3009712"/>
                <a:gd name="connsiteY3879" fmla="*/ 639711 h 4178187"/>
                <a:gd name="connsiteX3880" fmla="*/ 2034802 w 3009712"/>
                <a:gd name="connsiteY3880" fmla="*/ 642465 h 4178187"/>
                <a:gd name="connsiteX3881" fmla="*/ 2035195 w 3009712"/>
                <a:gd name="connsiteY3881" fmla="*/ 646006 h 4178187"/>
                <a:gd name="connsiteX3882" fmla="*/ 2034408 w 3009712"/>
                <a:gd name="connsiteY3882" fmla="*/ 644039 h 4178187"/>
                <a:gd name="connsiteX3883" fmla="*/ 2034408 w 3009712"/>
                <a:gd name="connsiteY3883" fmla="*/ 643252 h 4178187"/>
                <a:gd name="connsiteX3884" fmla="*/ 2032441 w 3009712"/>
                <a:gd name="connsiteY3884" fmla="*/ 640891 h 4178187"/>
                <a:gd name="connsiteX3885" fmla="*/ 2032048 w 3009712"/>
                <a:gd name="connsiteY3885" fmla="*/ 639318 h 4178187"/>
                <a:gd name="connsiteX3886" fmla="*/ 2029687 w 3009712"/>
                <a:gd name="connsiteY3886" fmla="*/ 636564 h 4178187"/>
                <a:gd name="connsiteX3887" fmla="*/ 2027720 w 3009712"/>
                <a:gd name="connsiteY3887" fmla="*/ 633810 h 4178187"/>
                <a:gd name="connsiteX3888" fmla="*/ 2026540 w 3009712"/>
                <a:gd name="connsiteY3888" fmla="*/ 633416 h 4178187"/>
                <a:gd name="connsiteX3889" fmla="*/ 2023786 w 3009712"/>
                <a:gd name="connsiteY3889" fmla="*/ 632236 h 4178187"/>
                <a:gd name="connsiteX3890" fmla="*/ 2020638 w 3009712"/>
                <a:gd name="connsiteY3890" fmla="*/ 631449 h 4178187"/>
                <a:gd name="connsiteX3891" fmla="*/ 2017884 w 3009712"/>
                <a:gd name="connsiteY3891" fmla="*/ 631449 h 4178187"/>
                <a:gd name="connsiteX3892" fmla="*/ 2014737 w 3009712"/>
                <a:gd name="connsiteY3892" fmla="*/ 632630 h 4178187"/>
                <a:gd name="connsiteX3893" fmla="*/ 2011983 w 3009712"/>
                <a:gd name="connsiteY3893" fmla="*/ 634597 h 4178187"/>
                <a:gd name="connsiteX3894" fmla="*/ 2008835 w 3009712"/>
                <a:gd name="connsiteY3894" fmla="*/ 636170 h 4178187"/>
                <a:gd name="connsiteX3895" fmla="*/ 2006082 w 3009712"/>
                <a:gd name="connsiteY3895" fmla="*/ 637744 h 4178187"/>
                <a:gd name="connsiteX3896" fmla="*/ 2003328 w 3009712"/>
                <a:gd name="connsiteY3896" fmla="*/ 638138 h 4178187"/>
                <a:gd name="connsiteX3897" fmla="*/ 2000967 w 3009712"/>
                <a:gd name="connsiteY3897" fmla="*/ 640105 h 4178187"/>
                <a:gd name="connsiteX3898" fmla="*/ 1997426 w 3009712"/>
                <a:gd name="connsiteY3898" fmla="*/ 640891 h 4178187"/>
                <a:gd name="connsiteX3899" fmla="*/ 1999393 w 3009712"/>
                <a:gd name="connsiteY3899" fmla="*/ 639711 h 4178187"/>
                <a:gd name="connsiteX3900" fmla="*/ 2001360 w 3009712"/>
                <a:gd name="connsiteY3900" fmla="*/ 638924 h 4178187"/>
                <a:gd name="connsiteX3901" fmla="*/ 2004508 w 3009712"/>
                <a:gd name="connsiteY3901" fmla="*/ 636564 h 4178187"/>
                <a:gd name="connsiteX3902" fmla="*/ 2005688 w 3009712"/>
                <a:gd name="connsiteY3902" fmla="*/ 636170 h 4178187"/>
                <a:gd name="connsiteX3903" fmla="*/ 2008835 w 3009712"/>
                <a:gd name="connsiteY3903" fmla="*/ 634203 h 4178187"/>
                <a:gd name="connsiteX3904" fmla="*/ 2011589 w 3009712"/>
                <a:gd name="connsiteY3904" fmla="*/ 632630 h 4178187"/>
                <a:gd name="connsiteX3905" fmla="*/ 2013163 w 3009712"/>
                <a:gd name="connsiteY3905" fmla="*/ 631843 h 4178187"/>
                <a:gd name="connsiteX3906" fmla="*/ 2015917 w 3009712"/>
                <a:gd name="connsiteY3906" fmla="*/ 631056 h 4178187"/>
                <a:gd name="connsiteX3907" fmla="*/ 2019065 w 3009712"/>
                <a:gd name="connsiteY3907" fmla="*/ 628302 h 4178187"/>
                <a:gd name="connsiteX3908" fmla="*/ 2019065 w 3009712"/>
                <a:gd name="connsiteY3908" fmla="*/ 625548 h 4178187"/>
                <a:gd name="connsiteX3909" fmla="*/ 2019458 w 3009712"/>
                <a:gd name="connsiteY3909" fmla="*/ 622794 h 4178187"/>
                <a:gd name="connsiteX3910" fmla="*/ 2019852 w 3009712"/>
                <a:gd name="connsiteY3910" fmla="*/ 619646 h 4178187"/>
                <a:gd name="connsiteX3911" fmla="*/ 2019458 w 3009712"/>
                <a:gd name="connsiteY3911" fmla="*/ 616499 h 4178187"/>
                <a:gd name="connsiteX3912" fmla="*/ 2015524 w 3009712"/>
                <a:gd name="connsiteY3912" fmla="*/ 610991 h 4178187"/>
                <a:gd name="connsiteX3913" fmla="*/ 2013163 w 3009712"/>
                <a:gd name="connsiteY3913" fmla="*/ 608237 h 4178187"/>
                <a:gd name="connsiteX3914" fmla="*/ 2010016 w 3009712"/>
                <a:gd name="connsiteY3914" fmla="*/ 607057 h 4178187"/>
                <a:gd name="connsiteX3915" fmla="*/ 2007262 w 3009712"/>
                <a:gd name="connsiteY3915" fmla="*/ 604696 h 4178187"/>
                <a:gd name="connsiteX3916" fmla="*/ 2004901 w 3009712"/>
                <a:gd name="connsiteY3916" fmla="*/ 601942 h 4178187"/>
                <a:gd name="connsiteX3917" fmla="*/ 2001754 w 3009712"/>
                <a:gd name="connsiteY3917" fmla="*/ 601942 h 4178187"/>
                <a:gd name="connsiteX3918" fmla="*/ 1999000 w 3009712"/>
                <a:gd name="connsiteY3918" fmla="*/ 602336 h 4178187"/>
                <a:gd name="connsiteX3919" fmla="*/ 1996246 w 3009712"/>
                <a:gd name="connsiteY3919" fmla="*/ 603123 h 4178187"/>
                <a:gd name="connsiteX3920" fmla="*/ 1997820 w 3009712"/>
                <a:gd name="connsiteY3920" fmla="*/ 601549 h 4178187"/>
                <a:gd name="connsiteX3921" fmla="*/ 1999393 w 3009712"/>
                <a:gd name="connsiteY3921" fmla="*/ 601155 h 4178187"/>
                <a:gd name="connsiteX3922" fmla="*/ 2002147 w 3009712"/>
                <a:gd name="connsiteY3922" fmla="*/ 600369 h 4178187"/>
                <a:gd name="connsiteX3923" fmla="*/ 2005295 w 3009712"/>
                <a:gd name="connsiteY3923" fmla="*/ 599582 h 4178187"/>
                <a:gd name="connsiteX3924" fmla="*/ 2008049 w 3009712"/>
                <a:gd name="connsiteY3924" fmla="*/ 599188 h 4178187"/>
                <a:gd name="connsiteX3925" fmla="*/ 2008442 w 3009712"/>
                <a:gd name="connsiteY3925" fmla="*/ 596434 h 4178187"/>
                <a:gd name="connsiteX3926" fmla="*/ 2008049 w 3009712"/>
                <a:gd name="connsiteY3926" fmla="*/ 593287 h 4178187"/>
                <a:gd name="connsiteX3927" fmla="*/ 2006868 w 3009712"/>
                <a:gd name="connsiteY3927" fmla="*/ 590533 h 4178187"/>
                <a:gd name="connsiteX3928" fmla="*/ 2004508 w 3009712"/>
                <a:gd name="connsiteY3928" fmla="*/ 587779 h 4178187"/>
                <a:gd name="connsiteX3929" fmla="*/ 2004114 w 3009712"/>
                <a:gd name="connsiteY3929" fmla="*/ 585025 h 4178187"/>
                <a:gd name="connsiteX3930" fmla="*/ 2004114 w 3009712"/>
                <a:gd name="connsiteY3930" fmla="*/ 582271 h 4178187"/>
                <a:gd name="connsiteX3931" fmla="*/ 2000967 w 3009712"/>
                <a:gd name="connsiteY3931" fmla="*/ 579910 h 4178187"/>
                <a:gd name="connsiteX3932" fmla="*/ 2000574 w 3009712"/>
                <a:gd name="connsiteY3932" fmla="*/ 579517 h 4178187"/>
                <a:gd name="connsiteX3933" fmla="*/ 2000180 w 3009712"/>
                <a:gd name="connsiteY3933" fmla="*/ 578337 h 4178187"/>
                <a:gd name="connsiteX3934" fmla="*/ 2000967 w 3009712"/>
                <a:gd name="connsiteY3934" fmla="*/ 577943 h 4178187"/>
                <a:gd name="connsiteX3935" fmla="*/ 2006082 w 3009712"/>
                <a:gd name="connsiteY3935" fmla="*/ 570468 h 4178187"/>
                <a:gd name="connsiteX3936" fmla="*/ 2009229 w 3009712"/>
                <a:gd name="connsiteY3936" fmla="*/ 569288 h 4178187"/>
                <a:gd name="connsiteX3937" fmla="*/ 2011589 w 3009712"/>
                <a:gd name="connsiteY3937" fmla="*/ 566140 h 4178187"/>
                <a:gd name="connsiteX3938" fmla="*/ 2012376 w 3009712"/>
                <a:gd name="connsiteY3938" fmla="*/ 563387 h 4178187"/>
                <a:gd name="connsiteX3939" fmla="*/ 2012770 w 3009712"/>
                <a:gd name="connsiteY3939" fmla="*/ 560239 h 4178187"/>
                <a:gd name="connsiteX3940" fmla="*/ 2014343 w 3009712"/>
                <a:gd name="connsiteY3940" fmla="*/ 557485 h 4178187"/>
                <a:gd name="connsiteX3941" fmla="*/ 2016704 w 3009712"/>
                <a:gd name="connsiteY3941" fmla="*/ 554731 h 4178187"/>
                <a:gd name="connsiteX3942" fmla="*/ 2019458 w 3009712"/>
                <a:gd name="connsiteY3942" fmla="*/ 551977 h 4178187"/>
                <a:gd name="connsiteX3943" fmla="*/ 2020638 w 3009712"/>
                <a:gd name="connsiteY3943" fmla="*/ 549223 h 4178187"/>
                <a:gd name="connsiteX3944" fmla="*/ 2021032 w 3009712"/>
                <a:gd name="connsiteY3944" fmla="*/ 546076 h 4178187"/>
                <a:gd name="connsiteX3945" fmla="*/ 2021425 w 3009712"/>
                <a:gd name="connsiteY3945" fmla="*/ 543322 h 4178187"/>
                <a:gd name="connsiteX3946" fmla="*/ 2021425 w 3009712"/>
                <a:gd name="connsiteY3946" fmla="*/ 543322 h 4178187"/>
                <a:gd name="connsiteX3947" fmla="*/ 2033621 w 3009712"/>
                <a:gd name="connsiteY3947" fmla="*/ 522470 h 4178187"/>
                <a:gd name="connsiteX3948" fmla="*/ 2035982 w 3009712"/>
                <a:gd name="connsiteY3948" fmla="*/ 519716 h 4178187"/>
                <a:gd name="connsiteX3949" fmla="*/ 2038342 w 3009712"/>
                <a:gd name="connsiteY3949" fmla="*/ 516962 h 4178187"/>
                <a:gd name="connsiteX3950" fmla="*/ 2038736 w 3009712"/>
                <a:gd name="connsiteY3950" fmla="*/ 514208 h 4178187"/>
                <a:gd name="connsiteX3951" fmla="*/ 2039129 w 3009712"/>
                <a:gd name="connsiteY3951" fmla="*/ 513028 h 4178187"/>
                <a:gd name="connsiteX3952" fmla="*/ 2041490 w 3009712"/>
                <a:gd name="connsiteY3952" fmla="*/ 509881 h 4178187"/>
                <a:gd name="connsiteX3953" fmla="*/ 2038736 w 3009712"/>
                <a:gd name="connsiteY3953" fmla="*/ 510274 h 4178187"/>
                <a:gd name="connsiteX3954" fmla="*/ 2035982 w 3009712"/>
                <a:gd name="connsiteY3954" fmla="*/ 507520 h 4178187"/>
                <a:gd name="connsiteX3955" fmla="*/ 2033228 w 3009712"/>
                <a:gd name="connsiteY3955" fmla="*/ 507127 h 4178187"/>
                <a:gd name="connsiteX3956" fmla="*/ 2030474 w 3009712"/>
                <a:gd name="connsiteY3956" fmla="*/ 507913 h 4178187"/>
                <a:gd name="connsiteX3957" fmla="*/ 2027326 w 3009712"/>
                <a:gd name="connsiteY3957" fmla="*/ 507520 h 4178187"/>
                <a:gd name="connsiteX3958" fmla="*/ 2024966 w 3009712"/>
                <a:gd name="connsiteY3958" fmla="*/ 509094 h 4178187"/>
                <a:gd name="connsiteX3959" fmla="*/ 2027720 w 3009712"/>
                <a:gd name="connsiteY3959" fmla="*/ 506340 h 4178187"/>
                <a:gd name="connsiteX3960" fmla="*/ 2024572 w 3009712"/>
                <a:gd name="connsiteY3960" fmla="*/ 505159 h 4178187"/>
                <a:gd name="connsiteX3961" fmla="*/ 2021819 w 3009712"/>
                <a:gd name="connsiteY3961" fmla="*/ 506340 h 4178187"/>
                <a:gd name="connsiteX3962" fmla="*/ 2018671 w 3009712"/>
                <a:gd name="connsiteY3962" fmla="*/ 505946 h 4178187"/>
                <a:gd name="connsiteX3963" fmla="*/ 2015917 w 3009712"/>
                <a:gd name="connsiteY3963" fmla="*/ 505553 h 4178187"/>
                <a:gd name="connsiteX3964" fmla="*/ 2013163 w 3009712"/>
                <a:gd name="connsiteY3964" fmla="*/ 505159 h 4178187"/>
                <a:gd name="connsiteX3965" fmla="*/ 2010409 w 3009712"/>
                <a:gd name="connsiteY3965" fmla="*/ 504373 h 4178187"/>
                <a:gd name="connsiteX3966" fmla="*/ 2011196 w 3009712"/>
                <a:gd name="connsiteY3966" fmla="*/ 507127 h 4178187"/>
                <a:gd name="connsiteX3967" fmla="*/ 2008442 w 3009712"/>
                <a:gd name="connsiteY3967" fmla="*/ 505946 h 4178187"/>
                <a:gd name="connsiteX3968" fmla="*/ 2005688 w 3009712"/>
                <a:gd name="connsiteY3968" fmla="*/ 503192 h 4178187"/>
                <a:gd name="connsiteX3969" fmla="*/ 2005295 w 3009712"/>
                <a:gd name="connsiteY3969" fmla="*/ 503192 h 4178187"/>
                <a:gd name="connsiteX3970" fmla="*/ 2005295 w 3009712"/>
                <a:gd name="connsiteY3970" fmla="*/ 503192 h 4178187"/>
                <a:gd name="connsiteX3971" fmla="*/ 2005295 w 3009712"/>
                <a:gd name="connsiteY3971" fmla="*/ 503192 h 4178187"/>
                <a:gd name="connsiteX3972" fmla="*/ 2002934 w 3009712"/>
                <a:gd name="connsiteY3972" fmla="*/ 503586 h 4178187"/>
                <a:gd name="connsiteX3973" fmla="*/ 2000574 w 3009712"/>
                <a:gd name="connsiteY3973" fmla="*/ 504373 h 4178187"/>
                <a:gd name="connsiteX3974" fmla="*/ 1999787 w 3009712"/>
                <a:gd name="connsiteY3974" fmla="*/ 504373 h 4178187"/>
                <a:gd name="connsiteX3975" fmla="*/ 1997033 w 3009712"/>
                <a:gd name="connsiteY3975" fmla="*/ 503586 h 4178187"/>
                <a:gd name="connsiteX3976" fmla="*/ 1993885 w 3009712"/>
                <a:gd name="connsiteY3976" fmla="*/ 503979 h 4178187"/>
                <a:gd name="connsiteX3977" fmla="*/ 1991131 w 3009712"/>
                <a:gd name="connsiteY3977" fmla="*/ 504373 h 4178187"/>
                <a:gd name="connsiteX3978" fmla="*/ 1989558 w 3009712"/>
                <a:gd name="connsiteY3978" fmla="*/ 504766 h 4178187"/>
                <a:gd name="connsiteX3979" fmla="*/ 1983656 w 3009712"/>
                <a:gd name="connsiteY3979" fmla="*/ 504766 h 4178187"/>
                <a:gd name="connsiteX3980" fmla="*/ 1982476 w 3009712"/>
                <a:gd name="connsiteY3980" fmla="*/ 504373 h 4178187"/>
                <a:gd name="connsiteX3981" fmla="*/ 1979328 w 3009712"/>
                <a:gd name="connsiteY3981" fmla="*/ 503979 h 4178187"/>
                <a:gd name="connsiteX3982" fmla="*/ 1976575 w 3009712"/>
                <a:gd name="connsiteY3982" fmla="*/ 503979 h 4178187"/>
                <a:gd name="connsiteX3983" fmla="*/ 1973427 w 3009712"/>
                <a:gd name="connsiteY3983" fmla="*/ 504373 h 4178187"/>
                <a:gd name="connsiteX3984" fmla="*/ 1970673 w 3009712"/>
                <a:gd name="connsiteY3984" fmla="*/ 505946 h 4178187"/>
                <a:gd name="connsiteX3985" fmla="*/ 1967919 w 3009712"/>
                <a:gd name="connsiteY3985" fmla="*/ 507913 h 4178187"/>
                <a:gd name="connsiteX3986" fmla="*/ 1965165 w 3009712"/>
                <a:gd name="connsiteY3986" fmla="*/ 510274 h 4178187"/>
                <a:gd name="connsiteX3987" fmla="*/ 1962411 w 3009712"/>
                <a:gd name="connsiteY3987" fmla="*/ 513028 h 4178187"/>
                <a:gd name="connsiteX3988" fmla="*/ 1961624 w 3009712"/>
                <a:gd name="connsiteY3988" fmla="*/ 513421 h 4178187"/>
                <a:gd name="connsiteX3989" fmla="*/ 1961624 w 3009712"/>
                <a:gd name="connsiteY3989" fmla="*/ 513028 h 4178187"/>
                <a:gd name="connsiteX3990" fmla="*/ 1963985 w 3009712"/>
                <a:gd name="connsiteY3990" fmla="*/ 510667 h 4178187"/>
                <a:gd name="connsiteX3991" fmla="*/ 1969493 w 3009712"/>
                <a:gd name="connsiteY3991" fmla="*/ 505946 h 4178187"/>
                <a:gd name="connsiteX3992" fmla="*/ 1972640 w 3009712"/>
                <a:gd name="connsiteY3992" fmla="*/ 503979 h 4178187"/>
                <a:gd name="connsiteX3993" fmla="*/ 1974607 w 3009712"/>
                <a:gd name="connsiteY3993" fmla="*/ 501225 h 4178187"/>
                <a:gd name="connsiteX3994" fmla="*/ 1971853 w 3009712"/>
                <a:gd name="connsiteY3994" fmla="*/ 500438 h 4178187"/>
                <a:gd name="connsiteX3995" fmla="*/ 1969099 w 3009712"/>
                <a:gd name="connsiteY3995" fmla="*/ 498078 h 4178187"/>
                <a:gd name="connsiteX3996" fmla="*/ 1968706 w 3009712"/>
                <a:gd name="connsiteY3996" fmla="*/ 494930 h 4178187"/>
                <a:gd name="connsiteX3997" fmla="*/ 1965952 w 3009712"/>
                <a:gd name="connsiteY3997" fmla="*/ 492963 h 4178187"/>
                <a:gd name="connsiteX3998" fmla="*/ 1963198 w 3009712"/>
                <a:gd name="connsiteY3998" fmla="*/ 490996 h 4178187"/>
                <a:gd name="connsiteX3999" fmla="*/ 1960444 w 3009712"/>
                <a:gd name="connsiteY3999" fmla="*/ 490996 h 4178187"/>
                <a:gd name="connsiteX4000" fmla="*/ 1957297 w 3009712"/>
                <a:gd name="connsiteY4000" fmla="*/ 490603 h 4178187"/>
                <a:gd name="connsiteX4001" fmla="*/ 1954543 w 3009712"/>
                <a:gd name="connsiteY4001" fmla="*/ 489029 h 4178187"/>
                <a:gd name="connsiteX4002" fmla="*/ 1951395 w 3009712"/>
                <a:gd name="connsiteY4002" fmla="*/ 487455 h 4178187"/>
                <a:gd name="connsiteX4003" fmla="*/ 1948641 w 3009712"/>
                <a:gd name="connsiteY4003" fmla="*/ 486275 h 4178187"/>
                <a:gd name="connsiteX4004" fmla="*/ 1945887 w 3009712"/>
                <a:gd name="connsiteY4004" fmla="*/ 485095 h 4178187"/>
                <a:gd name="connsiteX4005" fmla="*/ 1943133 w 3009712"/>
                <a:gd name="connsiteY4005" fmla="*/ 484308 h 4178187"/>
                <a:gd name="connsiteX4006" fmla="*/ 1939986 w 3009712"/>
                <a:gd name="connsiteY4006" fmla="*/ 483914 h 4178187"/>
                <a:gd name="connsiteX4007" fmla="*/ 1937232 w 3009712"/>
                <a:gd name="connsiteY4007" fmla="*/ 483521 h 4178187"/>
                <a:gd name="connsiteX4008" fmla="*/ 1934084 w 3009712"/>
                <a:gd name="connsiteY4008" fmla="*/ 481947 h 4178187"/>
                <a:gd name="connsiteX4009" fmla="*/ 1931331 w 3009712"/>
                <a:gd name="connsiteY4009" fmla="*/ 481160 h 4178187"/>
                <a:gd name="connsiteX4010" fmla="*/ 1930937 w 3009712"/>
                <a:gd name="connsiteY4010" fmla="*/ 480767 h 4178187"/>
                <a:gd name="connsiteX4011" fmla="*/ 1928183 w 3009712"/>
                <a:gd name="connsiteY4011" fmla="*/ 481554 h 4178187"/>
                <a:gd name="connsiteX4012" fmla="*/ 1927790 w 3009712"/>
                <a:gd name="connsiteY4012" fmla="*/ 481947 h 4178187"/>
                <a:gd name="connsiteX4013" fmla="*/ 1927790 w 3009712"/>
                <a:gd name="connsiteY4013" fmla="*/ 481554 h 4178187"/>
                <a:gd name="connsiteX4014" fmla="*/ 1929363 w 3009712"/>
                <a:gd name="connsiteY4014" fmla="*/ 478800 h 4178187"/>
                <a:gd name="connsiteX4015" fmla="*/ 1928970 w 3009712"/>
                <a:gd name="connsiteY4015" fmla="*/ 476046 h 4178187"/>
                <a:gd name="connsiteX4016" fmla="*/ 1928577 w 3009712"/>
                <a:gd name="connsiteY4016" fmla="*/ 472898 h 4178187"/>
                <a:gd name="connsiteX4017" fmla="*/ 1927396 w 3009712"/>
                <a:gd name="connsiteY4017" fmla="*/ 470144 h 4178187"/>
                <a:gd name="connsiteX4018" fmla="*/ 1925823 w 3009712"/>
                <a:gd name="connsiteY4018" fmla="*/ 467390 h 4178187"/>
                <a:gd name="connsiteX4019" fmla="*/ 1922675 w 3009712"/>
                <a:gd name="connsiteY4019" fmla="*/ 465817 h 4178187"/>
                <a:gd name="connsiteX4020" fmla="*/ 1919921 w 3009712"/>
                <a:gd name="connsiteY4020" fmla="*/ 463456 h 4178187"/>
                <a:gd name="connsiteX4021" fmla="*/ 1917167 w 3009712"/>
                <a:gd name="connsiteY4021" fmla="*/ 460702 h 4178187"/>
                <a:gd name="connsiteX4022" fmla="*/ 1915594 w 3009712"/>
                <a:gd name="connsiteY4022" fmla="*/ 457948 h 4178187"/>
                <a:gd name="connsiteX4023" fmla="*/ 1914413 w 3009712"/>
                <a:gd name="connsiteY4023" fmla="*/ 455194 h 4178187"/>
                <a:gd name="connsiteX4024" fmla="*/ 1911266 w 3009712"/>
                <a:gd name="connsiteY4024" fmla="*/ 455588 h 4178187"/>
                <a:gd name="connsiteX4025" fmla="*/ 1910479 w 3009712"/>
                <a:gd name="connsiteY4025" fmla="*/ 455194 h 4178187"/>
                <a:gd name="connsiteX4026" fmla="*/ 1909692 w 3009712"/>
                <a:gd name="connsiteY4026" fmla="*/ 455194 h 4178187"/>
                <a:gd name="connsiteX4027" fmla="*/ 1906151 w 3009712"/>
                <a:gd name="connsiteY4027" fmla="*/ 454407 h 4178187"/>
                <a:gd name="connsiteX4028" fmla="*/ 1904577 w 3009712"/>
                <a:gd name="connsiteY4028" fmla="*/ 453621 h 4178187"/>
                <a:gd name="connsiteX4029" fmla="*/ 1902217 w 3009712"/>
                <a:gd name="connsiteY4029" fmla="*/ 453227 h 4178187"/>
                <a:gd name="connsiteX4030" fmla="*/ 1890414 w 3009712"/>
                <a:gd name="connsiteY4030" fmla="*/ 450080 h 4178187"/>
                <a:gd name="connsiteX4031" fmla="*/ 1887660 w 3009712"/>
                <a:gd name="connsiteY4031" fmla="*/ 447719 h 4178187"/>
                <a:gd name="connsiteX4032" fmla="*/ 1884513 w 3009712"/>
                <a:gd name="connsiteY4032" fmla="*/ 446145 h 4178187"/>
                <a:gd name="connsiteX4033" fmla="*/ 1881759 w 3009712"/>
                <a:gd name="connsiteY4033" fmla="*/ 444178 h 4178187"/>
                <a:gd name="connsiteX4034" fmla="*/ 1879005 w 3009712"/>
                <a:gd name="connsiteY4034" fmla="*/ 443785 h 4178187"/>
                <a:gd name="connsiteX4035" fmla="*/ 1875857 w 3009712"/>
                <a:gd name="connsiteY4035" fmla="*/ 442998 h 4178187"/>
                <a:gd name="connsiteX4036" fmla="*/ 1870743 w 3009712"/>
                <a:gd name="connsiteY4036" fmla="*/ 440637 h 4178187"/>
                <a:gd name="connsiteX4037" fmla="*/ 1867989 w 3009712"/>
                <a:gd name="connsiteY4037" fmla="*/ 440637 h 4178187"/>
                <a:gd name="connsiteX4038" fmla="*/ 1865235 w 3009712"/>
                <a:gd name="connsiteY4038" fmla="*/ 441031 h 4178187"/>
                <a:gd name="connsiteX4039" fmla="*/ 1862087 w 3009712"/>
                <a:gd name="connsiteY4039" fmla="*/ 441424 h 4178187"/>
                <a:gd name="connsiteX4040" fmla="*/ 1859333 w 3009712"/>
                <a:gd name="connsiteY4040" fmla="*/ 442211 h 4178187"/>
                <a:gd name="connsiteX4041" fmla="*/ 1856186 w 3009712"/>
                <a:gd name="connsiteY4041" fmla="*/ 442605 h 4178187"/>
                <a:gd name="connsiteX4042" fmla="*/ 1853432 w 3009712"/>
                <a:gd name="connsiteY4042" fmla="*/ 443391 h 4178187"/>
                <a:gd name="connsiteX4043" fmla="*/ 1850285 w 3009712"/>
                <a:gd name="connsiteY4043" fmla="*/ 443785 h 4178187"/>
                <a:gd name="connsiteX4044" fmla="*/ 1847531 w 3009712"/>
                <a:gd name="connsiteY4044" fmla="*/ 444572 h 4178187"/>
                <a:gd name="connsiteX4045" fmla="*/ 1844383 w 3009712"/>
                <a:gd name="connsiteY4045" fmla="*/ 445359 h 4178187"/>
                <a:gd name="connsiteX4046" fmla="*/ 1841629 w 3009712"/>
                <a:gd name="connsiteY4046" fmla="*/ 445752 h 4178187"/>
                <a:gd name="connsiteX4047" fmla="*/ 1838875 w 3009712"/>
                <a:gd name="connsiteY4047" fmla="*/ 446145 h 4178187"/>
                <a:gd name="connsiteX4048" fmla="*/ 1835728 w 3009712"/>
                <a:gd name="connsiteY4048" fmla="*/ 446539 h 4178187"/>
                <a:gd name="connsiteX4049" fmla="*/ 1832580 w 3009712"/>
                <a:gd name="connsiteY4049" fmla="*/ 447719 h 4178187"/>
                <a:gd name="connsiteX4050" fmla="*/ 1829826 w 3009712"/>
                <a:gd name="connsiteY4050" fmla="*/ 448899 h 4178187"/>
                <a:gd name="connsiteX4051" fmla="*/ 1827073 w 3009712"/>
                <a:gd name="connsiteY4051" fmla="*/ 449686 h 4178187"/>
                <a:gd name="connsiteX4052" fmla="*/ 1826286 w 3009712"/>
                <a:gd name="connsiteY4052" fmla="*/ 449686 h 4178187"/>
                <a:gd name="connsiteX4053" fmla="*/ 1829040 w 3009712"/>
                <a:gd name="connsiteY4053" fmla="*/ 448899 h 4178187"/>
                <a:gd name="connsiteX4054" fmla="*/ 1832187 w 3009712"/>
                <a:gd name="connsiteY4054" fmla="*/ 447326 h 4178187"/>
                <a:gd name="connsiteX4055" fmla="*/ 1835334 w 3009712"/>
                <a:gd name="connsiteY4055" fmla="*/ 445752 h 4178187"/>
                <a:gd name="connsiteX4056" fmla="*/ 1832187 w 3009712"/>
                <a:gd name="connsiteY4056" fmla="*/ 445752 h 4178187"/>
                <a:gd name="connsiteX4057" fmla="*/ 1829040 w 3009712"/>
                <a:gd name="connsiteY4057" fmla="*/ 446145 h 4178187"/>
                <a:gd name="connsiteX4058" fmla="*/ 1826286 w 3009712"/>
                <a:gd name="connsiteY4058" fmla="*/ 447326 h 4178187"/>
                <a:gd name="connsiteX4059" fmla="*/ 1823138 w 3009712"/>
                <a:gd name="connsiteY4059" fmla="*/ 448506 h 4178187"/>
                <a:gd name="connsiteX4060" fmla="*/ 1820384 w 3009712"/>
                <a:gd name="connsiteY4060" fmla="*/ 450080 h 4178187"/>
                <a:gd name="connsiteX4061" fmla="*/ 1818810 w 3009712"/>
                <a:gd name="connsiteY4061" fmla="*/ 450473 h 4178187"/>
                <a:gd name="connsiteX4062" fmla="*/ 1815663 w 3009712"/>
                <a:gd name="connsiteY4062" fmla="*/ 450867 h 4178187"/>
                <a:gd name="connsiteX4063" fmla="*/ 1818810 w 3009712"/>
                <a:gd name="connsiteY4063" fmla="*/ 450080 h 4178187"/>
                <a:gd name="connsiteX4064" fmla="*/ 1821565 w 3009712"/>
                <a:gd name="connsiteY4064" fmla="*/ 449293 h 4178187"/>
                <a:gd name="connsiteX4065" fmla="*/ 1824319 w 3009712"/>
                <a:gd name="connsiteY4065" fmla="*/ 447326 h 4178187"/>
                <a:gd name="connsiteX4066" fmla="*/ 1827073 w 3009712"/>
                <a:gd name="connsiteY4066" fmla="*/ 445752 h 4178187"/>
                <a:gd name="connsiteX4067" fmla="*/ 1830220 w 3009712"/>
                <a:gd name="connsiteY4067" fmla="*/ 443391 h 4178187"/>
                <a:gd name="connsiteX4068" fmla="*/ 1832974 w 3009712"/>
                <a:gd name="connsiteY4068" fmla="*/ 441424 h 4178187"/>
                <a:gd name="connsiteX4069" fmla="*/ 1835728 w 3009712"/>
                <a:gd name="connsiteY4069" fmla="*/ 438277 h 4178187"/>
                <a:gd name="connsiteX4070" fmla="*/ 1837302 w 3009712"/>
                <a:gd name="connsiteY4070" fmla="*/ 435523 h 4178187"/>
                <a:gd name="connsiteX4071" fmla="*/ 1838482 w 3009712"/>
                <a:gd name="connsiteY4071" fmla="*/ 430015 h 4178187"/>
                <a:gd name="connsiteX4072" fmla="*/ 1838875 w 3009712"/>
                <a:gd name="connsiteY4072" fmla="*/ 426868 h 4178187"/>
                <a:gd name="connsiteX4073" fmla="*/ 1839269 w 3009712"/>
                <a:gd name="connsiteY4073" fmla="*/ 424114 h 4178187"/>
                <a:gd name="connsiteX4074" fmla="*/ 1840056 w 3009712"/>
                <a:gd name="connsiteY4074" fmla="*/ 421360 h 4178187"/>
                <a:gd name="connsiteX4075" fmla="*/ 1841236 w 3009712"/>
                <a:gd name="connsiteY4075" fmla="*/ 418606 h 4178187"/>
                <a:gd name="connsiteX4076" fmla="*/ 1842810 w 3009712"/>
                <a:gd name="connsiteY4076" fmla="*/ 415458 h 4178187"/>
                <a:gd name="connsiteX4077" fmla="*/ 1843203 w 3009712"/>
                <a:gd name="connsiteY4077" fmla="*/ 412704 h 4178187"/>
                <a:gd name="connsiteX4078" fmla="*/ 1843596 w 3009712"/>
                <a:gd name="connsiteY4078" fmla="*/ 409950 h 4178187"/>
                <a:gd name="connsiteX4079" fmla="*/ 1844383 w 3009712"/>
                <a:gd name="connsiteY4079" fmla="*/ 407196 h 4178187"/>
                <a:gd name="connsiteX4080" fmla="*/ 1845170 w 3009712"/>
                <a:gd name="connsiteY4080" fmla="*/ 404049 h 4178187"/>
                <a:gd name="connsiteX4081" fmla="*/ 1845563 w 3009712"/>
                <a:gd name="connsiteY4081" fmla="*/ 401295 h 4178187"/>
                <a:gd name="connsiteX4082" fmla="*/ 1847137 w 3009712"/>
                <a:gd name="connsiteY4082" fmla="*/ 398541 h 4178187"/>
                <a:gd name="connsiteX4083" fmla="*/ 1849104 w 3009712"/>
                <a:gd name="connsiteY4083" fmla="*/ 395787 h 4178187"/>
                <a:gd name="connsiteX4084" fmla="*/ 1845957 w 3009712"/>
                <a:gd name="connsiteY4084" fmla="*/ 393820 h 4178187"/>
                <a:gd name="connsiteX4085" fmla="*/ 1843203 w 3009712"/>
                <a:gd name="connsiteY4085" fmla="*/ 395393 h 4178187"/>
                <a:gd name="connsiteX4086" fmla="*/ 1840056 w 3009712"/>
                <a:gd name="connsiteY4086" fmla="*/ 393426 h 4178187"/>
                <a:gd name="connsiteX4087" fmla="*/ 1837302 w 3009712"/>
                <a:gd name="connsiteY4087" fmla="*/ 393033 h 4178187"/>
                <a:gd name="connsiteX4088" fmla="*/ 1834154 w 3009712"/>
                <a:gd name="connsiteY4088" fmla="*/ 393426 h 4178187"/>
                <a:gd name="connsiteX4089" fmla="*/ 1831400 w 3009712"/>
                <a:gd name="connsiteY4089" fmla="*/ 393820 h 4178187"/>
                <a:gd name="connsiteX4090" fmla="*/ 1826679 w 3009712"/>
                <a:gd name="connsiteY4090" fmla="*/ 393820 h 4178187"/>
                <a:gd name="connsiteX4091" fmla="*/ 1823532 w 3009712"/>
                <a:gd name="connsiteY4091" fmla="*/ 396967 h 4178187"/>
                <a:gd name="connsiteX4092" fmla="*/ 1820778 w 3009712"/>
                <a:gd name="connsiteY4092" fmla="*/ 398541 h 4178187"/>
                <a:gd name="connsiteX4093" fmla="*/ 1818810 w 3009712"/>
                <a:gd name="connsiteY4093" fmla="*/ 401295 h 4178187"/>
                <a:gd name="connsiteX4094" fmla="*/ 1808581 w 3009712"/>
                <a:gd name="connsiteY4094" fmla="*/ 411131 h 4178187"/>
                <a:gd name="connsiteX4095" fmla="*/ 1811336 w 3009712"/>
                <a:gd name="connsiteY4095" fmla="*/ 408377 h 4178187"/>
                <a:gd name="connsiteX4096" fmla="*/ 1813696 w 3009712"/>
                <a:gd name="connsiteY4096" fmla="*/ 405623 h 4178187"/>
                <a:gd name="connsiteX4097" fmla="*/ 1816450 w 3009712"/>
                <a:gd name="connsiteY4097" fmla="*/ 402869 h 4178187"/>
                <a:gd name="connsiteX4098" fmla="*/ 1818417 w 3009712"/>
                <a:gd name="connsiteY4098" fmla="*/ 399721 h 4178187"/>
                <a:gd name="connsiteX4099" fmla="*/ 1821565 w 3009712"/>
                <a:gd name="connsiteY4099" fmla="*/ 397361 h 4178187"/>
                <a:gd name="connsiteX4100" fmla="*/ 1823925 w 3009712"/>
                <a:gd name="connsiteY4100" fmla="*/ 394607 h 4178187"/>
                <a:gd name="connsiteX4101" fmla="*/ 1821171 w 3009712"/>
                <a:gd name="connsiteY4101" fmla="*/ 395393 h 4178187"/>
                <a:gd name="connsiteX4102" fmla="*/ 1819597 w 3009712"/>
                <a:gd name="connsiteY4102" fmla="*/ 392639 h 4178187"/>
                <a:gd name="connsiteX4103" fmla="*/ 1816450 w 3009712"/>
                <a:gd name="connsiteY4103" fmla="*/ 390279 h 4178187"/>
                <a:gd name="connsiteX4104" fmla="*/ 1814876 w 3009712"/>
                <a:gd name="connsiteY4104" fmla="*/ 391459 h 4178187"/>
                <a:gd name="connsiteX4105" fmla="*/ 1814876 w 3009712"/>
                <a:gd name="connsiteY4105" fmla="*/ 391066 h 4178187"/>
                <a:gd name="connsiteX4106" fmla="*/ 1816450 w 3009712"/>
                <a:gd name="connsiteY4106" fmla="*/ 389886 h 4178187"/>
                <a:gd name="connsiteX4107" fmla="*/ 1818024 w 3009712"/>
                <a:gd name="connsiteY4107" fmla="*/ 387131 h 4178187"/>
                <a:gd name="connsiteX4108" fmla="*/ 1816450 w 3009712"/>
                <a:gd name="connsiteY4108" fmla="*/ 386738 h 4178187"/>
                <a:gd name="connsiteX4109" fmla="*/ 1813303 w 3009712"/>
                <a:gd name="connsiteY4109" fmla="*/ 385558 h 4178187"/>
                <a:gd name="connsiteX4110" fmla="*/ 1812909 w 3009712"/>
                <a:gd name="connsiteY4110" fmla="*/ 385558 h 4178187"/>
                <a:gd name="connsiteX4111" fmla="*/ 1815663 w 3009712"/>
                <a:gd name="connsiteY4111" fmla="*/ 384771 h 4178187"/>
                <a:gd name="connsiteX4112" fmla="*/ 1818810 w 3009712"/>
                <a:gd name="connsiteY4112" fmla="*/ 384378 h 4178187"/>
                <a:gd name="connsiteX4113" fmla="*/ 1820778 w 3009712"/>
                <a:gd name="connsiteY4113" fmla="*/ 381624 h 4178187"/>
                <a:gd name="connsiteX4114" fmla="*/ 1823532 w 3009712"/>
                <a:gd name="connsiteY4114" fmla="*/ 378476 h 4178187"/>
                <a:gd name="connsiteX4115" fmla="*/ 1826679 w 3009712"/>
                <a:gd name="connsiteY4115" fmla="*/ 376902 h 4178187"/>
                <a:gd name="connsiteX4116" fmla="*/ 1827859 w 3009712"/>
                <a:gd name="connsiteY4116" fmla="*/ 374148 h 4178187"/>
                <a:gd name="connsiteX4117" fmla="*/ 1828646 w 3009712"/>
                <a:gd name="connsiteY4117" fmla="*/ 371001 h 4178187"/>
                <a:gd name="connsiteX4118" fmla="*/ 1830613 w 3009712"/>
                <a:gd name="connsiteY4118" fmla="*/ 368247 h 4178187"/>
                <a:gd name="connsiteX4119" fmla="*/ 1832974 w 3009712"/>
                <a:gd name="connsiteY4119" fmla="*/ 365493 h 4178187"/>
                <a:gd name="connsiteX4120" fmla="*/ 1835728 w 3009712"/>
                <a:gd name="connsiteY4120" fmla="*/ 362739 h 4178187"/>
                <a:gd name="connsiteX4121" fmla="*/ 1837302 w 3009712"/>
                <a:gd name="connsiteY4121" fmla="*/ 359985 h 4178187"/>
                <a:gd name="connsiteX4122" fmla="*/ 1839662 w 3009712"/>
                <a:gd name="connsiteY4122" fmla="*/ 357231 h 4178187"/>
                <a:gd name="connsiteX4123" fmla="*/ 1840056 w 3009712"/>
                <a:gd name="connsiteY4123" fmla="*/ 356444 h 4178187"/>
                <a:gd name="connsiteX4124" fmla="*/ 1843203 w 3009712"/>
                <a:gd name="connsiteY4124" fmla="*/ 354477 h 4178187"/>
                <a:gd name="connsiteX4125" fmla="*/ 1845957 w 3009712"/>
                <a:gd name="connsiteY4125" fmla="*/ 352117 h 4178187"/>
                <a:gd name="connsiteX4126" fmla="*/ 1848317 w 3009712"/>
                <a:gd name="connsiteY4126" fmla="*/ 348969 h 4178187"/>
                <a:gd name="connsiteX4127" fmla="*/ 1851071 w 3009712"/>
                <a:gd name="connsiteY4127" fmla="*/ 347002 h 4178187"/>
                <a:gd name="connsiteX4128" fmla="*/ 1853826 w 3009712"/>
                <a:gd name="connsiteY4128" fmla="*/ 344641 h 4178187"/>
                <a:gd name="connsiteX4129" fmla="*/ 1852645 w 3009712"/>
                <a:gd name="connsiteY4129" fmla="*/ 342281 h 4178187"/>
                <a:gd name="connsiteX4130" fmla="*/ 1853039 w 3009712"/>
                <a:gd name="connsiteY4130" fmla="*/ 341494 h 4178187"/>
                <a:gd name="connsiteX4131" fmla="*/ 1855006 w 3009712"/>
                <a:gd name="connsiteY4131" fmla="*/ 341494 h 4178187"/>
                <a:gd name="connsiteX4132" fmla="*/ 1854612 w 3009712"/>
                <a:gd name="connsiteY4132" fmla="*/ 339920 h 4178187"/>
                <a:gd name="connsiteX4133" fmla="*/ 1857366 w 3009712"/>
                <a:gd name="connsiteY4133" fmla="*/ 340314 h 4178187"/>
                <a:gd name="connsiteX4134" fmla="*/ 1860120 w 3009712"/>
                <a:gd name="connsiteY4134" fmla="*/ 339527 h 4178187"/>
                <a:gd name="connsiteX4135" fmla="*/ 1862874 w 3009712"/>
                <a:gd name="connsiteY4135" fmla="*/ 336380 h 4178187"/>
                <a:gd name="connsiteX4136" fmla="*/ 1866022 w 3009712"/>
                <a:gd name="connsiteY4136" fmla="*/ 334806 h 4178187"/>
                <a:gd name="connsiteX4137" fmla="*/ 1869563 w 3009712"/>
                <a:gd name="connsiteY4137" fmla="*/ 331265 h 4178187"/>
                <a:gd name="connsiteX4138" fmla="*/ 1872710 w 3009712"/>
                <a:gd name="connsiteY4138" fmla="*/ 329691 h 4178187"/>
                <a:gd name="connsiteX4139" fmla="*/ 1875464 w 3009712"/>
                <a:gd name="connsiteY4139" fmla="*/ 328118 h 4178187"/>
                <a:gd name="connsiteX4140" fmla="*/ 1878218 w 3009712"/>
                <a:gd name="connsiteY4140" fmla="*/ 326150 h 4178187"/>
                <a:gd name="connsiteX4141" fmla="*/ 1880972 w 3009712"/>
                <a:gd name="connsiteY4141" fmla="*/ 323790 h 4178187"/>
                <a:gd name="connsiteX4142" fmla="*/ 1884119 w 3009712"/>
                <a:gd name="connsiteY4142" fmla="*/ 323003 h 4178187"/>
                <a:gd name="connsiteX4143" fmla="*/ 1884906 w 3009712"/>
                <a:gd name="connsiteY4143" fmla="*/ 320249 h 4178187"/>
                <a:gd name="connsiteX4144" fmla="*/ 1888054 w 3009712"/>
                <a:gd name="connsiteY4144" fmla="*/ 318675 h 4178187"/>
                <a:gd name="connsiteX4145" fmla="*/ 1887660 w 3009712"/>
                <a:gd name="connsiteY4145" fmla="*/ 315921 h 4178187"/>
                <a:gd name="connsiteX4146" fmla="*/ 1888054 w 3009712"/>
                <a:gd name="connsiteY4146" fmla="*/ 315528 h 4178187"/>
                <a:gd name="connsiteX4147" fmla="*/ 1890807 w 3009712"/>
                <a:gd name="connsiteY4147" fmla="*/ 316315 h 4178187"/>
                <a:gd name="connsiteX4148" fmla="*/ 1893561 w 3009712"/>
                <a:gd name="connsiteY4148" fmla="*/ 315921 h 4178187"/>
                <a:gd name="connsiteX4149" fmla="*/ 1893168 w 3009712"/>
                <a:gd name="connsiteY4149" fmla="*/ 313561 h 4178187"/>
                <a:gd name="connsiteX4150" fmla="*/ 1908512 w 3009712"/>
                <a:gd name="connsiteY4150" fmla="*/ 305299 h 4178187"/>
                <a:gd name="connsiteX4151" fmla="*/ 1910872 w 3009712"/>
                <a:gd name="connsiteY4151" fmla="*/ 304512 h 4178187"/>
                <a:gd name="connsiteX4152" fmla="*/ 1914020 w 3009712"/>
                <a:gd name="connsiteY4152" fmla="*/ 303725 h 4178187"/>
                <a:gd name="connsiteX4153" fmla="*/ 1916774 w 3009712"/>
                <a:gd name="connsiteY4153" fmla="*/ 302151 h 4178187"/>
                <a:gd name="connsiteX4154" fmla="*/ 1917561 w 3009712"/>
                <a:gd name="connsiteY4154" fmla="*/ 300184 h 4178187"/>
                <a:gd name="connsiteX4155" fmla="*/ 1919921 w 3009712"/>
                <a:gd name="connsiteY4155" fmla="*/ 297824 h 4178187"/>
                <a:gd name="connsiteX4156" fmla="*/ 1920314 w 3009712"/>
                <a:gd name="connsiteY4156" fmla="*/ 298217 h 4178187"/>
                <a:gd name="connsiteX4157" fmla="*/ 1923068 w 3009712"/>
                <a:gd name="connsiteY4157" fmla="*/ 296250 h 4178187"/>
                <a:gd name="connsiteX4158" fmla="*/ 1923462 w 3009712"/>
                <a:gd name="connsiteY4158" fmla="*/ 294283 h 4178187"/>
                <a:gd name="connsiteX4159" fmla="*/ 1924249 w 3009712"/>
                <a:gd name="connsiteY4159" fmla="*/ 293496 h 4178187"/>
                <a:gd name="connsiteX4160" fmla="*/ 1926609 w 3009712"/>
                <a:gd name="connsiteY4160" fmla="*/ 294283 h 4178187"/>
                <a:gd name="connsiteX4161" fmla="*/ 1929363 w 3009712"/>
                <a:gd name="connsiteY4161" fmla="*/ 293103 h 4178187"/>
                <a:gd name="connsiteX4162" fmla="*/ 1932511 w 3009712"/>
                <a:gd name="connsiteY4162" fmla="*/ 291922 h 4178187"/>
                <a:gd name="connsiteX4163" fmla="*/ 1932511 w 3009712"/>
                <a:gd name="connsiteY4163" fmla="*/ 287201 h 4178187"/>
                <a:gd name="connsiteX4164" fmla="*/ 1935265 w 3009712"/>
                <a:gd name="connsiteY4164" fmla="*/ 286808 h 4178187"/>
                <a:gd name="connsiteX4165" fmla="*/ 1938019 w 3009712"/>
                <a:gd name="connsiteY4165" fmla="*/ 287201 h 4178187"/>
                <a:gd name="connsiteX4166" fmla="*/ 1938412 w 3009712"/>
                <a:gd name="connsiteY4166" fmla="*/ 284447 h 4178187"/>
                <a:gd name="connsiteX4167" fmla="*/ 1935265 w 3009712"/>
                <a:gd name="connsiteY4167" fmla="*/ 282480 h 4178187"/>
                <a:gd name="connsiteX4168" fmla="*/ 1936445 w 3009712"/>
                <a:gd name="connsiteY4168" fmla="*/ 282480 h 4178187"/>
                <a:gd name="connsiteX4169" fmla="*/ 1939592 w 3009712"/>
                <a:gd name="connsiteY4169" fmla="*/ 282874 h 4178187"/>
                <a:gd name="connsiteX4170" fmla="*/ 1942346 w 3009712"/>
                <a:gd name="connsiteY4170" fmla="*/ 283660 h 4178187"/>
                <a:gd name="connsiteX4171" fmla="*/ 1943133 w 3009712"/>
                <a:gd name="connsiteY4171" fmla="*/ 286414 h 4178187"/>
                <a:gd name="connsiteX4172" fmla="*/ 1946281 w 3009712"/>
                <a:gd name="connsiteY4172" fmla="*/ 283660 h 4178187"/>
                <a:gd name="connsiteX4173" fmla="*/ 1943133 w 3009712"/>
                <a:gd name="connsiteY4173" fmla="*/ 282087 h 4178187"/>
                <a:gd name="connsiteX4174" fmla="*/ 1946281 w 3009712"/>
                <a:gd name="connsiteY4174" fmla="*/ 281300 h 4178187"/>
                <a:gd name="connsiteX4175" fmla="*/ 1949035 w 3009712"/>
                <a:gd name="connsiteY4175" fmla="*/ 278546 h 4178187"/>
                <a:gd name="connsiteX4176" fmla="*/ 1952182 w 3009712"/>
                <a:gd name="connsiteY4176" fmla="*/ 278152 h 4178187"/>
                <a:gd name="connsiteX4177" fmla="*/ 1953756 w 3009712"/>
                <a:gd name="connsiteY4177" fmla="*/ 275398 h 4178187"/>
                <a:gd name="connsiteX4178" fmla="*/ 1956903 w 3009712"/>
                <a:gd name="connsiteY4178" fmla="*/ 276972 h 4178187"/>
                <a:gd name="connsiteX4179" fmla="*/ 1959657 w 3009712"/>
                <a:gd name="connsiteY4179" fmla="*/ 275792 h 4178187"/>
                <a:gd name="connsiteX4180" fmla="*/ 1962411 w 3009712"/>
                <a:gd name="connsiteY4180" fmla="*/ 275005 h 4178187"/>
                <a:gd name="connsiteX4181" fmla="*/ 1964772 w 3009712"/>
                <a:gd name="connsiteY4181" fmla="*/ 276972 h 4178187"/>
                <a:gd name="connsiteX4182" fmla="*/ 1967526 w 3009712"/>
                <a:gd name="connsiteY4182" fmla="*/ 276185 h 4178187"/>
                <a:gd name="connsiteX4183" fmla="*/ 1970280 w 3009712"/>
                <a:gd name="connsiteY4183" fmla="*/ 274612 h 4178187"/>
                <a:gd name="connsiteX4184" fmla="*/ 1967526 w 3009712"/>
                <a:gd name="connsiteY4184" fmla="*/ 273038 h 4178187"/>
                <a:gd name="connsiteX4185" fmla="*/ 1964772 w 3009712"/>
                <a:gd name="connsiteY4185" fmla="*/ 272644 h 4178187"/>
                <a:gd name="connsiteX4186" fmla="*/ 1962411 w 3009712"/>
                <a:gd name="connsiteY4186" fmla="*/ 269890 h 4178187"/>
                <a:gd name="connsiteX4187" fmla="*/ 1965558 w 3009712"/>
                <a:gd name="connsiteY4187" fmla="*/ 267136 h 4178187"/>
                <a:gd name="connsiteX4188" fmla="*/ 1968313 w 3009712"/>
                <a:gd name="connsiteY4188" fmla="*/ 267923 h 4178187"/>
                <a:gd name="connsiteX4189" fmla="*/ 1971067 w 3009712"/>
                <a:gd name="connsiteY4189" fmla="*/ 266350 h 4178187"/>
                <a:gd name="connsiteX4190" fmla="*/ 1974214 w 3009712"/>
                <a:gd name="connsiteY4190" fmla="*/ 267136 h 4178187"/>
                <a:gd name="connsiteX4191" fmla="*/ 1976968 w 3009712"/>
                <a:gd name="connsiteY4191" fmla="*/ 267530 h 4178187"/>
                <a:gd name="connsiteX4192" fmla="*/ 1980115 w 3009712"/>
                <a:gd name="connsiteY4192" fmla="*/ 267923 h 4178187"/>
                <a:gd name="connsiteX4193" fmla="*/ 1982869 w 3009712"/>
                <a:gd name="connsiteY4193" fmla="*/ 268317 h 4178187"/>
                <a:gd name="connsiteX4194" fmla="*/ 1986017 w 3009712"/>
                <a:gd name="connsiteY4194" fmla="*/ 268710 h 4178187"/>
                <a:gd name="connsiteX4195" fmla="*/ 1989164 w 3009712"/>
                <a:gd name="connsiteY4195" fmla="*/ 267530 h 4178187"/>
                <a:gd name="connsiteX4196" fmla="*/ 1991918 w 3009712"/>
                <a:gd name="connsiteY4196" fmla="*/ 266743 h 4178187"/>
                <a:gd name="connsiteX4197" fmla="*/ 1995065 w 3009712"/>
                <a:gd name="connsiteY4197" fmla="*/ 265169 h 4178187"/>
                <a:gd name="connsiteX4198" fmla="*/ 1998213 w 3009712"/>
                <a:gd name="connsiteY4198" fmla="*/ 263989 h 4178187"/>
                <a:gd name="connsiteX4199" fmla="*/ 2000967 w 3009712"/>
                <a:gd name="connsiteY4199" fmla="*/ 263989 h 4178187"/>
                <a:gd name="connsiteX4200" fmla="*/ 2004114 w 3009712"/>
                <a:gd name="connsiteY4200" fmla="*/ 264382 h 4178187"/>
                <a:gd name="connsiteX4201" fmla="*/ 2007262 w 3009712"/>
                <a:gd name="connsiteY4201" fmla="*/ 262415 h 4178187"/>
                <a:gd name="connsiteX4202" fmla="*/ 2010016 w 3009712"/>
                <a:gd name="connsiteY4202" fmla="*/ 260842 h 4178187"/>
                <a:gd name="connsiteX4203" fmla="*/ 2011589 w 3009712"/>
                <a:gd name="connsiteY4203" fmla="*/ 258088 h 4178187"/>
                <a:gd name="connsiteX4204" fmla="*/ 2012770 w 3009712"/>
                <a:gd name="connsiteY4204" fmla="*/ 254940 h 4178187"/>
                <a:gd name="connsiteX4205" fmla="*/ 2013163 w 3009712"/>
                <a:gd name="connsiteY4205" fmla="*/ 253367 h 4178187"/>
                <a:gd name="connsiteX4206" fmla="*/ 2011196 w 3009712"/>
                <a:gd name="connsiteY4206" fmla="*/ 250613 h 4178187"/>
                <a:gd name="connsiteX4207" fmla="*/ 2013950 w 3009712"/>
                <a:gd name="connsiteY4207" fmla="*/ 250613 h 4178187"/>
                <a:gd name="connsiteX4208" fmla="*/ 2010803 w 3009712"/>
                <a:gd name="connsiteY4208" fmla="*/ 248252 h 4178187"/>
                <a:gd name="connsiteX4209" fmla="*/ 2010016 w 3009712"/>
                <a:gd name="connsiteY4209" fmla="*/ 248252 h 4178187"/>
                <a:gd name="connsiteX4210" fmla="*/ 2008835 w 3009712"/>
                <a:gd name="connsiteY4210" fmla="*/ 247859 h 4178187"/>
                <a:gd name="connsiteX4211" fmla="*/ 2010016 w 3009712"/>
                <a:gd name="connsiteY4211" fmla="*/ 248252 h 4178187"/>
                <a:gd name="connsiteX4212" fmla="*/ 2008442 w 3009712"/>
                <a:gd name="connsiteY4212" fmla="*/ 247859 h 4178187"/>
                <a:gd name="connsiteX4213" fmla="*/ 2005295 w 3009712"/>
                <a:gd name="connsiteY4213" fmla="*/ 247859 h 4178187"/>
                <a:gd name="connsiteX4214" fmla="*/ 2002541 w 3009712"/>
                <a:gd name="connsiteY4214" fmla="*/ 245891 h 4178187"/>
                <a:gd name="connsiteX4215" fmla="*/ 2002541 w 3009712"/>
                <a:gd name="connsiteY4215" fmla="*/ 245498 h 4178187"/>
                <a:gd name="connsiteX4216" fmla="*/ 2009229 w 3009712"/>
                <a:gd name="connsiteY4216" fmla="*/ 247859 h 4178187"/>
                <a:gd name="connsiteX4217" fmla="*/ 2002541 w 3009712"/>
                <a:gd name="connsiteY4217" fmla="*/ 245105 h 4178187"/>
                <a:gd name="connsiteX4218" fmla="*/ 2001754 w 3009712"/>
                <a:gd name="connsiteY4218" fmla="*/ 242744 h 4178187"/>
                <a:gd name="connsiteX4219" fmla="*/ 1999000 w 3009712"/>
                <a:gd name="connsiteY4219" fmla="*/ 240384 h 4178187"/>
                <a:gd name="connsiteX4220" fmla="*/ 1996246 w 3009712"/>
                <a:gd name="connsiteY4220" fmla="*/ 241170 h 4178187"/>
                <a:gd name="connsiteX4221" fmla="*/ 1993492 w 3009712"/>
                <a:gd name="connsiteY4221" fmla="*/ 241957 h 4178187"/>
                <a:gd name="connsiteX4222" fmla="*/ 1993492 w 3009712"/>
                <a:gd name="connsiteY4222" fmla="*/ 241957 h 4178187"/>
                <a:gd name="connsiteX4223" fmla="*/ 1989951 w 3009712"/>
                <a:gd name="connsiteY4223" fmla="*/ 240777 h 4178187"/>
                <a:gd name="connsiteX4224" fmla="*/ 1990738 w 3009712"/>
                <a:gd name="connsiteY4224" fmla="*/ 241170 h 4178187"/>
                <a:gd name="connsiteX4225" fmla="*/ 1989558 w 3009712"/>
                <a:gd name="connsiteY4225" fmla="*/ 240777 h 4178187"/>
                <a:gd name="connsiteX4226" fmla="*/ 1989951 w 3009712"/>
                <a:gd name="connsiteY4226" fmla="*/ 240777 h 4178187"/>
                <a:gd name="connsiteX4227" fmla="*/ 1986017 w 3009712"/>
                <a:gd name="connsiteY4227" fmla="*/ 238810 h 4178187"/>
                <a:gd name="connsiteX4228" fmla="*/ 1984443 w 3009712"/>
                <a:gd name="connsiteY4228" fmla="*/ 237629 h 4178187"/>
                <a:gd name="connsiteX4229" fmla="*/ 1983263 w 3009712"/>
                <a:gd name="connsiteY4229" fmla="*/ 237629 h 4178187"/>
                <a:gd name="connsiteX4230" fmla="*/ 1971460 w 3009712"/>
                <a:gd name="connsiteY4230" fmla="*/ 234482 h 4178187"/>
                <a:gd name="connsiteX4231" fmla="*/ 1968706 w 3009712"/>
                <a:gd name="connsiteY4231" fmla="*/ 232515 h 4178187"/>
                <a:gd name="connsiteX4232" fmla="*/ 1968313 w 3009712"/>
                <a:gd name="connsiteY4232" fmla="*/ 234089 h 4178187"/>
                <a:gd name="connsiteX4233" fmla="*/ 1960444 w 3009712"/>
                <a:gd name="connsiteY4233" fmla="*/ 232908 h 4178187"/>
                <a:gd name="connsiteX4234" fmla="*/ 1961624 w 3009712"/>
                <a:gd name="connsiteY4234" fmla="*/ 232122 h 4178187"/>
                <a:gd name="connsiteX4235" fmla="*/ 1964378 w 3009712"/>
                <a:gd name="connsiteY4235" fmla="*/ 232122 h 4178187"/>
                <a:gd name="connsiteX4236" fmla="*/ 1967132 w 3009712"/>
                <a:gd name="connsiteY4236" fmla="*/ 230941 h 4178187"/>
                <a:gd name="connsiteX4237" fmla="*/ 1966739 w 3009712"/>
                <a:gd name="connsiteY4237" fmla="*/ 228187 h 4178187"/>
                <a:gd name="connsiteX4238" fmla="*/ 1966345 w 3009712"/>
                <a:gd name="connsiteY4238" fmla="*/ 225827 h 4178187"/>
                <a:gd name="connsiteX4239" fmla="*/ 1967526 w 3009712"/>
                <a:gd name="connsiteY4239" fmla="*/ 228974 h 4178187"/>
                <a:gd name="connsiteX4240" fmla="*/ 1970673 w 3009712"/>
                <a:gd name="connsiteY4240" fmla="*/ 231335 h 4178187"/>
                <a:gd name="connsiteX4241" fmla="*/ 1973427 w 3009712"/>
                <a:gd name="connsiteY4241" fmla="*/ 232122 h 4178187"/>
                <a:gd name="connsiteX4242" fmla="*/ 1976575 w 3009712"/>
                <a:gd name="connsiteY4242" fmla="*/ 233695 h 4178187"/>
                <a:gd name="connsiteX4243" fmla="*/ 1979328 w 3009712"/>
                <a:gd name="connsiteY4243" fmla="*/ 234876 h 4178187"/>
                <a:gd name="connsiteX4244" fmla="*/ 1982082 w 3009712"/>
                <a:gd name="connsiteY4244" fmla="*/ 235269 h 4178187"/>
                <a:gd name="connsiteX4245" fmla="*/ 1985230 w 3009712"/>
                <a:gd name="connsiteY4245" fmla="*/ 236843 h 4178187"/>
                <a:gd name="connsiteX4246" fmla="*/ 1987984 w 3009712"/>
                <a:gd name="connsiteY4246" fmla="*/ 238416 h 4178187"/>
                <a:gd name="connsiteX4247" fmla="*/ 1991131 w 3009712"/>
                <a:gd name="connsiteY4247" fmla="*/ 238416 h 4178187"/>
                <a:gd name="connsiteX4248" fmla="*/ 1993885 w 3009712"/>
                <a:gd name="connsiteY4248" fmla="*/ 239203 h 4178187"/>
                <a:gd name="connsiteX4249" fmla="*/ 1997033 w 3009712"/>
                <a:gd name="connsiteY4249" fmla="*/ 238023 h 4178187"/>
                <a:gd name="connsiteX4250" fmla="*/ 1999787 w 3009712"/>
                <a:gd name="connsiteY4250" fmla="*/ 237629 h 4178187"/>
                <a:gd name="connsiteX4251" fmla="*/ 2002541 w 3009712"/>
                <a:gd name="connsiteY4251" fmla="*/ 239203 h 4178187"/>
                <a:gd name="connsiteX4252" fmla="*/ 2005688 w 3009712"/>
                <a:gd name="connsiteY4252" fmla="*/ 239990 h 4178187"/>
                <a:gd name="connsiteX4253" fmla="*/ 2008049 w 3009712"/>
                <a:gd name="connsiteY4253" fmla="*/ 240384 h 4178187"/>
                <a:gd name="connsiteX4254" fmla="*/ 2010803 w 3009712"/>
                <a:gd name="connsiteY4254" fmla="*/ 242744 h 4178187"/>
                <a:gd name="connsiteX4255" fmla="*/ 2013950 w 3009712"/>
                <a:gd name="connsiteY4255" fmla="*/ 243137 h 4178187"/>
                <a:gd name="connsiteX4256" fmla="*/ 2016704 w 3009712"/>
                <a:gd name="connsiteY4256" fmla="*/ 244711 h 4178187"/>
                <a:gd name="connsiteX4257" fmla="*/ 2019852 w 3009712"/>
                <a:gd name="connsiteY4257" fmla="*/ 244318 h 4178187"/>
                <a:gd name="connsiteX4258" fmla="*/ 2022999 w 3009712"/>
                <a:gd name="connsiteY4258" fmla="*/ 243924 h 4178187"/>
                <a:gd name="connsiteX4259" fmla="*/ 2025753 w 3009712"/>
                <a:gd name="connsiteY4259" fmla="*/ 243531 h 4178187"/>
                <a:gd name="connsiteX4260" fmla="*/ 2026146 w 3009712"/>
                <a:gd name="connsiteY4260" fmla="*/ 240777 h 4178187"/>
                <a:gd name="connsiteX4261" fmla="*/ 2028900 w 3009712"/>
                <a:gd name="connsiteY4261" fmla="*/ 241170 h 4178187"/>
                <a:gd name="connsiteX4262" fmla="*/ 2032048 w 3009712"/>
                <a:gd name="connsiteY4262" fmla="*/ 242744 h 4178187"/>
                <a:gd name="connsiteX4263" fmla="*/ 2034802 w 3009712"/>
                <a:gd name="connsiteY4263" fmla="*/ 242744 h 4178187"/>
                <a:gd name="connsiteX4264" fmla="*/ 2037949 w 3009712"/>
                <a:gd name="connsiteY4264" fmla="*/ 240384 h 4178187"/>
                <a:gd name="connsiteX4265" fmla="*/ 2040703 w 3009712"/>
                <a:gd name="connsiteY4265" fmla="*/ 238810 h 4178187"/>
                <a:gd name="connsiteX4266" fmla="*/ 2042670 w 3009712"/>
                <a:gd name="connsiteY4266" fmla="*/ 238023 h 4178187"/>
                <a:gd name="connsiteX4267" fmla="*/ 2044244 w 3009712"/>
                <a:gd name="connsiteY4267" fmla="*/ 236056 h 4178187"/>
                <a:gd name="connsiteX4268" fmla="*/ 2047785 w 3009712"/>
                <a:gd name="connsiteY4268" fmla="*/ 231728 h 4178187"/>
                <a:gd name="connsiteX4269" fmla="*/ 2050932 w 3009712"/>
                <a:gd name="connsiteY4269" fmla="*/ 233302 h 4178187"/>
                <a:gd name="connsiteX4270" fmla="*/ 2052112 w 3009712"/>
                <a:gd name="connsiteY4270" fmla="*/ 230548 h 4178187"/>
                <a:gd name="connsiteX4271" fmla="*/ 2051719 w 3009712"/>
                <a:gd name="connsiteY4271" fmla="*/ 227794 h 4178187"/>
                <a:gd name="connsiteX4272" fmla="*/ 2051326 w 3009712"/>
                <a:gd name="connsiteY4272" fmla="*/ 227794 h 4178187"/>
                <a:gd name="connsiteX4273" fmla="*/ 2052506 w 3009712"/>
                <a:gd name="connsiteY4273" fmla="*/ 226614 h 4178187"/>
                <a:gd name="connsiteX4274" fmla="*/ 2059194 w 3009712"/>
                <a:gd name="connsiteY4274" fmla="*/ 233302 h 4178187"/>
                <a:gd name="connsiteX4275" fmla="*/ 2064702 w 3009712"/>
                <a:gd name="connsiteY4275" fmla="*/ 231335 h 4178187"/>
                <a:gd name="connsiteX4276" fmla="*/ 2065882 w 3009712"/>
                <a:gd name="connsiteY4276" fmla="*/ 231728 h 4178187"/>
                <a:gd name="connsiteX4277" fmla="*/ 2069030 w 3009712"/>
                <a:gd name="connsiteY4277" fmla="*/ 232908 h 4178187"/>
                <a:gd name="connsiteX4278" fmla="*/ 2068636 w 3009712"/>
                <a:gd name="connsiteY4278" fmla="*/ 230154 h 4178187"/>
                <a:gd name="connsiteX4279" fmla="*/ 2069816 w 3009712"/>
                <a:gd name="connsiteY4279" fmla="*/ 229761 h 4178187"/>
                <a:gd name="connsiteX4280" fmla="*/ 2069816 w 3009712"/>
                <a:gd name="connsiteY4280" fmla="*/ 230154 h 4178187"/>
                <a:gd name="connsiteX4281" fmla="*/ 2072571 w 3009712"/>
                <a:gd name="connsiteY4281" fmla="*/ 231728 h 4178187"/>
                <a:gd name="connsiteX4282" fmla="*/ 2075718 w 3009712"/>
                <a:gd name="connsiteY4282" fmla="*/ 232122 h 4178187"/>
                <a:gd name="connsiteX4283" fmla="*/ 2078865 w 3009712"/>
                <a:gd name="connsiteY4283" fmla="*/ 232122 h 4178187"/>
                <a:gd name="connsiteX4284" fmla="*/ 2081619 w 3009712"/>
                <a:gd name="connsiteY4284" fmla="*/ 231335 h 4178187"/>
                <a:gd name="connsiteX4285" fmla="*/ 2084373 w 3009712"/>
                <a:gd name="connsiteY4285" fmla="*/ 230154 h 4178187"/>
                <a:gd name="connsiteX4286" fmla="*/ 2087127 w 3009712"/>
                <a:gd name="connsiteY4286" fmla="*/ 229368 h 4178187"/>
                <a:gd name="connsiteX4287" fmla="*/ 2090275 w 3009712"/>
                <a:gd name="connsiteY4287" fmla="*/ 228581 h 4178187"/>
                <a:gd name="connsiteX4288" fmla="*/ 2093029 w 3009712"/>
                <a:gd name="connsiteY4288" fmla="*/ 227400 h 4178187"/>
                <a:gd name="connsiteX4289" fmla="*/ 2096176 w 3009712"/>
                <a:gd name="connsiteY4289" fmla="*/ 227007 h 4178187"/>
                <a:gd name="connsiteX4290" fmla="*/ 2098930 w 3009712"/>
                <a:gd name="connsiteY4290" fmla="*/ 225827 h 4178187"/>
                <a:gd name="connsiteX4291" fmla="*/ 2101291 w 3009712"/>
                <a:gd name="connsiteY4291" fmla="*/ 223073 h 4178187"/>
                <a:gd name="connsiteX4292" fmla="*/ 2104045 w 3009712"/>
                <a:gd name="connsiteY4292" fmla="*/ 221892 h 4178187"/>
                <a:gd name="connsiteX4293" fmla="*/ 2107192 w 3009712"/>
                <a:gd name="connsiteY4293" fmla="*/ 219532 h 4178187"/>
                <a:gd name="connsiteX4294" fmla="*/ 2109946 w 3009712"/>
                <a:gd name="connsiteY4294" fmla="*/ 217171 h 4178187"/>
                <a:gd name="connsiteX4295" fmla="*/ 2112700 w 3009712"/>
                <a:gd name="connsiteY4295" fmla="*/ 215598 h 4178187"/>
                <a:gd name="connsiteX4296" fmla="*/ 2115847 w 3009712"/>
                <a:gd name="connsiteY4296" fmla="*/ 214811 h 4178187"/>
                <a:gd name="connsiteX4297" fmla="*/ 2118995 w 3009712"/>
                <a:gd name="connsiteY4297" fmla="*/ 213237 h 4178187"/>
                <a:gd name="connsiteX4298" fmla="*/ 2119782 w 3009712"/>
                <a:gd name="connsiteY4298" fmla="*/ 212844 h 4178187"/>
                <a:gd name="connsiteX4299" fmla="*/ 2122536 w 3009712"/>
                <a:gd name="connsiteY4299" fmla="*/ 209696 h 4178187"/>
                <a:gd name="connsiteX4300" fmla="*/ 2125290 w 3009712"/>
                <a:gd name="connsiteY4300" fmla="*/ 209696 h 4178187"/>
                <a:gd name="connsiteX4301" fmla="*/ 2128044 w 3009712"/>
                <a:gd name="connsiteY4301" fmla="*/ 208516 h 4178187"/>
                <a:gd name="connsiteX4302" fmla="*/ 2131191 w 3009712"/>
                <a:gd name="connsiteY4302" fmla="*/ 206155 h 4178187"/>
                <a:gd name="connsiteX4303" fmla="*/ 2133945 w 3009712"/>
                <a:gd name="connsiteY4303" fmla="*/ 204188 h 4178187"/>
                <a:gd name="connsiteX4304" fmla="*/ 2137093 w 3009712"/>
                <a:gd name="connsiteY4304" fmla="*/ 203008 h 4178187"/>
                <a:gd name="connsiteX4305" fmla="*/ 2140240 w 3009712"/>
                <a:gd name="connsiteY4305" fmla="*/ 200647 h 4178187"/>
                <a:gd name="connsiteX4306" fmla="*/ 2142994 w 3009712"/>
                <a:gd name="connsiteY4306" fmla="*/ 198287 h 4178187"/>
                <a:gd name="connsiteX4307" fmla="*/ 2144174 w 3009712"/>
                <a:gd name="connsiteY4307" fmla="*/ 195533 h 4178187"/>
                <a:gd name="connsiteX4308" fmla="*/ 2141420 w 3009712"/>
                <a:gd name="connsiteY4308" fmla="*/ 193959 h 4178187"/>
                <a:gd name="connsiteX4309" fmla="*/ 2138666 w 3009712"/>
                <a:gd name="connsiteY4309" fmla="*/ 193566 h 4178187"/>
                <a:gd name="connsiteX4310" fmla="*/ 2135519 w 3009712"/>
                <a:gd name="connsiteY4310" fmla="*/ 193566 h 4178187"/>
                <a:gd name="connsiteX4311" fmla="*/ 2132765 w 3009712"/>
                <a:gd name="connsiteY4311" fmla="*/ 193172 h 4178187"/>
                <a:gd name="connsiteX4312" fmla="*/ 2129617 w 3009712"/>
                <a:gd name="connsiteY4312" fmla="*/ 193566 h 4178187"/>
                <a:gd name="connsiteX4313" fmla="*/ 2126863 w 3009712"/>
                <a:gd name="connsiteY4313" fmla="*/ 193172 h 4178187"/>
                <a:gd name="connsiteX4314" fmla="*/ 2123716 w 3009712"/>
                <a:gd name="connsiteY4314" fmla="*/ 193566 h 4178187"/>
                <a:gd name="connsiteX4315" fmla="*/ 2120962 w 3009712"/>
                <a:gd name="connsiteY4315" fmla="*/ 193172 h 4178187"/>
                <a:gd name="connsiteX4316" fmla="*/ 2114667 w 3009712"/>
                <a:gd name="connsiteY4316" fmla="*/ 193172 h 4178187"/>
                <a:gd name="connsiteX4317" fmla="*/ 2111520 w 3009712"/>
                <a:gd name="connsiteY4317" fmla="*/ 192779 h 4178187"/>
                <a:gd name="connsiteX4318" fmla="*/ 2108766 w 3009712"/>
                <a:gd name="connsiteY4318" fmla="*/ 192385 h 4178187"/>
                <a:gd name="connsiteX4319" fmla="*/ 2106012 w 3009712"/>
                <a:gd name="connsiteY4319" fmla="*/ 191992 h 4178187"/>
                <a:gd name="connsiteX4320" fmla="*/ 2102864 w 3009712"/>
                <a:gd name="connsiteY4320" fmla="*/ 191599 h 4178187"/>
                <a:gd name="connsiteX4321" fmla="*/ 2101291 w 3009712"/>
                <a:gd name="connsiteY4321" fmla="*/ 188451 h 4178187"/>
                <a:gd name="connsiteX4322" fmla="*/ 2098930 w 3009712"/>
                <a:gd name="connsiteY4322" fmla="*/ 186878 h 4178187"/>
                <a:gd name="connsiteX4323" fmla="*/ 2098537 w 3009712"/>
                <a:gd name="connsiteY4323" fmla="*/ 186484 h 4178187"/>
                <a:gd name="connsiteX4324" fmla="*/ 2098930 w 3009712"/>
                <a:gd name="connsiteY4324" fmla="*/ 183730 h 4178187"/>
                <a:gd name="connsiteX4325" fmla="*/ 2096570 w 3009712"/>
                <a:gd name="connsiteY4325" fmla="*/ 180976 h 4178187"/>
                <a:gd name="connsiteX4326" fmla="*/ 2093422 w 3009712"/>
                <a:gd name="connsiteY4326" fmla="*/ 178616 h 4178187"/>
                <a:gd name="connsiteX4327" fmla="*/ 2091455 w 3009712"/>
                <a:gd name="connsiteY4327" fmla="*/ 177435 h 4178187"/>
                <a:gd name="connsiteX4328" fmla="*/ 2093422 w 3009712"/>
                <a:gd name="connsiteY4328" fmla="*/ 175075 h 4178187"/>
                <a:gd name="connsiteX4329" fmla="*/ 2096176 w 3009712"/>
                <a:gd name="connsiteY4329" fmla="*/ 176648 h 4178187"/>
                <a:gd name="connsiteX4330" fmla="*/ 2098930 w 3009712"/>
                <a:gd name="connsiteY4330" fmla="*/ 175468 h 4178187"/>
                <a:gd name="connsiteX4331" fmla="*/ 2096176 w 3009712"/>
                <a:gd name="connsiteY4331" fmla="*/ 173501 h 4178187"/>
                <a:gd name="connsiteX4332" fmla="*/ 2108373 w 3009712"/>
                <a:gd name="connsiteY4332" fmla="*/ 177435 h 4178187"/>
                <a:gd name="connsiteX4333" fmla="*/ 2109159 w 3009712"/>
                <a:gd name="connsiteY4333" fmla="*/ 178222 h 4178187"/>
                <a:gd name="connsiteX4334" fmla="*/ 2112307 w 3009712"/>
                <a:gd name="connsiteY4334" fmla="*/ 180583 h 4178187"/>
                <a:gd name="connsiteX4335" fmla="*/ 2115061 w 3009712"/>
                <a:gd name="connsiteY4335" fmla="*/ 180189 h 4178187"/>
                <a:gd name="connsiteX4336" fmla="*/ 2117815 w 3009712"/>
                <a:gd name="connsiteY4336" fmla="*/ 181370 h 4178187"/>
                <a:gd name="connsiteX4337" fmla="*/ 2120962 w 3009712"/>
                <a:gd name="connsiteY4337" fmla="*/ 181763 h 4178187"/>
                <a:gd name="connsiteX4338" fmla="*/ 2122929 w 3009712"/>
                <a:gd name="connsiteY4338" fmla="*/ 182156 h 4178187"/>
                <a:gd name="connsiteX4339" fmla="*/ 2117028 w 3009712"/>
                <a:gd name="connsiteY4339" fmla="*/ 182156 h 4178187"/>
                <a:gd name="connsiteX4340" fmla="*/ 2114274 w 3009712"/>
                <a:gd name="connsiteY4340" fmla="*/ 181763 h 4178187"/>
                <a:gd name="connsiteX4341" fmla="*/ 2117028 w 3009712"/>
                <a:gd name="connsiteY4341" fmla="*/ 183337 h 4178187"/>
                <a:gd name="connsiteX4342" fmla="*/ 2119782 w 3009712"/>
                <a:gd name="connsiteY4342" fmla="*/ 184910 h 4178187"/>
                <a:gd name="connsiteX4343" fmla="*/ 2121356 w 3009712"/>
                <a:gd name="connsiteY4343" fmla="*/ 187664 h 4178187"/>
                <a:gd name="connsiteX4344" fmla="*/ 2124110 w 3009712"/>
                <a:gd name="connsiteY4344" fmla="*/ 190418 h 4178187"/>
                <a:gd name="connsiteX4345" fmla="*/ 2126863 w 3009712"/>
                <a:gd name="connsiteY4345" fmla="*/ 191205 h 4178187"/>
                <a:gd name="connsiteX4346" fmla="*/ 2132765 w 3009712"/>
                <a:gd name="connsiteY4346" fmla="*/ 191205 h 4178187"/>
                <a:gd name="connsiteX4347" fmla="*/ 2135519 w 3009712"/>
                <a:gd name="connsiteY4347" fmla="*/ 191599 h 4178187"/>
                <a:gd name="connsiteX4348" fmla="*/ 2138666 w 3009712"/>
                <a:gd name="connsiteY4348" fmla="*/ 191599 h 4178187"/>
                <a:gd name="connsiteX4349" fmla="*/ 2141420 w 3009712"/>
                <a:gd name="connsiteY4349" fmla="*/ 190812 h 4178187"/>
                <a:gd name="connsiteX4350" fmla="*/ 2144568 w 3009712"/>
                <a:gd name="connsiteY4350" fmla="*/ 190025 h 4178187"/>
                <a:gd name="connsiteX4351" fmla="*/ 2147322 w 3009712"/>
                <a:gd name="connsiteY4351" fmla="*/ 189631 h 4178187"/>
                <a:gd name="connsiteX4352" fmla="*/ 2150469 w 3009712"/>
                <a:gd name="connsiteY4352" fmla="*/ 187271 h 4178187"/>
                <a:gd name="connsiteX4353" fmla="*/ 2153223 w 3009712"/>
                <a:gd name="connsiteY4353" fmla="*/ 185697 h 4178187"/>
                <a:gd name="connsiteX4354" fmla="*/ 2156370 w 3009712"/>
                <a:gd name="connsiteY4354" fmla="*/ 185304 h 4178187"/>
                <a:gd name="connsiteX4355" fmla="*/ 2159124 w 3009712"/>
                <a:gd name="connsiteY4355" fmla="*/ 184124 h 4178187"/>
                <a:gd name="connsiteX4356" fmla="*/ 2161878 w 3009712"/>
                <a:gd name="connsiteY4356" fmla="*/ 182550 h 4178187"/>
                <a:gd name="connsiteX4357" fmla="*/ 2165026 w 3009712"/>
                <a:gd name="connsiteY4357" fmla="*/ 181763 h 4178187"/>
                <a:gd name="connsiteX4358" fmla="*/ 2168173 w 3009712"/>
                <a:gd name="connsiteY4358" fmla="*/ 180189 h 4178187"/>
                <a:gd name="connsiteX4359" fmla="*/ 2170927 w 3009712"/>
                <a:gd name="connsiteY4359" fmla="*/ 177042 h 4178187"/>
                <a:gd name="connsiteX4360" fmla="*/ 2173288 w 3009712"/>
                <a:gd name="connsiteY4360" fmla="*/ 175075 h 4178187"/>
                <a:gd name="connsiteX4361" fmla="*/ 2176042 w 3009712"/>
                <a:gd name="connsiteY4361" fmla="*/ 174681 h 4178187"/>
                <a:gd name="connsiteX4362" fmla="*/ 2223646 w 3009712"/>
                <a:gd name="connsiteY4362" fmla="*/ 166026 h 4178187"/>
                <a:gd name="connsiteX4363" fmla="*/ 2226400 w 3009712"/>
                <a:gd name="connsiteY4363" fmla="*/ 166419 h 4178187"/>
                <a:gd name="connsiteX4364" fmla="*/ 2226007 w 3009712"/>
                <a:gd name="connsiteY4364" fmla="*/ 165239 h 4178187"/>
                <a:gd name="connsiteX4365" fmla="*/ 2234269 w 3009712"/>
                <a:gd name="connsiteY4365" fmla="*/ 163665 h 4178187"/>
                <a:gd name="connsiteX4366" fmla="*/ 2234662 w 3009712"/>
                <a:gd name="connsiteY4366" fmla="*/ 164059 h 4178187"/>
                <a:gd name="connsiteX4367" fmla="*/ 2237416 w 3009712"/>
                <a:gd name="connsiteY4367" fmla="*/ 165632 h 4178187"/>
                <a:gd name="connsiteX4368" fmla="*/ 2240170 w 3009712"/>
                <a:gd name="connsiteY4368" fmla="*/ 165239 h 4178187"/>
                <a:gd name="connsiteX4369" fmla="*/ 2242531 w 3009712"/>
                <a:gd name="connsiteY4369" fmla="*/ 162879 h 4178187"/>
                <a:gd name="connsiteX4370" fmla="*/ 2242531 w 3009712"/>
                <a:gd name="connsiteY4370" fmla="*/ 160125 h 4178187"/>
                <a:gd name="connsiteX4371" fmla="*/ 2241744 w 3009712"/>
                <a:gd name="connsiteY4371" fmla="*/ 157764 h 4178187"/>
                <a:gd name="connsiteX4372" fmla="*/ 2241351 w 3009712"/>
                <a:gd name="connsiteY4372" fmla="*/ 153043 h 4178187"/>
                <a:gd name="connsiteX4373" fmla="*/ 2242138 w 3009712"/>
                <a:gd name="connsiteY4373" fmla="*/ 152649 h 4178187"/>
                <a:gd name="connsiteX4374" fmla="*/ 2240957 w 3009712"/>
                <a:gd name="connsiteY4374" fmla="*/ 152256 h 4178187"/>
                <a:gd name="connsiteX4375" fmla="*/ 2240564 w 3009712"/>
                <a:gd name="connsiteY4375" fmla="*/ 149895 h 4178187"/>
                <a:gd name="connsiteX4376" fmla="*/ 2243318 w 3009712"/>
                <a:gd name="connsiteY4376" fmla="*/ 150682 h 4178187"/>
                <a:gd name="connsiteX4377" fmla="*/ 2246072 w 3009712"/>
                <a:gd name="connsiteY4377" fmla="*/ 149109 h 4178187"/>
                <a:gd name="connsiteX4378" fmla="*/ 2249219 w 3009712"/>
                <a:gd name="connsiteY4378" fmla="*/ 147928 h 4178187"/>
                <a:gd name="connsiteX4379" fmla="*/ 2251973 w 3009712"/>
                <a:gd name="connsiteY4379" fmla="*/ 145961 h 4178187"/>
                <a:gd name="connsiteX4380" fmla="*/ 2250006 w 3009712"/>
                <a:gd name="connsiteY4380" fmla="*/ 148715 h 4178187"/>
                <a:gd name="connsiteX4381" fmla="*/ 2248826 w 3009712"/>
                <a:gd name="connsiteY4381" fmla="*/ 151469 h 4178187"/>
                <a:gd name="connsiteX4382" fmla="*/ 2245678 w 3009712"/>
                <a:gd name="connsiteY4382" fmla="*/ 151076 h 4178187"/>
                <a:gd name="connsiteX4383" fmla="*/ 2244105 w 3009712"/>
                <a:gd name="connsiteY4383" fmla="*/ 153830 h 4178187"/>
                <a:gd name="connsiteX4384" fmla="*/ 2246858 w 3009712"/>
                <a:gd name="connsiteY4384" fmla="*/ 155403 h 4178187"/>
                <a:gd name="connsiteX4385" fmla="*/ 2249219 w 3009712"/>
                <a:gd name="connsiteY4385" fmla="*/ 158157 h 4178187"/>
                <a:gd name="connsiteX4386" fmla="*/ 2247252 w 3009712"/>
                <a:gd name="connsiteY4386" fmla="*/ 160911 h 4178187"/>
                <a:gd name="connsiteX4387" fmla="*/ 2250399 w 3009712"/>
                <a:gd name="connsiteY4387" fmla="*/ 160911 h 4178187"/>
                <a:gd name="connsiteX4388" fmla="*/ 2253153 w 3009712"/>
                <a:gd name="connsiteY4388" fmla="*/ 160518 h 4178187"/>
                <a:gd name="connsiteX4389" fmla="*/ 2256301 w 3009712"/>
                <a:gd name="connsiteY4389" fmla="*/ 159338 h 4178187"/>
                <a:gd name="connsiteX4390" fmla="*/ 2259055 w 3009712"/>
                <a:gd name="connsiteY4390" fmla="*/ 157764 h 4178187"/>
                <a:gd name="connsiteX4391" fmla="*/ 2262202 w 3009712"/>
                <a:gd name="connsiteY4391" fmla="*/ 156977 h 4178187"/>
                <a:gd name="connsiteX4392" fmla="*/ 2264956 w 3009712"/>
                <a:gd name="connsiteY4392" fmla="*/ 154617 h 4178187"/>
                <a:gd name="connsiteX4393" fmla="*/ 2268104 w 3009712"/>
                <a:gd name="connsiteY4393" fmla="*/ 154223 h 4178187"/>
                <a:gd name="connsiteX4394" fmla="*/ 2274005 w 3009712"/>
                <a:gd name="connsiteY4394" fmla="*/ 154223 h 4178187"/>
                <a:gd name="connsiteX4395" fmla="*/ 2276759 w 3009712"/>
                <a:gd name="connsiteY4395" fmla="*/ 152256 h 4178187"/>
                <a:gd name="connsiteX4396" fmla="*/ 2279906 w 3009712"/>
                <a:gd name="connsiteY4396" fmla="*/ 150682 h 4178187"/>
                <a:gd name="connsiteX4397" fmla="*/ 2283054 w 3009712"/>
                <a:gd name="connsiteY4397" fmla="*/ 149109 h 4178187"/>
                <a:gd name="connsiteX4398" fmla="*/ 2284234 w 3009712"/>
                <a:gd name="connsiteY4398" fmla="*/ 149109 h 4178187"/>
                <a:gd name="connsiteX4399" fmla="*/ 2287775 w 3009712"/>
                <a:gd name="connsiteY4399" fmla="*/ 149502 h 4178187"/>
                <a:gd name="connsiteX4400" fmla="*/ 2290135 w 3009712"/>
                <a:gd name="connsiteY4400" fmla="*/ 146355 h 4178187"/>
                <a:gd name="connsiteX4401" fmla="*/ 2293283 w 3009712"/>
                <a:gd name="connsiteY4401" fmla="*/ 144387 h 4178187"/>
                <a:gd name="connsiteX4402" fmla="*/ 2296430 w 3009712"/>
                <a:gd name="connsiteY4402" fmla="*/ 142814 h 4178187"/>
                <a:gd name="connsiteX4403" fmla="*/ 2299184 w 3009712"/>
                <a:gd name="connsiteY4403" fmla="*/ 141240 h 4178187"/>
                <a:gd name="connsiteX4404" fmla="*/ 2302332 w 3009712"/>
                <a:gd name="connsiteY4404" fmla="*/ 140847 h 4178187"/>
                <a:gd name="connsiteX4405" fmla="*/ 2305086 w 3009712"/>
                <a:gd name="connsiteY4405" fmla="*/ 141240 h 4178187"/>
                <a:gd name="connsiteX4406" fmla="*/ 2308233 w 3009712"/>
                <a:gd name="connsiteY4406" fmla="*/ 140847 h 4178187"/>
                <a:gd name="connsiteX4407" fmla="*/ 2311380 w 3009712"/>
                <a:gd name="connsiteY4407" fmla="*/ 138880 h 4178187"/>
                <a:gd name="connsiteX4408" fmla="*/ 2314528 w 3009712"/>
                <a:gd name="connsiteY4408" fmla="*/ 136126 h 4178187"/>
                <a:gd name="connsiteX4409" fmla="*/ 2320036 w 3009712"/>
                <a:gd name="connsiteY4409" fmla="*/ 131011 h 4178187"/>
                <a:gd name="connsiteX4410" fmla="*/ 2323183 w 3009712"/>
                <a:gd name="connsiteY4410" fmla="*/ 128650 h 4178187"/>
                <a:gd name="connsiteX4411" fmla="*/ 2324757 w 3009712"/>
                <a:gd name="connsiteY4411" fmla="*/ 125503 h 4178187"/>
                <a:gd name="connsiteX4412" fmla="*/ 2324364 w 3009712"/>
                <a:gd name="connsiteY4412" fmla="*/ 122749 h 4178187"/>
                <a:gd name="connsiteX4413" fmla="*/ 2321216 w 3009712"/>
                <a:gd name="connsiteY4413" fmla="*/ 120782 h 4178187"/>
                <a:gd name="connsiteX4414" fmla="*/ 2319249 w 3009712"/>
                <a:gd name="connsiteY4414" fmla="*/ 118028 h 4178187"/>
                <a:gd name="connsiteX4415" fmla="*/ 2316495 w 3009712"/>
                <a:gd name="connsiteY4415" fmla="*/ 115274 h 4178187"/>
                <a:gd name="connsiteX4416" fmla="*/ 2316889 w 3009712"/>
                <a:gd name="connsiteY4416" fmla="*/ 112127 h 4178187"/>
                <a:gd name="connsiteX4417" fmla="*/ 2319642 w 3009712"/>
                <a:gd name="connsiteY4417" fmla="*/ 109766 h 4178187"/>
                <a:gd name="connsiteX4418" fmla="*/ 2322790 w 3009712"/>
                <a:gd name="connsiteY4418" fmla="*/ 108192 h 4178187"/>
                <a:gd name="connsiteX4419" fmla="*/ 2319642 w 3009712"/>
                <a:gd name="connsiteY4419" fmla="*/ 108586 h 4178187"/>
                <a:gd name="connsiteX4420" fmla="*/ 2316889 w 3009712"/>
                <a:gd name="connsiteY4420" fmla="*/ 107799 h 4178187"/>
                <a:gd name="connsiteX4421" fmla="*/ 2319642 w 3009712"/>
                <a:gd name="connsiteY4421" fmla="*/ 105438 h 4178187"/>
                <a:gd name="connsiteX4422" fmla="*/ 2316889 w 3009712"/>
                <a:gd name="connsiteY4422" fmla="*/ 103865 h 4178187"/>
                <a:gd name="connsiteX4423" fmla="*/ 2320036 w 3009712"/>
                <a:gd name="connsiteY4423" fmla="*/ 102684 h 4178187"/>
                <a:gd name="connsiteX4424" fmla="*/ 2316889 w 3009712"/>
                <a:gd name="connsiteY4424" fmla="*/ 100324 h 4178187"/>
                <a:gd name="connsiteX4425" fmla="*/ 2316889 w 3009712"/>
                <a:gd name="connsiteY4425" fmla="*/ 100324 h 4178187"/>
                <a:gd name="connsiteX4426" fmla="*/ 2330658 w 3009712"/>
                <a:gd name="connsiteY4426" fmla="*/ 99930 h 4178187"/>
                <a:gd name="connsiteX4427" fmla="*/ 2333412 w 3009712"/>
                <a:gd name="connsiteY4427" fmla="*/ 99143 h 4178187"/>
                <a:gd name="connsiteX4428" fmla="*/ 2336166 w 3009712"/>
                <a:gd name="connsiteY4428" fmla="*/ 97176 h 4178187"/>
                <a:gd name="connsiteX4429" fmla="*/ 2339314 w 3009712"/>
                <a:gd name="connsiteY4429" fmla="*/ 97570 h 4178187"/>
                <a:gd name="connsiteX4430" fmla="*/ 2342068 w 3009712"/>
                <a:gd name="connsiteY4430" fmla="*/ 96389 h 4178187"/>
                <a:gd name="connsiteX4431" fmla="*/ 2345215 w 3009712"/>
                <a:gd name="connsiteY4431" fmla="*/ 95209 h 4178187"/>
                <a:gd name="connsiteX4432" fmla="*/ 2348363 w 3009712"/>
                <a:gd name="connsiteY4432" fmla="*/ 94422 h 4178187"/>
                <a:gd name="connsiteX4433" fmla="*/ 2351116 w 3009712"/>
                <a:gd name="connsiteY4433" fmla="*/ 93635 h 4178187"/>
                <a:gd name="connsiteX4434" fmla="*/ 2353084 w 3009712"/>
                <a:gd name="connsiteY4434" fmla="*/ 90488 h 4178187"/>
                <a:gd name="connsiteX4435" fmla="*/ 2353870 w 3009712"/>
                <a:gd name="connsiteY4435" fmla="*/ 87734 h 4178187"/>
                <a:gd name="connsiteX4436" fmla="*/ 2350723 w 3009712"/>
                <a:gd name="connsiteY4436" fmla="*/ 87341 h 4178187"/>
                <a:gd name="connsiteX4437" fmla="*/ 2347576 w 3009712"/>
                <a:gd name="connsiteY4437" fmla="*/ 86160 h 4178187"/>
                <a:gd name="connsiteX4438" fmla="*/ 2346789 w 3009712"/>
                <a:gd name="connsiteY4438" fmla="*/ 86554 h 4178187"/>
                <a:gd name="connsiteX4439" fmla="*/ 2343642 w 3009712"/>
                <a:gd name="connsiteY4439" fmla="*/ 86947 h 4178187"/>
                <a:gd name="connsiteX4440" fmla="*/ 2340887 w 3009712"/>
                <a:gd name="connsiteY4440" fmla="*/ 87341 h 4178187"/>
                <a:gd name="connsiteX4441" fmla="*/ 2344035 w 3009712"/>
                <a:gd name="connsiteY4441" fmla="*/ 86554 h 4178187"/>
                <a:gd name="connsiteX4442" fmla="*/ 2346789 w 3009712"/>
                <a:gd name="connsiteY4442" fmla="*/ 86554 h 4178187"/>
                <a:gd name="connsiteX4443" fmla="*/ 2349936 w 3009712"/>
                <a:gd name="connsiteY4443" fmla="*/ 85767 h 4178187"/>
                <a:gd name="connsiteX4444" fmla="*/ 2353084 w 3009712"/>
                <a:gd name="connsiteY4444" fmla="*/ 84980 h 4178187"/>
                <a:gd name="connsiteX4445" fmla="*/ 2356231 w 3009712"/>
                <a:gd name="connsiteY4445" fmla="*/ 83800 h 4178187"/>
                <a:gd name="connsiteX4446" fmla="*/ 2358985 w 3009712"/>
                <a:gd name="connsiteY4446" fmla="*/ 82226 h 4178187"/>
                <a:gd name="connsiteX4447" fmla="*/ 2362133 w 3009712"/>
                <a:gd name="connsiteY4447" fmla="*/ 81833 h 4178187"/>
                <a:gd name="connsiteX4448" fmla="*/ 2363706 w 3009712"/>
                <a:gd name="connsiteY4448" fmla="*/ 79079 h 4178187"/>
                <a:gd name="connsiteX4449" fmla="*/ 2360952 w 3009712"/>
                <a:gd name="connsiteY4449" fmla="*/ 78685 h 4178187"/>
                <a:gd name="connsiteX4450" fmla="*/ 2358198 w 3009712"/>
                <a:gd name="connsiteY4450" fmla="*/ 76718 h 4178187"/>
                <a:gd name="connsiteX4451" fmla="*/ 2354657 w 3009712"/>
                <a:gd name="connsiteY4451" fmla="*/ 76718 h 4178187"/>
                <a:gd name="connsiteX4452" fmla="*/ 2351510 w 3009712"/>
                <a:gd name="connsiteY4452" fmla="*/ 76325 h 4178187"/>
                <a:gd name="connsiteX4453" fmla="*/ 2348756 w 3009712"/>
                <a:gd name="connsiteY4453" fmla="*/ 77505 h 4178187"/>
                <a:gd name="connsiteX4454" fmla="*/ 2345609 w 3009712"/>
                <a:gd name="connsiteY4454" fmla="*/ 77898 h 4178187"/>
                <a:gd name="connsiteX4455" fmla="*/ 2348363 w 3009712"/>
                <a:gd name="connsiteY4455" fmla="*/ 76325 h 4178187"/>
                <a:gd name="connsiteX4456" fmla="*/ 2346002 w 3009712"/>
                <a:gd name="connsiteY4456" fmla="*/ 73571 h 4178187"/>
                <a:gd name="connsiteX4457" fmla="*/ 2349149 w 3009712"/>
                <a:gd name="connsiteY4457" fmla="*/ 73177 h 4178187"/>
                <a:gd name="connsiteX4458" fmla="*/ 2346002 w 3009712"/>
                <a:gd name="connsiteY4458" fmla="*/ 71997 h 4178187"/>
                <a:gd name="connsiteX4459" fmla="*/ 2342855 w 3009712"/>
                <a:gd name="connsiteY4459" fmla="*/ 71604 h 4178187"/>
                <a:gd name="connsiteX4460" fmla="*/ 2342855 w 3009712"/>
                <a:gd name="connsiteY4460" fmla="*/ 70817 h 4178187"/>
                <a:gd name="connsiteX4461" fmla="*/ 2339314 w 3009712"/>
                <a:gd name="connsiteY4461" fmla="*/ 70030 h 4178187"/>
                <a:gd name="connsiteX4462" fmla="*/ 2336953 w 3009712"/>
                <a:gd name="connsiteY4462" fmla="*/ 69636 h 4178187"/>
                <a:gd name="connsiteX4463" fmla="*/ 2336560 w 3009712"/>
                <a:gd name="connsiteY4463" fmla="*/ 69636 h 4178187"/>
                <a:gd name="connsiteX4464" fmla="*/ 2332232 w 3009712"/>
                <a:gd name="connsiteY4464" fmla="*/ 68850 h 4178187"/>
                <a:gd name="connsiteX4465" fmla="*/ 2334199 w 3009712"/>
                <a:gd name="connsiteY4465" fmla="*/ 68850 h 4178187"/>
                <a:gd name="connsiteX4466" fmla="*/ 2337347 w 3009712"/>
                <a:gd name="connsiteY4466" fmla="*/ 69243 h 4178187"/>
                <a:gd name="connsiteX4467" fmla="*/ 2343248 w 3009712"/>
                <a:gd name="connsiteY4467" fmla="*/ 69243 h 4178187"/>
                <a:gd name="connsiteX4468" fmla="*/ 2346002 w 3009712"/>
                <a:gd name="connsiteY4468" fmla="*/ 67276 h 4178187"/>
                <a:gd name="connsiteX4469" fmla="*/ 2348756 w 3009712"/>
                <a:gd name="connsiteY4469" fmla="*/ 65702 h 4178187"/>
                <a:gd name="connsiteX4470" fmla="*/ 2351903 w 3009712"/>
                <a:gd name="connsiteY4470" fmla="*/ 66096 h 4178187"/>
                <a:gd name="connsiteX4471" fmla="*/ 2349149 w 3009712"/>
                <a:gd name="connsiteY4471" fmla="*/ 65309 h 4178187"/>
                <a:gd name="connsiteX4472" fmla="*/ 2346002 w 3009712"/>
                <a:gd name="connsiteY4472" fmla="*/ 63735 h 4178187"/>
                <a:gd name="connsiteX4473" fmla="*/ 2343248 w 3009712"/>
                <a:gd name="connsiteY4473" fmla="*/ 64129 h 4178187"/>
                <a:gd name="connsiteX4474" fmla="*/ 2340101 w 3009712"/>
                <a:gd name="connsiteY4474" fmla="*/ 64129 h 4178187"/>
                <a:gd name="connsiteX4475" fmla="*/ 2336953 w 3009712"/>
                <a:gd name="connsiteY4475" fmla="*/ 64522 h 4178187"/>
                <a:gd name="connsiteX4476" fmla="*/ 2333806 w 3009712"/>
                <a:gd name="connsiteY4476" fmla="*/ 64129 h 4178187"/>
                <a:gd name="connsiteX4477" fmla="*/ 2331052 w 3009712"/>
                <a:gd name="connsiteY4477" fmla="*/ 64915 h 4178187"/>
                <a:gd name="connsiteX4478" fmla="*/ 2327904 w 3009712"/>
                <a:gd name="connsiteY4478" fmla="*/ 64522 h 4178187"/>
                <a:gd name="connsiteX4479" fmla="*/ 2325150 w 3009712"/>
                <a:gd name="connsiteY4479" fmla="*/ 64129 h 4178187"/>
                <a:gd name="connsiteX4480" fmla="*/ 2322396 w 3009712"/>
                <a:gd name="connsiteY4480" fmla="*/ 63342 h 4178187"/>
                <a:gd name="connsiteX4481" fmla="*/ 2319249 w 3009712"/>
                <a:gd name="connsiteY4481" fmla="*/ 62948 h 4178187"/>
                <a:gd name="connsiteX4482" fmla="*/ 2316102 w 3009712"/>
                <a:gd name="connsiteY4482" fmla="*/ 60588 h 4178187"/>
                <a:gd name="connsiteX4483" fmla="*/ 2313348 w 3009712"/>
                <a:gd name="connsiteY4483" fmla="*/ 59801 h 4178187"/>
                <a:gd name="connsiteX4484" fmla="*/ 2310594 w 3009712"/>
                <a:gd name="connsiteY4484" fmla="*/ 59801 h 4178187"/>
                <a:gd name="connsiteX4485" fmla="*/ 2307446 w 3009712"/>
                <a:gd name="connsiteY4485" fmla="*/ 60194 h 4178187"/>
                <a:gd name="connsiteX4486" fmla="*/ 2304692 w 3009712"/>
                <a:gd name="connsiteY4486" fmla="*/ 60588 h 4178187"/>
                <a:gd name="connsiteX4487" fmla="*/ 2301545 w 3009712"/>
                <a:gd name="connsiteY4487" fmla="*/ 60981 h 4178187"/>
                <a:gd name="connsiteX4488" fmla="*/ 2298397 w 3009712"/>
                <a:gd name="connsiteY4488" fmla="*/ 61375 h 4178187"/>
                <a:gd name="connsiteX4489" fmla="*/ 2295643 w 3009712"/>
                <a:gd name="connsiteY4489" fmla="*/ 61768 h 4178187"/>
                <a:gd name="connsiteX4490" fmla="*/ 2292496 w 3009712"/>
                <a:gd name="connsiteY4490" fmla="*/ 60194 h 4178187"/>
                <a:gd name="connsiteX4491" fmla="*/ 2289742 w 3009712"/>
                <a:gd name="connsiteY4491" fmla="*/ 59801 h 4178187"/>
                <a:gd name="connsiteX4492" fmla="*/ 2286988 w 3009712"/>
                <a:gd name="connsiteY4492" fmla="*/ 60194 h 4178187"/>
                <a:gd name="connsiteX4493" fmla="*/ 2286595 w 3009712"/>
                <a:gd name="connsiteY4493" fmla="*/ 60194 h 4178187"/>
                <a:gd name="connsiteX4494" fmla="*/ 2289349 w 3009712"/>
                <a:gd name="connsiteY4494" fmla="*/ 60588 h 4178187"/>
                <a:gd name="connsiteX4495" fmla="*/ 2288955 w 3009712"/>
                <a:gd name="connsiteY4495" fmla="*/ 60588 h 4178187"/>
                <a:gd name="connsiteX4496" fmla="*/ 2286595 w 3009712"/>
                <a:gd name="connsiteY4496" fmla="*/ 60194 h 4178187"/>
                <a:gd name="connsiteX4497" fmla="*/ 2285808 w 3009712"/>
                <a:gd name="connsiteY4497" fmla="*/ 62948 h 4178187"/>
                <a:gd name="connsiteX4498" fmla="*/ 2283841 w 3009712"/>
                <a:gd name="connsiteY4498" fmla="*/ 64915 h 4178187"/>
                <a:gd name="connsiteX4499" fmla="*/ 2284628 w 3009712"/>
                <a:gd name="connsiteY4499" fmla="*/ 67276 h 4178187"/>
                <a:gd name="connsiteX4500" fmla="*/ 2284628 w 3009712"/>
                <a:gd name="connsiteY4500" fmla="*/ 67669 h 4178187"/>
                <a:gd name="connsiteX4501" fmla="*/ 2281874 w 3009712"/>
                <a:gd name="connsiteY4501" fmla="*/ 68063 h 4178187"/>
                <a:gd name="connsiteX4502" fmla="*/ 2279513 w 3009712"/>
                <a:gd name="connsiteY4502" fmla="*/ 71210 h 4178187"/>
                <a:gd name="connsiteX4503" fmla="*/ 2282267 w 3009712"/>
                <a:gd name="connsiteY4503" fmla="*/ 70423 h 4178187"/>
                <a:gd name="connsiteX4504" fmla="*/ 2279119 w 3009712"/>
                <a:gd name="connsiteY4504" fmla="*/ 71997 h 4178187"/>
                <a:gd name="connsiteX4505" fmla="*/ 2279906 w 3009712"/>
                <a:gd name="connsiteY4505" fmla="*/ 74751 h 4178187"/>
                <a:gd name="connsiteX4506" fmla="*/ 2276759 w 3009712"/>
                <a:gd name="connsiteY4506" fmla="*/ 74358 h 4178187"/>
                <a:gd name="connsiteX4507" fmla="*/ 2277152 w 3009712"/>
                <a:gd name="connsiteY4507" fmla="*/ 77505 h 4178187"/>
                <a:gd name="connsiteX4508" fmla="*/ 2279906 w 3009712"/>
                <a:gd name="connsiteY4508" fmla="*/ 79079 h 4178187"/>
                <a:gd name="connsiteX4509" fmla="*/ 2281480 w 3009712"/>
                <a:gd name="connsiteY4509" fmla="*/ 79079 h 4178187"/>
                <a:gd name="connsiteX4510" fmla="*/ 2281480 w 3009712"/>
                <a:gd name="connsiteY4510" fmla="*/ 79472 h 4178187"/>
                <a:gd name="connsiteX4511" fmla="*/ 2279906 w 3009712"/>
                <a:gd name="connsiteY4511" fmla="*/ 80259 h 4178187"/>
                <a:gd name="connsiteX4512" fmla="*/ 2281087 w 3009712"/>
                <a:gd name="connsiteY4512" fmla="*/ 80259 h 4178187"/>
                <a:gd name="connsiteX4513" fmla="*/ 2279906 w 3009712"/>
                <a:gd name="connsiteY4513" fmla="*/ 84193 h 4178187"/>
                <a:gd name="connsiteX4514" fmla="*/ 2277546 w 3009712"/>
                <a:gd name="connsiteY4514" fmla="*/ 85374 h 4178187"/>
                <a:gd name="connsiteX4515" fmla="*/ 2276759 w 3009712"/>
                <a:gd name="connsiteY4515" fmla="*/ 84980 h 4178187"/>
                <a:gd name="connsiteX4516" fmla="*/ 2276365 w 3009712"/>
                <a:gd name="connsiteY4516" fmla="*/ 85767 h 4178187"/>
                <a:gd name="connsiteX4517" fmla="*/ 2273612 w 3009712"/>
                <a:gd name="connsiteY4517" fmla="*/ 87341 h 4178187"/>
                <a:gd name="connsiteX4518" fmla="*/ 2272825 w 3009712"/>
                <a:gd name="connsiteY4518" fmla="*/ 87341 h 4178187"/>
                <a:gd name="connsiteX4519" fmla="*/ 2273218 w 3009712"/>
                <a:gd name="connsiteY4519" fmla="*/ 87734 h 4178187"/>
                <a:gd name="connsiteX4520" fmla="*/ 2266923 w 3009712"/>
                <a:gd name="connsiteY4520" fmla="*/ 91275 h 4178187"/>
                <a:gd name="connsiteX4521" fmla="*/ 2266136 w 3009712"/>
                <a:gd name="connsiteY4521" fmla="*/ 91668 h 4178187"/>
                <a:gd name="connsiteX4522" fmla="*/ 2263382 w 3009712"/>
                <a:gd name="connsiteY4522" fmla="*/ 90095 h 4178187"/>
                <a:gd name="connsiteX4523" fmla="*/ 2260235 w 3009712"/>
                <a:gd name="connsiteY4523" fmla="*/ 91668 h 4178187"/>
                <a:gd name="connsiteX4524" fmla="*/ 2257481 w 3009712"/>
                <a:gd name="connsiteY4524" fmla="*/ 93242 h 4178187"/>
                <a:gd name="connsiteX4525" fmla="*/ 2254334 w 3009712"/>
                <a:gd name="connsiteY4525" fmla="*/ 95209 h 4178187"/>
                <a:gd name="connsiteX4526" fmla="*/ 2252760 w 3009712"/>
                <a:gd name="connsiteY4526" fmla="*/ 97963 h 4178187"/>
                <a:gd name="connsiteX4527" fmla="*/ 2250006 w 3009712"/>
                <a:gd name="connsiteY4527" fmla="*/ 100717 h 4178187"/>
                <a:gd name="connsiteX4528" fmla="*/ 2247252 w 3009712"/>
                <a:gd name="connsiteY4528" fmla="*/ 103078 h 4178187"/>
                <a:gd name="connsiteX4529" fmla="*/ 2244105 w 3009712"/>
                <a:gd name="connsiteY4529" fmla="*/ 105438 h 4178187"/>
                <a:gd name="connsiteX4530" fmla="*/ 2243711 w 3009712"/>
                <a:gd name="connsiteY4530" fmla="*/ 105832 h 4178187"/>
                <a:gd name="connsiteX4531" fmla="*/ 2224433 w 3009712"/>
                <a:gd name="connsiteY4531" fmla="*/ 117241 h 4178187"/>
                <a:gd name="connsiteX4532" fmla="*/ 2223253 w 3009712"/>
                <a:gd name="connsiteY4532" fmla="*/ 118028 h 4178187"/>
                <a:gd name="connsiteX4533" fmla="*/ 2222073 w 3009712"/>
                <a:gd name="connsiteY4533" fmla="*/ 118815 h 4178187"/>
                <a:gd name="connsiteX4534" fmla="*/ 2218925 w 3009712"/>
                <a:gd name="connsiteY4534" fmla="*/ 120388 h 4178187"/>
                <a:gd name="connsiteX4535" fmla="*/ 2218138 w 3009712"/>
                <a:gd name="connsiteY4535" fmla="*/ 120782 h 4178187"/>
                <a:gd name="connsiteX4536" fmla="*/ 2198467 w 3009712"/>
                <a:gd name="connsiteY4536" fmla="*/ 131798 h 4178187"/>
                <a:gd name="connsiteX4537" fmla="*/ 2197287 w 3009712"/>
                <a:gd name="connsiteY4537" fmla="*/ 132585 h 4178187"/>
                <a:gd name="connsiteX4538" fmla="*/ 2197287 w 3009712"/>
                <a:gd name="connsiteY4538" fmla="*/ 132585 h 4178187"/>
                <a:gd name="connsiteX4539" fmla="*/ 2190992 w 3009712"/>
                <a:gd name="connsiteY4539" fmla="*/ 136126 h 4178187"/>
                <a:gd name="connsiteX4540" fmla="*/ 2189025 w 3009712"/>
                <a:gd name="connsiteY4540" fmla="*/ 135732 h 4178187"/>
                <a:gd name="connsiteX4541" fmla="*/ 2186271 w 3009712"/>
                <a:gd name="connsiteY4541" fmla="*/ 138093 h 4178187"/>
                <a:gd name="connsiteX4542" fmla="*/ 2184697 w 3009712"/>
                <a:gd name="connsiteY4542" fmla="*/ 139666 h 4178187"/>
                <a:gd name="connsiteX4543" fmla="*/ 2200828 w 3009712"/>
                <a:gd name="connsiteY4543" fmla="*/ 105438 h 4178187"/>
                <a:gd name="connsiteX4544" fmla="*/ 2203582 w 3009712"/>
                <a:gd name="connsiteY4544" fmla="*/ 102684 h 4178187"/>
                <a:gd name="connsiteX4545" fmla="*/ 2205549 w 3009712"/>
                <a:gd name="connsiteY4545" fmla="*/ 99930 h 4178187"/>
                <a:gd name="connsiteX4546" fmla="*/ 2205942 w 3009712"/>
                <a:gd name="connsiteY4546" fmla="*/ 97176 h 4178187"/>
                <a:gd name="connsiteX4547" fmla="*/ 2208303 w 3009712"/>
                <a:gd name="connsiteY4547" fmla="*/ 94422 h 4178187"/>
                <a:gd name="connsiteX4548" fmla="*/ 2209877 w 3009712"/>
                <a:gd name="connsiteY4548" fmla="*/ 91668 h 4178187"/>
                <a:gd name="connsiteX4549" fmla="*/ 2209090 w 3009712"/>
                <a:gd name="connsiteY4549" fmla="*/ 88521 h 4178187"/>
                <a:gd name="connsiteX4550" fmla="*/ 2206729 w 3009712"/>
                <a:gd name="connsiteY4550" fmla="*/ 85767 h 4178187"/>
                <a:gd name="connsiteX4551" fmla="*/ 2203975 w 3009712"/>
                <a:gd name="connsiteY4551" fmla="*/ 84193 h 4178187"/>
                <a:gd name="connsiteX4552" fmla="*/ 2201221 w 3009712"/>
                <a:gd name="connsiteY4552" fmla="*/ 81833 h 4178187"/>
                <a:gd name="connsiteX4553" fmla="*/ 2200041 w 3009712"/>
                <a:gd name="connsiteY4553" fmla="*/ 79079 h 4178187"/>
                <a:gd name="connsiteX4554" fmla="*/ 2196893 w 3009712"/>
                <a:gd name="connsiteY4554" fmla="*/ 76718 h 4178187"/>
                <a:gd name="connsiteX4555" fmla="*/ 2193746 w 3009712"/>
                <a:gd name="connsiteY4555" fmla="*/ 77112 h 4178187"/>
                <a:gd name="connsiteX4556" fmla="*/ 2190992 w 3009712"/>
                <a:gd name="connsiteY4556" fmla="*/ 78292 h 4178187"/>
                <a:gd name="connsiteX4557" fmla="*/ 2187844 w 3009712"/>
                <a:gd name="connsiteY4557" fmla="*/ 79866 h 4178187"/>
                <a:gd name="connsiteX4558" fmla="*/ 2185091 w 3009712"/>
                <a:gd name="connsiteY4558" fmla="*/ 81439 h 4178187"/>
                <a:gd name="connsiteX4559" fmla="*/ 2181943 w 3009712"/>
                <a:gd name="connsiteY4559" fmla="*/ 82620 h 4178187"/>
                <a:gd name="connsiteX4560" fmla="*/ 2178796 w 3009712"/>
                <a:gd name="connsiteY4560" fmla="*/ 83800 h 4178187"/>
                <a:gd name="connsiteX4561" fmla="*/ 2176042 w 3009712"/>
                <a:gd name="connsiteY4561" fmla="*/ 85767 h 4178187"/>
                <a:gd name="connsiteX4562" fmla="*/ 2174468 w 3009712"/>
                <a:gd name="connsiteY4562" fmla="*/ 88914 h 4178187"/>
                <a:gd name="connsiteX4563" fmla="*/ 2172107 w 3009712"/>
                <a:gd name="connsiteY4563" fmla="*/ 91668 h 4178187"/>
                <a:gd name="connsiteX4564" fmla="*/ 2169354 w 3009712"/>
                <a:gd name="connsiteY4564" fmla="*/ 94422 h 4178187"/>
                <a:gd name="connsiteX4565" fmla="*/ 2166600 w 3009712"/>
                <a:gd name="connsiteY4565" fmla="*/ 94029 h 4178187"/>
                <a:gd name="connsiteX4566" fmla="*/ 2163452 w 3009712"/>
                <a:gd name="connsiteY4566" fmla="*/ 95603 h 4178187"/>
                <a:gd name="connsiteX4567" fmla="*/ 2165026 w 3009712"/>
                <a:gd name="connsiteY4567" fmla="*/ 97570 h 4178187"/>
                <a:gd name="connsiteX4568" fmla="*/ 2157944 w 3009712"/>
                <a:gd name="connsiteY4568" fmla="*/ 100717 h 4178187"/>
                <a:gd name="connsiteX4569" fmla="*/ 2157157 w 3009712"/>
                <a:gd name="connsiteY4569" fmla="*/ 101111 h 4178187"/>
                <a:gd name="connsiteX4570" fmla="*/ 2156764 w 3009712"/>
                <a:gd name="connsiteY4570" fmla="*/ 101504 h 4178187"/>
                <a:gd name="connsiteX4571" fmla="*/ 2156370 w 3009712"/>
                <a:gd name="connsiteY4571" fmla="*/ 102291 h 4178187"/>
                <a:gd name="connsiteX4572" fmla="*/ 2153223 w 3009712"/>
                <a:gd name="connsiteY4572" fmla="*/ 103471 h 4178187"/>
                <a:gd name="connsiteX4573" fmla="*/ 2156370 w 3009712"/>
                <a:gd name="connsiteY4573" fmla="*/ 90488 h 4178187"/>
                <a:gd name="connsiteX4574" fmla="*/ 2157157 w 3009712"/>
                <a:gd name="connsiteY4574" fmla="*/ 89701 h 4178187"/>
                <a:gd name="connsiteX4575" fmla="*/ 2156764 w 3009712"/>
                <a:gd name="connsiteY4575" fmla="*/ 89701 h 4178187"/>
                <a:gd name="connsiteX4576" fmla="*/ 2157157 w 3009712"/>
                <a:gd name="connsiteY4576" fmla="*/ 88914 h 4178187"/>
                <a:gd name="connsiteX4577" fmla="*/ 2157944 w 3009712"/>
                <a:gd name="connsiteY4577" fmla="*/ 86160 h 4178187"/>
                <a:gd name="connsiteX4578" fmla="*/ 2157944 w 3009712"/>
                <a:gd name="connsiteY4578" fmla="*/ 83013 h 4178187"/>
                <a:gd name="connsiteX4579" fmla="*/ 2157551 w 3009712"/>
                <a:gd name="connsiteY4579" fmla="*/ 80259 h 4178187"/>
                <a:gd name="connsiteX4580" fmla="*/ 2155977 w 3009712"/>
                <a:gd name="connsiteY4580" fmla="*/ 79079 h 4178187"/>
                <a:gd name="connsiteX4581" fmla="*/ 2155584 w 3009712"/>
                <a:gd name="connsiteY4581" fmla="*/ 76718 h 4178187"/>
                <a:gd name="connsiteX4582" fmla="*/ 2154797 w 3009712"/>
                <a:gd name="connsiteY4582" fmla="*/ 75931 h 4178187"/>
                <a:gd name="connsiteX4583" fmla="*/ 2157551 w 3009712"/>
                <a:gd name="connsiteY4583" fmla="*/ 75144 h 4178187"/>
                <a:gd name="connsiteX4584" fmla="*/ 2155584 w 3009712"/>
                <a:gd name="connsiteY4584" fmla="*/ 76718 h 4178187"/>
                <a:gd name="connsiteX4585" fmla="*/ 2158731 w 3009712"/>
                <a:gd name="connsiteY4585" fmla="*/ 75931 h 4178187"/>
                <a:gd name="connsiteX4586" fmla="*/ 2161485 w 3009712"/>
                <a:gd name="connsiteY4586" fmla="*/ 76325 h 4178187"/>
                <a:gd name="connsiteX4587" fmla="*/ 2164632 w 3009712"/>
                <a:gd name="connsiteY4587" fmla="*/ 73964 h 4178187"/>
                <a:gd name="connsiteX4588" fmla="*/ 2167387 w 3009712"/>
                <a:gd name="connsiteY4588" fmla="*/ 73177 h 4178187"/>
                <a:gd name="connsiteX4589" fmla="*/ 2170534 w 3009712"/>
                <a:gd name="connsiteY4589" fmla="*/ 72390 h 4178187"/>
                <a:gd name="connsiteX4590" fmla="*/ 2173681 w 3009712"/>
                <a:gd name="connsiteY4590" fmla="*/ 71604 h 4178187"/>
                <a:gd name="connsiteX4591" fmla="*/ 2176435 w 3009712"/>
                <a:gd name="connsiteY4591" fmla="*/ 71997 h 4178187"/>
                <a:gd name="connsiteX4592" fmla="*/ 2173681 w 3009712"/>
                <a:gd name="connsiteY4592" fmla="*/ 70423 h 4178187"/>
                <a:gd name="connsiteX4593" fmla="*/ 2170534 w 3009712"/>
                <a:gd name="connsiteY4593" fmla="*/ 69636 h 4178187"/>
                <a:gd name="connsiteX4594" fmla="*/ 2167780 w 3009712"/>
                <a:gd name="connsiteY4594" fmla="*/ 71210 h 4178187"/>
                <a:gd name="connsiteX4595" fmla="*/ 2165026 w 3009712"/>
                <a:gd name="connsiteY4595" fmla="*/ 70030 h 4178187"/>
                <a:gd name="connsiteX4596" fmla="*/ 2161485 w 3009712"/>
                <a:gd name="connsiteY4596" fmla="*/ 70423 h 4178187"/>
                <a:gd name="connsiteX4597" fmla="*/ 2158338 w 3009712"/>
                <a:gd name="connsiteY4597" fmla="*/ 69636 h 4178187"/>
                <a:gd name="connsiteX4598" fmla="*/ 2155584 w 3009712"/>
                <a:gd name="connsiteY4598" fmla="*/ 70030 h 4178187"/>
                <a:gd name="connsiteX4599" fmla="*/ 2152830 w 3009712"/>
                <a:gd name="connsiteY4599" fmla="*/ 70030 h 4178187"/>
                <a:gd name="connsiteX4600" fmla="*/ 2155977 w 3009712"/>
                <a:gd name="connsiteY4600" fmla="*/ 69636 h 4178187"/>
                <a:gd name="connsiteX4601" fmla="*/ 2158731 w 3009712"/>
                <a:gd name="connsiteY4601" fmla="*/ 68850 h 4178187"/>
                <a:gd name="connsiteX4602" fmla="*/ 2161485 w 3009712"/>
                <a:gd name="connsiteY4602" fmla="*/ 67669 h 4178187"/>
                <a:gd name="connsiteX4603" fmla="*/ 2158338 w 3009712"/>
                <a:gd name="connsiteY4603" fmla="*/ 66096 h 4178187"/>
                <a:gd name="connsiteX4604" fmla="*/ 2155584 w 3009712"/>
                <a:gd name="connsiteY4604" fmla="*/ 66489 h 4178187"/>
                <a:gd name="connsiteX4605" fmla="*/ 2152830 w 3009712"/>
                <a:gd name="connsiteY4605" fmla="*/ 67669 h 4178187"/>
                <a:gd name="connsiteX4606" fmla="*/ 2149682 w 3009712"/>
                <a:gd name="connsiteY4606" fmla="*/ 68850 h 4178187"/>
                <a:gd name="connsiteX4607" fmla="*/ 2154403 w 3009712"/>
                <a:gd name="connsiteY4607" fmla="*/ 56260 h 4178187"/>
                <a:gd name="connsiteX4608" fmla="*/ 2155190 w 3009712"/>
                <a:gd name="connsiteY4608" fmla="*/ 51145 h 4178187"/>
                <a:gd name="connsiteX4609" fmla="*/ 2156764 w 3009712"/>
                <a:gd name="connsiteY4609" fmla="*/ 51539 h 4178187"/>
                <a:gd name="connsiteX4610" fmla="*/ 2159911 w 3009712"/>
                <a:gd name="connsiteY4610" fmla="*/ 52719 h 4178187"/>
                <a:gd name="connsiteX4611" fmla="*/ 2163059 w 3009712"/>
                <a:gd name="connsiteY4611" fmla="*/ 52326 h 4178187"/>
                <a:gd name="connsiteX4612" fmla="*/ 2166206 w 3009712"/>
                <a:gd name="connsiteY4612" fmla="*/ 51932 h 4178187"/>
                <a:gd name="connsiteX4613" fmla="*/ 2168960 w 3009712"/>
                <a:gd name="connsiteY4613" fmla="*/ 51539 h 4178187"/>
                <a:gd name="connsiteX4614" fmla="*/ 2167780 w 3009712"/>
                <a:gd name="connsiteY4614" fmla="*/ 48785 h 4178187"/>
                <a:gd name="connsiteX4615" fmla="*/ 2169747 w 3009712"/>
                <a:gd name="connsiteY4615" fmla="*/ 46031 h 4178187"/>
                <a:gd name="connsiteX4616" fmla="*/ 2166993 w 3009712"/>
                <a:gd name="connsiteY4616" fmla="*/ 45637 h 4178187"/>
                <a:gd name="connsiteX4617" fmla="*/ 2161878 w 3009712"/>
                <a:gd name="connsiteY4617" fmla="*/ 47211 h 4178187"/>
                <a:gd name="connsiteX4618" fmla="*/ 2158731 w 3009712"/>
                <a:gd name="connsiteY4618" fmla="*/ 47211 h 4178187"/>
                <a:gd name="connsiteX4619" fmla="*/ 2161485 w 3009712"/>
                <a:gd name="connsiteY4619" fmla="*/ 45637 h 4178187"/>
                <a:gd name="connsiteX4620" fmla="*/ 2161878 w 3009712"/>
                <a:gd name="connsiteY4620" fmla="*/ 42490 h 4178187"/>
                <a:gd name="connsiteX4621" fmla="*/ 2158731 w 3009712"/>
                <a:gd name="connsiteY4621" fmla="*/ 41703 h 4178187"/>
                <a:gd name="connsiteX4622" fmla="*/ 2161878 w 3009712"/>
                <a:gd name="connsiteY4622" fmla="*/ 39343 h 4178187"/>
                <a:gd name="connsiteX4623" fmla="*/ 2159124 w 3009712"/>
                <a:gd name="connsiteY4623" fmla="*/ 36589 h 4178187"/>
                <a:gd name="connsiteX4624" fmla="*/ 2155977 w 3009712"/>
                <a:gd name="connsiteY4624" fmla="*/ 36195 h 4178187"/>
                <a:gd name="connsiteX4625" fmla="*/ 2157551 w 3009712"/>
                <a:gd name="connsiteY4625" fmla="*/ 33441 h 4178187"/>
                <a:gd name="connsiteX4626" fmla="*/ 2155977 w 3009712"/>
                <a:gd name="connsiteY4626" fmla="*/ 33048 h 4178187"/>
                <a:gd name="connsiteX4627" fmla="*/ 2155584 w 3009712"/>
                <a:gd name="connsiteY4627" fmla="*/ 31868 h 4178187"/>
                <a:gd name="connsiteX4628" fmla="*/ 2155977 w 3009712"/>
                <a:gd name="connsiteY4628" fmla="*/ 31868 h 4178187"/>
                <a:gd name="connsiteX4629" fmla="*/ 2158338 w 3009712"/>
                <a:gd name="connsiteY4629" fmla="*/ 29114 h 4178187"/>
                <a:gd name="connsiteX4630" fmla="*/ 2161092 w 3009712"/>
                <a:gd name="connsiteY4630" fmla="*/ 26753 h 4178187"/>
                <a:gd name="connsiteX4631" fmla="*/ 2163846 w 3009712"/>
                <a:gd name="connsiteY4631" fmla="*/ 23999 h 4178187"/>
                <a:gd name="connsiteX4632" fmla="*/ 2165419 w 3009712"/>
                <a:gd name="connsiteY4632" fmla="*/ 21245 h 4178187"/>
                <a:gd name="connsiteX4633" fmla="*/ 2166993 w 3009712"/>
                <a:gd name="connsiteY4633" fmla="*/ 18491 h 4178187"/>
                <a:gd name="connsiteX4634" fmla="*/ 2165026 w 3009712"/>
                <a:gd name="connsiteY4634" fmla="*/ 15344 h 4178187"/>
                <a:gd name="connsiteX4635" fmla="*/ 2161878 w 3009712"/>
                <a:gd name="connsiteY4635" fmla="*/ 12983 h 4178187"/>
                <a:gd name="connsiteX4636" fmla="*/ 2158731 w 3009712"/>
                <a:gd name="connsiteY4636" fmla="*/ 11016 h 4178187"/>
                <a:gd name="connsiteX4637" fmla="*/ 2161878 w 3009712"/>
                <a:gd name="connsiteY4637" fmla="*/ 8262 h 4178187"/>
                <a:gd name="connsiteX4638" fmla="*/ 2158731 w 3009712"/>
                <a:gd name="connsiteY4638" fmla="*/ 7475 h 4178187"/>
                <a:gd name="connsiteX4639" fmla="*/ 2155977 w 3009712"/>
                <a:gd name="connsiteY4639" fmla="*/ 6688 h 4178187"/>
                <a:gd name="connsiteX4640" fmla="*/ 2152436 w 3009712"/>
                <a:gd name="connsiteY4640" fmla="*/ 6688 h 4178187"/>
                <a:gd name="connsiteX4641" fmla="*/ 2150076 w 3009712"/>
                <a:gd name="connsiteY4641" fmla="*/ 7869 h 4178187"/>
                <a:gd name="connsiteX4642" fmla="*/ 2149289 w 3009712"/>
                <a:gd name="connsiteY4642" fmla="*/ 4328 h 4178187"/>
                <a:gd name="connsiteX4643" fmla="*/ 2152043 w 3009712"/>
                <a:gd name="connsiteY4643" fmla="*/ 2754 h 4178187"/>
                <a:gd name="connsiteX4644" fmla="*/ 2149289 w 3009712"/>
                <a:gd name="connsiteY4644" fmla="*/ 393 h 4178187"/>
                <a:gd name="connsiteX4645" fmla="*/ 2148895 w 3009712"/>
                <a:gd name="connsiteY4645" fmla="*/ 393 h 4178187"/>
                <a:gd name="connsiteX4646" fmla="*/ 2146141 w 3009712"/>
                <a:gd name="connsiteY4646" fmla="*/ 0 h 4178187"/>
                <a:gd name="connsiteX4647" fmla="*/ 2143387 w 3009712"/>
                <a:gd name="connsiteY4647" fmla="*/ 0 h 4178187"/>
                <a:gd name="connsiteX4648" fmla="*/ 2140633 w 3009712"/>
                <a:gd name="connsiteY4648" fmla="*/ 393 h 4178187"/>
                <a:gd name="connsiteX4649" fmla="*/ 2137486 w 3009712"/>
                <a:gd name="connsiteY4649" fmla="*/ 787 h 4178187"/>
                <a:gd name="connsiteX4650" fmla="*/ 2134732 w 3009712"/>
                <a:gd name="connsiteY4650" fmla="*/ 2361 h 4178187"/>
                <a:gd name="connsiteX4651" fmla="*/ 2137880 w 3009712"/>
                <a:gd name="connsiteY4651" fmla="*/ 3934 h 4178187"/>
                <a:gd name="connsiteX4652" fmla="*/ 2138666 w 3009712"/>
                <a:gd name="connsiteY4652" fmla="*/ 3934 h 4178187"/>
                <a:gd name="connsiteX4653" fmla="*/ 2137880 w 3009712"/>
                <a:gd name="connsiteY4653" fmla="*/ 4328 h 4178187"/>
                <a:gd name="connsiteX4654" fmla="*/ 2137880 w 3009712"/>
                <a:gd name="connsiteY4654" fmla="*/ 4328 h 4178187"/>
                <a:gd name="connsiteX4655" fmla="*/ 2134732 w 3009712"/>
                <a:gd name="connsiteY4655" fmla="*/ 4721 h 4178187"/>
                <a:gd name="connsiteX4656" fmla="*/ 2131978 w 3009712"/>
                <a:gd name="connsiteY4656" fmla="*/ 5901 h 4178187"/>
                <a:gd name="connsiteX4657" fmla="*/ 2129617 w 3009712"/>
                <a:gd name="connsiteY4657" fmla="*/ 7869 h 4178187"/>
                <a:gd name="connsiteX4658" fmla="*/ 2129224 w 3009712"/>
                <a:gd name="connsiteY4658" fmla="*/ 7869 h 4178187"/>
                <a:gd name="connsiteX4659" fmla="*/ 2126470 w 3009712"/>
                <a:gd name="connsiteY4659" fmla="*/ 7869 h 4178187"/>
                <a:gd name="connsiteX4660" fmla="*/ 2123716 w 3009712"/>
                <a:gd name="connsiteY4660" fmla="*/ 8262 h 4178187"/>
                <a:gd name="connsiteX4661" fmla="*/ 2120569 w 3009712"/>
                <a:gd name="connsiteY4661" fmla="*/ 8655 h 4178187"/>
                <a:gd name="connsiteX4662" fmla="*/ 2117421 w 3009712"/>
                <a:gd name="connsiteY4662" fmla="*/ 10229 h 4178187"/>
                <a:gd name="connsiteX4663" fmla="*/ 2114667 w 3009712"/>
                <a:gd name="connsiteY4663" fmla="*/ 10622 h 4178187"/>
                <a:gd name="connsiteX4664" fmla="*/ 2110733 w 3009712"/>
                <a:gd name="connsiteY4664" fmla="*/ 11803 h 4178187"/>
                <a:gd name="connsiteX4665" fmla="*/ 2113093 w 3009712"/>
                <a:gd name="connsiteY4665" fmla="*/ 12983 h 4178187"/>
                <a:gd name="connsiteX4666" fmla="*/ 2105225 w 3009712"/>
                <a:gd name="connsiteY4666" fmla="*/ 15737 h 4178187"/>
                <a:gd name="connsiteX4667" fmla="*/ 2102864 w 3009712"/>
                <a:gd name="connsiteY4667" fmla="*/ 15737 h 4178187"/>
                <a:gd name="connsiteX4668" fmla="*/ 2099717 w 3009712"/>
                <a:gd name="connsiteY4668" fmla="*/ 16524 h 4178187"/>
                <a:gd name="connsiteX4669" fmla="*/ 2096963 w 3009712"/>
                <a:gd name="connsiteY4669" fmla="*/ 18098 h 4178187"/>
                <a:gd name="connsiteX4670" fmla="*/ 2093816 w 3009712"/>
                <a:gd name="connsiteY4670" fmla="*/ 18491 h 4178187"/>
                <a:gd name="connsiteX4671" fmla="*/ 2091062 w 3009712"/>
                <a:gd name="connsiteY4671" fmla="*/ 18884 h 4178187"/>
                <a:gd name="connsiteX4672" fmla="*/ 2089881 w 3009712"/>
                <a:gd name="connsiteY4672" fmla="*/ 21638 h 4178187"/>
                <a:gd name="connsiteX4673" fmla="*/ 2086734 w 3009712"/>
                <a:gd name="connsiteY4673" fmla="*/ 22425 h 4178187"/>
                <a:gd name="connsiteX4674" fmla="*/ 2085160 w 3009712"/>
                <a:gd name="connsiteY4674" fmla="*/ 25179 h 4178187"/>
                <a:gd name="connsiteX4675" fmla="*/ 2082406 w 3009712"/>
                <a:gd name="connsiteY4675" fmla="*/ 27146 h 4178187"/>
                <a:gd name="connsiteX4676" fmla="*/ 2079259 w 3009712"/>
                <a:gd name="connsiteY4676" fmla="*/ 29114 h 4178187"/>
                <a:gd name="connsiteX4677" fmla="*/ 2076505 w 3009712"/>
                <a:gd name="connsiteY4677" fmla="*/ 30687 h 4178187"/>
                <a:gd name="connsiteX4678" fmla="*/ 2077292 w 3009712"/>
                <a:gd name="connsiteY4678" fmla="*/ 33835 h 4178187"/>
                <a:gd name="connsiteX4679" fmla="*/ 2078865 w 3009712"/>
                <a:gd name="connsiteY4679" fmla="*/ 36589 h 4178187"/>
                <a:gd name="connsiteX4680" fmla="*/ 2080833 w 3009712"/>
                <a:gd name="connsiteY4680" fmla="*/ 36195 h 4178187"/>
                <a:gd name="connsiteX4681" fmla="*/ 2078079 w 3009712"/>
                <a:gd name="connsiteY4681" fmla="*/ 38556 h 4178187"/>
                <a:gd name="connsiteX4682" fmla="*/ 2076111 w 3009712"/>
                <a:gd name="connsiteY4682" fmla="*/ 38949 h 4178187"/>
                <a:gd name="connsiteX4683" fmla="*/ 2073357 w 3009712"/>
                <a:gd name="connsiteY4683" fmla="*/ 40523 h 4178187"/>
                <a:gd name="connsiteX4684" fmla="*/ 2070210 w 3009712"/>
                <a:gd name="connsiteY4684" fmla="*/ 42883 h 4178187"/>
                <a:gd name="connsiteX4685" fmla="*/ 2067456 w 3009712"/>
                <a:gd name="connsiteY4685" fmla="*/ 43277 h 4178187"/>
                <a:gd name="connsiteX4686" fmla="*/ 2064702 w 3009712"/>
                <a:gd name="connsiteY4686" fmla="*/ 44851 h 4178187"/>
                <a:gd name="connsiteX4687" fmla="*/ 2061555 w 3009712"/>
                <a:gd name="connsiteY4687" fmla="*/ 47211 h 4178187"/>
                <a:gd name="connsiteX4688" fmla="*/ 2059194 w 3009712"/>
                <a:gd name="connsiteY4688" fmla="*/ 49965 h 4178187"/>
                <a:gd name="connsiteX4689" fmla="*/ 2058801 w 3009712"/>
                <a:gd name="connsiteY4689" fmla="*/ 52719 h 4178187"/>
                <a:gd name="connsiteX4690" fmla="*/ 2059194 w 3009712"/>
                <a:gd name="connsiteY4690" fmla="*/ 54293 h 4178187"/>
                <a:gd name="connsiteX4691" fmla="*/ 2061948 w 3009712"/>
                <a:gd name="connsiteY4691" fmla="*/ 55473 h 4178187"/>
                <a:gd name="connsiteX4692" fmla="*/ 2059194 w 3009712"/>
                <a:gd name="connsiteY4692" fmla="*/ 57834 h 4178187"/>
                <a:gd name="connsiteX4693" fmla="*/ 2061948 w 3009712"/>
                <a:gd name="connsiteY4693" fmla="*/ 60194 h 4178187"/>
                <a:gd name="connsiteX4694" fmla="*/ 2067849 w 3009712"/>
                <a:gd name="connsiteY4694" fmla="*/ 60194 h 4178187"/>
                <a:gd name="connsiteX4695" fmla="*/ 2070210 w 3009712"/>
                <a:gd name="connsiteY4695" fmla="*/ 63342 h 4178187"/>
                <a:gd name="connsiteX4696" fmla="*/ 2072964 w 3009712"/>
                <a:gd name="connsiteY4696" fmla="*/ 64129 h 4178187"/>
                <a:gd name="connsiteX4697" fmla="*/ 2076111 w 3009712"/>
                <a:gd name="connsiteY4697" fmla="*/ 65309 h 4178187"/>
                <a:gd name="connsiteX4698" fmla="*/ 2078865 w 3009712"/>
                <a:gd name="connsiteY4698" fmla="*/ 66489 h 4178187"/>
                <a:gd name="connsiteX4699" fmla="*/ 2082013 w 3009712"/>
                <a:gd name="connsiteY4699" fmla="*/ 66096 h 4178187"/>
                <a:gd name="connsiteX4700" fmla="*/ 2084767 w 3009712"/>
                <a:gd name="connsiteY4700" fmla="*/ 63735 h 4178187"/>
                <a:gd name="connsiteX4701" fmla="*/ 2085554 w 3009712"/>
                <a:gd name="connsiteY4701" fmla="*/ 64129 h 4178187"/>
                <a:gd name="connsiteX4702" fmla="*/ 2086734 w 3009712"/>
                <a:gd name="connsiteY4702" fmla="*/ 66489 h 4178187"/>
                <a:gd name="connsiteX4703" fmla="*/ 2087127 w 3009712"/>
                <a:gd name="connsiteY4703" fmla="*/ 69243 h 4178187"/>
                <a:gd name="connsiteX4704" fmla="*/ 2090275 w 3009712"/>
                <a:gd name="connsiteY4704" fmla="*/ 70423 h 4178187"/>
                <a:gd name="connsiteX4705" fmla="*/ 2096176 w 3009712"/>
                <a:gd name="connsiteY4705" fmla="*/ 70423 h 4178187"/>
                <a:gd name="connsiteX4706" fmla="*/ 2098143 w 3009712"/>
                <a:gd name="connsiteY4706" fmla="*/ 69243 h 4178187"/>
                <a:gd name="connsiteX4707" fmla="*/ 2103651 w 3009712"/>
                <a:gd name="connsiteY4707" fmla="*/ 71210 h 4178187"/>
                <a:gd name="connsiteX4708" fmla="*/ 2101684 w 3009712"/>
                <a:gd name="connsiteY4708" fmla="*/ 71997 h 4178187"/>
                <a:gd name="connsiteX4709" fmla="*/ 2104832 w 3009712"/>
                <a:gd name="connsiteY4709" fmla="*/ 72390 h 4178187"/>
                <a:gd name="connsiteX4710" fmla="*/ 2106405 w 3009712"/>
                <a:gd name="connsiteY4710" fmla="*/ 71997 h 4178187"/>
                <a:gd name="connsiteX4711" fmla="*/ 2102864 w 3009712"/>
                <a:gd name="connsiteY4711" fmla="*/ 74751 h 4178187"/>
                <a:gd name="connsiteX4712" fmla="*/ 2100110 w 3009712"/>
                <a:gd name="connsiteY4712" fmla="*/ 75538 h 4178187"/>
                <a:gd name="connsiteX4713" fmla="*/ 2097356 w 3009712"/>
                <a:gd name="connsiteY4713" fmla="*/ 77112 h 4178187"/>
                <a:gd name="connsiteX4714" fmla="*/ 2094603 w 3009712"/>
                <a:gd name="connsiteY4714" fmla="*/ 77898 h 4178187"/>
                <a:gd name="connsiteX4715" fmla="*/ 2091849 w 3009712"/>
                <a:gd name="connsiteY4715" fmla="*/ 79079 h 4178187"/>
                <a:gd name="connsiteX4716" fmla="*/ 2093816 w 3009712"/>
                <a:gd name="connsiteY4716" fmla="*/ 76325 h 4178187"/>
                <a:gd name="connsiteX4717" fmla="*/ 2096570 w 3009712"/>
                <a:gd name="connsiteY4717" fmla="*/ 75144 h 4178187"/>
                <a:gd name="connsiteX4718" fmla="*/ 2099717 w 3009712"/>
                <a:gd name="connsiteY4718" fmla="*/ 73571 h 4178187"/>
                <a:gd name="connsiteX4719" fmla="*/ 2102864 w 3009712"/>
                <a:gd name="connsiteY4719" fmla="*/ 72390 h 4178187"/>
                <a:gd name="connsiteX4720" fmla="*/ 2099717 w 3009712"/>
                <a:gd name="connsiteY4720" fmla="*/ 72390 h 4178187"/>
                <a:gd name="connsiteX4721" fmla="*/ 2096963 w 3009712"/>
                <a:gd name="connsiteY4721" fmla="*/ 73571 h 4178187"/>
                <a:gd name="connsiteX4722" fmla="*/ 2094209 w 3009712"/>
                <a:gd name="connsiteY4722" fmla="*/ 73571 h 4178187"/>
                <a:gd name="connsiteX4723" fmla="*/ 2091062 w 3009712"/>
                <a:gd name="connsiteY4723" fmla="*/ 73964 h 4178187"/>
                <a:gd name="connsiteX4724" fmla="*/ 2087914 w 3009712"/>
                <a:gd name="connsiteY4724" fmla="*/ 74358 h 4178187"/>
                <a:gd name="connsiteX4725" fmla="*/ 2084767 w 3009712"/>
                <a:gd name="connsiteY4725" fmla="*/ 74751 h 4178187"/>
                <a:gd name="connsiteX4726" fmla="*/ 2082406 w 3009712"/>
                <a:gd name="connsiteY4726" fmla="*/ 77505 h 4178187"/>
                <a:gd name="connsiteX4727" fmla="*/ 2085947 w 3009712"/>
                <a:gd name="connsiteY4727" fmla="*/ 79472 h 4178187"/>
                <a:gd name="connsiteX4728" fmla="*/ 2082406 w 3009712"/>
                <a:gd name="connsiteY4728" fmla="*/ 80652 h 4178187"/>
                <a:gd name="connsiteX4729" fmla="*/ 2079259 w 3009712"/>
                <a:gd name="connsiteY4729" fmla="*/ 83013 h 4178187"/>
                <a:gd name="connsiteX4730" fmla="*/ 2076111 w 3009712"/>
                <a:gd name="connsiteY4730" fmla="*/ 83406 h 4178187"/>
                <a:gd name="connsiteX4731" fmla="*/ 2073357 w 3009712"/>
                <a:gd name="connsiteY4731" fmla="*/ 84980 h 4178187"/>
                <a:gd name="connsiteX4732" fmla="*/ 2070210 w 3009712"/>
                <a:gd name="connsiteY4732" fmla="*/ 84587 h 4178187"/>
                <a:gd name="connsiteX4733" fmla="*/ 2067849 w 3009712"/>
                <a:gd name="connsiteY4733" fmla="*/ 87341 h 4178187"/>
                <a:gd name="connsiteX4734" fmla="*/ 2065096 w 3009712"/>
                <a:gd name="connsiteY4734" fmla="*/ 89308 h 4178187"/>
                <a:gd name="connsiteX4735" fmla="*/ 2066669 w 3009712"/>
                <a:gd name="connsiteY4735" fmla="*/ 91668 h 4178187"/>
                <a:gd name="connsiteX4736" fmla="*/ 2081619 w 3009712"/>
                <a:gd name="connsiteY4736" fmla="*/ 96389 h 4178187"/>
                <a:gd name="connsiteX4737" fmla="*/ 2078865 w 3009712"/>
                <a:gd name="connsiteY4737" fmla="*/ 97176 h 4178187"/>
                <a:gd name="connsiteX4738" fmla="*/ 2075325 w 3009712"/>
                <a:gd name="connsiteY4738" fmla="*/ 98357 h 4178187"/>
                <a:gd name="connsiteX4739" fmla="*/ 2072571 w 3009712"/>
                <a:gd name="connsiteY4739" fmla="*/ 99143 h 4178187"/>
                <a:gd name="connsiteX4740" fmla="*/ 2069030 w 3009712"/>
                <a:gd name="connsiteY4740" fmla="*/ 99537 h 4178187"/>
                <a:gd name="connsiteX4741" fmla="*/ 2066276 w 3009712"/>
                <a:gd name="connsiteY4741" fmla="*/ 100324 h 4178187"/>
                <a:gd name="connsiteX4742" fmla="*/ 2063522 w 3009712"/>
                <a:gd name="connsiteY4742" fmla="*/ 101897 h 4178187"/>
                <a:gd name="connsiteX4743" fmla="*/ 2060768 w 3009712"/>
                <a:gd name="connsiteY4743" fmla="*/ 103865 h 4178187"/>
                <a:gd name="connsiteX4744" fmla="*/ 2057620 w 3009712"/>
                <a:gd name="connsiteY4744" fmla="*/ 105438 h 4178187"/>
                <a:gd name="connsiteX4745" fmla="*/ 2054866 w 3009712"/>
                <a:gd name="connsiteY4745" fmla="*/ 106225 h 4178187"/>
                <a:gd name="connsiteX4746" fmla="*/ 2052112 w 3009712"/>
                <a:gd name="connsiteY4746" fmla="*/ 107405 h 4178187"/>
                <a:gd name="connsiteX4747" fmla="*/ 2048572 w 3009712"/>
                <a:gd name="connsiteY4747" fmla="*/ 108192 h 4178187"/>
                <a:gd name="connsiteX4748" fmla="*/ 2045818 w 3009712"/>
                <a:gd name="connsiteY4748" fmla="*/ 109766 h 4178187"/>
                <a:gd name="connsiteX4749" fmla="*/ 2043064 w 3009712"/>
                <a:gd name="connsiteY4749" fmla="*/ 111340 h 4178187"/>
                <a:gd name="connsiteX4750" fmla="*/ 2039916 w 3009712"/>
                <a:gd name="connsiteY4750" fmla="*/ 112127 h 4178187"/>
                <a:gd name="connsiteX4751" fmla="*/ 2036769 w 3009712"/>
                <a:gd name="connsiteY4751" fmla="*/ 111733 h 4178187"/>
                <a:gd name="connsiteX4752" fmla="*/ 2033621 w 3009712"/>
                <a:gd name="connsiteY4752" fmla="*/ 111340 h 4178187"/>
                <a:gd name="connsiteX4753" fmla="*/ 2030474 w 3009712"/>
                <a:gd name="connsiteY4753" fmla="*/ 112127 h 4178187"/>
                <a:gd name="connsiteX4754" fmla="*/ 2027326 w 3009712"/>
                <a:gd name="connsiteY4754" fmla="*/ 111340 h 4178187"/>
                <a:gd name="connsiteX4755" fmla="*/ 2024572 w 3009712"/>
                <a:gd name="connsiteY4755" fmla="*/ 113700 h 4178187"/>
                <a:gd name="connsiteX4756" fmla="*/ 2021425 w 3009712"/>
                <a:gd name="connsiteY4756" fmla="*/ 115274 h 4178187"/>
                <a:gd name="connsiteX4757" fmla="*/ 2019065 w 3009712"/>
                <a:gd name="connsiteY4757" fmla="*/ 118028 h 4178187"/>
                <a:gd name="connsiteX4758" fmla="*/ 2015917 w 3009712"/>
                <a:gd name="connsiteY4758" fmla="*/ 119602 h 4178187"/>
                <a:gd name="connsiteX4759" fmla="*/ 2013163 w 3009712"/>
                <a:gd name="connsiteY4759" fmla="*/ 120782 h 4178187"/>
                <a:gd name="connsiteX4760" fmla="*/ 2013557 w 3009712"/>
                <a:gd name="connsiteY4760" fmla="*/ 123536 h 4178187"/>
                <a:gd name="connsiteX4761" fmla="*/ 2015524 w 3009712"/>
                <a:gd name="connsiteY4761" fmla="*/ 126683 h 4178187"/>
                <a:gd name="connsiteX4762" fmla="*/ 2012376 w 3009712"/>
                <a:gd name="connsiteY4762" fmla="*/ 128650 h 4178187"/>
                <a:gd name="connsiteX4763" fmla="*/ 2010803 w 3009712"/>
                <a:gd name="connsiteY4763" fmla="*/ 131404 h 4178187"/>
                <a:gd name="connsiteX4764" fmla="*/ 2012376 w 3009712"/>
                <a:gd name="connsiteY4764" fmla="*/ 134552 h 4178187"/>
                <a:gd name="connsiteX4765" fmla="*/ 2009622 w 3009712"/>
                <a:gd name="connsiteY4765" fmla="*/ 135339 h 4178187"/>
                <a:gd name="connsiteX4766" fmla="*/ 2006868 w 3009712"/>
                <a:gd name="connsiteY4766" fmla="*/ 137699 h 4178187"/>
                <a:gd name="connsiteX4767" fmla="*/ 2004901 w 3009712"/>
                <a:gd name="connsiteY4767" fmla="*/ 138880 h 4178187"/>
                <a:gd name="connsiteX4768" fmla="*/ 2002147 w 3009712"/>
                <a:gd name="connsiteY4768" fmla="*/ 144387 h 4178187"/>
                <a:gd name="connsiteX4769" fmla="*/ 1999000 w 3009712"/>
                <a:gd name="connsiteY4769" fmla="*/ 145961 h 4178187"/>
                <a:gd name="connsiteX4770" fmla="*/ 1996246 w 3009712"/>
                <a:gd name="connsiteY4770" fmla="*/ 145568 h 4178187"/>
                <a:gd name="connsiteX4771" fmla="*/ 1995065 w 3009712"/>
                <a:gd name="connsiteY4771" fmla="*/ 145568 h 4178187"/>
                <a:gd name="connsiteX4772" fmla="*/ 1997033 w 3009712"/>
                <a:gd name="connsiteY4772" fmla="*/ 144387 h 4178187"/>
                <a:gd name="connsiteX4773" fmla="*/ 1999393 w 3009712"/>
                <a:gd name="connsiteY4773" fmla="*/ 143994 h 4178187"/>
                <a:gd name="connsiteX4774" fmla="*/ 2002147 w 3009712"/>
                <a:gd name="connsiteY4774" fmla="*/ 142814 h 4178187"/>
                <a:gd name="connsiteX4775" fmla="*/ 2002934 w 3009712"/>
                <a:gd name="connsiteY4775" fmla="*/ 140453 h 4178187"/>
                <a:gd name="connsiteX4776" fmla="*/ 2004508 w 3009712"/>
                <a:gd name="connsiteY4776" fmla="*/ 137306 h 4178187"/>
                <a:gd name="connsiteX4777" fmla="*/ 2004508 w 3009712"/>
                <a:gd name="connsiteY4777" fmla="*/ 137306 h 4178187"/>
                <a:gd name="connsiteX4778" fmla="*/ 2019458 w 3009712"/>
                <a:gd name="connsiteY4778" fmla="*/ 107405 h 4178187"/>
                <a:gd name="connsiteX4779" fmla="*/ 2022605 w 3009712"/>
                <a:gd name="connsiteY4779" fmla="*/ 105832 h 4178187"/>
                <a:gd name="connsiteX4780" fmla="*/ 2019458 w 3009712"/>
                <a:gd name="connsiteY4780" fmla="*/ 106225 h 4178187"/>
                <a:gd name="connsiteX4781" fmla="*/ 2016704 w 3009712"/>
                <a:gd name="connsiteY4781" fmla="*/ 106619 h 4178187"/>
                <a:gd name="connsiteX4782" fmla="*/ 2011589 w 3009712"/>
                <a:gd name="connsiteY4782" fmla="*/ 105832 h 4178187"/>
                <a:gd name="connsiteX4783" fmla="*/ 2011589 w 3009712"/>
                <a:gd name="connsiteY4783" fmla="*/ 105832 h 4178187"/>
                <a:gd name="connsiteX4784" fmla="*/ 2011196 w 3009712"/>
                <a:gd name="connsiteY4784" fmla="*/ 105832 h 4178187"/>
                <a:gd name="connsiteX4785" fmla="*/ 2009622 w 3009712"/>
                <a:gd name="connsiteY4785" fmla="*/ 105438 h 4178187"/>
                <a:gd name="connsiteX4786" fmla="*/ 2010803 w 3009712"/>
                <a:gd name="connsiteY4786" fmla="*/ 104651 h 4178187"/>
                <a:gd name="connsiteX4787" fmla="*/ 2008049 w 3009712"/>
                <a:gd name="connsiteY4787" fmla="*/ 105045 h 4178187"/>
                <a:gd name="connsiteX4788" fmla="*/ 1999000 w 3009712"/>
                <a:gd name="connsiteY4788" fmla="*/ 103865 h 4178187"/>
                <a:gd name="connsiteX4789" fmla="*/ 1998606 w 3009712"/>
                <a:gd name="connsiteY4789" fmla="*/ 101504 h 4178187"/>
                <a:gd name="connsiteX4790" fmla="*/ 1996246 w 3009712"/>
                <a:gd name="connsiteY4790" fmla="*/ 98750 h 4178187"/>
                <a:gd name="connsiteX4791" fmla="*/ 1993492 w 3009712"/>
                <a:gd name="connsiteY4791" fmla="*/ 98357 h 4178187"/>
                <a:gd name="connsiteX4792" fmla="*/ 1990345 w 3009712"/>
                <a:gd name="connsiteY4792" fmla="*/ 99143 h 4178187"/>
                <a:gd name="connsiteX4793" fmla="*/ 1987591 w 3009712"/>
                <a:gd name="connsiteY4793" fmla="*/ 97570 h 4178187"/>
                <a:gd name="connsiteX4794" fmla="*/ 1984836 w 3009712"/>
                <a:gd name="connsiteY4794" fmla="*/ 97176 h 4178187"/>
                <a:gd name="connsiteX4795" fmla="*/ 1983263 w 3009712"/>
                <a:gd name="connsiteY4795" fmla="*/ 99930 h 4178187"/>
                <a:gd name="connsiteX4796" fmla="*/ 1982082 w 3009712"/>
                <a:gd name="connsiteY4796" fmla="*/ 101504 h 4178187"/>
                <a:gd name="connsiteX4797" fmla="*/ 1979328 w 3009712"/>
                <a:gd name="connsiteY4797" fmla="*/ 102684 h 4178187"/>
                <a:gd name="connsiteX4798" fmla="*/ 1976181 w 3009712"/>
                <a:gd name="connsiteY4798" fmla="*/ 103471 h 4178187"/>
                <a:gd name="connsiteX4799" fmla="*/ 1973034 w 3009712"/>
                <a:gd name="connsiteY4799" fmla="*/ 103865 h 4178187"/>
                <a:gd name="connsiteX4800" fmla="*/ 1970280 w 3009712"/>
                <a:gd name="connsiteY4800" fmla="*/ 101897 h 4178187"/>
                <a:gd name="connsiteX4801" fmla="*/ 1967526 w 3009712"/>
                <a:gd name="connsiteY4801" fmla="*/ 101897 h 4178187"/>
                <a:gd name="connsiteX4802" fmla="*/ 1964772 w 3009712"/>
                <a:gd name="connsiteY4802" fmla="*/ 101504 h 4178187"/>
                <a:gd name="connsiteX4803" fmla="*/ 1964772 w 3009712"/>
                <a:gd name="connsiteY4803" fmla="*/ 104258 h 4178187"/>
                <a:gd name="connsiteX4804" fmla="*/ 1967132 w 3009712"/>
                <a:gd name="connsiteY4804" fmla="*/ 107012 h 4178187"/>
                <a:gd name="connsiteX4805" fmla="*/ 1964378 w 3009712"/>
                <a:gd name="connsiteY4805" fmla="*/ 109766 h 4178187"/>
                <a:gd name="connsiteX4806" fmla="*/ 1964772 w 3009712"/>
                <a:gd name="connsiteY4806" fmla="*/ 106619 h 4178187"/>
                <a:gd name="connsiteX4807" fmla="*/ 1962018 w 3009712"/>
                <a:gd name="connsiteY4807" fmla="*/ 108192 h 4178187"/>
                <a:gd name="connsiteX4808" fmla="*/ 1961624 w 3009712"/>
                <a:gd name="connsiteY4808" fmla="*/ 110946 h 4178187"/>
                <a:gd name="connsiteX4809" fmla="*/ 1963198 w 3009712"/>
                <a:gd name="connsiteY4809" fmla="*/ 113700 h 4178187"/>
                <a:gd name="connsiteX4810" fmla="*/ 1963198 w 3009712"/>
                <a:gd name="connsiteY4810" fmla="*/ 116848 h 4178187"/>
                <a:gd name="connsiteX4811" fmla="*/ 1966345 w 3009712"/>
                <a:gd name="connsiteY4811" fmla="*/ 114880 h 4178187"/>
                <a:gd name="connsiteX4812" fmla="*/ 1969099 w 3009712"/>
                <a:gd name="connsiteY4812" fmla="*/ 113700 h 4178187"/>
                <a:gd name="connsiteX4813" fmla="*/ 1972247 w 3009712"/>
                <a:gd name="connsiteY4813" fmla="*/ 113307 h 4178187"/>
                <a:gd name="connsiteX4814" fmla="*/ 1975001 w 3009712"/>
                <a:gd name="connsiteY4814" fmla="*/ 112913 h 4178187"/>
                <a:gd name="connsiteX4815" fmla="*/ 1978148 w 3009712"/>
                <a:gd name="connsiteY4815" fmla="*/ 111733 h 4178187"/>
                <a:gd name="connsiteX4816" fmla="*/ 1980115 w 3009712"/>
                <a:gd name="connsiteY4816" fmla="*/ 114487 h 4178187"/>
                <a:gd name="connsiteX4817" fmla="*/ 1982082 w 3009712"/>
                <a:gd name="connsiteY4817" fmla="*/ 114880 h 4178187"/>
                <a:gd name="connsiteX4818" fmla="*/ 1982082 w 3009712"/>
                <a:gd name="connsiteY4818" fmla="*/ 118815 h 4178187"/>
                <a:gd name="connsiteX4819" fmla="*/ 1980902 w 3009712"/>
                <a:gd name="connsiteY4819" fmla="*/ 119602 h 4178187"/>
                <a:gd name="connsiteX4820" fmla="*/ 1982082 w 3009712"/>
                <a:gd name="connsiteY4820" fmla="*/ 121175 h 4178187"/>
                <a:gd name="connsiteX4821" fmla="*/ 1979328 w 3009712"/>
                <a:gd name="connsiteY4821" fmla="*/ 121569 h 4178187"/>
                <a:gd name="connsiteX4822" fmla="*/ 1977361 w 3009712"/>
                <a:gd name="connsiteY4822" fmla="*/ 123142 h 4178187"/>
                <a:gd name="connsiteX4823" fmla="*/ 1974607 w 3009712"/>
                <a:gd name="connsiteY4823" fmla="*/ 122749 h 4178187"/>
                <a:gd name="connsiteX4824" fmla="*/ 1974607 w 3009712"/>
                <a:gd name="connsiteY4824" fmla="*/ 122749 h 4178187"/>
                <a:gd name="connsiteX4825" fmla="*/ 1973034 w 3009712"/>
                <a:gd name="connsiteY4825" fmla="*/ 122749 h 4178187"/>
                <a:gd name="connsiteX4826" fmla="*/ 1974214 w 3009712"/>
                <a:gd name="connsiteY4826" fmla="*/ 122356 h 4178187"/>
                <a:gd name="connsiteX4827" fmla="*/ 1977361 w 3009712"/>
                <a:gd name="connsiteY4827" fmla="*/ 120388 h 4178187"/>
                <a:gd name="connsiteX4828" fmla="*/ 1977361 w 3009712"/>
                <a:gd name="connsiteY4828" fmla="*/ 119995 h 4178187"/>
                <a:gd name="connsiteX4829" fmla="*/ 1974214 w 3009712"/>
                <a:gd name="connsiteY4829" fmla="*/ 121175 h 4178187"/>
                <a:gd name="connsiteX4830" fmla="*/ 1972247 w 3009712"/>
                <a:gd name="connsiteY4830" fmla="*/ 122749 h 4178187"/>
                <a:gd name="connsiteX4831" fmla="*/ 1966739 w 3009712"/>
                <a:gd name="connsiteY4831" fmla="*/ 122356 h 4178187"/>
                <a:gd name="connsiteX4832" fmla="*/ 1965558 w 3009712"/>
                <a:gd name="connsiteY4832" fmla="*/ 121569 h 4178187"/>
                <a:gd name="connsiteX4833" fmla="*/ 1962805 w 3009712"/>
                <a:gd name="connsiteY4833" fmla="*/ 119602 h 4178187"/>
                <a:gd name="connsiteX4834" fmla="*/ 1962018 w 3009712"/>
                <a:gd name="connsiteY4834" fmla="*/ 116848 h 4178187"/>
                <a:gd name="connsiteX4835" fmla="*/ 1961624 w 3009712"/>
                <a:gd name="connsiteY4835" fmla="*/ 113700 h 4178187"/>
                <a:gd name="connsiteX4836" fmla="*/ 1960051 w 3009712"/>
                <a:gd name="connsiteY4836" fmla="*/ 110946 h 4178187"/>
                <a:gd name="connsiteX4837" fmla="*/ 1956903 w 3009712"/>
                <a:gd name="connsiteY4837" fmla="*/ 110946 h 4178187"/>
                <a:gd name="connsiteX4838" fmla="*/ 1954149 w 3009712"/>
                <a:gd name="connsiteY4838" fmla="*/ 112913 h 4178187"/>
                <a:gd name="connsiteX4839" fmla="*/ 1954543 w 3009712"/>
                <a:gd name="connsiteY4839" fmla="*/ 115667 h 4178187"/>
                <a:gd name="connsiteX4840" fmla="*/ 1956903 w 3009712"/>
                <a:gd name="connsiteY4840" fmla="*/ 118815 h 4178187"/>
                <a:gd name="connsiteX4841" fmla="*/ 1954149 w 3009712"/>
                <a:gd name="connsiteY4841" fmla="*/ 118815 h 4178187"/>
                <a:gd name="connsiteX4842" fmla="*/ 1951002 w 3009712"/>
                <a:gd name="connsiteY4842" fmla="*/ 119208 h 4178187"/>
                <a:gd name="connsiteX4843" fmla="*/ 1947854 w 3009712"/>
                <a:gd name="connsiteY4843" fmla="*/ 119602 h 4178187"/>
                <a:gd name="connsiteX4844" fmla="*/ 1945101 w 3009712"/>
                <a:gd name="connsiteY4844" fmla="*/ 119602 h 4178187"/>
                <a:gd name="connsiteX4845" fmla="*/ 1944314 w 3009712"/>
                <a:gd name="connsiteY4845" fmla="*/ 119995 h 4178187"/>
                <a:gd name="connsiteX4846" fmla="*/ 1933691 w 3009712"/>
                <a:gd name="connsiteY4846" fmla="*/ 118815 h 4178187"/>
                <a:gd name="connsiteX4847" fmla="*/ 1933298 w 3009712"/>
                <a:gd name="connsiteY4847" fmla="*/ 118421 h 4178187"/>
                <a:gd name="connsiteX4848" fmla="*/ 1930150 w 3009712"/>
                <a:gd name="connsiteY4848" fmla="*/ 118028 h 4178187"/>
                <a:gd name="connsiteX4849" fmla="*/ 1927396 w 3009712"/>
                <a:gd name="connsiteY4849" fmla="*/ 117634 h 4178187"/>
                <a:gd name="connsiteX4850" fmla="*/ 1925823 w 3009712"/>
                <a:gd name="connsiteY4850" fmla="*/ 117634 h 4178187"/>
                <a:gd name="connsiteX4851" fmla="*/ 1921495 w 3009712"/>
                <a:gd name="connsiteY4851" fmla="*/ 117241 h 4178187"/>
                <a:gd name="connsiteX4852" fmla="*/ 1918741 w 3009712"/>
                <a:gd name="connsiteY4852" fmla="*/ 116848 h 4178187"/>
                <a:gd name="connsiteX4853" fmla="*/ 1915987 w 3009712"/>
                <a:gd name="connsiteY4853" fmla="*/ 116454 h 4178187"/>
                <a:gd name="connsiteX4854" fmla="*/ 1913233 w 3009712"/>
                <a:gd name="connsiteY4854" fmla="*/ 116454 h 4178187"/>
                <a:gd name="connsiteX4855" fmla="*/ 1910085 w 3009712"/>
                <a:gd name="connsiteY4855" fmla="*/ 117634 h 4178187"/>
                <a:gd name="connsiteX4856" fmla="*/ 1908118 w 3009712"/>
                <a:gd name="connsiteY4856" fmla="*/ 118028 h 4178187"/>
                <a:gd name="connsiteX4857" fmla="*/ 1905364 w 3009712"/>
                <a:gd name="connsiteY4857" fmla="*/ 117241 h 4178187"/>
                <a:gd name="connsiteX4858" fmla="*/ 1904184 w 3009712"/>
                <a:gd name="connsiteY4858" fmla="*/ 117634 h 4178187"/>
                <a:gd name="connsiteX4859" fmla="*/ 1854219 w 3009712"/>
                <a:gd name="connsiteY4859" fmla="*/ 112520 h 4178187"/>
                <a:gd name="connsiteX4860" fmla="*/ 1853826 w 3009712"/>
                <a:gd name="connsiteY4860" fmla="*/ 112127 h 4178187"/>
                <a:gd name="connsiteX4861" fmla="*/ 1856186 w 3009712"/>
                <a:gd name="connsiteY4861" fmla="*/ 108979 h 4178187"/>
                <a:gd name="connsiteX4862" fmla="*/ 1853432 w 3009712"/>
                <a:gd name="connsiteY4862" fmla="*/ 108192 h 4178187"/>
                <a:gd name="connsiteX4863" fmla="*/ 1850678 w 3009712"/>
                <a:gd name="connsiteY4863" fmla="*/ 110553 h 4178187"/>
                <a:gd name="connsiteX4864" fmla="*/ 1847924 w 3009712"/>
                <a:gd name="connsiteY4864" fmla="*/ 110553 h 4178187"/>
                <a:gd name="connsiteX4865" fmla="*/ 1844777 w 3009712"/>
                <a:gd name="connsiteY4865" fmla="*/ 111340 h 4178187"/>
                <a:gd name="connsiteX4866" fmla="*/ 1843990 w 3009712"/>
                <a:gd name="connsiteY4866" fmla="*/ 111340 h 4178187"/>
                <a:gd name="connsiteX4867" fmla="*/ 1840449 w 3009712"/>
                <a:gd name="connsiteY4867" fmla="*/ 110946 h 4178187"/>
                <a:gd name="connsiteX4868" fmla="*/ 1835728 w 3009712"/>
                <a:gd name="connsiteY4868" fmla="*/ 111733 h 4178187"/>
                <a:gd name="connsiteX4869" fmla="*/ 1832580 w 3009712"/>
                <a:gd name="connsiteY4869" fmla="*/ 110946 h 4178187"/>
                <a:gd name="connsiteX4870" fmla="*/ 1829826 w 3009712"/>
                <a:gd name="connsiteY4870" fmla="*/ 111340 h 4178187"/>
                <a:gd name="connsiteX4871" fmla="*/ 1829433 w 3009712"/>
                <a:gd name="connsiteY4871" fmla="*/ 108586 h 4178187"/>
                <a:gd name="connsiteX4872" fmla="*/ 1832187 w 3009712"/>
                <a:gd name="connsiteY4872" fmla="*/ 105438 h 4178187"/>
                <a:gd name="connsiteX4873" fmla="*/ 1829040 w 3009712"/>
                <a:gd name="connsiteY4873" fmla="*/ 105045 h 4178187"/>
                <a:gd name="connsiteX4874" fmla="*/ 1826286 w 3009712"/>
                <a:gd name="connsiteY4874" fmla="*/ 105438 h 4178187"/>
                <a:gd name="connsiteX4875" fmla="*/ 1829040 w 3009712"/>
                <a:gd name="connsiteY4875" fmla="*/ 103078 h 4178187"/>
                <a:gd name="connsiteX4876" fmla="*/ 1826286 w 3009712"/>
                <a:gd name="connsiteY4876" fmla="*/ 103471 h 4178187"/>
                <a:gd name="connsiteX4877" fmla="*/ 1823138 w 3009712"/>
                <a:gd name="connsiteY4877" fmla="*/ 105045 h 4178187"/>
                <a:gd name="connsiteX4878" fmla="*/ 1820384 w 3009712"/>
                <a:gd name="connsiteY4878" fmla="*/ 103078 h 4178187"/>
                <a:gd name="connsiteX4879" fmla="*/ 1817237 w 3009712"/>
                <a:gd name="connsiteY4879" fmla="*/ 100717 h 4178187"/>
                <a:gd name="connsiteX4880" fmla="*/ 1820384 w 3009712"/>
                <a:gd name="connsiteY4880" fmla="*/ 98750 h 4178187"/>
                <a:gd name="connsiteX4881" fmla="*/ 1823138 w 3009712"/>
                <a:gd name="connsiteY4881" fmla="*/ 98750 h 4178187"/>
                <a:gd name="connsiteX4882" fmla="*/ 1823532 w 3009712"/>
                <a:gd name="connsiteY4882" fmla="*/ 95603 h 4178187"/>
                <a:gd name="connsiteX4883" fmla="*/ 1824712 w 3009712"/>
                <a:gd name="connsiteY4883" fmla="*/ 92849 h 4178187"/>
                <a:gd name="connsiteX4884" fmla="*/ 1826286 w 3009712"/>
                <a:gd name="connsiteY4884" fmla="*/ 90095 h 4178187"/>
                <a:gd name="connsiteX4885" fmla="*/ 1824712 w 3009712"/>
                <a:gd name="connsiteY4885" fmla="*/ 86947 h 4178187"/>
                <a:gd name="connsiteX4886" fmla="*/ 1821565 w 3009712"/>
                <a:gd name="connsiteY4886" fmla="*/ 86947 h 4178187"/>
                <a:gd name="connsiteX4887" fmla="*/ 1818810 w 3009712"/>
                <a:gd name="connsiteY4887" fmla="*/ 85374 h 4178187"/>
                <a:gd name="connsiteX4888" fmla="*/ 1815663 w 3009712"/>
                <a:gd name="connsiteY4888" fmla="*/ 85767 h 4178187"/>
                <a:gd name="connsiteX4889" fmla="*/ 1812909 w 3009712"/>
                <a:gd name="connsiteY4889" fmla="*/ 86554 h 4178187"/>
                <a:gd name="connsiteX4890" fmla="*/ 1809762 w 3009712"/>
                <a:gd name="connsiteY4890" fmla="*/ 86947 h 4178187"/>
                <a:gd name="connsiteX4891" fmla="*/ 1807008 w 3009712"/>
                <a:gd name="connsiteY4891" fmla="*/ 87341 h 4178187"/>
                <a:gd name="connsiteX4892" fmla="*/ 1803860 w 3009712"/>
                <a:gd name="connsiteY4892" fmla="*/ 88128 h 4178187"/>
                <a:gd name="connsiteX4893" fmla="*/ 1801106 w 3009712"/>
                <a:gd name="connsiteY4893" fmla="*/ 88128 h 4178187"/>
                <a:gd name="connsiteX4894" fmla="*/ 1797959 w 3009712"/>
                <a:gd name="connsiteY4894" fmla="*/ 88521 h 4178187"/>
                <a:gd name="connsiteX4895" fmla="*/ 1795205 w 3009712"/>
                <a:gd name="connsiteY4895" fmla="*/ 88914 h 4178187"/>
                <a:gd name="connsiteX4896" fmla="*/ 1792451 w 3009712"/>
                <a:gd name="connsiteY4896" fmla="*/ 89701 h 4178187"/>
                <a:gd name="connsiteX4897" fmla="*/ 1789303 w 3009712"/>
                <a:gd name="connsiteY4897" fmla="*/ 90095 h 4178187"/>
                <a:gd name="connsiteX4898" fmla="*/ 1786549 w 3009712"/>
                <a:gd name="connsiteY4898" fmla="*/ 90881 h 4178187"/>
                <a:gd name="connsiteX4899" fmla="*/ 1783796 w 3009712"/>
                <a:gd name="connsiteY4899" fmla="*/ 91275 h 4178187"/>
                <a:gd name="connsiteX4900" fmla="*/ 1780648 w 3009712"/>
                <a:gd name="connsiteY4900" fmla="*/ 91668 h 4178187"/>
                <a:gd name="connsiteX4901" fmla="*/ 1777894 w 3009712"/>
                <a:gd name="connsiteY4901" fmla="*/ 92062 h 4178187"/>
                <a:gd name="connsiteX4902" fmla="*/ 1774747 w 3009712"/>
                <a:gd name="connsiteY4902" fmla="*/ 92455 h 4178187"/>
                <a:gd name="connsiteX4903" fmla="*/ 1771993 w 3009712"/>
                <a:gd name="connsiteY4903" fmla="*/ 92849 h 4178187"/>
                <a:gd name="connsiteX4904" fmla="*/ 1769239 w 3009712"/>
                <a:gd name="connsiteY4904" fmla="*/ 92849 h 4178187"/>
                <a:gd name="connsiteX4905" fmla="*/ 1766091 w 3009712"/>
                <a:gd name="connsiteY4905" fmla="*/ 93242 h 4178187"/>
                <a:gd name="connsiteX4906" fmla="*/ 1763337 w 3009712"/>
                <a:gd name="connsiteY4906" fmla="*/ 93635 h 4178187"/>
                <a:gd name="connsiteX4907" fmla="*/ 1760190 w 3009712"/>
                <a:gd name="connsiteY4907" fmla="*/ 94422 h 4178187"/>
                <a:gd name="connsiteX4908" fmla="*/ 1757042 w 3009712"/>
                <a:gd name="connsiteY4908" fmla="*/ 95996 h 4178187"/>
                <a:gd name="connsiteX4909" fmla="*/ 1753895 w 3009712"/>
                <a:gd name="connsiteY4909" fmla="*/ 97570 h 4178187"/>
                <a:gd name="connsiteX4910" fmla="*/ 1750748 w 3009712"/>
                <a:gd name="connsiteY4910" fmla="*/ 99143 h 4178187"/>
                <a:gd name="connsiteX4911" fmla="*/ 1747994 w 3009712"/>
                <a:gd name="connsiteY4911" fmla="*/ 100324 h 4178187"/>
                <a:gd name="connsiteX4912" fmla="*/ 1745240 w 3009712"/>
                <a:gd name="connsiteY4912" fmla="*/ 101111 h 4178187"/>
                <a:gd name="connsiteX4913" fmla="*/ 1742092 w 3009712"/>
                <a:gd name="connsiteY4913" fmla="*/ 102684 h 4178187"/>
                <a:gd name="connsiteX4914" fmla="*/ 1744846 w 3009712"/>
                <a:gd name="connsiteY4914" fmla="*/ 103471 h 4178187"/>
                <a:gd name="connsiteX4915" fmla="*/ 1747994 w 3009712"/>
                <a:gd name="connsiteY4915" fmla="*/ 102684 h 4178187"/>
                <a:gd name="connsiteX4916" fmla="*/ 1746420 w 3009712"/>
                <a:gd name="connsiteY4916" fmla="*/ 105438 h 4178187"/>
                <a:gd name="connsiteX4917" fmla="*/ 1749174 w 3009712"/>
                <a:gd name="connsiteY4917" fmla="*/ 104258 h 4178187"/>
                <a:gd name="connsiteX4918" fmla="*/ 1746420 w 3009712"/>
                <a:gd name="connsiteY4918" fmla="*/ 106225 h 4178187"/>
                <a:gd name="connsiteX4919" fmla="*/ 1749174 w 3009712"/>
                <a:gd name="connsiteY4919" fmla="*/ 106619 h 4178187"/>
                <a:gd name="connsiteX4920" fmla="*/ 1751928 w 3009712"/>
                <a:gd name="connsiteY4920" fmla="*/ 105832 h 4178187"/>
                <a:gd name="connsiteX4921" fmla="*/ 1755075 w 3009712"/>
                <a:gd name="connsiteY4921" fmla="*/ 105832 h 4178187"/>
                <a:gd name="connsiteX4922" fmla="*/ 1757829 w 3009712"/>
                <a:gd name="connsiteY4922" fmla="*/ 106225 h 4178187"/>
                <a:gd name="connsiteX4923" fmla="*/ 1760977 w 3009712"/>
                <a:gd name="connsiteY4923" fmla="*/ 105438 h 4178187"/>
                <a:gd name="connsiteX4924" fmla="*/ 1763731 w 3009712"/>
                <a:gd name="connsiteY4924" fmla="*/ 105832 h 4178187"/>
                <a:gd name="connsiteX4925" fmla="*/ 1760977 w 3009712"/>
                <a:gd name="connsiteY4925" fmla="*/ 103078 h 4178187"/>
                <a:gd name="connsiteX4926" fmla="*/ 1764124 w 3009712"/>
                <a:gd name="connsiteY4926" fmla="*/ 101111 h 4178187"/>
                <a:gd name="connsiteX4927" fmla="*/ 1767272 w 3009712"/>
                <a:gd name="connsiteY4927" fmla="*/ 101111 h 4178187"/>
                <a:gd name="connsiteX4928" fmla="*/ 1770026 w 3009712"/>
                <a:gd name="connsiteY4928" fmla="*/ 100717 h 4178187"/>
                <a:gd name="connsiteX4929" fmla="*/ 1773173 w 3009712"/>
                <a:gd name="connsiteY4929" fmla="*/ 101504 h 4178187"/>
                <a:gd name="connsiteX4930" fmla="*/ 1775927 w 3009712"/>
                <a:gd name="connsiteY4930" fmla="*/ 103078 h 4178187"/>
                <a:gd name="connsiteX4931" fmla="*/ 1779074 w 3009712"/>
                <a:gd name="connsiteY4931" fmla="*/ 101897 h 4178187"/>
                <a:gd name="connsiteX4932" fmla="*/ 1781829 w 3009712"/>
                <a:gd name="connsiteY4932" fmla="*/ 101111 h 4178187"/>
                <a:gd name="connsiteX4933" fmla="*/ 1784976 w 3009712"/>
                <a:gd name="connsiteY4933" fmla="*/ 99930 h 4178187"/>
                <a:gd name="connsiteX4934" fmla="*/ 1787730 w 3009712"/>
                <a:gd name="connsiteY4934" fmla="*/ 99930 h 4178187"/>
                <a:gd name="connsiteX4935" fmla="*/ 1790484 w 3009712"/>
                <a:gd name="connsiteY4935" fmla="*/ 100717 h 4178187"/>
                <a:gd name="connsiteX4936" fmla="*/ 1793631 w 3009712"/>
                <a:gd name="connsiteY4936" fmla="*/ 100324 h 4178187"/>
                <a:gd name="connsiteX4937" fmla="*/ 1794025 w 3009712"/>
                <a:gd name="connsiteY4937" fmla="*/ 97570 h 4178187"/>
                <a:gd name="connsiteX4938" fmla="*/ 1797172 w 3009712"/>
                <a:gd name="connsiteY4938" fmla="*/ 97570 h 4178187"/>
                <a:gd name="connsiteX4939" fmla="*/ 1799926 w 3009712"/>
                <a:gd name="connsiteY4939" fmla="*/ 96389 h 4178187"/>
                <a:gd name="connsiteX4940" fmla="*/ 1802680 w 3009712"/>
                <a:gd name="connsiteY4940" fmla="*/ 94816 h 4178187"/>
                <a:gd name="connsiteX4941" fmla="*/ 1805827 w 3009712"/>
                <a:gd name="connsiteY4941" fmla="*/ 94422 h 4178187"/>
                <a:gd name="connsiteX4942" fmla="*/ 1808581 w 3009712"/>
                <a:gd name="connsiteY4942" fmla="*/ 94029 h 4178187"/>
                <a:gd name="connsiteX4943" fmla="*/ 1811336 w 3009712"/>
                <a:gd name="connsiteY4943" fmla="*/ 93242 h 4178187"/>
                <a:gd name="connsiteX4944" fmla="*/ 1814089 w 3009712"/>
                <a:gd name="connsiteY4944" fmla="*/ 92849 h 4178187"/>
                <a:gd name="connsiteX4945" fmla="*/ 1817237 w 3009712"/>
                <a:gd name="connsiteY4945" fmla="*/ 93242 h 4178187"/>
                <a:gd name="connsiteX4946" fmla="*/ 1819991 w 3009712"/>
                <a:gd name="connsiteY4946" fmla="*/ 92849 h 4178187"/>
                <a:gd name="connsiteX4947" fmla="*/ 1816843 w 3009712"/>
                <a:gd name="connsiteY4947" fmla="*/ 94816 h 4178187"/>
                <a:gd name="connsiteX4948" fmla="*/ 1814483 w 3009712"/>
                <a:gd name="connsiteY4948" fmla="*/ 97570 h 4178187"/>
                <a:gd name="connsiteX4949" fmla="*/ 1811729 w 3009712"/>
                <a:gd name="connsiteY4949" fmla="*/ 99143 h 4178187"/>
                <a:gd name="connsiteX4950" fmla="*/ 1808581 w 3009712"/>
                <a:gd name="connsiteY4950" fmla="*/ 99143 h 4178187"/>
                <a:gd name="connsiteX4951" fmla="*/ 1805827 w 3009712"/>
                <a:gd name="connsiteY4951" fmla="*/ 99537 h 4178187"/>
                <a:gd name="connsiteX4952" fmla="*/ 1799926 w 3009712"/>
                <a:gd name="connsiteY4952" fmla="*/ 102291 h 4178187"/>
                <a:gd name="connsiteX4953" fmla="*/ 1796779 w 3009712"/>
                <a:gd name="connsiteY4953" fmla="*/ 101897 h 4178187"/>
                <a:gd name="connsiteX4954" fmla="*/ 1793631 w 3009712"/>
                <a:gd name="connsiteY4954" fmla="*/ 103078 h 4178187"/>
                <a:gd name="connsiteX4955" fmla="*/ 1790877 w 3009712"/>
                <a:gd name="connsiteY4955" fmla="*/ 103471 h 4178187"/>
                <a:gd name="connsiteX4956" fmla="*/ 1788123 w 3009712"/>
                <a:gd name="connsiteY4956" fmla="*/ 105832 h 4178187"/>
                <a:gd name="connsiteX4957" fmla="*/ 1785369 w 3009712"/>
                <a:gd name="connsiteY4957" fmla="*/ 105832 h 4178187"/>
                <a:gd name="connsiteX4958" fmla="*/ 1782222 w 3009712"/>
                <a:gd name="connsiteY4958" fmla="*/ 108192 h 4178187"/>
                <a:gd name="connsiteX4959" fmla="*/ 1779074 w 3009712"/>
                <a:gd name="connsiteY4959" fmla="*/ 108979 h 4178187"/>
                <a:gd name="connsiteX4960" fmla="*/ 1777894 w 3009712"/>
                <a:gd name="connsiteY4960" fmla="*/ 110159 h 4178187"/>
                <a:gd name="connsiteX4961" fmla="*/ 1774747 w 3009712"/>
                <a:gd name="connsiteY4961" fmla="*/ 109766 h 4178187"/>
                <a:gd name="connsiteX4962" fmla="*/ 1771993 w 3009712"/>
                <a:gd name="connsiteY4962" fmla="*/ 110159 h 4178187"/>
                <a:gd name="connsiteX4963" fmla="*/ 1768845 w 3009712"/>
                <a:gd name="connsiteY4963" fmla="*/ 109766 h 4178187"/>
                <a:gd name="connsiteX4964" fmla="*/ 1766091 w 3009712"/>
                <a:gd name="connsiteY4964" fmla="*/ 110553 h 4178187"/>
                <a:gd name="connsiteX4965" fmla="*/ 1762944 w 3009712"/>
                <a:gd name="connsiteY4965" fmla="*/ 111340 h 4178187"/>
                <a:gd name="connsiteX4966" fmla="*/ 1756649 w 3009712"/>
                <a:gd name="connsiteY4966" fmla="*/ 111340 h 4178187"/>
                <a:gd name="connsiteX4967" fmla="*/ 1753895 w 3009712"/>
                <a:gd name="connsiteY4967" fmla="*/ 112127 h 4178187"/>
                <a:gd name="connsiteX4968" fmla="*/ 1751141 w 3009712"/>
                <a:gd name="connsiteY4968" fmla="*/ 112520 h 4178187"/>
                <a:gd name="connsiteX4969" fmla="*/ 1753895 w 3009712"/>
                <a:gd name="connsiteY4969" fmla="*/ 111340 h 4178187"/>
                <a:gd name="connsiteX4970" fmla="*/ 1751141 w 3009712"/>
                <a:gd name="connsiteY4970" fmla="*/ 110946 h 4178187"/>
                <a:gd name="connsiteX4971" fmla="*/ 1749961 w 3009712"/>
                <a:gd name="connsiteY4971" fmla="*/ 113700 h 4178187"/>
                <a:gd name="connsiteX4972" fmla="*/ 1753108 w 3009712"/>
                <a:gd name="connsiteY4972" fmla="*/ 114094 h 4178187"/>
                <a:gd name="connsiteX4973" fmla="*/ 1749961 w 3009712"/>
                <a:gd name="connsiteY4973" fmla="*/ 115667 h 4178187"/>
                <a:gd name="connsiteX4974" fmla="*/ 1747207 w 3009712"/>
                <a:gd name="connsiteY4974" fmla="*/ 116061 h 4178187"/>
                <a:gd name="connsiteX4975" fmla="*/ 1744453 w 3009712"/>
                <a:gd name="connsiteY4975" fmla="*/ 116454 h 4178187"/>
                <a:gd name="connsiteX4976" fmla="*/ 1741699 w 3009712"/>
                <a:gd name="connsiteY4976" fmla="*/ 118028 h 4178187"/>
                <a:gd name="connsiteX4977" fmla="*/ 1738945 w 3009712"/>
                <a:gd name="connsiteY4977" fmla="*/ 120388 h 4178187"/>
                <a:gd name="connsiteX4978" fmla="*/ 1739338 w 3009712"/>
                <a:gd name="connsiteY4978" fmla="*/ 122749 h 4178187"/>
                <a:gd name="connsiteX4979" fmla="*/ 1733044 w 3009712"/>
                <a:gd name="connsiteY4979" fmla="*/ 127470 h 4178187"/>
                <a:gd name="connsiteX4980" fmla="*/ 1731076 w 3009712"/>
                <a:gd name="connsiteY4980" fmla="*/ 128257 h 4178187"/>
                <a:gd name="connsiteX4981" fmla="*/ 1728322 w 3009712"/>
                <a:gd name="connsiteY4981" fmla="*/ 131011 h 4178187"/>
                <a:gd name="connsiteX4982" fmla="*/ 1725962 w 3009712"/>
                <a:gd name="connsiteY4982" fmla="*/ 132585 h 4178187"/>
                <a:gd name="connsiteX4983" fmla="*/ 1723208 w 3009712"/>
                <a:gd name="connsiteY4983" fmla="*/ 129831 h 4178187"/>
                <a:gd name="connsiteX4984" fmla="*/ 1720454 w 3009712"/>
                <a:gd name="connsiteY4984" fmla="*/ 129437 h 4178187"/>
                <a:gd name="connsiteX4985" fmla="*/ 1717700 w 3009712"/>
                <a:gd name="connsiteY4985" fmla="*/ 131011 h 4178187"/>
                <a:gd name="connsiteX4986" fmla="*/ 1721634 w 3009712"/>
                <a:gd name="connsiteY4986" fmla="*/ 125503 h 4178187"/>
                <a:gd name="connsiteX4987" fmla="*/ 1718880 w 3009712"/>
                <a:gd name="connsiteY4987" fmla="*/ 124323 h 4178187"/>
                <a:gd name="connsiteX4988" fmla="*/ 1716126 w 3009712"/>
                <a:gd name="connsiteY4988" fmla="*/ 127470 h 4178187"/>
                <a:gd name="connsiteX4989" fmla="*/ 1712979 w 3009712"/>
                <a:gd name="connsiteY4989" fmla="*/ 129831 h 4178187"/>
                <a:gd name="connsiteX4990" fmla="*/ 1710225 w 3009712"/>
                <a:gd name="connsiteY4990" fmla="*/ 131404 h 4178187"/>
                <a:gd name="connsiteX4991" fmla="*/ 1709438 w 3009712"/>
                <a:gd name="connsiteY4991" fmla="*/ 129831 h 4178187"/>
                <a:gd name="connsiteX4992" fmla="*/ 1709438 w 3009712"/>
                <a:gd name="connsiteY4992" fmla="*/ 127470 h 4178187"/>
                <a:gd name="connsiteX4993" fmla="*/ 1712585 w 3009712"/>
                <a:gd name="connsiteY4993" fmla="*/ 126683 h 4178187"/>
                <a:gd name="connsiteX4994" fmla="*/ 1714159 w 3009712"/>
                <a:gd name="connsiteY4994" fmla="*/ 123536 h 4178187"/>
                <a:gd name="connsiteX4995" fmla="*/ 1714552 w 3009712"/>
                <a:gd name="connsiteY4995" fmla="*/ 120782 h 4178187"/>
                <a:gd name="connsiteX4996" fmla="*/ 1711405 w 3009712"/>
                <a:gd name="connsiteY4996" fmla="*/ 120388 h 4178187"/>
                <a:gd name="connsiteX4997" fmla="*/ 1708651 w 3009712"/>
                <a:gd name="connsiteY4997" fmla="*/ 119995 h 4178187"/>
                <a:gd name="connsiteX4998" fmla="*/ 1705504 w 3009712"/>
                <a:gd name="connsiteY4998" fmla="*/ 120388 h 4178187"/>
                <a:gd name="connsiteX4999" fmla="*/ 1703143 w 3009712"/>
                <a:gd name="connsiteY4999" fmla="*/ 121175 h 4178187"/>
                <a:gd name="connsiteX5000" fmla="*/ 1702750 w 3009712"/>
                <a:gd name="connsiteY5000" fmla="*/ 120782 h 4178187"/>
                <a:gd name="connsiteX5001" fmla="*/ 1703143 w 3009712"/>
                <a:gd name="connsiteY5001" fmla="*/ 118421 h 4178187"/>
                <a:gd name="connsiteX5002" fmla="*/ 1700389 w 3009712"/>
                <a:gd name="connsiteY5002" fmla="*/ 116061 h 4178187"/>
                <a:gd name="connsiteX5003" fmla="*/ 1698815 w 3009712"/>
                <a:gd name="connsiteY5003" fmla="*/ 116848 h 4178187"/>
                <a:gd name="connsiteX5004" fmla="*/ 1699209 w 3009712"/>
                <a:gd name="connsiteY5004" fmla="*/ 116454 h 4178187"/>
                <a:gd name="connsiteX5005" fmla="*/ 1701963 w 3009712"/>
                <a:gd name="connsiteY5005" fmla="*/ 114487 h 4178187"/>
                <a:gd name="connsiteX5006" fmla="*/ 1702356 w 3009712"/>
                <a:gd name="connsiteY5006" fmla="*/ 113307 h 4178187"/>
                <a:gd name="connsiteX5007" fmla="*/ 1699209 w 3009712"/>
                <a:gd name="connsiteY5007" fmla="*/ 112913 h 4178187"/>
                <a:gd name="connsiteX5008" fmla="*/ 1697635 w 3009712"/>
                <a:gd name="connsiteY5008" fmla="*/ 114094 h 4178187"/>
                <a:gd name="connsiteX5009" fmla="*/ 1694094 w 3009712"/>
                <a:gd name="connsiteY5009" fmla="*/ 114487 h 4178187"/>
                <a:gd name="connsiteX5010" fmla="*/ 1693308 w 3009712"/>
                <a:gd name="connsiteY5010" fmla="*/ 114094 h 4178187"/>
                <a:gd name="connsiteX5011" fmla="*/ 1690160 w 3009712"/>
                <a:gd name="connsiteY5011" fmla="*/ 114487 h 4178187"/>
                <a:gd name="connsiteX5012" fmla="*/ 1687013 w 3009712"/>
                <a:gd name="connsiteY5012" fmla="*/ 115667 h 4178187"/>
                <a:gd name="connsiteX5013" fmla="*/ 1685832 w 3009712"/>
                <a:gd name="connsiteY5013" fmla="*/ 116061 h 4178187"/>
                <a:gd name="connsiteX5014" fmla="*/ 1670882 w 3009712"/>
                <a:gd name="connsiteY5014" fmla="*/ 118421 h 4178187"/>
                <a:gd name="connsiteX5015" fmla="*/ 1672456 w 3009712"/>
                <a:gd name="connsiteY5015" fmla="*/ 117241 h 4178187"/>
                <a:gd name="connsiteX5016" fmla="*/ 1669308 w 3009712"/>
                <a:gd name="connsiteY5016" fmla="*/ 117634 h 4178187"/>
                <a:gd name="connsiteX5017" fmla="*/ 1666161 w 3009712"/>
                <a:gd name="connsiteY5017" fmla="*/ 118421 h 4178187"/>
                <a:gd name="connsiteX5018" fmla="*/ 1664587 w 3009712"/>
                <a:gd name="connsiteY5018" fmla="*/ 119208 h 4178187"/>
                <a:gd name="connsiteX5019" fmla="*/ 1660653 w 3009712"/>
                <a:gd name="connsiteY5019" fmla="*/ 119995 h 4178187"/>
                <a:gd name="connsiteX5020" fmla="*/ 1660260 w 3009712"/>
                <a:gd name="connsiteY5020" fmla="*/ 119995 h 4178187"/>
                <a:gd name="connsiteX5021" fmla="*/ 1657506 w 3009712"/>
                <a:gd name="connsiteY5021" fmla="*/ 120388 h 4178187"/>
                <a:gd name="connsiteX5022" fmla="*/ 1654358 w 3009712"/>
                <a:gd name="connsiteY5022" fmla="*/ 119995 h 4178187"/>
                <a:gd name="connsiteX5023" fmla="*/ 1651604 w 3009712"/>
                <a:gd name="connsiteY5023" fmla="*/ 121962 h 4178187"/>
                <a:gd name="connsiteX5024" fmla="*/ 1651211 w 3009712"/>
                <a:gd name="connsiteY5024" fmla="*/ 121962 h 4178187"/>
                <a:gd name="connsiteX5025" fmla="*/ 1648064 w 3009712"/>
                <a:gd name="connsiteY5025" fmla="*/ 120388 h 4178187"/>
                <a:gd name="connsiteX5026" fmla="*/ 1642555 w 3009712"/>
                <a:gd name="connsiteY5026" fmla="*/ 120388 h 4178187"/>
                <a:gd name="connsiteX5027" fmla="*/ 1640588 w 3009712"/>
                <a:gd name="connsiteY5027" fmla="*/ 121175 h 4178187"/>
                <a:gd name="connsiteX5028" fmla="*/ 1593377 w 3009712"/>
                <a:gd name="connsiteY5028" fmla="*/ 118815 h 4178187"/>
                <a:gd name="connsiteX5029" fmla="*/ 1591410 w 3009712"/>
                <a:gd name="connsiteY5029" fmla="*/ 117634 h 4178187"/>
                <a:gd name="connsiteX5030" fmla="*/ 1588656 w 3009712"/>
                <a:gd name="connsiteY5030" fmla="*/ 118028 h 4178187"/>
                <a:gd name="connsiteX5031" fmla="*/ 1587082 w 3009712"/>
                <a:gd name="connsiteY5031" fmla="*/ 118028 h 4178187"/>
                <a:gd name="connsiteX5032" fmla="*/ 1583935 w 3009712"/>
                <a:gd name="connsiteY5032" fmla="*/ 118028 h 4178187"/>
                <a:gd name="connsiteX5033" fmla="*/ 1599279 w 3009712"/>
                <a:gd name="connsiteY5033" fmla="*/ 107799 h 4178187"/>
                <a:gd name="connsiteX5034" fmla="*/ 1600065 w 3009712"/>
                <a:gd name="connsiteY5034" fmla="*/ 107799 h 4178187"/>
                <a:gd name="connsiteX5035" fmla="*/ 1603213 w 3009712"/>
                <a:gd name="connsiteY5035" fmla="*/ 106619 h 4178187"/>
                <a:gd name="connsiteX5036" fmla="*/ 1603213 w 3009712"/>
                <a:gd name="connsiteY5036" fmla="*/ 106225 h 4178187"/>
                <a:gd name="connsiteX5037" fmla="*/ 1605967 w 3009712"/>
                <a:gd name="connsiteY5037" fmla="*/ 105832 h 4178187"/>
                <a:gd name="connsiteX5038" fmla="*/ 1609114 w 3009712"/>
                <a:gd name="connsiteY5038" fmla="*/ 106225 h 4178187"/>
                <a:gd name="connsiteX5039" fmla="*/ 1611868 w 3009712"/>
                <a:gd name="connsiteY5039" fmla="*/ 105832 h 4178187"/>
                <a:gd name="connsiteX5040" fmla="*/ 1615016 w 3009712"/>
                <a:gd name="connsiteY5040" fmla="*/ 107012 h 4178187"/>
                <a:gd name="connsiteX5041" fmla="*/ 1617770 w 3009712"/>
                <a:gd name="connsiteY5041" fmla="*/ 106225 h 4178187"/>
                <a:gd name="connsiteX5042" fmla="*/ 1620917 w 3009712"/>
                <a:gd name="connsiteY5042" fmla="*/ 106619 h 4178187"/>
                <a:gd name="connsiteX5043" fmla="*/ 1623671 w 3009712"/>
                <a:gd name="connsiteY5043" fmla="*/ 104258 h 4178187"/>
                <a:gd name="connsiteX5044" fmla="*/ 1626818 w 3009712"/>
                <a:gd name="connsiteY5044" fmla="*/ 103078 h 4178187"/>
                <a:gd name="connsiteX5045" fmla="*/ 1627605 w 3009712"/>
                <a:gd name="connsiteY5045" fmla="*/ 99930 h 4178187"/>
                <a:gd name="connsiteX5046" fmla="*/ 1627999 w 3009712"/>
                <a:gd name="connsiteY5046" fmla="*/ 97176 h 4178187"/>
                <a:gd name="connsiteX5047" fmla="*/ 1624851 w 3009712"/>
                <a:gd name="connsiteY5047" fmla="*/ 95996 h 4178187"/>
                <a:gd name="connsiteX5048" fmla="*/ 1625245 w 3009712"/>
                <a:gd name="connsiteY5048" fmla="*/ 93242 h 4178187"/>
                <a:gd name="connsiteX5049" fmla="*/ 1622491 w 3009712"/>
                <a:gd name="connsiteY5049" fmla="*/ 92455 h 4178187"/>
                <a:gd name="connsiteX5050" fmla="*/ 1620130 w 3009712"/>
                <a:gd name="connsiteY5050" fmla="*/ 89308 h 4178187"/>
                <a:gd name="connsiteX5051" fmla="*/ 1617376 w 3009712"/>
                <a:gd name="connsiteY5051" fmla="*/ 89308 h 4178187"/>
                <a:gd name="connsiteX5052" fmla="*/ 1614622 w 3009712"/>
                <a:gd name="connsiteY5052" fmla="*/ 87734 h 4178187"/>
                <a:gd name="connsiteX5053" fmla="*/ 1611475 w 3009712"/>
                <a:gd name="connsiteY5053" fmla="*/ 86554 h 4178187"/>
                <a:gd name="connsiteX5054" fmla="*/ 1608327 w 3009712"/>
                <a:gd name="connsiteY5054" fmla="*/ 86160 h 4178187"/>
                <a:gd name="connsiteX5055" fmla="*/ 1605573 w 3009712"/>
                <a:gd name="connsiteY5055" fmla="*/ 85374 h 4178187"/>
                <a:gd name="connsiteX5056" fmla="*/ 1602426 w 3009712"/>
                <a:gd name="connsiteY5056" fmla="*/ 87341 h 4178187"/>
                <a:gd name="connsiteX5057" fmla="*/ 1599672 w 3009712"/>
                <a:gd name="connsiteY5057" fmla="*/ 86554 h 4178187"/>
                <a:gd name="connsiteX5058" fmla="*/ 1596918 w 3009712"/>
                <a:gd name="connsiteY5058" fmla="*/ 85767 h 4178187"/>
                <a:gd name="connsiteX5059" fmla="*/ 1593770 w 3009712"/>
                <a:gd name="connsiteY5059" fmla="*/ 86160 h 4178187"/>
                <a:gd name="connsiteX5060" fmla="*/ 1595344 w 3009712"/>
                <a:gd name="connsiteY5060" fmla="*/ 88914 h 4178187"/>
                <a:gd name="connsiteX5061" fmla="*/ 1592590 w 3009712"/>
                <a:gd name="connsiteY5061" fmla="*/ 90095 h 4178187"/>
                <a:gd name="connsiteX5062" fmla="*/ 1589836 w 3009712"/>
                <a:gd name="connsiteY5062" fmla="*/ 88521 h 4178187"/>
                <a:gd name="connsiteX5063" fmla="*/ 1586689 w 3009712"/>
                <a:gd name="connsiteY5063" fmla="*/ 89308 h 4178187"/>
                <a:gd name="connsiteX5064" fmla="*/ 1583935 w 3009712"/>
                <a:gd name="connsiteY5064" fmla="*/ 88914 h 4178187"/>
                <a:gd name="connsiteX5065" fmla="*/ 1580787 w 3009712"/>
                <a:gd name="connsiteY5065" fmla="*/ 88521 h 4178187"/>
                <a:gd name="connsiteX5066" fmla="*/ 1578033 w 3009712"/>
                <a:gd name="connsiteY5066" fmla="*/ 88128 h 4178187"/>
                <a:gd name="connsiteX5067" fmla="*/ 1575280 w 3009712"/>
                <a:gd name="connsiteY5067" fmla="*/ 88521 h 4178187"/>
                <a:gd name="connsiteX5068" fmla="*/ 1572132 w 3009712"/>
                <a:gd name="connsiteY5068" fmla="*/ 88128 h 4178187"/>
                <a:gd name="connsiteX5069" fmla="*/ 1569378 w 3009712"/>
                <a:gd name="connsiteY5069" fmla="*/ 86554 h 4178187"/>
                <a:gd name="connsiteX5070" fmla="*/ 1566231 w 3009712"/>
                <a:gd name="connsiteY5070" fmla="*/ 86160 h 4178187"/>
                <a:gd name="connsiteX5071" fmla="*/ 1563083 w 3009712"/>
                <a:gd name="connsiteY5071" fmla="*/ 85767 h 4178187"/>
                <a:gd name="connsiteX5072" fmla="*/ 1560329 w 3009712"/>
                <a:gd name="connsiteY5072" fmla="*/ 85374 h 4178187"/>
                <a:gd name="connsiteX5073" fmla="*/ 1557182 w 3009712"/>
                <a:gd name="connsiteY5073" fmla="*/ 83800 h 4178187"/>
                <a:gd name="connsiteX5074" fmla="*/ 1554428 w 3009712"/>
                <a:gd name="connsiteY5074" fmla="*/ 82620 h 4178187"/>
                <a:gd name="connsiteX5075" fmla="*/ 1552067 w 3009712"/>
                <a:gd name="connsiteY5075" fmla="*/ 79866 h 4178187"/>
                <a:gd name="connsiteX5076" fmla="*/ 1549313 w 3009712"/>
                <a:gd name="connsiteY5076" fmla="*/ 78292 h 4178187"/>
                <a:gd name="connsiteX5077" fmla="*/ 1545773 w 3009712"/>
                <a:gd name="connsiteY5077" fmla="*/ 77898 h 4178187"/>
                <a:gd name="connsiteX5078" fmla="*/ 1543019 w 3009712"/>
                <a:gd name="connsiteY5078" fmla="*/ 77112 h 4178187"/>
                <a:gd name="connsiteX5079" fmla="*/ 1539871 w 3009712"/>
                <a:gd name="connsiteY5079" fmla="*/ 76718 h 4178187"/>
                <a:gd name="connsiteX5080" fmla="*/ 1536724 w 3009712"/>
                <a:gd name="connsiteY5080" fmla="*/ 76325 h 4178187"/>
                <a:gd name="connsiteX5081" fmla="*/ 1533576 w 3009712"/>
                <a:gd name="connsiteY5081" fmla="*/ 75931 h 4178187"/>
                <a:gd name="connsiteX5082" fmla="*/ 1530429 w 3009712"/>
                <a:gd name="connsiteY5082" fmla="*/ 75538 h 4178187"/>
                <a:gd name="connsiteX5083" fmla="*/ 1527675 w 3009712"/>
                <a:gd name="connsiteY5083" fmla="*/ 75538 h 4178187"/>
                <a:gd name="connsiteX5084" fmla="*/ 1526888 w 3009712"/>
                <a:gd name="connsiteY5084" fmla="*/ 75144 h 4178187"/>
                <a:gd name="connsiteX5085" fmla="*/ 1523741 w 3009712"/>
                <a:gd name="connsiteY5085" fmla="*/ 73964 h 4178187"/>
                <a:gd name="connsiteX5086" fmla="*/ 1520987 w 3009712"/>
                <a:gd name="connsiteY5086" fmla="*/ 71604 h 4178187"/>
                <a:gd name="connsiteX5087" fmla="*/ 1518626 w 3009712"/>
                <a:gd name="connsiteY5087" fmla="*/ 68850 h 4178187"/>
                <a:gd name="connsiteX5088" fmla="*/ 1515479 w 3009712"/>
                <a:gd name="connsiteY5088" fmla="*/ 66489 h 4178187"/>
                <a:gd name="connsiteX5089" fmla="*/ 1512725 w 3009712"/>
                <a:gd name="connsiteY5089" fmla="*/ 64915 h 4178187"/>
                <a:gd name="connsiteX5090" fmla="*/ 1509971 w 3009712"/>
                <a:gd name="connsiteY5090" fmla="*/ 63342 h 4178187"/>
                <a:gd name="connsiteX5091" fmla="*/ 1506823 w 3009712"/>
                <a:gd name="connsiteY5091" fmla="*/ 62948 h 4178187"/>
                <a:gd name="connsiteX5092" fmla="*/ 1503676 w 3009712"/>
                <a:gd name="connsiteY5092" fmla="*/ 62161 h 4178187"/>
                <a:gd name="connsiteX5093" fmla="*/ 1500922 w 3009712"/>
                <a:gd name="connsiteY5093" fmla="*/ 61768 h 4178187"/>
                <a:gd name="connsiteX5094" fmla="*/ 1497381 w 3009712"/>
                <a:gd name="connsiteY5094" fmla="*/ 61768 h 4178187"/>
                <a:gd name="connsiteX5095" fmla="*/ 1494627 w 3009712"/>
                <a:gd name="connsiteY5095" fmla="*/ 62161 h 4178187"/>
                <a:gd name="connsiteX5096" fmla="*/ 1491873 w 3009712"/>
                <a:gd name="connsiteY5096" fmla="*/ 61768 h 4178187"/>
                <a:gd name="connsiteX5097" fmla="*/ 1488726 w 3009712"/>
                <a:gd name="connsiteY5097" fmla="*/ 62161 h 4178187"/>
                <a:gd name="connsiteX5098" fmla="*/ 1485972 w 3009712"/>
                <a:gd name="connsiteY5098" fmla="*/ 61768 h 4178187"/>
                <a:gd name="connsiteX5099" fmla="*/ 1480070 w 3009712"/>
                <a:gd name="connsiteY5099" fmla="*/ 61768 h 4178187"/>
                <a:gd name="connsiteX5100" fmla="*/ 1477316 w 3009712"/>
                <a:gd name="connsiteY5100" fmla="*/ 61375 h 4178187"/>
                <a:gd name="connsiteX5101" fmla="*/ 1474562 w 3009712"/>
                <a:gd name="connsiteY5101" fmla="*/ 62555 h 4178187"/>
                <a:gd name="connsiteX5102" fmla="*/ 1471415 w 3009712"/>
                <a:gd name="connsiteY5102" fmla="*/ 64915 h 4178187"/>
                <a:gd name="connsiteX5103" fmla="*/ 1468661 w 3009712"/>
                <a:gd name="connsiteY5103" fmla="*/ 66882 h 4178187"/>
                <a:gd name="connsiteX5104" fmla="*/ 1465514 w 3009712"/>
                <a:gd name="connsiteY5104" fmla="*/ 69243 h 4178187"/>
                <a:gd name="connsiteX5105" fmla="*/ 1462760 w 3009712"/>
                <a:gd name="connsiteY5105" fmla="*/ 70817 h 4178187"/>
                <a:gd name="connsiteX5106" fmla="*/ 1459612 w 3009712"/>
                <a:gd name="connsiteY5106" fmla="*/ 70423 h 4178187"/>
                <a:gd name="connsiteX5107" fmla="*/ 1456071 w 3009712"/>
                <a:gd name="connsiteY5107" fmla="*/ 71604 h 4178187"/>
                <a:gd name="connsiteX5108" fmla="*/ 1453317 w 3009712"/>
                <a:gd name="connsiteY5108" fmla="*/ 73964 h 4178187"/>
                <a:gd name="connsiteX5109" fmla="*/ 1450563 w 3009712"/>
                <a:gd name="connsiteY5109" fmla="*/ 74358 h 4178187"/>
                <a:gd name="connsiteX5110" fmla="*/ 1447416 w 3009712"/>
                <a:gd name="connsiteY5110" fmla="*/ 74751 h 4178187"/>
                <a:gd name="connsiteX5111" fmla="*/ 1444268 w 3009712"/>
                <a:gd name="connsiteY5111" fmla="*/ 74358 h 4178187"/>
                <a:gd name="connsiteX5112" fmla="*/ 1443482 w 3009712"/>
                <a:gd name="connsiteY5112" fmla="*/ 74751 h 4178187"/>
                <a:gd name="connsiteX5113" fmla="*/ 1447809 w 3009712"/>
                <a:gd name="connsiteY5113" fmla="*/ 66882 h 4178187"/>
                <a:gd name="connsiteX5114" fmla="*/ 1449777 w 3009712"/>
                <a:gd name="connsiteY5114" fmla="*/ 66489 h 4178187"/>
                <a:gd name="connsiteX5115" fmla="*/ 1448203 w 3009712"/>
                <a:gd name="connsiteY5115" fmla="*/ 66096 h 4178187"/>
                <a:gd name="connsiteX5116" fmla="*/ 1452924 w 3009712"/>
                <a:gd name="connsiteY5116" fmla="*/ 57047 h 4178187"/>
                <a:gd name="connsiteX5117" fmla="*/ 1451350 w 3009712"/>
                <a:gd name="connsiteY5117" fmla="*/ 57440 h 4178187"/>
                <a:gd name="connsiteX5118" fmla="*/ 1452137 w 3009712"/>
                <a:gd name="connsiteY5118" fmla="*/ 57047 h 4178187"/>
                <a:gd name="connsiteX5119" fmla="*/ 1452531 w 3009712"/>
                <a:gd name="connsiteY5119" fmla="*/ 57047 h 4178187"/>
                <a:gd name="connsiteX5120" fmla="*/ 1452924 w 3009712"/>
                <a:gd name="connsiteY5120" fmla="*/ 57047 h 4178187"/>
                <a:gd name="connsiteX5121" fmla="*/ 1452924 w 3009712"/>
                <a:gd name="connsiteY5121" fmla="*/ 55080 h 4178187"/>
                <a:gd name="connsiteX5122" fmla="*/ 1455678 w 3009712"/>
                <a:gd name="connsiteY5122" fmla="*/ 54293 h 4178187"/>
                <a:gd name="connsiteX5123" fmla="*/ 1457252 w 3009712"/>
                <a:gd name="connsiteY5123" fmla="*/ 51539 h 4178187"/>
                <a:gd name="connsiteX5124" fmla="*/ 1454104 w 3009712"/>
                <a:gd name="connsiteY5124" fmla="*/ 51539 h 4178187"/>
                <a:gd name="connsiteX5125" fmla="*/ 1451350 w 3009712"/>
                <a:gd name="connsiteY5125" fmla="*/ 53113 h 4178187"/>
                <a:gd name="connsiteX5126" fmla="*/ 1454104 w 3009712"/>
                <a:gd name="connsiteY5126" fmla="*/ 54686 h 4178187"/>
                <a:gd name="connsiteX5127" fmla="*/ 1449777 w 3009712"/>
                <a:gd name="connsiteY5127" fmla="*/ 55080 h 4178187"/>
                <a:gd name="connsiteX5128" fmla="*/ 1447022 w 3009712"/>
                <a:gd name="connsiteY5128" fmla="*/ 53506 h 4178187"/>
                <a:gd name="connsiteX5129" fmla="*/ 1444268 w 3009712"/>
                <a:gd name="connsiteY5129" fmla="*/ 53899 h 4178187"/>
                <a:gd name="connsiteX5130" fmla="*/ 1441121 w 3009712"/>
                <a:gd name="connsiteY5130" fmla="*/ 53506 h 4178187"/>
                <a:gd name="connsiteX5131" fmla="*/ 1434826 w 3009712"/>
                <a:gd name="connsiteY5131" fmla="*/ 55080 h 4178187"/>
                <a:gd name="connsiteX5132" fmla="*/ 1434433 w 3009712"/>
                <a:gd name="connsiteY5132" fmla="*/ 55473 h 4178187"/>
                <a:gd name="connsiteX5133" fmla="*/ 1398631 w 3009712"/>
                <a:gd name="connsiteY5133" fmla="*/ 56653 h 4178187"/>
                <a:gd name="connsiteX5134" fmla="*/ 1398631 w 3009712"/>
                <a:gd name="connsiteY5134" fmla="*/ 55080 h 4178187"/>
                <a:gd name="connsiteX5135" fmla="*/ 1399418 w 3009712"/>
                <a:gd name="connsiteY5135" fmla="*/ 53899 h 4178187"/>
                <a:gd name="connsiteX5136" fmla="*/ 1400598 w 3009712"/>
                <a:gd name="connsiteY5136" fmla="*/ 50752 h 4178187"/>
                <a:gd name="connsiteX5137" fmla="*/ 1401778 w 3009712"/>
                <a:gd name="connsiteY5137" fmla="*/ 47998 h 4178187"/>
                <a:gd name="connsiteX5138" fmla="*/ 1401385 w 3009712"/>
                <a:gd name="connsiteY5138" fmla="*/ 45244 h 4178187"/>
                <a:gd name="connsiteX5139" fmla="*/ 1399418 w 3009712"/>
                <a:gd name="connsiteY5139" fmla="*/ 42490 h 4178187"/>
                <a:gd name="connsiteX5140" fmla="*/ 1397057 w 3009712"/>
                <a:gd name="connsiteY5140" fmla="*/ 39343 h 4178187"/>
                <a:gd name="connsiteX5141" fmla="*/ 1394303 w 3009712"/>
                <a:gd name="connsiteY5141" fmla="*/ 39343 h 4178187"/>
                <a:gd name="connsiteX5142" fmla="*/ 1391549 w 3009712"/>
                <a:gd name="connsiteY5142" fmla="*/ 40129 h 4178187"/>
                <a:gd name="connsiteX5143" fmla="*/ 1388402 w 3009712"/>
                <a:gd name="connsiteY5143" fmla="*/ 41703 h 4178187"/>
                <a:gd name="connsiteX5144" fmla="*/ 1385648 w 3009712"/>
                <a:gd name="connsiteY5144" fmla="*/ 44457 h 4178187"/>
                <a:gd name="connsiteX5145" fmla="*/ 1388795 w 3009712"/>
                <a:gd name="connsiteY5145" fmla="*/ 44851 h 4178187"/>
                <a:gd name="connsiteX5146" fmla="*/ 1386041 w 3009712"/>
                <a:gd name="connsiteY5146" fmla="*/ 47211 h 4178187"/>
                <a:gd name="connsiteX5147" fmla="*/ 1389189 w 3009712"/>
                <a:gd name="connsiteY5147" fmla="*/ 47605 h 4178187"/>
                <a:gd name="connsiteX5148" fmla="*/ 1391943 w 3009712"/>
                <a:gd name="connsiteY5148" fmla="*/ 48391 h 4178187"/>
                <a:gd name="connsiteX5149" fmla="*/ 1388795 w 3009712"/>
                <a:gd name="connsiteY5149" fmla="*/ 48785 h 4178187"/>
                <a:gd name="connsiteX5150" fmla="*/ 1386041 w 3009712"/>
                <a:gd name="connsiteY5150" fmla="*/ 48785 h 4178187"/>
                <a:gd name="connsiteX5151" fmla="*/ 1382894 w 3009712"/>
                <a:gd name="connsiteY5151" fmla="*/ 49178 h 4178187"/>
                <a:gd name="connsiteX5152" fmla="*/ 1379747 w 3009712"/>
                <a:gd name="connsiteY5152" fmla="*/ 49572 h 4178187"/>
                <a:gd name="connsiteX5153" fmla="*/ 1376599 w 3009712"/>
                <a:gd name="connsiteY5153" fmla="*/ 49965 h 4178187"/>
                <a:gd name="connsiteX5154" fmla="*/ 1373452 w 3009712"/>
                <a:gd name="connsiteY5154" fmla="*/ 50752 h 4178187"/>
                <a:gd name="connsiteX5155" fmla="*/ 1370304 w 3009712"/>
                <a:gd name="connsiteY5155" fmla="*/ 51539 h 4178187"/>
                <a:gd name="connsiteX5156" fmla="*/ 1367944 w 3009712"/>
                <a:gd name="connsiteY5156" fmla="*/ 54293 h 4178187"/>
                <a:gd name="connsiteX5157" fmla="*/ 1360862 w 3009712"/>
                <a:gd name="connsiteY5157" fmla="*/ 57047 h 4178187"/>
                <a:gd name="connsiteX5158" fmla="*/ 1358108 w 3009712"/>
                <a:gd name="connsiteY5158" fmla="*/ 57834 h 4178187"/>
                <a:gd name="connsiteX5159" fmla="*/ 1355354 w 3009712"/>
                <a:gd name="connsiteY5159" fmla="*/ 59014 h 4178187"/>
                <a:gd name="connsiteX5160" fmla="*/ 1352600 w 3009712"/>
                <a:gd name="connsiteY5160" fmla="*/ 60194 h 4178187"/>
                <a:gd name="connsiteX5161" fmla="*/ 1349846 w 3009712"/>
                <a:gd name="connsiteY5161" fmla="*/ 61375 h 4178187"/>
                <a:gd name="connsiteX5162" fmla="*/ 1346699 w 3009712"/>
                <a:gd name="connsiteY5162" fmla="*/ 61768 h 4178187"/>
                <a:gd name="connsiteX5163" fmla="*/ 1343945 w 3009712"/>
                <a:gd name="connsiteY5163" fmla="*/ 63342 h 4178187"/>
                <a:gd name="connsiteX5164" fmla="*/ 1341191 w 3009712"/>
                <a:gd name="connsiteY5164" fmla="*/ 61768 h 4178187"/>
                <a:gd name="connsiteX5165" fmla="*/ 1344338 w 3009712"/>
                <a:gd name="connsiteY5165" fmla="*/ 59014 h 4178187"/>
                <a:gd name="connsiteX5166" fmla="*/ 1347486 w 3009712"/>
                <a:gd name="connsiteY5166" fmla="*/ 58621 h 4178187"/>
                <a:gd name="connsiteX5167" fmla="*/ 1350633 w 3009712"/>
                <a:gd name="connsiteY5167" fmla="*/ 57440 h 4178187"/>
                <a:gd name="connsiteX5168" fmla="*/ 1353780 w 3009712"/>
                <a:gd name="connsiteY5168" fmla="*/ 55080 h 4178187"/>
                <a:gd name="connsiteX5169" fmla="*/ 1347486 w 3009712"/>
                <a:gd name="connsiteY5169" fmla="*/ 57834 h 4178187"/>
                <a:gd name="connsiteX5170" fmla="*/ 1344338 w 3009712"/>
                <a:gd name="connsiteY5170" fmla="*/ 58227 h 4178187"/>
                <a:gd name="connsiteX5171" fmla="*/ 1341191 w 3009712"/>
                <a:gd name="connsiteY5171" fmla="*/ 58227 h 4178187"/>
                <a:gd name="connsiteX5172" fmla="*/ 1338043 w 3009712"/>
                <a:gd name="connsiteY5172" fmla="*/ 58621 h 4178187"/>
                <a:gd name="connsiteX5173" fmla="*/ 1334896 w 3009712"/>
                <a:gd name="connsiteY5173" fmla="*/ 59014 h 4178187"/>
                <a:gd name="connsiteX5174" fmla="*/ 1331749 w 3009712"/>
                <a:gd name="connsiteY5174" fmla="*/ 59407 h 4178187"/>
                <a:gd name="connsiteX5175" fmla="*/ 1328601 w 3009712"/>
                <a:gd name="connsiteY5175" fmla="*/ 60194 h 4178187"/>
                <a:gd name="connsiteX5176" fmla="*/ 1325454 w 3009712"/>
                <a:gd name="connsiteY5176" fmla="*/ 60588 h 4178187"/>
                <a:gd name="connsiteX5177" fmla="*/ 1322306 w 3009712"/>
                <a:gd name="connsiteY5177" fmla="*/ 60981 h 4178187"/>
                <a:gd name="connsiteX5178" fmla="*/ 1321913 w 3009712"/>
                <a:gd name="connsiteY5178" fmla="*/ 60981 h 4178187"/>
                <a:gd name="connsiteX5179" fmla="*/ 1318766 w 3009712"/>
                <a:gd name="connsiteY5179" fmla="*/ 61375 h 4178187"/>
                <a:gd name="connsiteX5180" fmla="*/ 1316012 w 3009712"/>
                <a:gd name="connsiteY5180" fmla="*/ 61768 h 4178187"/>
                <a:gd name="connsiteX5181" fmla="*/ 1313257 w 3009712"/>
                <a:gd name="connsiteY5181" fmla="*/ 62161 h 4178187"/>
                <a:gd name="connsiteX5182" fmla="*/ 1310110 w 3009712"/>
                <a:gd name="connsiteY5182" fmla="*/ 63342 h 4178187"/>
                <a:gd name="connsiteX5183" fmla="*/ 1307356 w 3009712"/>
                <a:gd name="connsiteY5183" fmla="*/ 64915 h 4178187"/>
                <a:gd name="connsiteX5184" fmla="*/ 1305783 w 3009712"/>
                <a:gd name="connsiteY5184" fmla="*/ 65309 h 4178187"/>
                <a:gd name="connsiteX5185" fmla="*/ 1287291 w 3009712"/>
                <a:gd name="connsiteY5185" fmla="*/ 70817 h 4178187"/>
                <a:gd name="connsiteX5186" fmla="*/ 1289259 w 3009712"/>
                <a:gd name="connsiteY5186" fmla="*/ 70030 h 4178187"/>
                <a:gd name="connsiteX5187" fmla="*/ 1292013 w 3009712"/>
                <a:gd name="connsiteY5187" fmla="*/ 68063 h 4178187"/>
                <a:gd name="connsiteX5188" fmla="*/ 1295160 w 3009712"/>
                <a:gd name="connsiteY5188" fmla="*/ 66882 h 4178187"/>
                <a:gd name="connsiteX5189" fmla="*/ 1292799 w 3009712"/>
                <a:gd name="connsiteY5189" fmla="*/ 68850 h 4178187"/>
                <a:gd name="connsiteX5190" fmla="*/ 1292799 w 3009712"/>
                <a:gd name="connsiteY5190" fmla="*/ 69243 h 4178187"/>
                <a:gd name="connsiteX5191" fmla="*/ 1295553 w 3009712"/>
                <a:gd name="connsiteY5191" fmla="*/ 66882 h 4178187"/>
                <a:gd name="connsiteX5192" fmla="*/ 1299488 w 3009712"/>
                <a:gd name="connsiteY5192" fmla="*/ 65702 h 4178187"/>
                <a:gd name="connsiteX5193" fmla="*/ 1299488 w 3009712"/>
                <a:gd name="connsiteY5193" fmla="*/ 65702 h 4178187"/>
                <a:gd name="connsiteX5194" fmla="*/ 1299488 w 3009712"/>
                <a:gd name="connsiteY5194" fmla="*/ 65702 h 4178187"/>
                <a:gd name="connsiteX5195" fmla="*/ 1328208 w 3009712"/>
                <a:gd name="connsiteY5195" fmla="*/ 56260 h 4178187"/>
                <a:gd name="connsiteX5196" fmla="*/ 1330175 w 3009712"/>
                <a:gd name="connsiteY5196" fmla="*/ 55867 h 4178187"/>
                <a:gd name="connsiteX5197" fmla="*/ 1332142 w 3009712"/>
                <a:gd name="connsiteY5197" fmla="*/ 55473 h 4178187"/>
                <a:gd name="connsiteX5198" fmla="*/ 1335290 w 3009712"/>
                <a:gd name="connsiteY5198" fmla="*/ 54686 h 4178187"/>
                <a:gd name="connsiteX5199" fmla="*/ 1335683 w 3009712"/>
                <a:gd name="connsiteY5199" fmla="*/ 54686 h 4178187"/>
                <a:gd name="connsiteX5200" fmla="*/ 1341191 w 3009712"/>
                <a:gd name="connsiteY5200" fmla="*/ 53506 h 4178187"/>
                <a:gd name="connsiteX5201" fmla="*/ 1342764 w 3009712"/>
                <a:gd name="connsiteY5201" fmla="*/ 52326 h 4178187"/>
                <a:gd name="connsiteX5202" fmla="*/ 1345519 w 3009712"/>
                <a:gd name="connsiteY5202" fmla="*/ 51932 h 4178187"/>
                <a:gd name="connsiteX5203" fmla="*/ 1348666 w 3009712"/>
                <a:gd name="connsiteY5203" fmla="*/ 49572 h 4178187"/>
                <a:gd name="connsiteX5204" fmla="*/ 1345519 w 3009712"/>
                <a:gd name="connsiteY5204" fmla="*/ 49178 h 4178187"/>
                <a:gd name="connsiteX5205" fmla="*/ 1348273 w 3009712"/>
                <a:gd name="connsiteY5205" fmla="*/ 46031 h 4178187"/>
                <a:gd name="connsiteX5206" fmla="*/ 1345519 w 3009712"/>
                <a:gd name="connsiteY5206" fmla="*/ 47605 h 4178187"/>
                <a:gd name="connsiteX5207" fmla="*/ 1342371 w 3009712"/>
                <a:gd name="connsiteY5207" fmla="*/ 49178 h 4178187"/>
                <a:gd name="connsiteX5208" fmla="*/ 1339617 w 3009712"/>
                <a:gd name="connsiteY5208" fmla="*/ 50359 h 4178187"/>
                <a:gd name="connsiteX5209" fmla="*/ 1336470 w 3009712"/>
                <a:gd name="connsiteY5209" fmla="*/ 51145 h 4178187"/>
                <a:gd name="connsiteX5210" fmla="*/ 1333716 w 3009712"/>
                <a:gd name="connsiteY5210" fmla="*/ 50752 h 4178187"/>
                <a:gd name="connsiteX5211" fmla="*/ 1330962 w 3009712"/>
                <a:gd name="connsiteY5211" fmla="*/ 51145 h 4178187"/>
                <a:gd name="connsiteX5212" fmla="*/ 1328208 w 3009712"/>
                <a:gd name="connsiteY5212" fmla="*/ 49572 h 4178187"/>
                <a:gd name="connsiteX5213" fmla="*/ 1325060 w 3009712"/>
                <a:gd name="connsiteY5213" fmla="*/ 49965 h 4178187"/>
                <a:gd name="connsiteX5214" fmla="*/ 1327814 w 3009712"/>
                <a:gd name="connsiteY5214" fmla="*/ 48785 h 4178187"/>
                <a:gd name="connsiteX5215" fmla="*/ 1325060 w 3009712"/>
                <a:gd name="connsiteY5215" fmla="*/ 49572 h 4178187"/>
                <a:gd name="connsiteX5216" fmla="*/ 1321913 w 3009712"/>
                <a:gd name="connsiteY5216" fmla="*/ 49965 h 4178187"/>
                <a:gd name="connsiteX5217" fmla="*/ 1319159 w 3009712"/>
                <a:gd name="connsiteY5217" fmla="*/ 50359 h 4178187"/>
                <a:gd name="connsiteX5218" fmla="*/ 1316012 w 3009712"/>
                <a:gd name="connsiteY5218" fmla="*/ 50752 h 4178187"/>
                <a:gd name="connsiteX5219" fmla="*/ 1312864 w 3009712"/>
                <a:gd name="connsiteY5219" fmla="*/ 52326 h 4178187"/>
                <a:gd name="connsiteX5220" fmla="*/ 1310110 w 3009712"/>
                <a:gd name="connsiteY5220" fmla="*/ 53113 h 4178187"/>
                <a:gd name="connsiteX5221" fmla="*/ 1300274 w 3009712"/>
                <a:gd name="connsiteY5221" fmla="*/ 55867 h 4178187"/>
                <a:gd name="connsiteX5222" fmla="*/ 1300668 w 3009712"/>
                <a:gd name="connsiteY5222" fmla="*/ 54293 h 4178187"/>
                <a:gd name="connsiteX5223" fmla="*/ 1297520 w 3009712"/>
                <a:gd name="connsiteY5223" fmla="*/ 55867 h 4178187"/>
                <a:gd name="connsiteX5224" fmla="*/ 1294373 w 3009712"/>
                <a:gd name="connsiteY5224" fmla="*/ 56260 h 4178187"/>
                <a:gd name="connsiteX5225" fmla="*/ 1291226 w 3009712"/>
                <a:gd name="connsiteY5225" fmla="*/ 57047 h 4178187"/>
                <a:gd name="connsiteX5226" fmla="*/ 1288078 w 3009712"/>
                <a:gd name="connsiteY5226" fmla="*/ 57834 h 4178187"/>
                <a:gd name="connsiteX5227" fmla="*/ 1285324 w 3009712"/>
                <a:gd name="connsiteY5227" fmla="*/ 59407 h 4178187"/>
                <a:gd name="connsiteX5228" fmla="*/ 1282177 w 3009712"/>
                <a:gd name="connsiteY5228" fmla="*/ 59801 h 4178187"/>
                <a:gd name="connsiteX5229" fmla="*/ 1279423 w 3009712"/>
                <a:gd name="connsiteY5229" fmla="*/ 60194 h 4178187"/>
                <a:gd name="connsiteX5230" fmla="*/ 1276276 w 3009712"/>
                <a:gd name="connsiteY5230" fmla="*/ 60588 h 4178187"/>
                <a:gd name="connsiteX5231" fmla="*/ 1273522 w 3009712"/>
                <a:gd name="connsiteY5231" fmla="*/ 61768 h 4178187"/>
                <a:gd name="connsiteX5232" fmla="*/ 1270374 w 3009712"/>
                <a:gd name="connsiteY5232" fmla="*/ 60194 h 4178187"/>
                <a:gd name="connsiteX5233" fmla="*/ 1273522 w 3009712"/>
                <a:gd name="connsiteY5233" fmla="*/ 59801 h 4178187"/>
                <a:gd name="connsiteX5234" fmla="*/ 1270374 w 3009712"/>
                <a:gd name="connsiteY5234" fmla="*/ 60194 h 4178187"/>
                <a:gd name="connsiteX5235" fmla="*/ 1267227 w 3009712"/>
                <a:gd name="connsiteY5235" fmla="*/ 60588 h 4178187"/>
                <a:gd name="connsiteX5236" fmla="*/ 1264079 w 3009712"/>
                <a:gd name="connsiteY5236" fmla="*/ 62555 h 4178187"/>
                <a:gd name="connsiteX5237" fmla="*/ 1267227 w 3009712"/>
                <a:gd name="connsiteY5237" fmla="*/ 62948 h 4178187"/>
                <a:gd name="connsiteX5238" fmla="*/ 1264079 w 3009712"/>
                <a:gd name="connsiteY5238" fmla="*/ 63342 h 4178187"/>
                <a:gd name="connsiteX5239" fmla="*/ 1260932 w 3009712"/>
                <a:gd name="connsiteY5239" fmla="*/ 62948 h 4178187"/>
                <a:gd name="connsiteX5240" fmla="*/ 1257784 w 3009712"/>
                <a:gd name="connsiteY5240" fmla="*/ 62555 h 4178187"/>
                <a:gd name="connsiteX5241" fmla="*/ 1255030 w 3009712"/>
                <a:gd name="connsiteY5241" fmla="*/ 63342 h 4178187"/>
                <a:gd name="connsiteX5242" fmla="*/ 1251883 w 3009712"/>
                <a:gd name="connsiteY5242" fmla="*/ 65702 h 4178187"/>
                <a:gd name="connsiteX5243" fmla="*/ 1249129 w 3009712"/>
                <a:gd name="connsiteY5243" fmla="*/ 67276 h 4178187"/>
                <a:gd name="connsiteX5244" fmla="*/ 1246375 w 3009712"/>
                <a:gd name="connsiteY5244" fmla="*/ 68456 h 4178187"/>
                <a:gd name="connsiteX5245" fmla="*/ 1243228 w 3009712"/>
                <a:gd name="connsiteY5245" fmla="*/ 69243 h 4178187"/>
                <a:gd name="connsiteX5246" fmla="*/ 1240080 w 3009712"/>
                <a:gd name="connsiteY5246" fmla="*/ 69636 h 4178187"/>
                <a:gd name="connsiteX5247" fmla="*/ 1236933 w 3009712"/>
                <a:gd name="connsiteY5247" fmla="*/ 69243 h 4178187"/>
                <a:gd name="connsiteX5248" fmla="*/ 1233785 w 3009712"/>
                <a:gd name="connsiteY5248" fmla="*/ 69636 h 4178187"/>
                <a:gd name="connsiteX5249" fmla="*/ 1231032 w 3009712"/>
                <a:gd name="connsiteY5249" fmla="*/ 70030 h 4178187"/>
                <a:gd name="connsiteX5250" fmla="*/ 1228277 w 3009712"/>
                <a:gd name="connsiteY5250" fmla="*/ 71604 h 4178187"/>
                <a:gd name="connsiteX5251" fmla="*/ 1225130 w 3009712"/>
                <a:gd name="connsiteY5251" fmla="*/ 71604 h 4178187"/>
                <a:gd name="connsiteX5252" fmla="*/ 1221983 w 3009712"/>
                <a:gd name="connsiteY5252" fmla="*/ 73177 h 4178187"/>
                <a:gd name="connsiteX5253" fmla="*/ 1220409 w 3009712"/>
                <a:gd name="connsiteY5253" fmla="*/ 73177 h 4178187"/>
                <a:gd name="connsiteX5254" fmla="*/ 1217262 w 3009712"/>
                <a:gd name="connsiteY5254" fmla="*/ 73571 h 4178187"/>
                <a:gd name="connsiteX5255" fmla="*/ 1215688 w 3009712"/>
                <a:gd name="connsiteY5255" fmla="*/ 73964 h 4178187"/>
                <a:gd name="connsiteX5256" fmla="*/ 1212934 w 3009712"/>
                <a:gd name="connsiteY5256" fmla="*/ 75144 h 4178187"/>
                <a:gd name="connsiteX5257" fmla="*/ 1209786 w 3009712"/>
                <a:gd name="connsiteY5257" fmla="*/ 76718 h 4178187"/>
                <a:gd name="connsiteX5258" fmla="*/ 1206639 w 3009712"/>
                <a:gd name="connsiteY5258" fmla="*/ 77505 h 4178187"/>
                <a:gd name="connsiteX5259" fmla="*/ 1203885 w 3009712"/>
                <a:gd name="connsiteY5259" fmla="*/ 78685 h 4178187"/>
                <a:gd name="connsiteX5260" fmla="*/ 1200738 w 3009712"/>
                <a:gd name="connsiteY5260" fmla="*/ 78685 h 4178187"/>
                <a:gd name="connsiteX5261" fmla="*/ 1197984 w 3009712"/>
                <a:gd name="connsiteY5261" fmla="*/ 80259 h 4178187"/>
                <a:gd name="connsiteX5262" fmla="*/ 1194836 w 3009712"/>
                <a:gd name="connsiteY5262" fmla="*/ 82620 h 4178187"/>
                <a:gd name="connsiteX5263" fmla="*/ 1194049 w 3009712"/>
                <a:gd name="connsiteY5263" fmla="*/ 85374 h 4178187"/>
                <a:gd name="connsiteX5264" fmla="*/ 1193656 w 3009712"/>
                <a:gd name="connsiteY5264" fmla="*/ 88128 h 4178187"/>
                <a:gd name="connsiteX5265" fmla="*/ 1192869 w 3009712"/>
                <a:gd name="connsiteY5265" fmla="*/ 90095 h 4178187"/>
                <a:gd name="connsiteX5266" fmla="*/ 1192476 w 3009712"/>
                <a:gd name="connsiteY5266" fmla="*/ 90488 h 4178187"/>
                <a:gd name="connsiteX5267" fmla="*/ 1192082 w 3009712"/>
                <a:gd name="connsiteY5267" fmla="*/ 90488 h 4178187"/>
                <a:gd name="connsiteX5268" fmla="*/ 1190115 w 3009712"/>
                <a:gd name="connsiteY5268" fmla="*/ 90488 h 4178187"/>
                <a:gd name="connsiteX5269" fmla="*/ 1187755 w 3009712"/>
                <a:gd name="connsiteY5269" fmla="*/ 89701 h 4178187"/>
                <a:gd name="connsiteX5270" fmla="*/ 1188148 w 3009712"/>
                <a:gd name="connsiteY5270" fmla="*/ 86554 h 4178187"/>
                <a:gd name="connsiteX5271" fmla="*/ 1188541 w 3009712"/>
                <a:gd name="connsiteY5271" fmla="*/ 83800 h 4178187"/>
                <a:gd name="connsiteX5272" fmla="*/ 1185787 w 3009712"/>
                <a:gd name="connsiteY5272" fmla="*/ 84193 h 4178187"/>
                <a:gd name="connsiteX5273" fmla="*/ 1182640 w 3009712"/>
                <a:gd name="connsiteY5273" fmla="*/ 84587 h 4178187"/>
                <a:gd name="connsiteX5274" fmla="*/ 1179886 w 3009712"/>
                <a:gd name="connsiteY5274" fmla="*/ 84587 h 4178187"/>
                <a:gd name="connsiteX5275" fmla="*/ 1176738 w 3009712"/>
                <a:gd name="connsiteY5275" fmla="*/ 83800 h 4178187"/>
                <a:gd name="connsiteX5276" fmla="*/ 1173591 w 3009712"/>
                <a:gd name="connsiteY5276" fmla="*/ 83800 h 4178187"/>
                <a:gd name="connsiteX5277" fmla="*/ 1170444 w 3009712"/>
                <a:gd name="connsiteY5277" fmla="*/ 85374 h 4178187"/>
                <a:gd name="connsiteX5278" fmla="*/ 1173591 w 3009712"/>
                <a:gd name="connsiteY5278" fmla="*/ 85767 h 4178187"/>
                <a:gd name="connsiteX5279" fmla="*/ 1170837 w 3009712"/>
                <a:gd name="connsiteY5279" fmla="*/ 87734 h 4178187"/>
                <a:gd name="connsiteX5280" fmla="*/ 1171624 w 3009712"/>
                <a:gd name="connsiteY5280" fmla="*/ 90488 h 4178187"/>
                <a:gd name="connsiteX5281" fmla="*/ 1170050 w 3009712"/>
                <a:gd name="connsiteY5281" fmla="*/ 90488 h 4178187"/>
                <a:gd name="connsiteX5282" fmla="*/ 1162575 w 3009712"/>
                <a:gd name="connsiteY5282" fmla="*/ 85767 h 4178187"/>
                <a:gd name="connsiteX5283" fmla="*/ 1161001 w 3009712"/>
                <a:gd name="connsiteY5283" fmla="*/ 84980 h 4178187"/>
                <a:gd name="connsiteX5284" fmla="*/ 1158248 w 3009712"/>
                <a:gd name="connsiteY5284" fmla="*/ 84587 h 4178187"/>
                <a:gd name="connsiteX5285" fmla="*/ 1155887 w 3009712"/>
                <a:gd name="connsiteY5285" fmla="*/ 84193 h 4178187"/>
                <a:gd name="connsiteX5286" fmla="*/ 1152740 w 3009712"/>
                <a:gd name="connsiteY5286" fmla="*/ 83800 h 4178187"/>
                <a:gd name="connsiteX5287" fmla="*/ 1123233 w 3009712"/>
                <a:gd name="connsiteY5287" fmla="*/ 75144 h 4178187"/>
                <a:gd name="connsiteX5288" fmla="*/ 1123626 w 3009712"/>
                <a:gd name="connsiteY5288" fmla="*/ 72784 h 4178187"/>
                <a:gd name="connsiteX5289" fmla="*/ 1120872 w 3009712"/>
                <a:gd name="connsiteY5289" fmla="*/ 74358 h 4178187"/>
                <a:gd name="connsiteX5290" fmla="*/ 1118511 w 3009712"/>
                <a:gd name="connsiteY5290" fmla="*/ 71997 h 4178187"/>
                <a:gd name="connsiteX5291" fmla="*/ 1116544 w 3009712"/>
                <a:gd name="connsiteY5291" fmla="*/ 69243 h 4178187"/>
                <a:gd name="connsiteX5292" fmla="*/ 1116151 w 3009712"/>
                <a:gd name="connsiteY5292" fmla="*/ 66489 h 4178187"/>
                <a:gd name="connsiteX5293" fmla="*/ 1113397 w 3009712"/>
                <a:gd name="connsiteY5293" fmla="*/ 66882 h 4178187"/>
                <a:gd name="connsiteX5294" fmla="*/ 1110643 w 3009712"/>
                <a:gd name="connsiteY5294" fmla="*/ 65309 h 4178187"/>
                <a:gd name="connsiteX5295" fmla="*/ 1107889 w 3009712"/>
                <a:gd name="connsiteY5295" fmla="*/ 64522 h 4178187"/>
                <a:gd name="connsiteX5296" fmla="*/ 1104741 w 3009712"/>
                <a:gd name="connsiteY5296" fmla="*/ 63735 h 4178187"/>
                <a:gd name="connsiteX5297" fmla="*/ 1101594 w 3009712"/>
                <a:gd name="connsiteY5297" fmla="*/ 63735 h 4178187"/>
                <a:gd name="connsiteX5298" fmla="*/ 1081136 w 3009712"/>
                <a:gd name="connsiteY5298" fmla="*/ 62948 h 4178187"/>
                <a:gd name="connsiteX5299" fmla="*/ 1077989 w 3009712"/>
                <a:gd name="connsiteY5299" fmla="*/ 61768 h 4178187"/>
                <a:gd name="connsiteX5300" fmla="*/ 1077595 w 3009712"/>
                <a:gd name="connsiteY5300" fmla="*/ 61768 h 4178187"/>
                <a:gd name="connsiteX5301" fmla="*/ 1073267 w 3009712"/>
                <a:gd name="connsiteY5301" fmla="*/ 60194 h 4178187"/>
                <a:gd name="connsiteX5302" fmla="*/ 1071300 w 3009712"/>
                <a:gd name="connsiteY5302" fmla="*/ 58227 h 4178187"/>
                <a:gd name="connsiteX5303" fmla="*/ 1068546 w 3009712"/>
                <a:gd name="connsiteY5303" fmla="*/ 57440 h 4178187"/>
                <a:gd name="connsiteX5304" fmla="*/ 1072874 w 3009712"/>
                <a:gd name="connsiteY5304" fmla="*/ 59801 h 4178187"/>
                <a:gd name="connsiteX5305" fmla="*/ 1071300 w 3009712"/>
                <a:gd name="connsiteY5305" fmla="*/ 59407 h 4178187"/>
                <a:gd name="connsiteX5306" fmla="*/ 1070907 w 3009712"/>
                <a:gd name="connsiteY5306" fmla="*/ 59014 h 4178187"/>
                <a:gd name="connsiteX5307" fmla="*/ 1068153 w 3009712"/>
                <a:gd name="connsiteY5307" fmla="*/ 57834 h 4178187"/>
                <a:gd name="connsiteX5308" fmla="*/ 1060678 w 3009712"/>
                <a:gd name="connsiteY5308" fmla="*/ 52326 h 4178187"/>
                <a:gd name="connsiteX5309" fmla="*/ 1058317 w 3009712"/>
                <a:gd name="connsiteY5309" fmla="*/ 51145 h 4178187"/>
                <a:gd name="connsiteX5310" fmla="*/ 1055563 w 3009712"/>
                <a:gd name="connsiteY5310" fmla="*/ 50752 h 4178187"/>
                <a:gd name="connsiteX5311" fmla="*/ 1052416 w 3009712"/>
                <a:gd name="connsiteY5311" fmla="*/ 50359 h 4178187"/>
                <a:gd name="connsiteX5312" fmla="*/ 1049662 w 3009712"/>
                <a:gd name="connsiteY5312" fmla="*/ 49572 h 4178187"/>
                <a:gd name="connsiteX5313" fmla="*/ 1046908 w 3009712"/>
                <a:gd name="connsiteY5313" fmla="*/ 49965 h 4178187"/>
                <a:gd name="connsiteX5314" fmla="*/ 1043760 w 3009712"/>
                <a:gd name="connsiteY5314" fmla="*/ 49965 h 4178187"/>
                <a:gd name="connsiteX5315" fmla="*/ 1041006 w 3009712"/>
                <a:gd name="connsiteY5315" fmla="*/ 50359 h 4178187"/>
                <a:gd name="connsiteX5316" fmla="*/ 1037859 w 3009712"/>
                <a:gd name="connsiteY5316" fmla="*/ 49965 h 4178187"/>
                <a:gd name="connsiteX5317" fmla="*/ 1035105 w 3009712"/>
                <a:gd name="connsiteY5317" fmla="*/ 50359 h 4178187"/>
                <a:gd name="connsiteX5318" fmla="*/ 1031958 w 3009712"/>
                <a:gd name="connsiteY5318" fmla="*/ 49965 h 4178187"/>
                <a:gd name="connsiteX5319" fmla="*/ 1029204 w 3009712"/>
                <a:gd name="connsiteY5319" fmla="*/ 52326 h 4178187"/>
                <a:gd name="connsiteX5320" fmla="*/ 1028810 w 3009712"/>
                <a:gd name="connsiteY5320" fmla="*/ 52326 h 4178187"/>
                <a:gd name="connsiteX5321" fmla="*/ 1030384 w 3009712"/>
                <a:gd name="connsiteY5321" fmla="*/ 50752 h 4178187"/>
                <a:gd name="connsiteX5322" fmla="*/ 1027630 w 3009712"/>
                <a:gd name="connsiteY5322" fmla="*/ 51145 h 4178187"/>
                <a:gd name="connsiteX5323" fmla="*/ 1024876 w 3009712"/>
                <a:gd name="connsiteY5323" fmla="*/ 51145 h 4178187"/>
                <a:gd name="connsiteX5324" fmla="*/ 1021729 w 3009712"/>
                <a:gd name="connsiteY5324" fmla="*/ 51539 h 4178187"/>
                <a:gd name="connsiteX5325" fmla="*/ 1018975 w 3009712"/>
                <a:gd name="connsiteY5325" fmla="*/ 52326 h 4178187"/>
                <a:gd name="connsiteX5326" fmla="*/ 1005205 w 3009712"/>
                <a:gd name="connsiteY5326" fmla="*/ 52326 h 4178187"/>
                <a:gd name="connsiteX5327" fmla="*/ 1004024 w 3009712"/>
                <a:gd name="connsiteY5327" fmla="*/ 52326 h 4178187"/>
                <a:gd name="connsiteX5328" fmla="*/ 1002451 w 3009712"/>
                <a:gd name="connsiteY5328" fmla="*/ 52326 h 4178187"/>
                <a:gd name="connsiteX5329" fmla="*/ 1004024 w 3009712"/>
                <a:gd name="connsiteY5329" fmla="*/ 51539 h 4178187"/>
                <a:gd name="connsiteX5330" fmla="*/ 1001270 w 3009712"/>
                <a:gd name="connsiteY5330" fmla="*/ 49965 h 4178187"/>
                <a:gd name="connsiteX5331" fmla="*/ 998516 w 3009712"/>
                <a:gd name="connsiteY5331" fmla="*/ 50359 h 4178187"/>
                <a:gd name="connsiteX5332" fmla="*/ 997730 w 3009712"/>
                <a:gd name="connsiteY5332" fmla="*/ 47605 h 4178187"/>
                <a:gd name="connsiteX5333" fmla="*/ 994975 w 3009712"/>
                <a:gd name="connsiteY5333" fmla="*/ 47998 h 4178187"/>
                <a:gd name="connsiteX5334" fmla="*/ 991828 w 3009712"/>
                <a:gd name="connsiteY5334" fmla="*/ 48391 h 4178187"/>
                <a:gd name="connsiteX5335" fmla="*/ 988681 w 3009712"/>
                <a:gd name="connsiteY5335" fmla="*/ 47211 h 4178187"/>
                <a:gd name="connsiteX5336" fmla="*/ 983173 w 3009712"/>
                <a:gd name="connsiteY5336" fmla="*/ 47211 h 4178187"/>
                <a:gd name="connsiteX5337" fmla="*/ 980025 w 3009712"/>
                <a:gd name="connsiteY5337" fmla="*/ 47605 h 4178187"/>
                <a:gd name="connsiteX5338" fmla="*/ 974517 w 3009712"/>
                <a:gd name="connsiteY5338" fmla="*/ 47605 h 4178187"/>
                <a:gd name="connsiteX5339" fmla="*/ 973337 w 3009712"/>
                <a:gd name="connsiteY5339" fmla="*/ 47605 h 4178187"/>
                <a:gd name="connsiteX5340" fmla="*/ 959567 w 3009712"/>
                <a:gd name="connsiteY5340" fmla="*/ 45244 h 4178187"/>
                <a:gd name="connsiteX5341" fmla="*/ 959567 w 3009712"/>
                <a:gd name="connsiteY5341" fmla="*/ 43670 h 4178187"/>
                <a:gd name="connsiteX5342" fmla="*/ 956026 w 3009712"/>
                <a:gd name="connsiteY5342" fmla="*/ 43277 h 4178187"/>
                <a:gd name="connsiteX5343" fmla="*/ 954453 w 3009712"/>
                <a:gd name="connsiteY5343" fmla="*/ 42490 h 4178187"/>
                <a:gd name="connsiteX5344" fmla="*/ 948551 w 3009712"/>
                <a:gd name="connsiteY5344" fmla="*/ 42097 h 4178187"/>
                <a:gd name="connsiteX5345" fmla="*/ 946978 w 3009712"/>
                <a:gd name="connsiteY5345" fmla="*/ 40916 h 4178187"/>
                <a:gd name="connsiteX5346" fmla="*/ 944223 w 3009712"/>
                <a:gd name="connsiteY5346" fmla="*/ 40916 h 4178187"/>
                <a:gd name="connsiteX5347" fmla="*/ 941076 w 3009712"/>
                <a:gd name="connsiteY5347" fmla="*/ 39343 h 4178187"/>
                <a:gd name="connsiteX5348" fmla="*/ 937929 w 3009712"/>
                <a:gd name="connsiteY5348" fmla="*/ 38556 h 4178187"/>
                <a:gd name="connsiteX5349" fmla="*/ 934781 w 3009712"/>
                <a:gd name="connsiteY5349" fmla="*/ 38949 h 4178187"/>
                <a:gd name="connsiteX5350" fmla="*/ 932027 w 3009712"/>
                <a:gd name="connsiteY5350" fmla="*/ 38162 h 4178187"/>
                <a:gd name="connsiteX5351" fmla="*/ 929273 w 3009712"/>
                <a:gd name="connsiteY5351" fmla="*/ 38162 h 4178187"/>
                <a:gd name="connsiteX5352" fmla="*/ 926519 w 3009712"/>
                <a:gd name="connsiteY5352" fmla="*/ 38556 h 4178187"/>
                <a:gd name="connsiteX5353" fmla="*/ 922978 w 3009712"/>
                <a:gd name="connsiteY5353" fmla="*/ 38556 h 4178187"/>
                <a:gd name="connsiteX5354" fmla="*/ 920224 w 3009712"/>
                <a:gd name="connsiteY5354" fmla="*/ 38949 h 4178187"/>
                <a:gd name="connsiteX5355" fmla="*/ 917077 w 3009712"/>
                <a:gd name="connsiteY5355" fmla="*/ 39736 h 4178187"/>
                <a:gd name="connsiteX5356" fmla="*/ 911569 w 3009712"/>
                <a:gd name="connsiteY5356" fmla="*/ 39736 h 4178187"/>
                <a:gd name="connsiteX5357" fmla="*/ 913930 w 3009712"/>
                <a:gd name="connsiteY5357" fmla="*/ 38162 h 4178187"/>
                <a:gd name="connsiteX5358" fmla="*/ 911176 w 3009712"/>
                <a:gd name="connsiteY5358" fmla="*/ 37769 h 4178187"/>
                <a:gd name="connsiteX5359" fmla="*/ 908422 w 3009712"/>
                <a:gd name="connsiteY5359" fmla="*/ 37769 h 4178187"/>
                <a:gd name="connsiteX5360" fmla="*/ 905274 w 3009712"/>
                <a:gd name="connsiteY5360" fmla="*/ 38556 h 4178187"/>
                <a:gd name="connsiteX5361" fmla="*/ 902914 w 3009712"/>
                <a:gd name="connsiteY5361" fmla="*/ 38556 h 4178187"/>
                <a:gd name="connsiteX5362" fmla="*/ 899766 w 3009712"/>
                <a:gd name="connsiteY5362" fmla="*/ 38949 h 4178187"/>
                <a:gd name="connsiteX5363" fmla="*/ 898586 w 3009712"/>
                <a:gd name="connsiteY5363" fmla="*/ 38556 h 4178187"/>
                <a:gd name="connsiteX5364" fmla="*/ 895439 w 3009712"/>
                <a:gd name="connsiteY5364" fmla="*/ 39343 h 4178187"/>
                <a:gd name="connsiteX5365" fmla="*/ 895439 w 3009712"/>
                <a:gd name="connsiteY5365" fmla="*/ 38949 h 4178187"/>
                <a:gd name="connsiteX5366" fmla="*/ 895045 w 3009712"/>
                <a:gd name="connsiteY5366" fmla="*/ 38949 h 4178187"/>
                <a:gd name="connsiteX5367" fmla="*/ 884423 w 3009712"/>
                <a:gd name="connsiteY5367" fmla="*/ 36195 h 4178187"/>
                <a:gd name="connsiteX5368" fmla="*/ 887177 w 3009712"/>
                <a:gd name="connsiteY5368" fmla="*/ 35408 h 4178187"/>
                <a:gd name="connsiteX5369" fmla="*/ 881275 w 3009712"/>
                <a:gd name="connsiteY5369" fmla="*/ 35408 h 4178187"/>
                <a:gd name="connsiteX5370" fmla="*/ 880882 w 3009712"/>
                <a:gd name="connsiteY5370" fmla="*/ 35408 h 4178187"/>
                <a:gd name="connsiteX5371" fmla="*/ 878521 w 3009712"/>
                <a:gd name="connsiteY5371" fmla="*/ 34622 h 4178187"/>
                <a:gd name="connsiteX5372" fmla="*/ 881669 w 3009712"/>
                <a:gd name="connsiteY5372" fmla="*/ 34228 h 4178187"/>
                <a:gd name="connsiteX5373" fmla="*/ 878915 w 3009712"/>
                <a:gd name="connsiteY5373" fmla="*/ 33835 h 4178187"/>
                <a:gd name="connsiteX5374" fmla="*/ 876161 w 3009712"/>
                <a:gd name="connsiteY5374" fmla="*/ 32654 h 4178187"/>
                <a:gd name="connsiteX5375" fmla="*/ 878915 w 3009712"/>
                <a:gd name="connsiteY5375" fmla="*/ 31081 h 4178187"/>
                <a:gd name="connsiteX5376" fmla="*/ 881669 w 3009712"/>
                <a:gd name="connsiteY5376" fmla="*/ 29507 h 4178187"/>
                <a:gd name="connsiteX5377" fmla="*/ 884816 w 3009712"/>
                <a:gd name="connsiteY5377" fmla="*/ 28720 h 4178187"/>
                <a:gd name="connsiteX5378" fmla="*/ 887964 w 3009712"/>
                <a:gd name="connsiteY5378" fmla="*/ 26360 h 4178187"/>
                <a:gd name="connsiteX5379" fmla="*/ 885210 w 3009712"/>
                <a:gd name="connsiteY5379" fmla="*/ 25966 h 4178187"/>
                <a:gd name="connsiteX5380" fmla="*/ 875374 w 3009712"/>
                <a:gd name="connsiteY5380" fmla="*/ 25966 h 4178187"/>
                <a:gd name="connsiteX5381" fmla="*/ 872620 w 3009712"/>
                <a:gd name="connsiteY5381" fmla="*/ 25573 h 4178187"/>
                <a:gd name="connsiteX5382" fmla="*/ 869866 w 3009712"/>
                <a:gd name="connsiteY5382" fmla="*/ 25179 h 4178187"/>
                <a:gd name="connsiteX5383" fmla="*/ 866718 w 3009712"/>
                <a:gd name="connsiteY5383" fmla="*/ 25573 h 4178187"/>
                <a:gd name="connsiteX5384" fmla="*/ 863965 w 3009712"/>
                <a:gd name="connsiteY5384" fmla="*/ 25966 h 4178187"/>
                <a:gd name="connsiteX5385" fmla="*/ 860817 w 3009712"/>
                <a:gd name="connsiteY5385" fmla="*/ 26360 h 4178187"/>
                <a:gd name="connsiteX5386" fmla="*/ 857670 w 3009712"/>
                <a:gd name="connsiteY5386" fmla="*/ 25966 h 4178187"/>
                <a:gd name="connsiteX5387" fmla="*/ 854916 w 3009712"/>
                <a:gd name="connsiteY5387" fmla="*/ 25966 h 4178187"/>
                <a:gd name="connsiteX5388" fmla="*/ 851768 w 3009712"/>
                <a:gd name="connsiteY5388" fmla="*/ 26360 h 4178187"/>
                <a:gd name="connsiteX5389" fmla="*/ 848621 w 3009712"/>
                <a:gd name="connsiteY5389" fmla="*/ 27540 h 4178187"/>
                <a:gd name="connsiteX5390" fmla="*/ 847441 w 3009712"/>
                <a:gd name="connsiteY5390" fmla="*/ 27933 h 4178187"/>
                <a:gd name="connsiteX5391" fmla="*/ 837211 w 3009712"/>
                <a:gd name="connsiteY5391" fmla="*/ 25573 h 4178187"/>
                <a:gd name="connsiteX5392" fmla="*/ 839572 w 3009712"/>
                <a:gd name="connsiteY5392" fmla="*/ 24786 h 4178187"/>
                <a:gd name="connsiteX5393" fmla="*/ 842326 w 3009712"/>
                <a:gd name="connsiteY5393" fmla="*/ 23212 h 4178187"/>
                <a:gd name="connsiteX5394" fmla="*/ 841539 w 3009712"/>
                <a:gd name="connsiteY5394" fmla="*/ 20458 h 4178187"/>
                <a:gd name="connsiteX5395" fmla="*/ 838785 w 3009712"/>
                <a:gd name="connsiteY5395" fmla="*/ 20065 h 4178187"/>
                <a:gd name="connsiteX5396" fmla="*/ 835638 w 3009712"/>
                <a:gd name="connsiteY5396" fmla="*/ 21638 h 4178187"/>
                <a:gd name="connsiteX5397" fmla="*/ 838392 w 3009712"/>
                <a:gd name="connsiteY5397" fmla="*/ 19278 h 4178187"/>
                <a:gd name="connsiteX5398" fmla="*/ 835638 w 3009712"/>
                <a:gd name="connsiteY5398" fmla="*/ 19671 h 4178187"/>
                <a:gd name="connsiteX5399" fmla="*/ 832490 w 3009712"/>
                <a:gd name="connsiteY5399" fmla="*/ 20458 h 4178187"/>
                <a:gd name="connsiteX5400" fmla="*/ 829736 w 3009712"/>
                <a:gd name="connsiteY5400" fmla="*/ 22032 h 4178187"/>
                <a:gd name="connsiteX5401" fmla="*/ 826589 w 3009712"/>
                <a:gd name="connsiteY5401" fmla="*/ 22819 h 4178187"/>
                <a:gd name="connsiteX5402" fmla="*/ 805737 w 3009712"/>
                <a:gd name="connsiteY5402" fmla="*/ 27540 h 4178187"/>
                <a:gd name="connsiteX5403" fmla="*/ 805737 w 3009712"/>
                <a:gd name="connsiteY5403" fmla="*/ 25179 h 4178187"/>
                <a:gd name="connsiteX5404" fmla="*/ 805344 w 3009712"/>
                <a:gd name="connsiteY5404" fmla="*/ 24786 h 4178187"/>
                <a:gd name="connsiteX5405" fmla="*/ 808491 w 3009712"/>
                <a:gd name="connsiteY5405" fmla="*/ 24392 h 4178187"/>
                <a:gd name="connsiteX5406" fmla="*/ 811639 w 3009712"/>
                <a:gd name="connsiteY5406" fmla="*/ 23212 h 4178187"/>
                <a:gd name="connsiteX5407" fmla="*/ 814786 w 3009712"/>
                <a:gd name="connsiteY5407" fmla="*/ 23212 h 4178187"/>
                <a:gd name="connsiteX5408" fmla="*/ 817934 w 3009712"/>
                <a:gd name="connsiteY5408" fmla="*/ 22819 h 4178187"/>
                <a:gd name="connsiteX5409" fmla="*/ 821081 w 3009712"/>
                <a:gd name="connsiteY5409" fmla="*/ 21638 h 4178187"/>
                <a:gd name="connsiteX5410" fmla="*/ 824228 w 3009712"/>
                <a:gd name="connsiteY5410" fmla="*/ 20852 h 4178187"/>
                <a:gd name="connsiteX5411" fmla="*/ 826982 w 3009712"/>
                <a:gd name="connsiteY5411" fmla="*/ 20065 h 4178187"/>
                <a:gd name="connsiteX5412" fmla="*/ 826196 w 3009712"/>
                <a:gd name="connsiteY5412" fmla="*/ 16917 h 4178187"/>
                <a:gd name="connsiteX5413" fmla="*/ 823442 w 3009712"/>
                <a:gd name="connsiteY5413" fmla="*/ 16524 h 4178187"/>
                <a:gd name="connsiteX5414" fmla="*/ 820294 w 3009712"/>
                <a:gd name="connsiteY5414" fmla="*/ 15344 h 4178187"/>
                <a:gd name="connsiteX5415" fmla="*/ 817147 w 3009712"/>
                <a:gd name="connsiteY5415" fmla="*/ 14950 h 4178187"/>
                <a:gd name="connsiteX5416" fmla="*/ 814393 w 3009712"/>
                <a:gd name="connsiteY5416" fmla="*/ 14163 h 4178187"/>
                <a:gd name="connsiteX5417" fmla="*/ 817540 w 3009712"/>
                <a:gd name="connsiteY5417" fmla="*/ 12196 h 4178187"/>
                <a:gd name="connsiteX5418" fmla="*/ 820688 w 3009712"/>
                <a:gd name="connsiteY5418" fmla="*/ 11016 h 4178187"/>
                <a:gd name="connsiteX5419" fmla="*/ 817540 w 3009712"/>
                <a:gd name="connsiteY5419" fmla="*/ 11803 h 4178187"/>
                <a:gd name="connsiteX5420" fmla="*/ 814786 w 3009712"/>
                <a:gd name="connsiteY5420" fmla="*/ 12590 h 4178187"/>
                <a:gd name="connsiteX5421" fmla="*/ 811245 w 3009712"/>
                <a:gd name="connsiteY5421" fmla="*/ 12983 h 4178187"/>
                <a:gd name="connsiteX5422" fmla="*/ 808491 w 3009712"/>
                <a:gd name="connsiteY5422" fmla="*/ 13770 h 4178187"/>
                <a:gd name="connsiteX5423" fmla="*/ 805737 w 3009712"/>
                <a:gd name="connsiteY5423" fmla="*/ 14950 h 4178187"/>
                <a:gd name="connsiteX5424" fmla="*/ 802983 w 3009712"/>
                <a:gd name="connsiteY5424" fmla="*/ 15737 h 4178187"/>
                <a:gd name="connsiteX5425" fmla="*/ 799836 w 3009712"/>
                <a:gd name="connsiteY5425" fmla="*/ 16524 h 4178187"/>
                <a:gd name="connsiteX5426" fmla="*/ 794328 w 3009712"/>
                <a:gd name="connsiteY5426" fmla="*/ 18884 h 4178187"/>
                <a:gd name="connsiteX5427" fmla="*/ 791574 w 3009712"/>
                <a:gd name="connsiteY5427" fmla="*/ 19671 h 4178187"/>
                <a:gd name="connsiteX5428" fmla="*/ 788427 w 3009712"/>
                <a:gd name="connsiteY5428" fmla="*/ 20458 h 4178187"/>
                <a:gd name="connsiteX5429" fmla="*/ 785673 w 3009712"/>
                <a:gd name="connsiteY5429" fmla="*/ 21245 h 4178187"/>
                <a:gd name="connsiteX5430" fmla="*/ 782525 w 3009712"/>
                <a:gd name="connsiteY5430" fmla="*/ 22032 h 4178187"/>
                <a:gd name="connsiteX5431" fmla="*/ 779771 w 3009712"/>
                <a:gd name="connsiteY5431" fmla="*/ 22819 h 4178187"/>
                <a:gd name="connsiteX5432" fmla="*/ 776624 w 3009712"/>
                <a:gd name="connsiteY5432" fmla="*/ 23606 h 4178187"/>
                <a:gd name="connsiteX5433" fmla="*/ 773476 w 3009712"/>
                <a:gd name="connsiteY5433" fmla="*/ 23999 h 4178187"/>
                <a:gd name="connsiteX5434" fmla="*/ 770722 w 3009712"/>
                <a:gd name="connsiteY5434" fmla="*/ 24786 h 4178187"/>
                <a:gd name="connsiteX5435" fmla="*/ 767575 w 3009712"/>
                <a:gd name="connsiteY5435" fmla="*/ 25179 h 4178187"/>
                <a:gd name="connsiteX5436" fmla="*/ 764034 w 3009712"/>
                <a:gd name="connsiteY5436" fmla="*/ 25573 h 4178187"/>
                <a:gd name="connsiteX5437" fmla="*/ 761280 w 3009712"/>
                <a:gd name="connsiteY5437" fmla="*/ 25966 h 4178187"/>
                <a:gd name="connsiteX5438" fmla="*/ 758133 w 3009712"/>
                <a:gd name="connsiteY5438" fmla="*/ 25966 h 4178187"/>
                <a:gd name="connsiteX5439" fmla="*/ 754985 w 3009712"/>
                <a:gd name="connsiteY5439" fmla="*/ 26360 h 4178187"/>
                <a:gd name="connsiteX5440" fmla="*/ 751838 w 3009712"/>
                <a:gd name="connsiteY5440" fmla="*/ 26360 h 4178187"/>
                <a:gd name="connsiteX5441" fmla="*/ 749084 w 3009712"/>
                <a:gd name="connsiteY5441" fmla="*/ 26753 h 4178187"/>
                <a:gd name="connsiteX5442" fmla="*/ 745543 w 3009712"/>
                <a:gd name="connsiteY5442" fmla="*/ 27146 h 4178187"/>
                <a:gd name="connsiteX5443" fmla="*/ 742789 w 3009712"/>
                <a:gd name="connsiteY5443" fmla="*/ 26753 h 4178187"/>
                <a:gd name="connsiteX5444" fmla="*/ 740035 w 3009712"/>
                <a:gd name="connsiteY5444" fmla="*/ 27146 h 4178187"/>
                <a:gd name="connsiteX5445" fmla="*/ 736888 w 3009712"/>
                <a:gd name="connsiteY5445" fmla="*/ 27540 h 4178187"/>
                <a:gd name="connsiteX5446" fmla="*/ 733740 w 3009712"/>
                <a:gd name="connsiteY5446" fmla="*/ 27540 h 4178187"/>
                <a:gd name="connsiteX5447" fmla="*/ 730593 w 3009712"/>
                <a:gd name="connsiteY5447" fmla="*/ 27146 h 4178187"/>
                <a:gd name="connsiteX5448" fmla="*/ 733740 w 3009712"/>
                <a:gd name="connsiteY5448" fmla="*/ 26360 h 4178187"/>
                <a:gd name="connsiteX5449" fmla="*/ 736888 w 3009712"/>
                <a:gd name="connsiteY5449" fmla="*/ 24786 h 4178187"/>
                <a:gd name="connsiteX5450" fmla="*/ 734134 w 3009712"/>
                <a:gd name="connsiteY5450" fmla="*/ 25179 h 4178187"/>
                <a:gd name="connsiteX5451" fmla="*/ 730986 w 3009712"/>
                <a:gd name="connsiteY5451" fmla="*/ 25573 h 4178187"/>
                <a:gd name="connsiteX5452" fmla="*/ 728232 w 3009712"/>
                <a:gd name="connsiteY5452" fmla="*/ 25966 h 4178187"/>
                <a:gd name="connsiteX5453" fmla="*/ 725085 w 3009712"/>
                <a:gd name="connsiteY5453" fmla="*/ 26360 h 4178187"/>
                <a:gd name="connsiteX5454" fmla="*/ 721938 w 3009712"/>
                <a:gd name="connsiteY5454" fmla="*/ 27540 h 4178187"/>
                <a:gd name="connsiteX5455" fmla="*/ 718790 w 3009712"/>
                <a:gd name="connsiteY5455" fmla="*/ 28720 h 4178187"/>
                <a:gd name="connsiteX5456" fmla="*/ 716036 w 3009712"/>
                <a:gd name="connsiteY5456" fmla="*/ 29114 h 4178187"/>
                <a:gd name="connsiteX5457" fmla="*/ 712889 w 3009712"/>
                <a:gd name="connsiteY5457" fmla="*/ 29507 h 4178187"/>
                <a:gd name="connsiteX5458" fmla="*/ 711315 w 3009712"/>
                <a:gd name="connsiteY5458" fmla="*/ 29900 h 4178187"/>
                <a:gd name="connsiteX5459" fmla="*/ 708168 w 3009712"/>
                <a:gd name="connsiteY5459" fmla="*/ 31081 h 4178187"/>
                <a:gd name="connsiteX5460" fmla="*/ 711315 w 3009712"/>
                <a:gd name="connsiteY5460" fmla="*/ 30687 h 4178187"/>
                <a:gd name="connsiteX5461" fmla="*/ 707774 w 3009712"/>
                <a:gd name="connsiteY5461" fmla="*/ 33048 h 4178187"/>
                <a:gd name="connsiteX5462" fmla="*/ 709348 w 3009712"/>
                <a:gd name="connsiteY5462" fmla="*/ 31868 h 4178187"/>
                <a:gd name="connsiteX5463" fmla="*/ 708168 w 3009712"/>
                <a:gd name="connsiteY5463" fmla="*/ 32261 h 4178187"/>
                <a:gd name="connsiteX5464" fmla="*/ 705414 w 3009712"/>
                <a:gd name="connsiteY5464" fmla="*/ 31868 h 4178187"/>
                <a:gd name="connsiteX5465" fmla="*/ 702660 w 3009712"/>
                <a:gd name="connsiteY5465" fmla="*/ 32654 h 4178187"/>
                <a:gd name="connsiteX5466" fmla="*/ 699512 w 3009712"/>
                <a:gd name="connsiteY5466" fmla="*/ 33441 h 4178187"/>
                <a:gd name="connsiteX5467" fmla="*/ 697545 w 3009712"/>
                <a:gd name="connsiteY5467" fmla="*/ 33835 h 4178187"/>
                <a:gd name="connsiteX5468" fmla="*/ 660563 w 3009712"/>
                <a:gd name="connsiteY5468" fmla="*/ 40916 h 4178187"/>
                <a:gd name="connsiteX5469" fmla="*/ 660170 w 3009712"/>
                <a:gd name="connsiteY5469" fmla="*/ 40916 h 4178187"/>
                <a:gd name="connsiteX5470" fmla="*/ 659383 w 3009712"/>
                <a:gd name="connsiteY5470" fmla="*/ 41310 h 4178187"/>
                <a:gd name="connsiteX5471" fmla="*/ 655055 w 3009712"/>
                <a:gd name="connsiteY5471" fmla="*/ 42097 h 4178187"/>
                <a:gd name="connsiteX5472" fmla="*/ 654662 w 3009712"/>
                <a:gd name="connsiteY5472" fmla="*/ 40916 h 4178187"/>
                <a:gd name="connsiteX5473" fmla="*/ 657022 w 3009712"/>
                <a:gd name="connsiteY5473" fmla="*/ 39343 h 4178187"/>
                <a:gd name="connsiteX5474" fmla="*/ 663710 w 3009712"/>
                <a:gd name="connsiteY5474" fmla="*/ 39343 h 4178187"/>
                <a:gd name="connsiteX5475" fmla="*/ 660956 w 3009712"/>
                <a:gd name="connsiteY5475" fmla="*/ 38949 h 4178187"/>
                <a:gd name="connsiteX5476" fmla="*/ 657809 w 3009712"/>
                <a:gd name="connsiteY5476" fmla="*/ 38556 h 4178187"/>
                <a:gd name="connsiteX5477" fmla="*/ 655055 w 3009712"/>
                <a:gd name="connsiteY5477" fmla="*/ 39343 h 4178187"/>
                <a:gd name="connsiteX5478" fmla="*/ 656235 w 3009712"/>
                <a:gd name="connsiteY5478" fmla="*/ 39343 h 4178187"/>
                <a:gd name="connsiteX5479" fmla="*/ 654662 w 3009712"/>
                <a:gd name="connsiteY5479" fmla="*/ 39736 h 4178187"/>
                <a:gd name="connsiteX5480" fmla="*/ 651514 w 3009712"/>
                <a:gd name="connsiteY5480" fmla="*/ 40916 h 4178187"/>
                <a:gd name="connsiteX5481" fmla="*/ 648760 w 3009712"/>
                <a:gd name="connsiteY5481" fmla="*/ 42097 h 4178187"/>
                <a:gd name="connsiteX5482" fmla="*/ 645613 w 3009712"/>
                <a:gd name="connsiteY5482" fmla="*/ 42883 h 4178187"/>
                <a:gd name="connsiteX5483" fmla="*/ 642465 w 3009712"/>
                <a:gd name="connsiteY5483" fmla="*/ 44064 h 4178187"/>
                <a:gd name="connsiteX5484" fmla="*/ 639318 w 3009712"/>
                <a:gd name="connsiteY5484" fmla="*/ 44851 h 4178187"/>
                <a:gd name="connsiteX5485" fmla="*/ 636171 w 3009712"/>
                <a:gd name="connsiteY5485" fmla="*/ 46031 h 4178187"/>
                <a:gd name="connsiteX5486" fmla="*/ 633023 w 3009712"/>
                <a:gd name="connsiteY5486" fmla="*/ 46818 h 4178187"/>
                <a:gd name="connsiteX5487" fmla="*/ 630269 w 3009712"/>
                <a:gd name="connsiteY5487" fmla="*/ 48391 h 4178187"/>
                <a:gd name="connsiteX5488" fmla="*/ 623974 w 3009712"/>
                <a:gd name="connsiteY5488" fmla="*/ 50752 h 4178187"/>
                <a:gd name="connsiteX5489" fmla="*/ 623581 w 3009712"/>
                <a:gd name="connsiteY5489" fmla="*/ 50752 h 4178187"/>
                <a:gd name="connsiteX5490" fmla="*/ 622794 w 3009712"/>
                <a:gd name="connsiteY5490" fmla="*/ 51145 h 4178187"/>
                <a:gd name="connsiteX5491" fmla="*/ 620040 w 3009712"/>
                <a:gd name="connsiteY5491" fmla="*/ 51932 h 4178187"/>
                <a:gd name="connsiteX5492" fmla="*/ 617286 w 3009712"/>
                <a:gd name="connsiteY5492" fmla="*/ 52719 h 4178187"/>
                <a:gd name="connsiteX5493" fmla="*/ 614532 w 3009712"/>
                <a:gd name="connsiteY5493" fmla="*/ 53506 h 4178187"/>
                <a:gd name="connsiteX5494" fmla="*/ 611385 w 3009712"/>
                <a:gd name="connsiteY5494" fmla="*/ 54293 h 4178187"/>
                <a:gd name="connsiteX5495" fmla="*/ 608631 w 3009712"/>
                <a:gd name="connsiteY5495" fmla="*/ 55473 h 4178187"/>
                <a:gd name="connsiteX5496" fmla="*/ 607450 w 3009712"/>
                <a:gd name="connsiteY5496" fmla="*/ 56260 h 4178187"/>
                <a:gd name="connsiteX5497" fmla="*/ 599188 w 3009712"/>
                <a:gd name="connsiteY5497" fmla="*/ 59014 h 4178187"/>
                <a:gd name="connsiteX5498" fmla="*/ 601942 w 3009712"/>
                <a:gd name="connsiteY5498" fmla="*/ 57440 h 4178187"/>
                <a:gd name="connsiteX5499" fmla="*/ 601549 w 3009712"/>
                <a:gd name="connsiteY5499" fmla="*/ 57834 h 4178187"/>
                <a:gd name="connsiteX5500" fmla="*/ 598402 w 3009712"/>
                <a:gd name="connsiteY5500" fmla="*/ 59407 h 4178187"/>
                <a:gd name="connsiteX5501" fmla="*/ 598402 w 3009712"/>
                <a:gd name="connsiteY5501" fmla="*/ 59407 h 4178187"/>
                <a:gd name="connsiteX5502" fmla="*/ 542929 w 3009712"/>
                <a:gd name="connsiteY5502" fmla="*/ 78685 h 4178187"/>
                <a:gd name="connsiteX5503" fmla="*/ 540174 w 3009712"/>
                <a:gd name="connsiteY5503" fmla="*/ 79079 h 4178187"/>
                <a:gd name="connsiteX5504" fmla="*/ 537027 w 3009712"/>
                <a:gd name="connsiteY5504" fmla="*/ 79079 h 4178187"/>
                <a:gd name="connsiteX5505" fmla="*/ 534273 w 3009712"/>
                <a:gd name="connsiteY5505" fmla="*/ 79472 h 4178187"/>
                <a:gd name="connsiteX5506" fmla="*/ 531126 w 3009712"/>
                <a:gd name="connsiteY5506" fmla="*/ 79866 h 4178187"/>
                <a:gd name="connsiteX5507" fmla="*/ 528372 w 3009712"/>
                <a:gd name="connsiteY5507" fmla="*/ 80259 h 4178187"/>
                <a:gd name="connsiteX5508" fmla="*/ 525224 w 3009712"/>
                <a:gd name="connsiteY5508" fmla="*/ 80259 h 4178187"/>
                <a:gd name="connsiteX5509" fmla="*/ 522077 w 3009712"/>
                <a:gd name="connsiteY5509" fmla="*/ 80652 h 4178187"/>
                <a:gd name="connsiteX5510" fmla="*/ 518929 w 3009712"/>
                <a:gd name="connsiteY5510" fmla="*/ 81046 h 4178187"/>
                <a:gd name="connsiteX5511" fmla="*/ 513028 w 3009712"/>
                <a:gd name="connsiteY5511" fmla="*/ 81046 h 4178187"/>
                <a:gd name="connsiteX5512" fmla="*/ 510274 w 3009712"/>
                <a:gd name="connsiteY5512" fmla="*/ 81439 h 4178187"/>
                <a:gd name="connsiteX5513" fmla="*/ 507127 w 3009712"/>
                <a:gd name="connsiteY5513" fmla="*/ 81046 h 4178187"/>
                <a:gd name="connsiteX5514" fmla="*/ 503979 w 3009712"/>
                <a:gd name="connsiteY5514" fmla="*/ 81046 h 4178187"/>
                <a:gd name="connsiteX5515" fmla="*/ 501225 w 3009712"/>
                <a:gd name="connsiteY5515" fmla="*/ 80652 h 4178187"/>
                <a:gd name="connsiteX5516" fmla="*/ 498471 w 3009712"/>
                <a:gd name="connsiteY5516" fmla="*/ 82226 h 4178187"/>
                <a:gd name="connsiteX5517" fmla="*/ 495717 w 3009712"/>
                <a:gd name="connsiteY5517" fmla="*/ 84587 h 4178187"/>
                <a:gd name="connsiteX5518" fmla="*/ 492570 w 3009712"/>
                <a:gd name="connsiteY5518" fmla="*/ 86160 h 4178187"/>
                <a:gd name="connsiteX5519" fmla="*/ 489816 w 3009712"/>
                <a:gd name="connsiteY5519" fmla="*/ 87734 h 4178187"/>
                <a:gd name="connsiteX5520" fmla="*/ 486669 w 3009712"/>
                <a:gd name="connsiteY5520" fmla="*/ 89701 h 4178187"/>
                <a:gd name="connsiteX5521" fmla="*/ 483915 w 3009712"/>
                <a:gd name="connsiteY5521" fmla="*/ 90881 h 4178187"/>
                <a:gd name="connsiteX5522" fmla="*/ 480767 w 3009712"/>
                <a:gd name="connsiteY5522" fmla="*/ 92455 h 4178187"/>
                <a:gd name="connsiteX5523" fmla="*/ 477620 w 3009712"/>
                <a:gd name="connsiteY5523" fmla="*/ 94029 h 4178187"/>
                <a:gd name="connsiteX5524" fmla="*/ 474866 w 3009712"/>
                <a:gd name="connsiteY5524" fmla="*/ 95209 h 4178187"/>
                <a:gd name="connsiteX5525" fmla="*/ 470145 w 3009712"/>
                <a:gd name="connsiteY5525" fmla="*/ 102291 h 4178187"/>
                <a:gd name="connsiteX5526" fmla="*/ 467391 w 3009712"/>
                <a:gd name="connsiteY5526" fmla="*/ 102684 h 4178187"/>
                <a:gd name="connsiteX5527" fmla="*/ 466210 w 3009712"/>
                <a:gd name="connsiteY5527" fmla="*/ 102684 h 4178187"/>
                <a:gd name="connsiteX5528" fmla="*/ 464243 w 3009712"/>
                <a:gd name="connsiteY5528" fmla="*/ 103078 h 4178187"/>
                <a:gd name="connsiteX5529" fmla="*/ 466997 w 3009712"/>
                <a:gd name="connsiteY5529" fmla="*/ 103471 h 4178187"/>
                <a:gd name="connsiteX5530" fmla="*/ 470145 w 3009712"/>
                <a:gd name="connsiteY5530" fmla="*/ 103865 h 4178187"/>
                <a:gd name="connsiteX5531" fmla="*/ 472899 w 3009712"/>
                <a:gd name="connsiteY5531" fmla="*/ 106619 h 4178187"/>
                <a:gd name="connsiteX5532" fmla="*/ 472899 w 3009712"/>
                <a:gd name="connsiteY5532" fmla="*/ 109373 h 4178187"/>
                <a:gd name="connsiteX5533" fmla="*/ 476046 w 3009712"/>
                <a:gd name="connsiteY5533" fmla="*/ 109766 h 4178187"/>
                <a:gd name="connsiteX5534" fmla="*/ 478800 w 3009712"/>
                <a:gd name="connsiteY5534" fmla="*/ 110553 h 4178187"/>
                <a:gd name="connsiteX5535" fmla="*/ 481554 w 3009712"/>
                <a:gd name="connsiteY5535" fmla="*/ 112913 h 4178187"/>
                <a:gd name="connsiteX5536" fmla="*/ 484308 w 3009712"/>
                <a:gd name="connsiteY5536" fmla="*/ 118421 h 4178187"/>
                <a:gd name="connsiteX5537" fmla="*/ 488636 w 3009712"/>
                <a:gd name="connsiteY5537" fmla="*/ 126290 h 4178187"/>
                <a:gd name="connsiteX5538" fmla="*/ 485095 w 3009712"/>
                <a:gd name="connsiteY5538" fmla="*/ 131404 h 4178187"/>
                <a:gd name="connsiteX5539" fmla="*/ 482341 w 3009712"/>
                <a:gd name="connsiteY5539" fmla="*/ 134158 h 4178187"/>
                <a:gd name="connsiteX5540" fmla="*/ 479587 w 3009712"/>
                <a:gd name="connsiteY5540" fmla="*/ 136126 h 4178187"/>
                <a:gd name="connsiteX5541" fmla="*/ 479193 w 3009712"/>
                <a:gd name="connsiteY5541" fmla="*/ 138880 h 4178187"/>
                <a:gd name="connsiteX5542" fmla="*/ 481947 w 3009712"/>
                <a:gd name="connsiteY5542" fmla="*/ 139273 h 4178187"/>
                <a:gd name="connsiteX5543" fmla="*/ 485095 w 3009712"/>
                <a:gd name="connsiteY5543" fmla="*/ 139666 h 4178187"/>
                <a:gd name="connsiteX5544" fmla="*/ 487849 w 3009712"/>
                <a:gd name="connsiteY5544" fmla="*/ 140060 h 4178187"/>
                <a:gd name="connsiteX5545" fmla="*/ 490603 w 3009712"/>
                <a:gd name="connsiteY5545" fmla="*/ 140453 h 4178187"/>
                <a:gd name="connsiteX5546" fmla="*/ 493750 w 3009712"/>
                <a:gd name="connsiteY5546" fmla="*/ 140060 h 4178187"/>
                <a:gd name="connsiteX5547" fmla="*/ 496504 w 3009712"/>
                <a:gd name="connsiteY5547" fmla="*/ 140060 h 4178187"/>
                <a:gd name="connsiteX5548" fmla="*/ 496504 w 3009712"/>
                <a:gd name="connsiteY5548" fmla="*/ 140847 h 4178187"/>
                <a:gd name="connsiteX5549" fmla="*/ 499652 w 3009712"/>
                <a:gd name="connsiteY5549" fmla="*/ 140453 h 4178187"/>
                <a:gd name="connsiteX5550" fmla="*/ 502406 w 3009712"/>
                <a:gd name="connsiteY5550" fmla="*/ 139273 h 4178187"/>
                <a:gd name="connsiteX5551" fmla="*/ 504766 w 3009712"/>
                <a:gd name="connsiteY5551" fmla="*/ 138486 h 4178187"/>
                <a:gd name="connsiteX5552" fmla="*/ 507520 w 3009712"/>
                <a:gd name="connsiteY5552" fmla="*/ 136519 h 4178187"/>
                <a:gd name="connsiteX5553" fmla="*/ 507127 w 3009712"/>
                <a:gd name="connsiteY5553" fmla="*/ 138093 h 4178187"/>
                <a:gd name="connsiteX5554" fmla="*/ 503979 w 3009712"/>
                <a:gd name="connsiteY5554" fmla="*/ 139666 h 4178187"/>
                <a:gd name="connsiteX5555" fmla="*/ 501225 w 3009712"/>
                <a:gd name="connsiteY5555" fmla="*/ 141633 h 4178187"/>
                <a:gd name="connsiteX5556" fmla="*/ 504373 w 3009712"/>
                <a:gd name="connsiteY5556" fmla="*/ 141240 h 4178187"/>
                <a:gd name="connsiteX5557" fmla="*/ 507520 w 3009712"/>
                <a:gd name="connsiteY5557" fmla="*/ 139273 h 4178187"/>
                <a:gd name="connsiteX5558" fmla="*/ 507520 w 3009712"/>
                <a:gd name="connsiteY5558" fmla="*/ 140847 h 4178187"/>
                <a:gd name="connsiteX5559" fmla="*/ 510274 w 3009712"/>
                <a:gd name="connsiteY5559" fmla="*/ 140453 h 4178187"/>
                <a:gd name="connsiteX5560" fmla="*/ 515389 w 3009712"/>
                <a:gd name="connsiteY5560" fmla="*/ 142814 h 4178187"/>
                <a:gd name="connsiteX5561" fmla="*/ 514208 w 3009712"/>
                <a:gd name="connsiteY5561" fmla="*/ 143207 h 4178187"/>
                <a:gd name="connsiteX5562" fmla="*/ 511454 w 3009712"/>
                <a:gd name="connsiteY5562" fmla="*/ 143994 h 4178187"/>
                <a:gd name="connsiteX5563" fmla="*/ 510274 w 3009712"/>
                <a:gd name="connsiteY5563" fmla="*/ 144781 h 4178187"/>
                <a:gd name="connsiteX5564" fmla="*/ 505553 w 3009712"/>
                <a:gd name="connsiteY5564" fmla="*/ 146748 h 4178187"/>
                <a:gd name="connsiteX5565" fmla="*/ 501225 w 3009712"/>
                <a:gd name="connsiteY5565" fmla="*/ 150289 h 4178187"/>
                <a:gd name="connsiteX5566" fmla="*/ 501619 w 3009712"/>
                <a:gd name="connsiteY5566" fmla="*/ 154223 h 4178187"/>
                <a:gd name="connsiteX5567" fmla="*/ 502799 w 3009712"/>
                <a:gd name="connsiteY5567" fmla="*/ 155010 h 4178187"/>
                <a:gd name="connsiteX5568" fmla="*/ 505946 w 3009712"/>
                <a:gd name="connsiteY5568" fmla="*/ 155010 h 4178187"/>
                <a:gd name="connsiteX5569" fmla="*/ 507127 w 3009712"/>
                <a:gd name="connsiteY5569" fmla="*/ 154617 h 4178187"/>
                <a:gd name="connsiteX5570" fmla="*/ 503979 w 3009712"/>
                <a:gd name="connsiteY5570" fmla="*/ 156190 h 4178187"/>
                <a:gd name="connsiteX5571" fmla="*/ 500832 w 3009712"/>
                <a:gd name="connsiteY5571" fmla="*/ 156977 h 4178187"/>
                <a:gd name="connsiteX5572" fmla="*/ 497684 w 3009712"/>
                <a:gd name="connsiteY5572" fmla="*/ 157371 h 4178187"/>
                <a:gd name="connsiteX5573" fmla="*/ 494537 w 3009712"/>
                <a:gd name="connsiteY5573" fmla="*/ 156190 h 4178187"/>
                <a:gd name="connsiteX5574" fmla="*/ 493750 w 3009712"/>
                <a:gd name="connsiteY5574" fmla="*/ 153436 h 4178187"/>
                <a:gd name="connsiteX5575" fmla="*/ 495324 w 3009712"/>
                <a:gd name="connsiteY5575" fmla="*/ 150682 h 4178187"/>
                <a:gd name="connsiteX5576" fmla="*/ 498078 w 3009712"/>
                <a:gd name="connsiteY5576" fmla="*/ 149109 h 4178187"/>
                <a:gd name="connsiteX5577" fmla="*/ 499258 w 3009712"/>
                <a:gd name="connsiteY5577" fmla="*/ 145961 h 4178187"/>
                <a:gd name="connsiteX5578" fmla="*/ 498865 w 3009712"/>
                <a:gd name="connsiteY5578" fmla="*/ 143207 h 4178187"/>
                <a:gd name="connsiteX5579" fmla="*/ 496111 w 3009712"/>
                <a:gd name="connsiteY5579" fmla="*/ 143207 h 4178187"/>
                <a:gd name="connsiteX5580" fmla="*/ 492963 w 3009712"/>
                <a:gd name="connsiteY5580" fmla="*/ 143994 h 4178187"/>
                <a:gd name="connsiteX5581" fmla="*/ 490209 w 3009712"/>
                <a:gd name="connsiteY5581" fmla="*/ 146355 h 4178187"/>
                <a:gd name="connsiteX5582" fmla="*/ 489816 w 3009712"/>
                <a:gd name="connsiteY5582" fmla="*/ 149109 h 4178187"/>
                <a:gd name="connsiteX5583" fmla="*/ 492570 w 3009712"/>
                <a:gd name="connsiteY5583" fmla="*/ 149502 h 4178187"/>
                <a:gd name="connsiteX5584" fmla="*/ 492177 w 3009712"/>
                <a:gd name="connsiteY5584" fmla="*/ 152649 h 4178187"/>
                <a:gd name="connsiteX5585" fmla="*/ 492570 w 3009712"/>
                <a:gd name="connsiteY5585" fmla="*/ 155403 h 4178187"/>
                <a:gd name="connsiteX5586" fmla="*/ 489422 w 3009712"/>
                <a:gd name="connsiteY5586" fmla="*/ 157764 h 4178187"/>
                <a:gd name="connsiteX5587" fmla="*/ 486669 w 3009712"/>
                <a:gd name="connsiteY5587" fmla="*/ 159338 h 4178187"/>
                <a:gd name="connsiteX5588" fmla="*/ 483915 w 3009712"/>
                <a:gd name="connsiteY5588" fmla="*/ 161305 h 4178187"/>
                <a:gd name="connsiteX5589" fmla="*/ 487062 w 3009712"/>
                <a:gd name="connsiteY5589" fmla="*/ 160125 h 4178187"/>
                <a:gd name="connsiteX5590" fmla="*/ 489816 w 3009712"/>
                <a:gd name="connsiteY5590" fmla="*/ 159338 h 4178187"/>
                <a:gd name="connsiteX5591" fmla="*/ 495717 w 3009712"/>
                <a:gd name="connsiteY5591" fmla="*/ 159338 h 4178187"/>
                <a:gd name="connsiteX5592" fmla="*/ 496898 w 3009712"/>
                <a:gd name="connsiteY5592" fmla="*/ 159731 h 4178187"/>
                <a:gd name="connsiteX5593" fmla="*/ 476046 w 3009712"/>
                <a:gd name="connsiteY5593" fmla="*/ 169173 h 4178187"/>
                <a:gd name="connsiteX5594" fmla="*/ 439064 w 3009712"/>
                <a:gd name="connsiteY5594" fmla="*/ 161698 h 4178187"/>
                <a:gd name="connsiteX5595" fmla="*/ 439457 w 3009712"/>
                <a:gd name="connsiteY5595" fmla="*/ 161305 h 4178187"/>
                <a:gd name="connsiteX5596" fmla="*/ 442211 w 3009712"/>
                <a:gd name="connsiteY5596" fmla="*/ 159338 h 4178187"/>
                <a:gd name="connsiteX5597" fmla="*/ 445359 w 3009712"/>
                <a:gd name="connsiteY5597" fmla="*/ 158157 h 4178187"/>
                <a:gd name="connsiteX5598" fmla="*/ 448506 w 3009712"/>
                <a:gd name="connsiteY5598" fmla="*/ 156584 h 4178187"/>
                <a:gd name="connsiteX5599" fmla="*/ 450473 w 3009712"/>
                <a:gd name="connsiteY5599" fmla="*/ 153830 h 4178187"/>
                <a:gd name="connsiteX5600" fmla="*/ 453227 w 3009712"/>
                <a:gd name="connsiteY5600" fmla="*/ 153436 h 4178187"/>
                <a:gd name="connsiteX5601" fmla="*/ 450080 w 3009712"/>
                <a:gd name="connsiteY5601" fmla="*/ 153043 h 4178187"/>
                <a:gd name="connsiteX5602" fmla="*/ 447326 w 3009712"/>
                <a:gd name="connsiteY5602" fmla="*/ 153436 h 4178187"/>
                <a:gd name="connsiteX5603" fmla="*/ 441031 w 3009712"/>
                <a:gd name="connsiteY5603" fmla="*/ 153436 h 4178187"/>
                <a:gd name="connsiteX5604" fmla="*/ 438277 w 3009712"/>
                <a:gd name="connsiteY5604" fmla="*/ 153830 h 4178187"/>
                <a:gd name="connsiteX5605" fmla="*/ 435523 w 3009712"/>
                <a:gd name="connsiteY5605" fmla="*/ 154223 h 4178187"/>
                <a:gd name="connsiteX5606" fmla="*/ 432769 w 3009712"/>
                <a:gd name="connsiteY5606" fmla="*/ 154617 h 4178187"/>
                <a:gd name="connsiteX5607" fmla="*/ 429228 w 3009712"/>
                <a:gd name="connsiteY5607" fmla="*/ 155010 h 4178187"/>
                <a:gd name="connsiteX5608" fmla="*/ 423720 w 3009712"/>
                <a:gd name="connsiteY5608" fmla="*/ 156584 h 4178187"/>
                <a:gd name="connsiteX5609" fmla="*/ 420573 w 3009712"/>
                <a:gd name="connsiteY5609" fmla="*/ 157371 h 4178187"/>
                <a:gd name="connsiteX5610" fmla="*/ 417819 w 3009712"/>
                <a:gd name="connsiteY5610" fmla="*/ 158157 h 4178187"/>
                <a:gd name="connsiteX5611" fmla="*/ 415852 w 3009712"/>
                <a:gd name="connsiteY5611" fmla="*/ 157764 h 4178187"/>
                <a:gd name="connsiteX5612" fmla="*/ 412704 w 3009712"/>
                <a:gd name="connsiteY5612" fmla="*/ 158157 h 4178187"/>
                <a:gd name="connsiteX5613" fmla="*/ 409557 w 3009712"/>
                <a:gd name="connsiteY5613" fmla="*/ 158551 h 4178187"/>
                <a:gd name="connsiteX5614" fmla="*/ 406409 w 3009712"/>
                <a:gd name="connsiteY5614" fmla="*/ 158944 h 4178187"/>
                <a:gd name="connsiteX5615" fmla="*/ 403656 w 3009712"/>
                <a:gd name="connsiteY5615" fmla="*/ 159338 h 4178187"/>
                <a:gd name="connsiteX5616" fmla="*/ 400508 w 3009712"/>
                <a:gd name="connsiteY5616" fmla="*/ 159731 h 4178187"/>
                <a:gd name="connsiteX5617" fmla="*/ 397754 w 3009712"/>
                <a:gd name="connsiteY5617" fmla="*/ 160518 h 4178187"/>
                <a:gd name="connsiteX5618" fmla="*/ 394607 w 3009712"/>
                <a:gd name="connsiteY5618" fmla="*/ 161305 h 4178187"/>
                <a:gd name="connsiteX5619" fmla="*/ 393033 w 3009712"/>
                <a:gd name="connsiteY5619" fmla="*/ 162879 h 4178187"/>
                <a:gd name="connsiteX5620" fmla="*/ 380837 w 3009712"/>
                <a:gd name="connsiteY5620" fmla="*/ 165632 h 4178187"/>
                <a:gd name="connsiteX5621" fmla="*/ 380050 w 3009712"/>
                <a:gd name="connsiteY5621" fmla="*/ 165239 h 4178187"/>
                <a:gd name="connsiteX5622" fmla="*/ 376903 w 3009712"/>
                <a:gd name="connsiteY5622" fmla="*/ 165632 h 4178187"/>
                <a:gd name="connsiteX5623" fmla="*/ 374149 w 3009712"/>
                <a:gd name="connsiteY5623" fmla="*/ 166026 h 4178187"/>
                <a:gd name="connsiteX5624" fmla="*/ 371001 w 3009712"/>
                <a:gd name="connsiteY5624" fmla="*/ 166419 h 4178187"/>
                <a:gd name="connsiteX5625" fmla="*/ 367854 w 3009712"/>
                <a:gd name="connsiteY5625" fmla="*/ 167206 h 4178187"/>
                <a:gd name="connsiteX5626" fmla="*/ 364706 w 3009712"/>
                <a:gd name="connsiteY5626" fmla="*/ 167600 h 4178187"/>
                <a:gd name="connsiteX5627" fmla="*/ 361559 w 3009712"/>
                <a:gd name="connsiteY5627" fmla="*/ 168780 h 4178187"/>
                <a:gd name="connsiteX5628" fmla="*/ 358805 w 3009712"/>
                <a:gd name="connsiteY5628" fmla="*/ 169567 h 4178187"/>
                <a:gd name="connsiteX5629" fmla="*/ 358018 w 3009712"/>
                <a:gd name="connsiteY5629" fmla="*/ 169567 h 4178187"/>
                <a:gd name="connsiteX5630" fmla="*/ 355657 w 3009712"/>
                <a:gd name="connsiteY5630" fmla="*/ 169960 h 4178187"/>
                <a:gd name="connsiteX5631" fmla="*/ 355657 w 3009712"/>
                <a:gd name="connsiteY5631" fmla="*/ 169960 h 4178187"/>
                <a:gd name="connsiteX5632" fmla="*/ 344248 w 3009712"/>
                <a:gd name="connsiteY5632" fmla="*/ 172321 h 4178187"/>
                <a:gd name="connsiteX5633" fmla="*/ 344248 w 3009712"/>
                <a:gd name="connsiteY5633" fmla="*/ 172321 h 4178187"/>
                <a:gd name="connsiteX5634" fmla="*/ 341101 w 3009712"/>
                <a:gd name="connsiteY5634" fmla="*/ 172714 h 4178187"/>
                <a:gd name="connsiteX5635" fmla="*/ 340314 w 3009712"/>
                <a:gd name="connsiteY5635" fmla="*/ 173108 h 4178187"/>
                <a:gd name="connsiteX5636" fmla="*/ 325757 w 3009712"/>
                <a:gd name="connsiteY5636" fmla="*/ 176255 h 4178187"/>
                <a:gd name="connsiteX5637" fmla="*/ 327724 w 3009712"/>
                <a:gd name="connsiteY5637" fmla="*/ 177829 h 4178187"/>
                <a:gd name="connsiteX5638" fmla="*/ 326151 w 3009712"/>
                <a:gd name="connsiteY5638" fmla="*/ 177829 h 4178187"/>
                <a:gd name="connsiteX5639" fmla="*/ 323003 w 3009712"/>
                <a:gd name="connsiteY5639" fmla="*/ 178222 h 4178187"/>
                <a:gd name="connsiteX5640" fmla="*/ 319856 w 3009712"/>
                <a:gd name="connsiteY5640" fmla="*/ 179009 h 4178187"/>
                <a:gd name="connsiteX5641" fmla="*/ 316708 w 3009712"/>
                <a:gd name="connsiteY5641" fmla="*/ 178616 h 4178187"/>
                <a:gd name="connsiteX5642" fmla="*/ 319856 w 3009712"/>
                <a:gd name="connsiteY5642" fmla="*/ 177829 h 4178187"/>
                <a:gd name="connsiteX5643" fmla="*/ 322610 w 3009712"/>
                <a:gd name="connsiteY5643" fmla="*/ 177042 h 4178187"/>
                <a:gd name="connsiteX5644" fmla="*/ 325757 w 3009712"/>
                <a:gd name="connsiteY5644" fmla="*/ 175862 h 4178187"/>
                <a:gd name="connsiteX5645" fmla="*/ 323790 w 3009712"/>
                <a:gd name="connsiteY5645" fmla="*/ 176255 h 4178187"/>
                <a:gd name="connsiteX5646" fmla="*/ 321036 w 3009712"/>
                <a:gd name="connsiteY5646" fmla="*/ 177042 h 4178187"/>
                <a:gd name="connsiteX5647" fmla="*/ 317889 w 3009712"/>
                <a:gd name="connsiteY5647" fmla="*/ 177829 h 4178187"/>
                <a:gd name="connsiteX5648" fmla="*/ 314741 w 3009712"/>
                <a:gd name="connsiteY5648" fmla="*/ 179009 h 4178187"/>
                <a:gd name="connsiteX5649" fmla="*/ 315135 w 3009712"/>
                <a:gd name="connsiteY5649" fmla="*/ 181763 h 4178187"/>
                <a:gd name="connsiteX5650" fmla="*/ 317889 w 3009712"/>
                <a:gd name="connsiteY5650" fmla="*/ 183337 h 4178187"/>
                <a:gd name="connsiteX5651" fmla="*/ 320249 w 3009712"/>
                <a:gd name="connsiteY5651" fmla="*/ 186091 h 4178187"/>
                <a:gd name="connsiteX5652" fmla="*/ 323397 w 3009712"/>
                <a:gd name="connsiteY5652" fmla="*/ 186484 h 4178187"/>
                <a:gd name="connsiteX5653" fmla="*/ 326151 w 3009712"/>
                <a:gd name="connsiteY5653" fmla="*/ 186878 h 4178187"/>
                <a:gd name="connsiteX5654" fmla="*/ 328905 w 3009712"/>
                <a:gd name="connsiteY5654" fmla="*/ 187664 h 4178187"/>
                <a:gd name="connsiteX5655" fmla="*/ 331658 w 3009712"/>
                <a:gd name="connsiteY5655" fmla="*/ 187271 h 4178187"/>
                <a:gd name="connsiteX5656" fmla="*/ 334412 w 3009712"/>
                <a:gd name="connsiteY5656" fmla="*/ 187664 h 4178187"/>
                <a:gd name="connsiteX5657" fmla="*/ 337560 w 3009712"/>
                <a:gd name="connsiteY5657" fmla="*/ 188451 h 4178187"/>
                <a:gd name="connsiteX5658" fmla="*/ 340314 w 3009712"/>
                <a:gd name="connsiteY5658" fmla="*/ 188845 h 4178187"/>
                <a:gd name="connsiteX5659" fmla="*/ 343068 w 3009712"/>
                <a:gd name="connsiteY5659" fmla="*/ 191599 h 4178187"/>
                <a:gd name="connsiteX5660" fmla="*/ 341494 w 3009712"/>
                <a:gd name="connsiteY5660" fmla="*/ 191599 h 4178187"/>
                <a:gd name="connsiteX5661" fmla="*/ 338347 w 3009712"/>
                <a:gd name="connsiteY5661" fmla="*/ 190812 h 4178187"/>
                <a:gd name="connsiteX5662" fmla="*/ 335199 w 3009712"/>
                <a:gd name="connsiteY5662" fmla="*/ 191205 h 4178187"/>
                <a:gd name="connsiteX5663" fmla="*/ 332445 w 3009712"/>
                <a:gd name="connsiteY5663" fmla="*/ 191992 h 4178187"/>
                <a:gd name="connsiteX5664" fmla="*/ 329691 w 3009712"/>
                <a:gd name="connsiteY5664" fmla="*/ 193566 h 4178187"/>
                <a:gd name="connsiteX5665" fmla="*/ 326544 w 3009712"/>
                <a:gd name="connsiteY5665" fmla="*/ 194746 h 4178187"/>
                <a:gd name="connsiteX5666" fmla="*/ 323397 w 3009712"/>
                <a:gd name="connsiteY5666" fmla="*/ 195139 h 4178187"/>
                <a:gd name="connsiteX5667" fmla="*/ 320643 w 3009712"/>
                <a:gd name="connsiteY5667" fmla="*/ 193566 h 4178187"/>
                <a:gd name="connsiteX5668" fmla="*/ 323397 w 3009712"/>
                <a:gd name="connsiteY5668" fmla="*/ 191992 h 4178187"/>
                <a:gd name="connsiteX5669" fmla="*/ 326544 w 3009712"/>
                <a:gd name="connsiteY5669" fmla="*/ 190418 h 4178187"/>
                <a:gd name="connsiteX5670" fmla="*/ 323397 w 3009712"/>
                <a:gd name="connsiteY5670" fmla="*/ 191205 h 4178187"/>
                <a:gd name="connsiteX5671" fmla="*/ 320643 w 3009712"/>
                <a:gd name="connsiteY5671" fmla="*/ 192779 h 4178187"/>
                <a:gd name="connsiteX5672" fmla="*/ 318675 w 3009712"/>
                <a:gd name="connsiteY5672" fmla="*/ 195533 h 4178187"/>
                <a:gd name="connsiteX5673" fmla="*/ 318282 w 3009712"/>
                <a:gd name="connsiteY5673" fmla="*/ 198680 h 4178187"/>
                <a:gd name="connsiteX5674" fmla="*/ 319856 w 3009712"/>
                <a:gd name="connsiteY5674" fmla="*/ 201434 h 4178187"/>
                <a:gd name="connsiteX5675" fmla="*/ 319856 w 3009712"/>
                <a:gd name="connsiteY5675" fmla="*/ 202221 h 4178187"/>
                <a:gd name="connsiteX5676" fmla="*/ 317102 w 3009712"/>
                <a:gd name="connsiteY5676" fmla="*/ 203795 h 4178187"/>
                <a:gd name="connsiteX5677" fmla="*/ 313954 w 3009712"/>
                <a:gd name="connsiteY5677" fmla="*/ 205369 h 4178187"/>
                <a:gd name="connsiteX5678" fmla="*/ 311200 w 3009712"/>
                <a:gd name="connsiteY5678" fmla="*/ 207729 h 4178187"/>
                <a:gd name="connsiteX5679" fmla="*/ 311594 w 3009712"/>
                <a:gd name="connsiteY5679" fmla="*/ 210483 h 4178187"/>
                <a:gd name="connsiteX5680" fmla="*/ 314741 w 3009712"/>
                <a:gd name="connsiteY5680" fmla="*/ 211270 h 4178187"/>
                <a:gd name="connsiteX5681" fmla="*/ 317495 w 3009712"/>
                <a:gd name="connsiteY5681" fmla="*/ 211663 h 4178187"/>
                <a:gd name="connsiteX5682" fmla="*/ 320643 w 3009712"/>
                <a:gd name="connsiteY5682" fmla="*/ 212057 h 4178187"/>
                <a:gd name="connsiteX5683" fmla="*/ 323397 w 3009712"/>
                <a:gd name="connsiteY5683" fmla="*/ 212450 h 4178187"/>
                <a:gd name="connsiteX5684" fmla="*/ 326151 w 3009712"/>
                <a:gd name="connsiteY5684" fmla="*/ 212844 h 4178187"/>
                <a:gd name="connsiteX5685" fmla="*/ 328905 w 3009712"/>
                <a:gd name="connsiteY5685" fmla="*/ 213237 h 4178187"/>
                <a:gd name="connsiteX5686" fmla="*/ 331658 w 3009712"/>
                <a:gd name="connsiteY5686" fmla="*/ 214417 h 4178187"/>
                <a:gd name="connsiteX5687" fmla="*/ 334806 w 3009712"/>
                <a:gd name="connsiteY5687" fmla="*/ 214417 h 4178187"/>
                <a:gd name="connsiteX5688" fmla="*/ 337560 w 3009712"/>
                <a:gd name="connsiteY5688" fmla="*/ 213237 h 4178187"/>
                <a:gd name="connsiteX5689" fmla="*/ 340707 w 3009712"/>
                <a:gd name="connsiteY5689" fmla="*/ 212450 h 4178187"/>
                <a:gd name="connsiteX5690" fmla="*/ 343461 w 3009712"/>
                <a:gd name="connsiteY5690" fmla="*/ 212844 h 4178187"/>
                <a:gd name="connsiteX5691" fmla="*/ 346609 w 3009712"/>
                <a:gd name="connsiteY5691" fmla="*/ 212057 h 4178187"/>
                <a:gd name="connsiteX5692" fmla="*/ 349363 w 3009712"/>
                <a:gd name="connsiteY5692" fmla="*/ 211663 h 4178187"/>
                <a:gd name="connsiteX5693" fmla="*/ 352510 w 3009712"/>
                <a:gd name="connsiteY5693" fmla="*/ 210877 h 4178187"/>
                <a:gd name="connsiteX5694" fmla="*/ 355264 w 3009712"/>
                <a:gd name="connsiteY5694" fmla="*/ 210877 h 4178187"/>
                <a:gd name="connsiteX5695" fmla="*/ 352510 w 3009712"/>
                <a:gd name="connsiteY5695" fmla="*/ 211270 h 4178187"/>
                <a:gd name="connsiteX5696" fmla="*/ 355657 w 3009712"/>
                <a:gd name="connsiteY5696" fmla="*/ 210877 h 4178187"/>
                <a:gd name="connsiteX5697" fmla="*/ 358018 w 3009712"/>
                <a:gd name="connsiteY5697" fmla="*/ 210877 h 4178187"/>
                <a:gd name="connsiteX5698" fmla="*/ 361165 w 3009712"/>
                <a:gd name="connsiteY5698" fmla="*/ 211270 h 4178187"/>
                <a:gd name="connsiteX5699" fmla="*/ 364313 w 3009712"/>
                <a:gd name="connsiteY5699" fmla="*/ 210877 h 4178187"/>
                <a:gd name="connsiteX5700" fmla="*/ 367460 w 3009712"/>
                <a:gd name="connsiteY5700" fmla="*/ 210877 h 4178187"/>
                <a:gd name="connsiteX5701" fmla="*/ 370214 w 3009712"/>
                <a:gd name="connsiteY5701" fmla="*/ 211270 h 4178187"/>
                <a:gd name="connsiteX5702" fmla="*/ 372968 w 3009712"/>
                <a:gd name="connsiteY5702" fmla="*/ 213237 h 4178187"/>
                <a:gd name="connsiteX5703" fmla="*/ 374542 w 3009712"/>
                <a:gd name="connsiteY5703" fmla="*/ 215991 h 4178187"/>
                <a:gd name="connsiteX5704" fmla="*/ 377296 w 3009712"/>
                <a:gd name="connsiteY5704" fmla="*/ 214417 h 4178187"/>
                <a:gd name="connsiteX5705" fmla="*/ 380443 w 3009712"/>
                <a:gd name="connsiteY5705" fmla="*/ 212844 h 4178187"/>
                <a:gd name="connsiteX5706" fmla="*/ 377296 w 3009712"/>
                <a:gd name="connsiteY5706" fmla="*/ 210483 h 4178187"/>
                <a:gd name="connsiteX5707" fmla="*/ 380050 w 3009712"/>
                <a:gd name="connsiteY5707" fmla="*/ 209696 h 4178187"/>
                <a:gd name="connsiteX5708" fmla="*/ 383197 w 3009712"/>
                <a:gd name="connsiteY5708" fmla="*/ 209303 h 4178187"/>
                <a:gd name="connsiteX5709" fmla="*/ 383984 w 3009712"/>
                <a:gd name="connsiteY5709" fmla="*/ 212450 h 4178187"/>
                <a:gd name="connsiteX5710" fmla="*/ 382411 w 3009712"/>
                <a:gd name="connsiteY5710" fmla="*/ 215204 h 4178187"/>
                <a:gd name="connsiteX5711" fmla="*/ 380050 w 3009712"/>
                <a:gd name="connsiteY5711" fmla="*/ 217958 h 4178187"/>
                <a:gd name="connsiteX5712" fmla="*/ 382804 w 3009712"/>
                <a:gd name="connsiteY5712" fmla="*/ 217171 h 4178187"/>
                <a:gd name="connsiteX5713" fmla="*/ 385558 w 3009712"/>
                <a:gd name="connsiteY5713" fmla="*/ 215598 h 4178187"/>
                <a:gd name="connsiteX5714" fmla="*/ 388705 w 3009712"/>
                <a:gd name="connsiteY5714" fmla="*/ 214024 h 4178187"/>
                <a:gd name="connsiteX5715" fmla="*/ 391459 w 3009712"/>
                <a:gd name="connsiteY5715" fmla="*/ 212450 h 4178187"/>
                <a:gd name="connsiteX5716" fmla="*/ 394213 w 3009712"/>
                <a:gd name="connsiteY5716" fmla="*/ 211663 h 4178187"/>
                <a:gd name="connsiteX5717" fmla="*/ 397361 w 3009712"/>
                <a:gd name="connsiteY5717" fmla="*/ 210877 h 4178187"/>
                <a:gd name="connsiteX5718" fmla="*/ 400508 w 3009712"/>
                <a:gd name="connsiteY5718" fmla="*/ 210483 h 4178187"/>
                <a:gd name="connsiteX5719" fmla="*/ 403656 w 3009712"/>
                <a:gd name="connsiteY5719" fmla="*/ 209696 h 4178187"/>
                <a:gd name="connsiteX5720" fmla="*/ 406409 w 3009712"/>
                <a:gd name="connsiteY5720" fmla="*/ 208123 h 4178187"/>
                <a:gd name="connsiteX5721" fmla="*/ 409164 w 3009712"/>
                <a:gd name="connsiteY5721" fmla="*/ 207729 h 4178187"/>
                <a:gd name="connsiteX5722" fmla="*/ 411918 w 3009712"/>
                <a:gd name="connsiteY5722" fmla="*/ 207336 h 4178187"/>
                <a:gd name="connsiteX5723" fmla="*/ 414671 w 3009712"/>
                <a:gd name="connsiteY5723" fmla="*/ 206942 h 4178187"/>
                <a:gd name="connsiteX5724" fmla="*/ 417819 w 3009712"/>
                <a:gd name="connsiteY5724" fmla="*/ 205762 h 4178187"/>
                <a:gd name="connsiteX5725" fmla="*/ 415065 w 3009712"/>
                <a:gd name="connsiteY5725" fmla="*/ 206155 h 4178187"/>
                <a:gd name="connsiteX5726" fmla="*/ 417819 w 3009712"/>
                <a:gd name="connsiteY5726" fmla="*/ 204975 h 4178187"/>
                <a:gd name="connsiteX5727" fmla="*/ 420966 w 3009712"/>
                <a:gd name="connsiteY5727" fmla="*/ 204582 h 4178187"/>
                <a:gd name="connsiteX5728" fmla="*/ 424114 w 3009712"/>
                <a:gd name="connsiteY5728" fmla="*/ 205762 h 4178187"/>
                <a:gd name="connsiteX5729" fmla="*/ 426868 w 3009712"/>
                <a:gd name="connsiteY5729" fmla="*/ 204975 h 4178187"/>
                <a:gd name="connsiteX5730" fmla="*/ 430015 w 3009712"/>
                <a:gd name="connsiteY5730" fmla="*/ 204582 h 4178187"/>
                <a:gd name="connsiteX5731" fmla="*/ 432769 w 3009712"/>
                <a:gd name="connsiteY5731" fmla="*/ 203008 h 4178187"/>
                <a:gd name="connsiteX5732" fmla="*/ 435916 w 3009712"/>
                <a:gd name="connsiteY5732" fmla="*/ 201434 h 4178187"/>
                <a:gd name="connsiteX5733" fmla="*/ 438671 w 3009712"/>
                <a:gd name="connsiteY5733" fmla="*/ 200647 h 4178187"/>
                <a:gd name="connsiteX5734" fmla="*/ 441818 w 3009712"/>
                <a:gd name="connsiteY5734" fmla="*/ 200254 h 4178187"/>
                <a:gd name="connsiteX5735" fmla="*/ 444572 w 3009712"/>
                <a:gd name="connsiteY5735" fmla="*/ 199861 h 4178187"/>
                <a:gd name="connsiteX5736" fmla="*/ 442998 w 3009712"/>
                <a:gd name="connsiteY5736" fmla="*/ 200254 h 4178187"/>
                <a:gd name="connsiteX5737" fmla="*/ 440244 w 3009712"/>
                <a:gd name="connsiteY5737" fmla="*/ 200647 h 4178187"/>
                <a:gd name="connsiteX5738" fmla="*/ 440638 w 3009712"/>
                <a:gd name="connsiteY5738" fmla="*/ 201434 h 4178187"/>
                <a:gd name="connsiteX5739" fmla="*/ 418999 w 3009712"/>
                <a:gd name="connsiteY5739" fmla="*/ 211663 h 4178187"/>
                <a:gd name="connsiteX5740" fmla="*/ 416639 w 3009712"/>
                <a:gd name="connsiteY5740" fmla="*/ 212057 h 4178187"/>
                <a:gd name="connsiteX5741" fmla="*/ 415065 w 3009712"/>
                <a:gd name="connsiteY5741" fmla="*/ 212844 h 4178187"/>
                <a:gd name="connsiteX5742" fmla="*/ 312774 w 3009712"/>
                <a:gd name="connsiteY5742" fmla="*/ 258481 h 4178187"/>
                <a:gd name="connsiteX5743" fmla="*/ 313167 w 3009712"/>
                <a:gd name="connsiteY5743" fmla="*/ 255727 h 4178187"/>
                <a:gd name="connsiteX5744" fmla="*/ 310807 w 3009712"/>
                <a:gd name="connsiteY5744" fmla="*/ 255334 h 4178187"/>
                <a:gd name="connsiteX5745" fmla="*/ 307660 w 3009712"/>
                <a:gd name="connsiteY5745" fmla="*/ 254547 h 4178187"/>
                <a:gd name="connsiteX5746" fmla="*/ 304906 w 3009712"/>
                <a:gd name="connsiteY5746" fmla="*/ 254547 h 4178187"/>
                <a:gd name="connsiteX5747" fmla="*/ 302151 w 3009712"/>
                <a:gd name="connsiteY5747" fmla="*/ 254940 h 4178187"/>
                <a:gd name="connsiteX5748" fmla="*/ 299004 w 3009712"/>
                <a:gd name="connsiteY5748" fmla="*/ 255334 h 4178187"/>
                <a:gd name="connsiteX5749" fmla="*/ 296250 w 3009712"/>
                <a:gd name="connsiteY5749" fmla="*/ 256121 h 4178187"/>
                <a:gd name="connsiteX5750" fmla="*/ 293103 w 3009712"/>
                <a:gd name="connsiteY5750" fmla="*/ 257301 h 4178187"/>
                <a:gd name="connsiteX5751" fmla="*/ 289955 w 3009712"/>
                <a:gd name="connsiteY5751" fmla="*/ 258875 h 4178187"/>
                <a:gd name="connsiteX5752" fmla="*/ 291529 w 3009712"/>
                <a:gd name="connsiteY5752" fmla="*/ 261629 h 4178187"/>
                <a:gd name="connsiteX5753" fmla="*/ 289562 w 3009712"/>
                <a:gd name="connsiteY5753" fmla="*/ 261235 h 4178187"/>
                <a:gd name="connsiteX5754" fmla="*/ 286808 w 3009712"/>
                <a:gd name="connsiteY5754" fmla="*/ 261235 h 4178187"/>
                <a:gd name="connsiteX5755" fmla="*/ 283661 w 3009712"/>
                <a:gd name="connsiteY5755" fmla="*/ 261629 h 4178187"/>
                <a:gd name="connsiteX5756" fmla="*/ 280513 w 3009712"/>
                <a:gd name="connsiteY5756" fmla="*/ 262809 h 4178187"/>
                <a:gd name="connsiteX5757" fmla="*/ 277759 w 3009712"/>
                <a:gd name="connsiteY5757" fmla="*/ 264382 h 4178187"/>
                <a:gd name="connsiteX5758" fmla="*/ 274612 w 3009712"/>
                <a:gd name="connsiteY5758" fmla="*/ 265956 h 4178187"/>
                <a:gd name="connsiteX5759" fmla="*/ 272251 w 3009712"/>
                <a:gd name="connsiteY5759" fmla="*/ 269104 h 4178187"/>
                <a:gd name="connsiteX5760" fmla="*/ 270284 w 3009712"/>
                <a:gd name="connsiteY5760" fmla="*/ 268710 h 4178187"/>
                <a:gd name="connsiteX5761" fmla="*/ 267137 w 3009712"/>
                <a:gd name="connsiteY5761" fmla="*/ 271071 h 4178187"/>
                <a:gd name="connsiteX5762" fmla="*/ 264776 w 3009712"/>
                <a:gd name="connsiteY5762" fmla="*/ 274218 h 4178187"/>
                <a:gd name="connsiteX5763" fmla="*/ 267530 w 3009712"/>
                <a:gd name="connsiteY5763" fmla="*/ 273431 h 4178187"/>
                <a:gd name="connsiteX5764" fmla="*/ 273825 w 3009712"/>
                <a:gd name="connsiteY5764" fmla="*/ 271071 h 4178187"/>
                <a:gd name="connsiteX5765" fmla="*/ 276579 w 3009712"/>
                <a:gd name="connsiteY5765" fmla="*/ 269890 h 4178187"/>
                <a:gd name="connsiteX5766" fmla="*/ 276972 w 3009712"/>
                <a:gd name="connsiteY5766" fmla="*/ 269890 h 4178187"/>
                <a:gd name="connsiteX5767" fmla="*/ 274218 w 3009712"/>
                <a:gd name="connsiteY5767" fmla="*/ 271071 h 4178187"/>
                <a:gd name="connsiteX5768" fmla="*/ 271464 w 3009712"/>
                <a:gd name="connsiteY5768" fmla="*/ 272644 h 4178187"/>
                <a:gd name="connsiteX5769" fmla="*/ 268317 w 3009712"/>
                <a:gd name="connsiteY5769" fmla="*/ 273825 h 4178187"/>
                <a:gd name="connsiteX5770" fmla="*/ 265563 w 3009712"/>
                <a:gd name="connsiteY5770" fmla="*/ 274612 h 4178187"/>
                <a:gd name="connsiteX5771" fmla="*/ 262809 w 3009712"/>
                <a:gd name="connsiteY5771" fmla="*/ 275005 h 4178187"/>
                <a:gd name="connsiteX5772" fmla="*/ 260055 w 3009712"/>
                <a:gd name="connsiteY5772" fmla="*/ 277759 h 4178187"/>
                <a:gd name="connsiteX5773" fmla="*/ 262809 w 3009712"/>
                <a:gd name="connsiteY5773" fmla="*/ 278939 h 4178187"/>
                <a:gd name="connsiteX5774" fmla="*/ 261629 w 3009712"/>
                <a:gd name="connsiteY5774" fmla="*/ 279726 h 4178187"/>
                <a:gd name="connsiteX5775" fmla="*/ 259268 w 3009712"/>
                <a:gd name="connsiteY5775" fmla="*/ 280513 h 4178187"/>
                <a:gd name="connsiteX5776" fmla="*/ 256514 w 3009712"/>
                <a:gd name="connsiteY5776" fmla="*/ 281300 h 4178187"/>
                <a:gd name="connsiteX5777" fmla="*/ 259661 w 3009712"/>
                <a:gd name="connsiteY5777" fmla="*/ 279333 h 4178187"/>
                <a:gd name="connsiteX5778" fmla="*/ 259268 w 3009712"/>
                <a:gd name="connsiteY5778" fmla="*/ 276579 h 4178187"/>
                <a:gd name="connsiteX5779" fmla="*/ 256514 w 3009712"/>
                <a:gd name="connsiteY5779" fmla="*/ 276579 h 4178187"/>
                <a:gd name="connsiteX5780" fmla="*/ 253760 w 3009712"/>
                <a:gd name="connsiteY5780" fmla="*/ 276972 h 4178187"/>
                <a:gd name="connsiteX5781" fmla="*/ 251006 w 3009712"/>
                <a:gd name="connsiteY5781" fmla="*/ 277759 h 4178187"/>
                <a:gd name="connsiteX5782" fmla="*/ 248252 w 3009712"/>
                <a:gd name="connsiteY5782" fmla="*/ 278939 h 4178187"/>
                <a:gd name="connsiteX5783" fmla="*/ 245105 w 3009712"/>
                <a:gd name="connsiteY5783" fmla="*/ 280120 h 4178187"/>
                <a:gd name="connsiteX5784" fmla="*/ 241957 w 3009712"/>
                <a:gd name="connsiteY5784" fmla="*/ 281693 h 4178187"/>
                <a:gd name="connsiteX5785" fmla="*/ 239203 w 3009712"/>
                <a:gd name="connsiteY5785" fmla="*/ 282874 h 4178187"/>
                <a:gd name="connsiteX5786" fmla="*/ 236449 w 3009712"/>
                <a:gd name="connsiteY5786" fmla="*/ 284054 h 4178187"/>
                <a:gd name="connsiteX5787" fmla="*/ 233302 w 3009712"/>
                <a:gd name="connsiteY5787" fmla="*/ 285628 h 4178187"/>
                <a:gd name="connsiteX5788" fmla="*/ 230548 w 3009712"/>
                <a:gd name="connsiteY5788" fmla="*/ 286808 h 4178187"/>
                <a:gd name="connsiteX5789" fmla="*/ 227794 w 3009712"/>
                <a:gd name="connsiteY5789" fmla="*/ 288382 h 4178187"/>
                <a:gd name="connsiteX5790" fmla="*/ 224253 w 3009712"/>
                <a:gd name="connsiteY5790" fmla="*/ 289168 h 4178187"/>
                <a:gd name="connsiteX5791" fmla="*/ 218745 w 3009712"/>
                <a:gd name="connsiteY5791" fmla="*/ 292709 h 4178187"/>
                <a:gd name="connsiteX5792" fmla="*/ 215598 w 3009712"/>
                <a:gd name="connsiteY5792" fmla="*/ 295070 h 4178187"/>
                <a:gd name="connsiteX5793" fmla="*/ 212844 w 3009712"/>
                <a:gd name="connsiteY5793" fmla="*/ 297824 h 4178187"/>
                <a:gd name="connsiteX5794" fmla="*/ 209696 w 3009712"/>
                <a:gd name="connsiteY5794" fmla="*/ 298611 h 4178187"/>
                <a:gd name="connsiteX5795" fmla="*/ 204188 w 3009712"/>
                <a:gd name="connsiteY5795" fmla="*/ 298611 h 4178187"/>
                <a:gd name="connsiteX5796" fmla="*/ 201434 w 3009712"/>
                <a:gd name="connsiteY5796" fmla="*/ 299397 h 4178187"/>
                <a:gd name="connsiteX5797" fmla="*/ 201434 w 3009712"/>
                <a:gd name="connsiteY5797" fmla="*/ 302151 h 4178187"/>
                <a:gd name="connsiteX5798" fmla="*/ 204188 w 3009712"/>
                <a:gd name="connsiteY5798" fmla="*/ 302545 h 4178187"/>
                <a:gd name="connsiteX5799" fmla="*/ 201041 w 3009712"/>
                <a:gd name="connsiteY5799" fmla="*/ 302938 h 4178187"/>
                <a:gd name="connsiteX5800" fmla="*/ 198287 w 3009712"/>
                <a:gd name="connsiteY5800" fmla="*/ 303332 h 4178187"/>
                <a:gd name="connsiteX5801" fmla="*/ 195140 w 3009712"/>
                <a:gd name="connsiteY5801" fmla="*/ 301758 h 4178187"/>
                <a:gd name="connsiteX5802" fmla="*/ 192386 w 3009712"/>
                <a:gd name="connsiteY5802" fmla="*/ 303725 h 4178187"/>
                <a:gd name="connsiteX5803" fmla="*/ 190812 w 3009712"/>
                <a:gd name="connsiteY5803" fmla="*/ 306873 h 4178187"/>
                <a:gd name="connsiteX5804" fmla="*/ 193566 w 3009712"/>
                <a:gd name="connsiteY5804" fmla="*/ 306479 h 4178187"/>
                <a:gd name="connsiteX5805" fmla="*/ 196320 w 3009712"/>
                <a:gd name="connsiteY5805" fmla="*/ 308053 h 4178187"/>
                <a:gd name="connsiteX5806" fmla="*/ 193566 w 3009712"/>
                <a:gd name="connsiteY5806" fmla="*/ 309627 h 4178187"/>
                <a:gd name="connsiteX5807" fmla="*/ 190418 w 3009712"/>
                <a:gd name="connsiteY5807" fmla="*/ 310413 h 4178187"/>
                <a:gd name="connsiteX5808" fmla="*/ 187664 w 3009712"/>
                <a:gd name="connsiteY5808" fmla="*/ 312774 h 4178187"/>
                <a:gd name="connsiteX5809" fmla="*/ 189238 w 3009712"/>
                <a:gd name="connsiteY5809" fmla="*/ 315921 h 4178187"/>
                <a:gd name="connsiteX5810" fmla="*/ 186484 w 3009712"/>
                <a:gd name="connsiteY5810" fmla="*/ 318282 h 4178187"/>
                <a:gd name="connsiteX5811" fmla="*/ 186091 w 3009712"/>
                <a:gd name="connsiteY5811" fmla="*/ 321036 h 4178187"/>
                <a:gd name="connsiteX5812" fmla="*/ 189238 w 3009712"/>
                <a:gd name="connsiteY5812" fmla="*/ 321036 h 4178187"/>
                <a:gd name="connsiteX5813" fmla="*/ 192386 w 3009712"/>
                <a:gd name="connsiteY5813" fmla="*/ 319069 h 4178187"/>
                <a:gd name="connsiteX5814" fmla="*/ 195140 w 3009712"/>
                <a:gd name="connsiteY5814" fmla="*/ 316708 h 4178187"/>
                <a:gd name="connsiteX5815" fmla="*/ 198287 w 3009712"/>
                <a:gd name="connsiteY5815" fmla="*/ 315528 h 4178187"/>
                <a:gd name="connsiteX5816" fmla="*/ 201041 w 3009712"/>
                <a:gd name="connsiteY5816" fmla="*/ 313167 h 4178187"/>
                <a:gd name="connsiteX5817" fmla="*/ 204188 w 3009712"/>
                <a:gd name="connsiteY5817" fmla="*/ 312380 h 4178187"/>
                <a:gd name="connsiteX5818" fmla="*/ 203008 w 3009712"/>
                <a:gd name="connsiteY5818" fmla="*/ 312774 h 4178187"/>
                <a:gd name="connsiteX5819" fmla="*/ 200254 w 3009712"/>
                <a:gd name="connsiteY5819" fmla="*/ 315135 h 4178187"/>
                <a:gd name="connsiteX5820" fmla="*/ 197107 w 3009712"/>
                <a:gd name="connsiteY5820" fmla="*/ 315528 h 4178187"/>
                <a:gd name="connsiteX5821" fmla="*/ 194746 w 3009712"/>
                <a:gd name="connsiteY5821" fmla="*/ 318675 h 4178187"/>
                <a:gd name="connsiteX5822" fmla="*/ 197500 w 3009712"/>
                <a:gd name="connsiteY5822" fmla="*/ 318282 h 4178187"/>
                <a:gd name="connsiteX5823" fmla="*/ 200254 w 3009712"/>
                <a:gd name="connsiteY5823" fmla="*/ 317102 h 4178187"/>
                <a:gd name="connsiteX5824" fmla="*/ 197500 w 3009712"/>
                <a:gd name="connsiteY5824" fmla="*/ 318675 h 4178187"/>
                <a:gd name="connsiteX5825" fmla="*/ 196320 w 3009712"/>
                <a:gd name="connsiteY5825" fmla="*/ 321823 h 4178187"/>
                <a:gd name="connsiteX5826" fmla="*/ 199074 w 3009712"/>
                <a:gd name="connsiteY5826" fmla="*/ 320249 h 4178187"/>
                <a:gd name="connsiteX5827" fmla="*/ 202221 w 3009712"/>
                <a:gd name="connsiteY5827" fmla="*/ 320642 h 4178187"/>
                <a:gd name="connsiteX5828" fmla="*/ 199074 w 3009712"/>
                <a:gd name="connsiteY5828" fmla="*/ 321036 h 4178187"/>
                <a:gd name="connsiteX5829" fmla="*/ 196320 w 3009712"/>
                <a:gd name="connsiteY5829" fmla="*/ 322610 h 4178187"/>
                <a:gd name="connsiteX5830" fmla="*/ 193172 w 3009712"/>
                <a:gd name="connsiteY5830" fmla="*/ 323003 h 4178187"/>
                <a:gd name="connsiteX5831" fmla="*/ 190418 w 3009712"/>
                <a:gd name="connsiteY5831" fmla="*/ 323396 h 4178187"/>
                <a:gd name="connsiteX5832" fmla="*/ 188845 w 3009712"/>
                <a:gd name="connsiteY5832" fmla="*/ 326150 h 4178187"/>
                <a:gd name="connsiteX5833" fmla="*/ 191992 w 3009712"/>
                <a:gd name="connsiteY5833" fmla="*/ 324970 h 4178187"/>
                <a:gd name="connsiteX5834" fmla="*/ 194746 w 3009712"/>
                <a:gd name="connsiteY5834" fmla="*/ 326150 h 4178187"/>
                <a:gd name="connsiteX5835" fmla="*/ 197893 w 3009712"/>
                <a:gd name="connsiteY5835" fmla="*/ 325364 h 4178187"/>
                <a:gd name="connsiteX5836" fmla="*/ 200647 w 3009712"/>
                <a:gd name="connsiteY5836" fmla="*/ 327724 h 4178187"/>
                <a:gd name="connsiteX5837" fmla="*/ 209303 w 3009712"/>
                <a:gd name="connsiteY5837" fmla="*/ 327724 h 4178187"/>
                <a:gd name="connsiteX5838" fmla="*/ 212450 w 3009712"/>
                <a:gd name="connsiteY5838" fmla="*/ 328118 h 4178187"/>
                <a:gd name="connsiteX5839" fmla="*/ 208123 w 3009712"/>
                <a:gd name="connsiteY5839" fmla="*/ 336380 h 4178187"/>
                <a:gd name="connsiteX5840" fmla="*/ 205762 w 3009712"/>
                <a:gd name="connsiteY5840" fmla="*/ 335986 h 4178187"/>
                <a:gd name="connsiteX5841" fmla="*/ 208516 w 3009712"/>
                <a:gd name="connsiteY5841" fmla="*/ 333626 h 4178187"/>
                <a:gd name="connsiteX5842" fmla="*/ 210090 w 3009712"/>
                <a:gd name="connsiteY5842" fmla="*/ 330478 h 4178187"/>
                <a:gd name="connsiteX5843" fmla="*/ 207336 w 3009712"/>
                <a:gd name="connsiteY5843" fmla="*/ 330872 h 4178187"/>
                <a:gd name="connsiteX5844" fmla="*/ 204582 w 3009712"/>
                <a:gd name="connsiteY5844" fmla="*/ 332052 h 4178187"/>
                <a:gd name="connsiteX5845" fmla="*/ 201828 w 3009712"/>
                <a:gd name="connsiteY5845" fmla="*/ 333626 h 4178187"/>
                <a:gd name="connsiteX5846" fmla="*/ 198680 w 3009712"/>
                <a:gd name="connsiteY5846" fmla="*/ 334412 h 4178187"/>
                <a:gd name="connsiteX5847" fmla="*/ 195926 w 3009712"/>
                <a:gd name="connsiteY5847" fmla="*/ 335199 h 4178187"/>
                <a:gd name="connsiteX5848" fmla="*/ 192779 w 3009712"/>
                <a:gd name="connsiteY5848" fmla="*/ 336380 h 4178187"/>
                <a:gd name="connsiteX5849" fmla="*/ 190025 w 3009712"/>
                <a:gd name="connsiteY5849" fmla="*/ 336773 h 4178187"/>
                <a:gd name="connsiteX5850" fmla="*/ 191599 w 3009712"/>
                <a:gd name="connsiteY5850" fmla="*/ 336380 h 4178187"/>
                <a:gd name="connsiteX5851" fmla="*/ 194353 w 3009712"/>
                <a:gd name="connsiteY5851" fmla="*/ 335593 h 4178187"/>
                <a:gd name="connsiteX5852" fmla="*/ 197500 w 3009712"/>
                <a:gd name="connsiteY5852" fmla="*/ 334019 h 4178187"/>
                <a:gd name="connsiteX5853" fmla="*/ 200647 w 3009712"/>
                <a:gd name="connsiteY5853" fmla="*/ 333232 h 4178187"/>
                <a:gd name="connsiteX5854" fmla="*/ 201041 w 3009712"/>
                <a:gd name="connsiteY5854" fmla="*/ 330085 h 4178187"/>
                <a:gd name="connsiteX5855" fmla="*/ 198287 w 3009712"/>
                <a:gd name="connsiteY5855" fmla="*/ 329298 h 4178187"/>
                <a:gd name="connsiteX5856" fmla="*/ 195533 w 3009712"/>
                <a:gd name="connsiteY5856" fmla="*/ 329691 h 4178187"/>
                <a:gd name="connsiteX5857" fmla="*/ 197500 w 3009712"/>
                <a:gd name="connsiteY5857" fmla="*/ 326937 h 4178187"/>
                <a:gd name="connsiteX5858" fmla="*/ 194353 w 3009712"/>
                <a:gd name="connsiteY5858" fmla="*/ 327331 h 4178187"/>
                <a:gd name="connsiteX5859" fmla="*/ 191599 w 3009712"/>
                <a:gd name="connsiteY5859" fmla="*/ 326544 h 4178187"/>
                <a:gd name="connsiteX5860" fmla="*/ 188845 w 3009712"/>
                <a:gd name="connsiteY5860" fmla="*/ 329691 h 4178187"/>
                <a:gd name="connsiteX5861" fmla="*/ 185697 w 3009712"/>
                <a:gd name="connsiteY5861" fmla="*/ 330478 h 4178187"/>
                <a:gd name="connsiteX5862" fmla="*/ 182943 w 3009712"/>
                <a:gd name="connsiteY5862" fmla="*/ 332839 h 4178187"/>
                <a:gd name="connsiteX5863" fmla="*/ 180189 w 3009712"/>
                <a:gd name="connsiteY5863" fmla="*/ 333626 h 4178187"/>
                <a:gd name="connsiteX5864" fmla="*/ 177042 w 3009712"/>
                <a:gd name="connsiteY5864" fmla="*/ 334806 h 4178187"/>
                <a:gd name="connsiteX5865" fmla="*/ 173895 w 3009712"/>
                <a:gd name="connsiteY5865" fmla="*/ 335593 h 4178187"/>
                <a:gd name="connsiteX5866" fmla="*/ 170747 w 3009712"/>
                <a:gd name="connsiteY5866" fmla="*/ 336773 h 4178187"/>
                <a:gd name="connsiteX5867" fmla="*/ 167993 w 3009712"/>
                <a:gd name="connsiteY5867" fmla="*/ 339527 h 4178187"/>
                <a:gd name="connsiteX5868" fmla="*/ 171141 w 3009712"/>
                <a:gd name="connsiteY5868" fmla="*/ 339133 h 4178187"/>
                <a:gd name="connsiteX5869" fmla="*/ 173895 w 3009712"/>
                <a:gd name="connsiteY5869" fmla="*/ 339527 h 4178187"/>
                <a:gd name="connsiteX5870" fmla="*/ 171141 w 3009712"/>
                <a:gd name="connsiteY5870" fmla="*/ 340707 h 4178187"/>
                <a:gd name="connsiteX5871" fmla="*/ 167993 w 3009712"/>
                <a:gd name="connsiteY5871" fmla="*/ 342674 h 4178187"/>
                <a:gd name="connsiteX5872" fmla="*/ 168780 w 3009712"/>
                <a:gd name="connsiteY5872" fmla="*/ 345035 h 4178187"/>
                <a:gd name="connsiteX5873" fmla="*/ 171927 w 3009712"/>
                <a:gd name="connsiteY5873" fmla="*/ 345822 h 4178187"/>
                <a:gd name="connsiteX5874" fmla="*/ 172714 w 3009712"/>
                <a:gd name="connsiteY5874" fmla="*/ 345822 h 4178187"/>
                <a:gd name="connsiteX5875" fmla="*/ 175862 w 3009712"/>
                <a:gd name="connsiteY5875" fmla="*/ 344641 h 4178187"/>
                <a:gd name="connsiteX5876" fmla="*/ 173501 w 3009712"/>
                <a:gd name="connsiteY5876" fmla="*/ 346215 h 4178187"/>
                <a:gd name="connsiteX5877" fmla="*/ 173895 w 3009712"/>
                <a:gd name="connsiteY5877" fmla="*/ 349363 h 4178187"/>
                <a:gd name="connsiteX5878" fmla="*/ 172714 w 3009712"/>
                <a:gd name="connsiteY5878" fmla="*/ 350149 h 4178187"/>
                <a:gd name="connsiteX5879" fmla="*/ 172714 w 3009712"/>
                <a:gd name="connsiteY5879" fmla="*/ 352903 h 4178187"/>
                <a:gd name="connsiteX5880" fmla="*/ 175468 w 3009712"/>
                <a:gd name="connsiteY5880" fmla="*/ 354477 h 4178187"/>
                <a:gd name="connsiteX5881" fmla="*/ 173501 w 3009712"/>
                <a:gd name="connsiteY5881" fmla="*/ 355657 h 4178187"/>
                <a:gd name="connsiteX5882" fmla="*/ 170354 w 3009712"/>
                <a:gd name="connsiteY5882" fmla="*/ 356838 h 4178187"/>
                <a:gd name="connsiteX5883" fmla="*/ 168780 w 3009712"/>
                <a:gd name="connsiteY5883" fmla="*/ 359985 h 4178187"/>
                <a:gd name="connsiteX5884" fmla="*/ 171927 w 3009712"/>
                <a:gd name="connsiteY5884" fmla="*/ 360379 h 4178187"/>
                <a:gd name="connsiteX5885" fmla="*/ 174681 w 3009712"/>
                <a:gd name="connsiteY5885" fmla="*/ 360772 h 4178187"/>
                <a:gd name="connsiteX5886" fmla="*/ 177435 w 3009712"/>
                <a:gd name="connsiteY5886" fmla="*/ 361165 h 4178187"/>
                <a:gd name="connsiteX5887" fmla="*/ 180189 w 3009712"/>
                <a:gd name="connsiteY5887" fmla="*/ 360772 h 4178187"/>
                <a:gd name="connsiteX5888" fmla="*/ 186484 w 3009712"/>
                <a:gd name="connsiteY5888" fmla="*/ 360379 h 4178187"/>
                <a:gd name="connsiteX5889" fmla="*/ 189632 w 3009712"/>
                <a:gd name="connsiteY5889" fmla="*/ 359985 h 4178187"/>
                <a:gd name="connsiteX5890" fmla="*/ 192779 w 3009712"/>
                <a:gd name="connsiteY5890" fmla="*/ 359592 h 4178187"/>
                <a:gd name="connsiteX5891" fmla="*/ 195926 w 3009712"/>
                <a:gd name="connsiteY5891" fmla="*/ 358805 h 4178187"/>
                <a:gd name="connsiteX5892" fmla="*/ 198680 w 3009712"/>
                <a:gd name="connsiteY5892" fmla="*/ 358018 h 4178187"/>
                <a:gd name="connsiteX5893" fmla="*/ 201828 w 3009712"/>
                <a:gd name="connsiteY5893" fmla="*/ 357625 h 4178187"/>
                <a:gd name="connsiteX5894" fmla="*/ 204975 w 3009712"/>
                <a:gd name="connsiteY5894" fmla="*/ 356838 h 4178187"/>
                <a:gd name="connsiteX5895" fmla="*/ 208123 w 3009712"/>
                <a:gd name="connsiteY5895" fmla="*/ 355264 h 4178187"/>
                <a:gd name="connsiteX5896" fmla="*/ 210483 w 3009712"/>
                <a:gd name="connsiteY5896" fmla="*/ 355657 h 4178187"/>
                <a:gd name="connsiteX5897" fmla="*/ 213631 w 3009712"/>
                <a:gd name="connsiteY5897" fmla="*/ 355264 h 4178187"/>
                <a:gd name="connsiteX5898" fmla="*/ 215991 w 3009712"/>
                <a:gd name="connsiteY5898" fmla="*/ 354084 h 4178187"/>
                <a:gd name="connsiteX5899" fmla="*/ 216778 w 3009712"/>
                <a:gd name="connsiteY5899" fmla="*/ 353297 h 4178187"/>
                <a:gd name="connsiteX5900" fmla="*/ 228581 w 3009712"/>
                <a:gd name="connsiteY5900" fmla="*/ 346215 h 4178187"/>
                <a:gd name="connsiteX5901" fmla="*/ 226614 w 3009712"/>
                <a:gd name="connsiteY5901" fmla="*/ 348182 h 4178187"/>
                <a:gd name="connsiteX5902" fmla="*/ 224253 w 3009712"/>
                <a:gd name="connsiteY5902" fmla="*/ 350936 h 4178187"/>
                <a:gd name="connsiteX5903" fmla="*/ 227007 w 3009712"/>
                <a:gd name="connsiteY5903" fmla="*/ 349363 h 4178187"/>
                <a:gd name="connsiteX5904" fmla="*/ 229761 w 3009712"/>
                <a:gd name="connsiteY5904" fmla="*/ 348969 h 4178187"/>
                <a:gd name="connsiteX5905" fmla="*/ 224253 w 3009712"/>
                <a:gd name="connsiteY5905" fmla="*/ 352510 h 4178187"/>
                <a:gd name="connsiteX5906" fmla="*/ 221499 w 3009712"/>
                <a:gd name="connsiteY5906" fmla="*/ 355264 h 4178187"/>
                <a:gd name="connsiteX5907" fmla="*/ 195926 w 3009712"/>
                <a:gd name="connsiteY5907" fmla="*/ 378476 h 4178187"/>
                <a:gd name="connsiteX5908" fmla="*/ 198680 w 3009712"/>
                <a:gd name="connsiteY5908" fmla="*/ 376902 h 4178187"/>
                <a:gd name="connsiteX5909" fmla="*/ 195926 w 3009712"/>
                <a:gd name="connsiteY5909" fmla="*/ 378476 h 4178187"/>
                <a:gd name="connsiteX5910" fmla="*/ 195926 w 3009712"/>
                <a:gd name="connsiteY5910" fmla="*/ 378476 h 4178187"/>
                <a:gd name="connsiteX5911" fmla="*/ 195533 w 3009712"/>
                <a:gd name="connsiteY5911" fmla="*/ 378476 h 4178187"/>
                <a:gd name="connsiteX5912" fmla="*/ 195533 w 3009712"/>
                <a:gd name="connsiteY5912" fmla="*/ 378476 h 4178187"/>
                <a:gd name="connsiteX5913" fmla="*/ 195533 w 3009712"/>
                <a:gd name="connsiteY5913" fmla="*/ 378476 h 4178187"/>
                <a:gd name="connsiteX5914" fmla="*/ 193959 w 3009712"/>
                <a:gd name="connsiteY5914" fmla="*/ 380837 h 4178187"/>
                <a:gd name="connsiteX5915" fmla="*/ 192779 w 3009712"/>
                <a:gd name="connsiteY5915" fmla="*/ 383591 h 4178187"/>
                <a:gd name="connsiteX5916" fmla="*/ 195926 w 3009712"/>
                <a:gd name="connsiteY5916" fmla="*/ 382804 h 4178187"/>
                <a:gd name="connsiteX5917" fmla="*/ 198680 w 3009712"/>
                <a:gd name="connsiteY5917" fmla="*/ 382804 h 4178187"/>
                <a:gd name="connsiteX5918" fmla="*/ 201434 w 3009712"/>
                <a:gd name="connsiteY5918" fmla="*/ 383197 h 4178187"/>
                <a:gd name="connsiteX5919" fmla="*/ 198680 w 3009712"/>
                <a:gd name="connsiteY5919" fmla="*/ 384378 h 4178187"/>
                <a:gd name="connsiteX5920" fmla="*/ 195533 w 3009712"/>
                <a:gd name="connsiteY5920" fmla="*/ 385558 h 4178187"/>
                <a:gd name="connsiteX5921" fmla="*/ 192779 w 3009712"/>
                <a:gd name="connsiteY5921" fmla="*/ 385164 h 4178187"/>
                <a:gd name="connsiteX5922" fmla="*/ 190418 w 3009712"/>
                <a:gd name="connsiteY5922" fmla="*/ 387918 h 4178187"/>
                <a:gd name="connsiteX5923" fmla="*/ 187271 w 3009712"/>
                <a:gd name="connsiteY5923" fmla="*/ 390279 h 4178187"/>
                <a:gd name="connsiteX5924" fmla="*/ 186878 w 3009712"/>
                <a:gd name="connsiteY5924" fmla="*/ 393033 h 4178187"/>
                <a:gd name="connsiteX5925" fmla="*/ 183730 w 3009712"/>
                <a:gd name="connsiteY5925" fmla="*/ 393820 h 4178187"/>
                <a:gd name="connsiteX5926" fmla="*/ 180976 w 3009712"/>
                <a:gd name="connsiteY5926" fmla="*/ 394607 h 4178187"/>
                <a:gd name="connsiteX5927" fmla="*/ 178222 w 3009712"/>
                <a:gd name="connsiteY5927" fmla="*/ 396574 h 4178187"/>
                <a:gd name="connsiteX5928" fmla="*/ 175075 w 3009712"/>
                <a:gd name="connsiteY5928" fmla="*/ 396180 h 4178187"/>
                <a:gd name="connsiteX5929" fmla="*/ 171927 w 3009712"/>
                <a:gd name="connsiteY5929" fmla="*/ 397754 h 4178187"/>
                <a:gd name="connsiteX5930" fmla="*/ 175075 w 3009712"/>
                <a:gd name="connsiteY5930" fmla="*/ 397361 h 4178187"/>
                <a:gd name="connsiteX5931" fmla="*/ 178222 w 3009712"/>
                <a:gd name="connsiteY5931" fmla="*/ 399328 h 4178187"/>
                <a:gd name="connsiteX5932" fmla="*/ 181370 w 3009712"/>
                <a:gd name="connsiteY5932" fmla="*/ 398147 h 4178187"/>
                <a:gd name="connsiteX5933" fmla="*/ 184517 w 3009712"/>
                <a:gd name="connsiteY5933" fmla="*/ 397361 h 4178187"/>
                <a:gd name="connsiteX5934" fmla="*/ 187271 w 3009712"/>
                <a:gd name="connsiteY5934" fmla="*/ 396967 h 4178187"/>
                <a:gd name="connsiteX5935" fmla="*/ 190418 w 3009712"/>
                <a:gd name="connsiteY5935" fmla="*/ 395787 h 4178187"/>
                <a:gd name="connsiteX5936" fmla="*/ 193172 w 3009712"/>
                <a:gd name="connsiteY5936" fmla="*/ 394213 h 4178187"/>
                <a:gd name="connsiteX5937" fmla="*/ 196320 w 3009712"/>
                <a:gd name="connsiteY5937" fmla="*/ 392246 h 4178187"/>
                <a:gd name="connsiteX5938" fmla="*/ 199074 w 3009712"/>
                <a:gd name="connsiteY5938" fmla="*/ 392639 h 4178187"/>
                <a:gd name="connsiteX5939" fmla="*/ 205369 w 3009712"/>
                <a:gd name="connsiteY5939" fmla="*/ 391066 h 4178187"/>
                <a:gd name="connsiteX5940" fmla="*/ 208123 w 3009712"/>
                <a:gd name="connsiteY5940" fmla="*/ 390279 h 4178187"/>
                <a:gd name="connsiteX5941" fmla="*/ 210877 w 3009712"/>
                <a:gd name="connsiteY5941" fmla="*/ 390672 h 4178187"/>
                <a:gd name="connsiteX5942" fmla="*/ 214024 w 3009712"/>
                <a:gd name="connsiteY5942" fmla="*/ 389099 h 4178187"/>
                <a:gd name="connsiteX5943" fmla="*/ 217171 w 3009712"/>
                <a:gd name="connsiteY5943" fmla="*/ 387918 h 4178187"/>
                <a:gd name="connsiteX5944" fmla="*/ 220319 w 3009712"/>
                <a:gd name="connsiteY5944" fmla="*/ 387131 h 4178187"/>
                <a:gd name="connsiteX5945" fmla="*/ 221106 w 3009712"/>
                <a:gd name="connsiteY5945" fmla="*/ 386738 h 4178187"/>
                <a:gd name="connsiteX5946" fmla="*/ 227007 w 3009712"/>
                <a:gd name="connsiteY5946" fmla="*/ 388705 h 4178187"/>
                <a:gd name="connsiteX5947" fmla="*/ 228187 w 3009712"/>
                <a:gd name="connsiteY5947" fmla="*/ 390279 h 4178187"/>
                <a:gd name="connsiteX5948" fmla="*/ 230941 w 3009712"/>
                <a:gd name="connsiteY5948" fmla="*/ 389886 h 4178187"/>
                <a:gd name="connsiteX5949" fmla="*/ 230548 w 3009712"/>
                <a:gd name="connsiteY5949" fmla="*/ 390279 h 4178187"/>
                <a:gd name="connsiteX5950" fmla="*/ 228974 w 3009712"/>
                <a:gd name="connsiteY5950" fmla="*/ 393426 h 4178187"/>
                <a:gd name="connsiteX5951" fmla="*/ 232122 w 3009712"/>
                <a:gd name="connsiteY5951" fmla="*/ 392246 h 4178187"/>
                <a:gd name="connsiteX5952" fmla="*/ 237630 w 3009712"/>
                <a:gd name="connsiteY5952" fmla="*/ 403655 h 4178187"/>
                <a:gd name="connsiteX5953" fmla="*/ 238023 w 3009712"/>
                <a:gd name="connsiteY5953" fmla="*/ 404049 h 4178187"/>
                <a:gd name="connsiteX5954" fmla="*/ 240777 w 3009712"/>
                <a:gd name="connsiteY5954" fmla="*/ 404442 h 4178187"/>
                <a:gd name="connsiteX5955" fmla="*/ 243924 w 3009712"/>
                <a:gd name="connsiteY5955" fmla="*/ 403262 h 4178187"/>
                <a:gd name="connsiteX5956" fmla="*/ 247072 w 3009712"/>
                <a:gd name="connsiteY5956" fmla="*/ 401688 h 4178187"/>
                <a:gd name="connsiteX5957" fmla="*/ 248646 w 3009712"/>
                <a:gd name="connsiteY5957" fmla="*/ 398934 h 4178187"/>
                <a:gd name="connsiteX5958" fmla="*/ 251006 w 3009712"/>
                <a:gd name="connsiteY5958" fmla="*/ 396180 h 4178187"/>
                <a:gd name="connsiteX5959" fmla="*/ 263202 w 3009712"/>
                <a:gd name="connsiteY5959" fmla="*/ 389099 h 4178187"/>
                <a:gd name="connsiteX5960" fmla="*/ 264776 w 3009712"/>
                <a:gd name="connsiteY5960" fmla="*/ 388705 h 4178187"/>
                <a:gd name="connsiteX5961" fmla="*/ 267530 w 3009712"/>
                <a:gd name="connsiteY5961" fmla="*/ 387525 h 4178187"/>
                <a:gd name="connsiteX5962" fmla="*/ 270677 w 3009712"/>
                <a:gd name="connsiteY5962" fmla="*/ 385951 h 4178187"/>
                <a:gd name="connsiteX5963" fmla="*/ 273431 w 3009712"/>
                <a:gd name="connsiteY5963" fmla="*/ 384378 h 4178187"/>
                <a:gd name="connsiteX5964" fmla="*/ 276185 w 3009712"/>
                <a:gd name="connsiteY5964" fmla="*/ 382804 h 4178187"/>
                <a:gd name="connsiteX5965" fmla="*/ 278153 w 3009712"/>
                <a:gd name="connsiteY5965" fmla="*/ 380050 h 4178187"/>
                <a:gd name="connsiteX5966" fmla="*/ 277759 w 3009712"/>
                <a:gd name="connsiteY5966" fmla="*/ 381230 h 4178187"/>
                <a:gd name="connsiteX5967" fmla="*/ 279333 w 3009712"/>
                <a:gd name="connsiteY5967" fmla="*/ 383984 h 4178187"/>
                <a:gd name="connsiteX5968" fmla="*/ 279726 w 3009712"/>
                <a:gd name="connsiteY5968" fmla="*/ 385164 h 4178187"/>
                <a:gd name="connsiteX5969" fmla="*/ 276972 w 3009712"/>
                <a:gd name="connsiteY5969" fmla="*/ 384378 h 4178187"/>
                <a:gd name="connsiteX5970" fmla="*/ 274218 w 3009712"/>
                <a:gd name="connsiteY5970" fmla="*/ 384771 h 4178187"/>
                <a:gd name="connsiteX5971" fmla="*/ 271071 w 3009712"/>
                <a:gd name="connsiteY5971" fmla="*/ 386738 h 4178187"/>
                <a:gd name="connsiteX5972" fmla="*/ 268317 w 3009712"/>
                <a:gd name="connsiteY5972" fmla="*/ 388705 h 4178187"/>
                <a:gd name="connsiteX5973" fmla="*/ 265563 w 3009712"/>
                <a:gd name="connsiteY5973" fmla="*/ 390279 h 4178187"/>
                <a:gd name="connsiteX5974" fmla="*/ 266350 w 3009712"/>
                <a:gd name="connsiteY5974" fmla="*/ 393426 h 4178187"/>
                <a:gd name="connsiteX5975" fmla="*/ 263989 w 3009712"/>
                <a:gd name="connsiteY5975" fmla="*/ 396180 h 4178187"/>
                <a:gd name="connsiteX5976" fmla="*/ 266350 w 3009712"/>
                <a:gd name="connsiteY5976" fmla="*/ 397754 h 4178187"/>
                <a:gd name="connsiteX5977" fmla="*/ 269497 w 3009712"/>
                <a:gd name="connsiteY5977" fmla="*/ 397361 h 4178187"/>
                <a:gd name="connsiteX5978" fmla="*/ 272644 w 3009712"/>
                <a:gd name="connsiteY5978" fmla="*/ 396574 h 4178187"/>
                <a:gd name="connsiteX5979" fmla="*/ 275792 w 3009712"/>
                <a:gd name="connsiteY5979" fmla="*/ 396180 h 4178187"/>
                <a:gd name="connsiteX5980" fmla="*/ 278546 w 3009712"/>
                <a:gd name="connsiteY5980" fmla="*/ 395393 h 4178187"/>
                <a:gd name="connsiteX5981" fmla="*/ 281693 w 3009712"/>
                <a:gd name="connsiteY5981" fmla="*/ 394607 h 4178187"/>
                <a:gd name="connsiteX5982" fmla="*/ 284447 w 3009712"/>
                <a:gd name="connsiteY5982" fmla="*/ 394213 h 4178187"/>
                <a:gd name="connsiteX5983" fmla="*/ 287595 w 3009712"/>
                <a:gd name="connsiteY5983" fmla="*/ 393426 h 4178187"/>
                <a:gd name="connsiteX5984" fmla="*/ 290349 w 3009712"/>
                <a:gd name="connsiteY5984" fmla="*/ 393033 h 4178187"/>
                <a:gd name="connsiteX5985" fmla="*/ 293496 w 3009712"/>
                <a:gd name="connsiteY5985" fmla="*/ 392246 h 4178187"/>
                <a:gd name="connsiteX5986" fmla="*/ 296644 w 3009712"/>
                <a:gd name="connsiteY5986" fmla="*/ 391853 h 4178187"/>
                <a:gd name="connsiteX5987" fmla="*/ 299398 w 3009712"/>
                <a:gd name="connsiteY5987" fmla="*/ 391459 h 4178187"/>
                <a:gd name="connsiteX5988" fmla="*/ 302151 w 3009712"/>
                <a:gd name="connsiteY5988" fmla="*/ 390672 h 4178187"/>
                <a:gd name="connsiteX5989" fmla="*/ 305299 w 3009712"/>
                <a:gd name="connsiteY5989" fmla="*/ 389099 h 4178187"/>
                <a:gd name="connsiteX5990" fmla="*/ 308053 w 3009712"/>
                <a:gd name="connsiteY5990" fmla="*/ 387525 h 4178187"/>
                <a:gd name="connsiteX5991" fmla="*/ 310807 w 3009712"/>
                <a:gd name="connsiteY5991" fmla="*/ 387131 h 4178187"/>
                <a:gd name="connsiteX5992" fmla="*/ 313954 w 3009712"/>
                <a:gd name="connsiteY5992" fmla="*/ 384771 h 4178187"/>
                <a:gd name="connsiteX5993" fmla="*/ 316708 w 3009712"/>
                <a:gd name="connsiteY5993" fmla="*/ 383197 h 4178187"/>
                <a:gd name="connsiteX5994" fmla="*/ 319856 w 3009712"/>
                <a:gd name="connsiteY5994" fmla="*/ 382017 h 4178187"/>
                <a:gd name="connsiteX5995" fmla="*/ 318675 w 3009712"/>
                <a:gd name="connsiteY5995" fmla="*/ 382410 h 4178187"/>
                <a:gd name="connsiteX5996" fmla="*/ 315528 w 3009712"/>
                <a:gd name="connsiteY5996" fmla="*/ 383984 h 4178187"/>
                <a:gd name="connsiteX5997" fmla="*/ 312381 w 3009712"/>
                <a:gd name="connsiteY5997" fmla="*/ 386345 h 4178187"/>
                <a:gd name="connsiteX5998" fmla="*/ 309627 w 3009712"/>
                <a:gd name="connsiteY5998" fmla="*/ 387525 h 4178187"/>
                <a:gd name="connsiteX5999" fmla="*/ 306873 w 3009712"/>
                <a:gd name="connsiteY5999" fmla="*/ 388312 h 4178187"/>
                <a:gd name="connsiteX6000" fmla="*/ 303725 w 3009712"/>
                <a:gd name="connsiteY6000" fmla="*/ 390279 h 4178187"/>
                <a:gd name="connsiteX6001" fmla="*/ 300578 w 3009712"/>
                <a:gd name="connsiteY6001" fmla="*/ 392639 h 4178187"/>
                <a:gd name="connsiteX6002" fmla="*/ 297824 w 3009712"/>
                <a:gd name="connsiteY6002" fmla="*/ 395000 h 4178187"/>
                <a:gd name="connsiteX6003" fmla="*/ 295463 w 3009712"/>
                <a:gd name="connsiteY6003" fmla="*/ 395393 h 4178187"/>
                <a:gd name="connsiteX6004" fmla="*/ 292709 w 3009712"/>
                <a:gd name="connsiteY6004" fmla="*/ 396180 h 4178187"/>
                <a:gd name="connsiteX6005" fmla="*/ 289562 w 3009712"/>
                <a:gd name="connsiteY6005" fmla="*/ 397361 h 4178187"/>
                <a:gd name="connsiteX6006" fmla="*/ 286414 w 3009712"/>
                <a:gd name="connsiteY6006" fmla="*/ 398934 h 4178187"/>
                <a:gd name="connsiteX6007" fmla="*/ 283661 w 3009712"/>
                <a:gd name="connsiteY6007" fmla="*/ 400508 h 4178187"/>
                <a:gd name="connsiteX6008" fmla="*/ 280513 w 3009712"/>
                <a:gd name="connsiteY6008" fmla="*/ 401295 h 4178187"/>
                <a:gd name="connsiteX6009" fmla="*/ 277759 w 3009712"/>
                <a:gd name="connsiteY6009" fmla="*/ 402475 h 4178187"/>
                <a:gd name="connsiteX6010" fmla="*/ 275005 w 3009712"/>
                <a:gd name="connsiteY6010" fmla="*/ 404049 h 4178187"/>
                <a:gd name="connsiteX6011" fmla="*/ 272251 w 3009712"/>
                <a:gd name="connsiteY6011" fmla="*/ 405623 h 4178187"/>
                <a:gd name="connsiteX6012" fmla="*/ 269497 w 3009712"/>
                <a:gd name="connsiteY6012" fmla="*/ 407983 h 4178187"/>
                <a:gd name="connsiteX6013" fmla="*/ 268710 w 3009712"/>
                <a:gd name="connsiteY6013" fmla="*/ 411131 h 4178187"/>
                <a:gd name="connsiteX6014" fmla="*/ 271858 w 3009712"/>
                <a:gd name="connsiteY6014" fmla="*/ 410344 h 4178187"/>
                <a:gd name="connsiteX6015" fmla="*/ 274612 w 3009712"/>
                <a:gd name="connsiteY6015" fmla="*/ 412704 h 4178187"/>
                <a:gd name="connsiteX6016" fmla="*/ 271858 w 3009712"/>
                <a:gd name="connsiteY6016" fmla="*/ 411131 h 4178187"/>
                <a:gd name="connsiteX6017" fmla="*/ 268710 w 3009712"/>
                <a:gd name="connsiteY6017" fmla="*/ 411917 h 4178187"/>
                <a:gd name="connsiteX6018" fmla="*/ 265956 w 3009712"/>
                <a:gd name="connsiteY6018" fmla="*/ 412311 h 4178187"/>
                <a:gd name="connsiteX6019" fmla="*/ 261629 w 3009712"/>
                <a:gd name="connsiteY6019" fmla="*/ 413098 h 4178187"/>
                <a:gd name="connsiteX6020" fmla="*/ 258875 w 3009712"/>
                <a:gd name="connsiteY6020" fmla="*/ 414671 h 4178187"/>
                <a:gd name="connsiteX6021" fmla="*/ 255727 w 3009712"/>
                <a:gd name="connsiteY6021" fmla="*/ 417032 h 4178187"/>
                <a:gd name="connsiteX6022" fmla="*/ 252973 w 3009712"/>
                <a:gd name="connsiteY6022" fmla="*/ 419392 h 4178187"/>
                <a:gd name="connsiteX6023" fmla="*/ 247465 w 3009712"/>
                <a:gd name="connsiteY6023" fmla="*/ 423327 h 4178187"/>
                <a:gd name="connsiteX6024" fmla="*/ 244318 w 3009712"/>
                <a:gd name="connsiteY6024" fmla="*/ 425294 h 4178187"/>
                <a:gd name="connsiteX6025" fmla="*/ 241564 w 3009712"/>
                <a:gd name="connsiteY6025" fmla="*/ 427654 h 4178187"/>
                <a:gd name="connsiteX6026" fmla="*/ 241170 w 3009712"/>
                <a:gd name="connsiteY6026" fmla="*/ 430802 h 4178187"/>
                <a:gd name="connsiteX6027" fmla="*/ 238416 w 3009712"/>
                <a:gd name="connsiteY6027" fmla="*/ 433162 h 4178187"/>
                <a:gd name="connsiteX6028" fmla="*/ 236056 w 3009712"/>
                <a:gd name="connsiteY6028" fmla="*/ 433949 h 4178187"/>
                <a:gd name="connsiteX6029" fmla="*/ 237630 w 3009712"/>
                <a:gd name="connsiteY6029" fmla="*/ 431195 h 4178187"/>
                <a:gd name="connsiteX6030" fmla="*/ 234876 w 3009712"/>
                <a:gd name="connsiteY6030" fmla="*/ 431589 h 4178187"/>
                <a:gd name="connsiteX6031" fmla="*/ 232122 w 3009712"/>
                <a:gd name="connsiteY6031" fmla="*/ 432769 h 4178187"/>
                <a:gd name="connsiteX6032" fmla="*/ 228974 w 3009712"/>
                <a:gd name="connsiteY6032" fmla="*/ 433556 h 4178187"/>
                <a:gd name="connsiteX6033" fmla="*/ 226220 w 3009712"/>
                <a:gd name="connsiteY6033" fmla="*/ 435130 h 4178187"/>
                <a:gd name="connsiteX6034" fmla="*/ 223466 w 3009712"/>
                <a:gd name="connsiteY6034" fmla="*/ 436310 h 4178187"/>
                <a:gd name="connsiteX6035" fmla="*/ 220319 w 3009712"/>
                <a:gd name="connsiteY6035" fmla="*/ 437884 h 4178187"/>
                <a:gd name="connsiteX6036" fmla="*/ 217171 w 3009712"/>
                <a:gd name="connsiteY6036" fmla="*/ 438277 h 4178187"/>
                <a:gd name="connsiteX6037" fmla="*/ 214417 w 3009712"/>
                <a:gd name="connsiteY6037" fmla="*/ 439064 h 4178187"/>
                <a:gd name="connsiteX6038" fmla="*/ 208123 w 3009712"/>
                <a:gd name="connsiteY6038" fmla="*/ 441818 h 4178187"/>
                <a:gd name="connsiteX6039" fmla="*/ 204975 w 3009712"/>
                <a:gd name="connsiteY6039" fmla="*/ 443391 h 4178187"/>
                <a:gd name="connsiteX6040" fmla="*/ 202221 w 3009712"/>
                <a:gd name="connsiteY6040" fmla="*/ 444572 h 4178187"/>
                <a:gd name="connsiteX6041" fmla="*/ 199074 w 3009712"/>
                <a:gd name="connsiteY6041" fmla="*/ 446145 h 4178187"/>
                <a:gd name="connsiteX6042" fmla="*/ 196320 w 3009712"/>
                <a:gd name="connsiteY6042" fmla="*/ 447719 h 4178187"/>
                <a:gd name="connsiteX6043" fmla="*/ 195926 w 3009712"/>
                <a:gd name="connsiteY6043" fmla="*/ 448113 h 4178187"/>
                <a:gd name="connsiteX6044" fmla="*/ 153830 w 3009712"/>
                <a:gd name="connsiteY6044" fmla="*/ 462276 h 4178187"/>
                <a:gd name="connsiteX6045" fmla="*/ 152649 w 3009712"/>
                <a:gd name="connsiteY6045" fmla="*/ 462669 h 4178187"/>
                <a:gd name="connsiteX6046" fmla="*/ 149502 w 3009712"/>
                <a:gd name="connsiteY6046" fmla="*/ 463456 h 4178187"/>
                <a:gd name="connsiteX6047" fmla="*/ 146748 w 3009712"/>
                <a:gd name="connsiteY6047" fmla="*/ 464637 h 4178187"/>
                <a:gd name="connsiteX6048" fmla="*/ 145174 w 3009712"/>
                <a:gd name="connsiteY6048" fmla="*/ 465423 h 4178187"/>
                <a:gd name="connsiteX6049" fmla="*/ 140847 w 3009712"/>
                <a:gd name="connsiteY6049" fmla="*/ 466997 h 4178187"/>
                <a:gd name="connsiteX6050" fmla="*/ 138486 w 3009712"/>
                <a:gd name="connsiteY6050" fmla="*/ 467784 h 4178187"/>
                <a:gd name="connsiteX6051" fmla="*/ 135339 w 3009712"/>
                <a:gd name="connsiteY6051" fmla="*/ 468571 h 4178187"/>
                <a:gd name="connsiteX6052" fmla="*/ 132191 w 3009712"/>
                <a:gd name="connsiteY6052" fmla="*/ 470144 h 4178187"/>
                <a:gd name="connsiteX6053" fmla="*/ 129437 w 3009712"/>
                <a:gd name="connsiteY6053" fmla="*/ 471325 h 4178187"/>
                <a:gd name="connsiteX6054" fmla="*/ 126290 w 3009712"/>
                <a:gd name="connsiteY6054" fmla="*/ 472505 h 4178187"/>
                <a:gd name="connsiteX6055" fmla="*/ 125896 w 3009712"/>
                <a:gd name="connsiteY6055" fmla="*/ 472898 h 4178187"/>
                <a:gd name="connsiteX6056" fmla="*/ 98750 w 3009712"/>
                <a:gd name="connsiteY6056" fmla="*/ 482734 h 4178187"/>
                <a:gd name="connsiteX6057" fmla="*/ 95996 w 3009712"/>
                <a:gd name="connsiteY6057" fmla="*/ 483521 h 4178187"/>
                <a:gd name="connsiteX6058" fmla="*/ 92849 w 3009712"/>
                <a:gd name="connsiteY6058" fmla="*/ 483128 h 4178187"/>
                <a:gd name="connsiteX6059" fmla="*/ 90095 w 3009712"/>
                <a:gd name="connsiteY6059" fmla="*/ 482734 h 4178187"/>
                <a:gd name="connsiteX6060" fmla="*/ 93242 w 3009712"/>
                <a:gd name="connsiteY6060" fmla="*/ 481947 h 4178187"/>
                <a:gd name="connsiteX6061" fmla="*/ 95996 w 3009712"/>
                <a:gd name="connsiteY6061" fmla="*/ 481160 h 4178187"/>
                <a:gd name="connsiteX6062" fmla="*/ 92849 w 3009712"/>
                <a:gd name="connsiteY6062" fmla="*/ 481947 h 4178187"/>
                <a:gd name="connsiteX6063" fmla="*/ 89701 w 3009712"/>
                <a:gd name="connsiteY6063" fmla="*/ 482341 h 4178187"/>
                <a:gd name="connsiteX6064" fmla="*/ 86947 w 3009712"/>
                <a:gd name="connsiteY6064" fmla="*/ 482734 h 4178187"/>
                <a:gd name="connsiteX6065" fmla="*/ 84193 w 3009712"/>
                <a:gd name="connsiteY6065" fmla="*/ 483128 h 4178187"/>
                <a:gd name="connsiteX6066" fmla="*/ 81046 w 3009712"/>
                <a:gd name="connsiteY6066" fmla="*/ 483521 h 4178187"/>
                <a:gd name="connsiteX6067" fmla="*/ 77898 w 3009712"/>
                <a:gd name="connsiteY6067" fmla="*/ 483914 h 4178187"/>
                <a:gd name="connsiteX6068" fmla="*/ 74751 w 3009712"/>
                <a:gd name="connsiteY6068" fmla="*/ 484701 h 4178187"/>
                <a:gd name="connsiteX6069" fmla="*/ 71604 w 3009712"/>
                <a:gd name="connsiteY6069" fmla="*/ 485882 h 4178187"/>
                <a:gd name="connsiteX6070" fmla="*/ 68850 w 3009712"/>
                <a:gd name="connsiteY6070" fmla="*/ 487062 h 4178187"/>
                <a:gd name="connsiteX6071" fmla="*/ 66096 w 3009712"/>
                <a:gd name="connsiteY6071" fmla="*/ 487849 h 4178187"/>
                <a:gd name="connsiteX6072" fmla="*/ 62948 w 3009712"/>
                <a:gd name="connsiteY6072" fmla="*/ 489029 h 4178187"/>
                <a:gd name="connsiteX6073" fmla="*/ 60194 w 3009712"/>
                <a:gd name="connsiteY6073" fmla="*/ 490209 h 4178187"/>
                <a:gd name="connsiteX6074" fmla="*/ 57047 w 3009712"/>
                <a:gd name="connsiteY6074" fmla="*/ 490996 h 4178187"/>
                <a:gd name="connsiteX6075" fmla="*/ 54293 w 3009712"/>
                <a:gd name="connsiteY6075" fmla="*/ 492570 h 4178187"/>
                <a:gd name="connsiteX6076" fmla="*/ 51539 w 3009712"/>
                <a:gd name="connsiteY6076" fmla="*/ 494143 h 4178187"/>
                <a:gd name="connsiteX6077" fmla="*/ 48391 w 3009712"/>
                <a:gd name="connsiteY6077" fmla="*/ 495324 h 4178187"/>
                <a:gd name="connsiteX6078" fmla="*/ 45637 w 3009712"/>
                <a:gd name="connsiteY6078" fmla="*/ 496897 h 4178187"/>
                <a:gd name="connsiteX6079" fmla="*/ 42490 w 3009712"/>
                <a:gd name="connsiteY6079" fmla="*/ 498471 h 4178187"/>
                <a:gd name="connsiteX6080" fmla="*/ 40129 w 3009712"/>
                <a:gd name="connsiteY6080" fmla="*/ 501619 h 4178187"/>
                <a:gd name="connsiteX6081" fmla="*/ 36982 w 3009712"/>
                <a:gd name="connsiteY6081" fmla="*/ 502405 h 4178187"/>
                <a:gd name="connsiteX6082" fmla="*/ 34228 w 3009712"/>
                <a:gd name="connsiteY6082" fmla="*/ 502405 h 4178187"/>
                <a:gd name="connsiteX6083" fmla="*/ 31081 w 3009712"/>
                <a:gd name="connsiteY6083" fmla="*/ 503979 h 4178187"/>
                <a:gd name="connsiteX6084" fmla="*/ 28327 w 3009712"/>
                <a:gd name="connsiteY6084" fmla="*/ 504373 h 4178187"/>
                <a:gd name="connsiteX6085" fmla="*/ 25573 w 3009712"/>
                <a:gd name="connsiteY6085" fmla="*/ 506733 h 4178187"/>
                <a:gd name="connsiteX6086" fmla="*/ 22425 w 3009712"/>
                <a:gd name="connsiteY6086" fmla="*/ 507520 h 4178187"/>
                <a:gd name="connsiteX6087" fmla="*/ 19671 w 3009712"/>
                <a:gd name="connsiteY6087" fmla="*/ 507127 h 4178187"/>
                <a:gd name="connsiteX6088" fmla="*/ 22819 w 3009712"/>
                <a:gd name="connsiteY6088" fmla="*/ 505553 h 4178187"/>
                <a:gd name="connsiteX6089" fmla="*/ 19671 w 3009712"/>
                <a:gd name="connsiteY6089" fmla="*/ 506733 h 4178187"/>
                <a:gd name="connsiteX6090" fmla="*/ 16524 w 3009712"/>
                <a:gd name="connsiteY6090" fmla="*/ 507913 h 4178187"/>
                <a:gd name="connsiteX6091" fmla="*/ 13770 w 3009712"/>
                <a:gd name="connsiteY6091" fmla="*/ 508307 h 4178187"/>
                <a:gd name="connsiteX6092" fmla="*/ 10623 w 3009712"/>
                <a:gd name="connsiteY6092" fmla="*/ 509487 h 4178187"/>
                <a:gd name="connsiteX6093" fmla="*/ 5508 w 3009712"/>
                <a:gd name="connsiteY6093" fmla="*/ 514995 h 4178187"/>
                <a:gd name="connsiteX6094" fmla="*/ 2754 w 3009712"/>
                <a:gd name="connsiteY6094" fmla="*/ 516569 h 4178187"/>
                <a:gd name="connsiteX6095" fmla="*/ 0 w 3009712"/>
                <a:gd name="connsiteY6095" fmla="*/ 518929 h 4178187"/>
                <a:gd name="connsiteX6096" fmla="*/ 2754 w 3009712"/>
                <a:gd name="connsiteY6096" fmla="*/ 518536 h 4178187"/>
                <a:gd name="connsiteX6097" fmla="*/ 5901 w 3009712"/>
                <a:gd name="connsiteY6097" fmla="*/ 516962 h 4178187"/>
                <a:gd name="connsiteX6098" fmla="*/ 8655 w 3009712"/>
                <a:gd name="connsiteY6098" fmla="*/ 515782 h 4178187"/>
                <a:gd name="connsiteX6099" fmla="*/ 11803 w 3009712"/>
                <a:gd name="connsiteY6099" fmla="*/ 514208 h 4178187"/>
                <a:gd name="connsiteX6100" fmla="*/ 11409 w 3009712"/>
                <a:gd name="connsiteY6100" fmla="*/ 511454 h 4178187"/>
                <a:gd name="connsiteX6101" fmla="*/ 14163 w 3009712"/>
                <a:gd name="connsiteY6101" fmla="*/ 510274 h 4178187"/>
                <a:gd name="connsiteX6102" fmla="*/ 17311 w 3009712"/>
                <a:gd name="connsiteY6102" fmla="*/ 512635 h 4178187"/>
                <a:gd name="connsiteX6103" fmla="*/ 16524 w 3009712"/>
                <a:gd name="connsiteY6103" fmla="*/ 515388 h 4178187"/>
                <a:gd name="connsiteX6104" fmla="*/ 19671 w 3009712"/>
                <a:gd name="connsiteY6104" fmla="*/ 514995 h 4178187"/>
                <a:gd name="connsiteX6105" fmla="*/ 22425 w 3009712"/>
                <a:gd name="connsiteY6105" fmla="*/ 513421 h 4178187"/>
                <a:gd name="connsiteX6106" fmla="*/ 25179 w 3009712"/>
                <a:gd name="connsiteY6106" fmla="*/ 513421 h 4178187"/>
                <a:gd name="connsiteX6107" fmla="*/ 27146 w 3009712"/>
                <a:gd name="connsiteY6107" fmla="*/ 510667 h 4178187"/>
                <a:gd name="connsiteX6108" fmla="*/ 29900 w 3009712"/>
                <a:gd name="connsiteY6108" fmla="*/ 508307 h 4178187"/>
                <a:gd name="connsiteX6109" fmla="*/ 31474 w 3009712"/>
                <a:gd name="connsiteY6109" fmla="*/ 505553 h 4178187"/>
                <a:gd name="connsiteX6110" fmla="*/ 34622 w 3009712"/>
                <a:gd name="connsiteY6110" fmla="*/ 505159 h 4178187"/>
                <a:gd name="connsiteX6111" fmla="*/ 33835 w 3009712"/>
                <a:gd name="connsiteY6111" fmla="*/ 507913 h 4178187"/>
                <a:gd name="connsiteX6112" fmla="*/ 33441 w 3009712"/>
                <a:gd name="connsiteY6112" fmla="*/ 510667 h 4178187"/>
                <a:gd name="connsiteX6113" fmla="*/ 30294 w 3009712"/>
                <a:gd name="connsiteY6113" fmla="*/ 512635 h 4178187"/>
                <a:gd name="connsiteX6114" fmla="*/ 33441 w 3009712"/>
                <a:gd name="connsiteY6114" fmla="*/ 513028 h 4178187"/>
                <a:gd name="connsiteX6115" fmla="*/ 36195 w 3009712"/>
                <a:gd name="connsiteY6115" fmla="*/ 512241 h 4178187"/>
                <a:gd name="connsiteX6116" fmla="*/ 38949 w 3009712"/>
                <a:gd name="connsiteY6116" fmla="*/ 509487 h 4178187"/>
                <a:gd name="connsiteX6117" fmla="*/ 41703 w 3009712"/>
                <a:gd name="connsiteY6117" fmla="*/ 511061 h 4178187"/>
                <a:gd name="connsiteX6118" fmla="*/ 44851 w 3009712"/>
                <a:gd name="connsiteY6118" fmla="*/ 508307 h 4178187"/>
                <a:gd name="connsiteX6119" fmla="*/ 47605 w 3009712"/>
                <a:gd name="connsiteY6119" fmla="*/ 506340 h 4178187"/>
                <a:gd name="connsiteX6120" fmla="*/ 50359 w 3009712"/>
                <a:gd name="connsiteY6120" fmla="*/ 506340 h 4178187"/>
                <a:gd name="connsiteX6121" fmla="*/ 53506 w 3009712"/>
                <a:gd name="connsiteY6121" fmla="*/ 504766 h 4178187"/>
                <a:gd name="connsiteX6122" fmla="*/ 59014 w 3009712"/>
                <a:gd name="connsiteY6122" fmla="*/ 502012 h 4178187"/>
                <a:gd name="connsiteX6123" fmla="*/ 62161 w 3009712"/>
                <a:gd name="connsiteY6123" fmla="*/ 500045 h 4178187"/>
                <a:gd name="connsiteX6124" fmla="*/ 65309 w 3009712"/>
                <a:gd name="connsiteY6124" fmla="*/ 497684 h 4178187"/>
                <a:gd name="connsiteX6125" fmla="*/ 68063 w 3009712"/>
                <a:gd name="connsiteY6125" fmla="*/ 496111 h 4178187"/>
                <a:gd name="connsiteX6126" fmla="*/ 70817 w 3009712"/>
                <a:gd name="connsiteY6126" fmla="*/ 494537 h 4178187"/>
                <a:gd name="connsiteX6127" fmla="*/ 73571 w 3009712"/>
                <a:gd name="connsiteY6127" fmla="*/ 494143 h 4178187"/>
                <a:gd name="connsiteX6128" fmla="*/ 76718 w 3009712"/>
                <a:gd name="connsiteY6128" fmla="*/ 494930 h 4178187"/>
                <a:gd name="connsiteX6129" fmla="*/ 79472 w 3009712"/>
                <a:gd name="connsiteY6129" fmla="*/ 497291 h 4178187"/>
                <a:gd name="connsiteX6130" fmla="*/ 76325 w 3009712"/>
                <a:gd name="connsiteY6130" fmla="*/ 496897 h 4178187"/>
                <a:gd name="connsiteX6131" fmla="*/ 73571 w 3009712"/>
                <a:gd name="connsiteY6131" fmla="*/ 496504 h 4178187"/>
                <a:gd name="connsiteX6132" fmla="*/ 70817 w 3009712"/>
                <a:gd name="connsiteY6132" fmla="*/ 498078 h 4178187"/>
                <a:gd name="connsiteX6133" fmla="*/ 67669 w 3009712"/>
                <a:gd name="connsiteY6133" fmla="*/ 500438 h 4178187"/>
                <a:gd name="connsiteX6134" fmla="*/ 64915 w 3009712"/>
                <a:gd name="connsiteY6134" fmla="*/ 502799 h 4178187"/>
                <a:gd name="connsiteX6135" fmla="*/ 68063 w 3009712"/>
                <a:gd name="connsiteY6135" fmla="*/ 502405 h 4178187"/>
                <a:gd name="connsiteX6136" fmla="*/ 70817 w 3009712"/>
                <a:gd name="connsiteY6136" fmla="*/ 503192 h 4178187"/>
                <a:gd name="connsiteX6137" fmla="*/ 73571 w 3009712"/>
                <a:gd name="connsiteY6137" fmla="*/ 502012 h 4178187"/>
                <a:gd name="connsiteX6138" fmla="*/ 76718 w 3009712"/>
                <a:gd name="connsiteY6138" fmla="*/ 501225 h 4178187"/>
                <a:gd name="connsiteX6139" fmla="*/ 79472 w 3009712"/>
                <a:gd name="connsiteY6139" fmla="*/ 500438 h 4178187"/>
                <a:gd name="connsiteX6140" fmla="*/ 82620 w 3009712"/>
                <a:gd name="connsiteY6140" fmla="*/ 498865 h 4178187"/>
                <a:gd name="connsiteX6141" fmla="*/ 85767 w 3009712"/>
                <a:gd name="connsiteY6141" fmla="*/ 500438 h 4178187"/>
                <a:gd name="connsiteX6142" fmla="*/ 88914 w 3009712"/>
                <a:gd name="connsiteY6142" fmla="*/ 500045 h 4178187"/>
                <a:gd name="connsiteX6143" fmla="*/ 91668 w 3009712"/>
                <a:gd name="connsiteY6143" fmla="*/ 497684 h 4178187"/>
                <a:gd name="connsiteX6144" fmla="*/ 94422 w 3009712"/>
                <a:gd name="connsiteY6144" fmla="*/ 496897 h 4178187"/>
                <a:gd name="connsiteX6145" fmla="*/ 93242 w 3009712"/>
                <a:gd name="connsiteY6145" fmla="*/ 499651 h 4178187"/>
                <a:gd name="connsiteX6146" fmla="*/ 96389 w 3009712"/>
                <a:gd name="connsiteY6146" fmla="*/ 498078 h 4178187"/>
                <a:gd name="connsiteX6147" fmla="*/ 99143 w 3009712"/>
                <a:gd name="connsiteY6147" fmla="*/ 496504 h 4178187"/>
                <a:gd name="connsiteX6148" fmla="*/ 101897 w 3009712"/>
                <a:gd name="connsiteY6148" fmla="*/ 494143 h 4178187"/>
                <a:gd name="connsiteX6149" fmla="*/ 104651 w 3009712"/>
                <a:gd name="connsiteY6149" fmla="*/ 494537 h 4178187"/>
                <a:gd name="connsiteX6150" fmla="*/ 107799 w 3009712"/>
                <a:gd name="connsiteY6150" fmla="*/ 494143 h 4178187"/>
                <a:gd name="connsiteX6151" fmla="*/ 110946 w 3009712"/>
                <a:gd name="connsiteY6151" fmla="*/ 492176 h 4178187"/>
                <a:gd name="connsiteX6152" fmla="*/ 113700 w 3009712"/>
                <a:gd name="connsiteY6152" fmla="*/ 492176 h 4178187"/>
                <a:gd name="connsiteX6153" fmla="*/ 116848 w 3009712"/>
                <a:gd name="connsiteY6153" fmla="*/ 490209 h 4178187"/>
                <a:gd name="connsiteX6154" fmla="*/ 118815 w 3009712"/>
                <a:gd name="connsiteY6154" fmla="*/ 490209 h 4178187"/>
                <a:gd name="connsiteX6155" fmla="*/ 119995 w 3009712"/>
                <a:gd name="connsiteY6155" fmla="*/ 489816 h 4178187"/>
                <a:gd name="connsiteX6156" fmla="*/ 122356 w 3009712"/>
                <a:gd name="connsiteY6156" fmla="*/ 489422 h 4178187"/>
                <a:gd name="connsiteX6157" fmla="*/ 124716 w 3009712"/>
                <a:gd name="connsiteY6157" fmla="*/ 490603 h 4178187"/>
                <a:gd name="connsiteX6158" fmla="*/ 121962 w 3009712"/>
                <a:gd name="connsiteY6158" fmla="*/ 492963 h 4178187"/>
                <a:gd name="connsiteX6159" fmla="*/ 118815 w 3009712"/>
                <a:gd name="connsiteY6159" fmla="*/ 495324 h 4178187"/>
                <a:gd name="connsiteX6160" fmla="*/ 115667 w 3009712"/>
                <a:gd name="connsiteY6160" fmla="*/ 496897 h 4178187"/>
                <a:gd name="connsiteX6161" fmla="*/ 118421 w 3009712"/>
                <a:gd name="connsiteY6161" fmla="*/ 496504 h 4178187"/>
                <a:gd name="connsiteX6162" fmla="*/ 121569 w 3009712"/>
                <a:gd name="connsiteY6162" fmla="*/ 494537 h 4178187"/>
                <a:gd name="connsiteX6163" fmla="*/ 124323 w 3009712"/>
                <a:gd name="connsiteY6163" fmla="*/ 492963 h 4178187"/>
                <a:gd name="connsiteX6164" fmla="*/ 127470 w 3009712"/>
                <a:gd name="connsiteY6164" fmla="*/ 490603 h 4178187"/>
                <a:gd name="connsiteX6165" fmla="*/ 130224 w 3009712"/>
                <a:gd name="connsiteY6165" fmla="*/ 488242 h 4178187"/>
                <a:gd name="connsiteX6166" fmla="*/ 132978 w 3009712"/>
                <a:gd name="connsiteY6166" fmla="*/ 488242 h 4178187"/>
                <a:gd name="connsiteX6167" fmla="*/ 135732 w 3009712"/>
                <a:gd name="connsiteY6167" fmla="*/ 487062 h 4178187"/>
                <a:gd name="connsiteX6168" fmla="*/ 142814 w 3009712"/>
                <a:gd name="connsiteY6168" fmla="*/ 485882 h 4178187"/>
                <a:gd name="connsiteX6169" fmla="*/ 144781 w 3009712"/>
                <a:gd name="connsiteY6169" fmla="*/ 486275 h 4178187"/>
                <a:gd name="connsiteX6170" fmla="*/ 147141 w 3009712"/>
                <a:gd name="connsiteY6170" fmla="*/ 485095 h 4178187"/>
                <a:gd name="connsiteX6171" fmla="*/ 153830 w 3009712"/>
                <a:gd name="connsiteY6171" fmla="*/ 484308 h 4178187"/>
                <a:gd name="connsiteX6172" fmla="*/ 153830 w 3009712"/>
                <a:gd name="connsiteY6172" fmla="*/ 484308 h 4178187"/>
                <a:gd name="connsiteX6173" fmla="*/ 154223 w 3009712"/>
                <a:gd name="connsiteY6173" fmla="*/ 484308 h 4178187"/>
                <a:gd name="connsiteX6174" fmla="*/ 161305 w 3009712"/>
                <a:gd name="connsiteY6174" fmla="*/ 483128 h 4178187"/>
                <a:gd name="connsiteX6175" fmla="*/ 163665 w 3009712"/>
                <a:gd name="connsiteY6175" fmla="*/ 482734 h 4178187"/>
                <a:gd name="connsiteX6176" fmla="*/ 164059 w 3009712"/>
                <a:gd name="connsiteY6176" fmla="*/ 482341 h 4178187"/>
                <a:gd name="connsiteX6177" fmla="*/ 210090 w 3009712"/>
                <a:gd name="connsiteY6177" fmla="*/ 463063 h 4178187"/>
                <a:gd name="connsiteX6178" fmla="*/ 210877 w 3009712"/>
                <a:gd name="connsiteY6178" fmla="*/ 463063 h 4178187"/>
                <a:gd name="connsiteX6179" fmla="*/ 210877 w 3009712"/>
                <a:gd name="connsiteY6179" fmla="*/ 462669 h 4178187"/>
                <a:gd name="connsiteX6180" fmla="*/ 221892 w 3009712"/>
                <a:gd name="connsiteY6180" fmla="*/ 457948 h 4178187"/>
                <a:gd name="connsiteX6181" fmla="*/ 221892 w 3009712"/>
                <a:gd name="connsiteY6181" fmla="*/ 458342 h 4178187"/>
                <a:gd name="connsiteX6182" fmla="*/ 225040 w 3009712"/>
                <a:gd name="connsiteY6182" fmla="*/ 456768 h 4178187"/>
                <a:gd name="connsiteX6183" fmla="*/ 227400 w 3009712"/>
                <a:gd name="connsiteY6183" fmla="*/ 455981 h 4178187"/>
                <a:gd name="connsiteX6184" fmla="*/ 228581 w 3009712"/>
                <a:gd name="connsiteY6184" fmla="*/ 455588 h 4178187"/>
                <a:gd name="connsiteX6185" fmla="*/ 230548 w 3009712"/>
                <a:gd name="connsiteY6185" fmla="*/ 454407 h 4178187"/>
                <a:gd name="connsiteX6186" fmla="*/ 234876 w 3009712"/>
                <a:gd name="connsiteY6186" fmla="*/ 452834 h 4178187"/>
                <a:gd name="connsiteX6187" fmla="*/ 237236 w 3009712"/>
                <a:gd name="connsiteY6187" fmla="*/ 453227 h 4178187"/>
                <a:gd name="connsiteX6188" fmla="*/ 240384 w 3009712"/>
                <a:gd name="connsiteY6188" fmla="*/ 451653 h 4178187"/>
                <a:gd name="connsiteX6189" fmla="*/ 243138 w 3009712"/>
                <a:gd name="connsiteY6189" fmla="*/ 451260 h 4178187"/>
                <a:gd name="connsiteX6190" fmla="*/ 245892 w 3009712"/>
                <a:gd name="connsiteY6190" fmla="*/ 449293 h 4178187"/>
                <a:gd name="connsiteX6191" fmla="*/ 249039 w 3009712"/>
                <a:gd name="connsiteY6191" fmla="*/ 449293 h 4178187"/>
                <a:gd name="connsiteX6192" fmla="*/ 251793 w 3009712"/>
                <a:gd name="connsiteY6192" fmla="*/ 447326 h 4178187"/>
                <a:gd name="connsiteX6193" fmla="*/ 254940 w 3009712"/>
                <a:gd name="connsiteY6193" fmla="*/ 446932 h 4178187"/>
                <a:gd name="connsiteX6194" fmla="*/ 256121 w 3009712"/>
                <a:gd name="connsiteY6194" fmla="*/ 444965 h 4178187"/>
                <a:gd name="connsiteX6195" fmla="*/ 285628 w 3009712"/>
                <a:gd name="connsiteY6195" fmla="*/ 433949 h 4178187"/>
                <a:gd name="connsiteX6196" fmla="*/ 293103 w 3009712"/>
                <a:gd name="connsiteY6196" fmla="*/ 430015 h 4178187"/>
                <a:gd name="connsiteX6197" fmla="*/ 293890 w 3009712"/>
                <a:gd name="connsiteY6197" fmla="*/ 430015 h 4178187"/>
                <a:gd name="connsiteX6198" fmla="*/ 294283 w 3009712"/>
                <a:gd name="connsiteY6198" fmla="*/ 429622 h 4178187"/>
                <a:gd name="connsiteX6199" fmla="*/ 299004 w 3009712"/>
                <a:gd name="connsiteY6199" fmla="*/ 427261 h 4178187"/>
                <a:gd name="connsiteX6200" fmla="*/ 299004 w 3009712"/>
                <a:gd name="connsiteY6200" fmla="*/ 427261 h 4178187"/>
                <a:gd name="connsiteX6201" fmla="*/ 301758 w 3009712"/>
                <a:gd name="connsiteY6201" fmla="*/ 428048 h 4178187"/>
                <a:gd name="connsiteX6202" fmla="*/ 304906 w 3009712"/>
                <a:gd name="connsiteY6202" fmla="*/ 426081 h 4178187"/>
                <a:gd name="connsiteX6203" fmla="*/ 307660 w 3009712"/>
                <a:gd name="connsiteY6203" fmla="*/ 424900 h 4178187"/>
                <a:gd name="connsiteX6204" fmla="*/ 310807 w 3009712"/>
                <a:gd name="connsiteY6204" fmla="*/ 423720 h 4178187"/>
                <a:gd name="connsiteX6205" fmla="*/ 313561 w 3009712"/>
                <a:gd name="connsiteY6205" fmla="*/ 423327 h 4178187"/>
                <a:gd name="connsiteX6206" fmla="*/ 316708 w 3009712"/>
                <a:gd name="connsiteY6206" fmla="*/ 420966 h 4178187"/>
                <a:gd name="connsiteX6207" fmla="*/ 319462 w 3009712"/>
                <a:gd name="connsiteY6207" fmla="*/ 419392 h 4178187"/>
                <a:gd name="connsiteX6208" fmla="*/ 322216 w 3009712"/>
                <a:gd name="connsiteY6208" fmla="*/ 418999 h 4178187"/>
                <a:gd name="connsiteX6209" fmla="*/ 325757 w 3009712"/>
                <a:gd name="connsiteY6209" fmla="*/ 419392 h 4178187"/>
                <a:gd name="connsiteX6210" fmla="*/ 328511 w 3009712"/>
                <a:gd name="connsiteY6210" fmla="*/ 417819 h 4178187"/>
                <a:gd name="connsiteX6211" fmla="*/ 331658 w 3009712"/>
                <a:gd name="connsiteY6211" fmla="*/ 418606 h 4178187"/>
                <a:gd name="connsiteX6212" fmla="*/ 334019 w 3009712"/>
                <a:gd name="connsiteY6212" fmla="*/ 415852 h 4178187"/>
                <a:gd name="connsiteX6213" fmla="*/ 336773 w 3009712"/>
                <a:gd name="connsiteY6213" fmla="*/ 416245 h 4178187"/>
                <a:gd name="connsiteX6214" fmla="*/ 339920 w 3009712"/>
                <a:gd name="connsiteY6214" fmla="*/ 413884 h 4178187"/>
                <a:gd name="connsiteX6215" fmla="*/ 339527 w 3009712"/>
                <a:gd name="connsiteY6215" fmla="*/ 416638 h 4178187"/>
                <a:gd name="connsiteX6216" fmla="*/ 342281 w 3009712"/>
                <a:gd name="connsiteY6216" fmla="*/ 415458 h 4178187"/>
                <a:gd name="connsiteX6217" fmla="*/ 345428 w 3009712"/>
                <a:gd name="connsiteY6217" fmla="*/ 413491 h 4178187"/>
                <a:gd name="connsiteX6218" fmla="*/ 348576 w 3009712"/>
                <a:gd name="connsiteY6218" fmla="*/ 411131 h 4178187"/>
                <a:gd name="connsiteX6219" fmla="*/ 351330 w 3009712"/>
                <a:gd name="connsiteY6219" fmla="*/ 409557 h 4178187"/>
                <a:gd name="connsiteX6220" fmla="*/ 348182 w 3009712"/>
                <a:gd name="connsiteY6220" fmla="*/ 409950 h 4178187"/>
                <a:gd name="connsiteX6221" fmla="*/ 345428 w 3009712"/>
                <a:gd name="connsiteY6221" fmla="*/ 411131 h 4178187"/>
                <a:gd name="connsiteX6222" fmla="*/ 348182 w 3009712"/>
                <a:gd name="connsiteY6222" fmla="*/ 409557 h 4178187"/>
                <a:gd name="connsiteX6223" fmla="*/ 351330 w 3009712"/>
                <a:gd name="connsiteY6223" fmla="*/ 409163 h 4178187"/>
                <a:gd name="connsiteX6224" fmla="*/ 354477 w 3009712"/>
                <a:gd name="connsiteY6224" fmla="*/ 408770 h 4178187"/>
                <a:gd name="connsiteX6225" fmla="*/ 357231 w 3009712"/>
                <a:gd name="connsiteY6225" fmla="*/ 407196 h 4178187"/>
                <a:gd name="connsiteX6226" fmla="*/ 360379 w 3009712"/>
                <a:gd name="connsiteY6226" fmla="*/ 404442 h 4178187"/>
                <a:gd name="connsiteX6227" fmla="*/ 363526 w 3009712"/>
                <a:gd name="connsiteY6227" fmla="*/ 404442 h 4178187"/>
                <a:gd name="connsiteX6228" fmla="*/ 366674 w 3009712"/>
                <a:gd name="connsiteY6228" fmla="*/ 402475 h 4178187"/>
                <a:gd name="connsiteX6229" fmla="*/ 369427 w 3009712"/>
                <a:gd name="connsiteY6229" fmla="*/ 400901 h 4178187"/>
                <a:gd name="connsiteX6230" fmla="*/ 372575 w 3009712"/>
                <a:gd name="connsiteY6230" fmla="*/ 400901 h 4178187"/>
                <a:gd name="connsiteX6231" fmla="*/ 375722 w 3009712"/>
                <a:gd name="connsiteY6231" fmla="*/ 400508 h 4178187"/>
                <a:gd name="connsiteX6232" fmla="*/ 378476 w 3009712"/>
                <a:gd name="connsiteY6232" fmla="*/ 399328 h 4178187"/>
                <a:gd name="connsiteX6233" fmla="*/ 381624 w 3009712"/>
                <a:gd name="connsiteY6233" fmla="*/ 398147 h 4178187"/>
                <a:gd name="connsiteX6234" fmla="*/ 384378 w 3009712"/>
                <a:gd name="connsiteY6234" fmla="*/ 397361 h 4178187"/>
                <a:gd name="connsiteX6235" fmla="*/ 387132 w 3009712"/>
                <a:gd name="connsiteY6235" fmla="*/ 395787 h 4178187"/>
                <a:gd name="connsiteX6236" fmla="*/ 390279 w 3009712"/>
                <a:gd name="connsiteY6236" fmla="*/ 393820 h 4178187"/>
                <a:gd name="connsiteX6237" fmla="*/ 393033 w 3009712"/>
                <a:gd name="connsiteY6237" fmla="*/ 392246 h 4178187"/>
                <a:gd name="connsiteX6238" fmla="*/ 392640 w 3009712"/>
                <a:gd name="connsiteY6238" fmla="*/ 389099 h 4178187"/>
                <a:gd name="connsiteX6239" fmla="*/ 389886 w 3009712"/>
                <a:gd name="connsiteY6239" fmla="*/ 386738 h 4178187"/>
                <a:gd name="connsiteX6240" fmla="*/ 386738 w 3009712"/>
                <a:gd name="connsiteY6240" fmla="*/ 387131 h 4178187"/>
                <a:gd name="connsiteX6241" fmla="*/ 383984 w 3009712"/>
                <a:gd name="connsiteY6241" fmla="*/ 386738 h 4178187"/>
                <a:gd name="connsiteX6242" fmla="*/ 381230 w 3009712"/>
                <a:gd name="connsiteY6242" fmla="*/ 387131 h 4178187"/>
                <a:gd name="connsiteX6243" fmla="*/ 378083 w 3009712"/>
                <a:gd name="connsiteY6243" fmla="*/ 387525 h 4178187"/>
                <a:gd name="connsiteX6244" fmla="*/ 424901 w 3009712"/>
                <a:gd name="connsiteY6244" fmla="*/ 368247 h 4178187"/>
                <a:gd name="connsiteX6245" fmla="*/ 425687 w 3009712"/>
                <a:gd name="connsiteY6245" fmla="*/ 368247 h 4178187"/>
                <a:gd name="connsiteX6246" fmla="*/ 428835 w 3009712"/>
                <a:gd name="connsiteY6246" fmla="*/ 367067 h 4178187"/>
                <a:gd name="connsiteX6247" fmla="*/ 431589 w 3009712"/>
                <a:gd name="connsiteY6247" fmla="*/ 365886 h 4178187"/>
                <a:gd name="connsiteX6248" fmla="*/ 431982 w 3009712"/>
                <a:gd name="connsiteY6248" fmla="*/ 365100 h 4178187"/>
                <a:gd name="connsiteX6249" fmla="*/ 441031 w 3009712"/>
                <a:gd name="connsiteY6249" fmla="*/ 361165 h 4178187"/>
                <a:gd name="connsiteX6250" fmla="*/ 441818 w 3009712"/>
                <a:gd name="connsiteY6250" fmla="*/ 361165 h 4178187"/>
                <a:gd name="connsiteX6251" fmla="*/ 444965 w 3009712"/>
                <a:gd name="connsiteY6251" fmla="*/ 360379 h 4178187"/>
                <a:gd name="connsiteX6252" fmla="*/ 447719 w 3009712"/>
                <a:gd name="connsiteY6252" fmla="*/ 358805 h 4178187"/>
                <a:gd name="connsiteX6253" fmla="*/ 450867 w 3009712"/>
                <a:gd name="connsiteY6253" fmla="*/ 357231 h 4178187"/>
                <a:gd name="connsiteX6254" fmla="*/ 483128 w 3009712"/>
                <a:gd name="connsiteY6254" fmla="*/ 343461 h 4178187"/>
                <a:gd name="connsiteX6255" fmla="*/ 481161 w 3009712"/>
                <a:gd name="connsiteY6255" fmla="*/ 344641 h 4178187"/>
                <a:gd name="connsiteX6256" fmla="*/ 478013 w 3009712"/>
                <a:gd name="connsiteY6256" fmla="*/ 346215 h 4178187"/>
                <a:gd name="connsiteX6257" fmla="*/ 480767 w 3009712"/>
                <a:gd name="connsiteY6257" fmla="*/ 345035 h 4178187"/>
                <a:gd name="connsiteX6258" fmla="*/ 483915 w 3009712"/>
                <a:gd name="connsiteY6258" fmla="*/ 343461 h 4178187"/>
                <a:gd name="connsiteX6259" fmla="*/ 486669 w 3009712"/>
                <a:gd name="connsiteY6259" fmla="*/ 341887 h 4178187"/>
                <a:gd name="connsiteX6260" fmla="*/ 486669 w 3009712"/>
                <a:gd name="connsiteY6260" fmla="*/ 341494 h 4178187"/>
                <a:gd name="connsiteX6261" fmla="*/ 540568 w 3009712"/>
                <a:gd name="connsiteY6261" fmla="*/ 318675 h 4178187"/>
                <a:gd name="connsiteX6262" fmla="*/ 541748 w 3009712"/>
                <a:gd name="connsiteY6262" fmla="*/ 318282 h 4178187"/>
                <a:gd name="connsiteX6263" fmla="*/ 544502 w 3009712"/>
                <a:gd name="connsiteY6263" fmla="*/ 317102 h 4178187"/>
                <a:gd name="connsiteX6264" fmla="*/ 547256 w 3009712"/>
                <a:gd name="connsiteY6264" fmla="*/ 316708 h 4178187"/>
                <a:gd name="connsiteX6265" fmla="*/ 550404 w 3009712"/>
                <a:gd name="connsiteY6265" fmla="*/ 314348 h 4178187"/>
                <a:gd name="connsiteX6266" fmla="*/ 550010 w 3009712"/>
                <a:gd name="connsiteY6266" fmla="*/ 315135 h 4178187"/>
                <a:gd name="connsiteX6267" fmla="*/ 550404 w 3009712"/>
                <a:gd name="connsiteY6267" fmla="*/ 317888 h 4178187"/>
                <a:gd name="connsiteX6268" fmla="*/ 553551 w 3009712"/>
                <a:gd name="connsiteY6268" fmla="*/ 317888 h 4178187"/>
                <a:gd name="connsiteX6269" fmla="*/ 556305 w 3009712"/>
                <a:gd name="connsiteY6269" fmla="*/ 317495 h 4178187"/>
                <a:gd name="connsiteX6270" fmla="*/ 559452 w 3009712"/>
                <a:gd name="connsiteY6270" fmla="*/ 317888 h 4178187"/>
                <a:gd name="connsiteX6271" fmla="*/ 557879 w 3009712"/>
                <a:gd name="connsiteY6271" fmla="*/ 319069 h 4178187"/>
                <a:gd name="connsiteX6272" fmla="*/ 555518 w 3009712"/>
                <a:gd name="connsiteY6272" fmla="*/ 321036 h 4178187"/>
                <a:gd name="connsiteX6273" fmla="*/ 548043 w 3009712"/>
                <a:gd name="connsiteY6273" fmla="*/ 327724 h 4178187"/>
                <a:gd name="connsiteX6274" fmla="*/ 545683 w 3009712"/>
                <a:gd name="connsiteY6274" fmla="*/ 328118 h 4178187"/>
                <a:gd name="connsiteX6275" fmla="*/ 542929 w 3009712"/>
                <a:gd name="connsiteY6275" fmla="*/ 326937 h 4178187"/>
                <a:gd name="connsiteX6276" fmla="*/ 542535 w 3009712"/>
                <a:gd name="connsiteY6276" fmla="*/ 324183 h 4178187"/>
                <a:gd name="connsiteX6277" fmla="*/ 533093 w 3009712"/>
                <a:gd name="connsiteY6277" fmla="*/ 326544 h 4178187"/>
                <a:gd name="connsiteX6278" fmla="*/ 530339 w 3009712"/>
                <a:gd name="connsiteY6278" fmla="*/ 327331 h 4178187"/>
                <a:gd name="connsiteX6279" fmla="*/ 527585 w 3009712"/>
                <a:gd name="connsiteY6279" fmla="*/ 328511 h 4178187"/>
                <a:gd name="connsiteX6280" fmla="*/ 524437 w 3009712"/>
                <a:gd name="connsiteY6280" fmla="*/ 329691 h 4178187"/>
                <a:gd name="connsiteX6281" fmla="*/ 521684 w 3009712"/>
                <a:gd name="connsiteY6281" fmla="*/ 330478 h 4178187"/>
                <a:gd name="connsiteX6282" fmla="*/ 518536 w 3009712"/>
                <a:gd name="connsiteY6282" fmla="*/ 331658 h 4178187"/>
                <a:gd name="connsiteX6283" fmla="*/ 515782 w 3009712"/>
                <a:gd name="connsiteY6283" fmla="*/ 332052 h 4178187"/>
                <a:gd name="connsiteX6284" fmla="*/ 513028 w 3009712"/>
                <a:gd name="connsiteY6284" fmla="*/ 332445 h 4178187"/>
                <a:gd name="connsiteX6285" fmla="*/ 509881 w 3009712"/>
                <a:gd name="connsiteY6285" fmla="*/ 333232 h 4178187"/>
                <a:gd name="connsiteX6286" fmla="*/ 507127 w 3009712"/>
                <a:gd name="connsiteY6286" fmla="*/ 334019 h 4178187"/>
                <a:gd name="connsiteX6287" fmla="*/ 505160 w 3009712"/>
                <a:gd name="connsiteY6287" fmla="*/ 337166 h 4178187"/>
                <a:gd name="connsiteX6288" fmla="*/ 503586 w 3009712"/>
                <a:gd name="connsiteY6288" fmla="*/ 339920 h 4178187"/>
                <a:gd name="connsiteX6289" fmla="*/ 500439 w 3009712"/>
                <a:gd name="connsiteY6289" fmla="*/ 342281 h 4178187"/>
                <a:gd name="connsiteX6290" fmla="*/ 497684 w 3009712"/>
                <a:gd name="connsiteY6290" fmla="*/ 344641 h 4178187"/>
                <a:gd name="connsiteX6291" fmla="*/ 496898 w 3009712"/>
                <a:gd name="connsiteY6291" fmla="*/ 344641 h 4178187"/>
                <a:gd name="connsiteX6292" fmla="*/ 493357 w 3009712"/>
                <a:gd name="connsiteY6292" fmla="*/ 346215 h 4178187"/>
                <a:gd name="connsiteX6293" fmla="*/ 492177 w 3009712"/>
                <a:gd name="connsiteY6293" fmla="*/ 347002 h 4178187"/>
                <a:gd name="connsiteX6294" fmla="*/ 476833 w 3009712"/>
                <a:gd name="connsiteY6294" fmla="*/ 354477 h 4178187"/>
                <a:gd name="connsiteX6295" fmla="*/ 476046 w 3009712"/>
                <a:gd name="connsiteY6295" fmla="*/ 354871 h 4178187"/>
                <a:gd name="connsiteX6296" fmla="*/ 473292 w 3009712"/>
                <a:gd name="connsiteY6296" fmla="*/ 356444 h 4178187"/>
                <a:gd name="connsiteX6297" fmla="*/ 472112 w 3009712"/>
                <a:gd name="connsiteY6297" fmla="*/ 357231 h 4178187"/>
                <a:gd name="connsiteX6298" fmla="*/ 469358 w 3009712"/>
                <a:gd name="connsiteY6298" fmla="*/ 358805 h 4178187"/>
                <a:gd name="connsiteX6299" fmla="*/ 466210 w 3009712"/>
                <a:gd name="connsiteY6299" fmla="*/ 360379 h 4178187"/>
                <a:gd name="connsiteX6300" fmla="*/ 463456 w 3009712"/>
                <a:gd name="connsiteY6300" fmla="*/ 361952 h 4178187"/>
                <a:gd name="connsiteX6301" fmla="*/ 460702 w 3009712"/>
                <a:gd name="connsiteY6301" fmla="*/ 364313 h 4178187"/>
                <a:gd name="connsiteX6302" fmla="*/ 463063 w 3009712"/>
                <a:gd name="connsiteY6302" fmla="*/ 367067 h 4178187"/>
                <a:gd name="connsiteX6303" fmla="*/ 465817 w 3009712"/>
                <a:gd name="connsiteY6303" fmla="*/ 367460 h 4178187"/>
                <a:gd name="connsiteX6304" fmla="*/ 468571 w 3009712"/>
                <a:gd name="connsiteY6304" fmla="*/ 366280 h 4178187"/>
                <a:gd name="connsiteX6305" fmla="*/ 471718 w 3009712"/>
                <a:gd name="connsiteY6305" fmla="*/ 365493 h 4178187"/>
                <a:gd name="connsiteX6306" fmla="*/ 474472 w 3009712"/>
                <a:gd name="connsiteY6306" fmla="*/ 364706 h 4178187"/>
                <a:gd name="connsiteX6307" fmla="*/ 477620 w 3009712"/>
                <a:gd name="connsiteY6307" fmla="*/ 363526 h 4178187"/>
                <a:gd name="connsiteX6308" fmla="*/ 480374 w 3009712"/>
                <a:gd name="connsiteY6308" fmla="*/ 363919 h 4178187"/>
                <a:gd name="connsiteX6309" fmla="*/ 477226 w 3009712"/>
                <a:gd name="connsiteY6309" fmla="*/ 365100 h 4178187"/>
                <a:gd name="connsiteX6310" fmla="*/ 474472 w 3009712"/>
                <a:gd name="connsiteY6310" fmla="*/ 366673 h 4178187"/>
                <a:gd name="connsiteX6311" fmla="*/ 471325 w 3009712"/>
                <a:gd name="connsiteY6311" fmla="*/ 368640 h 4178187"/>
                <a:gd name="connsiteX6312" fmla="*/ 468177 w 3009712"/>
                <a:gd name="connsiteY6312" fmla="*/ 369427 h 4178187"/>
                <a:gd name="connsiteX6313" fmla="*/ 465423 w 3009712"/>
                <a:gd name="connsiteY6313" fmla="*/ 369821 h 4178187"/>
                <a:gd name="connsiteX6314" fmla="*/ 462276 w 3009712"/>
                <a:gd name="connsiteY6314" fmla="*/ 370608 h 4178187"/>
                <a:gd name="connsiteX6315" fmla="*/ 459522 w 3009712"/>
                <a:gd name="connsiteY6315" fmla="*/ 372181 h 4178187"/>
                <a:gd name="connsiteX6316" fmla="*/ 456768 w 3009712"/>
                <a:gd name="connsiteY6316" fmla="*/ 371788 h 4178187"/>
                <a:gd name="connsiteX6317" fmla="*/ 450473 w 3009712"/>
                <a:gd name="connsiteY6317" fmla="*/ 372968 h 4178187"/>
                <a:gd name="connsiteX6318" fmla="*/ 447326 w 3009712"/>
                <a:gd name="connsiteY6318" fmla="*/ 375329 h 4178187"/>
                <a:gd name="connsiteX6319" fmla="*/ 444572 w 3009712"/>
                <a:gd name="connsiteY6319" fmla="*/ 375722 h 4178187"/>
                <a:gd name="connsiteX6320" fmla="*/ 441425 w 3009712"/>
                <a:gd name="connsiteY6320" fmla="*/ 377296 h 4178187"/>
                <a:gd name="connsiteX6321" fmla="*/ 441818 w 3009712"/>
                <a:gd name="connsiteY6321" fmla="*/ 380443 h 4178187"/>
                <a:gd name="connsiteX6322" fmla="*/ 444572 w 3009712"/>
                <a:gd name="connsiteY6322" fmla="*/ 381624 h 4178187"/>
                <a:gd name="connsiteX6323" fmla="*/ 447719 w 3009712"/>
                <a:gd name="connsiteY6323" fmla="*/ 380837 h 4178187"/>
                <a:gd name="connsiteX6324" fmla="*/ 450867 w 3009712"/>
                <a:gd name="connsiteY6324" fmla="*/ 379656 h 4178187"/>
                <a:gd name="connsiteX6325" fmla="*/ 454014 w 3009712"/>
                <a:gd name="connsiteY6325" fmla="*/ 378870 h 4178187"/>
                <a:gd name="connsiteX6326" fmla="*/ 456768 w 3009712"/>
                <a:gd name="connsiteY6326" fmla="*/ 380050 h 4178187"/>
                <a:gd name="connsiteX6327" fmla="*/ 459916 w 3009712"/>
                <a:gd name="connsiteY6327" fmla="*/ 380050 h 4178187"/>
                <a:gd name="connsiteX6328" fmla="*/ 459129 w 3009712"/>
                <a:gd name="connsiteY6328" fmla="*/ 377296 h 4178187"/>
                <a:gd name="connsiteX6329" fmla="*/ 461883 w 3009712"/>
                <a:gd name="connsiteY6329" fmla="*/ 378083 h 4178187"/>
                <a:gd name="connsiteX6330" fmla="*/ 465030 w 3009712"/>
                <a:gd name="connsiteY6330" fmla="*/ 379656 h 4178187"/>
                <a:gd name="connsiteX6331" fmla="*/ 467784 w 3009712"/>
                <a:gd name="connsiteY6331" fmla="*/ 377296 h 4178187"/>
                <a:gd name="connsiteX6332" fmla="*/ 470538 w 3009712"/>
                <a:gd name="connsiteY6332" fmla="*/ 376509 h 4178187"/>
                <a:gd name="connsiteX6333" fmla="*/ 473685 w 3009712"/>
                <a:gd name="connsiteY6333" fmla="*/ 375722 h 4178187"/>
                <a:gd name="connsiteX6334" fmla="*/ 476833 w 3009712"/>
                <a:gd name="connsiteY6334" fmla="*/ 374148 h 4178187"/>
                <a:gd name="connsiteX6335" fmla="*/ 479587 w 3009712"/>
                <a:gd name="connsiteY6335" fmla="*/ 372968 h 4178187"/>
                <a:gd name="connsiteX6336" fmla="*/ 482341 w 3009712"/>
                <a:gd name="connsiteY6336" fmla="*/ 370214 h 4178187"/>
                <a:gd name="connsiteX6337" fmla="*/ 485488 w 3009712"/>
                <a:gd name="connsiteY6337" fmla="*/ 369821 h 4178187"/>
                <a:gd name="connsiteX6338" fmla="*/ 483128 w 3009712"/>
                <a:gd name="connsiteY6338" fmla="*/ 372968 h 4178187"/>
                <a:gd name="connsiteX6339" fmla="*/ 486275 w 3009712"/>
                <a:gd name="connsiteY6339" fmla="*/ 371394 h 4178187"/>
                <a:gd name="connsiteX6340" fmla="*/ 489029 w 3009712"/>
                <a:gd name="connsiteY6340" fmla="*/ 369427 h 4178187"/>
                <a:gd name="connsiteX6341" fmla="*/ 492177 w 3009712"/>
                <a:gd name="connsiteY6341" fmla="*/ 368247 h 4178187"/>
                <a:gd name="connsiteX6342" fmla="*/ 494930 w 3009712"/>
                <a:gd name="connsiteY6342" fmla="*/ 366673 h 4178187"/>
                <a:gd name="connsiteX6343" fmla="*/ 497684 w 3009712"/>
                <a:gd name="connsiteY6343" fmla="*/ 365886 h 4178187"/>
                <a:gd name="connsiteX6344" fmla="*/ 497684 w 3009712"/>
                <a:gd name="connsiteY6344" fmla="*/ 365886 h 4178187"/>
                <a:gd name="connsiteX6345" fmla="*/ 495324 w 3009712"/>
                <a:gd name="connsiteY6345" fmla="*/ 367460 h 4178187"/>
                <a:gd name="connsiteX6346" fmla="*/ 492570 w 3009712"/>
                <a:gd name="connsiteY6346" fmla="*/ 369427 h 4178187"/>
                <a:gd name="connsiteX6347" fmla="*/ 489816 w 3009712"/>
                <a:gd name="connsiteY6347" fmla="*/ 370608 h 4178187"/>
                <a:gd name="connsiteX6348" fmla="*/ 486669 w 3009712"/>
                <a:gd name="connsiteY6348" fmla="*/ 372968 h 4178187"/>
                <a:gd name="connsiteX6349" fmla="*/ 489422 w 3009712"/>
                <a:gd name="connsiteY6349" fmla="*/ 372181 h 4178187"/>
                <a:gd name="connsiteX6350" fmla="*/ 492570 w 3009712"/>
                <a:gd name="connsiteY6350" fmla="*/ 371394 h 4178187"/>
                <a:gd name="connsiteX6351" fmla="*/ 495717 w 3009712"/>
                <a:gd name="connsiteY6351" fmla="*/ 369821 h 4178187"/>
                <a:gd name="connsiteX6352" fmla="*/ 498471 w 3009712"/>
                <a:gd name="connsiteY6352" fmla="*/ 368247 h 4178187"/>
                <a:gd name="connsiteX6353" fmla="*/ 501619 w 3009712"/>
                <a:gd name="connsiteY6353" fmla="*/ 367854 h 4178187"/>
                <a:gd name="connsiteX6354" fmla="*/ 503586 w 3009712"/>
                <a:gd name="connsiteY6354" fmla="*/ 367067 h 4178187"/>
                <a:gd name="connsiteX6355" fmla="*/ 505946 w 3009712"/>
                <a:gd name="connsiteY6355" fmla="*/ 364313 h 4178187"/>
                <a:gd name="connsiteX6356" fmla="*/ 507520 w 3009712"/>
                <a:gd name="connsiteY6356" fmla="*/ 363133 h 4178187"/>
                <a:gd name="connsiteX6357" fmla="*/ 508700 w 3009712"/>
                <a:gd name="connsiteY6357" fmla="*/ 364313 h 4178187"/>
                <a:gd name="connsiteX6358" fmla="*/ 509094 w 3009712"/>
                <a:gd name="connsiteY6358" fmla="*/ 367067 h 4178187"/>
                <a:gd name="connsiteX6359" fmla="*/ 512241 w 3009712"/>
                <a:gd name="connsiteY6359" fmla="*/ 364313 h 4178187"/>
                <a:gd name="connsiteX6360" fmla="*/ 513422 w 3009712"/>
                <a:gd name="connsiteY6360" fmla="*/ 361559 h 4178187"/>
                <a:gd name="connsiteX6361" fmla="*/ 514602 w 3009712"/>
                <a:gd name="connsiteY6361" fmla="*/ 361165 h 4178187"/>
                <a:gd name="connsiteX6362" fmla="*/ 516962 w 3009712"/>
                <a:gd name="connsiteY6362" fmla="*/ 361165 h 4178187"/>
                <a:gd name="connsiteX6363" fmla="*/ 519716 w 3009712"/>
                <a:gd name="connsiteY6363" fmla="*/ 360379 h 4178187"/>
                <a:gd name="connsiteX6364" fmla="*/ 516962 w 3009712"/>
                <a:gd name="connsiteY6364" fmla="*/ 362346 h 4178187"/>
                <a:gd name="connsiteX6365" fmla="*/ 516962 w 3009712"/>
                <a:gd name="connsiteY6365" fmla="*/ 365493 h 4178187"/>
                <a:gd name="connsiteX6366" fmla="*/ 517749 w 3009712"/>
                <a:gd name="connsiteY6366" fmla="*/ 362739 h 4178187"/>
                <a:gd name="connsiteX6367" fmla="*/ 520503 w 3009712"/>
                <a:gd name="connsiteY6367" fmla="*/ 361165 h 4178187"/>
                <a:gd name="connsiteX6368" fmla="*/ 523651 w 3009712"/>
                <a:gd name="connsiteY6368" fmla="*/ 359592 h 4178187"/>
                <a:gd name="connsiteX6369" fmla="*/ 526798 w 3009712"/>
                <a:gd name="connsiteY6369" fmla="*/ 359198 h 4178187"/>
                <a:gd name="connsiteX6370" fmla="*/ 529552 w 3009712"/>
                <a:gd name="connsiteY6370" fmla="*/ 357625 h 4178187"/>
                <a:gd name="connsiteX6371" fmla="*/ 531519 w 3009712"/>
                <a:gd name="connsiteY6371" fmla="*/ 357625 h 4178187"/>
                <a:gd name="connsiteX6372" fmla="*/ 530732 w 3009712"/>
                <a:gd name="connsiteY6372" fmla="*/ 358805 h 4178187"/>
                <a:gd name="connsiteX6373" fmla="*/ 528372 w 3009712"/>
                <a:gd name="connsiteY6373" fmla="*/ 361559 h 4178187"/>
                <a:gd name="connsiteX6374" fmla="*/ 531126 w 3009712"/>
                <a:gd name="connsiteY6374" fmla="*/ 359592 h 4178187"/>
                <a:gd name="connsiteX6375" fmla="*/ 534273 w 3009712"/>
                <a:gd name="connsiteY6375" fmla="*/ 357625 h 4178187"/>
                <a:gd name="connsiteX6376" fmla="*/ 536634 w 3009712"/>
                <a:gd name="connsiteY6376" fmla="*/ 357625 h 4178187"/>
                <a:gd name="connsiteX6377" fmla="*/ 535453 w 3009712"/>
                <a:gd name="connsiteY6377" fmla="*/ 358411 h 4178187"/>
                <a:gd name="connsiteX6378" fmla="*/ 538207 w 3009712"/>
                <a:gd name="connsiteY6378" fmla="*/ 358805 h 4178187"/>
                <a:gd name="connsiteX6379" fmla="*/ 541355 w 3009712"/>
                <a:gd name="connsiteY6379" fmla="*/ 359592 h 4178187"/>
                <a:gd name="connsiteX6380" fmla="*/ 544502 w 3009712"/>
                <a:gd name="connsiteY6380" fmla="*/ 359985 h 4178187"/>
                <a:gd name="connsiteX6381" fmla="*/ 547256 w 3009712"/>
                <a:gd name="connsiteY6381" fmla="*/ 359198 h 4178187"/>
                <a:gd name="connsiteX6382" fmla="*/ 550010 w 3009712"/>
                <a:gd name="connsiteY6382" fmla="*/ 357625 h 4178187"/>
                <a:gd name="connsiteX6383" fmla="*/ 551191 w 3009712"/>
                <a:gd name="connsiteY6383" fmla="*/ 357625 h 4178187"/>
                <a:gd name="connsiteX6384" fmla="*/ 553158 w 3009712"/>
                <a:gd name="connsiteY6384" fmla="*/ 357625 h 4178187"/>
                <a:gd name="connsiteX6385" fmla="*/ 557879 w 3009712"/>
                <a:gd name="connsiteY6385" fmla="*/ 354871 h 4178187"/>
                <a:gd name="connsiteX6386" fmla="*/ 560633 w 3009712"/>
                <a:gd name="connsiteY6386" fmla="*/ 354477 h 4178187"/>
                <a:gd name="connsiteX6387" fmla="*/ 563387 w 3009712"/>
                <a:gd name="connsiteY6387" fmla="*/ 353690 h 4178187"/>
                <a:gd name="connsiteX6388" fmla="*/ 566534 w 3009712"/>
                <a:gd name="connsiteY6388" fmla="*/ 351723 h 4178187"/>
                <a:gd name="connsiteX6389" fmla="*/ 563780 w 3009712"/>
                <a:gd name="connsiteY6389" fmla="*/ 353297 h 4178187"/>
                <a:gd name="connsiteX6390" fmla="*/ 566534 w 3009712"/>
                <a:gd name="connsiteY6390" fmla="*/ 350149 h 4178187"/>
                <a:gd name="connsiteX6391" fmla="*/ 564567 w 3009712"/>
                <a:gd name="connsiteY6391" fmla="*/ 350936 h 4178187"/>
                <a:gd name="connsiteX6392" fmla="*/ 570862 w 3009712"/>
                <a:gd name="connsiteY6392" fmla="*/ 347002 h 4178187"/>
                <a:gd name="connsiteX6393" fmla="*/ 572829 w 3009712"/>
                <a:gd name="connsiteY6393" fmla="*/ 347002 h 4178187"/>
                <a:gd name="connsiteX6394" fmla="*/ 575976 w 3009712"/>
                <a:gd name="connsiteY6394" fmla="*/ 345428 h 4178187"/>
                <a:gd name="connsiteX6395" fmla="*/ 579124 w 3009712"/>
                <a:gd name="connsiteY6395" fmla="*/ 345035 h 4178187"/>
                <a:gd name="connsiteX6396" fmla="*/ 581878 w 3009712"/>
                <a:gd name="connsiteY6396" fmla="*/ 343068 h 4178187"/>
                <a:gd name="connsiteX6397" fmla="*/ 581484 w 3009712"/>
                <a:gd name="connsiteY6397" fmla="*/ 340707 h 4178187"/>
                <a:gd name="connsiteX6398" fmla="*/ 593287 w 3009712"/>
                <a:gd name="connsiteY6398" fmla="*/ 333232 h 4178187"/>
                <a:gd name="connsiteX6399" fmla="*/ 594861 w 3009712"/>
                <a:gd name="connsiteY6399" fmla="*/ 332839 h 4178187"/>
                <a:gd name="connsiteX6400" fmla="*/ 594861 w 3009712"/>
                <a:gd name="connsiteY6400" fmla="*/ 332052 h 4178187"/>
                <a:gd name="connsiteX6401" fmla="*/ 596828 w 3009712"/>
                <a:gd name="connsiteY6401" fmla="*/ 330872 h 4178187"/>
                <a:gd name="connsiteX6402" fmla="*/ 598008 w 3009712"/>
                <a:gd name="connsiteY6402" fmla="*/ 332839 h 4178187"/>
                <a:gd name="connsiteX6403" fmla="*/ 600762 w 3009712"/>
                <a:gd name="connsiteY6403" fmla="*/ 330085 h 4178187"/>
                <a:gd name="connsiteX6404" fmla="*/ 603910 w 3009712"/>
                <a:gd name="connsiteY6404" fmla="*/ 329298 h 4178187"/>
                <a:gd name="connsiteX6405" fmla="*/ 601156 w 3009712"/>
                <a:gd name="connsiteY6405" fmla="*/ 332052 h 4178187"/>
                <a:gd name="connsiteX6406" fmla="*/ 603910 w 3009712"/>
                <a:gd name="connsiteY6406" fmla="*/ 331265 h 4178187"/>
                <a:gd name="connsiteX6407" fmla="*/ 606270 w 3009712"/>
                <a:gd name="connsiteY6407" fmla="*/ 328118 h 4178187"/>
                <a:gd name="connsiteX6408" fmla="*/ 609418 w 3009712"/>
                <a:gd name="connsiteY6408" fmla="*/ 326544 h 4178187"/>
                <a:gd name="connsiteX6409" fmla="*/ 612565 w 3009712"/>
                <a:gd name="connsiteY6409" fmla="*/ 324577 h 4178187"/>
                <a:gd name="connsiteX6410" fmla="*/ 615712 w 3009712"/>
                <a:gd name="connsiteY6410" fmla="*/ 323003 h 4178187"/>
                <a:gd name="connsiteX6411" fmla="*/ 612565 w 3009712"/>
                <a:gd name="connsiteY6411" fmla="*/ 325757 h 4178187"/>
                <a:gd name="connsiteX6412" fmla="*/ 609811 w 3009712"/>
                <a:gd name="connsiteY6412" fmla="*/ 327331 h 4178187"/>
                <a:gd name="connsiteX6413" fmla="*/ 607057 w 3009712"/>
                <a:gd name="connsiteY6413" fmla="*/ 330478 h 4178187"/>
                <a:gd name="connsiteX6414" fmla="*/ 609811 w 3009712"/>
                <a:gd name="connsiteY6414" fmla="*/ 328904 h 4178187"/>
                <a:gd name="connsiteX6415" fmla="*/ 612958 w 3009712"/>
                <a:gd name="connsiteY6415" fmla="*/ 327724 h 4178187"/>
                <a:gd name="connsiteX6416" fmla="*/ 610598 w 3009712"/>
                <a:gd name="connsiteY6416" fmla="*/ 330478 h 4178187"/>
                <a:gd name="connsiteX6417" fmla="*/ 613352 w 3009712"/>
                <a:gd name="connsiteY6417" fmla="*/ 329691 h 4178187"/>
                <a:gd name="connsiteX6418" fmla="*/ 616499 w 3009712"/>
                <a:gd name="connsiteY6418" fmla="*/ 329298 h 4178187"/>
                <a:gd name="connsiteX6419" fmla="*/ 619253 w 3009712"/>
                <a:gd name="connsiteY6419" fmla="*/ 327724 h 4178187"/>
                <a:gd name="connsiteX6420" fmla="*/ 622401 w 3009712"/>
                <a:gd name="connsiteY6420" fmla="*/ 329298 h 4178187"/>
                <a:gd name="connsiteX6421" fmla="*/ 625155 w 3009712"/>
                <a:gd name="connsiteY6421" fmla="*/ 328511 h 4178187"/>
                <a:gd name="connsiteX6422" fmla="*/ 627909 w 3009712"/>
                <a:gd name="connsiteY6422" fmla="*/ 326937 h 4178187"/>
                <a:gd name="connsiteX6423" fmla="*/ 630269 w 3009712"/>
                <a:gd name="connsiteY6423" fmla="*/ 328511 h 4178187"/>
                <a:gd name="connsiteX6424" fmla="*/ 629482 w 3009712"/>
                <a:gd name="connsiteY6424" fmla="*/ 330085 h 4178187"/>
                <a:gd name="connsiteX6425" fmla="*/ 626335 w 3009712"/>
                <a:gd name="connsiteY6425" fmla="*/ 329691 h 4178187"/>
                <a:gd name="connsiteX6426" fmla="*/ 626728 w 3009712"/>
                <a:gd name="connsiteY6426" fmla="*/ 332839 h 4178187"/>
                <a:gd name="connsiteX6427" fmla="*/ 629482 w 3009712"/>
                <a:gd name="connsiteY6427" fmla="*/ 333232 h 4178187"/>
                <a:gd name="connsiteX6428" fmla="*/ 632236 w 3009712"/>
                <a:gd name="connsiteY6428" fmla="*/ 332839 h 4178187"/>
                <a:gd name="connsiteX6429" fmla="*/ 634990 w 3009712"/>
                <a:gd name="connsiteY6429" fmla="*/ 331658 h 4178187"/>
                <a:gd name="connsiteX6430" fmla="*/ 638138 w 3009712"/>
                <a:gd name="connsiteY6430" fmla="*/ 332839 h 4178187"/>
                <a:gd name="connsiteX6431" fmla="*/ 636564 w 3009712"/>
                <a:gd name="connsiteY6431" fmla="*/ 332445 h 4178187"/>
                <a:gd name="connsiteX6432" fmla="*/ 633810 w 3009712"/>
                <a:gd name="connsiteY6432" fmla="*/ 333232 h 4178187"/>
                <a:gd name="connsiteX6433" fmla="*/ 630663 w 3009712"/>
                <a:gd name="connsiteY6433" fmla="*/ 334019 h 4178187"/>
                <a:gd name="connsiteX6434" fmla="*/ 627909 w 3009712"/>
                <a:gd name="connsiteY6434" fmla="*/ 334412 h 4178187"/>
                <a:gd name="connsiteX6435" fmla="*/ 624761 w 3009712"/>
                <a:gd name="connsiteY6435" fmla="*/ 334806 h 4178187"/>
                <a:gd name="connsiteX6436" fmla="*/ 622007 w 3009712"/>
                <a:gd name="connsiteY6436" fmla="*/ 336380 h 4178187"/>
                <a:gd name="connsiteX6437" fmla="*/ 624761 w 3009712"/>
                <a:gd name="connsiteY6437" fmla="*/ 336773 h 4178187"/>
                <a:gd name="connsiteX6438" fmla="*/ 627515 w 3009712"/>
                <a:gd name="connsiteY6438" fmla="*/ 335986 h 4178187"/>
                <a:gd name="connsiteX6439" fmla="*/ 630663 w 3009712"/>
                <a:gd name="connsiteY6439" fmla="*/ 335986 h 4178187"/>
                <a:gd name="connsiteX6440" fmla="*/ 633417 w 3009712"/>
                <a:gd name="connsiteY6440" fmla="*/ 335593 h 4178187"/>
                <a:gd name="connsiteX6441" fmla="*/ 636564 w 3009712"/>
                <a:gd name="connsiteY6441" fmla="*/ 335593 h 4178187"/>
                <a:gd name="connsiteX6442" fmla="*/ 633810 w 3009712"/>
                <a:gd name="connsiteY6442" fmla="*/ 336380 h 4178187"/>
                <a:gd name="connsiteX6443" fmla="*/ 630663 w 3009712"/>
                <a:gd name="connsiteY6443" fmla="*/ 337166 h 4178187"/>
                <a:gd name="connsiteX6444" fmla="*/ 627909 w 3009712"/>
                <a:gd name="connsiteY6444" fmla="*/ 338740 h 4178187"/>
                <a:gd name="connsiteX6445" fmla="*/ 631056 w 3009712"/>
                <a:gd name="connsiteY6445" fmla="*/ 338347 h 4178187"/>
                <a:gd name="connsiteX6446" fmla="*/ 633810 w 3009712"/>
                <a:gd name="connsiteY6446" fmla="*/ 337953 h 4178187"/>
                <a:gd name="connsiteX6447" fmla="*/ 636957 w 3009712"/>
                <a:gd name="connsiteY6447" fmla="*/ 337560 h 4178187"/>
                <a:gd name="connsiteX6448" fmla="*/ 634204 w 3009712"/>
                <a:gd name="connsiteY6448" fmla="*/ 339133 h 4178187"/>
                <a:gd name="connsiteX6449" fmla="*/ 637351 w 3009712"/>
                <a:gd name="connsiteY6449" fmla="*/ 339527 h 4178187"/>
                <a:gd name="connsiteX6450" fmla="*/ 640105 w 3009712"/>
                <a:gd name="connsiteY6450" fmla="*/ 339133 h 4178187"/>
                <a:gd name="connsiteX6451" fmla="*/ 643252 w 3009712"/>
                <a:gd name="connsiteY6451" fmla="*/ 338740 h 4178187"/>
                <a:gd name="connsiteX6452" fmla="*/ 640105 w 3009712"/>
                <a:gd name="connsiteY6452" fmla="*/ 340314 h 4178187"/>
                <a:gd name="connsiteX6453" fmla="*/ 636957 w 3009712"/>
                <a:gd name="connsiteY6453" fmla="*/ 341887 h 4178187"/>
                <a:gd name="connsiteX6454" fmla="*/ 634204 w 3009712"/>
                <a:gd name="connsiteY6454" fmla="*/ 343068 h 4178187"/>
                <a:gd name="connsiteX6455" fmla="*/ 631449 w 3009712"/>
                <a:gd name="connsiteY6455" fmla="*/ 345035 h 4178187"/>
                <a:gd name="connsiteX6456" fmla="*/ 634597 w 3009712"/>
                <a:gd name="connsiteY6456" fmla="*/ 344641 h 4178187"/>
                <a:gd name="connsiteX6457" fmla="*/ 637351 w 3009712"/>
                <a:gd name="connsiteY6457" fmla="*/ 347002 h 4178187"/>
                <a:gd name="connsiteX6458" fmla="*/ 640105 w 3009712"/>
                <a:gd name="connsiteY6458" fmla="*/ 348576 h 4178187"/>
                <a:gd name="connsiteX6459" fmla="*/ 642859 w 3009712"/>
                <a:gd name="connsiteY6459" fmla="*/ 347789 h 4178187"/>
                <a:gd name="connsiteX6460" fmla="*/ 645613 w 3009712"/>
                <a:gd name="connsiteY6460" fmla="*/ 346609 h 4178187"/>
                <a:gd name="connsiteX6461" fmla="*/ 648760 w 3009712"/>
                <a:gd name="connsiteY6461" fmla="*/ 345428 h 4178187"/>
                <a:gd name="connsiteX6462" fmla="*/ 651514 w 3009712"/>
                <a:gd name="connsiteY6462" fmla="*/ 343855 h 4178187"/>
                <a:gd name="connsiteX6463" fmla="*/ 654268 w 3009712"/>
                <a:gd name="connsiteY6463" fmla="*/ 342674 h 4178187"/>
                <a:gd name="connsiteX6464" fmla="*/ 657416 w 3009712"/>
                <a:gd name="connsiteY6464" fmla="*/ 341887 h 4178187"/>
                <a:gd name="connsiteX6465" fmla="*/ 660563 w 3009712"/>
                <a:gd name="connsiteY6465" fmla="*/ 340314 h 4178187"/>
                <a:gd name="connsiteX6466" fmla="*/ 666071 w 3009712"/>
                <a:gd name="connsiteY6466" fmla="*/ 337953 h 4178187"/>
                <a:gd name="connsiteX6467" fmla="*/ 668825 w 3009712"/>
                <a:gd name="connsiteY6467" fmla="*/ 337560 h 4178187"/>
                <a:gd name="connsiteX6468" fmla="*/ 667645 w 3009712"/>
                <a:gd name="connsiteY6468" fmla="*/ 338740 h 4178187"/>
                <a:gd name="connsiteX6469" fmla="*/ 664891 w 3009712"/>
                <a:gd name="connsiteY6469" fmla="*/ 339133 h 4178187"/>
                <a:gd name="connsiteX6470" fmla="*/ 661743 w 3009712"/>
                <a:gd name="connsiteY6470" fmla="*/ 340707 h 4178187"/>
                <a:gd name="connsiteX6471" fmla="*/ 658989 w 3009712"/>
                <a:gd name="connsiteY6471" fmla="*/ 342281 h 4178187"/>
                <a:gd name="connsiteX6472" fmla="*/ 656235 w 3009712"/>
                <a:gd name="connsiteY6472" fmla="*/ 345035 h 4178187"/>
                <a:gd name="connsiteX6473" fmla="*/ 650727 w 3009712"/>
                <a:gd name="connsiteY6473" fmla="*/ 347789 h 4178187"/>
                <a:gd name="connsiteX6474" fmla="*/ 647973 w 3009712"/>
                <a:gd name="connsiteY6474" fmla="*/ 350543 h 4178187"/>
                <a:gd name="connsiteX6475" fmla="*/ 651121 w 3009712"/>
                <a:gd name="connsiteY6475" fmla="*/ 350936 h 4178187"/>
                <a:gd name="connsiteX6476" fmla="*/ 653088 w 3009712"/>
                <a:gd name="connsiteY6476" fmla="*/ 353690 h 4178187"/>
                <a:gd name="connsiteX6477" fmla="*/ 656235 w 3009712"/>
                <a:gd name="connsiteY6477" fmla="*/ 354084 h 4178187"/>
                <a:gd name="connsiteX6478" fmla="*/ 658989 w 3009712"/>
                <a:gd name="connsiteY6478" fmla="*/ 355657 h 4178187"/>
                <a:gd name="connsiteX6479" fmla="*/ 660170 w 3009712"/>
                <a:gd name="connsiteY6479" fmla="*/ 358411 h 4178187"/>
                <a:gd name="connsiteX6480" fmla="*/ 657022 w 3009712"/>
                <a:gd name="connsiteY6480" fmla="*/ 358805 h 4178187"/>
                <a:gd name="connsiteX6481" fmla="*/ 657416 w 3009712"/>
                <a:gd name="connsiteY6481" fmla="*/ 358805 h 4178187"/>
                <a:gd name="connsiteX6482" fmla="*/ 660170 w 3009712"/>
                <a:gd name="connsiteY6482" fmla="*/ 359592 h 4178187"/>
                <a:gd name="connsiteX6483" fmla="*/ 662530 w 3009712"/>
                <a:gd name="connsiteY6483" fmla="*/ 359592 h 4178187"/>
                <a:gd name="connsiteX6484" fmla="*/ 662924 w 3009712"/>
                <a:gd name="connsiteY6484" fmla="*/ 359592 h 4178187"/>
                <a:gd name="connsiteX6485" fmla="*/ 710528 w 3009712"/>
                <a:gd name="connsiteY6485" fmla="*/ 359592 h 4178187"/>
                <a:gd name="connsiteX6486" fmla="*/ 712889 w 3009712"/>
                <a:gd name="connsiteY6486" fmla="*/ 361165 h 4178187"/>
                <a:gd name="connsiteX6487" fmla="*/ 716036 w 3009712"/>
                <a:gd name="connsiteY6487" fmla="*/ 360772 h 4178187"/>
                <a:gd name="connsiteX6488" fmla="*/ 719184 w 3009712"/>
                <a:gd name="connsiteY6488" fmla="*/ 359985 h 4178187"/>
                <a:gd name="connsiteX6489" fmla="*/ 719577 w 3009712"/>
                <a:gd name="connsiteY6489" fmla="*/ 359985 h 4178187"/>
                <a:gd name="connsiteX6490" fmla="*/ 724298 w 3009712"/>
                <a:gd name="connsiteY6490" fmla="*/ 359985 h 4178187"/>
                <a:gd name="connsiteX6491" fmla="*/ 723511 w 3009712"/>
                <a:gd name="connsiteY6491" fmla="*/ 360772 h 4178187"/>
                <a:gd name="connsiteX6492" fmla="*/ 720364 w 3009712"/>
                <a:gd name="connsiteY6492" fmla="*/ 362346 h 4178187"/>
                <a:gd name="connsiteX6493" fmla="*/ 717216 w 3009712"/>
                <a:gd name="connsiteY6493" fmla="*/ 364313 h 4178187"/>
                <a:gd name="connsiteX6494" fmla="*/ 719970 w 3009712"/>
                <a:gd name="connsiteY6494" fmla="*/ 365886 h 4178187"/>
                <a:gd name="connsiteX6495" fmla="*/ 722724 w 3009712"/>
                <a:gd name="connsiteY6495" fmla="*/ 367067 h 4178187"/>
                <a:gd name="connsiteX6496" fmla="*/ 725872 w 3009712"/>
                <a:gd name="connsiteY6496" fmla="*/ 368640 h 4178187"/>
                <a:gd name="connsiteX6497" fmla="*/ 728626 w 3009712"/>
                <a:gd name="connsiteY6497" fmla="*/ 369427 h 4178187"/>
                <a:gd name="connsiteX6498" fmla="*/ 731773 w 3009712"/>
                <a:gd name="connsiteY6498" fmla="*/ 369821 h 4178187"/>
                <a:gd name="connsiteX6499" fmla="*/ 734921 w 3009712"/>
                <a:gd name="connsiteY6499" fmla="*/ 370214 h 4178187"/>
                <a:gd name="connsiteX6500" fmla="*/ 737675 w 3009712"/>
                <a:gd name="connsiteY6500" fmla="*/ 369821 h 4178187"/>
                <a:gd name="connsiteX6501" fmla="*/ 740429 w 3009712"/>
                <a:gd name="connsiteY6501" fmla="*/ 369034 h 4178187"/>
                <a:gd name="connsiteX6502" fmla="*/ 743183 w 3009712"/>
                <a:gd name="connsiteY6502" fmla="*/ 368640 h 4178187"/>
                <a:gd name="connsiteX6503" fmla="*/ 746723 w 3009712"/>
                <a:gd name="connsiteY6503" fmla="*/ 367854 h 4178187"/>
                <a:gd name="connsiteX6504" fmla="*/ 749477 w 3009712"/>
                <a:gd name="connsiteY6504" fmla="*/ 367067 h 4178187"/>
                <a:gd name="connsiteX6505" fmla="*/ 752231 w 3009712"/>
                <a:gd name="connsiteY6505" fmla="*/ 366280 h 4178187"/>
                <a:gd name="connsiteX6506" fmla="*/ 755379 w 3009712"/>
                <a:gd name="connsiteY6506" fmla="*/ 364706 h 4178187"/>
                <a:gd name="connsiteX6507" fmla="*/ 758133 w 3009712"/>
                <a:gd name="connsiteY6507" fmla="*/ 363526 h 4178187"/>
                <a:gd name="connsiteX6508" fmla="*/ 760887 w 3009712"/>
                <a:gd name="connsiteY6508" fmla="*/ 362739 h 4178187"/>
                <a:gd name="connsiteX6509" fmla="*/ 763641 w 3009712"/>
                <a:gd name="connsiteY6509" fmla="*/ 360772 h 4178187"/>
                <a:gd name="connsiteX6510" fmla="*/ 767968 w 3009712"/>
                <a:gd name="connsiteY6510" fmla="*/ 360772 h 4178187"/>
                <a:gd name="connsiteX6511" fmla="*/ 765608 w 3009712"/>
                <a:gd name="connsiteY6511" fmla="*/ 367067 h 4178187"/>
                <a:gd name="connsiteX6512" fmla="*/ 764428 w 3009712"/>
                <a:gd name="connsiteY6512" fmla="*/ 367854 h 4178187"/>
                <a:gd name="connsiteX6513" fmla="*/ 761674 w 3009712"/>
                <a:gd name="connsiteY6513" fmla="*/ 370214 h 4178187"/>
                <a:gd name="connsiteX6514" fmla="*/ 758920 w 3009712"/>
                <a:gd name="connsiteY6514" fmla="*/ 373362 h 4178187"/>
                <a:gd name="connsiteX6515" fmla="*/ 760493 w 3009712"/>
                <a:gd name="connsiteY6515" fmla="*/ 370214 h 4178187"/>
                <a:gd name="connsiteX6516" fmla="*/ 763247 w 3009712"/>
                <a:gd name="connsiteY6516" fmla="*/ 367460 h 4178187"/>
                <a:gd name="connsiteX6517" fmla="*/ 766395 w 3009712"/>
                <a:gd name="connsiteY6517" fmla="*/ 365100 h 4178187"/>
                <a:gd name="connsiteX6518" fmla="*/ 764821 w 3009712"/>
                <a:gd name="connsiteY6518" fmla="*/ 362346 h 4178187"/>
                <a:gd name="connsiteX6519" fmla="*/ 762067 w 3009712"/>
                <a:gd name="connsiteY6519" fmla="*/ 363526 h 4178187"/>
                <a:gd name="connsiteX6520" fmla="*/ 759313 w 3009712"/>
                <a:gd name="connsiteY6520" fmla="*/ 365100 h 4178187"/>
                <a:gd name="connsiteX6521" fmla="*/ 757346 w 3009712"/>
                <a:gd name="connsiteY6521" fmla="*/ 368247 h 4178187"/>
                <a:gd name="connsiteX6522" fmla="*/ 755772 w 3009712"/>
                <a:gd name="connsiteY6522" fmla="*/ 371001 h 4178187"/>
                <a:gd name="connsiteX6523" fmla="*/ 752625 w 3009712"/>
                <a:gd name="connsiteY6523" fmla="*/ 372181 h 4178187"/>
                <a:gd name="connsiteX6524" fmla="*/ 749871 w 3009712"/>
                <a:gd name="connsiteY6524" fmla="*/ 373755 h 4178187"/>
                <a:gd name="connsiteX6525" fmla="*/ 747117 w 3009712"/>
                <a:gd name="connsiteY6525" fmla="*/ 374542 h 4178187"/>
                <a:gd name="connsiteX6526" fmla="*/ 744363 w 3009712"/>
                <a:gd name="connsiteY6526" fmla="*/ 376902 h 4178187"/>
                <a:gd name="connsiteX6527" fmla="*/ 747117 w 3009712"/>
                <a:gd name="connsiteY6527" fmla="*/ 378870 h 4178187"/>
                <a:gd name="connsiteX6528" fmla="*/ 749084 w 3009712"/>
                <a:gd name="connsiteY6528" fmla="*/ 381624 h 4178187"/>
                <a:gd name="connsiteX6529" fmla="*/ 751838 w 3009712"/>
                <a:gd name="connsiteY6529" fmla="*/ 380443 h 4178187"/>
                <a:gd name="connsiteX6530" fmla="*/ 752231 w 3009712"/>
                <a:gd name="connsiteY6530" fmla="*/ 383197 h 4178187"/>
                <a:gd name="connsiteX6531" fmla="*/ 754985 w 3009712"/>
                <a:gd name="connsiteY6531" fmla="*/ 384771 h 4178187"/>
                <a:gd name="connsiteX6532" fmla="*/ 757739 w 3009712"/>
                <a:gd name="connsiteY6532" fmla="*/ 387131 h 4178187"/>
                <a:gd name="connsiteX6533" fmla="*/ 758133 w 3009712"/>
                <a:gd name="connsiteY6533" fmla="*/ 387131 h 4178187"/>
                <a:gd name="connsiteX6534" fmla="*/ 758526 w 3009712"/>
                <a:gd name="connsiteY6534" fmla="*/ 387131 h 4178187"/>
                <a:gd name="connsiteX6535" fmla="*/ 764428 w 3009712"/>
                <a:gd name="connsiteY6535" fmla="*/ 386345 h 4178187"/>
                <a:gd name="connsiteX6536" fmla="*/ 762460 w 3009712"/>
                <a:gd name="connsiteY6536" fmla="*/ 386738 h 4178187"/>
                <a:gd name="connsiteX6537" fmla="*/ 759707 w 3009712"/>
                <a:gd name="connsiteY6537" fmla="*/ 388312 h 4178187"/>
                <a:gd name="connsiteX6538" fmla="*/ 762460 w 3009712"/>
                <a:gd name="connsiteY6538" fmla="*/ 389099 h 4178187"/>
                <a:gd name="connsiteX6539" fmla="*/ 765214 w 3009712"/>
                <a:gd name="connsiteY6539" fmla="*/ 391459 h 4178187"/>
                <a:gd name="connsiteX6540" fmla="*/ 766395 w 3009712"/>
                <a:gd name="connsiteY6540" fmla="*/ 394213 h 4178187"/>
                <a:gd name="connsiteX6541" fmla="*/ 764821 w 3009712"/>
                <a:gd name="connsiteY6541" fmla="*/ 397361 h 4178187"/>
                <a:gd name="connsiteX6542" fmla="*/ 764821 w 3009712"/>
                <a:gd name="connsiteY6542" fmla="*/ 400115 h 4178187"/>
                <a:gd name="connsiteX6543" fmla="*/ 766001 w 3009712"/>
                <a:gd name="connsiteY6543" fmla="*/ 402869 h 4178187"/>
                <a:gd name="connsiteX6544" fmla="*/ 769149 w 3009712"/>
                <a:gd name="connsiteY6544" fmla="*/ 402869 h 4178187"/>
                <a:gd name="connsiteX6545" fmla="*/ 766395 w 3009712"/>
                <a:gd name="connsiteY6545" fmla="*/ 405229 h 4178187"/>
                <a:gd name="connsiteX6546" fmla="*/ 768362 w 3009712"/>
                <a:gd name="connsiteY6546" fmla="*/ 407983 h 4178187"/>
                <a:gd name="connsiteX6547" fmla="*/ 771116 w 3009712"/>
                <a:gd name="connsiteY6547" fmla="*/ 410344 h 4178187"/>
                <a:gd name="connsiteX6548" fmla="*/ 773870 w 3009712"/>
                <a:gd name="connsiteY6548" fmla="*/ 411917 h 4178187"/>
                <a:gd name="connsiteX6549" fmla="*/ 774263 w 3009712"/>
                <a:gd name="connsiteY6549" fmla="*/ 411917 h 4178187"/>
                <a:gd name="connsiteX6550" fmla="*/ 775837 w 3009712"/>
                <a:gd name="connsiteY6550" fmla="*/ 415852 h 4178187"/>
                <a:gd name="connsiteX6551" fmla="*/ 776624 w 3009712"/>
                <a:gd name="connsiteY6551" fmla="*/ 415852 h 4178187"/>
                <a:gd name="connsiteX6552" fmla="*/ 779378 w 3009712"/>
                <a:gd name="connsiteY6552" fmla="*/ 414671 h 4178187"/>
                <a:gd name="connsiteX6553" fmla="*/ 780165 w 3009712"/>
                <a:gd name="connsiteY6553" fmla="*/ 413491 h 4178187"/>
                <a:gd name="connsiteX6554" fmla="*/ 782919 w 3009712"/>
                <a:gd name="connsiteY6554" fmla="*/ 411917 h 4178187"/>
                <a:gd name="connsiteX6555" fmla="*/ 784492 w 3009712"/>
                <a:gd name="connsiteY6555" fmla="*/ 412311 h 4178187"/>
                <a:gd name="connsiteX6556" fmla="*/ 787246 w 3009712"/>
                <a:gd name="connsiteY6556" fmla="*/ 410344 h 4178187"/>
                <a:gd name="connsiteX6557" fmla="*/ 784886 w 3009712"/>
                <a:gd name="connsiteY6557" fmla="*/ 410737 h 4178187"/>
                <a:gd name="connsiteX6558" fmla="*/ 786066 w 3009712"/>
                <a:gd name="connsiteY6558" fmla="*/ 409950 h 4178187"/>
                <a:gd name="connsiteX6559" fmla="*/ 786853 w 3009712"/>
                <a:gd name="connsiteY6559" fmla="*/ 409557 h 4178187"/>
                <a:gd name="connsiteX6560" fmla="*/ 790000 w 3009712"/>
                <a:gd name="connsiteY6560" fmla="*/ 409950 h 4178187"/>
                <a:gd name="connsiteX6561" fmla="*/ 788427 w 3009712"/>
                <a:gd name="connsiteY6561" fmla="*/ 412704 h 4178187"/>
                <a:gd name="connsiteX6562" fmla="*/ 791181 w 3009712"/>
                <a:gd name="connsiteY6562" fmla="*/ 412311 h 4178187"/>
                <a:gd name="connsiteX6563" fmla="*/ 794328 w 3009712"/>
                <a:gd name="connsiteY6563" fmla="*/ 411524 h 4178187"/>
                <a:gd name="connsiteX6564" fmla="*/ 797082 w 3009712"/>
                <a:gd name="connsiteY6564" fmla="*/ 409163 h 4178187"/>
                <a:gd name="connsiteX6565" fmla="*/ 796689 w 3009712"/>
                <a:gd name="connsiteY6565" fmla="*/ 406016 h 4178187"/>
                <a:gd name="connsiteX6566" fmla="*/ 799443 w 3009712"/>
                <a:gd name="connsiteY6566" fmla="*/ 404836 h 4178187"/>
                <a:gd name="connsiteX6567" fmla="*/ 798656 w 3009712"/>
                <a:gd name="connsiteY6567" fmla="*/ 402869 h 4178187"/>
                <a:gd name="connsiteX6568" fmla="*/ 803377 w 3009712"/>
                <a:gd name="connsiteY6568" fmla="*/ 400508 h 4178187"/>
                <a:gd name="connsiteX6569" fmla="*/ 806131 w 3009712"/>
                <a:gd name="connsiteY6569" fmla="*/ 404836 h 4178187"/>
                <a:gd name="connsiteX6570" fmla="*/ 805737 w 3009712"/>
                <a:gd name="connsiteY6570" fmla="*/ 405623 h 4178187"/>
                <a:gd name="connsiteX6571" fmla="*/ 802983 w 3009712"/>
                <a:gd name="connsiteY6571" fmla="*/ 407196 h 4178187"/>
                <a:gd name="connsiteX6572" fmla="*/ 800229 w 3009712"/>
                <a:gd name="connsiteY6572" fmla="*/ 409950 h 4178187"/>
                <a:gd name="connsiteX6573" fmla="*/ 803377 w 3009712"/>
                <a:gd name="connsiteY6573" fmla="*/ 409557 h 4178187"/>
                <a:gd name="connsiteX6574" fmla="*/ 806131 w 3009712"/>
                <a:gd name="connsiteY6574" fmla="*/ 409163 h 4178187"/>
                <a:gd name="connsiteX6575" fmla="*/ 808885 w 3009712"/>
                <a:gd name="connsiteY6575" fmla="*/ 410737 h 4178187"/>
                <a:gd name="connsiteX6576" fmla="*/ 809672 w 3009712"/>
                <a:gd name="connsiteY6576" fmla="*/ 410344 h 4178187"/>
                <a:gd name="connsiteX6577" fmla="*/ 810459 w 3009712"/>
                <a:gd name="connsiteY6577" fmla="*/ 411524 h 4178187"/>
                <a:gd name="connsiteX6578" fmla="*/ 810459 w 3009712"/>
                <a:gd name="connsiteY6578" fmla="*/ 411917 h 4178187"/>
                <a:gd name="connsiteX6579" fmla="*/ 809672 w 3009712"/>
                <a:gd name="connsiteY6579" fmla="*/ 415065 h 4178187"/>
                <a:gd name="connsiteX6580" fmla="*/ 812426 w 3009712"/>
                <a:gd name="connsiteY6580" fmla="*/ 416245 h 4178187"/>
                <a:gd name="connsiteX6581" fmla="*/ 813213 w 3009712"/>
                <a:gd name="connsiteY6581" fmla="*/ 415852 h 4178187"/>
                <a:gd name="connsiteX6582" fmla="*/ 816753 w 3009712"/>
                <a:gd name="connsiteY6582" fmla="*/ 420966 h 4178187"/>
                <a:gd name="connsiteX6583" fmla="*/ 815573 w 3009712"/>
                <a:gd name="connsiteY6583" fmla="*/ 421753 h 4178187"/>
                <a:gd name="connsiteX6584" fmla="*/ 813999 w 3009712"/>
                <a:gd name="connsiteY6584" fmla="*/ 424507 h 4178187"/>
                <a:gd name="connsiteX6585" fmla="*/ 811639 w 3009712"/>
                <a:gd name="connsiteY6585" fmla="*/ 427261 h 4178187"/>
                <a:gd name="connsiteX6586" fmla="*/ 808885 w 3009712"/>
                <a:gd name="connsiteY6586" fmla="*/ 430408 h 4178187"/>
                <a:gd name="connsiteX6587" fmla="*/ 806918 w 3009712"/>
                <a:gd name="connsiteY6587" fmla="*/ 433556 h 4178187"/>
                <a:gd name="connsiteX6588" fmla="*/ 805344 w 3009712"/>
                <a:gd name="connsiteY6588" fmla="*/ 436310 h 4178187"/>
                <a:gd name="connsiteX6589" fmla="*/ 804557 w 3009712"/>
                <a:gd name="connsiteY6589" fmla="*/ 437884 h 4178187"/>
                <a:gd name="connsiteX6590" fmla="*/ 807704 w 3009712"/>
                <a:gd name="connsiteY6590" fmla="*/ 437490 h 4178187"/>
                <a:gd name="connsiteX6591" fmla="*/ 810459 w 3009712"/>
                <a:gd name="connsiteY6591" fmla="*/ 437097 h 4178187"/>
                <a:gd name="connsiteX6592" fmla="*/ 807704 w 3009712"/>
                <a:gd name="connsiteY6592" fmla="*/ 437884 h 4178187"/>
                <a:gd name="connsiteX6593" fmla="*/ 804557 w 3009712"/>
                <a:gd name="connsiteY6593" fmla="*/ 438670 h 4178187"/>
                <a:gd name="connsiteX6594" fmla="*/ 803770 w 3009712"/>
                <a:gd name="connsiteY6594" fmla="*/ 441818 h 4178187"/>
                <a:gd name="connsiteX6595" fmla="*/ 806524 w 3009712"/>
                <a:gd name="connsiteY6595" fmla="*/ 442211 h 4178187"/>
                <a:gd name="connsiteX6596" fmla="*/ 803770 w 3009712"/>
                <a:gd name="connsiteY6596" fmla="*/ 442605 h 4178187"/>
                <a:gd name="connsiteX6597" fmla="*/ 801016 w 3009712"/>
                <a:gd name="connsiteY6597" fmla="*/ 442605 h 4178187"/>
                <a:gd name="connsiteX6598" fmla="*/ 797869 w 3009712"/>
                <a:gd name="connsiteY6598" fmla="*/ 444965 h 4178187"/>
                <a:gd name="connsiteX6599" fmla="*/ 794721 w 3009712"/>
                <a:gd name="connsiteY6599" fmla="*/ 446932 h 4178187"/>
                <a:gd name="connsiteX6600" fmla="*/ 792361 w 3009712"/>
                <a:gd name="connsiteY6600" fmla="*/ 449686 h 4178187"/>
                <a:gd name="connsiteX6601" fmla="*/ 789607 w 3009712"/>
                <a:gd name="connsiteY6601" fmla="*/ 452440 h 4178187"/>
                <a:gd name="connsiteX6602" fmla="*/ 792361 w 3009712"/>
                <a:gd name="connsiteY6602" fmla="*/ 452834 h 4178187"/>
                <a:gd name="connsiteX6603" fmla="*/ 795115 w 3009712"/>
                <a:gd name="connsiteY6603" fmla="*/ 451653 h 4178187"/>
                <a:gd name="connsiteX6604" fmla="*/ 797869 w 3009712"/>
                <a:gd name="connsiteY6604" fmla="*/ 450080 h 4178187"/>
                <a:gd name="connsiteX6605" fmla="*/ 801016 w 3009712"/>
                <a:gd name="connsiteY6605" fmla="*/ 448506 h 4178187"/>
                <a:gd name="connsiteX6606" fmla="*/ 803770 w 3009712"/>
                <a:gd name="connsiteY6606" fmla="*/ 448113 h 4178187"/>
                <a:gd name="connsiteX6607" fmla="*/ 806524 w 3009712"/>
                <a:gd name="connsiteY6607" fmla="*/ 446145 h 4178187"/>
                <a:gd name="connsiteX6608" fmla="*/ 809672 w 3009712"/>
                <a:gd name="connsiteY6608" fmla="*/ 443391 h 4178187"/>
                <a:gd name="connsiteX6609" fmla="*/ 812426 w 3009712"/>
                <a:gd name="connsiteY6609" fmla="*/ 443785 h 4178187"/>
                <a:gd name="connsiteX6610" fmla="*/ 815180 w 3009712"/>
                <a:gd name="connsiteY6610" fmla="*/ 443391 h 4178187"/>
                <a:gd name="connsiteX6611" fmla="*/ 817934 w 3009712"/>
                <a:gd name="connsiteY6611" fmla="*/ 441424 h 4178187"/>
                <a:gd name="connsiteX6612" fmla="*/ 815180 w 3009712"/>
                <a:gd name="connsiteY6612" fmla="*/ 439457 h 4178187"/>
                <a:gd name="connsiteX6613" fmla="*/ 818327 w 3009712"/>
                <a:gd name="connsiteY6613" fmla="*/ 439064 h 4178187"/>
                <a:gd name="connsiteX6614" fmla="*/ 821081 w 3009712"/>
                <a:gd name="connsiteY6614" fmla="*/ 437097 h 4178187"/>
                <a:gd name="connsiteX6615" fmla="*/ 823048 w 3009712"/>
                <a:gd name="connsiteY6615" fmla="*/ 433949 h 4178187"/>
                <a:gd name="connsiteX6616" fmla="*/ 822655 w 3009712"/>
                <a:gd name="connsiteY6616" fmla="*/ 431195 h 4178187"/>
                <a:gd name="connsiteX6617" fmla="*/ 822655 w 3009712"/>
                <a:gd name="connsiteY6617" fmla="*/ 430408 h 4178187"/>
                <a:gd name="connsiteX6618" fmla="*/ 824622 w 3009712"/>
                <a:gd name="connsiteY6618" fmla="*/ 433556 h 4178187"/>
                <a:gd name="connsiteX6619" fmla="*/ 824622 w 3009712"/>
                <a:gd name="connsiteY6619" fmla="*/ 435130 h 4178187"/>
                <a:gd name="connsiteX6620" fmla="*/ 825015 w 3009712"/>
                <a:gd name="connsiteY6620" fmla="*/ 434343 h 4178187"/>
                <a:gd name="connsiteX6621" fmla="*/ 829736 w 3009712"/>
                <a:gd name="connsiteY6621" fmla="*/ 441818 h 4178187"/>
                <a:gd name="connsiteX6622" fmla="*/ 827376 w 3009712"/>
                <a:gd name="connsiteY6622" fmla="*/ 443785 h 4178187"/>
                <a:gd name="connsiteX6623" fmla="*/ 830523 w 3009712"/>
                <a:gd name="connsiteY6623" fmla="*/ 444178 h 4178187"/>
                <a:gd name="connsiteX6624" fmla="*/ 831310 w 3009712"/>
                <a:gd name="connsiteY6624" fmla="*/ 444178 h 4178187"/>
                <a:gd name="connsiteX6625" fmla="*/ 831704 w 3009712"/>
                <a:gd name="connsiteY6625" fmla="*/ 444572 h 4178187"/>
                <a:gd name="connsiteX6626" fmla="*/ 830523 w 3009712"/>
                <a:gd name="connsiteY6626" fmla="*/ 444965 h 4178187"/>
                <a:gd name="connsiteX6627" fmla="*/ 827376 w 3009712"/>
                <a:gd name="connsiteY6627" fmla="*/ 445359 h 4178187"/>
                <a:gd name="connsiteX6628" fmla="*/ 824622 w 3009712"/>
                <a:gd name="connsiteY6628" fmla="*/ 445359 h 4178187"/>
                <a:gd name="connsiteX6629" fmla="*/ 821474 w 3009712"/>
                <a:gd name="connsiteY6629" fmla="*/ 446932 h 4178187"/>
                <a:gd name="connsiteX6630" fmla="*/ 820688 w 3009712"/>
                <a:gd name="connsiteY6630" fmla="*/ 450080 h 4178187"/>
                <a:gd name="connsiteX6631" fmla="*/ 823442 w 3009712"/>
                <a:gd name="connsiteY6631" fmla="*/ 450867 h 4178187"/>
                <a:gd name="connsiteX6632" fmla="*/ 826589 w 3009712"/>
                <a:gd name="connsiteY6632" fmla="*/ 448899 h 4178187"/>
                <a:gd name="connsiteX6633" fmla="*/ 826982 w 3009712"/>
                <a:gd name="connsiteY6633" fmla="*/ 451653 h 4178187"/>
                <a:gd name="connsiteX6634" fmla="*/ 830130 w 3009712"/>
                <a:gd name="connsiteY6634" fmla="*/ 453621 h 4178187"/>
                <a:gd name="connsiteX6635" fmla="*/ 832884 w 3009712"/>
                <a:gd name="connsiteY6635" fmla="*/ 452440 h 4178187"/>
                <a:gd name="connsiteX6636" fmla="*/ 830917 w 3009712"/>
                <a:gd name="connsiteY6636" fmla="*/ 455588 h 4178187"/>
                <a:gd name="connsiteX6637" fmla="*/ 828163 w 3009712"/>
                <a:gd name="connsiteY6637" fmla="*/ 455588 h 4178187"/>
                <a:gd name="connsiteX6638" fmla="*/ 828163 w 3009712"/>
                <a:gd name="connsiteY6638" fmla="*/ 458342 h 4178187"/>
                <a:gd name="connsiteX6639" fmla="*/ 829736 w 3009712"/>
                <a:gd name="connsiteY6639" fmla="*/ 461489 h 4178187"/>
                <a:gd name="connsiteX6640" fmla="*/ 832490 w 3009712"/>
                <a:gd name="connsiteY6640" fmla="*/ 461096 h 4178187"/>
                <a:gd name="connsiteX6641" fmla="*/ 835244 w 3009712"/>
                <a:gd name="connsiteY6641" fmla="*/ 460309 h 4178187"/>
                <a:gd name="connsiteX6642" fmla="*/ 832097 w 3009712"/>
                <a:gd name="connsiteY6642" fmla="*/ 461882 h 4178187"/>
                <a:gd name="connsiteX6643" fmla="*/ 829736 w 3009712"/>
                <a:gd name="connsiteY6643" fmla="*/ 464637 h 4178187"/>
                <a:gd name="connsiteX6644" fmla="*/ 826589 w 3009712"/>
                <a:gd name="connsiteY6644" fmla="*/ 466210 h 4178187"/>
                <a:gd name="connsiteX6645" fmla="*/ 829736 w 3009712"/>
                <a:gd name="connsiteY6645" fmla="*/ 467390 h 4178187"/>
                <a:gd name="connsiteX6646" fmla="*/ 828163 w 3009712"/>
                <a:gd name="connsiteY6646" fmla="*/ 470144 h 4178187"/>
                <a:gd name="connsiteX6647" fmla="*/ 828163 w 3009712"/>
                <a:gd name="connsiteY6647" fmla="*/ 472898 h 4178187"/>
                <a:gd name="connsiteX6648" fmla="*/ 828950 w 3009712"/>
                <a:gd name="connsiteY6648" fmla="*/ 474079 h 4178187"/>
                <a:gd name="connsiteX6649" fmla="*/ 826589 w 3009712"/>
                <a:gd name="connsiteY6649" fmla="*/ 473685 h 4178187"/>
                <a:gd name="connsiteX6650" fmla="*/ 826196 w 3009712"/>
                <a:gd name="connsiteY6650" fmla="*/ 470538 h 4178187"/>
                <a:gd name="connsiteX6651" fmla="*/ 825409 w 3009712"/>
                <a:gd name="connsiteY6651" fmla="*/ 470931 h 4178187"/>
                <a:gd name="connsiteX6652" fmla="*/ 823835 w 3009712"/>
                <a:gd name="connsiteY6652" fmla="*/ 473685 h 4178187"/>
                <a:gd name="connsiteX6653" fmla="*/ 820688 w 3009712"/>
                <a:gd name="connsiteY6653" fmla="*/ 476439 h 4178187"/>
                <a:gd name="connsiteX6654" fmla="*/ 820294 w 3009712"/>
                <a:gd name="connsiteY6654" fmla="*/ 479587 h 4178187"/>
                <a:gd name="connsiteX6655" fmla="*/ 823048 w 3009712"/>
                <a:gd name="connsiteY6655" fmla="*/ 481947 h 4178187"/>
                <a:gd name="connsiteX6656" fmla="*/ 826196 w 3009712"/>
                <a:gd name="connsiteY6656" fmla="*/ 479980 h 4178187"/>
                <a:gd name="connsiteX6657" fmla="*/ 829343 w 3009712"/>
                <a:gd name="connsiteY6657" fmla="*/ 477620 h 4178187"/>
                <a:gd name="connsiteX6658" fmla="*/ 829736 w 3009712"/>
                <a:gd name="connsiteY6658" fmla="*/ 475652 h 4178187"/>
                <a:gd name="connsiteX6659" fmla="*/ 830523 w 3009712"/>
                <a:gd name="connsiteY6659" fmla="*/ 476439 h 4178187"/>
                <a:gd name="connsiteX6660" fmla="*/ 830917 w 3009712"/>
                <a:gd name="connsiteY6660" fmla="*/ 479193 h 4178187"/>
                <a:gd name="connsiteX6661" fmla="*/ 834064 w 3009712"/>
                <a:gd name="connsiteY6661" fmla="*/ 479193 h 4178187"/>
                <a:gd name="connsiteX6662" fmla="*/ 833671 w 3009712"/>
                <a:gd name="connsiteY6662" fmla="*/ 480374 h 4178187"/>
                <a:gd name="connsiteX6663" fmla="*/ 831704 w 3009712"/>
                <a:gd name="connsiteY6663" fmla="*/ 480374 h 4178187"/>
                <a:gd name="connsiteX6664" fmla="*/ 828556 w 3009712"/>
                <a:gd name="connsiteY6664" fmla="*/ 480767 h 4178187"/>
                <a:gd name="connsiteX6665" fmla="*/ 825802 w 3009712"/>
                <a:gd name="connsiteY6665" fmla="*/ 481554 h 4178187"/>
                <a:gd name="connsiteX6666" fmla="*/ 823442 w 3009712"/>
                <a:gd name="connsiteY6666" fmla="*/ 484308 h 4178187"/>
                <a:gd name="connsiteX6667" fmla="*/ 821081 w 3009712"/>
                <a:gd name="connsiteY6667" fmla="*/ 487455 h 4178187"/>
                <a:gd name="connsiteX6668" fmla="*/ 817934 w 3009712"/>
                <a:gd name="connsiteY6668" fmla="*/ 487849 h 4178187"/>
                <a:gd name="connsiteX6669" fmla="*/ 814786 w 3009712"/>
                <a:gd name="connsiteY6669" fmla="*/ 490209 h 4178187"/>
                <a:gd name="connsiteX6670" fmla="*/ 812032 w 3009712"/>
                <a:gd name="connsiteY6670" fmla="*/ 492176 h 4178187"/>
                <a:gd name="connsiteX6671" fmla="*/ 809278 w 3009712"/>
                <a:gd name="connsiteY6671" fmla="*/ 493750 h 4178187"/>
                <a:gd name="connsiteX6672" fmla="*/ 806131 w 3009712"/>
                <a:gd name="connsiteY6672" fmla="*/ 496111 h 4178187"/>
                <a:gd name="connsiteX6673" fmla="*/ 804164 w 3009712"/>
                <a:gd name="connsiteY6673" fmla="*/ 499258 h 4178187"/>
                <a:gd name="connsiteX6674" fmla="*/ 806918 w 3009712"/>
                <a:gd name="connsiteY6674" fmla="*/ 502012 h 4178187"/>
                <a:gd name="connsiteX6675" fmla="*/ 809672 w 3009712"/>
                <a:gd name="connsiteY6675" fmla="*/ 499651 h 4178187"/>
                <a:gd name="connsiteX6676" fmla="*/ 810852 w 3009712"/>
                <a:gd name="connsiteY6676" fmla="*/ 496897 h 4178187"/>
                <a:gd name="connsiteX6677" fmla="*/ 813606 w 3009712"/>
                <a:gd name="connsiteY6677" fmla="*/ 498078 h 4178187"/>
                <a:gd name="connsiteX6678" fmla="*/ 816360 w 3009712"/>
                <a:gd name="connsiteY6678" fmla="*/ 495324 h 4178187"/>
                <a:gd name="connsiteX6679" fmla="*/ 819507 w 3009712"/>
                <a:gd name="connsiteY6679" fmla="*/ 493750 h 4178187"/>
                <a:gd name="connsiteX6680" fmla="*/ 819114 w 3009712"/>
                <a:gd name="connsiteY6680" fmla="*/ 490603 h 4178187"/>
                <a:gd name="connsiteX6681" fmla="*/ 821868 w 3009712"/>
                <a:gd name="connsiteY6681" fmla="*/ 490209 h 4178187"/>
                <a:gd name="connsiteX6682" fmla="*/ 825015 w 3009712"/>
                <a:gd name="connsiteY6682" fmla="*/ 489816 h 4178187"/>
                <a:gd name="connsiteX6683" fmla="*/ 827769 w 3009712"/>
                <a:gd name="connsiteY6683" fmla="*/ 488635 h 4178187"/>
                <a:gd name="connsiteX6684" fmla="*/ 830917 w 3009712"/>
                <a:gd name="connsiteY6684" fmla="*/ 488242 h 4178187"/>
                <a:gd name="connsiteX6685" fmla="*/ 828950 w 3009712"/>
                <a:gd name="connsiteY6685" fmla="*/ 489029 h 4178187"/>
                <a:gd name="connsiteX6686" fmla="*/ 830917 w 3009712"/>
                <a:gd name="connsiteY6686" fmla="*/ 489029 h 4178187"/>
                <a:gd name="connsiteX6687" fmla="*/ 830917 w 3009712"/>
                <a:gd name="connsiteY6687" fmla="*/ 489422 h 4178187"/>
                <a:gd name="connsiteX6688" fmla="*/ 830130 w 3009712"/>
                <a:gd name="connsiteY6688" fmla="*/ 489816 h 4178187"/>
                <a:gd name="connsiteX6689" fmla="*/ 826982 w 3009712"/>
                <a:gd name="connsiteY6689" fmla="*/ 492176 h 4178187"/>
                <a:gd name="connsiteX6690" fmla="*/ 824228 w 3009712"/>
                <a:gd name="connsiteY6690" fmla="*/ 492176 h 4178187"/>
                <a:gd name="connsiteX6691" fmla="*/ 827376 w 3009712"/>
                <a:gd name="connsiteY6691" fmla="*/ 492570 h 4178187"/>
                <a:gd name="connsiteX6692" fmla="*/ 824622 w 3009712"/>
                <a:gd name="connsiteY6692" fmla="*/ 494143 h 4178187"/>
                <a:gd name="connsiteX6693" fmla="*/ 821474 w 3009712"/>
                <a:gd name="connsiteY6693" fmla="*/ 494930 h 4178187"/>
                <a:gd name="connsiteX6694" fmla="*/ 824622 w 3009712"/>
                <a:gd name="connsiteY6694" fmla="*/ 495324 h 4178187"/>
                <a:gd name="connsiteX6695" fmla="*/ 821868 w 3009712"/>
                <a:gd name="connsiteY6695" fmla="*/ 496111 h 4178187"/>
                <a:gd name="connsiteX6696" fmla="*/ 818720 w 3009712"/>
                <a:gd name="connsiteY6696" fmla="*/ 497291 h 4178187"/>
                <a:gd name="connsiteX6697" fmla="*/ 817934 w 3009712"/>
                <a:gd name="connsiteY6697" fmla="*/ 500438 h 4178187"/>
                <a:gd name="connsiteX6698" fmla="*/ 814786 w 3009712"/>
                <a:gd name="connsiteY6698" fmla="*/ 501619 h 4178187"/>
                <a:gd name="connsiteX6699" fmla="*/ 812032 w 3009712"/>
                <a:gd name="connsiteY6699" fmla="*/ 503192 h 4178187"/>
                <a:gd name="connsiteX6700" fmla="*/ 809672 w 3009712"/>
                <a:gd name="connsiteY6700" fmla="*/ 505946 h 4178187"/>
                <a:gd name="connsiteX6701" fmla="*/ 810852 w 3009712"/>
                <a:gd name="connsiteY6701" fmla="*/ 508307 h 4178187"/>
                <a:gd name="connsiteX6702" fmla="*/ 813999 w 3009712"/>
                <a:gd name="connsiteY6702" fmla="*/ 507913 h 4178187"/>
                <a:gd name="connsiteX6703" fmla="*/ 819507 w 3009712"/>
                <a:gd name="connsiteY6703" fmla="*/ 502405 h 4178187"/>
                <a:gd name="connsiteX6704" fmla="*/ 817540 w 3009712"/>
                <a:gd name="connsiteY6704" fmla="*/ 505159 h 4178187"/>
                <a:gd name="connsiteX6705" fmla="*/ 814786 w 3009712"/>
                <a:gd name="connsiteY6705" fmla="*/ 507913 h 4178187"/>
                <a:gd name="connsiteX6706" fmla="*/ 817540 w 3009712"/>
                <a:gd name="connsiteY6706" fmla="*/ 506340 h 4178187"/>
                <a:gd name="connsiteX6707" fmla="*/ 820688 w 3009712"/>
                <a:gd name="connsiteY6707" fmla="*/ 504766 h 4178187"/>
                <a:gd name="connsiteX6708" fmla="*/ 823442 w 3009712"/>
                <a:gd name="connsiteY6708" fmla="*/ 501619 h 4178187"/>
                <a:gd name="connsiteX6709" fmla="*/ 825015 w 3009712"/>
                <a:gd name="connsiteY6709" fmla="*/ 498865 h 4178187"/>
                <a:gd name="connsiteX6710" fmla="*/ 824228 w 3009712"/>
                <a:gd name="connsiteY6710" fmla="*/ 501619 h 4178187"/>
                <a:gd name="connsiteX6711" fmla="*/ 821868 w 3009712"/>
                <a:gd name="connsiteY6711" fmla="*/ 504373 h 4178187"/>
                <a:gd name="connsiteX6712" fmla="*/ 816360 w 3009712"/>
                <a:gd name="connsiteY6712" fmla="*/ 507913 h 4178187"/>
                <a:gd name="connsiteX6713" fmla="*/ 813213 w 3009712"/>
                <a:gd name="connsiteY6713" fmla="*/ 509094 h 4178187"/>
                <a:gd name="connsiteX6714" fmla="*/ 815966 w 3009712"/>
                <a:gd name="connsiteY6714" fmla="*/ 509487 h 4178187"/>
                <a:gd name="connsiteX6715" fmla="*/ 819114 w 3009712"/>
                <a:gd name="connsiteY6715" fmla="*/ 507913 h 4178187"/>
                <a:gd name="connsiteX6716" fmla="*/ 821868 w 3009712"/>
                <a:gd name="connsiteY6716" fmla="*/ 505553 h 4178187"/>
                <a:gd name="connsiteX6717" fmla="*/ 819507 w 3009712"/>
                <a:gd name="connsiteY6717" fmla="*/ 508700 h 4178187"/>
                <a:gd name="connsiteX6718" fmla="*/ 816753 w 3009712"/>
                <a:gd name="connsiteY6718" fmla="*/ 510274 h 4178187"/>
                <a:gd name="connsiteX6719" fmla="*/ 819507 w 3009712"/>
                <a:gd name="connsiteY6719" fmla="*/ 511061 h 4178187"/>
                <a:gd name="connsiteX6720" fmla="*/ 822655 w 3009712"/>
                <a:gd name="connsiteY6720" fmla="*/ 509881 h 4178187"/>
                <a:gd name="connsiteX6721" fmla="*/ 823048 w 3009712"/>
                <a:gd name="connsiteY6721" fmla="*/ 509487 h 4178187"/>
                <a:gd name="connsiteX6722" fmla="*/ 822655 w 3009712"/>
                <a:gd name="connsiteY6722" fmla="*/ 511061 h 4178187"/>
                <a:gd name="connsiteX6723" fmla="*/ 819901 w 3009712"/>
                <a:gd name="connsiteY6723" fmla="*/ 512635 h 4178187"/>
                <a:gd name="connsiteX6724" fmla="*/ 821081 w 3009712"/>
                <a:gd name="connsiteY6724" fmla="*/ 515388 h 4178187"/>
                <a:gd name="connsiteX6725" fmla="*/ 820688 w 3009712"/>
                <a:gd name="connsiteY6725" fmla="*/ 516175 h 4178187"/>
                <a:gd name="connsiteX6726" fmla="*/ 817934 w 3009712"/>
                <a:gd name="connsiteY6726" fmla="*/ 516962 h 4178187"/>
                <a:gd name="connsiteX6727" fmla="*/ 816360 w 3009712"/>
                <a:gd name="connsiteY6727" fmla="*/ 520110 h 4178187"/>
                <a:gd name="connsiteX6728" fmla="*/ 813606 w 3009712"/>
                <a:gd name="connsiteY6728" fmla="*/ 522864 h 4178187"/>
                <a:gd name="connsiteX6729" fmla="*/ 812426 w 3009712"/>
                <a:gd name="connsiteY6729" fmla="*/ 526011 h 4178187"/>
                <a:gd name="connsiteX6730" fmla="*/ 815573 w 3009712"/>
                <a:gd name="connsiteY6730" fmla="*/ 524831 h 4178187"/>
                <a:gd name="connsiteX6731" fmla="*/ 817934 w 3009712"/>
                <a:gd name="connsiteY6731" fmla="*/ 523257 h 4178187"/>
                <a:gd name="connsiteX6732" fmla="*/ 816753 w 3009712"/>
                <a:gd name="connsiteY6732" fmla="*/ 526404 h 4178187"/>
                <a:gd name="connsiteX6733" fmla="*/ 819901 w 3009712"/>
                <a:gd name="connsiteY6733" fmla="*/ 525224 h 4178187"/>
                <a:gd name="connsiteX6734" fmla="*/ 823048 w 3009712"/>
                <a:gd name="connsiteY6734" fmla="*/ 524437 h 4178187"/>
                <a:gd name="connsiteX6735" fmla="*/ 825802 w 3009712"/>
                <a:gd name="connsiteY6735" fmla="*/ 522864 h 4178187"/>
                <a:gd name="connsiteX6736" fmla="*/ 826196 w 3009712"/>
                <a:gd name="connsiteY6736" fmla="*/ 522864 h 4178187"/>
                <a:gd name="connsiteX6737" fmla="*/ 826982 w 3009712"/>
                <a:gd name="connsiteY6737" fmla="*/ 522470 h 4178187"/>
                <a:gd name="connsiteX6738" fmla="*/ 826589 w 3009712"/>
                <a:gd name="connsiteY6738" fmla="*/ 522864 h 4178187"/>
                <a:gd name="connsiteX6739" fmla="*/ 828950 w 3009712"/>
                <a:gd name="connsiteY6739" fmla="*/ 522077 h 4178187"/>
                <a:gd name="connsiteX6740" fmla="*/ 831704 w 3009712"/>
                <a:gd name="connsiteY6740" fmla="*/ 520503 h 4178187"/>
                <a:gd name="connsiteX6741" fmla="*/ 834458 w 3009712"/>
                <a:gd name="connsiteY6741" fmla="*/ 518929 h 4178187"/>
                <a:gd name="connsiteX6742" fmla="*/ 837605 w 3009712"/>
                <a:gd name="connsiteY6742" fmla="*/ 516962 h 4178187"/>
                <a:gd name="connsiteX6743" fmla="*/ 840359 w 3009712"/>
                <a:gd name="connsiteY6743" fmla="*/ 514995 h 4178187"/>
                <a:gd name="connsiteX6744" fmla="*/ 840752 w 3009712"/>
                <a:gd name="connsiteY6744" fmla="*/ 514602 h 4178187"/>
                <a:gd name="connsiteX6745" fmla="*/ 837998 w 3009712"/>
                <a:gd name="connsiteY6745" fmla="*/ 516175 h 4178187"/>
                <a:gd name="connsiteX6746" fmla="*/ 839965 w 3009712"/>
                <a:gd name="connsiteY6746" fmla="*/ 514995 h 4178187"/>
                <a:gd name="connsiteX6747" fmla="*/ 842720 w 3009712"/>
                <a:gd name="connsiteY6747" fmla="*/ 513028 h 4178187"/>
                <a:gd name="connsiteX6748" fmla="*/ 843506 w 3009712"/>
                <a:gd name="connsiteY6748" fmla="*/ 512635 h 4178187"/>
                <a:gd name="connsiteX6749" fmla="*/ 848621 w 3009712"/>
                <a:gd name="connsiteY6749" fmla="*/ 509881 h 4178187"/>
                <a:gd name="connsiteX6750" fmla="*/ 848227 w 3009712"/>
                <a:gd name="connsiteY6750" fmla="*/ 510274 h 4178187"/>
                <a:gd name="connsiteX6751" fmla="*/ 846654 w 3009712"/>
                <a:gd name="connsiteY6751" fmla="*/ 511061 h 4178187"/>
                <a:gd name="connsiteX6752" fmla="*/ 843506 w 3009712"/>
                <a:gd name="connsiteY6752" fmla="*/ 512635 h 4178187"/>
                <a:gd name="connsiteX6753" fmla="*/ 840752 w 3009712"/>
                <a:gd name="connsiteY6753" fmla="*/ 514208 h 4178187"/>
                <a:gd name="connsiteX6754" fmla="*/ 843506 w 3009712"/>
                <a:gd name="connsiteY6754" fmla="*/ 512635 h 4178187"/>
                <a:gd name="connsiteX6755" fmla="*/ 840752 w 3009712"/>
                <a:gd name="connsiteY6755" fmla="*/ 514602 h 4178187"/>
                <a:gd name="connsiteX6756" fmla="*/ 840359 w 3009712"/>
                <a:gd name="connsiteY6756" fmla="*/ 517749 h 4178187"/>
                <a:gd name="connsiteX6757" fmla="*/ 843506 w 3009712"/>
                <a:gd name="connsiteY6757" fmla="*/ 515388 h 4178187"/>
                <a:gd name="connsiteX6758" fmla="*/ 844293 w 3009712"/>
                <a:gd name="connsiteY6758" fmla="*/ 515782 h 4178187"/>
                <a:gd name="connsiteX6759" fmla="*/ 841539 w 3009712"/>
                <a:gd name="connsiteY6759" fmla="*/ 518536 h 4178187"/>
                <a:gd name="connsiteX6760" fmla="*/ 844293 w 3009712"/>
                <a:gd name="connsiteY6760" fmla="*/ 518142 h 4178187"/>
                <a:gd name="connsiteX6761" fmla="*/ 847047 w 3009712"/>
                <a:gd name="connsiteY6761" fmla="*/ 518536 h 4178187"/>
                <a:gd name="connsiteX6762" fmla="*/ 850195 w 3009712"/>
                <a:gd name="connsiteY6762" fmla="*/ 518142 h 4178187"/>
                <a:gd name="connsiteX6763" fmla="*/ 839572 w 3009712"/>
                <a:gd name="connsiteY6763" fmla="*/ 519323 h 4178187"/>
                <a:gd name="connsiteX6764" fmla="*/ 839965 w 3009712"/>
                <a:gd name="connsiteY6764" fmla="*/ 519323 h 4178187"/>
                <a:gd name="connsiteX6765" fmla="*/ 837211 w 3009712"/>
                <a:gd name="connsiteY6765" fmla="*/ 520896 h 4178187"/>
                <a:gd name="connsiteX6766" fmla="*/ 834064 w 3009712"/>
                <a:gd name="connsiteY6766" fmla="*/ 523650 h 4178187"/>
                <a:gd name="connsiteX6767" fmla="*/ 831310 w 3009712"/>
                <a:gd name="connsiteY6767" fmla="*/ 525224 h 4178187"/>
                <a:gd name="connsiteX6768" fmla="*/ 828556 w 3009712"/>
                <a:gd name="connsiteY6768" fmla="*/ 527585 h 4178187"/>
                <a:gd name="connsiteX6769" fmla="*/ 830523 w 3009712"/>
                <a:gd name="connsiteY6769" fmla="*/ 530339 h 4178187"/>
                <a:gd name="connsiteX6770" fmla="*/ 830130 w 3009712"/>
                <a:gd name="connsiteY6770" fmla="*/ 530732 h 4178187"/>
                <a:gd name="connsiteX6771" fmla="*/ 827769 w 3009712"/>
                <a:gd name="connsiteY6771" fmla="*/ 527978 h 4178187"/>
                <a:gd name="connsiteX6772" fmla="*/ 825015 w 3009712"/>
                <a:gd name="connsiteY6772" fmla="*/ 528372 h 4178187"/>
                <a:gd name="connsiteX6773" fmla="*/ 821868 w 3009712"/>
                <a:gd name="connsiteY6773" fmla="*/ 529945 h 4178187"/>
                <a:gd name="connsiteX6774" fmla="*/ 821474 w 3009712"/>
                <a:gd name="connsiteY6774" fmla="*/ 532699 h 4178187"/>
                <a:gd name="connsiteX6775" fmla="*/ 823835 w 3009712"/>
                <a:gd name="connsiteY6775" fmla="*/ 535453 h 4178187"/>
                <a:gd name="connsiteX6776" fmla="*/ 826589 w 3009712"/>
                <a:gd name="connsiteY6776" fmla="*/ 534273 h 4178187"/>
                <a:gd name="connsiteX6777" fmla="*/ 826196 w 3009712"/>
                <a:gd name="connsiteY6777" fmla="*/ 535060 h 4178187"/>
                <a:gd name="connsiteX6778" fmla="*/ 825015 w 3009712"/>
                <a:gd name="connsiteY6778" fmla="*/ 535060 h 4178187"/>
                <a:gd name="connsiteX6779" fmla="*/ 822261 w 3009712"/>
                <a:gd name="connsiteY6779" fmla="*/ 537420 h 4178187"/>
                <a:gd name="connsiteX6780" fmla="*/ 821474 w 3009712"/>
                <a:gd name="connsiteY6780" fmla="*/ 540174 h 4178187"/>
                <a:gd name="connsiteX6781" fmla="*/ 821081 w 3009712"/>
                <a:gd name="connsiteY6781" fmla="*/ 540568 h 4178187"/>
                <a:gd name="connsiteX6782" fmla="*/ 820688 w 3009712"/>
                <a:gd name="connsiteY6782" fmla="*/ 538994 h 4178187"/>
                <a:gd name="connsiteX6783" fmla="*/ 820294 w 3009712"/>
                <a:gd name="connsiteY6783" fmla="*/ 535847 h 4178187"/>
                <a:gd name="connsiteX6784" fmla="*/ 820294 w 3009712"/>
                <a:gd name="connsiteY6784" fmla="*/ 533093 h 4178187"/>
                <a:gd name="connsiteX6785" fmla="*/ 819507 w 3009712"/>
                <a:gd name="connsiteY6785" fmla="*/ 530339 h 4178187"/>
                <a:gd name="connsiteX6786" fmla="*/ 816753 w 3009712"/>
                <a:gd name="connsiteY6786" fmla="*/ 533093 h 4178187"/>
                <a:gd name="connsiteX6787" fmla="*/ 815180 w 3009712"/>
                <a:gd name="connsiteY6787" fmla="*/ 535847 h 4178187"/>
                <a:gd name="connsiteX6788" fmla="*/ 812426 w 3009712"/>
                <a:gd name="connsiteY6788" fmla="*/ 537027 h 4178187"/>
                <a:gd name="connsiteX6789" fmla="*/ 812426 w 3009712"/>
                <a:gd name="connsiteY6789" fmla="*/ 539781 h 4178187"/>
                <a:gd name="connsiteX6790" fmla="*/ 815180 w 3009712"/>
                <a:gd name="connsiteY6790" fmla="*/ 539388 h 4178187"/>
                <a:gd name="connsiteX6791" fmla="*/ 812426 w 3009712"/>
                <a:gd name="connsiteY6791" fmla="*/ 542535 h 4178187"/>
                <a:gd name="connsiteX6792" fmla="*/ 811639 w 3009712"/>
                <a:gd name="connsiteY6792" fmla="*/ 543715 h 4178187"/>
                <a:gd name="connsiteX6793" fmla="*/ 814393 w 3009712"/>
                <a:gd name="connsiteY6793" fmla="*/ 545289 h 4178187"/>
                <a:gd name="connsiteX6794" fmla="*/ 817540 w 3009712"/>
                <a:gd name="connsiteY6794" fmla="*/ 544502 h 4178187"/>
                <a:gd name="connsiteX6795" fmla="*/ 821474 w 3009712"/>
                <a:gd name="connsiteY6795" fmla="*/ 544109 h 4178187"/>
                <a:gd name="connsiteX6796" fmla="*/ 819901 w 3009712"/>
                <a:gd name="connsiteY6796" fmla="*/ 544895 h 4178187"/>
                <a:gd name="connsiteX6797" fmla="*/ 816360 w 3009712"/>
                <a:gd name="connsiteY6797" fmla="*/ 545682 h 4178187"/>
                <a:gd name="connsiteX6798" fmla="*/ 814393 w 3009712"/>
                <a:gd name="connsiteY6798" fmla="*/ 546076 h 4178187"/>
                <a:gd name="connsiteX6799" fmla="*/ 811245 w 3009712"/>
                <a:gd name="connsiteY6799" fmla="*/ 548830 h 4178187"/>
                <a:gd name="connsiteX6800" fmla="*/ 808885 w 3009712"/>
                <a:gd name="connsiteY6800" fmla="*/ 551584 h 4178187"/>
                <a:gd name="connsiteX6801" fmla="*/ 808491 w 3009712"/>
                <a:gd name="connsiteY6801" fmla="*/ 554338 h 4178187"/>
                <a:gd name="connsiteX6802" fmla="*/ 808885 w 3009712"/>
                <a:gd name="connsiteY6802" fmla="*/ 555911 h 4178187"/>
                <a:gd name="connsiteX6803" fmla="*/ 809672 w 3009712"/>
                <a:gd name="connsiteY6803" fmla="*/ 558272 h 4178187"/>
                <a:gd name="connsiteX6804" fmla="*/ 809672 w 3009712"/>
                <a:gd name="connsiteY6804" fmla="*/ 558665 h 4178187"/>
                <a:gd name="connsiteX6805" fmla="*/ 809672 w 3009712"/>
                <a:gd name="connsiteY6805" fmla="*/ 561813 h 4178187"/>
                <a:gd name="connsiteX6806" fmla="*/ 810065 w 3009712"/>
                <a:gd name="connsiteY6806" fmla="*/ 564567 h 4178187"/>
                <a:gd name="connsiteX6807" fmla="*/ 810852 w 3009712"/>
                <a:gd name="connsiteY6807" fmla="*/ 567321 h 4178187"/>
                <a:gd name="connsiteX6808" fmla="*/ 812426 w 3009712"/>
                <a:gd name="connsiteY6808" fmla="*/ 570468 h 4178187"/>
                <a:gd name="connsiteX6809" fmla="*/ 819114 w 3009712"/>
                <a:gd name="connsiteY6809" fmla="*/ 566140 h 4178187"/>
                <a:gd name="connsiteX6810" fmla="*/ 817934 w 3009712"/>
                <a:gd name="connsiteY6810" fmla="*/ 568501 h 4178187"/>
                <a:gd name="connsiteX6811" fmla="*/ 821081 w 3009712"/>
                <a:gd name="connsiteY6811" fmla="*/ 566140 h 4178187"/>
                <a:gd name="connsiteX6812" fmla="*/ 824228 w 3009712"/>
                <a:gd name="connsiteY6812" fmla="*/ 564567 h 4178187"/>
                <a:gd name="connsiteX6813" fmla="*/ 827376 w 3009712"/>
                <a:gd name="connsiteY6813" fmla="*/ 563780 h 4178187"/>
                <a:gd name="connsiteX6814" fmla="*/ 830130 w 3009712"/>
                <a:gd name="connsiteY6814" fmla="*/ 562206 h 4178187"/>
                <a:gd name="connsiteX6815" fmla="*/ 832884 w 3009712"/>
                <a:gd name="connsiteY6815" fmla="*/ 560239 h 4178187"/>
                <a:gd name="connsiteX6816" fmla="*/ 830523 w 3009712"/>
                <a:gd name="connsiteY6816" fmla="*/ 560239 h 4178187"/>
                <a:gd name="connsiteX6817" fmla="*/ 828950 w 3009712"/>
                <a:gd name="connsiteY6817" fmla="*/ 560239 h 4178187"/>
                <a:gd name="connsiteX6818" fmla="*/ 839965 w 3009712"/>
                <a:gd name="connsiteY6818" fmla="*/ 553551 h 4178187"/>
                <a:gd name="connsiteX6819" fmla="*/ 842326 w 3009712"/>
                <a:gd name="connsiteY6819" fmla="*/ 552371 h 4178187"/>
                <a:gd name="connsiteX6820" fmla="*/ 845473 w 3009712"/>
                <a:gd name="connsiteY6820" fmla="*/ 550010 h 4178187"/>
                <a:gd name="connsiteX6821" fmla="*/ 843113 w 3009712"/>
                <a:gd name="connsiteY6821" fmla="*/ 553551 h 4178187"/>
                <a:gd name="connsiteX6822" fmla="*/ 842326 w 3009712"/>
                <a:gd name="connsiteY6822" fmla="*/ 554338 h 4178187"/>
                <a:gd name="connsiteX6823" fmla="*/ 842720 w 3009712"/>
                <a:gd name="connsiteY6823" fmla="*/ 554338 h 4178187"/>
                <a:gd name="connsiteX6824" fmla="*/ 841933 w 3009712"/>
                <a:gd name="connsiteY6824" fmla="*/ 555125 h 4178187"/>
                <a:gd name="connsiteX6825" fmla="*/ 839572 w 3009712"/>
                <a:gd name="connsiteY6825" fmla="*/ 555911 h 4178187"/>
                <a:gd name="connsiteX6826" fmla="*/ 836425 w 3009712"/>
                <a:gd name="connsiteY6826" fmla="*/ 556698 h 4178187"/>
                <a:gd name="connsiteX6827" fmla="*/ 834064 w 3009712"/>
                <a:gd name="connsiteY6827" fmla="*/ 559846 h 4178187"/>
                <a:gd name="connsiteX6828" fmla="*/ 830917 w 3009712"/>
                <a:gd name="connsiteY6828" fmla="*/ 562206 h 4178187"/>
                <a:gd name="connsiteX6829" fmla="*/ 831310 w 3009712"/>
                <a:gd name="connsiteY6829" fmla="*/ 564960 h 4178187"/>
                <a:gd name="connsiteX6830" fmla="*/ 832884 w 3009712"/>
                <a:gd name="connsiteY6830" fmla="*/ 568108 h 4178187"/>
                <a:gd name="connsiteX6831" fmla="*/ 830917 w 3009712"/>
                <a:gd name="connsiteY6831" fmla="*/ 569681 h 4178187"/>
                <a:gd name="connsiteX6832" fmla="*/ 829736 w 3009712"/>
                <a:gd name="connsiteY6832" fmla="*/ 567321 h 4178187"/>
                <a:gd name="connsiteX6833" fmla="*/ 827376 w 3009712"/>
                <a:gd name="connsiteY6833" fmla="*/ 564567 h 4178187"/>
                <a:gd name="connsiteX6834" fmla="*/ 824622 w 3009712"/>
                <a:gd name="connsiteY6834" fmla="*/ 564567 h 4178187"/>
                <a:gd name="connsiteX6835" fmla="*/ 824622 w 3009712"/>
                <a:gd name="connsiteY6835" fmla="*/ 567321 h 4178187"/>
                <a:gd name="connsiteX6836" fmla="*/ 822655 w 3009712"/>
                <a:gd name="connsiteY6836" fmla="*/ 570075 h 4178187"/>
                <a:gd name="connsiteX6837" fmla="*/ 820294 w 3009712"/>
                <a:gd name="connsiteY6837" fmla="*/ 572829 h 4178187"/>
                <a:gd name="connsiteX6838" fmla="*/ 822655 w 3009712"/>
                <a:gd name="connsiteY6838" fmla="*/ 575976 h 4178187"/>
                <a:gd name="connsiteX6839" fmla="*/ 824228 w 3009712"/>
                <a:gd name="connsiteY6839" fmla="*/ 574402 h 4178187"/>
                <a:gd name="connsiteX6840" fmla="*/ 824228 w 3009712"/>
                <a:gd name="connsiteY6840" fmla="*/ 574796 h 4178187"/>
                <a:gd name="connsiteX6841" fmla="*/ 822655 w 3009712"/>
                <a:gd name="connsiteY6841" fmla="*/ 575976 h 4178187"/>
                <a:gd name="connsiteX6842" fmla="*/ 823442 w 3009712"/>
                <a:gd name="connsiteY6842" fmla="*/ 579124 h 4178187"/>
                <a:gd name="connsiteX6843" fmla="*/ 822655 w 3009712"/>
                <a:gd name="connsiteY6843" fmla="*/ 579910 h 4178187"/>
                <a:gd name="connsiteX6844" fmla="*/ 821081 w 3009712"/>
                <a:gd name="connsiteY6844" fmla="*/ 582664 h 4178187"/>
                <a:gd name="connsiteX6845" fmla="*/ 818720 w 3009712"/>
                <a:gd name="connsiteY6845" fmla="*/ 585418 h 4178187"/>
                <a:gd name="connsiteX6846" fmla="*/ 820688 w 3009712"/>
                <a:gd name="connsiteY6846" fmla="*/ 588172 h 4178187"/>
                <a:gd name="connsiteX6847" fmla="*/ 823442 w 3009712"/>
                <a:gd name="connsiteY6847" fmla="*/ 588172 h 4178187"/>
                <a:gd name="connsiteX6848" fmla="*/ 826196 w 3009712"/>
                <a:gd name="connsiteY6848" fmla="*/ 586599 h 4178187"/>
                <a:gd name="connsiteX6849" fmla="*/ 826589 w 3009712"/>
                <a:gd name="connsiteY6849" fmla="*/ 587386 h 4178187"/>
                <a:gd name="connsiteX6850" fmla="*/ 825015 w 3009712"/>
                <a:gd name="connsiteY6850" fmla="*/ 589746 h 4178187"/>
                <a:gd name="connsiteX6851" fmla="*/ 822261 w 3009712"/>
                <a:gd name="connsiteY6851" fmla="*/ 592107 h 4178187"/>
                <a:gd name="connsiteX6852" fmla="*/ 819507 w 3009712"/>
                <a:gd name="connsiteY6852" fmla="*/ 594467 h 4178187"/>
                <a:gd name="connsiteX6853" fmla="*/ 816360 w 3009712"/>
                <a:gd name="connsiteY6853" fmla="*/ 596434 h 4178187"/>
                <a:gd name="connsiteX6854" fmla="*/ 814786 w 3009712"/>
                <a:gd name="connsiteY6854" fmla="*/ 599188 h 4178187"/>
                <a:gd name="connsiteX6855" fmla="*/ 811639 w 3009712"/>
                <a:gd name="connsiteY6855" fmla="*/ 601549 h 4178187"/>
                <a:gd name="connsiteX6856" fmla="*/ 808885 w 3009712"/>
                <a:gd name="connsiteY6856" fmla="*/ 603123 h 4178187"/>
                <a:gd name="connsiteX6857" fmla="*/ 806131 w 3009712"/>
                <a:gd name="connsiteY6857" fmla="*/ 605483 h 4178187"/>
                <a:gd name="connsiteX6858" fmla="*/ 808885 w 3009712"/>
                <a:gd name="connsiteY6858" fmla="*/ 605090 h 4178187"/>
                <a:gd name="connsiteX6859" fmla="*/ 811639 w 3009712"/>
                <a:gd name="connsiteY6859" fmla="*/ 603516 h 4178187"/>
                <a:gd name="connsiteX6860" fmla="*/ 814786 w 3009712"/>
                <a:gd name="connsiteY6860" fmla="*/ 601549 h 4178187"/>
                <a:gd name="connsiteX6861" fmla="*/ 817540 w 3009712"/>
                <a:gd name="connsiteY6861" fmla="*/ 599582 h 4178187"/>
                <a:gd name="connsiteX6862" fmla="*/ 820294 w 3009712"/>
                <a:gd name="connsiteY6862" fmla="*/ 598008 h 4178187"/>
                <a:gd name="connsiteX6863" fmla="*/ 822261 w 3009712"/>
                <a:gd name="connsiteY6863" fmla="*/ 597615 h 4178187"/>
                <a:gd name="connsiteX6864" fmla="*/ 821868 w 3009712"/>
                <a:gd name="connsiteY6864" fmla="*/ 598795 h 4178187"/>
                <a:gd name="connsiteX6865" fmla="*/ 820688 w 3009712"/>
                <a:gd name="connsiteY6865" fmla="*/ 599188 h 4178187"/>
                <a:gd name="connsiteX6866" fmla="*/ 817934 w 3009712"/>
                <a:gd name="connsiteY6866" fmla="*/ 601549 h 4178187"/>
                <a:gd name="connsiteX6867" fmla="*/ 817147 w 3009712"/>
                <a:gd name="connsiteY6867" fmla="*/ 604696 h 4178187"/>
                <a:gd name="connsiteX6868" fmla="*/ 819901 w 3009712"/>
                <a:gd name="connsiteY6868" fmla="*/ 603516 h 4178187"/>
                <a:gd name="connsiteX6869" fmla="*/ 819114 w 3009712"/>
                <a:gd name="connsiteY6869" fmla="*/ 604696 h 4178187"/>
                <a:gd name="connsiteX6870" fmla="*/ 817934 w 3009712"/>
                <a:gd name="connsiteY6870" fmla="*/ 605483 h 4178187"/>
                <a:gd name="connsiteX6871" fmla="*/ 817540 w 3009712"/>
                <a:gd name="connsiteY6871" fmla="*/ 608237 h 4178187"/>
                <a:gd name="connsiteX6872" fmla="*/ 819507 w 3009712"/>
                <a:gd name="connsiteY6872" fmla="*/ 607844 h 4178187"/>
                <a:gd name="connsiteX6873" fmla="*/ 818327 w 3009712"/>
                <a:gd name="connsiteY6873" fmla="*/ 608631 h 4178187"/>
                <a:gd name="connsiteX6874" fmla="*/ 815573 w 3009712"/>
                <a:gd name="connsiteY6874" fmla="*/ 610598 h 4178187"/>
                <a:gd name="connsiteX6875" fmla="*/ 810065 w 3009712"/>
                <a:gd name="connsiteY6875" fmla="*/ 616106 h 4178187"/>
                <a:gd name="connsiteX6876" fmla="*/ 812819 w 3009712"/>
                <a:gd name="connsiteY6876" fmla="*/ 616106 h 4178187"/>
                <a:gd name="connsiteX6877" fmla="*/ 815573 w 3009712"/>
                <a:gd name="connsiteY6877" fmla="*/ 615319 h 4178187"/>
                <a:gd name="connsiteX6878" fmla="*/ 818720 w 3009712"/>
                <a:gd name="connsiteY6878" fmla="*/ 612171 h 4178187"/>
                <a:gd name="connsiteX6879" fmla="*/ 821474 w 3009712"/>
                <a:gd name="connsiteY6879" fmla="*/ 610598 h 4178187"/>
                <a:gd name="connsiteX6880" fmla="*/ 822655 w 3009712"/>
                <a:gd name="connsiteY6880" fmla="*/ 610204 h 4178187"/>
                <a:gd name="connsiteX6881" fmla="*/ 825409 w 3009712"/>
                <a:gd name="connsiteY6881" fmla="*/ 609024 h 4178187"/>
                <a:gd name="connsiteX6882" fmla="*/ 828556 w 3009712"/>
                <a:gd name="connsiteY6882" fmla="*/ 607844 h 4178187"/>
                <a:gd name="connsiteX6883" fmla="*/ 831310 w 3009712"/>
                <a:gd name="connsiteY6883" fmla="*/ 607057 h 4178187"/>
                <a:gd name="connsiteX6884" fmla="*/ 834064 w 3009712"/>
                <a:gd name="connsiteY6884" fmla="*/ 606270 h 4178187"/>
                <a:gd name="connsiteX6885" fmla="*/ 835244 w 3009712"/>
                <a:gd name="connsiteY6885" fmla="*/ 605483 h 4178187"/>
                <a:gd name="connsiteX6886" fmla="*/ 847047 w 3009712"/>
                <a:gd name="connsiteY6886" fmla="*/ 603516 h 4178187"/>
                <a:gd name="connsiteX6887" fmla="*/ 843900 w 3009712"/>
                <a:gd name="connsiteY6887" fmla="*/ 604696 h 4178187"/>
                <a:gd name="connsiteX6888" fmla="*/ 843113 w 3009712"/>
                <a:gd name="connsiteY6888" fmla="*/ 605877 h 4178187"/>
                <a:gd name="connsiteX6889" fmla="*/ 841539 w 3009712"/>
                <a:gd name="connsiteY6889" fmla="*/ 606663 h 4178187"/>
                <a:gd name="connsiteX6890" fmla="*/ 841539 w 3009712"/>
                <a:gd name="connsiteY6890" fmla="*/ 604696 h 4178187"/>
                <a:gd name="connsiteX6891" fmla="*/ 838392 w 3009712"/>
                <a:gd name="connsiteY6891" fmla="*/ 604303 h 4178187"/>
                <a:gd name="connsiteX6892" fmla="*/ 835638 w 3009712"/>
                <a:gd name="connsiteY6892" fmla="*/ 605483 h 4178187"/>
                <a:gd name="connsiteX6893" fmla="*/ 832490 w 3009712"/>
                <a:gd name="connsiteY6893" fmla="*/ 607057 h 4178187"/>
                <a:gd name="connsiteX6894" fmla="*/ 829736 w 3009712"/>
                <a:gd name="connsiteY6894" fmla="*/ 607450 h 4178187"/>
                <a:gd name="connsiteX6895" fmla="*/ 826982 w 3009712"/>
                <a:gd name="connsiteY6895" fmla="*/ 609024 h 4178187"/>
                <a:gd name="connsiteX6896" fmla="*/ 824228 w 3009712"/>
                <a:gd name="connsiteY6896" fmla="*/ 611385 h 4178187"/>
                <a:gd name="connsiteX6897" fmla="*/ 821081 w 3009712"/>
                <a:gd name="connsiteY6897" fmla="*/ 611778 h 4178187"/>
                <a:gd name="connsiteX6898" fmla="*/ 823835 w 3009712"/>
                <a:gd name="connsiteY6898" fmla="*/ 609811 h 4178187"/>
                <a:gd name="connsiteX6899" fmla="*/ 821081 w 3009712"/>
                <a:gd name="connsiteY6899" fmla="*/ 610991 h 4178187"/>
                <a:gd name="connsiteX6900" fmla="*/ 817934 w 3009712"/>
                <a:gd name="connsiteY6900" fmla="*/ 613352 h 4178187"/>
                <a:gd name="connsiteX6901" fmla="*/ 815180 w 3009712"/>
                <a:gd name="connsiteY6901" fmla="*/ 615712 h 4178187"/>
                <a:gd name="connsiteX6902" fmla="*/ 812426 w 3009712"/>
                <a:gd name="connsiteY6902" fmla="*/ 616106 h 4178187"/>
                <a:gd name="connsiteX6903" fmla="*/ 809672 w 3009712"/>
                <a:gd name="connsiteY6903" fmla="*/ 617286 h 4178187"/>
                <a:gd name="connsiteX6904" fmla="*/ 806524 w 3009712"/>
                <a:gd name="connsiteY6904" fmla="*/ 620040 h 4178187"/>
                <a:gd name="connsiteX6905" fmla="*/ 802983 w 3009712"/>
                <a:gd name="connsiteY6905" fmla="*/ 625548 h 4178187"/>
                <a:gd name="connsiteX6906" fmla="*/ 802983 w 3009712"/>
                <a:gd name="connsiteY6906" fmla="*/ 625941 h 4178187"/>
                <a:gd name="connsiteX6907" fmla="*/ 801410 w 3009712"/>
                <a:gd name="connsiteY6907" fmla="*/ 629089 h 4178187"/>
                <a:gd name="connsiteX6908" fmla="*/ 801410 w 3009712"/>
                <a:gd name="connsiteY6908" fmla="*/ 631843 h 4178187"/>
                <a:gd name="connsiteX6909" fmla="*/ 804164 w 3009712"/>
                <a:gd name="connsiteY6909" fmla="*/ 631056 h 4178187"/>
                <a:gd name="connsiteX6910" fmla="*/ 800623 w 3009712"/>
                <a:gd name="connsiteY6910" fmla="*/ 634203 h 4178187"/>
                <a:gd name="connsiteX6911" fmla="*/ 798262 w 3009712"/>
                <a:gd name="connsiteY6911" fmla="*/ 636170 h 4178187"/>
                <a:gd name="connsiteX6912" fmla="*/ 801016 w 3009712"/>
                <a:gd name="connsiteY6912" fmla="*/ 635777 h 4178187"/>
                <a:gd name="connsiteX6913" fmla="*/ 805737 w 3009712"/>
                <a:gd name="connsiteY6913" fmla="*/ 636564 h 4178187"/>
                <a:gd name="connsiteX6914" fmla="*/ 807311 w 3009712"/>
                <a:gd name="connsiteY6914" fmla="*/ 637351 h 4178187"/>
                <a:gd name="connsiteX6915" fmla="*/ 804164 w 3009712"/>
                <a:gd name="connsiteY6915" fmla="*/ 636957 h 4178187"/>
                <a:gd name="connsiteX6916" fmla="*/ 801410 w 3009712"/>
                <a:gd name="connsiteY6916" fmla="*/ 636564 h 4178187"/>
                <a:gd name="connsiteX6917" fmla="*/ 798656 w 3009712"/>
                <a:gd name="connsiteY6917" fmla="*/ 637351 h 4178187"/>
                <a:gd name="connsiteX6918" fmla="*/ 795508 w 3009712"/>
                <a:gd name="connsiteY6918" fmla="*/ 637744 h 4178187"/>
                <a:gd name="connsiteX6919" fmla="*/ 792361 w 3009712"/>
                <a:gd name="connsiteY6919" fmla="*/ 640105 h 4178187"/>
                <a:gd name="connsiteX6920" fmla="*/ 794328 w 3009712"/>
                <a:gd name="connsiteY6920" fmla="*/ 643252 h 4178187"/>
                <a:gd name="connsiteX6921" fmla="*/ 797082 w 3009712"/>
                <a:gd name="connsiteY6921" fmla="*/ 642859 h 4178187"/>
                <a:gd name="connsiteX6922" fmla="*/ 800229 w 3009712"/>
                <a:gd name="connsiteY6922" fmla="*/ 644432 h 4178187"/>
                <a:gd name="connsiteX6923" fmla="*/ 802983 w 3009712"/>
                <a:gd name="connsiteY6923" fmla="*/ 644826 h 4178187"/>
                <a:gd name="connsiteX6924" fmla="*/ 806131 w 3009712"/>
                <a:gd name="connsiteY6924" fmla="*/ 644432 h 4178187"/>
                <a:gd name="connsiteX6925" fmla="*/ 808885 w 3009712"/>
                <a:gd name="connsiteY6925" fmla="*/ 644039 h 4178187"/>
                <a:gd name="connsiteX6926" fmla="*/ 810459 w 3009712"/>
                <a:gd name="connsiteY6926" fmla="*/ 644039 h 4178187"/>
                <a:gd name="connsiteX6927" fmla="*/ 810852 w 3009712"/>
                <a:gd name="connsiteY6927" fmla="*/ 644432 h 4178187"/>
                <a:gd name="connsiteX6928" fmla="*/ 809278 w 3009712"/>
                <a:gd name="connsiteY6928" fmla="*/ 644432 h 4178187"/>
                <a:gd name="connsiteX6929" fmla="*/ 806131 w 3009712"/>
                <a:gd name="connsiteY6929" fmla="*/ 644826 h 4178187"/>
                <a:gd name="connsiteX6930" fmla="*/ 803377 w 3009712"/>
                <a:gd name="connsiteY6930" fmla="*/ 645219 h 4178187"/>
                <a:gd name="connsiteX6931" fmla="*/ 800623 w 3009712"/>
                <a:gd name="connsiteY6931" fmla="*/ 644826 h 4178187"/>
                <a:gd name="connsiteX6932" fmla="*/ 797475 w 3009712"/>
                <a:gd name="connsiteY6932" fmla="*/ 643252 h 4178187"/>
                <a:gd name="connsiteX6933" fmla="*/ 794328 w 3009712"/>
                <a:gd name="connsiteY6933" fmla="*/ 646006 h 4178187"/>
                <a:gd name="connsiteX6934" fmla="*/ 795902 w 3009712"/>
                <a:gd name="connsiteY6934" fmla="*/ 648760 h 4178187"/>
                <a:gd name="connsiteX6935" fmla="*/ 798656 w 3009712"/>
                <a:gd name="connsiteY6935" fmla="*/ 649153 h 4178187"/>
                <a:gd name="connsiteX6936" fmla="*/ 801803 w 3009712"/>
                <a:gd name="connsiteY6936" fmla="*/ 651514 h 4178187"/>
                <a:gd name="connsiteX6937" fmla="*/ 804557 w 3009712"/>
                <a:gd name="connsiteY6937" fmla="*/ 650334 h 4178187"/>
                <a:gd name="connsiteX6938" fmla="*/ 801410 w 3009712"/>
                <a:gd name="connsiteY6938" fmla="*/ 648760 h 4178187"/>
                <a:gd name="connsiteX6939" fmla="*/ 804164 w 3009712"/>
                <a:gd name="connsiteY6939" fmla="*/ 649153 h 4178187"/>
                <a:gd name="connsiteX6940" fmla="*/ 807311 w 3009712"/>
                <a:gd name="connsiteY6940" fmla="*/ 649547 h 4178187"/>
                <a:gd name="connsiteX6941" fmla="*/ 810065 w 3009712"/>
                <a:gd name="connsiteY6941" fmla="*/ 647973 h 4178187"/>
                <a:gd name="connsiteX6942" fmla="*/ 812819 w 3009712"/>
                <a:gd name="connsiteY6942" fmla="*/ 650334 h 4178187"/>
                <a:gd name="connsiteX6943" fmla="*/ 813606 w 3009712"/>
                <a:gd name="connsiteY6943" fmla="*/ 649940 h 4178187"/>
                <a:gd name="connsiteX6944" fmla="*/ 815180 w 3009712"/>
                <a:gd name="connsiteY6944" fmla="*/ 653481 h 4178187"/>
                <a:gd name="connsiteX6945" fmla="*/ 812426 w 3009712"/>
                <a:gd name="connsiteY6945" fmla="*/ 654661 h 4178187"/>
                <a:gd name="connsiteX6946" fmla="*/ 809672 w 3009712"/>
                <a:gd name="connsiteY6946" fmla="*/ 657415 h 4178187"/>
                <a:gd name="connsiteX6947" fmla="*/ 812426 w 3009712"/>
                <a:gd name="connsiteY6947" fmla="*/ 657809 h 4178187"/>
                <a:gd name="connsiteX6948" fmla="*/ 815573 w 3009712"/>
                <a:gd name="connsiteY6948" fmla="*/ 657415 h 4178187"/>
                <a:gd name="connsiteX6949" fmla="*/ 816753 w 3009712"/>
                <a:gd name="connsiteY6949" fmla="*/ 657022 h 4178187"/>
                <a:gd name="connsiteX6950" fmla="*/ 817147 w 3009712"/>
                <a:gd name="connsiteY6950" fmla="*/ 657809 h 4178187"/>
                <a:gd name="connsiteX6951" fmla="*/ 827376 w 3009712"/>
                <a:gd name="connsiteY6951" fmla="*/ 655448 h 4178187"/>
                <a:gd name="connsiteX6952" fmla="*/ 828556 w 3009712"/>
                <a:gd name="connsiteY6952" fmla="*/ 655448 h 4178187"/>
                <a:gd name="connsiteX6953" fmla="*/ 831704 w 3009712"/>
                <a:gd name="connsiteY6953" fmla="*/ 655055 h 4178187"/>
                <a:gd name="connsiteX6954" fmla="*/ 834064 w 3009712"/>
                <a:gd name="connsiteY6954" fmla="*/ 653875 h 4178187"/>
                <a:gd name="connsiteX6955" fmla="*/ 837605 w 3009712"/>
                <a:gd name="connsiteY6955" fmla="*/ 653088 h 4178187"/>
                <a:gd name="connsiteX6956" fmla="*/ 837605 w 3009712"/>
                <a:gd name="connsiteY6956" fmla="*/ 653088 h 4178187"/>
                <a:gd name="connsiteX6957" fmla="*/ 832097 w 3009712"/>
                <a:gd name="connsiteY6957" fmla="*/ 655842 h 4178187"/>
                <a:gd name="connsiteX6958" fmla="*/ 828950 w 3009712"/>
                <a:gd name="connsiteY6958" fmla="*/ 656235 h 4178187"/>
                <a:gd name="connsiteX6959" fmla="*/ 826196 w 3009712"/>
                <a:gd name="connsiteY6959" fmla="*/ 656629 h 4178187"/>
                <a:gd name="connsiteX6960" fmla="*/ 823442 w 3009712"/>
                <a:gd name="connsiteY6960" fmla="*/ 656235 h 4178187"/>
                <a:gd name="connsiteX6961" fmla="*/ 820294 w 3009712"/>
                <a:gd name="connsiteY6961" fmla="*/ 656629 h 4178187"/>
                <a:gd name="connsiteX6962" fmla="*/ 817540 w 3009712"/>
                <a:gd name="connsiteY6962" fmla="*/ 657022 h 4178187"/>
                <a:gd name="connsiteX6963" fmla="*/ 818327 w 3009712"/>
                <a:gd name="connsiteY6963" fmla="*/ 658596 h 4178187"/>
                <a:gd name="connsiteX6964" fmla="*/ 821081 w 3009712"/>
                <a:gd name="connsiteY6964" fmla="*/ 657809 h 4178187"/>
                <a:gd name="connsiteX6965" fmla="*/ 824228 w 3009712"/>
                <a:gd name="connsiteY6965" fmla="*/ 658202 h 4178187"/>
                <a:gd name="connsiteX6966" fmla="*/ 817934 w 3009712"/>
                <a:gd name="connsiteY6966" fmla="*/ 659383 h 4178187"/>
                <a:gd name="connsiteX6967" fmla="*/ 815180 w 3009712"/>
                <a:gd name="connsiteY6967" fmla="*/ 661743 h 4178187"/>
                <a:gd name="connsiteX6968" fmla="*/ 817934 w 3009712"/>
                <a:gd name="connsiteY6968" fmla="*/ 661743 h 4178187"/>
                <a:gd name="connsiteX6969" fmla="*/ 821081 w 3009712"/>
                <a:gd name="connsiteY6969" fmla="*/ 662530 h 4178187"/>
                <a:gd name="connsiteX6970" fmla="*/ 823835 w 3009712"/>
                <a:gd name="connsiteY6970" fmla="*/ 661743 h 4178187"/>
                <a:gd name="connsiteX6971" fmla="*/ 826982 w 3009712"/>
                <a:gd name="connsiteY6971" fmla="*/ 660563 h 4178187"/>
                <a:gd name="connsiteX6972" fmla="*/ 827769 w 3009712"/>
                <a:gd name="connsiteY6972" fmla="*/ 663317 h 4178187"/>
                <a:gd name="connsiteX6973" fmla="*/ 830917 w 3009712"/>
                <a:gd name="connsiteY6973" fmla="*/ 660956 h 4178187"/>
                <a:gd name="connsiteX6974" fmla="*/ 833671 w 3009712"/>
                <a:gd name="connsiteY6974" fmla="*/ 658989 h 4178187"/>
                <a:gd name="connsiteX6975" fmla="*/ 836425 w 3009712"/>
                <a:gd name="connsiteY6975" fmla="*/ 655842 h 4178187"/>
                <a:gd name="connsiteX6976" fmla="*/ 839572 w 3009712"/>
                <a:gd name="connsiteY6976" fmla="*/ 655448 h 4178187"/>
                <a:gd name="connsiteX6977" fmla="*/ 836425 w 3009712"/>
                <a:gd name="connsiteY6977" fmla="*/ 656629 h 4178187"/>
                <a:gd name="connsiteX6978" fmla="*/ 834064 w 3009712"/>
                <a:gd name="connsiteY6978" fmla="*/ 659776 h 4178187"/>
                <a:gd name="connsiteX6979" fmla="*/ 832097 w 3009712"/>
                <a:gd name="connsiteY6979" fmla="*/ 662530 h 4178187"/>
                <a:gd name="connsiteX6980" fmla="*/ 834851 w 3009712"/>
                <a:gd name="connsiteY6980" fmla="*/ 662137 h 4178187"/>
                <a:gd name="connsiteX6981" fmla="*/ 837998 w 3009712"/>
                <a:gd name="connsiteY6981" fmla="*/ 662530 h 4178187"/>
                <a:gd name="connsiteX6982" fmla="*/ 840752 w 3009712"/>
                <a:gd name="connsiteY6982" fmla="*/ 663710 h 4178187"/>
                <a:gd name="connsiteX6983" fmla="*/ 843506 w 3009712"/>
                <a:gd name="connsiteY6983" fmla="*/ 661350 h 4178187"/>
                <a:gd name="connsiteX6984" fmla="*/ 846260 w 3009712"/>
                <a:gd name="connsiteY6984" fmla="*/ 659776 h 4178187"/>
                <a:gd name="connsiteX6985" fmla="*/ 849408 w 3009712"/>
                <a:gd name="connsiteY6985" fmla="*/ 658202 h 4178187"/>
                <a:gd name="connsiteX6986" fmla="*/ 852162 w 3009712"/>
                <a:gd name="connsiteY6986" fmla="*/ 656629 h 4178187"/>
                <a:gd name="connsiteX6987" fmla="*/ 854522 w 3009712"/>
                <a:gd name="connsiteY6987" fmla="*/ 653875 h 4178187"/>
                <a:gd name="connsiteX6988" fmla="*/ 854916 w 3009712"/>
                <a:gd name="connsiteY6988" fmla="*/ 650727 h 4178187"/>
                <a:gd name="connsiteX6989" fmla="*/ 857670 w 3009712"/>
                <a:gd name="connsiteY6989" fmla="*/ 649153 h 4178187"/>
                <a:gd name="connsiteX6990" fmla="*/ 860817 w 3009712"/>
                <a:gd name="connsiteY6990" fmla="*/ 646793 h 4178187"/>
                <a:gd name="connsiteX6991" fmla="*/ 859243 w 3009712"/>
                <a:gd name="connsiteY6991" fmla="*/ 649547 h 4178187"/>
                <a:gd name="connsiteX6992" fmla="*/ 858457 w 3009712"/>
                <a:gd name="connsiteY6992" fmla="*/ 649940 h 4178187"/>
                <a:gd name="connsiteX6993" fmla="*/ 855703 w 3009712"/>
                <a:gd name="connsiteY6993" fmla="*/ 652694 h 4178187"/>
                <a:gd name="connsiteX6994" fmla="*/ 853735 w 3009712"/>
                <a:gd name="connsiteY6994" fmla="*/ 655448 h 4178187"/>
                <a:gd name="connsiteX6995" fmla="*/ 851375 w 3009712"/>
                <a:gd name="connsiteY6995" fmla="*/ 658202 h 4178187"/>
                <a:gd name="connsiteX6996" fmla="*/ 848621 w 3009712"/>
                <a:gd name="connsiteY6996" fmla="*/ 659383 h 4178187"/>
                <a:gd name="connsiteX6997" fmla="*/ 845473 w 3009712"/>
                <a:gd name="connsiteY6997" fmla="*/ 660956 h 4178187"/>
                <a:gd name="connsiteX6998" fmla="*/ 842720 w 3009712"/>
                <a:gd name="connsiteY6998" fmla="*/ 662923 h 4178187"/>
                <a:gd name="connsiteX6999" fmla="*/ 841539 w 3009712"/>
                <a:gd name="connsiteY6999" fmla="*/ 665677 h 4178187"/>
                <a:gd name="connsiteX7000" fmla="*/ 844293 w 3009712"/>
                <a:gd name="connsiteY7000" fmla="*/ 663317 h 4178187"/>
                <a:gd name="connsiteX7001" fmla="*/ 843113 w 3009712"/>
                <a:gd name="connsiteY7001" fmla="*/ 666071 h 4178187"/>
                <a:gd name="connsiteX7002" fmla="*/ 845867 w 3009712"/>
                <a:gd name="connsiteY7002" fmla="*/ 666464 h 4178187"/>
                <a:gd name="connsiteX7003" fmla="*/ 848621 w 3009712"/>
                <a:gd name="connsiteY7003" fmla="*/ 665284 h 4178187"/>
                <a:gd name="connsiteX7004" fmla="*/ 847441 w 3009712"/>
                <a:gd name="connsiteY7004" fmla="*/ 666858 h 4178187"/>
                <a:gd name="connsiteX7005" fmla="*/ 847047 w 3009712"/>
                <a:gd name="connsiteY7005" fmla="*/ 666858 h 4178187"/>
                <a:gd name="connsiteX7006" fmla="*/ 844293 w 3009712"/>
                <a:gd name="connsiteY7006" fmla="*/ 669612 h 4178187"/>
                <a:gd name="connsiteX7007" fmla="*/ 845473 w 3009712"/>
                <a:gd name="connsiteY7007" fmla="*/ 669612 h 4178187"/>
                <a:gd name="connsiteX7008" fmla="*/ 841146 w 3009712"/>
                <a:gd name="connsiteY7008" fmla="*/ 676693 h 4178187"/>
                <a:gd name="connsiteX7009" fmla="*/ 840752 w 3009712"/>
                <a:gd name="connsiteY7009" fmla="*/ 676693 h 4178187"/>
                <a:gd name="connsiteX7010" fmla="*/ 838785 w 3009712"/>
                <a:gd name="connsiteY7010" fmla="*/ 676693 h 4178187"/>
                <a:gd name="connsiteX7011" fmla="*/ 838785 w 3009712"/>
                <a:gd name="connsiteY7011" fmla="*/ 678267 h 4178187"/>
                <a:gd name="connsiteX7012" fmla="*/ 841146 w 3009712"/>
                <a:gd name="connsiteY7012" fmla="*/ 681021 h 4178187"/>
                <a:gd name="connsiteX7013" fmla="*/ 841539 w 3009712"/>
                <a:gd name="connsiteY7013" fmla="*/ 683775 h 4178187"/>
                <a:gd name="connsiteX7014" fmla="*/ 844687 w 3009712"/>
                <a:gd name="connsiteY7014" fmla="*/ 684168 h 4178187"/>
                <a:gd name="connsiteX7015" fmla="*/ 847441 w 3009712"/>
                <a:gd name="connsiteY7015" fmla="*/ 683775 h 4178187"/>
                <a:gd name="connsiteX7016" fmla="*/ 850195 w 3009712"/>
                <a:gd name="connsiteY7016" fmla="*/ 683382 h 4178187"/>
                <a:gd name="connsiteX7017" fmla="*/ 853342 w 3009712"/>
                <a:gd name="connsiteY7017" fmla="*/ 681808 h 4178187"/>
                <a:gd name="connsiteX7018" fmla="*/ 856489 w 3009712"/>
                <a:gd name="connsiteY7018" fmla="*/ 679054 h 4178187"/>
                <a:gd name="connsiteX7019" fmla="*/ 856883 w 3009712"/>
                <a:gd name="connsiteY7019" fmla="*/ 682201 h 4178187"/>
                <a:gd name="connsiteX7020" fmla="*/ 857670 w 3009712"/>
                <a:gd name="connsiteY7020" fmla="*/ 679054 h 4178187"/>
                <a:gd name="connsiteX7021" fmla="*/ 859243 w 3009712"/>
                <a:gd name="connsiteY7021" fmla="*/ 676300 h 4178187"/>
                <a:gd name="connsiteX7022" fmla="*/ 860817 w 3009712"/>
                <a:gd name="connsiteY7022" fmla="*/ 676300 h 4178187"/>
                <a:gd name="connsiteX7023" fmla="*/ 860424 w 3009712"/>
                <a:gd name="connsiteY7023" fmla="*/ 676693 h 4178187"/>
                <a:gd name="connsiteX7024" fmla="*/ 860030 w 3009712"/>
                <a:gd name="connsiteY7024" fmla="*/ 679447 h 4178187"/>
                <a:gd name="connsiteX7025" fmla="*/ 856096 w 3009712"/>
                <a:gd name="connsiteY7025" fmla="*/ 684955 h 4178187"/>
                <a:gd name="connsiteX7026" fmla="*/ 858457 w 3009712"/>
                <a:gd name="connsiteY7026" fmla="*/ 687709 h 4178187"/>
                <a:gd name="connsiteX7027" fmla="*/ 861604 w 3009712"/>
                <a:gd name="connsiteY7027" fmla="*/ 687316 h 4178187"/>
                <a:gd name="connsiteX7028" fmla="*/ 864358 w 3009712"/>
                <a:gd name="connsiteY7028" fmla="*/ 686136 h 4178187"/>
                <a:gd name="connsiteX7029" fmla="*/ 861604 w 3009712"/>
                <a:gd name="connsiteY7029" fmla="*/ 687709 h 4178187"/>
                <a:gd name="connsiteX7030" fmla="*/ 858850 w 3009712"/>
                <a:gd name="connsiteY7030" fmla="*/ 688103 h 4178187"/>
                <a:gd name="connsiteX7031" fmla="*/ 855703 w 3009712"/>
                <a:gd name="connsiteY7031" fmla="*/ 689676 h 4178187"/>
                <a:gd name="connsiteX7032" fmla="*/ 853342 w 3009712"/>
                <a:gd name="connsiteY7032" fmla="*/ 692430 h 4178187"/>
                <a:gd name="connsiteX7033" fmla="*/ 854522 w 3009712"/>
                <a:gd name="connsiteY7033" fmla="*/ 689283 h 4178187"/>
                <a:gd name="connsiteX7034" fmla="*/ 854916 w 3009712"/>
                <a:gd name="connsiteY7034" fmla="*/ 686529 h 4178187"/>
                <a:gd name="connsiteX7035" fmla="*/ 852162 w 3009712"/>
                <a:gd name="connsiteY7035" fmla="*/ 685349 h 4178187"/>
                <a:gd name="connsiteX7036" fmla="*/ 849408 w 3009712"/>
                <a:gd name="connsiteY7036" fmla="*/ 687709 h 4178187"/>
                <a:gd name="connsiteX7037" fmla="*/ 849014 w 3009712"/>
                <a:gd name="connsiteY7037" fmla="*/ 690463 h 4178187"/>
                <a:gd name="connsiteX7038" fmla="*/ 850981 w 3009712"/>
                <a:gd name="connsiteY7038" fmla="*/ 693217 h 4178187"/>
                <a:gd name="connsiteX7039" fmla="*/ 853735 w 3009712"/>
                <a:gd name="connsiteY7039" fmla="*/ 694791 h 4178187"/>
                <a:gd name="connsiteX7040" fmla="*/ 856489 w 3009712"/>
                <a:gd name="connsiteY7040" fmla="*/ 696365 h 4178187"/>
                <a:gd name="connsiteX7041" fmla="*/ 859243 w 3009712"/>
                <a:gd name="connsiteY7041" fmla="*/ 694791 h 4178187"/>
                <a:gd name="connsiteX7042" fmla="*/ 860817 w 3009712"/>
                <a:gd name="connsiteY7042" fmla="*/ 692037 h 4178187"/>
                <a:gd name="connsiteX7043" fmla="*/ 863965 w 3009712"/>
                <a:gd name="connsiteY7043" fmla="*/ 690857 h 4178187"/>
                <a:gd name="connsiteX7044" fmla="*/ 864751 w 3009712"/>
                <a:gd name="connsiteY7044" fmla="*/ 690463 h 4178187"/>
                <a:gd name="connsiteX7045" fmla="*/ 864751 w 3009712"/>
                <a:gd name="connsiteY7045" fmla="*/ 691644 h 4178187"/>
                <a:gd name="connsiteX7046" fmla="*/ 864751 w 3009712"/>
                <a:gd name="connsiteY7046" fmla="*/ 691250 h 4178187"/>
                <a:gd name="connsiteX7047" fmla="*/ 861997 w 3009712"/>
                <a:gd name="connsiteY7047" fmla="*/ 693611 h 4178187"/>
                <a:gd name="connsiteX7048" fmla="*/ 865145 w 3009712"/>
                <a:gd name="connsiteY7048" fmla="*/ 692430 h 4178187"/>
                <a:gd name="connsiteX7049" fmla="*/ 865538 w 3009712"/>
                <a:gd name="connsiteY7049" fmla="*/ 698332 h 4178187"/>
                <a:gd name="connsiteX7050" fmla="*/ 865932 w 3009712"/>
                <a:gd name="connsiteY7050" fmla="*/ 698725 h 4178187"/>
                <a:gd name="connsiteX7051" fmla="*/ 868686 w 3009712"/>
                <a:gd name="connsiteY7051" fmla="*/ 699119 h 4178187"/>
                <a:gd name="connsiteX7052" fmla="*/ 868292 w 3009712"/>
                <a:gd name="connsiteY7052" fmla="*/ 699512 h 4178187"/>
                <a:gd name="connsiteX7053" fmla="*/ 864751 w 3009712"/>
                <a:gd name="connsiteY7053" fmla="*/ 699512 h 4178187"/>
                <a:gd name="connsiteX7054" fmla="*/ 863178 w 3009712"/>
                <a:gd name="connsiteY7054" fmla="*/ 702659 h 4178187"/>
                <a:gd name="connsiteX7055" fmla="*/ 861210 w 3009712"/>
                <a:gd name="connsiteY7055" fmla="*/ 702659 h 4178187"/>
                <a:gd name="connsiteX7056" fmla="*/ 861604 w 3009712"/>
                <a:gd name="connsiteY7056" fmla="*/ 705413 h 4178187"/>
                <a:gd name="connsiteX7057" fmla="*/ 864358 w 3009712"/>
                <a:gd name="connsiteY7057" fmla="*/ 704233 h 4178187"/>
                <a:gd name="connsiteX7058" fmla="*/ 863571 w 3009712"/>
                <a:gd name="connsiteY7058" fmla="*/ 704233 h 4178187"/>
                <a:gd name="connsiteX7059" fmla="*/ 861210 w 3009712"/>
                <a:gd name="connsiteY7059" fmla="*/ 705807 h 4178187"/>
                <a:gd name="connsiteX7060" fmla="*/ 859243 w 3009712"/>
                <a:gd name="connsiteY7060" fmla="*/ 708561 h 4178187"/>
                <a:gd name="connsiteX7061" fmla="*/ 860817 w 3009712"/>
                <a:gd name="connsiteY7061" fmla="*/ 708561 h 4178187"/>
                <a:gd name="connsiteX7062" fmla="*/ 867899 w 3009712"/>
                <a:gd name="connsiteY7062" fmla="*/ 708561 h 4178187"/>
                <a:gd name="connsiteX7063" fmla="*/ 866325 w 3009712"/>
                <a:gd name="connsiteY7063" fmla="*/ 710921 h 4178187"/>
                <a:gd name="connsiteX7064" fmla="*/ 865145 w 3009712"/>
                <a:gd name="connsiteY7064" fmla="*/ 713675 h 4178187"/>
                <a:gd name="connsiteX7065" fmla="*/ 865538 w 3009712"/>
                <a:gd name="connsiteY7065" fmla="*/ 714856 h 4178187"/>
                <a:gd name="connsiteX7066" fmla="*/ 861604 w 3009712"/>
                <a:gd name="connsiteY7066" fmla="*/ 725478 h 4178187"/>
                <a:gd name="connsiteX7067" fmla="*/ 860424 w 3009712"/>
                <a:gd name="connsiteY7067" fmla="*/ 725872 h 4178187"/>
                <a:gd name="connsiteX7068" fmla="*/ 857670 w 3009712"/>
                <a:gd name="connsiteY7068" fmla="*/ 725085 h 4178187"/>
                <a:gd name="connsiteX7069" fmla="*/ 857276 w 3009712"/>
                <a:gd name="connsiteY7069" fmla="*/ 728232 h 4178187"/>
                <a:gd name="connsiteX7070" fmla="*/ 857670 w 3009712"/>
                <a:gd name="connsiteY7070" fmla="*/ 728626 h 4178187"/>
                <a:gd name="connsiteX7071" fmla="*/ 854916 w 3009712"/>
                <a:gd name="connsiteY7071" fmla="*/ 730199 h 4178187"/>
                <a:gd name="connsiteX7072" fmla="*/ 851768 w 3009712"/>
                <a:gd name="connsiteY7072" fmla="*/ 732560 h 4178187"/>
                <a:gd name="connsiteX7073" fmla="*/ 850588 w 3009712"/>
                <a:gd name="connsiteY7073" fmla="*/ 735314 h 4178187"/>
                <a:gd name="connsiteX7074" fmla="*/ 850981 w 3009712"/>
                <a:gd name="connsiteY7074" fmla="*/ 738068 h 4178187"/>
                <a:gd name="connsiteX7075" fmla="*/ 850588 w 3009712"/>
                <a:gd name="connsiteY7075" fmla="*/ 740822 h 4178187"/>
                <a:gd name="connsiteX7076" fmla="*/ 850981 w 3009712"/>
                <a:gd name="connsiteY7076" fmla="*/ 741609 h 4178187"/>
                <a:gd name="connsiteX7077" fmla="*/ 847834 w 3009712"/>
                <a:gd name="connsiteY7077" fmla="*/ 744756 h 4178187"/>
                <a:gd name="connsiteX7078" fmla="*/ 847834 w 3009712"/>
                <a:gd name="connsiteY7078" fmla="*/ 743969 h 4178187"/>
                <a:gd name="connsiteX7079" fmla="*/ 844687 w 3009712"/>
                <a:gd name="connsiteY7079" fmla="*/ 745936 h 4178187"/>
                <a:gd name="connsiteX7080" fmla="*/ 841933 w 3009712"/>
                <a:gd name="connsiteY7080" fmla="*/ 747903 h 4178187"/>
                <a:gd name="connsiteX7081" fmla="*/ 839179 w 3009712"/>
                <a:gd name="connsiteY7081" fmla="*/ 750264 h 4178187"/>
                <a:gd name="connsiteX7082" fmla="*/ 836031 w 3009712"/>
                <a:gd name="connsiteY7082" fmla="*/ 752231 h 4178187"/>
                <a:gd name="connsiteX7083" fmla="*/ 833277 w 3009712"/>
                <a:gd name="connsiteY7083" fmla="*/ 753018 h 4178187"/>
                <a:gd name="connsiteX7084" fmla="*/ 830130 w 3009712"/>
                <a:gd name="connsiteY7084" fmla="*/ 754592 h 4178187"/>
                <a:gd name="connsiteX7085" fmla="*/ 827376 w 3009712"/>
                <a:gd name="connsiteY7085" fmla="*/ 756559 h 4178187"/>
                <a:gd name="connsiteX7086" fmla="*/ 826982 w 3009712"/>
                <a:gd name="connsiteY7086" fmla="*/ 756165 h 4178187"/>
                <a:gd name="connsiteX7087" fmla="*/ 827769 w 3009712"/>
                <a:gd name="connsiteY7087" fmla="*/ 755772 h 4178187"/>
                <a:gd name="connsiteX7088" fmla="*/ 830523 w 3009712"/>
                <a:gd name="connsiteY7088" fmla="*/ 753805 h 4178187"/>
                <a:gd name="connsiteX7089" fmla="*/ 833671 w 3009712"/>
                <a:gd name="connsiteY7089" fmla="*/ 752231 h 4178187"/>
                <a:gd name="connsiteX7090" fmla="*/ 836425 w 3009712"/>
                <a:gd name="connsiteY7090" fmla="*/ 749871 h 4178187"/>
                <a:gd name="connsiteX7091" fmla="*/ 839179 w 3009712"/>
                <a:gd name="connsiteY7091" fmla="*/ 748297 h 4178187"/>
                <a:gd name="connsiteX7092" fmla="*/ 836818 w 3009712"/>
                <a:gd name="connsiteY7092" fmla="*/ 751051 h 4178187"/>
                <a:gd name="connsiteX7093" fmla="*/ 840359 w 3009712"/>
                <a:gd name="connsiteY7093" fmla="*/ 748690 h 4178187"/>
                <a:gd name="connsiteX7094" fmla="*/ 843113 w 3009712"/>
                <a:gd name="connsiteY7094" fmla="*/ 746330 h 4178187"/>
                <a:gd name="connsiteX7095" fmla="*/ 846260 w 3009712"/>
                <a:gd name="connsiteY7095" fmla="*/ 744756 h 4178187"/>
                <a:gd name="connsiteX7096" fmla="*/ 846654 w 3009712"/>
                <a:gd name="connsiteY7096" fmla="*/ 742002 h 4178187"/>
                <a:gd name="connsiteX7097" fmla="*/ 846260 w 3009712"/>
                <a:gd name="connsiteY7097" fmla="*/ 739248 h 4178187"/>
                <a:gd name="connsiteX7098" fmla="*/ 847441 w 3009712"/>
                <a:gd name="connsiteY7098" fmla="*/ 736494 h 4178187"/>
                <a:gd name="connsiteX7099" fmla="*/ 844293 w 3009712"/>
                <a:gd name="connsiteY7099" fmla="*/ 738068 h 4178187"/>
                <a:gd name="connsiteX7100" fmla="*/ 842720 w 3009712"/>
                <a:gd name="connsiteY7100" fmla="*/ 740822 h 4178187"/>
                <a:gd name="connsiteX7101" fmla="*/ 841933 w 3009712"/>
                <a:gd name="connsiteY7101" fmla="*/ 737674 h 4178187"/>
                <a:gd name="connsiteX7102" fmla="*/ 839179 w 3009712"/>
                <a:gd name="connsiteY7102" fmla="*/ 739248 h 4178187"/>
                <a:gd name="connsiteX7103" fmla="*/ 837211 w 3009712"/>
                <a:gd name="connsiteY7103" fmla="*/ 736494 h 4178187"/>
                <a:gd name="connsiteX7104" fmla="*/ 834458 w 3009712"/>
                <a:gd name="connsiteY7104" fmla="*/ 737674 h 4178187"/>
                <a:gd name="connsiteX7105" fmla="*/ 832097 w 3009712"/>
                <a:gd name="connsiteY7105" fmla="*/ 737674 h 4178187"/>
                <a:gd name="connsiteX7106" fmla="*/ 829343 w 3009712"/>
                <a:gd name="connsiteY7106" fmla="*/ 737281 h 4178187"/>
                <a:gd name="connsiteX7107" fmla="*/ 826196 w 3009712"/>
                <a:gd name="connsiteY7107" fmla="*/ 736887 h 4178187"/>
                <a:gd name="connsiteX7108" fmla="*/ 823442 w 3009712"/>
                <a:gd name="connsiteY7108" fmla="*/ 736494 h 4178187"/>
                <a:gd name="connsiteX7109" fmla="*/ 820294 w 3009712"/>
                <a:gd name="connsiteY7109" fmla="*/ 736494 h 4178187"/>
                <a:gd name="connsiteX7110" fmla="*/ 817540 w 3009712"/>
                <a:gd name="connsiteY7110" fmla="*/ 736101 h 4178187"/>
                <a:gd name="connsiteX7111" fmla="*/ 814393 w 3009712"/>
                <a:gd name="connsiteY7111" fmla="*/ 734134 h 4178187"/>
                <a:gd name="connsiteX7112" fmla="*/ 811639 w 3009712"/>
                <a:gd name="connsiteY7112" fmla="*/ 733347 h 4178187"/>
                <a:gd name="connsiteX7113" fmla="*/ 808885 w 3009712"/>
                <a:gd name="connsiteY7113" fmla="*/ 731773 h 4178187"/>
                <a:gd name="connsiteX7114" fmla="*/ 806131 w 3009712"/>
                <a:gd name="connsiteY7114" fmla="*/ 729412 h 4178187"/>
                <a:gd name="connsiteX7115" fmla="*/ 802983 w 3009712"/>
                <a:gd name="connsiteY7115" fmla="*/ 729019 h 4178187"/>
                <a:gd name="connsiteX7116" fmla="*/ 801803 w 3009712"/>
                <a:gd name="connsiteY7116" fmla="*/ 732560 h 4178187"/>
                <a:gd name="connsiteX7117" fmla="*/ 800229 w 3009712"/>
                <a:gd name="connsiteY7117" fmla="*/ 734134 h 4178187"/>
                <a:gd name="connsiteX7118" fmla="*/ 797869 w 3009712"/>
                <a:gd name="connsiteY7118" fmla="*/ 737281 h 4178187"/>
                <a:gd name="connsiteX7119" fmla="*/ 796295 w 3009712"/>
                <a:gd name="connsiteY7119" fmla="*/ 740035 h 4178187"/>
                <a:gd name="connsiteX7120" fmla="*/ 795115 w 3009712"/>
                <a:gd name="connsiteY7120" fmla="*/ 743182 h 4178187"/>
                <a:gd name="connsiteX7121" fmla="*/ 795508 w 3009712"/>
                <a:gd name="connsiteY7121" fmla="*/ 745936 h 4178187"/>
                <a:gd name="connsiteX7122" fmla="*/ 795902 w 3009712"/>
                <a:gd name="connsiteY7122" fmla="*/ 749084 h 4178187"/>
                <a:gd name="connsiteX7123" fmla="*/ 795902 w 3009712"/>
                <a:gd name="connsiteY7123" fmla="*/ 749477 h 4178187"/>
                <a:gd name="connsiteX7124" fmla="*/ 792754 w 3009712"/>
                <a:gd name="connsiteY7124" fmla="*/ 758526 h 4178187"/>
                <a:gd name="connsiteX7125" fmla="*/ 791574 w 3009712"/>
                <a:gd name="connsiteY7125" fmla="*/ 760493 h 4178187"/>
                <a:gd name="connsiteX7126" fmla="*/ 791181 w 3009712"/>
                <a:gd name="connsiteY7126" fmla="*/ 763641 h 4178187"/>
                <a:gd name="connsiteX7127" fmla="*/ 790787 w 3009712"/>
                <a:gd name="connsiteY7127" fmla="*/ 764427 h 4178187"/>
                <a:gd name="connsiteX7128" fmla="*/ 790394 w 3009712"/>
                <a:gd name="connsiteY7128" fmla="*/ 767575 h 4178187"/>
                <a:gd name="connsiteX7129" fmla="*/ 787640 w 3009712"/>
                <a:gd name="connsiteY7129" fmla="*/ 773083 h 4178187"/>
                <a:gd name="connsiteX7130" fmla="*/ 786459 w 3009712"/>
                <a:gd name="connsiteY7130" fmla="*/ 776230 h 4178187"/>
                <a:gd name="connsiteX7131" fmla="*/ 788820 w 3009712"/>
                <a:gd name="connsiteY7131" fmla="*/ 773476 h 4178187"/>
                <a:gd name="connsiteX7132" fmla="*/ 791967 w 3009712"/>
                <a:gd name="connsiteY7132" fmla="*/ 775837 h 4178187"/>
                <a:gd name="connsiteX7133" fmla="*/ 794721 w 3009712"/>
                <a:gd name="connsiteY7133" fmla="*/ 776230 h 4178187"/>
                <a:gd name="connsiteX7134" fmla="*/ 793935 w 3009712"/>
                <a:gd name="connsiteY7134" fmla="*/ 776624 h 4178187"/>
                <a:gd name="connsiteX7135" fmla="*/ 790787 w 3009712"/>
                <a:gd name="connsiteY7135" fmla="*/ 777410 h 4178187"/>
                <a:gd name="connsiteX7136" fmla="*/ 788033 w 3009712"/>
                <a:gd name="connsiteY7136" fmla="*/ 778197 h 4178187"/>
                <a:gd name="connsiteX7137" fmla="*/ 784886 w 3009712"/>
                <a:gd name="connsiteY7137" fmla="*/ 778591 h 4178187"/>
                <a:gd name="connsiteX7138" fmla="*/ 783706 w 3009712"/>
                <a:gd name="connsiteY7138" fmla="*/ 781345 h 4178187"/>
                <a:gd name="connsiteX7139" fmla="*/ 783312 w 3009712"/>
                <a:gd name="connsiteY7139" fmla="*/ 784099 h 4178187"/>
                <a:gd name="connsiteX7140" fmla="*/ 784886 w 3009712"/>
                <a:gd name="connsiteY7140" fmla="*/ 786853 h 4178187"/>
                <a:gd name="connsiteX7141" fmla="*/ 783706 w 3009712"/>
                <a:gd name="connsiteY7141" fmla="*/ 788033 h 4178187"/>
                <a:gd name="connsiteX7142" fmla="*/ 782132 w 3009712"/>
                <a:gd name="connsiteY7142" fmla="*/ 791180 h 4178187"/>
                <a:gd name="connsiteX7143" fmla="*/ 779771 w 3009712"/>
                <a:gd name="connsiteY7143" fmla="*/ 793934 h 4178187"/>
                <a:gd name="connsiteX7144" fmla="*/ 777017 w 3009712"/>
                <a:gd name="connsiteY7144" fmla="*/ 795115 h 4178187"/>
                <a:gd name="connsiteX7145" fmla="*/ 778591 w 3009712"/>
                <a:gd name="connsiteY7145" fmla="*/ 791967 h 4178187"/>
                <a:gd name="connsiteX7146" fmla="*/ 779771 w 3009712"/>
                <a:gd name="connsiteY7146" fmla="*/ 789213 h 4178187"/>
                <a:gd name="connsiteX7147" fmla="*/ 778197 w 3009712"/>
                <a:gd name="connsiteY7147" fmla="*/ 791967 h 4178187"/>
                <a:gd name="connsiteX7148" fmla="*/ 776230 w 3009712"/>
                <a:gd name="connsiteY7148" fmla="*/ 794721 h 4178187"/>
                <a:gd name="connsiteX7149" fmla="*/ 775050 w 3009712"/>
                <a:gd name="connsiteY7149" fmla="*/ 797869 h 4178187"/>
                <a:gd name="connsiteX7150" fmla="*/ 778197 w 3009712"/>
                <a:gd name="connsiteY7150" fmla="*/ 799836 h 4178187"/>
                <a:gd name="connsiteX7151" fmla="*/ 780952 w 3009712"/>
                <a:gd name="connsiteY7151" fmla="*/ 798655 h 4178187"/>
                <a:gd name="connsiteX7152" fmla="*/ 783706 w 3009712"/>
                <a:gd name="connsiteY7152" fmla="*/ 799049 h 4178187"/>
                <a:gd name="connsiteX7153" fmla="*/ 786459 w 3009712"/>
                <a:gd name="connsiteY7153" fmla="*/ 799442 h 4178187"/>
                <a:gd name="connsiteX7154" fmla="*/ 789607 w 3009712"/>
                <a:gd name="connsiteY7154" fmla="*/ 800229 h 4178187"/>
                <a:gd name="connsiteX7155" fmla="*/ 791574 w 3009712"/>
                <a:gd name="connsiteY7155" fmla="*/ 802983 h 4178187"/>
                <a:gd name="connsiteX7156" fmla="*/ 793935 w 3009712"/>
                <a:gd name="connsiteY7156" fmla="*/ 802590 h 4178187"/>
                <a:gd name="connsiteX7157" fmla="*/ 791181 w 3009712"/>
                <a:gd name="connsiteY7157" fmla="*/ 804163 h 4178187"/>
                <a:gd name="connsiteX7158" fmla="*/ 788033 w 3009712"/>
                <a:gd name="connsiteY7158" fmla="*/ 802983 h 4178187"/>
                <a:gd name="connsiteX7159" fmla="*/ 785279 w 3009712"/>
                <a:gd name="connsiteY7159" fmla="*/ 801409 h 4178187"/>
                <a:gd name="connsiteX7160" fmla="*/ 782525 w 3009712"/>
                <a:gd name="connsiteY7160" fmla="*/ 802196 h 4178187"/>
                <a:gd name="connsiteX7161" fmla="*/ 779771 w 3009712"/>
                <a:gd name="connsiteY7161" fmla="*/ 801409 h 4178187"/>
                <a:gd name="connsiteX7162" fmla="*/ 776624 w 3009712"/>
                <a:gd name="connsiteY7162" fmla="*/ 802983 h 4178187"/>
                <a:gd name="connsiteX7163" fmla="*/ 773476 w 3009712"/>
                <a:gd name="connsiteY7163" fmla="*/ 802590 h 4178187"/>
                <a:gd name="connsiteX7164" fmla="*/ 772690 w 3009712"/>
                <a:gd name="connsiteY7164" fmla="*/ 805344 h 4178187"/>
                <a:gd name="connsiteX7165" fmla="*/ 771116 w 3009712"/>
                <a:gd name="connsiteY7165" fmla="*/ 808491 h 4178187"/>
                <a:gd name="connsiteX7166" fmla="*/ 767968 w 3009712"/>
                <a:gd name="connsiteY7166" fmla="*/ 810458 h 4178187"/>
                <a:gd name="connsiteX7167" fmla="*/ 766788 w 3009712"/>
                <a:gd name="connsiteY7167" fmla="*/ 813212 h 4178187"/>
                <a:gd name="connsiteX7168" fmla="*/ 764428 w 3009712"/>
                <a:gd name="connsiteY7168" fmla="*/ 815966 h 4178187"/>
                <a:gd name="connsiteX7169" fmla="*/ 764428 w 3009712"/>
                <a:gd name="connsiteY7169" fmla="*/ 819114 h 4178187"/>
                <a:gd name="connsiteX7170" fmla="*/ 761674 w 3009712"/>
                <a:gd name="connsiteY7170" fmla="*/ 821868 h 4178187"/>
                <a:gd name="connsiteX7171" fmla="*/ 762067 w 3009712"/>
                <a:gd name="connsiteY7171" fmla="*/ 825015 h 4178187"/>
                <a:gd name="connsiteX7172" fmla="*/ 758920 w 3009712"/>
                <a:gd name="connsiteY7172" fmla="*/ 825408 h 4178187"/>
                <a:gd name="connsiteX7173" fmla="*/ 755379 w 3009712"/>
                <a:gd name="connsiteY7173" fmla="*/ 830916 h 4178187"/>
                <a:gd name="connsiteX7174" fmla="*/ 753018 w 3009712"/>
                <a:gd name="connsiteY7174" fmla="*/ 834064 h 4178187"/>
                <a:gd name="connsiteX7175" fmla="*/ 751051 w 3009712"/>
                <a:gd name="connsiteY7175" fmla="*/ 836818 h 4178187"/>
                <a:gd name="connsiteX7176" fmla="*/ 748297 w 3009712"/>
                <a:gd name="connsiteY7176" fmla="*/ 839572 h 4178187"/>
                <a:gd name="connsiteX7177" fmla="*/ 746330 w 3009712"/>
                <a:gd name="connsiteY7177" fmla="*/ 842326 h 4178187"/>
                <a:gd name="connsiteX7178" fmla="*/ 743969 w 3009712"/>
                <a:gd name="connsiteY7178" fmla="*/ 845080 h 4178187"/>
                <a:gd name="connsiteX7179" fmla="*/ 741215 w 3009712"/>
                <a:gd name="connsiteY7179" fmla="*/ 848227 h 4178187"/>
                <a:gd name="connsiteX7180" fmla="*/ 739642 w 3009712"/>
                <a:gd name="connsiteY7180" fmla="*/ 850981 h 4178187"/>
                <a:gd name="connsiteX7181" fmla="*/ 739248 w 3009712"/>
                <a:gd name="connsiteY7181" fmla="*/ 852948 h 4178187"/>
                <a:gd name="connsiteX7182" fmla="*/ 738462 w 3009712"/>
                <a:gd name="connsiteY7182" fmla="*/ 854129 h 4178187"/>
                <a:gd name="connsiteX7183" fmla="*/ 736101 w 3009712"/>
                <a:gd name="connsiteY7183" fmla="*/ 855309 h 4178187"/>
                <a:gd name="connsiteX7184" fmla="*/ 733740 w 3009712"/>
                <a:gd name="connsiteY7184" fmla="*/ 858063 h 4178187"/>
                <a:gd name="connsiteX7185" fmla="*/ 732167 w 3009712"/>
                <a:gd name="connsiteY7185" fmla="*/ 861210 h 4178187"/>
                <a:gd name="connsiteX7186" fmla="*/ 729413 w 3009712"/>
                <a:gd name="connsiteY7186" fmla="*/ 864358 h 4178187"/>
                <a:gd name="connsiteX7187" fmla="*/ 727839 w 3009712"/>
                <a:gd name="connsiteY7187" fmla="*/ 867112 h 4178187"/>
                <a:gd name="connsiteX7188" fmla="*/ 725478 w 3009712"/>
                <a:gd name="connsiteY7188" fmla="*/ 870259 h 4178187"/>
                <a:gd name="connsiteX7189" fmla="*/ 723511 w 3009712"/>
                <a:gd name="connsiteY7189" fmla="*/ 873013 h 4178187"/>
                <a:gd name="connsiteX7190" fmla="*/ 721544 w 3009712"/>
                <a:gd name="connsiteY7190" fmla="*/ 876160 h 4178187"/>
                <a:gd name="connsiteX7191" fmla="*/ 719184 w 3009712"/>
                <a:gd name="connsiteY7191" fmla="*/ 878914 h 4178187"/>
                <a:gd name="connsiteX7192" fmla="*/ 716823 w 3009712"/>
                <a:gd name="connsiteY7192" fmla="*/ 881668 h 4178187"/>
                <a:gd name="connsiteX7193" fmla="*/ 715249 w 3009712"/>
                <a:gd name="connsiteY7193" fmla="*/ 884422 h 4178187"/>
                <a:gd name="connsiteX7194" fmla="*/ 713676 w 3009712"/>
                <a:gd name="connsiteY7194" fmla="*/ 885603 h 4178187"/>
                <a:gd name="connsiteX7195" fmla="*/ 711315 w 3009712"/>
                <a:gd name="connsiteY7195" fmla="*/ 888357 h 4178187"/>
                <a:gd name="connsiteX7196" fmla="*/ 708561 w 3009712"/>
                <a:gd name="connsiteY7196" fmla="*/ 891504 h 4178187"/>
                <a:gd name="connsiteX7197" fmla="*/ 706200 w 3009712"/>
                <a:gd name="connsiteY7197" fmla="*/ 894258 h 4178187"/>
                <a:gd name="connsiteX7198" fmla="*/ 708561 w 3009712"/>
                <a:gd name="connsiteY7198" fmla="*/ 892684 h 4178187"/>
                <a:gd name="connsiteX7199" fmla="*/ 705807 w 3009712"/>
                <a:gd name="connsiteY7199" fmla="*/ 895045 h 4178187"/>
                <a:gd name="connsiteX7200" fmla="*/ 705020 w 3009712"/>
                <a:gd name="connsiteY7200" fmla="*/ 895045 h 4178187"/>
                <a:gd name="connsiteX7201" fmla="*/ 702660 w 3009712"/>
                <a:gd name="connsiteY7201" fmla="*/ 897799 h 4178187"/>
                <a:gd name="connsiteX7202" fmla="*/ 703446 w 3009712"/>
                <a:gd name="connsiteY7202" fmla="*/ 895832 h 4178187"/>
                <a:gd name="connsiteX7203" fmla="*/ 700299 w 3009712"/>
                <a:gd name="connsiteY7203" fmla="*/ 898192 h 4178187"/>
                <a:gd name="connsiteX7204" fmla="*/ 697939 w 3009712"/>
                <a:gd name="connsiteY7204" fmla="*/ 901340 h 4178187"/>
                <a:gd name="connsiteX7205" fmla="*/ 695578 w 3009712"/>
                <a:gd name="connsiteY7205" fmla="*/ 904094 h 4178187"/>
                <a:gd name="connsiteX7206" fmla="*/ 693217 w 3009712"/>
                <a:gd name="connsiteY7206" fmla="*/ 907241 h 4178187"/>
                <a:gd name="connsiteX7207" fmla="*/ 690463 w 3009712"/>
                <a:gd name="connsiteY7207" fmla="*/ 909602 h 4178187"/>
                <a:gd name="connsiteX7208" fmla="*/ 687709 w 3009712"/>
                <a:gd name="connsiteY7208" fmla="*/ 912356 h 4178187"/>
                <a:gd name="connsiteX7209" fmla="*/ 686529 w 3009712"/>
                <a:gd name="connsiteY7209" fmla="*/ 915110 h 4178187"/>
                <a:gd name="connsiteX7210" fmla="*/ 686923 w 3009712"/>
                <a:gd name="connsiteY7210" fmla="*/ 917864 h 4178187"/>
                <a:gd name="connsiteX7211" fmla="*/ 686136 w 3009712"/>
                <a:gd name="connsiteY7211" fmla="*/ 920618 h 4178187"/>
                <a:gd name="connsiteX7212" fmla="*/ 683775 w 3009712"/>
                <a:gd name="connsiteY7212" fmla="*/ 923765 h 4178187"/>
                <a:gd name="connsiteX7213" fmla="*/ 681808 w 3009712"/>
                <a:gd name="connsiteY7213" fmla="*/ 926912 h 4178187"/>
                <a:gd name="connsiteX7214" fmla="*/ 679841 w 3009712"/>
                <a:gd name="connsiteY7214" fmla="*/ 929273 h 4178187"/>
                <a:gd name="connsiteX7215" fmla="*/ 678661 w 3009712"/>
                <a:gd name="connsiteY7215" fmla="*/ 932420 h 4178187"/>
                <a:gd name="connsiteX7216" fmla="*/ 678267 w 3009712"/>
                <a:gd name="connsiteY7216" fmla="*/ 935174 h 4178187"/>
                <a:gd name="connsiteX7217" fmla="*/ 678267 w 3009712"/>
                <a:gd name="connsiteY7217" fmla="*/ 937928 h 4178187"/>
                <a:gd name="connsiteX7218" fmla="*/ 679448 w 3009712"/>
                <a:gd name="connsiteY7218" fmla="*/ 940682 h 4178187"/>
                <a:gd name="connsiteX7219" fmla="*/ 679054 w 3009712"/>
                <a:gd name="connsiteY7219" fmla="*/ 941469 h 4178187"/>
                <a:gd name="connsiteX7220" fmla="*/ 677087 w 3009712"/>
                <a:gd name="connsiteY7220" fmla="*/ 944617 h 4178187"/>
                <a:gd name="connsiteX7221" fmla="*/ 674333 w 3009712"/>
                <a:gd name="connsiteY7221" fmla="*/ 947371 h 4178187"/>
                <a:gd name="connsiteX7222" fmla="*/ 675513 w 3009712"/>
                <a:gd name="connsiteY7222" fmla="*/ 950125 h 4178187"/>
                <a:gd name="connsiteX7223" fmla="*/ 674333 w 3009712"/>
                <a:gd name="connsiteY7223" fmla="*/ 952879 h 4178187"/>
                <a:gd name="connsiteX7224" fmla="*/ 673939 w 3009712"/>
                <a:gd name="connsiteY7224" fmla="*/ 955633 h 4178187"/>
                <a:gd name="connsiteX7225" fmla="*/ 649941 w 3009712"/>
                <a:gd name="connsiteY7225" fmla="*/ 986320 h 4178187"/>
                <a:gd name="connsiteX7226" fmla="*/ 648367 w 3009712"/>
                <a:gd name="connsiteY7226" fmla="*/ 987894 h 4178187"/>
                <a:gd name="connsiteX7227" fmla="*/ 646006 w 3009712"/>
                <a:gd name="connsiteY7227" fmla="*/ 990647 h 4178187"/>
                <a:gd name="connsiteX7228" fmla="*/ 644039 w 3009712"/>
                <a:gd name="connsiteY7228" fmla="*/ 993795 h 4178187"/>
                <a:gd name="connsiteX7229" fmla="*/ 643646 w 3009712"/>
                <a:gd name="connsiteY7229" fmla="*/ 996549 h 4178187"/>
                <a:gd name="connsiteX7230" fmla="*/ 642072 w 3009712"/>
                <a:gd name="connsiteY7230" fmla="*/ 999303 h 4178187"/>
                <a:gd name="connsiteX7231" fmla="*/ 644039 w 3009712"/>
                <a:gd name="connsiteY7231" fmla="*/ 1002450 h 4178187"/>
                <a:gd name="connsiteX7232" fmla="*/ 646006 w 3009712"/>
                <a:gd name="connsiteY7232" fmla="*/ 1005204 h 4178187"/>
                <a:gd name="connsiteX7233" fmla="*/ 646400 w 3009712"/>
                <a:gd name="connsiteY7233" fmla="*/ 1007958 h 4178187"/>
                <a:gd name="connsiteX7234" fmla="*/ 647187 w 3009712"/>
                <a:gd name="connsiteY7234" fmla="*/ 1011499 h 4178187"/>
                <a:gd name="connsiteX7235" fmla="*/ 646793 w 3009712"/>
                <a:gd name="connsiteY7235" fmla="*/ 1015433 h 4178187"/>
                <a:gd name="connsiteX7236" fmla="*/ 646400 w 3009712"/>
                <a:gd name="connsiteY7236" fmla="*/ 1016220 h 4178187"/>
                <a:gd name="connsiteX7237" fmla="*/ 646006 w 3009712"/>
                <a:gd name="connsiteY7237" fmla="*/ 1018974 h 4178187"/>
                <a:gd name="connsiteX7238" fmla="*/ 644433 w 3009712"/>
                <a:gd name="connsiteY7238" fmla="*/ 1021728 h 4178187"/>
                <a:gd name="connsiteX7239" fmla="*/ 642465 w 3009712"/>
                <a:gd name="connsiteY7239" fmla="*/ 1024876 h 4178187"/>
                <a:gd name="connsiteX7240" fmla="*/ 640498 w 3009712"/>
                <a:gd name="connsiteY7240" fmla="*/ 1027630 h 4178187"/>
                <a:gd name="connsiteX7241" fmla="*/ 638925 w 3009712"/>
                <a:gd name="connsiteY7241" fmla="*/ 1030384 h 4178187"/>
                <a:gd name="connsiteX7242" fmla="*/ 638531 w 3009712"/>
                <a:gd name="connsiteY7242" fmla="*/ 1033138 h 4178187"/>
                <a:gd name="connsiteX7243" fmla="*/ 638138 w 3009712"/>
                <a:gd name="connsiteY7243" fmla="*/ 1036285 h 4178187"/>
                <a:gd name="connsiteX7244" fmla="*/ 637351 w 3009712"/>
                <a:gd name="connsiteY7244" fmla="*/ 1039039 h 4178187"/>
                <a:gd name="connsiteX7245" fmla="*/ 635777 w 3009712"/>
                <a:gd name="connsiteY7245" fmla="*/ 1042186 h 4178187"/>
                <a:gd name="connsiteX7246" fmla="*/ 634597 w 3009712"/>
                <a:gd name="connsiteY7246" fmla="*/ 1044940 h 4178187"/>
                <a:gd name="connsiteX7247" fmla="*/ 636171 w 3009712"/>
                <a:gd name="connsiteY7247" fmla="*/ 1047694 h 4178187"/>
                <a:gd name="connsiteX7248" fmla="*/ 637744 w 3009712"/>
                <a:gd name="connsiteY7248" fmla="*/ 1050448 h 4178187"/>
                <a:gd name="connsiteX7249" fmla="*/ 638138 w 3009712"/>
                <a:gd name="connsiteY7249" fmla="*/ 1053202 h 4178187"/>
                <a:gd name="connsiteX7250" fmla="*/ 639318 w 3009712"/>
                <a:gd name="connsiteY7250" fmla="*/ 1056350 h 4178187"/>
                <a:gd name="connsiteX7251" fmla="*/ 642072 w 3009712"/>
                <a:gd name="connsiteY7251" fmla="*/ 1059104 h 4178187"/>
                <a:gd name="connsiteX7252" fmla="*/ 642465 w 3009712"/>
                <a:gd name="connsiteY7252" fmla="*/ 1060677 h 4178187"/>
                <a:gd name="connsiteX7253" fmla="*/ 642072 w 3009712"/>
                <a:gd name="connsiteY7253" fmla="*/ 1064612 h 4178187"/>
                <a:gd name="connsiteX7254" fmla="*/ 643646 w 3009712"/>
                <a:gd name="connsiteY7254" fmla="*/ 1066185 h 4178187"/>
                <a:gd name="connsiteX7255" fmla="*/ 644039 w 3009712"/>
                <a:gd name="connsiteY7255" fmla="*/ 1068939 h 4178187"/>
                <a:gd name="connsiteX7256" fmla="*/ 644433 w 3009712"/>
                <a:gd name="connsiteY7256" fmla="*/ 1071693 h 4178187"/>
                <a:gd name="connsiteX7257" fmla="*/ 642859 w 3009712"/>
                <a:gd name="connsiteY7257" fmla="*/ 1068939 h 4178187"/>
                <a:gd name="connsiteX7258" fmla="*/ 640498 w 3009712"/>
                <a:gd name="connsiteY7258" fmla="*/ 1071693 h 4178187"/>
                <a:gd name="connsiteX7259" fmla="*/ 638138 w 3009712"/>
                <a:gd name="connsiteY7259" fmla="*/ 1074841 h 4178187"/>
                <a:gd name="connsiteX7260" fmla="*/ 640892 w 3009712"/>
                <a:gd name="connsiteY7260" fmla="*/ 1072480 h 4178187"/>
                <a:gd name="connsiteX7261" fmla="*/ 644039 w 3009712"/>
                <a:gd name="connsiteY7261" fmla="*/ 1074841 h 4178187"/>
                <a:gd name="connsiteX7262" fmla="*/ 644826 w 3009712"/>
                <a:gd name="connsiteY7262" fmla="*/ 1077595 h 4178187"/>
                <a:gd name="connsiteX7263" fmla="*/ 647973 w 3009712"/>
                <a:gd name="connsiteY7263" fmla="*/ 1079168 h 4178187"/>
                <a:gd name="connsiteX7264" fmla="*/ 650727 w 3009712"/>
                <a:gd name="connsiteY7264" fmla="*/ 1079562 h 4178187"/>
                <a:gd name="connsiteX7265" fmla="*/ 653088 w 3009712"/>
                <a:gd name="connsiteY7265" fmla="*/ 1074054 h 4178187"/>
                <a:gd name="connsiteX7266" fmla="*/ 655055 w 3009712"/>
                <a:gd name="connsiteY7266" fmla="*/ 1070907 h 4178187"/>
                <a:gd name="connsiteX7267" fmla="*/ 656235 w 3009712"/>
                <a:gd name="connsiteY7267" fmla="*/ 1070120 h 4178187"/>
                <a:gd name="connsiteX7268" fmla="*/ 659776 w 3009712"/>
                <a:gd name="connsiteY7268" fmla="*/ 1071693 h 4178187"/>
                <a:gd name="connsiteX7269" fmla="*/ 660563 w 3009712"/>
                <a:gd name="connsiteY7269" fmla="*/ 1072480 h 4178187"/>
                <a:gd name="connsiteX7270" fmla="*/ 661350 w 3009712"/>
                <a:gd name="connsiteY7270" fmla="*/ 1072874 h 4178187"/>
                <a:gd name="connsiteX7271" fmla="*/ 658202 w 3009712"/>
                <a:gd name="connsiteY7271" fmla="*/ 1074447 h 4178187"/>
                <a:gd name="connsiteX7272" fmla="*/ 655449 w 3009712"/>
                <a:gd name="connsiteY7272" fmla="*/ 1076021 h 4178187"/>
                <a:gd name="connsiteX7273" fmla="*/ 655842 w 3009712"/>
                <a:gd name="connsiteY7273" fmla="*/ 1078775 h 4178187"/>
                <a:gd name="connsiteX7274" fmla="*/ 654268 w 3009712"/>
                <a:gd name="connsiteY7274" fmla="*/ 1081529 h 4178187"/>
                <a:gd name="connsiteX7275" fmla="*/ 655449 w 3009712"/>
                <a:gd name="connsiteY7275" fmla="*/ 1084676 h 4178187"/>
                <a:gd name="connsiteX7276" fmla="*/ 656235 w 3009712"/>
                <a:gd name="connsiteY7276" fmla="*/ 1087430 h 4178187"/>
                <a:gd name="connsiteX7277" fmla="*/ 655449 w 3009712"/>
                <a:gd name="connsiteY7277" fmla="*/ 1090578 h 4178187"/>
                <a:gd name="connsiteX7278" fmla="*/ 654662 w 3009712"/>
                <a:gd name="connsiteY7278" fmla="*/ 1093332 h 4178187"/>
                <a:gd name="connsiteX7279" fmla="*/ 652301 w 3009712"/>
                <a:gd name="connsiteY7279" fmla="*/ 1090184 h 4178187"/>
                <a:gd name="connsiteX7280" fmla="*/ 649941 w 3009712"/>
                <a:gd name="connsiteY7280" fmla="*/ 1087430 h 4178187"/>
                <a:gd name="connsiteX7281" fmla="*/ 651514 w 3009712"/>
                <a:gd name="connsiteY7281" fmla="*/ 1084676 h 4178187"/>
                <a:gd name="connsiteX7282" fmla="*/ 651908 w 3009712"/>
                <a:gd name="connsiteY7282" fmla="*/ 1081922 h 4178187"/>
                <a:gd name="connsiteX7283" fmla="*/ 649154 w 3009712"/>
                <a:gd name="connsiteY7283" fmla="*/ 1082709 h 4178187"/>
                <a:gd name="connsiteX7284" fmla="*/ 647580 w 3009712"/>
                <a:gd name="connsiteY7284" fmla="*/ 1085857 h 4178187"/>
                <a:gd name="connsiteX7285" fmla="*/ 646006 w 3009712"/>
                <a:gd name="connsiteY7285" fmla="*/ 1088611 h 4178187"/>
                <a:gd name="connsiteX7286" fmla="*/ 644433 w 3009712"/>
                <a:gd name="connsiteY7286" fmla="*/ 1091365 h 4178187"/>
                <a:gd name="connsiteX7287" fmla="*/ 645219 w 3009712"/>
                <a:gd name="connsiteY7287" fmla="*/ 1094119 h 4178187"/>
                <a:gd name="connsiteX7288" fmla="*/ 644826 w 3009712"/>
                <a:gd name="connsiteY7288" fmla="*/ 1096873 h 4178187"/>
                <a:gd name="connsiteX7289" fmla="*/ 643252 w 3009712"/>
                <a:gd name="connsiteY7289" fmla="*/ 1100020 h 4178187"/>
                <a:gd name="connsiteX7290" fmla="*/ 642859 w 3009712"/>
                <a:gd name="connsiteY7290" fmla="*/ 1102774 h 4178187"/>
                <a:gd name="connsiteX7291" fmla="*/ 644433 w 3009712"/>
                <a:gd name="connsiteY7291" fmla="*/ 1105528 h 4178187"/>
                <a:gd name="connsiteX7292" fmla="*/ 645613 w 3009712"/>
                <a:gd name="connsiteY7292" fmla="*/ 1108282 h 4178187"/>
                <a:gd name="connsiteX7293" fmla="*/ 648367 w 3009712"/>
                <a:gd name="connsiteY7293" fmla="*/ 1110249 h 4178187"/>
                <a:gd name="connsiteX7294" fmla="*/ 653088 w 3009712"/>
                <a:gd name="connsiteY7294" fmla="*/ 1117724 h 4178187"/>
                <a:gd name="connsiteX7295" fmla="*/ 652694 w 3009712"/>
                <a:gd name="connsiteY7295" fmla="*/ 1117724 h 4178187"/>
                <a:gd name="connsiteX7296" fmla="*/ 650727 w 3009712"/>
                <a:gd name="connsiteY7296" fmla="*/ 1119298 h 4178187"/>
                <a:gd name="connsiteX7297" fmla="*/ 647973 w 3009712"/>
                <a:gd name="connsiteY7297" fmla="*/ 1121659 h 4178187"/>
                <a:gd name="connsiteX7298" fmla="*/ 645219 w 3009712"/>
                <a:gd name="connsiteY7298" fmla="*/ 1122445 h 4178187"/>
                <a:gd name="connsiteX7299" fmla="*/ 644826 w 3009712"/>
                <a:gd name="connsiteY7299" fmla="*/ 1125199 h 4178187"/>
                <a:gd name="connsiteX7300" fmla="*/ 644433 w 3009712"/>
                <a:gd name="connsiteY7300" fmla="*/ 1128347 h 4178187"/>
                <a:gd name="connsiteX7301" fmla="*/ 643646 w 3009712"/>
                <a:gd name="connsiteY7301" fmla="*/ 1131101 h 4178187"/>
                <a:gd name="connsiteX7302" fmla="*/ 644039 w 3009712"/>
                <a:gd name="connsiteY7302" fmla="*/ 1133855 h 4178187"/>
                <a:gd name="connsiteX7303" fmla="*/ 647187 w 3009712"/>
                <a:gd name="connsiteY7303" fmla="*/ 1136215 h 4178187"/>
                <a:gd name="connsiteX7304" fmla="*/ 647580 w 3009712"/>
                <a:gd name="connsiteY7304" fmla="*/ 1138969 h 4178187"/>
                <a:gd name="connsiteX7305" fmla="*/ 649154 w 3009712"/>
                <a:gd name="connsiteY7305" fmla="*/ 1141723 h 4178187"/>
                <a:gd name="connsiteX7306" fmla="*/ 648760 w 3009712"/>
                <a:gd name="connsiteY7306" fmla="*/ 1144871 h 4178187"/>
                <a:gd name="connsiteX7307" fmla="*/ 649154 w 3009712"/>
                <a:gd name="connsiteY7307" fmla="*/ 1147625 h 4178187"/>
                <a:gd name="connsiteX7308" fmla="*/ 650334 w 3009712"/>
                <a:gd name="connsiteY7308" fmla="*/ 1150379 h 4178187"/>
                <a:gd name="connsiteX7309" fmla="*/ 649941 w 3009712"/>
                <a:gd name="connsiteY7309" fmla="*/ 1153526 h 4178187"/>
                <a:gd name="connsiteX7310" fmla="*/ 653088 w 3009712"/>
                <a:gd name="connsiteY7310" fmla="*/ 1154313 h 4178187"/>
                <a:gd name="connsiteX7311" fmla="*/ 653481 w 3009712"/>
                <a:gd name="connsiteY7311" fmla="*/ 1157067 h 4178187"/>
                <a:gd name="connsiteX7312" fmla="*/ 655055 w 3009712"/>
                <a:gd name="connsiteY7312" fmla="*/ 1160214 h 4178187"/>
                <a:gd name="connsiteX7313" fmla="*/ 657809 w 3009712"/>
                <a:gd name="connsiteY7313" fmla="*/ 1161788 h 4178187"/>
                <a:gd name="connsiteX7314" fmla="*/ 656629 w 3009712"/>
                <a:gd name="connsiteY7314" fmla="*/ 1164542 h 4178187"/>
                <a:gd name="connsiteX7315" fmla="*/ 654662 w 3009712"/>
                <a:gd name="connsiteY7315" fmla="*/ 1167689 h 4178187"/>
                <a:gd name="connsiteX7316" fmla="*/ 657022 w 3009712"/>
                <a:gd name="connsiteY7316" fmla="*/ 1170443 h 4178187"/>
                <a:gd name="connsiteX7317" fmla="*/ 658989 w 3009712"/>
                <a:gd name="connsiteY7317" fmla="*/ 1170837 h 4178187"/>
                <a:gd name="connsiteX7318" fmla="*/ 659383 w 3009712"/>
                <a:gd name="connsiteY7318" fmla="*/ 1173984 h 4178187"/>
                <a:gd name="connsiteX7319" fmla="*/ 659383 w 3009712"/>
                <a:gd name="connsiteY7319" fmla="*/ 1174378 h 4178187"/>
                <a:gd name="connsiteX7320" fmla="*/ 657022 w 3009712"/>
                <a:gd name="connsiteY7320" fmla="*/ 1177132 h 4178187"/>
                <a:gd name="connsiteX7321" fmla="*/ 656235 w 3009712"/>
                <a:gd name="connsiteY7321" fmla="*/ 1179886 h 4178187"/>
                <a:gd name="connsiteX7322" fmla="*/ 655055 w 3009712"/>
                <a:gd name="connsiteY7322" fmla="*/ 1183033 h 4178187"/>
                <a:gd name="connsiteX7323" fmla="*/ 654662 w 3009712"/>
                <a:gd name="connsiteY7323" fmla="*/ 1185787 h 4178187"/>
                <a:gd name="connsiteX7324" fmla="*/ 652301 w 3009712"/>
                <a:gd name="connsiteY7324" fmla="*/ 1188541 h 4178187"/>
                <a:gd name="connsiteX7325" fmla="*/ 653875 w 3009712"/>
                <a:gd name="connsiteY7325" fmla="*/ 1191688 h 4178187"/>
                <a:gd name="connsiteX7326" fmla="*/ 655449 w 3009712"/>
                <a:gd name="connsiteY7326" fmla="*/ 1194442 h 4178187"/>
                <a:gd name="connsiteX7327" fmla="*/ 658596 w 3009712"/>
                <a:gd name="connsiteY7327" fmla="*/ 1194049 h 4178187"/>
                <a:gd name="connsiteX7328" fmla="*/ 664497 w 3009712"/>
                <a:gd name="connsiteY7328" fmla="*/ 1194049 h 4178187"/>
                <a:gd name="connsiteX7329" fmla="*/ 667251 w 3009712"/>
                <a:gd name="connsiteY7329" fmla="*/ 1194442 h 4178187"/>
                <a:gd name="connsiteX7330" fmla="*/ 668825 w 3009712"/>
                <a:gd name="connsiteY7330" fmla="*/ 1195229 h 4178187"/>
                <a:gd name="connsiteX7331" fmla="*/ 668825 w 3009712"/>
                <a:gd name="connsiteY7331" fmla="*/ 1195229 h 4178187"/>
                <a:gd name="connsiteX7332" fmla="*/ 684562 w 3009712"/>
                <a:gd name="connsiteY7332" fmla="*/ 1202704 h 4178187"/>
                <a:gd name="connsiteX7333" fmla="*/ 685349 w 3009712"/>
                <a:gd name="connsiteY7333" fmla="*/ 1205065 h 4178187"/>
                <a:gd name="connsiteX7334" fmla="*/ 688103 w 3009712"/>
                <a:gd name="connsiteY7334" fmla="*/ 1206639 h 4178187"/>
                <a:gd name="connsiteX7335" fmla="*/ 690857 w 3009712"/>
                <a:gd name="connsiteY7335" fmla="*/ 1208212 h 4178187"/>
                <a:gd name="connsiteX7336" fmla="*/ 694004 w 3009712"/>
                <a:gd name="connsiteY7336" fmla="*/ 1209786 h 4178187"/>
                <a:gd name="connsiteX7337" fmla="*/ 696758 w 3009712"/>
                <a:gd name="connsiteY7337" fmla="*/ 1208999 h 4178187"/>
                <a:gd name="connsiteX7338" fmla="*/ 697152 w 3009712"/>
                <a:gd name="connsiteY7338" fmla="*/ 1208999 h 4178187"/>
                <a:gd name="connsiteX7339" fmla="*/ 703840 w 3009712"/>
                <a:gd name="connsiteY7339" fmla="*/ 1212147 h 4178187"/>
                <a:gd name="connsiteX7340" fmla="*/ 703840 w 3009712"/>
                <a:gd name="connsiteY7340" fmla="*/ 1215294 h 4178187"/>
                <a:gd name="connsiteX7341" fmla="*/ 701873 w 3009712"/>
                <a:gd name="connsiteY7341" fmla="*/ 1218048 h 4178187"/>
                <a:gd name="connsiteX7342" fmla="*/ 704627 w 3009712"/>
                <a:gd name="connsiteY7342" fmla="*/ 1220015 h 4178187"/>
                <a:gd name="connsiteX7343" fmla="*/ 721938 w 3009712"/>
                <a:gd name="connsiteY7343" fmla="*/ 1260145 h 4178187"/>
                <a:gd name="connsiteX7344" fmla="*/ 721151 w 3009712"/>
                <a:gd name="connsiteY7344" fmla="*/ 1262112 h 4178187"/>
                <a:gd name="connsiteX7345" fmla="*/ 721151 w 3009712"/>
                <a:gd name="connsiteY7345" fmla="*/ 1264866 h 4178187"/>
                <a:gd name="connsiteX7346" fmla="*/ 721544 w 3009712"/>
                <a:gd name="connsiteY7346" fmla="*/ 1267620 h 4178187"/>
                <a:gd name="connsiteX7347" fmla="*/ 721938 w 3009712"/>
                <a:gd name="connsiteY7347" fmla="*/ 1268013 h 4178187"/>
                <a:gd name="connsiteX7348" fmla="*/ 722331 w 3009712"/>
                <a:gd name="connsiteY7348" fmla="*/ 1293586 h 4178187"/>
                <a:gd name="connsiteX7349" fmla="*/ 727446 w 3009712"/>
                <a:gd name="connsiteY7349" fmla="*/ 1304602 h 4178187"/>
                <a:gd name="connsiteX7350" fmla="*/ 727446 w 3009712"/>
                <a:gd name="connsiteY7350" fmla="*/ 1306962 h 4178187"/>
                <a:gd name="connsiteX7351" fmla="*/ 726265 w 3009712"/>
                <a:gd name="connsiteY7351" fmla="*/ 1309716 h 4178187"/>
                <a:gd name="connsiteX7352" fmla="*/ 724692 w 3009712"/>
                <a:gd name="connsiteY7352" fmla="*/ 1312864 h 4178187"/>
                <a:gd name="connsiteX7353" fmla="*/ 727052 w 3009712"/>
                <a:gd name="connsiteY7353" fmla="*/ 1315618 h 4178187"/>
                <a:gd name="connsiteX7354" fmla="*/ 728232 w 3009712"/>
                <a:gd name="connsiteY7354" fmla="*/ 1316798 h 4178187"/>
                <a:gd name="connsiteX7355" fmla="*/ 729019 w 3009712"/>
                <a:gd name="connsiteY7355" fmla="*/ 1323880 h 4178187"/>
                <a:gd name="connsiteX7356" fmla="*/ 729019 w 3009712"/>
                <a:gd name="connsiteY7356" fmla="*/ 1324667 h 4178187"/>
                <a:gd name="connsiteX7357" fmla="*/ 726659 w 3009712"/>
                <a:gd name="connsiteY7357" fmla="*/ 1330174 h 4178187"/>
                <a:gd name="connsiteX7358" fmla="*/ 727052 w 3009712"/>
                <a:gd name="connsiteY7358" fmla="*/ 1332928 h 4178187"/>
                <a:gd name="connsiteX7359" fmla="*/ 729806 w 3009712"/>
                <a:gd name="connsiteY7359" fmla="*/ 1330568 h 4178187"/>
                <a:gd name="connsiteX7360" fmla="*/ 728232 w 3009712"/>
                <a:gd name="connsiteY7360" fmla="*/ 1332142 h 4178187"/>
                <a:gd name="connsiteX7361" fmla="*/ 729413 w 3009712"/>
                <a:gd name="connsiteY7361" fmla="*/ 1332928 h 4178187"/>
                <a:gd name="connsiteX7362" fmla="*/ 727839 w 3009712"/>
                <a:gd name="connsiteY7362" fmla="*/ 1345518 h 4178187"/>
                <a:gd name="connsiteX7363" fmla="*/ 727839 w 3009712"/>
                <a:gd name="connsiteY7363" fmla="*/ 1345912 h 4178187"/>
                <a:gd name="connsiteX7364" fmla="*/ 727839 w 3009712"/>
                <a:gd name="connsiteY7364" fmla="*/ 1345912 h 4178187"/>
                <a:gd name="connsiteX7365" fmla="*/ 729019 w 3009712"/>
                <a:gd name="connsiteY7365" fmla="*/ 1351419 h 4178187"/>
                <a:gd name="connsiteX7366" fmla="*/ 729019 w 3009712"/>
                <a:gd name="connsiteY7366" fmla="*/ 1351419 h 4178187"/>
                <a:gd name="connsiteX7367" fmla="*/ 729413 w 3009712"/>
                <a:gd name="connsiteY7367" fmla="*/ 1354174 h 4178187"/>
                <a:gd name="connsiteX7368" fmla="*/ 730986 w 3009712"/>
                <a:gd name="connsiteY7368" fmla="*/ 1355747 h 4178187"/>
                <a:gd name="connsiteX7369" fmla="*/ 732167 w 3009712"/>
                <a:gd name="connsiteY7369" fmla="*/ 1357714 h 4178187"/>
                <a:gd name="connsiteX7370" fmla="*/ 734921 w 3009712"/>
                <a:gd name="connsiteY7370" fmla="*/ 1360075 h 4178187"/>
                <a:gd name="connsiteX7371" fmla="*/ 735314 w 3009712"/>
                <a:gd name="connsiteY7371" fmla="*/ 1360468 h 4178187"/>
                <a:gd name="connsiteX7372" fmla="*/ 739248 w 3009712"/>
                <a:gd name="connsiteY7372" fmla="*/ 1364796 h 4178187"/>
                <a:gd name="connsiteX7373" fmla="*/ 745937 w 3009712"/>
                <a:gd name="connsiteY7373" fmla="*/ 1367550 h 4178187"/>
                <a:gd name="connsiteX7374" fmla="*/ 746330 w 3009712"/>
                <a:gd name="connsiteY7374" fmla="*/ 1368730 h 4178187"/>
                <a:gd name="connsiteX7375" fmla="*/ 747904 w 3009712"/>
                <a:gd name="connsiteY7375" fmla="*/ 1371878 h 4178187"/>
                <a:gd name="connsiteX7376" fmla="*/ 749477 w 3009712"/>
                <a:gd name="connsiteY7376" fmla="*/ 1374632 h 4178187"/>
                <a:gd name="connsiteX7377" fmla="*/ 749871 w 3009712"/>
                <a:gd name="connsiteY7377" fmla="*/ 1375025 h 4178187"/>
                <a:gd name="connsiteX7378" fmla="*/ 751838 w 3009712"/>
                <a:gd name="connsiteY7378" fmla="*/ 1378959 h 4178187"/>
                <a:gd name="connsiteX7379" fmla="*/ 751838 w 3009712"/>
                <a:gd name="connsiteY7379" fmla="*/ 1380533 h 4178187"/>
                <a:gd name="connsiteX7380" fmla="*/ 753412 w 3009712"/>
                <a:gd name="connsiteY7380" fmla="*/ 1381713 h 4178187"/>
                <a:gd name="connsiteX7381" fmla="*/ 756166 w 3009712"/>
                <a:gd name="connsiteY7381" fmla="*/ 1386828 h 4178187"/>
                <a:gd name="connsiteX7382" fmla="*/ 756166 w 3009712"/>
                <a:gd name="connsiteY7382" fmla="*/ 1388795 h 4178187"/>
                <a:gd name="connsiteX7383" fmla="*/ 757739 w 3009712"/>
                <a:gd name="connsiteY7383" fmla="*/ 1389975 h 4178187"/>
                <a:gd name="connsiteX7384" fmla="*/ 759707 w 3009712"/>
                <a:gd name="connsiteY7384" fmla="*/ 1393516 h 4178187"/>
                <a:gd name="connsiteX7385" fmla="*/ 752625 w 3009712"/>
                <a:gd name="connsiteY7385" fmla="*/ 1413187 h 4178187"/>
                <a:gd name="connsiteX7386" fmla="*/ 740822 w 3009712"/>
                <a:gd name="connsiteY7386" fmla="*/ 1420663 h 4178187"/>
                <a:gd name="connsiteX7387" fmla="*/ 740429 w 3009712"/>
                <a:gd name="connsiteY7387" fmla="*/ 1420663 h 4178187"/>
                <a:gd name="connsiteX7388" fmla="*/ 737281 w 3009712"/>
                <a:gd name="connsiteY7388" fmla="*/ 1421056 h 4178187"/>
                <a:gd name="connsiteX7389" fmla="*/ 734134 w 3009712"/>
                <a:gd name="connsiteY7389" fmla="*/ 1420269 h 4178187"/>
                <a:gd name="connsiteX7390" fmla="*/ 730986 w 3009712"/>
                <a:gd name="connsiteY7390" fmla="*/ 1419876 h 4178187"/>
                <a:gd name="connsiteX7391" fmla="*/ 728232 w 3009712"/>
                <a:gd name="connsiteY7391" fmla="*/ 1419482 h 4178187"/>
                <a:gd name="connsiteX7392" fmla="*/ 725478 w 3009712"/>
                <a:gd name="connsiteY7392" fmla="*/ 1419089 h 4178187"/>
                <a:gd name="connsiteX7393" fmla="*/ 725872 w 3009712"/>
                <a:gd name="connsiteY7393" fmla="*/ 1421843 h 4178187"/>
                <a:gd name="connsiteX7394" fmla="*/ 728232 w 3009712"/>
                <a:gd name="connsiteY7394" fmla="*/ 1424990 h 4178187"/>
                <a:gd name="connsiteX7395" fmla="*/ 731380 w 3009712"/>
                <a:gd name="connsiteY7395" fmla="*/ 1426564 h 4178187"/>
                <a:gd name="connsiteX7396" fmla="*/ 731380 w 3009712"/>
                <a:gd name="connsiteY7396" fmla="*/ 1426957 h 4178187"/>
                <a:gd name="connsiteX7397" fmla="*/ 732560 w 3009712"/>
                <a:gd name="connsiteY7397" fmla="*/ 1429711 h 4178187"/>
                <a:gd name="connsiteX7398" fmla="*/ 734921 w 3009712"/>
                <a:gd name="connsiteY7398" fmla="*/ 1430892 h 4178187"/>
                <a:gd name="connsiteX7399" fmla="*/ 737675 w 3009712"/>
                <a:gd name="connsiteY7399" fmla="*/ 1434432 h 4178187"/>
                <a:gd name="connsiteX7400" fmla="*/ 737675 w 3009712"/>
                <a:gd name="connsiteY7400" fmla="*/ 1436793 h 4178187"/>
                <a:gd name="connsiteX7401" fmla="*/ 737281 w 3009712"/>
                <a:gd name="connsiteY7401" fmla="*/ 1439547 h 4178187"/>
                <a:gd name="connsiteX7402" fmla="*/ 740429 w 3009712"/>
                <a:gd name="connsiteY7402" fmla="*/ 1441514 h 4178187"/>
                <a:gd name="connsiteX7403" fmla="*/ 743183 w 3009712"/>
                <a:gd name="connsiteY7403" fmla="*/ 1441908 h 4178187"/>
                <a:gd name="connsiteX7404" fmla="*/ 744363 w 3009712"/>
                <a:gd name="connsiteY7404" fmla="*/ 1442694 h 4178187"/>
                <a:gd name="connsiteX7405" fmla="*/ 747117 w 3009712"/>
                <a:gd name="connsiteY7405" fmla="*/ 1446235 h 4178187"/>
                <a:gd name="connsiteX7406" fmla="*/ 747510 w 3009712"/>
                <a:gd name="connsiteY7406" fmla="*/ 1446629 h 4178187"/>
                <a:gd name="connsiteX7407" fmla="*/ 747510 w 3009712"/>
                <a:gd name="connsiteY7407" fmla="*/ 1446629 h 4178187"/>
                <a:gd name="connsiteX7408" fmla="*/ 750264 w 3009712"/>
                <a:gd name="connsiteY7408" fmla="*/ 1448202 h 4178187"/>
                <a:gd name="connsiteX7409" fmla="*/ 753018 w 3009712"/>
                <a:gd name="connsiteY7409" fmla="*/ 1449776 h 4178187"/>
                <a:gd name="connsiteX7410" fmla="*/ 754592 w 3009712"/>
                <a:gd name="connsiteY7410" fmla="*/ 1452530 h 4178187"/>
                <a:gd name="connsiteX7411" fmla="*/ 755772 w 3009712"/>
                <a:gd name="connsiteY7411" fmla="*/ 1455677 h 4178187"/>
                <a:gd name="connsiteX7412" fmla="*/ 758526 w 3009712"/>
                <a:gd name="connsiteY7412" fmla="*/ 1457251 h 4178187"/>
                <a:gd name="connsiteX7413" fmla="*/ 761674 w 3009712"/>
                <a:gd name="connsiteY7413" fmla="*/ 1454891 h 4178187"/>
                <a:gd name="connsiteX7414" fmla="*/ 764821 w 3009712"/>
                <a:gd name="connsiteY7414" fmla="*/ 1454497 h 4178187"/>
                <a:gd name="connsiteX7415" fmla="*/ 767575 w 3009712"/>
                <a:gd name="connsiteY7415" fmla="*/ 1455677 h 4178187"/>
                <a:gd name="connsiteX7416" fmla="*/ 769936 w 3009712"/>
                <a:gd name="connsiteY7416" fmla="*/ 1452923 h 4178187"/>
                <a:gd name="connsiteX7417" fmla="*/ 771116 w 3009712"/>
                <a:gd name="connsiteY7417" fmla="*/ 1450170 h 4178187"/>
                <a:gd name="connsiteX7418" fmla="*/ 772690 w 3009712"/>
                <a:gd name="connsiteY7418" fmla="*/ 1448202 h 4178187"/>
                <a:gd name="connsiteX7419" fmla="*/ 773083 w 3009712"/>
                <a:gd name="connsiteY7419" fmla="*/ 1450956 h 4178187"/>
                <a:gd name="connsiteX7420" fmla="*/ 770722 w 3009712"/>
                <a:gd name="connsiteY7420" fmla="*/ 1454104 h 4178187"/>
                <a:gd name="connsiteX7421" fmla="*/ 771509 w 3009712"/>
                <a:gd name="connsiteY7421" fmla="*/ 1457251 h 4178187"/>
                <a:gd name="connsiteX7422" fmla="*/ 773083 w 3009712"/>
                <a:gd name="connsiteY7422" fmla="*/ 1460005 h 4178187"/>
                <a:gd name="connsiteX7423" fmla="*/ 773476 w 3009712"/>
                <a:gd name="connsiteY7423" fmla="*/ 1462759 h 4178187"/>
                <a:gd name="connsiteX7424" fmla="*/ 776230 w 3009712"/>
                <a:gd name="connsiteY7424" fmla="*/ 1465513 h 4178187"/>
                <a:gd name="connsiteX7425" fmla="*/ 778984 w 3009712"/>
                <a:gd name="connsiteY7425" fmla="*/ 1468660 h 4178187"/>
                <a:gd name="connsiteX7426" fmla="*/ 781345 w 3009712"/>
                <a:gd name="connsiteY7426" fmla="*/ 1471021 h 4178187"/>
                <a:gd name="connsiteX7427" fmla="*/ 784099 w 3009712"/>
                <a:gd name="connsiteY7427" fmla="*/ 1472988 h 4178187"/>
                <a:gd name="connsiteX7428" fmla="*/ 785673 w 3009712"/>
                <a:gd name="connsiteY7428" fmla="*/ 1472988 h 4178187"/>
                <a:gd name="connsiteX7429" fmla="*/ 788033 w 3009712"/>
                <a:gd name="connsiteY7429" fmla="*/ 1474169 h 4178187"/>
                <a:gd name="connsiteX7430" fmla="*/ 789214 w 3009712"/>
                <a:gd name="connsiteY7430" fmla="*/ 1477709 h 4178187"/>
                <a:gd name="connsiteX7431" fmla="*/ 790787 w 3009712"/>
                <a:gd name="connsiteY7431" fmla="*/ 1480463 h 4178187"/>
                <a:gd name="connsiteX7432" fmla="*/ 791181 w 3009712"/>
                <a:gd name="connsiteY7432" fmla="*/ 1480857 h 4178187"/>
                <a:gd name="connsiteX7433" fmla="*/ 786459 w 3009712"/>
                <a:gd name="connsiteY7433" fmla="*/ 1509577 h 4178187"/>
                <a:gd name="connsiteX7434" fmla="*/ 785279 w 3009712"/>
                <a:gd name="connsiteY7434" fmla="*/ 1511544 h 4178187"/>
                <a:gd name="connsiteX7435" fmla="*/ 785673 w 3009712"/>
                <a:gd name="connsiteY7435" fmla="*/ 1512331 h 4178187"/>
                <a:gd name="connsiteX7436" fmla="*/ 784099 w 3009712"/>
                <a:gd name="connsiteY7436" fmla="*/ 1515085 h 4178187"/>
                <a:gd name="connsiteX7437" fmla="*/ 783312 w 3009712"/>
                <a:gd name="connsiteY7437" fmla="*/ 1518232 h 4178187"/>
                <a:gd name="connsiteX7438" fmla="*/ 782919 w 3009712"/>
                <a:gd name="connsiteY7438" fmla="*/ 1520986 h 4178187"/>
                <a:gd name="connsiteX7439" fmla="*/ 784099 w 3009712"/>
                <a:gd name="connsiteY7439" fmla="*/ 1518232 h 4178187"/>
                <a:gd name="connsiteX7440" fmla="*/ 784886 w 3009712"/>
                <a:gd name="connsiteY7440" fmla="*/ 1515478 h 4178187"/>
                <a:gd name="connsiteX7441" fmla="*/ 784492 w 3009712"/>
                <a:gd name="connsiteY7441" fmla="*/ 1518232 h 4178187"/>
                <a:gd name="connsiteX7442" fmla="*/ 784492 w 3009712"/>
                <a:gd name="connsiteY7442" fmla="*/ 1521380 h 4178187"/>
                <a:gd name="connsiteX7443" fmla="*/ 790000 w 3009712"/>
                <a:gd name="connsiteY7443" fmla="*/ 1526101 h 4178187"/>
                <a:gd name="connsiteX7444" fmla="*/ 790787 w 3009712"/>
                <a:gd name="connsiteY7444" fmla="*/ 1529248 h 4178187"/>
                <a:gd name="connsiteX7445" fmla="*/ 793541 w 3009712"/>
                <a:gd name="connsiteY7445" fmla="*/ 1530428 h 4178187"/>
                <a:gd name="connsiteX7446" fmla="*/ 795508 w 3009712"/>
                <a:gd name="connsiteY7446" fmla="*/ 1533576 h 4178187"/>
                <a:gd name="connsiteX7447" fmla="*/ 796689 w 3009712"/>
                <a:gd name="connsiteY7447" fmla="*/ 1534363 h 4178187"/>
                <a:gd name="connsiteX7448" fmla="*/ 799443 w 3009712"/>
                <a:gd name="connsiteY7448" fmla="*/ 1536723 h 4178187"/>
                <a:gd name="connsiteX7449" fmla="*/ 802197 w 3009712"/>
                <a:gd name="connsiteY7449" fmla="*/ 1539477 h 4178187"/>
                <a:gd name="connsiteX7450" fmla="*/ 804951 w 3009712"/>
                <a:gd name="connsiteY7450" fmla="*/ 1541838 h 4178187"/>
                <a:gd name="connsiteX7451" fmla="*/ 807311 w 3009712"/>
                <a:gd name="connsiteY7451" fmla="*/ 1543411 h 4178187"/>
                <a:gd name="connsiteX7452" fmla="*/ 810852 w 3009712"/>
                <a:gd name="connsiteY7452" fmla="*/ 1546559 h 4178187"/>
                <a:gd name="connsiteX7453" fmla="*/ 830917 w 3009712"/>
                <a:gd name="connsiteY7453" fmla="*/ 1583148 h 4178187"/>
                <a:gd name="connsiteX7454" fmla="*/ 832097 w 3009712"/>
                <a:gd name="connsiteY7454" fmla="*/ 1585902 h 4178187"/>
                <a:gd name="connsiteX7455" fmla="*/ 832490 w 3009712"/>
                <a:gd name="connsiteY7455" fmla="*/ 1586295 h 4178187"/>
                <a:gd name="connsiteX7456" fmla="*/ 834851 w 3009712"/>
                <a:gd name="connsiteY7456" fmla="*/ 1586688 h 4178187"/>
                <a:gd name="connsiteX7457" fmla="*/ 836818 w 3009712"/>
                <a:gd name="connsiteY7457" fmla="*/ 1585902 h 4178187"/>
                <a:gd name="connsiteX7458" fmla="*/ 839572 w 3009712"/>
                <a:gd name="connsiteY7458" fmla="*/ 1583541 h 4178187"/>
                <a:gd name="connsiteX7459" fmla="*/ 842720 w 3009712"/>
                <a:gd name="connsiteY7459" fmla="*/ 1581180 h 4178187"/>
                <a:gd name="connsiteX7460" fmla="*/ 845473 w 3009712"/>
                <a:gd name="connsiteY7460" fmla="*/ 1580787 h 4178187"/>
                <a:gd name="connsiteX7461" fmla="*/ 848621 w 3009712"/>
                <a:gd name="connsiteY7461" fmla="*/ 1578820 h 4178187"/>
                <a:gd name="connsiteX7462" fmla="*/ 850981 w 3009712"/>
                <a:gd name="connsiteY7462" fmla="*/ 1575672 h 4178187"/>
                <a:gd name="connsiteX7463" fmla="*/ 851768 w 3009712"/>
                <a:gd name="connsiteY7463" fmla="*/ 1572525 h 4178187"/>
                <a:gd name="connsiteX7464" fmla="*/ 852162 w 3009712"/>
                <a:gd name="connsiteY7464" fmla="*/ 1569378 h 4178187"/>
                <a:gd name="connsiteX7465" fmla="*/ 851768 w 3009712"/>
                <a:gd name="connsiteY7465" fmla="*/ 1568984 h 4178187"/>
                <a:gd name="connsiteX7466" fmla="*/ 850981 w 3009712"/>
                <a:gd name="connsiteY7466" fmla="*/ 1566230 h 4178187"/>
                <a:gd name="connsiteX7467" fmla="*/ 850588 w 3009712"/>
                <a:gd name="connsiteY7467" fmla="*/ 1565443 h 4178187"/>
                <a:gd name="connsiteX7468" fmla="*/ 843900 w 3009712"/>
                <a:gd name="connsiteY7468" fmla="*/ 1554034 h 4178187"/>
                <a:gd name="connsiteX7469" fmla="*/ 842326 w 3009712"/>
                <a:gd name="connsiteY7469" fmla="*/ 1552854 h 4178187"/>
                <a:gd name="connsiteX7470" fmla="*/ 839179 w 3009712"/>
                <a:gd name="connsiteY7470" fmla="*/ 1550887 h 4178187"/>
                <a:gd name="connsiteX7471" fmla="*/ 839572 w 3009712"/>
                <a:gd name="connsiteY7471" fmla="*/ 1548920 h 4178187"/>
                <a:gd name="connsiteX7472" fmla="*/ 837998 w 3009712"/>
                <a:gd name="connsiteY7472" fmla="*/ 1546952 h 4178187"/>
                <a:gd name="connsiteX7473" fmla="*/ 834851 w 3009712"/>
                <a:gd name="connsiteY7473" fmla="*/ 1545379 h 4178187"/>
                <a:gd name="connsiteX7474" fmla="*/ 832884 w 3009712"/>
                <a:gd name="connsiteY7474" fmla="*/ 1542231 h 4178187"/>
                <a:gd name="connsiteX7475" fmla="*/ 830917 w 3009712"/>
                <a:gd name="connsiteY7475" fmla="*/ 1545379 h 4178187"/>
                <a:gd name="connsiteX7476" fmla="*/ 820294 w 3009712"/>
                <a:gd name="connsiteY7476" fmla="*/ 1541051 h 4178187"/>
                <a:gd name="connsiteX7477" fmla="*/ 820688 w 3009712"/>
                <a:gd name="connsiteY7477" fmla="*/ 1539477 h 4178187"/>
                <a:gd name="connsiteX7478" fmla="*/ 821081 w 3009712"/>
                <a:gd name="connsiteY7478" fmla="*/ 1537510 h 4178187"/>
                <a:gd name="connsiteX7479" fmla="*/ 820294 w 3009712"/>
                <a:gd name="connsiteY7479" fmla="*/ 1534756 h 4178187"/>
                <a:gd name="connsiteX7480" fmla="*/ 820688 w 3009712"/>
                <a:gd name="connsiteY7480" fmla="*/ 1531609 h 4178187"/>
                <a:gd name="connsiteX7481" fmla="*/ 822655 w 3009712"/>
                <a:gd name="connsiteY7481" fmla="*/ 1528855 h 4178187"/>
                <a:gd name="connsiteX7482" fmla="*/ 824228 w 3009712"/>
                <a:gd name="connsiteY7482" fmla="*/ 1525707 h 4178187"/>
                <a:gd name="connsiteX7483" fmla="*/ 823442 w 3009712"/>
                <a:gd name="connsiteY7483" fmla="*/ 1522560 h 4178187"/>
                <a:gd name="connsiteX7484" fmla="*/ 823048 w 3009712"/>
                <a:gd name="connsiteY7484" fmla="*/ 1519806 h 4178187"/>
                <a:gd name="connsiteX7485" fmla="*/ 820688 w 3009712"/>
                <a:gd name="connsiteY7485" fmla="*/ 1517052 h 4178187"/>
                <a:gd name="connsiteX7486" fmla="*/ 820294 w 3009712"/>
                <a:gd name="connsiteY7486" fmla="*/ 1511544 h 4178187"/>
                <a:gd name="connsiteX7487" fmla="*/ 820688 w 3009712"/>
                <a:gd name="connsiteY7487" fmla="*/ 1508397 h 4178187"/>
                <a:gd name="connsiteX7488" fmla="*/ 820294 w 3009712"/>
                <a:gd name="connsiteY7488" fmla="*/ 1505643 h 4178187"/>
                <a:gd name="connsiteX7489" fmla="*/ 820688 w 3009712"/>
                <a:gd name="connsiteY7489" fmla="*/ 1502495 h 4178187"/>
                <a:gd name="connsiteX7490" fmla="*/ 817934 w 3009712"/>
                <a:gd name="connsiteY7490" fmla="*/ 1502495 h 4178187"/>
                <a:gd name="connsiteX7491" fmla="*/ 817147 w 3009712"/>
                <a:gd name="connsiteY7491" fmla="*/ 1499348 h 4178187"/>
                <a:gd name="connsiteX7492" fmla="*/ 816753 w 3009712"/>
                <a:gd name="connsiteY7492" fmla="*/ 1496594 h 4178187"/>
                <a:gd name="connsiteX7493" fmla="*/ 815180 w 3009712"/>
                <a:gd name="connsiteY7493" fmla="*/ 1493446 h 4178187"/>
                <a:gd name="connsiteX7494" fmla="*/ 814786 w 3009712"/>
                <a:gd name="connsiteY7494" fmla="*/ 1490692 h 4178187"/>
                <a:gd name="connsiteX7495" fmla="*/ 814786 w 3009712"/>
                <a:gd name="connsiteY7495" fmla="*/ 1487545 h 4178187"/>
                <a:gd name="connsiteX7496" fmla="*/ 816360 w 3009712"/>
                <a:gd name="connsiteY7496" fmla="*/ 1484398 h 4178187"/>
                <a:gd name="connsiteX7497" fmla="*/ 815966 w 3009712"/>
                <a:gd name="connsiteY7497" fmla="*/ 1481250 h 4178187"/>
                <a:gd name="connsiteX7498" fmla="*/ 815573 w 3009712"/>
                <a:gd name="connsiteY7498" fmla="*/ 1478496 h 4178187"/>
                <a:gd name="connsiteX7499" fmla="*/ 816360 w 3009712"/>
                <a:gd name="connsiteY7499" fmla="*/ 1475349 h 4178187"/>
                <a:gd name="connsiteX7500" fmla="*/ 814786 w 3009712"/>
                <a:gd name="connsiteY7500" fmla="*/ 1472595 h 4178187"/>
                <a:gd name="connsiteX7501" fmla="*/ 816360 w 3009712"/>
                <a:gd name="connsiteY7501" fmla="*/ 1469841 h 4178187"/>
                <a:gd name="connsiteX7502" fmla="*/ 813999 w 3009712"/>
                <a:gd name="connsiteY7502" fmla="*/ 1466693 h 4178187"/>
                <a:gd name="connsiteX7503" fmla="*/ 814393 w 3009712"/>
                <a:gd name="connsiteY7503" fmla="*/ 1463546 h 4178187"/>
                <a:gd name="connsiteX7504" fmla="*/ 812032 w 3009712"/>
                <a:gd name="connsiteY7504" fmla="*/ 1460399 h 4178187"/>
                <a:gd name="connsiteX7505" fmla="*/ 810459 w 3009712"/>
                <a:gd name="connsiteY7505" fmla="*/ 1457251 h 4178187"/>
                <a:gd name="connsiteX7506" fmla="*/ 808491 w 3009712"/>
                <a:gd name="connsiteY7506" fmla="*/ 1456464 h 4178187"/>
                <a:gd name="connsiteX7507" fmla="*/ 807311 w 3009712"/>
                <a:gd name="connsiteY7507" fmla="*/ 1449776 h 4178187"/>
                <a:gd name="connsiteX7508" fmla="*/ 800623 w 3009712"/>
                <a:gd name="connsiteY7508" fmla="*/ 1441121 h 4178187"/>
                <a:gd name="connsiteX7509" fmla="*/ 799836 w 3009712"/>
                <a:gd name="connsiteY7509" fmla="*/ 1438760 h 4178187"/>
                <a:gd name="connsiteX7510" fmla="*/ 800229 w 3009712"/>
                <a:gd name="connsiteY7510" fmla="*/ 1436006 h 4178187"/>
                <a:gd name="connsiteX7511" fmla="*/ 797869 w 3009712"/>
                <a:gd name="connsiteY7511" fmla="*/ 1432859 h 4178187"/>
                <a:gd name="connsiteX7512" fmla="*/ 796689 w 3009712"/>
                <a:gd name="connsiteY7512" fmla="*/ 1432072 h 4178187"/>
                <a:gd name="connsiteX7513" fmla="*/ 791574 w 3009712"/>
                <a:gd name="connsiteY7513" fmla="*/ 1418302 h 4178187"/>
                <a:gd name="connsiteX7514" fmla="*/ 793148 w 3009712"/>
                <a:gd name="connsiteY7514" fmla="*/ 1404532 h 4178187"/>
                <a:gd name="connsiteX7515" fmla="*/ 786853 w 3009712"/>
                <a:gd name="connsiteY7515" fmla="*/ 1392336 h 4178187"/>
                <a:gd name="connsiteX7516" fmla="*/ 786066 w 3009712"/>
                <a:gd name="connsiteY7516" fmla="*/ 1389975 h 4178187"/>
                <a:gd name="connsiteX7517" fmla="*/ 785279 w 3009712"/>
                <a:gd name="connsiteY7517" fmla="*/ 1389582 h 4178187"/>
                <a:gd name="connsiteX7518" fmla="*/ 778197 w 3009712"/>
                <a:gd name="connsiteY7518" fmla="*/ 1375812 h 4178187"/>
                <a:gd name="connsiteX7519" fmla="*/ 778591 w 3009712"/>
                <a:gd name="connsiteY7519" fmla="*/ 1374238 h 4178187"/>
                <a:gd name="connsiteX7520" fmla="*/ 777017 w 3009712"/>
                <a:gd name="connsiteY7520" fmla="*/ 1371484 h 4178187"/>
                <a:gd name="connsiteX7521" fmla="*/ 774657 w 3009712"/>
                <a:gd name="connsiteY7521" fmla="*/ 1368337 h 4178187"/>
                <a:gd name="connsiteX7522" fmla="*/ 763641 w 3009712"/>
                <a:gd name="connsiteY7522" fmla="*/ 1353780 h 4178187"/>
                <a:gd name="connsiteX7523" fmla="*/ 763641 w 3009712"/>
                <a:gd name="connsiteY7523" fmla="*/ 1352993 h 4178187"/>
                <a:gd name="connsiteX7524" fmla="*/ 760887 w 3009712"/>
                <a:gd name="connsiteY7524" fmla="*/ 1350239 h 4178187"/>
                <a:gd name="connsiteX7525" fmla="*/ 762854 w 3009712"/>
                <a:gd name="connsiteY7525" fmla="*/ 1336469 h 4178187"/>
                <a:gd name="connsiteX7526" fmla="*/ 763247 w 3009712"/>
                <a:gd name="connsiteY7526" fmla="*/ 1335289 h 4178187"/>
                <a:gd name="connsiteX7527" fmla="*/ 763641 w 3009712"/>
                <a:gd name="connsiteY7527" fmla="*/ 1332142 h 4178187"/>
                <a:gd name="connsiteX7528" fmla="*/ 763641 w 3009712"/>
                <a:gd name="connsiteY7528" fmla="*/ 1329388 h 4178187"/>
                <a:gd name="connsiteX7529" fmla="*/ 764034 w 3009712"/>
                <a:gd name="connsiteY7529" fmla="*/ 1326634 h 4178187"/>
                <a:gd name="connsiteX7530" fmla="*/ 765214 w 3009712"/>
                <a:gd name="connsiteY7530" fmla="*/ 1323486 h 4178187"/>
                <a:gd name="connsiteX7531" fmla="*/ 765608 w 3009712"/>
                <a:gd name="connsiteY7531" fmla="*/ 1320732 h 4178187"/>
                <a:gd name="connsiteX7532" fmla="*/ 765214 w 3009712"/>
                <a:gd name="connsiteY7532" fmla="*/ 1317978 h 4178187"/>
                <a:gd name="connsiteX7533" fmla="*/ 767182 w 3009712"/>
                <a:gd name="connsiteY7533" fmla="*/ 1303421 h 4178187"/>
                <a:gd name="connsiteX7534" fmla="*/ 767182 w 3009712"/>
                <a:gd name="connsiteY7534" fmla="*/ 1303028 h 4178187"/>
                <a:gd name="connsiteX7535" fmla="*/ 769936 w 3009712"/>
                <a:gd name="connsiteY7535" fmla="*/ 1297520 h 4178187"/>
                <a:gd name="connsiteX7536" fmla="*/ 772690 w 3009712"/>
                <a:gd name="connsiteY7536" fmla="*/ 1294373 h 4178187"/>
                <a:gd name="connsiteX7537" fmla="*/ 772690 w 3009712"/>
                <a:gd name="connsiteY7537" fmla="*/ 1291619 h 4178187"/>
                <a:gd name="connsiteX7538" fmla="*/ 771903 w 3009712"/>
                <a:gd name="connsiteY7538" fmla="*/ 1288865 h 4178187"/>
                <a:gd name="connsiteX7539" fmla="*/ 769542 w 3009712"/>
                <a:gd name="connsiteY7539" fmla="*/ 1285717 h 4178187"/>
                <a:gd name="connsiteX7540" fmla="*/ 769149 w 3009712"/>
                <a:gd name="connsiteY7540" fmla="*/ 1283750 h 4178187"/>
                <a:gd name="connsiteX7541" fmla="*/ 769542 w 3009712"/>
                <a:gd name="connsiteY7541" fmla="*/ 1285324 h 4178187"/>
                <a:gd name="connsiteX7542" fmla="*/ 771116 w 3009712"/>
                <a:gd name="connsiteY7542" fmla="*/ 1285717 h 4178187"/>
                <a:gd name="connsiteX7543" fmla="*/ 771116 w 3009712"/>
                <a:gd name="connsiteY7543" fmla="*/ 1286111 h 4178187"/>
                <a:gd name="connsiteX7544" fmla="*/ 773476 w 3009712"/>
                <a:gd name="connsiteY7544" fmla="*/ 1288865 h 4178187"/>
                <a:gd name="connsiteX7545" fmla="*/ 776230 w 3009712"/>
                <a:gd name="connsiteY7545" fmla="*/ 1290438 h 4178187"/>
                <a:gd name="connsiteX7546" fmla="*/ 779378 w 3009712"/>
                <a:gd name="connsiteY7546" fmla="*/ 1290832 h 4178187"/>
                <a:gd name="connsiteX7547" fmla="*/ 781738 w 3009712"/>
                <a:gd name="connsiteY7547" fmla="*/ 1293979 h 4178187"/>
                <a:gd name="connsiteX7548" fmla="*/ 784492 w 3009712"/>
                <a:gd name="connsiteY7548" fmla="*/ 1296733 h 4178187"/>
                <a:gd name="connsiteX7549" fmla="*/ 787246 w 3009712"/>
                <a:gd name="connsiteY7549" fmla="*/ 1299094 h 4178187"/>
                <a:gd name="connsiteX7550" fmla="*/ 790000 w 3009712"/>
                <a:gd name="connsiteY7550" fmla="*/ 1299487 h 4178187"/>
                <a:gd name="connsiteX7551" fmla="*/ 792361 w 3009712"/>
                <a:gd name="connsiteY7551" fmla="*/ 1298700 h 4178187"/>
                <a:gd name="connsiteX7552" fmla="*/ 801016 w 3009712"/>
                <a:gd name="connsiteY7552" fmla="*/ 1304208 h 4178187"/>
                <a:gd name="connsiteX7553" fmla="*/ 801016 w 3009712"/>
                <a:gd name="connsiteY7553" fmla="*/ 1304602 h 4178187"/>
                <a:gd name="connsiteX7554" fmla="*/ 803770 w 3009712"/>
                <a:gd name="connsiteY7554" fmla="*/ 1306175 h 4178187"/>
                <a:gd name="connsiteX7555" fmla="*/ 806524 w 3009712"/>
                <a:gd name="connsiteY7555" fmla="*/ 1306569 h 4178187"/>
                <a:gd name="connsiteX7556" fmla="*/ 808491 w 3009712"/>
                <a:gd name="connsiteY7556" fmla="*/ 1306962 h 4178187"/>
                <a:gd name="connsiteX7557" fmla="*/ 815180 w 3009712"/>
                <a:gd name="connsiteY7557" fmla="*/ 1309716 h 4178187"/>
                <a:gd name="connsiteX7558" fmla="*/ 814786 w 3009712"/>
                <a:gd name="connsiteY7558" fmla="*/ 1312077 h 4178187"/>
                <a:gd name="connsiteX7559" fmla="*/ 812032 w 3009712"/>
                <a:gd name="connsiteY7559" fmla="*/ 1314437 h 4178187"/>
                <a:gd name="connsiteX7560" fmla="*/ 811639 w 3009712"/>
                <a:gd name="connsiteY7560" fmla="*/ 1317191 h 4178187"/>
                <a:gd name="connsiteX7561" fmla="*/ 810065 w 3009712"/>
                <a:gd name="connsiteY7561" fmla="*/ 1320339 h 4178187"/>
                <a:gd name="connsiteX7562" fmla="*/ 808885 w 3009712"/>
                <a:gd name="connsiteY7562" fmla="*/ 1323093 h 4178187"/>
                <a:gd name="connsiteX7563" fmla="*/ 808491 w 3009712"/>
                <a:gd name="connsiteY7563" fmla="*/ 1325847 h 4178187"/>
                <a:gd name="connsiteX7564" fmla="*/ 808885 w 3009712"/>
                <a:gd name="connsiteY7564" fmla="*/ 1328601 h 4178187"/>
                <a:gd name="connsiteX7565" fmla="*/ 810065 w 3009712"/>
                <a:gd name="connsiteY7565" fmla="*/ 1331748 h 4178187"/>
                <a:gd name="connsiteX7566" fmla="*/ 811245 w 3009712"/>
                <a:gd name="connsiteY7566" fmla="*/ 1334502 h 4178187"/>
                <a:gd name="connsiteX7567" fmla="*/ 811245 w 3009712"/>
                <a:gd name="connsiteY7567" fmla="*/ 1337256 h 4178187"/>
                <a:gd name="connsiteX7568" fmla="*/ 811639 w 3009712"/>
                <a:gd name="connsiteY7568" fmla="*/ 1340404 h 4178187"/>
                <a:gd name="connsiteX7569" fmla="*/ 811639 w 3009712"/>
                <a:gd name="connsiteY7569" fmla="*/ 1340404 h 4178187"/>
                <a:gd name="connsiteX7570" fmla="*/ 811245 w 3009712"/>
                <a:gd name="connsiteY7570" fmla="*/ 1345125 h 4178187"/>
                <a:gd name="connsiteX7571" fmla="*/ 810852 w 3009712"/>
                <a:gd name="connsiteY7571" fmla="*/ 1346305 h 4178187"/>
                <a:gd name="connsiteX7572" fmla="*/ 810852 w 3009712"/>
                <a:gd name="connsiteY7572" fmla="*/ 1349059 h 4178187"/>
                <a:gd name="connsiteX7573" fmla="*/ 810065 w 3009712"/>
                <a:gd name="connsiteY7573" fmla="*/ 1350633 h 4178187"/>
                <a:gd name="connsiteX7574" fmla="*/ 811639 w 3009712"/>
                <a:gd name="connsiteY7574" fmla="*/ 1353780 h 4178187"/>
                <a:gd name="connsiteX7575" fmla="*/ 812032 w 3009712"/>
                <a:gd name="connsiteY7575" fmla="*/ 1356534 h 4178187"/>
                <a:gd name="connsiteX7576" fmla="*/ 813213 w 3009712"/>
                <a:gd name="connsiteY7576" fmla="*/ 1359681 h 4178187"/>
                <a:gd name="connsiteX7577" fmla="*/ 813606 w 3009712"/>
                <a:gd name="connsiteY7577" fmla="*/ 1362435 h 4178187"/>
                <a:gd name="connsiteX7578" fmla="*/ 814786 w 3009712"/>
                <a:gd name="connsiteY7578" fmla="*/ 1365189 h 4178187"/>
                <a:gd name="connsiteX7579" fmla="*/ 815180 w 3009712"/>
                <a:gd name="connsiteY7579" fmla="*/ 1366763 h 4178187"/>
                <a:gd name="connsiteX7580" fmla="*/ 813213 w 3009712"/>
                <a:gd name="connsiteY7580" fmla="*/ 1369911 h 4178187"/>
                <a:gd name="connsiteX7581" fmla="*/ 814786 w 3009712"/>
                <a:gd name="connsiteY7581" fmla="*/ 1372664 h 4178187"/>
                <a:gd name="connsiteX7582" fmla="*/ 817147 w 3009712"/>
                <a:gd name="connsiteY7582" fmla="*/ 1371878 h 4178187"/>
                <a:gd name="connsiteX7583" fmla="*/ 817934 w 3009712"/>
                <a:gd name="connsiteY7583" fmla="*/ 1374632 h 4178187"/>
                <a:gd name="connsiteX7584" fmla="*/ 817540 w 3009712"/>
                <a:gd name="connsiteY7584" fmla="*/ 1375025 h 4178187"/>
                <a:gd name="connsiteX7585" fmla="*/ 817147 w 3009712"/>
                <a:gd name="connsiteY7585" fmla="*/ 1377779 h 4178187"/>
                <a:gd name="connsiteX7586" fmla="*/ 816360 w 3009712"/>
                <a:gd name="connsiteY7586" fmla="*/ 1380926 h 4178187"/>
                <a:gd name="connsiteX7587" fmla="*/ 815966 w 3009712"/>
                <a:gd name="connsiteY7587" fmla="*/ 1383680 h 4178187"/>
                <a:gd name="connsiteX7588" fmla="*/ 821081 w 3009712"/>
                <a:gd name="connsiteY7588" fmla="*/ 1389188 h 4178187"/>
                <a:gd name="connsiteX7589" fmla="*/ 820294 w 3009712"/>
                <a:gd name="connsiteY7589" fmla="*/ 1392336 h 4178187"/>
                <a:gd name="connsiteX7590" fmla="*/ 822261 w 3009712"/>
                <a:gd name="connsiteY7590" fmla="*/ 1395090 h 4178187"/>
                <a:gd name="connsiteX7591" fmla="*/ 823835 w 3009712"/>
                <a:gd name="connsiteY7591" fmla="*/ 1397844 h 4178187"/>
                <a:gd name="connsiteX7592" fmla="*/ 824228 w 3009712"/>
                <a:gd name="connsiteY7592" fmla="*/ 1400598 h 4178187"/>
                <a:gd name="connsiteX7593" fmla="*/ 826982 w 3009712"/>
                <a:gd name="connsiteY7593" fmla="*/ 1402171 h 4178187"/>
                <a:gd name="connsiteX7594" fmla="*/ 829736 w 3009712"/>
                <a:gd name="connsiteY7594" fmla="*/ 1404925 h 4178187"/>
                <a:gd name="connsiteX7595" fmla="*/ 832097 w 3009712"/>
                <a:gd name="connsiteY7595" fmla="*/ 1410433 h 4178187"/>
                <a:gd name="connsiteX7596" fmla="*/ 832884 w 3009712"/>
                <a:gd name="connsiteY7596" fmla="*/ 1413581 h 4178187"/>
                <a:gd name="connsiteX7597" fmla="*/ 834851 w 3009712"/>
                <a:gd name="connsiteY7597" fmla="*/ 1416335 h 4178187"/>
                <a:gd name="connsiteX7598" fmla="*/ 837605 w 3009712"/>
                <a:gd name="connsiteY7598" fmla="*/ 1417908 h 4178187"/>
                <a:gd name="connsiteX7599" fmla="*/ 839965 w 3009712"/>
                <a:gd name="connsiteY7599" fmla="*/ 1418695 h 4178187"/>
                <a:gd name="connsiteX7600" fmla="*/ 841539 w 3009712"/>
                <a:gd name="connsiteY7600" fmla="*/ 1421843 h 4178187"/>
                <a:gd name="connsiteX7601" fmla="*/ 842326 w 3009712"/>
                <a:gd name="connsiteY7601" fmla="*/ 1419482 h 4178187"/>
                <a:gd name="connsiteX7602" fmla="*/ 843113 w 3009712"/>
                <a:gd name="connsiteY7602" fmla="*/ 1418302 h 4178187"/>
                <a:gd name="connsiteX7603" fmla="*/ 843506 w 3009712"/>
                <a:gd name="connsiteY7603" fmla="*/ 1417908 h 4178187"/>
                <a:gd name="connsiteX7604" fmla="*/ 843900 w 3009712"/>
                <a:gd name="connsiteY7604" fmla="*/ 1417908 h 4178187"/>
                <a:gd name="connsiteX7605" fmla="*/ 843900 w 3009712"/>
                <a:gd name="connsiteY7605" fmla="*/ 1418302 h 4178187"/>
                <a:gd name="connsiteX7606" fmla="*/ 843506 w 3009712"/>
                <a:gd name="connsiteY7606" fmla="*/ 1419482 h 4178187"/>
                <a:gd name="connsiteX7607" fmla="*/ 844293 w 3009712"/>
                <a:gd name="connsiteY7607" fmla="*/ 1419482 h 4178187"/>
                <a:gd name="connsiteX7608" fmla="*/ 846654 w 3009712"/>
                <a:gd name="connsiteY7608" fmla="*/ 1428138 h 4178187"/>
                <a:gd name="connsiteX7609" fmla="*/ 846654 w 3009712"/>
                <a:gd name="connsiteY7609" fmla="*/ 1431285 h 4178187"/>
                <a:gd name="connsiteX7610" fmla="*/ 846260 w 3009712"/>
                <a:gd name="connsiteY7610" fmla="*/ 1434432 h 4178187"/>
                <a:gd name="connsiteX7611" fmla="*/ 848227 w 3009712"/>
                <a:gd name="connsiteY7611" fmla="*/ 1437580 h 4178187"/>
                <a:gd name="connsiteX7612" fmla="*/ 846654 w 3009712"/>
                <a:gd name="connsiteY7612" fmla="*/ 1440334 h 4178187"/>
                <a:gd name="connsiteX7613" fmla="*/ 849408 w 3009712"/>
                <a:gd name="connsiteY7613" fmla="*/ 1442301 h 4178187"/>
                <a:gd name="connsiteX7614" fmla="*/ 850981 w 3009712"/>
                <a:gd name="connsiteY7614" fmla="*/ 1445055 h 4178187"/>
                <a:gd name="connsiteX7615" fmla="*/ 853735 w 3009712"/>
                <a:gd name="connsiteY7615" fmla="*/ 1445842 h 4178187"/>
                <a:gd name="connsiteX7616" fmla="*/ 856489 w 3009712"/>
                <a:gd name="connsiteY7616" fmla="*/ 1446235 h 4178187"/>
                <a:gd name="connsiteX7617" fmla="*/ 859243 w 3009712"/>
                <a:gd name="connsiteY7617" fmla="*/ 1446629 h 4178187"/>
                <a:gd name="connsiteX7618" fmla="*/ 859637 w 3009712"/>
                <a:gd name="connsiteY7618" fmla="*/ 1446235 h 4178187"/>
                <a:gd name="connsiteX7619" fmla="*/ 860030 w 3009712"/>
                <a:gd name="connsiteY7619" fmla="*/ 1448989 h 4178187"/>
                <a:gd name="connsiteX7620" fmla="*/ 859243 w 3009712"/>
                <a:gd name="connsiteY7620" fmla="*/ 1450563 h 4178187"/>
                <a:gd name="connsiteX7621" fmla="*/ 860424 w 3009712"/>
                <a:gd name="connsiteY7621" fmla="*/ 1453317 h 4178187"/>
                <a:gd name="connsiteX7622" fmla="*/ 860424 w 3009712"/>
                <a:gd name="connsiteY7622" fmla="*/ 1456464 h 4178187"/>
                <a:gd name="connsiteX7623" fmla="*/ 861210 w 3009712"/>
                <a:gd name="connsiteY7623" fmla="*/ 1459218 h 4178187"/>
                <a:gd name="connsiteX7624" fmla="*/ 861604 w 3009712"/>
                <a:gd name="connsiteY7624" fmla="*/ 1459612 h 4178187"/>
                <a:gd name="connsiteX7625" fmla="*/ 864358 w 3009712"/>
                <a:gd name="connsiteY7625" fmla="*/ 1461185 h 4178187"/>
                <a:gd name="connsiteX7626" fmla="*/ 874980 w 3009712"/>
                <a:gd name="connsiteY7626" fmla="*/ 1466300 h 4178187"/>
                <a:gd name="connsiteX7627" fmla="*/ 874980 w 3009712"/>
                <a:gd name="connsiteY7627" fmla="*/ 1469054 h 4178187"/>
                <a:gd name="connsiteX7628" fmla="*/ 874194 w 3009712"/>
                <a:gd name="connsiteY7628" fmla="*/ 1471808 h 4178187"/>
                <a:gd name="connsiteX7629" fmla="*/ 876948 w 3009712"/>
                <a:gd name="connsiteY7629" fmla="*/ 1470628 h 4178187"/>
                <a:gd name="connsiteX7630" fmla="*/ 877734 w 3009712"/>
                <a:gd name="connsiteY7630" fmla="*/ 1472201 h 4178187"/>
                <a:gd name="connsiteX7631" fmla="*/ 876948 w 3009712"/>
                <a:gd name="connsiteY7631" fmla="*/ 1473382 h 4178187"/>
                <a:gd name="connsiteX7632" fmla="*/ 874587 w 3009712"/>
                <a:gd name="connsiteY7632" fmla="*/ 1474955 h 4178187"/>
                <a:gd name="connsiteX7633" fmla="*/ 873013 w 3009712"/>
                <a:gd name="connsiteY7633" fmla="*/ 1475742 h 4178187"/>
                <a:gd name="connsiteX7634" fmla="*/ 872620 w 3009712"/>
                <a:gd name="connsiteY7634" fmla="*/ 1476136 h 4178187"/>
                <a:gd name="connsiteX7635" fmla="*/ 868686 w 3009712"/>
                <a:gd name="connsiteY7635" fmla="*/ 1481250 h 4178187"/>
                <a:gd name="connsiteX7636" fmla="*/ 867112 w 3009712"/>
                <a:gd name="connsiteY7636" fmla="*/ 1482824 h 4178187"/>
                <a:gd name="connsiteX7637" fmla="*/ 865538 w 3009712"/>
                <a:gd name="connsiteY7637" fmla="*/ 1485971 h 4178187"/>
                <a:gd name="connsiteX7638" fmla="*/ 865538 w 3009712"/>
                <a:gd name="connsiteY7638" fmla="*/ 1488725 h 4178187"/>
                <a:gd name="connsiteX7639" fmla="*/ 865145 w 3009712"/>
                <a:gd name="connsiteY7639" fmla="*/ 1489119 h 4178187"/>
                <a:gd name="connsiteX7640" fmla="*/ 864751 w 3009712"/>
                <a:gd name="connsiteY7640" fmla="*/ 1491873 h 4178187"/>
                <a:gd name="connsiteX7641" fmla="*/ 864751 w 3009712"/>
                <a:gd name="connsiteY7641" fmla="*/ 1495020 h 4178187"/>
                <a:gd name="connsiteX7642" fmla="*/ 865538 w 3009712"/>
                <a:gd name="connsiteY7642" fmla="*/ 1492266 h 4178187"/>
                <a:gd name="connsiteX7643" fmla="*/ 867505 w 3009712"/>
                <a:gd name="connsiteY7643" fmla="*/ 1493840 h 4178187"/>
                <a:gd name="connsiteX7644" fmla="*/ 865145 w 3009712"/>
                <a:gd name="connsiteY7644" fmla="*/ 1495414 h 4178187"/>
                <a:gd name="connsiteX7645" fmla="*/ 867899 w 3009712"/>
                <a:gd name="connsiteY7645" fmla="*/ 1495807 h 4178187"/>
                <a:gd name="connsiteX7646" fmla="*/ 870259 w 3009712"/>
                <a:gd name="connsiteY7646" fmla="*/ 1496200 h 4178187"/>
                <a:gd name="connsiteX7647" fmla="*/ 873013 w 3009712"/>
                <a:gd name="connsiteY7647" fmla="*/ 1498167 h 4178187"/>
                <a:gd name="connsiteX7648" fmla="*/ 873407 w 3009712"/>
                <a:gd name="connsiteY7648" fmla="*/ 1497774 h 4178187"/>
                <a:gd name="connsiteX7649" fmla="*/ 873800 w 3009712"/>
                <a:gd name="connsiteY7649" fmla="*/ 1496987 h 4178187"/>
                <a:gd name="connsiteX7650" fmla="*/ 875374 w 3009712"/>
                <a:gd name="connsiteY7650" fmla="*/ 1498167 h 4178187"/>
                <a:gd name="connsiteX7651" fmla="*/ 873013 w 3009712"/>
                <a:gd name="connsiteY7651" fmla="*/ 1499348 h 4178187"/>
                <a:gd name="connsiteX7652" fmla="*/ 873013 w 3009712"/>
                <a:gd name="connsiteY7652" fmla="*/ 1502102 h 4178187"/>
                <a:gd name="connsiteX7653" fmla="*/ 875767 w 3009712"/>
                <a:gd name="connsiteY7653" fmla="*/ 1500921 h 4178187"/>
                <a:gd name="connsiteX7654" fmla="*/ 877734 w 3009712"/>
                <a:gd name="connsiteY7654" fmla="*/ 1499741 h 4178187"/>
                <a:gd name="connsiteX7655" fmla="*/ 880882 w 3009712"/>
                <a:gd name="connsiteY7655" fmla="*/ 1501708 h 4178187"/>
                <a:gd name="connsiteX7656" fmla="*/ 881275 w 3009712"/>
                <a:gd name="connsiteY7656" fmla="*/ 1504462 h 4178187"/>
                <a:gd name="connsiteX7657" fmla="*/ 883636 w 3009712"/>
                <a:gd name="connsiteY7657" fmla="*/ 1504856 h 4178187"/>
                <a:gd name="connsiteX7658" fmla="*/ 884029 w 3009712"/>
                <a:gd name="connsiteY7658" fmla="*/ 1505643 h 4178187"/>
                <a:gd name="connsiteX7659" fmla="*/ 881275 w 3009712"/>
                <a:gd name="connsiteY7659" fmla="*/ 1505249 h 4178187"/>
                <a:gd name="connsiteX7660" fmla="*/ 884029 w 3009712"/>
                <a:gd name="connsiteY7660" fmla="*/ 1506429 h 4178187"/>
                <a:gd name="connsiteX7661" fmla="*/ 886783 w 3009712"/>
                <a:gd name="connsiteY7661" fmla="*/ 1508003 h 4178187"/>
                <a:gd name="connsiteX7662" fmla="*/ 887177 w 3009712"/>
                <a:gd name="connsiteY7662" fmla="*/ 1508003 h 4178187"/>
                <a:gd name="connsiteX7663" fmla="*/ 889537 w 3009712"/>
                <a:gd name="connsiteY7663" fmla="*/ 1510757 h 4178187"/>
                <a:gd name="connsiteX7664" fmla="*/ 891111 w 3009712"/>
                <a:gd name="connsiteY7664" fmla="*/ 1509970 h 4178187"/>
                <a:gd name="connsiteX7665" fmla="*/ 892291 w 3009712"/>
                <a:gd name="connsiteY7665" fmla="*/ 1510757 h 4178187"/>
                <a:gd name="connsiteX7666" fmla="*/ 892291 w 3009712"/>
                <a:gd name="connsiteY7666" fmla="*/ 1512331 h 4178187"/>
                <a:gd name="connsiteX7667" fmla="*/ 894258 w 3009712"/>
                <a:gd name="connsiteY7667" fmla="*/ 1511937 h 4178187"/>
                <a:gd name="connsiteX7668" fmla="*/ 899766 w 3009712"/>
                <a:gd name="connsiteY7668" fmla="*/ 1517445 h 4178187"/>
                <a:gd name="connsiteX7669" fmla="*/ 899373 w 3009712"/>
                <a:gd name="connsiteY7669" fmla="*/ 1518626 h 4178187"/>
                <a:gd name="connsiteX7670" fmla="*/ 898586 w 3009712"/>
                <a:gd name="connsiteY7670" fmla="*/ 1521773 h 4178187"/>
                <a:gd name="connsiteX7671" fmla="*/ 898979 w 3009712"/>
                <a:gd name="connsiteY7671" fmla="*/ 1524527 h 4178187"/>
                <a:gd name="connsiteX7672" fmla="*/ 897406 w 3009712"/>
                <a:gd name="connsiteY7672" fmla="*/ 1527281 h 4178187"/>
                <a:gd name="connsiteX7673" fmla="*/ 898193 w 3009712"/>
                <a:gd name="connsiteY7673" fmla="*/ 1530428 h 4178187"/>
                <a:gd name="connsiteX7674" fmla="*/ 900947 w 3009712"/>
                <a:gd name="connsiteY7674" fmla="*/ 1530822 h 4178187"/>
                <a:gd name="connsiteX7675" fmla="*/ 903701 w 3009712"/>
                <a:gd name="connsiteY7675" fmla="*/ 1533576 h 4178187"/>
                <a:gd name="connsiteX7676" fmla="*/ 904094 w 3009712"/>
                <a:gd name="connsiteY7676" fmla="*/ 1534363 h 4178187"/>
                <a:gd name="connsiteX7677" fmla="*/ 906848 w 3009712"/>
                <a:gd name="connsiteY7677" fmla="*/ 1537510 h 4178187"/>
                <a:gd name="connsiteX7678" fmla="*/ 905668 w 3009712"/>
                <a:gd name="connsiteY7678" fmla="*/ 1536723 h 4178187"/>
                <a:gd name="connsiteX7679" fmla="*/ 906848 w 3009712"/>
                <a:gd name="connsiteY7679" fmla="*/ 1538297 h 4178187"/>
                <a:gd name="connsiteX7680" fmla="*/ 912356 w 3009712"/>
                <a:gd name="connsiteY7680" fmla="*/ 1543018 h 4178187"/>
                <a:gd name="connsiteX7681" fmla="*/ 915110 w 3009712"/>
                <a:gd name="connsiteY7681" fmla="*/ 1545772 h 4178187"/>
                <a:gd name="connsiteX7682" fmla="*/ 916684 w 3009712"/>
                <a:gd name="connsiteY7682" fmla="*/ 1547739 h 4178187"/>
                <a:gd name="connsiteX7683" fmla="*/ 917864 w 3009712"/>
                <a:gd name="connsiteY7683" fmla="*/ 1548526 h 4178187"/>
                <a:gd name="connsiteX7684" fmla="*/ 926913 w 3009712"/>
                <a:gd name="connsiteY7684" fmla="*/ 1558362 h 4178187"/>
                <a:gd name="connsiteX7685" fmla="*/ 929273 w 3009712"/>
                <a:gd name="connsiteY7685" fmla="*/ 1564263 h 4178187"/>
                <a:gd name="connsiteX7686" fmla="*/ 929273 w 3009712"/>
                <a:gd name="connsiteY7686" fmla="*/ 1564657 h 4178187"/>
                <a:gd name="connsiteX7687" fmla="*/ 931240 w 3009712"/>
                <a:gd name="connsiteY7687" fmla="*/ 1567804 h 4178187"/>
                <a:gd name="connsiteX7688" fmla="*/ 932814 w 3009712"/>
                <a:gd name="connsiteY7688" fmla="*/ 1570558 h 4178187"/>
                <a:gd name="connsiteX7689" fmla="*/ 934781 w 3009712"/>
                <a:gd name="connsiteY7689" fmla="*/ 1573312 h 4178187"/>
                <a:gd name="connsiteX7690" fmla="*/ 936355 w 3009712"/>
                <a:gd name="connsiteY7690" fmla="*/ 1577640 h 4178187"/>
                <a:gd name="connsiteX7691" fmla="*/ 936355 w 3009712"/>
                <a:gd name="connsiteY7691" fmla="*/ 1578820 h 4178187"/>
                <a:gd name="connsiteX7692" fmla="*/ 937929 w 3009712"/>
                <a:gd name="connsiteY7692" fmla="*/ 1581574 h 4178187"/>
                <a:gd name="connsiteX7693" fmla="*/ 940289 w 3009712"/>
                <a:gd name="connsiteY7693" fmla="*/ 1584328 h 4178187"/>
                <a:gd name="connsiteX7694" fmla="*/ 941076 w 3009712"/>
                <a:gd name="connsiteY7694" fmla="*/ 1585508 h 4178187"/>
                <a:gd name="connsiteX7695" fmla="*/ 943437 w 3009712"/>
                <a:gd name="connsiteY7695" fmla="*/ 1588262 h 4178187"/>
                <a:gd name="connsiteX7696" fmla="*/ 945010 w 3009712"/>
                <a:gd name="connsiteY7696" fmla="*/ 1591016 h 4178187"/>
                <a:gd name="connsiteX7697" fmla="*/ 947764 w 3009712"/>
                <a:gd name="connsiteY7697" fmla="*/ 1592983 h 4178187"/>
                <a:gd name="connsiteX7698" fmla="*/ 948945 w 3009712"/>
                <a:gd name="connsiteY7698" fmla="*/ 1595737 h 4178187"/>
                <a:gd name="connsiteX7699" fmla="*/ 949731 w 3009712"/>
                <a:gd name="connsiteY7699" fmla="*/ 1596524 h 4178187"/>
                <a:gd name="connsiteX7700" fmla="*/ 953272 w 3009712"/>
                <a:gd name="connsiteY7700" fmla="*/ 1603999 h 4178187"/>
                <a:gd name="connsiteX7701" fmla="*/ 954059 w 3009712"/>
                <a:gd name="connsiteY7701" fmla="*/ 1613441 h 4178187"/>
                <a:gd name="connsiteX7702" fmla="*/ 953666 w 3009712"/>
                <a:gd name="connsiteY7702" fmla="*/ 1615015 h 4178187"/>
                <a:gd name="connsiteX7703" fmla="*/ 952879 w 3009712"/>
                <a:gd name="connsiteY7703" fmla="*/ 1617769 h 4178187"/>
                <a:gd name="connsiteX7704" fmla="*/ 952092 w 3009712"/>
                <a:gd name="connsiteY7704" fmla="*/ 1620917 h 4178187"/>
                <a:gd name="connsiteX7705" fmla="*/ 952879 w 3009712"/>
                <a:gd name="connsiteY7705" fmla="*/ 1623671 h 4178187"/>
                <a:gd name="connsiteX7706" fmla="*/ 954453 w 3009712"/>
                <a:gd name="connsiteY7706" fmla="*/ 1626818 h 4178187"/>
                <a:gd name="connsiteX7707" fmla="*/ 955633 w 3009712"/>
                <a:gd name="connsiteY7707" fmla="*/ 1629572 h 4178187"/>
                <a:gd name="connsiteX7708" fmla="*/ 956026 w 3009712"/>
                <a:gd name="connsiteY7708" fmla="*/ 1632719 h 4178187"/>
                <a:gd name="connsiteX7709" fmla="*/ 956420 w 3009712"/>
                <a:gd name="connsiteY7709" fmla="*/ 1633113 h 4178187"/>
                <a:gd name="connsiteX7710" fmla="*/ 957993 w 3009712"/>
                <a:gd name="connsiteY7710" fmla="*/ 1636260 h 4178187"/>
                <a:gd name="connsiteX7711" fmla="*/ 956420 w 3009712"/>
                <a:gd name="connsiteY7711" fmla="*/ 1654358 h 4178187"/>
                <a:gd name="connsiteX7712" fmla="*/ 956026 w 3009712"/>
                <a:gd name="connsiteY7712" fmla="*/ 1654751 h 4178187"/>
                <a:gd name="connsiteX7713" fmla="*/ 950912 w 3009712"/>
                <a:gd name="connsiteY7713" fmla="*/ 1660259 h 4178187"/>
                <a:gd name="connsiteX7714" fmla="*/ 950125 w 3009712"/>
                <a:gd name="connsiteY7714" fmla="*/ 1664193 h 4178187"/>
                <a:gd name="connsiteX7715" fmla="*/ 953272 w 3009712"/>
                <a:gd name="connsiteY7715" fmla="*/ 1664193 h 4178187"/>
                <a:gd name="connsiteX7716" fmla="*/ 956026 w 3009712"/>
                <a:gd name="connsiteY7716" fmla="*/ 1666554 h 4178187"/>
                <a:gd name="connsiteX7717" fmla="*/ 956420 w 3009712"/>
                <a:gd name="connsiteY7717" fmla="*/ 1668128 h 4178187"/>
                <a:gd name="connsiteX7718" fmla="*/ 955633 w 3009712"/>
                <a:gd name="connsiteY7718" fmla="*/ 1669308 h 4178187"/>
                <a:gd name="connsiteX7719" fmla="*/ 953666 w 3009712"/>
                <a:gd name="connsiteY7719" fmla="*/ 1671275 h 4178187"/>
                <a:gd name="connsiteX7720" fmla="*/ 950912 w 3009712"/>
                <a:gd name="connsiteY7720" fmla="*/ 1672849 h 4178187"/>
                <a:gd name="connsiteX7721" fmla="*/ 947764 w 3009712"/>
                <a:gd name="connsiteY7721" fmla="*/ 1673242 h 4178187"/>
                <a:gd name="connsiteX7722" fmla="*/ 945010 w 3009712"/>
                <a:gd name="connsiteY7722" fmla="*/ 1673636 h 4178187"/>
                <a:gd name="connsiteX7723" fmla="*/ 942256 w 3009712"/>
                <a:gd name="connsiteY7723" fmla="*/ 1675996 h 4178187"/>
                <a:gd name="connsiteX7724" fmla="*/ 942256 w 3009712"/>
                <a:gd name="connsiteY7724" fmla="*/ 1678750 h 4178187"/>
                <a:gd name="connsiteX7725" fmla="*/ 943437 w 3009712"/>
                <a:gd name="connsiteY7725" fmla="*/ 1681504 h 4178187"/>
                <a:gd name="connsiteX7726" fmla="*/ 944223 w 3009712"/>
                <a:gd name="connsiteY7726" fmla="*/ 1684652 h 4178187"/>
                <a:gd name="connsiteX7727" fmla="*/ 943830 w 3009712"/>
                <a:gd name="connsiteY7727" fmla="*/ 1687406 h 4178187"/>
                <a:gd name="connsiteX7728" fmla="*/ 944617 w 3009712"/>
                <a:gd name="connsiteY7728" fmla="*/ 1690160 h 4178187"/>
                <a:gd name="connsiteX7729" fmla="*/ 945404 w 3009712"/>
                <a:gd name="connsiteY7729" fmla="*/ 1692913 h 4178187"/>
                <a:gd name="connsiteX7730" fmla="*/ 946978 w 3009712"/>
                <a:gd name="connsiteY7730" fmla="*/ 1695668 h 4178187"/>
                <a:gd name="connsiteX7731" fmla="*/ 947371 w 3009712"/>
                <a:gd name="connsiteY7731" fmla="*/ 1696061 h 4178187"/>
                <a:gd name="connsiteX7732" fmla="*/ 948551 w 3009712"/>
                <a:gd name="connsiteY7732" fmla="*/ 1699208 h 4178187"/>
                <a:gd name="connsiteX7733" fmla="*/ 950518 w 3009712"/>
                <a:gd name="connsiteY7733" fmla="*/ 1701962 h 4178187"/>
                <a:gd name="connsiteX7734" fmla="*/ 950912 w 3009712"/>
                <a:gd name="connsiteY7734" fmla="*/ 1702749 h 4178187"/>
                <a:gd name="connsiteX7735" fmla="*/ 951305 w 3009712"/>
                <a:gd name="connsiteY7735" fmla="*/ 1703143 h 4178187"/>
                <a:gd name="connsiteX7736" fmla="*/ 954059 w 3009712"/>
                <a:gd name="connsiteY7736" fmla="*/ 1708651 h 4178187"/>
                <a:gd name="connsiteX7737" fmla="*/ 955239 w 3009712"/>
                <a:gd name="connsiteY7737" fmla="*/ 1711405 h 4178187"/>
                <a:gd name="connsiteX7738" fmla="*/ 957993 w 3009712"/>
                <a:gd name="connsiteY7738" fmla="*/ 1713765 h 4178187"/>
                <a:gd name="connsiteX7739" fmla="*/ 960354 w 3009712"/>
                <a:gd name="connsiteY7739" fmla="*/ 1716126 h 4178187"/>
                <a:gd name="connsiteX7740" fmla="*/ 962715 w 3009712"/>
                <a:gd name="connsiteY7740" fmla="*/ 1716519 h 4178187"/>
                <a:gd name="connsiteX7741" fmla="*/ 966255 w 3009712"/>
                <a:gd name="connsiteY7741" fmla="*/ 1718486 h 4178187"/>
                <a:gd name="connsiteX7742" fmla="*/ 974517 w 3009712"/>
                <a:gd name="connsiteY7742" fmla="*/ 1723207 h 4178187"/>
                <a:gd name="connsiteX7743" fmla="*/ 974517 w 3009712"/>
                <a:gd name="connsiteY7743" fmla="*/ 1723994 h 4178187"/>
                <a:gd name="connsiteX7744" fmla="*/ 977271 w 3009712"/>
                <a:gd name="connsiteY7744" fmla="*/ 1725174 h 4178187"/>
                <a:gd name="connsiteX7745" fmla="*/ 978845 w 3009712"/>
                <a:gd name="connsiteY7745" fmla="*/ 1725961 h 4178187"/>
                <a:gd name="connsiteX7746" fmla="*/ 983173 w 3009712"/>
                <a:gd name="connsiteY7746" fmla="*/ 1728322 h 4178187"/>
                <a:gd name="connsiteX7747" fmla="*/ 985533 w 3009712"/>
                <a:gd name="connsiteY7747" fmla="*/ 1731076 h 4178187"/>
                <a:gd name="connsiteX7748" fmla="*/ 985927 w 3009712"/>
                <a:gd name="connsiteY7748" fmla="*/ 1731863 h 4178187"/>
                <a:gd name="connsiteX7749" fmla="*/ 988287 w 3009712"/>
                <a:gd name="connsiteY7749" fmla="*/ 1734617 h 4178187"/>
                <a:gd name="connsiteX7750" fmla="*/ 989468 w 3009712"/>
                <a:gd name="connsiteY7750" fmla="*/ 1736190 h 4178187"/>
                <a:gd name="connsiteX7751" fmla="*/ 989861 w 3009712"/>
                <a:gd name="connsiteY7751" fmla="*/ 1738944 h 4178187"/>
                <a:gd name="connsiteX7752" fmla="*/ 992222 w 3009712"/>
                <a:gd name="connsiteY7752" fmla="*/ 1742092 h 4178187"/>
                <a:gd name="connsiteX7753" fmla="*/ 993008 w 3009712"/>
                <a:gd name="connsiteY7753" fmla="*/ 1744846 h 4178187"/>
                <a:gd name="connsiteX7754" fmla="*/ 994582 w 3009712"/>
                <a:gd name="connsiteY7754" fmla="*/ 1747600 h 4178187"/>
                <a:gd name="connsiteX7755" fmla="*/ 997730 w 3009712"/>
                <a:gd name="connsiteY7755" fmla="*/ 1749173 h 4178187"/>
                <a:gd name="connsiteX7756" fmla="*/ 1000483 w 3009712"/>
                <a:gd name="connsiteY7756" fmla="*/ 1749960 h 4178187"/>
                <a:gd name="connsiteX7757" fmla="*/ 1000877 w 3009712"/>
                <a:gd name="connsiteY7757" fmla="*/ 1750354 h 4178187"/>
                <a:gd name="connsiteX7758" fmla="*/ 1004024 w 3009712"/>
                <a:gd name="connsiteY7758" fmla="*/ 1751534 h 4178187"/>
                <a:gd name="connsiteX7759" fmla="*/ 1006778 w 3009712"/>
                <a:gd name="connsiteY7759" fmla="*/ 1751927 h 4178187"/>
                <a:gd name="connsiteX7760" fmla="*/ 1007172 w 3009712"/>
                <a:gd name="connsiteY7760" fmla="*/ 1752321 h 4178187"/>
                <a:gd name="connsiteX7761" fmla="*/ 1009926 w 3009712"/>
                <a:gd name="connsiteY7761" fmla="*/ 1753895 h 4178187"/>
                <a:gd name="connsiteX7762" fmla="*/ 1012680 w 3009712"/>
                <a:gd name="connsiteY7762" fmla="*/ 1755468 h 4178187"/>
                <a:gd name="connsiteX7763" fmla="*/ 1013860 w 3009712"/>
                <a:gd name="connsiteY7763" fmla="*/ 1755862 h 4178187"/>
                <a:gd name="connsiteX7764" fmla="*/ 1016614 w 3009712"/>
                <a:gd name="connsiteY7764" fmla="*/ 1756255 h 4178187"/>
                <a:gd name="connsiteX7765" fmla="*/ 1019368 w 3009712"/>
                <a:gd name="connsiteY7765" fmla="*/ 1756649 h 4178187"/>
                <a:gd name="connsiteX7766" fmla="*/ 1029990 w 3009712"/>
                <a:gd name="connsiteY7766" fmla="*/ 1760583 h 4178187"/>
                <a:gd name="connsiteX7767" fmla="*/ 1030384 w 3009712"/>
                <a:gd name="connsiteY7767" fmla="*/ 1760583 h 4178187"/>
                <a:gd name="connsiteX7768" fmla="*/ 1039433 w 3009712"/>
                <a:gd name="connsiteY7768" fmla="*/ 1760583 h 4178187"/>
                <a:gd name="connsiteX7769" fmla="*/ 1041400 w 3009712"/>
                <a:gd name="connsiteY7769" fmla="*/ 1762550 h 4178187"/>
                <a:gd name="connsiteX7770" fmla="*/ 1042580 w 3009712"/>
                <a:gd name="connsiteY7770" fmla="*/ 1764910 h 4178187"/>
                <a:gd name="connsiteX7771" fmla="*/ 1046514 w 3009712"/>
                <a:gd name="connsiteY7771" fmla="*/ 1770419 h 4178187"/>
                <a:gd name="connsiteX7772" fmla="*/ 1049268 w 3009712"/>
                <a:gd name="connsiteY7772" fmla="*/ 1771205 h 4178187"/>
                <a:gd name="connsiteX7773" fmla="*/ 1050449 w 3009712"/>
                <a:gd name="connsiteY7773" fmla="*/ 1773959 h 4178187"/>
                <a:gd name="connsiteX7774" fmla="*/ 1053203 w 3009712"/>
                <a:gd name="connsiteY7774" fmla="*/ 1775533 h 4178187"/>
                <a:gd name="connsiteX7775" fmla="*/ 1054383 w 3009712"/>
                <a:gd name="connsiteY7775" fmla="*/ 1776320 h 4178187"/>
                <a:gd name="connsiteX7776" fmla="*/ 1056744 w 3009712"/>
                <a:gd name="connsiteY7776" fmla="*/ 1778287 h 4178187"/>
                <a:gd name="connsiteX7777" fmla="*/ 1059891 w 3009712"/>
                <a:gd name="connsiteY7777" fmla="*/ 1780647 h 4178187"/>
                <a:gd name="connsiteX7778" fmla="*/ 1062645 w 3009712"/>
                <a:gd name="connsiteY7778" fmla="*/ 1783402 h 4178187"/>
                <a:gd name="connsiteX7779" fmla="*/ 1065399 w 3009712"/>
                <a:gd name="connsiteY7779" fmla="*/ 1784975 h 4178187"/>
                <a:gd name="connsiteX7780" fmla="*/ 1068153 w 3009712"/>
                <a:gd name="connsiteY7780" fmla="*/ 1785762 h 4178187"/>
                <a:gd name="connsiteX7781" fmla="*/ 1071300 w 3009712"/>
                <a:gd name="connsiteY7781" fmla="*/ 1787336 h 4178187"/>
                <a:gd name="connsiteX7782" fmla="*/ 1076808 w 3009712"/>
                <a:gd name="connsiteY7782" fmla="*/ 1789696 h 4178187"/>
                <a:gd name="connsiteX7783" fmla="*/ 1077989 w 3009712"/>
                <a:gd name="connsiteY7783" fmla="*/ 1790483 h 4178187"/>
                <a:gd name="connsiteX7784" fmla="*/ 1080743 w 3009712"/>
                <a:gd name="connsiteY7784" fmla="*/ 1791664 h 4178187"/>
                <a:gd name="connsiteX7785" fmla="*/ 1083496 w 3009712"/>
                <a:gd name="connsiteY7785" fmla="*/ 1793237 h 4178187"/>
                <a:gd name="connsiteX7786" fmla="*/ 1086251 w 3009712"/>
                <a:gd name="connsiteY7786" fmla="*/ 1793631 h 4178187"/>
                <a:gd name="connsiteX7787" fmla="*/ 1089004 w 3009712"/>
                <a:gd name="connsiteY7787" fmla="*/ 1795204 h 4178187"/>
                <a:gd name="connsiteX7788" fmla="*/ 1093332 w 3009712"/>
                <a:gd name="connsiteY7788" fmla="*/ 1797958 h 4178187"/>
                <a:gd name="connsiteX7789" fmla="*/ 1094512 w 3009712"/>
                <a:gd name="connsiteY7789" fmla="*/ 1800319 h 4178187"/>
                <a:gd name="connsiteX7790" fmla="*/ 1097266 w 3009712"/>
                <a:gd name="connsiteY7790" fmla="*/ 1802286 h 4178187"/>
                <a:gd name="connsiteX7791" fmla="*/ 1100020 w 3009712"/>
                <a:gd name="connsiteY7791" fmla="*/ 1802286 h 4178187"/>
                <a:gd name="connsiteX7792" fmla="*/ 1102381 w 3009712"/>
                <a:gd name="connsiteY7792" fmla="*/ 1803073 h 4178187"/>
                <a:gd name="connsiteX7793" fmla="*/ 1104741 w 3009712"/>
                <a:gd name="connsiteY7793" fmla="*/ 1803466 h 4178187"/>
                <a:gd name="connsiteX7794" fmla="*/ 1105922 w 3009712"/>
                <a:gd name="connsiteY7794" fmla="*/ 1803860 h 4178187"/>
                <a:gd name="connsiteX7795" fmla="*/ 1108282 w 3009712"/>
                <a:gd name="connsiteY7795" fmla="*/ 1804647 h 4178187"/>
                <a:gd name="connsiteX7796" fmla="*/ 1111036 w 3009712"/>
                <a:gd name="connsiteY7796" fmla="*/ 1805040 h 4178187"/>
                <a:gd name="connsiteX7797" fmla="*/ 1111430 w 3009712"/>
                <a:gd name="connsiteY7797" fmla="*/ 1805434 h 4178187"/>
                <a:gd name="connsiteX7798" fmla="*/ 1114184 w 3009712"/>
                <a:gd name="connsiteY7798" fmla="*/ 1806220 h 4178187"/>
                <a:gd name="connsiteX7799" fmla="*/ 1116938 w 3009712"/>
                <a:gd name="connsiteY7799" fmla="*/ 1806614 h 4178187"/>
                <a:gd name="connsiteX7800" fmla="*/ 1118511 w 3009712"/>
                <a:gd name="connsiteY7800" fmla="*/ 1807794 h 4178187"/>
                <a:gd name="connsiteX7801" fmla="*/ 1121659 w 3009712"/>
                <a:gd name="connsiteY7801" fmla="*/ 1807794 h 4178187"/>
                <a:gd name="connsiteX7802" fmla="*/ 1124019 w 3009712"/>
                <a:gd name="connsiteY7802" fmla="*/ 1809368 h 4178187"/>
                <a:gd name="connsiteX7803" fmla="*/ 1124413 w 3009712"/>
                <a:gd name="connsiteY7803" fmla="*/ 1809761 h 4178187"/>
                <a:gd name="connsiteX7804" fmla="*/ 1125987 w 3009712"/>
                <a:gd name="connsiteY7804" fmla="*/ 1812515 h 4178187"/>
                <a:gd name="connsiteX7805" fmla="*/ 1127954 w 3009712"/>
                <a:gd name="connsiteY7805" fmla="*/ 1815269 h 4178187"/>
                <a:gd name="connsiteX7806" fmla="*/ 1129921 w 3009712"/>
                <a:gd name="connsiteY7806" fmla="*/ 1816449 h 4178187"/>
                <a:gd name="connsiteX7807" fmla="*/ 1132675 w 3009712"/>
                <a:gd name="connsiteY7807" fmla="*/ 1817236 h 4178187"/>
                <a:gd name="connsiteX7808" fmla="*/ 1133068 w 3009712"/>
                <a:gd name="connsiteY7808" fmla="*/ 1817236 h 4178187"/>
                <a:gd name="connsiteX7809" fmla="*/ 1141330 w 3009712"/>
                <a:gd name="connsiteY7809" fmla="*/ 1820384 h 4178187"/>
                <a:gd name="connsiteX7810" fmla="*/ 1143691 w 3009712"/>
                <a:gd name="connsiteY7810" fmla="*/ 1821957 h 4178187"/>
                <a:gd name="connsiteX7811" fmla="*/ 1145264 w 3009712"/>
                <a:gd name="connsiteY7811" fmla="*/ 1823138 h 4178187"/>
                <a:gd name="connsiteX7812" fmla="*/ 1147232 w 3009712"/>
                <a:gd name="connsiteY7812" fmla="*/ 1825105 h 4178187"/>
                <a:gd name="connsiteX7813" fmla="*/ 1149986 w 3009712"/>
                <a:gd name="connsiteY7813" fmla="*/ 1827072 h 4178187"/>
                <a:gd name="connsiteX7814" fmla="*/ 1171231 w 3009712"/>
                <a:gd name="connsiteY7814" fmla="*/ 1831793 h 4178187"/>
                <a:gd name="connsiteX7815" fmla="*/ 1172411 w 3009712"/>
                <a:gd name="connsiteY7815" fmla="*/ 1832186 h 4178187"/>
                <a:gd name="connsiteX7816" fmla="*/ 1175165 w 3009712"/>
                <a:gd name="connsiteY7816" fmla="*/ 1834154 h 4178187"/>
                <a:gd name="connsiteX7817" fmla="*/ 1177919 w 3009712"/>
                <a:gd name="connsiteY7817" fmla="*/ 1834941 h 4178187"/>
                <a:gd name="connsiteX7818" fmla="*/ 1180673 w 3009712"/>
                <a:gd name="connsiteY7818" fmla="*/ 1835727 h 4178187"/>
                <a:gd name="connsiteX7819" fmla="*/ 1183427 w 3009712"/>
                <a:gd name="connsiteY7819" fmla="*/ 1837301 h 4178187"/>
                <a:gd name="connsiteX7820" fmla="*/ 1186574 w 3009712"/>
                <a:gd name="connsiteY7820" fmla="*/ 1837694 h 4178187"/>
                <a:gd name="connsiteX7821" fmla="*/ 1190902 w 3009712"/>
                <a:gd name="connsiteY7821" fmla="*/ 1836121 h 4178187"/>
                <a:gd name="connsiteX7822" fmla="*/ 1190902 w 3009712"/>
                <a:gd name="connsiteY7822" fmla="*/ 1836121 h 4178187"/>
                <a:gd name="connsiteX7823" fmla="*/ 1193656 w 3009712"/>
                <a:gd name="connsiteY7823" fmla="*/ 1836121 h 4178187"/>
                <a:gd name="connsiteX7824" fmla="*/ 1196803 w 3009712"/>
                <a:gd name="connsiteY7824" fmla="*/ 1834547 h 4178187"/>
                <a:gd name="connsiteX7825" fmla="*/ 1199557 w 3009712"/>
                <a:gd name="connsiteY7825" fmla="*/ 1832973 h 4178187"/>
                <a:gd name="connsiteX7826" fmla="*/ 1201131 w 3009712"/>
                <a:gd name="connsiteY7826" fmla="*/ 1832580 h 4178187"/>
                <a:gd name="connsiteX7827" fmla="*/ 1201131 w 3009712"/>
                <a:gd name="connsiteY7827" fmla="*/ 1832580 h 4178187"/>
                <a:gd name="connsiteX7828" fmla="*/ 1215688 w 3009712"/>
                <a:gd name="connsiteY7828" fmla="*/ 1827072 h 4178187"/>
                <a:gd name="connsiteX7829" fmla="*/ 1216081 w 3009712"/>
                <a:gd name="connsiteY7829" fmla="*/ 1826678 h 4178187"/>
                <a:gd name="connsiteX7830" fmla="*/ 1218835 w 3009712"/>
                <a:gd name="connsiteY7830" fmla="*/ 1826285 h 4178187"/>
                <a:gd name="connsiteX7831" fmla="*/ 1220802 w 3009712"/>
                <a:gd name="connsiteY7831" fmla="*/ 1823924 h 4178187"/>
                <a:gd name="connsiteX7832" fmla="*/ 1222769 w 3009712"/>
                <a:gd name="connsiteY7832" fmla="*/ 1822744 h 4178187"/>
                <a:gd name="connsiteX7833" fmla="*/ 1224343 w 3009712"/>
                <a:gd name="connsiteY7833" fmla="*/ 1821957 h 4178187"/>
                <a:gd name="connsiteX7834" fmla="*/ 1227097 w 3009712"/>
                <a:gd name="connsiteY7834" fmla="*/ 1819990 h 4178187"/>
                <a:gd name="connsiteX7835" fmla="*/ 1228277 w 3009712"/>
                <a:gd name="connsiteY7835" fmla="*/ 1818417 h 4178187"/>
                <a:gd name="connsiteX7836" fmla="*/ 1229458 w 3009712"/>
                <a:gd name="connsiteY7836" fmla="*/ 1819203 h 4178187"/>
                <a:gd name="connsiteX7837" fmla="*/ 1232212 w 3009712"/>
                <a:gd name="connsiteY7837" fmla="*/ 1818810 h 4178187"/>
                <a:gd name="connsiteX7838" fmla="*/ 1232605 w 3009712"/>
                <a:gd name="connsiteY7838" fmla="*/ 1818810 h 4178187"/>
                <a:gd name="connsiteX7839" fmla="*/ 1235359 w 3009712"/>
                <a:gd name="connsiteY7839" fmla="*/ 1818417 h 4178187"/>
                <a:gd name="connsiteX7840" fmla="*/ 1238113 w 3009712"/>
                <a:gd name="connsiteY7840" fmla="*/ 1818023 h 4178187"/>
                <a:gd name="connsiteX7841" fmla="*/ 1234966 w 3009712"/>
                <a:gd name="connsiteY7841" fmla="*/ 1816843 h 4178187"/>
                <a:gd name="connsiteX7842" fmla="*/ 1232212 w 3009712"/>
                <a:gd name="connsiteY7842" fmla="*/ 1816843 h 4178187"/>
                <a:gd name="connsiteX7843" fmla="*/ 1232605 w 3009712"/>
                <a:gd name="connsiteY7843" fmla="*/ 1814482 h 4178187"/>
                <a:gd name="connsiteX7844" fmla="*/ 1234179 w 3009712"/>
                <a:gd name="connsiteY7844" fmla="*/ 1813695 h 4178187"/>
                <a:gd name="connsiteX7845" fmla="*/ 1236933 w 3009712"/>
                <a:gd name="connsiteY7845" fmla="*/ 1811335 h 4178187"/>
                <a:gd name="connsiteX7846" fmla="*/ 1237720 w 3009712"/>
                <a:gd name="connsiteY7846" fmla="*/ 1811728 h 4178187"/>
                <a:gd name="connsiteX7847" fmla="*/ 1238506 w 3009712"/>
                <a:gd name="connsiteY7847" fmla="*/ 1813695 h 4178187"/>
                <a:gd name="connsiteX7848" fmla="*/ 1238900 w 3009712"/>
                <a:gd name="connsiteY7848" fmla="*/ 1816843 h 4178187"/>
                <a:gd name="connsiteX7849" fmla="*/ 1241260 w 3009712"/>
                <a:gd name="connsiteY7849" fmla="*/ 1814876 h 4178187"/>
                <a:gd name="connsiteX7850" fmla="*/ 1243228 w 3009712"/>
                <a:gd name="connsiteY7850" fmla="*/ 1816843 h 4178187"/>
                <a:gd name="connsiteX7851" fmla="*/ 1242834 w 3009712"/>
                <a:gd name="connsiteY7851" fmla="*/ 1817236 h 4178187"/>
                <a:gd name="connsiteX7852" fmla="*/ 1240080 w 3009712"/>
                <a:gd name="connsiteY7852" fmla="*/ 1818810 h 4178187"/>
                <a:gd name="connsiteX7853" fmla="*/ 1242834 w 3009712"/>
                <a:gd name="connsiteY7853" fmla="*/ 1818810 h 4178187"/>
                <a:gd name="connsiteX7854" fmla="*/ 1245588 w 3009712"/>
                <a:gd name="connsiteY7854" fmla="*/ 1819203 h 4178187"/>
                <a:gd name="connsiteX7855" fmla="*/ 1258965 w 3009712"/>
                <a:gd name="connsiteY7855" fmla="*/ 1824318 h 4178187"/>
                <a:gd name="connsiteX7856" fmla="*/ 1261719 w 3009712"/>
                <a:gd name="connsiteY7856" fmla="*/ 1825892 h 4178187"/>
                <a:gd name="connsiteX7857" fmla="*/ 1259358 w 3009712"/>
                <a:gd name="connsiteY7857" fmla="*/ 1823138 h 4178187"/>
                <a:gd name="connsiteX7858" fmla="*/ 1258571 w 3009712"/>
                <a:gd name="connsiteY7858" fmla="*/ 1822744 h 4178187"/>
                <a:gd name="connsiteX7859" fmla="*/ 1258965 w 3009712"/>
                <a:gd name="connsiteY7859" fmla="*/ 1821171 h 4178187"/>
                <a:gd name="connsiteX7860" fmla="*/ 1264473 w 3009712"/>
                <a:gd name="connsiteY7860" fmla="*/ 1826285 h 4178187"/>
                <a:gd name="connsiteX7861" fmla="*/ 1264079 w 3009712"/>
                <a:gd name="connsiteY7861" fmla="*/ 1827072 h 4178187"/>
                <a:gd name="connsiteX7862" fmla="*/ 1266833 w 3009712"/>
                <a:gd name="connsiteY7862" fmla="*/ 1829039 h 4178187"/>
                <a:gd name="connsiteX7863" fmla="*/ 1268800 w 3009712"/>
                <a:gd name="connsiteY7863" fmla="*/ 1830613 h 4178187"/>
                <a:gd name="connsiteX7864" fmla="*/ 1271948 w 3009712"/>
                <a:gd name="connsiteY7864" fmla="*/ 1833367 h 4178187"/>
                <a:gd name="connsiteX7865" fmla="*/ 1293193 w 3009712"/>
                <a:gd name="connsiteY7865" fmla="*/ 1857366 h 4178187"/>
                <a:gd name="connsiteX7866" fmla="*/ 1293980 w 3009712"/>
                <a:gd name="connsiteY7866" fmla="*/ 1858939 h 4178187"/>
                <a:gd name="connsiteX7867" fmla="*/ 1295947 w 3009712"/>
                <a:gd name="connsiteY7867" fmla="*/ 1861693 h 4178187"/>
                <a:gd name="connsiteX7868" fmla="*/ 1300668 w 3009712"/>
                <a:gd name="connsiteY7868" fmla="*/ 1867201 h 4178187"/>
                <a:gd name="connsiteX7869" fmla="*/ 1302635 w 3009712"/>
                <a:gd name="connsiteY7869" fmla="*/ 1869955 h 4178187"/>
                <a:gd name="connsiteX7870" fmla="*/ 1307356 w 3009712"/>
                <a:gd name="connsiteY7870" fmla="*/ 1875463 h 4178187"/>
                <a:gd name="connsiteX7871" fmla="*/ 1309717 w 3009712"/>
                <a:gd name="connsiteY7871" fmla="*/ 1877824 h 4178187"/>
                <a:gd name="connsiteX7872" fmla="*/ 1311290 w 3009712"/>
                <a:gd name="connsiteY7872" fmla="*/ 1879398 h 4178187"/>
                <a:gd name="connsiteX7873" fmla="*/ 1314044 w 3009712"/>
                <a:gd name="connsiteY7873" fmla="*/ 1882152 h 4178187"/>
                <a:gd name="connsiteX7874" fmla="*/ 1316798 w 3009712"/>
                <a:gd name="connsiteY7874" fmla="*/ 1884905 h 4178187"/>
                <a:gd name="connsiteX7875" fmla="*/ 1319552 w 3009712"/>
                <a:gd name="connsiteY7875" fmla="*/ 1887659 h 4178187"/>
                <a:gd name="connsiteX7876" fmla="*/ 1323093 w 3009712"/>
                <a:gd name="connsiteY7876" fmla="*/ 1890020 h 4178187"/>
                <a:gd name="connsiteX7877" fmla="*/ 1323880 w 3009712"/>
                <a:gd name="connsiteY7877" fmla="*/ 1890807 h 4178187"/>
                <a:gd name="connsiteX7878" fmla="*/ 1326634 w 3009712"/>
                <a:gd name="connsiteY7878" fmla="*/ 1892774 h 4178187"/>
                <a:gd name="connsiteX7879" fmla="*/ 1328995 w 3009712"/>
                <a:gd name="connsiteY7879" fmla="*/ 1893954 h 4178187"/>
                <a:gd name="connsiteX7880" fmla="*/ 1329781 w 3009712"/>
                <a:gd name="connsiteY7880" fmla="*/ 1894741 h 4178187"/>
                <a:gd name="connsiteX7881" fmla="*/ 1332535 w 3009712"/>
                <a:gd name="connsiteY7881" fmla="*/ 1895922 h 4178187"/>
                <a:gd name="connsiteX7882" fmla="*/ 1335683 w 3009712"/>
                <a:gd name="connsiteY7882" fmla="*/ 1896708 h 4178187"/>
                <a:gd name="connsiteX7883" fmla="*/ 1338437 w 3009712"/>
                <a:gd name="connsiteY7883" fmla="*/ 1897102 h 4178187"/>
                <a:gd name="connsiteX7884" fmla="*/ 1343945 w 3009712"/>
                <a:gd name="connsiteY7884" fmla="*/ 1897102 h 4178187"/>
                <a:gd name="connsiteX7885" fmla="*/ 1346699 w 3009712"/>
                <a:gd name="connsiteY7885" fmla="*/ 1896708 h 4178187"/>
                <a:gd name="connsiteX7886" fmla="*/ 1349453 w 3009712"/>
                <a:gd name="connsiteY7886" fmla="*/ 1897102 h 4178187"/>
                <a:gd name="connsiteX7887" fmla="*/ 1352207 w 3009712"/>
                <a:gd name="connsiteY7887" fmla="*/ 1896708 h 4178187"/>
                <a:gd name="connsiteX7888" fmla="*/ 1362829 w 3009712"/>
                <a:gd name="connsiteY7888" fmla="*/ 1901036 h 4178187"/>
                <a:gd name="connsiteX7889" fmla="*/ 1363223 w 3009712"/>
                <a:gd name="connsiteY7889" fmla="*/ 1901429 h 4178187"/>
                <a:gd name="connsiteX7890" fmla="*/ 1364403 w 3009712"/>
                <a:gd name="connsiteY7890" fmla="*/ 1901823 h 4178187"/>
                <a:gd name="connsiteX7891" fmla="*/ 1367550 w 3009712"/>
                <a:gd name="connsiteY7891" fmla="*/ 1903397 h 4178187"/>
                <a:gd name="connsiteX7892" fmla="*/ 1369911 w 3009712"/>
                <a:gd name="connsiteY7892" fmla="*/ 1904970 h 4178187"/>
                <a:gd name="connsiteX7893" fmla="*/ 1371091 w 3009712"/>
                <a:gd name="connsiteY7893" fmla="*/ 1906544 h 4178187"/>
                <a:gd name="connsiteX7894" fmla="*/ 1372665 w 3009712"/>
                <a:gd name="connsiteY7894" fmla="*/ 1907331 h 4178187"/>
                <a:gd name="connsiteX7895" fmla="*/ 1374239 w 3009712"/>
                <a:gd name="connsiteY7895" fmla="*/ 1908118 h 4178187"/>
                <a:gd name="connsiteX7896" fmla="*/ 1375419 w 3009712"/>
                <a:gd name="connsiteY7896" fmla="*/ 1910872 h 4178187"/>
                <a:gd name="connsiteX7897" fmla="*/ 1378173 w 3009712"/>
                <a:gd name="connsiteY7897" fmla="*/ 1910872 h 4178187"/>
                <a:gd name="connsiteX7898" fmla="*/ 1380927 w 3009712"/>
                <a:gd name="connsiteY7898" fmla="*/ 1911265 h 4178187"/>
                <a:gd name="connsiteX7899" fmla="*/ 1383287 w 3009712"/>
                <a:gd name="connsiteY7899" fmla="*/ 1912052 h 4178187"/>
                <a:gd name="connsiteX7900" fmla="*/ 1384074 w 3009712"/>
                <a:gd name="connsiteY7900" fmla="*/ 1912052 h 4178187"/>
                <a:gd name="connsiteX7901" fmla="*/ 1394303 w 3009712"/>
                <a:gd name="connsiteY7901" fmla="*/ 1914806 h 4178187"/>
                <a:gd name="connsiteX7902" fmla="*/ 1396664 w 3009712"/>
                <a:gd name="connsiteY7902" fmla="*/ 1916380 h 4178187"/>
                <a:gd name="connsiteX7903" fmla="*/ 1397844 w 3009712"/>
                <a:gd name="connsiteY7903" fmla="*/ 1916773 h 4178187"/>
                <a:gd name="connsiteX7904" fmla="*/ 1403352 w 3009712"/>
                <a:gd name="connsiteY7904" fmla="*/ 1919921 h 4178187"/>
                <a:gd name="connsiteX7905" fmla="*/ 1403746 w 3009712"/>
                <a:gd name="connsiteY7905" fmla="*/ 1920314 h 4178187"/>
                <a:gd name="connsiteX7906" fmla="*/ 1405713 w 3009712"/>
                <a:gd name="connsiteY7906" fmla="*/ 1920707 h 4178187"/>
                <a:gd name="connsiteX7907" fmla="*/ 1408467 w 3009712"/>
                <a:gd name="connsiteY7907" fmla="*/ 1921101 h 4178187"/>
                <a:gd name="connsiteX7908" fmla="*/ 1411221 w 3009712"/>
                <a:gd name="connsiteY7908" fmla="*/ 1920707 h 4178187"/>
                <a:gd name="connsiteX7909" fmla="*/ 1410827 w 3009712"/>
                <a:gd name="connsiteY7909" fmla="*/ 1920707 h 4178187"/>
                <a:gd name="connsiteX7910" fmla="*/ 1413975 w 3009712"/>
                <a:gd name="connsiteY7910" fmla="*/ 1920707 h 4178187"/>
                <a:gd name="connsiteX7911" fmla="*/ 1416729 w 3009712"/>
                <a:gd name="connsiteY7911" fmla="*/ 1921101 h 4178187"/>
                <a:gd name="connsiteX7912" fmla="*/ 1418302 w 3009712"/>
                <a:gd name="connsiteY7912" fmla="*/ 1923068 h 4178187"/>
                <a:gd name="connsiteX7913" fmla="*/ 1421056 w 3009712"/>
                <a:gd name="connsiteY7913" fmla="*/ 1923461 h 4178187"/>
                <a:gd name="connsiteX7914" fmla="*/ 1423810 w 3009712"/>
                <a:gd name="connsiteY7914" fmla="*/ 1923068 h 4178187"/>
                <a:gd name="connsiteX7915" fmla="*/ 1424204 w 3009712"/>
                <a:gd name="connsiteY7915" fmla="*/ 1923068 h 4178187"/>
                <a:gd name="connsiteX7916" fmla="*/ 1424597 w 3009712"/>
                <a:gd name="connsiteY7916" fmla="*/ 1923068 h 4178187"/>
                <a:gd name="connsiteX7917" fmla="*/ 1427351 w 3009712"/>
                <a:gd name="connsiteY7917" fmla="*/ 1923461 h 4178187"/>
                <a:gd name="connsiteX7918" fmla="*/ 1430105 w 3009712"/>
                <a:gd name="connsiteY7918" fmla="*/ 1921888 h 4178187"/>
                <a:gd name="connsiteX7919" fmla="*/ 1432859 w 3009712"/>
                <a:gd name="connsiteY7919" fmla="*/ 1919921 h 4178187"/>
                <a:gd name="connsiteX7920" fmla="*/ 1431285 w 3009712"/>
                <a:gd name="connsiteY7920" fmla="*/ 1917166 h 4178187"/>
                <a:gd name="connsiteX7921" fmla="*/ 1432466 w 3009712"/>
                <a:gd name="connsiteY7921" fmla="*/ 1914412 h 4178187"/>
                <a:gd name="connsiteX7922" fmla="*/ 1432859 w 3009712"/>
                <a:gd name="connsiteY7922" fmla="*/ 1915593 h 4178187"/>
                <a:gd name="connsiteX7923" fmla="*/ 1433253 w 3009712"/>
                <a:gd name="connsiteY7923" fmla="*/ 1915986 h 4178187"/>
                <a:gd name="connsiteX7924" fmla="*/ 1436400 w 3009712"/>
                <a:gd name="connsiteY7924" fmla="*/ 1917166 h 4178187"/>
                <a:gd name="connsiteX7925" fmla="*/ 1439941 w 3009712"/>
                <a:gd name="connsiteY7925" fmla="*/ 1916380 h 4178187"/>
                <a:gd name="connsiteX7926" fmla="*/ 1440334 w 3009712"/>
                <a:gd name="connsiteY7926" fmla="*/ 1916380 h 4178187"/>
                <a:gd name="connsiteX7927" fmla="*/ 1443088 w 3009712"/>
                <a:gd name="connsiteY7927" fmla="*/ 1917166 h 4178187"/>
                <a:gd name="connsiteX7928" fmla="*/ 1445842 w 3009712"/>
                <a:gd name="connsiteY7928" fmla="*/ 1916380 h 4178187"/>
                <a:gd name="connsiteX7929" fmla="*/ 1443088 w 3009712"/>
                <a:gd name="connsiteY7929" fmla="*/ 1918347 h 4178187"/>
                <a:gd name="connsiteX7930" fmla="*/ 1443088 w 3009712"/>
                <a:gd name="connsiteY7930" fmla="*/ 1921101 h 4178187"/>
                <a:gd name="connsiteX7931" fmla="*/ 1443875 w 3009712"/>
                <a:gd name="connsiteY7931" fmla="*/ 1924248 h 4178187"/>
                <a:gd name="connsiteX7932" fmla="*/ 1444662 w 3009712"/>
                <a:gd name="connsiteY7932" fmla="*/ 1925429 h 4178187"/>
                <a:gd name="connsiteX7933" fmla="*/ 1446236 w 3009712"/>
                <a:gd name="connsiteY7933" fmla="*/ 1925822 h 4178187"/>
                <a:gd name="connsiteX7934" fmla="*/ 1447809 w 3009712"/>
                <a:gd name="connsiteY7934" fmla="*/ 1928576 h 4178187"/>
                <a:gd name="connsiteX7935" fmla="*/ 1447022 w 3009712"/>
                <a:gd name="connsiteY7935" fmla="*/ 1930149 h 4178187"/>
                <a:gd name="connsiteX7936" fmla="*/ 1447022 w 3009712"/>
                <a:gd name="connsiteY7936" fmla="*/ 1932510 h 4178187"/>
                <a:gd name="connsiteX7937" fmla="*/ 1441121 w 3009712"/>
                <a:gd name="connsiteY7937" fmla="*/ 1928969 h 4178187"/>
                <a:gd name="connsiteX7938" fmla="*/ 1438761 w 3009712"/>
                <a:gd name="connsiteY7938" fmla="*/ 1927396 h 4178187"/>
                <a:gd name="connsiteX7939" fmla="*/ 1437580 w 3009712"/>
                <a:gd name="connsiteY7939" fmla="*/ 1928969 h 4178187"/>
                <a:gd name="connsiteX7940" fmla="*/ 1435220 w 3009712"/>
                <a:gd name="connsiteY7940" fmla="*/ 1931723 h 4178187"/>
                <a:gd name="connsiteX7941" fmla="*/ 1437580 w 3009712"/>
                <a:gd name="connsiteY7941" fmla="*/ 1934477 h 4178187"/>
                <a:gd name="connsiteX7942" fmla="*/ 1440334 w 3009712"/>
                <a:gd name="connsiteY7942" fmla="*/ 1936051 h 4178187"/>
                <a:gd name="connsiteX7943" fmla="*/ 1441908 w 3009712"/>
                <a:gd name="connsiteY7943" fmla="*/ 1938805 h 4178187"/>
                <a:gd name="connsiteX7944" fmla="*/ 1443875 w 3009712"/>
                <a:gd name="connsiteY7944" fmla="*/ 1941559 h 4178187"/>
                <a:gd name="connsiteX7945" fmla="*/ 1446629 w 3009712"/>
                <a:gd name="connsiteY7945" fmla="*/ 1944313 h 4178187"/>
                <a:gd name="connsiteX7946" fmla="*/ 1448990 w 3009712"/>
                <a:gd name="connsiteY7946" fmla="*/ 1947067 h 4178187"/>
                <a:gd name="connsiteX7947" fmla="*/ 1450563 w 3009712"/>
                <a:gd name="connsiteY7947" fmla="*/ 1947460 h 4178187"/>
                <a:gd name="connsiteX7948" fmla="*/ 1450957 w 3009712"/>
                <a:gd name="connsiteY7948" fmla="*/ 1948641 h 4178187"/>
                <a:gd name="connsiteX7949" fmla="*/ 1451350 w 3009712"/>
                <a:gd name="connsiteY7949" fmla="*/ 1949821 h 4178187"/>
                <a:gd name="connsiteX7950" fmla="*/ 1454498 w 3009712"/>
                <a:gd name="connsiteY7950" fmla="*/ 1952182 h 4178187"/>
                <a:gd name="connsiteX7951" fmla="*/ 1457252 w 3009712"/>
                <a:gd name="connsiteY7951" fmla="*/ 1954542 h 4178187"/>
                <a:gd name="connsiteX7952" fmla="*/ 1460006 w 3009712"/>
                <a:gd name="connsiteY7952" fmla="*/ 1956903 h 4178187"/>
                <a:gd name="connsiteX7953" fmla="*/ 1460399 w 3009712"/>
                <a:gd name="connsiteY7953" fmla="*/ 1957689 h 4178187"/>
                <a:gd name="connsiteX7954" fmla="*/ 1461186 w 3009712"/>
                <a:gd name="connsiteY7954" fmla="*/ 1960443 h 4178187"/>
                <a:gd name="connsiteX7955" fmla="*/ 1462366 w 3009712"/>
                <a:gd name="connsiteY7955" fmla="*/ 1963197 h 4178187"/>
                <a:gd name="connsiteX7956" fmla="*/ 1463940 w 3009712"/>
                <a:gd name="connsiteY7956" fmla="*/ 1966738 h 4178187"/>
                <a:gd name="connsiteX7957" fmla="*/ 1466300 w 3009712"/>
                <a:gd name="connsiteY7957" fmla="*/ 1971066 h 4178187"/>
                <a:gd name="connsiteX7958" fmla="*/ 1470235 w 3009712"/>
                <a:gd name="connsiteY7958" fmla="*/ 1975787 h 4178187"/>
                <a:gd name="connsiteX7959" fmla="*/ 1475349 w 3009712"/>
                <a:gd name="connsiteY7959" fmla="*/ 1979328 h 4178187"/>
                <a:gd name="connsiteX7960" fmla="*/ 1477710 w 3009712"/>
                <a:gd name="connsiteY7960" fmla="*/ 1982082 h 4178187"/>
                <a:gd name="connsiteX7961" fmla="*/ 1480070 w 3009712"/>
                <a:gd name="connsiteY7961" fmla="*/ 1984836 h 4178187"/>
                <a:gd name="connsiteX7962" fmla="*/ 1481251 w 3009712"/>
                <a:gd name="connsiteY7962" fmla="*/ 1986016 h 4178187"/>
                <a:gd name="connsiteX7963" fmla="*/ 1484005 w 3009712"/>
                <a:gd name="connsiteY7963" fmla="*/ 1989163 h 4178187"/>
                <a:gd name="connsiteX7964" fmla="*/ 1484792 w 3009712"/>
                <a:gd name="connsiteY7964" fmla="*/ 1990344 h 4178187"/>
                <a:gd name="connsiteX7965" fmla="*/ 1485972 w 3009712"/>
                <a:gd name="connsiteY7965" fmla="*/ 1993098 h 4178187"/>
                <a:gd name="connsiteX7966" fmla="*/ 1488726 w 3009712"/>
                <a:gd name="connsiteY7966" fmla="*/ 1994672 h 4178187"/>
                <a:gd name="connsiteX7967" fmla="*/ 1484005 w 3009712"/>
                <a:gd name="connsiteY7967" fmla="*/ 1999393 h 4178187"/>
                <a:gd name="connsiteX7968" fmla="*/ 1482824 w 3009712"/>
                <a:gd name="connsiteY7968" fmla="*/ 2001753 h 4178187"/>
                <a:gd name="connsiteX7969" fmla="*/ 1483611 w 3009712"/>
                <a:gd name="connsiteY7969" fmla="*/ 2002540 h 4178187"/>
                <a:gd name="connsiteX7970" fmla="*/ 1481644 w 3009712"/>
                <a:gd name="connsiteY7970" fmla="*/ 2019064 h 4178187"/>
                <a:gd name="connsiteX7971" fmla="*/ 1481644 w 3009712"/>
                <a:gd name="connsiteY7971" fmla="*/ 2019851 h 4178187"/>
                <a:gd name="connsiteX7972" fmla="*/ 1481251 w 3009712"/>
                <a:gd name="connsiteY7972" fmla="*/ 2022605 h 4178187"/>
                <a:gd name="connsiteX7973" fmla="*/ 1482038 w 3009712"/>
                <a:gd name="connsiteY7973" fmla="*/ 2025359 h 4178187"/>
                <a:gd name="connsiteX7974" fmla="*/ 1482824 w 3009712"/>
                <a:gd name="connsiteY7974" fmla="*/ 2028506 h 4178187"/>
                <a:gd name="connsiteX7975" fmla="*/ 1484792 w 3009712"/>
                <a:gd name="connsiteY7975" fmla="*/ 2031260 h 4178187"/>
                <a:gd name="connsiteX7976" fmla="*/ 1485185 w 3009712"/>
                <a:gd name="connsiteY7976" fmla="*/ 2031654 h 4178187"/>
                <a:gd name="connsiteX7977" fmla="*/ 1486759 w 3009712"/>
                <a:gd name="connsiteY7977" fmla="*/ 2034801 h 4178187"/>
                <a:gd name="connsiteX7978" fmla="*/ 1489512 w 3009712"/>
                <a:gd name="connsiteY7978" fmla="*/ 2035588 h 4178187"/>
                <a:gd name="connsiteX7979" fmla="*/ 1491480 w 3009712"/>
                <a:gd name="connsiteY7979" fmla="*/ 2035981 h 4178187"/>
                <a:gd name="connsiteX7980" fmla="*/ 1497775 w 3009712"/>
                <a:gd name="connsiteY7980" fmla="*/ 2039916 h 4178187"/>
                <a:gd name="connsiteX7981" fmla="*/ 1498168 w 3009712"/>
                <a:gd name="connsiteY7981" fmla="*/ 2040309 h 4178187"/>
                <a:gd name="connsiteX7982" fmla="*/ 1499348 w 3009712"/>
                <a:gd name="connsiteY7982" fmla="*/ 2042670 h 4178187"/>
                <a:gd name="connsiteX7983" fmla="*/ 1502102 w 3009712"/>
                <a:gd name="connsiteY7983" fmla="*/ 2044637 h 4178187"/>
                <a:gd name="connsiteX7984" fmla="*/ 1504463 w 3009712"/>
                <a:gd name="connsiteY7984" fmla="*/ 2041883 h 4178187"/>
                <a:gd name="connsiteX7985" fmla="*/ 1507217 w 3009712"/>
                <a:gd name="connsiteY7985" fmla="*/ 2039129 h 4178187"/>
                <a:gd name="connsiteX7986" fmla="*/ 1508004 w 3009712"/>
                <a:gd name="connsiteY7986" fmla="*/ 2035981 h 4178187"/>
                <a:gd name="connsiteX7987" fmla="*/ 1506823 w 3009712"/>
                <a:gd name="connsiteY7987" fmla="*/ 2033227 h 4178187"/>
                <a:gd name="connsiteX7988" fmla="*/ 1504069 w 3009712"/>
                <a:gd name="connsiteY7988" fmla="*/ 2032440 h 4178187"/>
                <a:gd name="connsiteX7989" fmla="*/ 1501315 w 3009712"/>
                <a:gd name="connsiteY7989" fmla="*/ 2031260 h 4178187"/>
                <a:gd name="connsiteX7990" fmla="*/ 1500922 w 3009712"/>
                <a:gd name="connsiteY7990" fmla="*/ 2030473 h 4178187"/>
                <a:gd name="connsiteX7991" fmla="*/ 1500529 w 3009712"/>
                <a:gd name="connsiteY7991" fmla="*/ 2030080 h 4178187"/>
                <a:gd name="connsiteX7992" fmla="*/ 1498955 w 3009712"/>
                <a:gd name="connsiteY7992" fmla="*/ 2024965 h 4178187"/>
                <a:gd name="connsiteX7993" fmla="*/ 1498955 w 3009712"/>
                <a:gd name="connsiteY7993" fmla="*/ 2024572 h 4178187"/>
                <a:gd name="connsiteX7994" fmla="*/ 1498168 w 3009712"/>
                <a:gd name="connsiteY7994" fmla="*/ 2021818 h 4178187"/>
                <a:gd name="connsiteX7995" fmla="*/ 1499348 w 3009712"/>
                <a:gd name="connsiteY7995" fmla="*/ 2022998 h 4178187"/>
                <a:gd name="connsiteX7996" fmla="*/ 1499742 w 3009712"/>
                <a:gd name="connsiteY7996" fmla="*/ 2024965 h 4178187"/>
                <a:gd name="connsiteX7997" fmla="*/ 1501315 w 3009712"/>
                <a:gd name="connsiteY7997" fmla="*/ 2025752 h 4178187"/>
                <a:gd name="connsiteX7998" fmla="*/ 1504069 w 3009712"/>
                <a:gd name="connsiteY7998" fmla="*/ 2026146 h 4178187"/>
                <a:gd name="connsiteX7999" fmla="*/ 1506036 w 3009712"/>
                <a:gd name="connsiteY7999" fmla="*/ 2028506 h 4178187"/>
                <a:gd name="connsiteX8000" fmla="*/ 1509577 w 3009712"/>
                <a:gd name="connsiteY8000" fmla="*/ 2031654 h 4178187"/>
                <a:gd name="connsiteX8001" fmla="*/ 1516266 w 3009712"/>
                <a:gd name="connsiteY8001" fmla="*/ 2039129 h 4178187"/>
                <a:gd name="connsiteX8002" fmla="*/ 1516266 w 3009712"/>
                <a:gd name="connsiteY8002" fmla="*/ 2039522 h 4178187"/>
                <a:gd name="connsiteX8003" fmla="*/ 1514692 w 3009712"/>
                <a:gd name="connsiteY8003" fmla="*/ 2042276 h 4178187"/>
                <a:gd name="connsiteX8004" fmla="*/ 1516266 w 3009712"/>
                <a:gd name="connsiteY8004" fmla="*/ 2045030 h 4178187"/>
                <a:gd name="connsiteX8005" fmla="*/ 1518626 w 3009712"/>
                <a:gd name="connsiteY8005" fmla="*/ 2048177 h 4178187"/>
                <a:gd name="connsiteX8006" fmla="*/ 1521774 w 3009712"/>
                <a:gd name="connsiteY8006" fmla="*/ 2048177 h 4178187"/>
                <a:gd name="connsiteX8007" fmla="*/ 1524528 w 3009712"/>
                <a:gd name="connsiteY8007" fmla="*/ 2048964 h 4178187"/>
                <a:gd name="connsiteX8008" fmla="*/ 1529642 w 3009712"/>
                <a:gd name="connsiteY8008" fmla="*/ 2051718 h 4178187"/>
                <a:gd name="connsiteX8009" fmla="*/ 1530429 w 3009712"/>
                <a:gd name="connsiteY8009" fmla="*/ 2052505 h 4178187"/>
                <a:gd name="connsiteX8010" fmla="*/ 1533576 w 3009712"/>
                <a:gd name="connsiteY8010" fmla="*/ 2053685 h 4178187"/>
                <a:gd name="connsiteX8011" fmla="*/ 1545379 w 3009712"/>
                <a:gd name="connsiteY8011" fmla="*/ 2066668 h 4178187"/>
                <a:gd name="connsiteX8012" fmla="*/ 1545773 w 3009712"/>
                <a:gd name="connsiteY8012" fmla="*/ 2069423 h 4178187"/>
                <a:gd name="connsiteX8013" fmla="*/ 1544986 w 3009712"/>
                <a:gd name="connsiteY8013" fmla="*/ 2071390 h 4178187"/>
                <a:gd name="connsiteX8014" fmla="*/ 1542232 w 3009712"/>
                <a:gd name="connsiteY8014" fmla="*/ 2076111 h 4178187"/>
                <a:gd name="connsiteX8015" fmla="*/ 1540658 w 3009712"/>
                <a:gd name="connsiteY8015" fmla="*/ 2078471 h 4178187"/>
                <a:gd name="connsiteX8016" fmla="*/ 1543019 w 3009712"/>
                <a:gd name="connsiteY8016" fmla="*/ 2081225 h 4178187"/>
                <a:gd name="connsiteX8017" fmla="*/ 1544986 w 3009712"/>
                <a:gd name="connsiteY8017" fmla="*/ 2083979 h 4178187"/>
                <a:gd name="connsiteX8018" fmla="*/ 1547740 w 3009712"/>
                <a:gd name="connsiteY8018" fmla="*/ 2084373 h 4178187"/>
                <a:gd name="connsiteX8019" fmla="*/ 1550494 w 3009712"/>
                <a:gd name="connsiteY8019" fmla="*/ 2085946 h 4178187"/>
                <a:gd name="connsiteX8020" fmla="*/ 1553641 w 3009712"/>
                <a:gd name="connsiteY8020" fmla="*/ 2087127 h 4178187"/>
                <a:gd name="connsiteX8021" fmla="*/ 1554035 w 3009712"/>
                <a:gd name="connsiteY8021" fmla="*/ 2086340 h 4178187"/>
                <a:gd name="connsiteX8022" fmla="*/ 1554035 w 3009712"/>
                <a:gd name="connsiteY8022" fmla="*/ 2083586 h 4178187"/>
                <a:gd name="connsiteX8023" fmla="*/ 1552461 w 3009712"/>
                <a:gd name="connsiteY8023" fmla="*/ 2080832 h 4178187"/>
                <a:gd name="connsiteX8024" fmla="*/ 1552461 w 3009712"/>
                <a:gd name="connsiteY8024" fmla="*/ 2080832 h 4178187"/>
                <a:gd name="connsiteX8025" fmla="*/ 1551280 w 3009712"/>
                <a:gd name="connsiteY8025" fmla="*/ 2074931 h 4178187"/>
                <a:gd name="connsiteX8026" fmla="*/ 1558362 w 3009712"/>
                <a:gd name="connsiteY8026" fmla="*/ 2087520 h 4178187"/>
                <a:gd name="connsiteX8027" fmla="*/ 1557969 w 3009712"/>
                <a:gd name="connsiteY8027" fmla="*/ 2087914 h 4178187"/>
                <a:gd name="connsiteX8028" fmla="*/ 1559149 w 3009712"/>
                <a:gd name="connsiteY8028" fmla="*/ 2088700 h 4178187"/>
                <a:gd name="connsiteX8029" fmla="*/ 1564657 w 3009712"/>
                <a:gd name="connsiteY8029" fmla="*/ 2098536 h 4178187"/>
                <a:gd name="connsiteX8030" fmla="*/ 1565444 w 3009712"/>
                <a:gd name="connsiteY8030" fmla="*/ 2098143 h 4178187"/>
                <a:gd name="connsiteX8031" fmla="*/ 1565837 w 3009712"/>
                <a:gd name="connsiteY8031" fmla="*/ 2094995 h 4178187"/>
                <a:gd name="connsiteX8032" fmla="*/ 1567804 w 3009712"/>
                <a:gd name="connsiteY8032" fmla="*/ 2089094 h 4178187"/>
                <a:gd name="connsiteX8033" fmla="*/ 1571345 w 3009712"/>
                <a:gd name="connsiteY8033" fmla="*/ 2088307 h 4178187"/>
                <a:gd name="connsiteX8034" fmla="*/ 1572919 w 3009712"/>
                <a:gd name="connsiteY8034" fmla="*/ 2088700 h 4178187"/>
                <a:gd name="connsiteX8035" fmla="*/ 1573313 w 3009712"/>
                <a:gd name="connsiteY8035" fmla="*/ 2088700 h 4178187"/>
                <a:gd name="connsiteX8036" fmla="*/ 1576066 w 3009712"/>
                <a:gd name="connsiteY8036" fmla="*/ 2089487 h 4178187"/>
                <a:gd name="connsiteX8037" fmla="*/ 1578820 w 3009712"/>
                <a:gd name="connsiteY8037" fmla="*/ 2087127 h 4178187"/>
                <a:gd name="connsiteX8038" fmla="*/ 1579214 w 3009712"/>
                <a:gd name="connsiteY8038" fmla="*/ 2087914 h 4178187"/>
                <a:gd name="connsiteX8039" fmla="*/ 1580394 w 3009712"/>
                <a:gd name="connsiteY8039" fmla="*/ 2088700 h 4178187"/>
                <a:gd name="connsiteX8040" fmla="*/ 1583542 w 3009712"/>
                <a:gd name="connsiteY8040" fmla="*/ 2087520 h 4178187"/>
                <a:gd name="connsiteX8041" fmla="*/ 1587082 w 3009712"/>
                <a:gd name="connsiteY8041" fmla="*/ 2092635 h 4178187"/>
                <a:gd name="connsiteX8042" fmla="*/ 1589836 w 3009712"/>
                <a:gd name="connsiteY8042" fmla="*/ 2091848 h 4178187"/>
                <a:gd name="connsiteX8043" fmla="*/ 1590623 w 3009712"/>
                <a:gd name="connsiteY8043" fmla="*/ 2091848 h 4178187"/>
                <a:gd name="connsiteX8044" fmla="*/ 1593377 w 3009712"/>
                <a:gd name="connsiteY8044" fmla="*/ 2091061 h 4178187"/>
                <a:gd name="connsiteX8045" fmla="*/ 1594557 w 3009712"/>
                <a:gd name="connsiteY8045" fmla="*/ 2093028 h 4178187"/>
                <a:gd name="connsiteX8046" fmla="*/ 1596131 w 3009712"/>
                <a:gd name="connsiteY8046" fmla="*/ 2093815 h 4178187"/>
                <a:gd name="connsiteX8047" fmla="*/ 1600459 w 3009712"/>
                <a:gd name="connsiteY8047" fmla="*/ 2098143 h 4178187"/>
                <a:gd name="connsiteX8048" fmla="*/ 1602426 w 3009712"/>
                <a:gd name="connsiteY8048" fmla="*/ 2100110 h 4178187"/>
                <a:gd name="connsiteX8049" fmla="*/ 1602819 w 3009712"/>
                <a:gd name="connsiteY8049" fmla="*/ 2101684 h 4178187"/>
                <a:gd name="connsiteX8050" fmla="*/ 1602819 w 3009712"/>
                <a:gd name="connsiteY8050" fmla="*/ 2103651 h 4178187"/>
                <a:gd name="connsiteX8051" fmla="*/ 1603213 w 3009712"/>
                <a:gd name="connsiteY8051" fmla="*/ 2106405 h 4178187"/>
                <a:gd name="connsiteX8052" fmla="*/ 1604787 w 3009712"/>
                <a:gd name="connsiteY8052" fmla="*/ 2109159 h 4178187"/>
                <a:gd name="connsiteX8053" fmla="*/ 1607540 w 3009712"/>
                <a:gd name="connsiteY8053" fmla="*/ 2109945 h 4178187"/>
                <a:gd name="connsiteX8054" fmla="*/ 1610294 w 3009712"/>
                <a:gd name="connsiteY8054" fmla="*/ 2110732 h 4178187"/>
                <a:gd name="connsiteX8055" fmla="*/ 1613442 w 3009712"/>
                <a:gd name="connsiteY8055" fmla="*/ 2112306 h 4178187"/>
                <a:gd name="connsiteX8056" fmla="*/ 1614229 w 3009712"/>
                <a:gd name="connsiteY8056" fmla="*/ 2111126 h 4178187"/>
                <a:gd name="connsiteX8057" fmla="*/ 1613835 w 3009712"/>
                <a:gd name="connsiteY8057" fmla="*/ 2108372 h 4178187"/>
                <a:gd name="connsiteX8058" fmla="*/ 1615016 w 3009712"/>
                <a:gd name="connsiteY8058" fmla="*/ 2105618 h 4178187"/>
                <a:gd name="connsiteX8059" fmla="*/ 1614229 w 3009712"/>
                <a:gd name="connsiteY8059" fmla="*/ 2102864 h 4178187"/>
                <a:gd name="connsiteX8060" fmla="*/ 1616196 w 3009712"/>
                <a:gd name="connsiteY8060" fmla="*/ 2104438 h 4178187"/>
                <a:gd name="connsiteX8061" fmla="*/ 1618950 w 3009712"/>
                <a:gd name="connsiteY8061" fmla="*/ 2102864 h 4178187"/>
                <a:gd name="connsiteX8062" fmla="*/ 1619343 w 3009712"/>
                <a:gd name="connsiteY8062" fmla="*/ 2108372 h 4178187"/>
                <a:gd name="connsiteX8063" fmla="*/ 1619343 w 3009712"/>
                <a:gd name="connsiteY8063" fmla="*/ 2109552 h 4178187"/>
                <a:gd name="connsiteX8064" fmla="*/ 1620524 w 3009712"/>
                <a:gd name="connsiteY8064" fmla="*/ 2112699 h 4178187"/>
                <a:gd name="connsiteX8065" fmla="*/ 1622884 w 3009712"/>
                <a:gd name="connsiteY8065" fmla="*/ 2121355 h 4178187"/>
                <a:gd name="connsiteX8066" fmla="*/ 1622884 w 3009712"/>
                <a:gd name="connsiteY8066" fmla="*/ 2122535 h 4178187"/>
                <a:gd name="connsiteX8067" fmla="*/ 1621704 w 3009712"/>
                <a:gd name="connsiteY8067" fmla="*/ 2125289 h 4178187"/>
                <a:gd name="connsiteX8068" fmla="*/ 1624458 w 3009712"/>
                <a:gd name="connsiteY8068" fmla="*/ 2126863 h 4178187"/>
                <a:gd name="connsiteX8069" fmla="*/ 1627212 w 3009712"/>
                <a:gd name="connsiteY8069" fmla="*/ 2126863 h 4178187"/>
                <a:gd name="connsiteX8070" fmla="*/ 1629966 w 3009712"/>
                <a:gd name="connsiteY8070" fmla="*/ 2126076 h 4178187"/>
                <a:gd name="connsiteX8071" fmla="*/ 1632326 w 3009712"/>
                <a:gd name="connsiteY8071" fmla="*/ 2125682 h 4178187"/>
                <a:gd name="connsiteX8072" fmla="*/ 1635080 w 3009712"/>
                <a:gd name="connsiteY8072" fmla="*/ 2125289 h 4178187"/>
                <a:gd name="connsiteX8073" fmla="*/ 1637834 w 3009712"/>
                <a:gd name="connsiteY8073" fmla="*/ 2123322 h 4178187"/>
                <a:gd name="connsiteX8074" fmla="*/ 1638228 w 3009712"/>
                <a:gd name="connsiteY8074" fmla="*/ 2121748 h 4178187"/>
                <a:gd name="connsiteX8075" fmla="*/ 1645703 w 3009712"/>
                <a:gd name="connsiteY8075" fmla="*/ 2119388 h 4178187"/>
                <a:gd name="connsiteX8076" fmla="*/ 1646490 w 3009712"/>
                <a:gd name="connsiteY8076" fmla="*/ 2119388 h 4178187"/>
                <a:gd name="connsiteX8077" fmla="*/ 1649244 w 3009712"/>
                <a:gd name="connsiteY8077" fmla="*/ 2118208 h 4178187"/>
                <a:gd name="connsiteX8078" fmla="*/ 1649244 w 3009712"/>
                <a:gd name="connsiteY8078" fmla="*/ 2115847 h 4178187"/>
                <a:gd name="connsiteX8079" fmla="*/ 1648850 w 3009712"/>
                <a:gd name="connsiteY8079" fmla="*/ 2114273 h 4178187"/>
                <a:gd name="connsiteX8080" fmla="*/ 1647277 w 3009712"/>
                <a:gd name="connsiteY8080" fmla="*/ 2111519 h 4178187"/>
                <a:gd name="connsiteX8081" fmla="*/ 1645703 w 3009712"/>
                <a:gd name="connsiteY8081" fmla="*/ 2108765 h 4178187"/>
                <a:gd name="connsiteX8082" fmla="*/ 1642949 w 3009712"/>
                <a:gd name="connsiteY8082" fmla="*/ 2106011 h 4178187"/>
                <a:gd name="connsiteX8083" fmla="*/ 1642555 w 3009712"/>
                <a:gd name="connsiteY8083" fmla="*/ 2105618 h 4178187"/>
                <a:gd name="connsiteX8084" fmla="*/ 1639015 w 3009712"/>
                <a:gd name="connsiteY8084" fmla="*/ 2100110 h 4178187"/>
                <a:gd name="connsiteX8085" fmla="*/ 1636654 w 3009712"/>
                <a:gd name="connsiteY8085" fmla="*/ 2096962 h 4178187"/>
                <a:gd name="connsiteX8086" fmla="*/ 1639801 w 3009712"/>
                <a:gd name="connsiteY8086" fmla="*/ 2089487 h 4178187"/>
                <a:gd name="connsiteX8087" fmla="*/ 1640195 w 3009712"/>
                <a:gd name="connsiteY8087" fmla="*/ 2089881 h 4178187"/>
                <a:gd name="connsiteX8088" fmla="*/ 1642162 w 3009712"/>
                <a:gd name="connsiteY8088" fmla="*/ 2090274 h 4178187"/>
                <a:gd name="connsiteX8089" fmla="*/ 1644916 w 3009712"/>
                <a:gd name="connsiteY8089" fmla="*/ 2089881 h 4178187"/>
                <a:gd name="connsiteX8090" fmla="*/ 1647670 w 3009712"/>
                <a:gd name="connsiteY8090" fmla="*/ 2087914 h 4178187"/>
                <a:gd name="connsiteX8091" fmla="*/ 1650424 w 3009712"/>
                <a:gd name="connsiteY8091" fmla="*/ 2086340 h 4178187"/>
                <a:gd name="connsiteX8092" fmla="*/ 1651211 w 3009712"/>
                <a:gd name="connsiteY8092" fmla="*/ 2085553 h 4178187"/>
                <a:gd name="connsiteX8093" fmla="*/ 1656719 w 3009712"/>
                <a:gd name="connsiteY8093" fmla="*/ 2081225 h 4178187"/>
                <a:gd name="connsiteX8094" fmla="*/ 1658293 w 3009712"/>
                <a:gd name="connsiteY8094" fmla="*/ 2079258 h 4178187"/>
                <a:gd name="connsiteX8095" fmla="*/ 1659473 w 3009712"/>
                <a:gd name="connsiteY8095" fmla="*/ 2076504 h 4178187"/>
                <a:gd name="connsiteX8096" fmla="*/ 1659473 w 3009712"/>
                <a:gd name="connsiteY8096" fmla="*/ 2075324 h 4178187"/>
                <a:gd name="connsiteX8097" fmla="*/ 1661440 w 3009712"/>
                <a:gd name="connsiteY8097" fmla="*/ 2070603 h 4178187"/>
                <a:gd name="connsiteX8098" fmla="*/ 1664194 w 3009712"/>
                <a:gd name="connsiteY8098" fmla="*/ 2069816 h 4178187"/>
                <a:gd name="connsiteX8099" fmla="*/ 1665768 w 3009712"/>
                <a:gd name="connsiteY8099" fmla="*/ 2068242 h 4178187"/>
                <a:gd name="connsiteX8100" fmla="*/ 1665768 w 3009712"/>
                <a:gd name="connsiteY8100" fmla="*/ 2067849 h 4178187"/>
                <a:gd name="connsiteX8101" fmla="*/ 1666161 w 3009712"/>
                <a:gd name="connsiteY8101" fmla="*/ 2068242 h 4178187"/>
                <a:gd name="connsiteX8102" fmla="*/ 1666948 w 3009712"/>
                <a:gd name="connsiteY8102" fmla="*/ 2068242 h 4178187"/>
                <a:gd name="connsiteX8103" fmla="*/ 1673243 w 3009712"/>
                <a:gd name="connsiteY8103" fmla="*/ 2065488 h 4178187"/>
                <a:gd name="connsiteX8104" fmla="*/ 1674423 w 3009712"/>
                <a:gd name="connsiteY8104" fmla="*/ 2065488 h 4178187"/>
                <a:gd name="connsiteX8105" fmla="*/ 1677177 w 3009712"/>
                <a:gd name="connsiteY8105" fmla="*/ 2066275 h 4178187"/>
                <a:gd name="connsiteX8106" fmla="*/ 1679931 w 3009712"/>
                <a:gd name="connsiteY8106" fmla="*/ 2065095 h 4178187"/>
                <a:gd name="connsiteX8107" fmla="*/ 1679931 w 3009712"/>
                <a:gd name="connsiteY8107" fmla="*/ 2066668 h 4178187"/>
                <a:gd name="connsiteX8108" fmla="*/ 1683078 w 3009712"/>
                <a:gd name="connsiteY8108" fmla="*/ 2068242 h 4178187"/>
                <a:gd name="connsiteX8109" fmla="*/ 1685832 w 3009712"/>
                <a:gd name="connsiteY8109" fmla="*/ 2069816 h 4178187"/>
                <a:gd name="connsiteX8110" fmla="*/ 1688586 w 3009712"/>
                <a:gd name="connsiteY8110" fmla="*/ 2071390 h 4178187"/>
                <a:gd name="connsiteX8111" fmla="*/ 1699209 w 3009712"/>
                <a:gd name="connsiteY8111" fmla="*/ 2089094 h 4178187"/>
                <a:gd name="connsiteX8112" fmla="*/ 1699996 w 3009712"/>
                <a:gd name="connsiteY8112" fmla="*/ 2087914 h 4178187"/>
                <a:gd name="connsiteX8113" fmla="*/ 1699602 w 3009712"/>
                <a:gd name="connsiteY8113" fmla="*/ 2082406 h 4178187"/>
                <a:gd name="connsiteX8114" fmla="*/ 1699996 w 3009712"/>
                <a:gd name="connsiteY8114" fmla="*/ 2082799 h 4178187"/>
                <a:gd name="connsiteX8115" fmla="*/ 1702356 w 3009712"/>
                <a:gd name="connsiteY8115" fmla="*/ 2085553 h 4178187"/>
                <a:gd name="connsiteX8116" fmla="*/ 1705110 w 3009712"/>
                <a:gd name="connsiteY8116" fmla="*/ 2083979 h 4178187"/>
                <a:gd name="connsiteX8117" fmla="*/ 1705110 w 3009712"/>
                <a:gd name="connsiteY8117" fmla="*/ 2087127 h 4178187"/>
                <a:gd name="connsiteX8118" fmla="*/ 1707864 w 3009712"/>
                <a:gd name="connsiteY8118" fmla="*/ 2084373 h 4178187"/>
                <a:gd name="connsiteX8119" fmla="*/ 1707471 w 3009712"/>
                <a:gd name="connsiteY8119" fmla="*/ 2081619 h 4178187"/>
                <a:gd name="connsiteX8120" fmla="*/ 1708651 w 3009712"/>
                <a:gd name="connsiteY8120" fmla="*/ 2083979 h 4178187"/>
                <a:gd name="connsiteX8121" fmla="*/ 1709831 w 3009712"/>
                <a:gd name="connsiteY8121" fmla="*/ 2089487 h 4178187"/>
                <a:gd name="connsiteX8122" fmla="*/ 1712585 w 3009712"/>
                <a:gd name="connsiteY8122" fmla="*/ 2091848 h 4178187"/>
                <a:gd name="connsiteX8123" fmla="*/ 1715339 w 3009712"/>
                <a:gd name="connsiteY8123" fmla="*/ 2093421 h 4178187"/>
                <a:gd name="connsiteX8124" fmla="*/ 1718093 w 3009712"/>
                <a:gd name="connsiteY8124" fmla="*/ 2096175 h 4178187"/>
                <a:gd name="connsiteX8125" fmla="*/ 1713372 w 3009712"/>
                <a:gd name="connsiteY8125" fmla="*/ 2093421 h 4178187"/>
                <a:gd name="connsiteX8126" fmla="*/ 1721241 w 3009712"/>
                <a:gd name="connsiteY8126" fmla="*/ 2093421 h 4178187"/>
                <a:gd name="connsiteX8127" fmla="*/ 1718093 w 3009712"/>
                <a:gd name="connsiteY8127" fmla="*/ 2091848 h 4178187"/>
                <a:gd name="connsiteX8128" fmla="*/ 1716520 w 3009712"/>
                <a:gd name="connsiteY8128" fmla="*/ 2089094 h 4178187"/>
                <a:gd name="connsiteX8129" fmla="*/ 1713766 w 3009712"/>
                <a:gd name="connsiteY8129" fmla="*/ 2089094 h 4178187"/>
                <a:gd name="connsiteX8130" fmla="*/ 1711012 w 3009712"/>
                <a:gd name="connsiteY8130" fmla="*/ 2091848 h 4178187"/>
                <a:gd name="connsiteX8131" fmla="*/ 1711405 w 3009712"/>
                <a:gd name="connsiteY8131" fmla="*/ 2094602 h 4178187"/>
                <a:gd name="connsiteX8132" fmla="*/ 1709831 w 3009712"/>
                <a:gd name="connsiteY8132" fmla="*/ 2097356 h 4178187"/>
                <a:gd name="connsiteX8133" fmla="*/ 1708258 w 3009712"/>
                <a:gd name="connsiteY8133" fmla="*/ 2098143 h 4178187"/>
                <a:gd name="connsiteX8134" fmla="*/ 1707864 w 3009712"/>
                <a:gd name="connsiteY8134" fmla="*/ 2098143 h 4178187"/>
                <a:gd name="connsiteX8135" fmla="*/ 1705110 w 3009712"/>
                <a:gd name="connsiteY8135" fmla="*/ 2097749 h 4178187"/>
                <a:gd name="connsiteX8136" fmla="*/ 1705504 w 3009712"/>
                <a:gd name="connsiteY8136" fmla="*/ 2100503 h 4178187"/>
                <a:gd name="connsiteX8137" fmla="*/ 1706291 w 3009712"/>
                <a:gd name="connsiteY8137" fmla="*/ 2103257 h 4178187"/>
                <a:gd name="connsiteX8138" fmla="*/ 1707864 w 3009712"/>
                <a:gd name="connsiteY8138" fmla="*/ 2106011 h 4178187"/>
                <a:gd name="connsiteX8139" fmla="*/ 1710225 w 3009712"/>
                <a:gd name="connsiteY8139" fmla="*/ 2111519 h 4178187"/>
                <a:gd name="connsiteX8140" fmla="*/ 1712192 w 3009712"/>
                <a:gd name="connsiteY8140" fmla="*/ 2114273 h 4178187"/>
                <a:gd name="connsiteX8141" fmla="*/ 1713372 w 3009712"/>
                <a:gd name="connsiteY8141" fmla="*/ 2117027 h 4178187"/>
                <a:gd name="connsiteX8142" fmla="*/ 1715733 w 3009712"/>
                <a:gd name="connsiteY8142" fmla="*/ 2120175 h 4178187"/>
                <a:gd name="connsiteX8143" fmla="*/ 1716913 w 3009712"/>
                <a:gd name="connsiteY8143" fmla="*/ 2122928 h 4178187"/>
                <a:gd name="connsiteX8144" fmla="*/ 1719667 w 3009712"/>
                <a:gd name="connsiteY8144" fmla="*/ 2125682 h 4178187"/>
                <a:gd name="connsiteX8145" fmla="*/ 1720061 w 3009712"/>
                <a:gd name="connsiteY8145" fmla="*/ 2125682 h 4178187"/>
                <a:gd name="connsiteX8146" fmla="*/ 1720454 w 3009712"/>
                <a:gd name="connsiteY8146" fmla="*/ 2126469 h 4178187"/>
                <a:gd name="connsiteX8147" fmla="*/ 1723208 w 3009712"/>
                <a:gd name="connsiteY8147" fmla="*/ 2129223 h 4178187"/>
                <a:gd name="connsiteX8148" fmla="*/ 1729503 w 3009712"/>
                <a:gd name="connsiteY8148" fmla="*/ 2180762 h 4178187"/>
                <a:gd name="connsiteX8149" fmla="*/ 1728322 w 3009712"/>
                <a:gd name="connsiteY8149" fmla="*/ 2181156 h 4178187"/>
                <a:gd name="connsiteX8150" fmla="*/ 1728322 w 3009712"/>
                <a:gd name="connsiteY8150" fmla="*/ 2184303 h 4178187"/>
                <a:gd name="connsiteX8151" fmla="*/ 1729896 w 3009712"/>
                <a:gd name="connsiteY8151" fmla="*/ 2185483 h 4178187"/>
                <a:gd name="connsiteX8152" fmla="*/ 1731076 w 3009712"/>
                <a:gd name="connsiteY8152" fmla="*/ 2194926 h 4178187"/>
                <a:gd name="connsiteX8153" fmla="*/ 1731076 w 3009712"/>
                <a:gd name="connsiteY8153" fmla="*/ 2195319 h 4178187"/>
                <a:gd name="connsiteX8154" fmla="*/ 1731076 w 3009712"/>
                <a:gd name="connsiteY8154" fmla="*/ 2195319 h 4178187"/>
                <a:gd name="connsiteX8155" fmla="*/ 1731863 w 3009712"/>
                <a:gd name="connsiteY8155" fmla="*/ 2201220 h 4178187"/>
                <a:gd name="connsiteX8156" fmla="*/ 1731470 w 3009712"/>
                <a:gd name="connsiteY8156" fmla="*/ 2202794 h 4178187"/>
                <a:gd name="connsiteX8157" fmla="*/ 1731863 w 3009712"/>
                <a:gd name="connsiteY8157" fmla="*/ 2205155 h 4178187"/>
                <a:gd name="connsiteX8158" fmla="*/ 1731863 w 3009712"/>
                <a:gd name="connsiteY8158" fmla="*/ 2205155 h 4178187"/>
                <a:gd name="connsiteX8159" fmla="*/ 1732650 w 3009712"/>
                <a:gd name="connsiteY8159" fmla="*/ 2212236 h 4178187"/>
                <a:gd name="connsiteX8160" fmla="*/ 1732257 w 3009712"/>
                <a:gd name="connsiteY8160" fmla="*/ 2213810 h 4178187"/>
                <a:gd name="connsiteX8161" fmla="*/ 1732257 w 3009712"/>
                <a:gd name="connsiteY8161" fmla="*/ 2216957 h 4178187"/>
                <a:gd name="connsiteX8162" fmla="*/ 1731076 w 3009712"/>
                <a:gd name="connsiteY8162" fmla="*/ 2219711 h 4178187"/>
                <a:gd name="connsiteX8163" fmla="*/ 1730290 w 3009712"/>
                <a:gd name="connsiteY8163" fmla="*/ 2222466 h 4178187"/>
                <a:gd name="connsiteX8164" fmla="*/ 1731076 w 3009712"/>
                <a:gd name="connsiteY8164" fmla="*/ 2224826 h 4178187"/>
                <a:gd name="connsiteX8165" fmla="*/ 1729503 w 3009712"/>
                <a:gd name="connsiteY8165" fmla="*/ 2223646 h 4178187"/>
                <a:gd name="connsiteX8166" fmla="*/ 1728716 w 3009712"/>
                <a:gd name="connsiteY8166" fmla="*/ 2224039 h 4178187"/>
                <a:gd name="connsiteX8167" fmla="*/ 1726749 w 3009712"/>
                <a:gd name="connsiteY8167" fmla="*/ 2226793 h 4178187"/>
                <a:gd name="connsiteX8168" fmla="*/ 1729896 w 3009712"/>
                <a:gd name="connsiteY8168" fmla="*/ 2227186 h 4178187"/>
                <a:gd name="connsiteX8169" fmla="*/ 1732650 w 3009712"/>
                <a:gd name="connsiteY8169" fmla="*/ 2226006 h 4178187"/>
                <a:gd name="connsiteX8170" fmla="*/ 1732650 w 3009712"/>
                <a:gd name="connsiteY8170" fmla="*/ 2225613 h 4178187"/>
                <a:gd name="connsiteX8171" fmla="*/ 1734617 w 3009712"/>
                <a:gd name="connsiteY8171" fmla="*/ 2226006 h 4178187"/>
                <a:gd name="connsiteX8172" fmla="*/ 1729109 w 3009712"/>
                <a:gd name="connsiteY8172" fmla="*/ 2228760 h 4178187"/>
                <a:gd name="connsiteX8173" fmla="*/ 1728716 w 3009712"/>
                <a:gd name="connsiteY8173" fmla="*/ 2231908 h 4178187"/>
                <a:gd name="connsiteX8174" fmla="*/ 1729109 w 3009712"/>
                <a:gd name="connsiteY8174" fmla="*/ 2234662 h 4178187"/>
                <a:gd name="connsiteX8175" fmla="*/ 1731863 w 3009712"/>
                <a:gd name="connsiteY8175" fmla="*/ 2235055 h 4178187"/>
                <a:gd name="connsiteX8176" fmla="*/ 1733044 w 3009712"/>
                <a:gd name="connsiteY8176" fmla="*/ 2232301 h 4178187"/>
                <a:gd name="connsiteX8177" fmla="*/ 1735798 w 3009712"/>
                <a:gd name="connsiteY8177" fmla="*/ 2232694 h 4178187"/>
                <a:gd name="connsiteX8178" fmla="*/ 1735404 w 3009712"/>
                <a:gd name="connsiteY8178" fmla="*/ 2235449 h 4178187"/>
                <a:gd name="connsiteX8179" fmla="*/ 1732257 w 3009712"/>
                <a:gd name="connsiteY8179" fmla="*/ 2237022 h 4178187"/>
                <a:gd name="connsiteX8180" fmla="*/ 1733830 w 3009712"/>
                <a:gd name="connsiteY8180" fmla="*/ 2239776 h 4178187"/>
                <a:gd name="connsiteX8181" fmla="*/ 1736584 w 3009712"/>
                <a:gd name="connsiteY8181" fmla="*/ 2238989 h 4178187"/>
                <a:gd name="connsiteX8182" fmla="*/ 1739338 w 3009712"/>
                <a:gd name="connsiteY8182" fmla="*/ 2238596 h 4178187"/>
                <a:gd name="connsiteX8183" fmla="*/ 1738158 w 3009712"/>
                <a:gd name="connsiteY8183" fmla="*/ 2240956 h 4178187"/>
                <a:gd name="connsiteX8184" fmla="*/ 1735404 w 3009712"/>
                <a:gd name="connsiteY8184" fmla="*/ 2242923 h 4178187"/>
                <a:gd name="connsiteX8185" fmla="*/ 1736191 w 3009712"/>
                <a:gd name="connsiteY8185" fmla="*/ 2244497 h 4178187"/>
                <a:gd name="connsiteX8186" fmla="*/ 1734224 w 3009712"/>
                <a:gd name="connsiteY8186" fmla="*/ 2248038 h 4178187"/>
                <a:gd name="connsiteX8187" fmla="*/ 1733437 w 3009712"/>
                <a:gd name="connsiteY8187" fmla="*/ 2249218 h 4178187"/>
                <a:gd name="connsiteX8188" fmla="*/ 1731076 w 3009712"/>
                <a:gd name="connsiteY8188" fmla="*/ 2250005 h 4178187"/>
                <a:gd name="connsiteX8189" fmla="*/ 1730683 w 3009712"/>
                <a:gd name="connsiteY8189" fmla="*/ 2253153 h 4178187"/>
                <a:gd name="connsiteX8190" fmla="*/ 1728716 w 3009712"/>
                <a:gd name="connsiteY8190" fmla="*/ 2255907 h 4178187"/>
                <a:gd name="connsiteX8191" fmla="*/ 1728322 w 3009712"/>
                <a:gd name="connsiteY8191" fmla="*/ 2258661 h 4178187"/>
                <a:gd name="connsiteX8192" fmla="*/ 1726749 w 3009712"/>
                <a:gd name="connsiteY8192" fmla="*/ 2261021 h 4178187"/>
                <a:gd name="connsiteX8193" fmla="*/ 1725175 w 3009712"/>
                <a:gd name="connsiteY8193" fmla="*/ 2263775 h 4178187"/>
                <a:gd name="connsiteX8194" fmla="*/ 1723995 w 3009712"/>
                <a:gd name="connsiteY8194" fmla="*/ 2266529 h 4178187"/>
                <a:gd name="connsiteX8195" fmla="*/ 1722421 w 3009712"/>
                <a:gd name="connsiteY8195" fmla="*/ 2266923 h 4178187"/>
                <a:gd name="connsiteX8196" fmla="*/ 1719667 w 3009712"/>
                <a:gd name="connsiteY8196" fmla="*/ 2267710 h 4178187"/>
                <a:gd name="connsiteX8197" fmla="*/ 1721634 w 3009712"/>
                <a:gd name="connsiteY8197" fmla="*/ 2270070 h 4178187"/>
                <a:gd name="connsiteX8198" fmla="*/ 1717700 w 3009712"/>
                <a:gd name="connsiteY8198" fmla="*/ 2275578 h 4178187"/>
                <a:gd name="connsiteX8199" fmla="*/ 1717306 w 3009712"/>
                <a:gd name="connsiteY8199" fmla="*/ 2275971 h 4178187"/>
                <a:gd name="connsiteX8200" fmla="*/ 1717306 w 3009712"/>
                <a:gd name="connsiteY8200" fmla="*/ 2275971 h 4178187"/>
                <a:gd name="connsiteX8201" fmla="*/ 1713372 w 3009712"/>
                <a:gd name="connsiteY8201" fmla="*/ 2279906 h 4178187"/>
                <a:gd name="connsiteX8202" fmla="*/ 1712979 w 3009712"/>
                <a:gd name="connsiteY8202" fmla="*/ 2279512 h 4178187"/>
                <a:gd name="connsiteX8203" fmla="*/ 1713372 w 3009712"/>
                <a:gd name="connsiteY8203" fmla="*/ 2279906 h 4178187"/>
                <a:gd name="connsiteX8204" fmla="*/ 1712192 w 3009712"/>
                <a:gd name="connsiteY8204" fmla="*/ 2281086 h 4178187"/>
                <a:gd name="connsiteX8205" fmla="*/ 1706684 w 3009712"/>
                <a:gd name="connsiteY8205" fmla="*/ 2284233 h 4178187"/>
                <a:gd name="connsiteX8206" fmla="*/ 1707471 w 3009712"/>
                <a:gd name="connsiteY8206" fmla="*/ 2281873 h 4178187"/>
                <a:gd name="connsiteX8207" fmla="*/ 1704717 w 3009712"/>
                <a:gd name="connsiteY8207" fmla="*/ 2280693 h 4178187"/>
                <a:gd name="connsiteX8208" fmla="*/ 1705504 w 3009712"/>
                <a:gd name="connsiteY8208" fmla="*/ 2283447 h 4178187"/>
                <a:gd name="connsiteX8209" fmla="*/ 1705897 w 3009712"/>
                <a:gd name="connsiteY8209" fmla="*/ 2283840 h 4178187"/>
                <a:gd name="connsiteX8210" fmla="*/ 1704323 w 3009712"/>
                <a:gd name="connsiteY8210" fmla="*/ 2283447 h 4178187"/>
                <a:gd name="connsiteX8211" fmla="*/ 1701569 w 3009712"/>
                <a:gd name="connsiteY8211" fmla="*/ 2285020 h 4178187"/>
                <a:gd name="connsiteX8212" fmla="*/ 1698815 w 3009712"/>
                <a:gd name="connsiteY8212" fmla="*/ 2285414 h 4178187"/>
                <a:gd name="connsiteX8213" fmla="*/ 1696061 w 3009712"/>
                <a:gd name="connsiteY8213" fmla="*/ 2286987 h 4178187"/>
                <a:gd name="connsiteX8214" fmla="*/ 1692914 w 3009712"/>
                <a:gd name="connsiteY8214" fmla="*/ 2288561 h 4178187"/>
                <a:gd name="connsiteX8215" fmla="*/ 1691340 w 3009712"/>
                <a:gd name="connsiteY8215" fmla="*/ 2291708 h 4178187"/>
                <a:gd name="connsiteX8216" fmla="*/ 1689767 w 3009712"/>
                <a:gd name="connsiteY8216" fmla="*/ 2294462 h 4178187"/>
                <a:gd name="connsiteX8217" fmla="*/ 1689373 w 3009712"/>
                <a:gd name="connsiteY8217" fmla="*/ 2294856 h 4178187"/>
                <a:gd name="connsiteX8218" fmla="*/ 1689767 w 3009712"/>
                <a:gd name="connsiteY8218" fmla="*/ 2298003 h 4178187"/>
                <a:gd name="connsiteX8219" fmla="*/ 1690947 w 3009712"/>
                <a:gd name="connsiteY8219" fmla="*/ 2300364 h 4178187"/>
                <a:gd name="connsiteX8220" fmla="*/ 1691734 w 3009712"/>
                <a:gd name="connsiteY8220" fmla="*/ 2303511 h 4178187"/>
                <a:gd name="connsiteX8221" fmla="*/ 1687013 w 3009712"/>
                <a:gd name="connsiteY8221" fmla="*/ 2308232 h 4178187"/>
                <a:gd name="connsiteX8222" fmla="*/ 1684259 w 3009712"/>
                <a:gd name="connsiteY8222" fmla="*/ 2307052 h 4178187"/>
                <a:gd name="connsiteX8223" fmla="*/ 1681505 w 3009712"/>
                <a:gd name="connsiteY8223" fmla="*/ 2309019 h 4178187"/>
                <a:gd name="connsiteX8224" fmla="*/ 1679144 w 3009712"/>
                <a:gd name="connsiteY8224" fmla="*/ 2311773 h 4178187"/>
                <a:gd name="connsiteX8225" fmla="*/ 1678357 w 3009712"/>
                <a:gd name="connsiteY8225" fmla="*/ 2314527 h 4178187"/>
                <a:gd name="connsiteX8226" fmla="*/ 1681111 w 3009712"/>
                <a:gd name="connsiteY8226" fmla="*/ 2315314 h 4178187"/>
                <a:gd name="connsiteX8227" fmla="*/ 1681505 w 3009712"/>
                <a:gd name="connsiteY8227" fmla="*/ 2315314 h 4178187"/>
                <a:gd name="connsiteX8228" fmla="*/ 1685045 w 3009712"/>
                <a:gd name="connsiteY8228" fmla="*/ 2320429 h 4178187"/>
                <a:gd name="connsiteX8229" fmla="*/ 1683472 w 3009712"/>
                <a:gd name="connsiteY8229" fmla="*/ 2323183 h 4178187"/>
                <a:gd name="connsiteX8230" fmla="*/ 1683472 w 3009712"/>
                <a:gd name="connsiteY8230" fmla="*/ 2323969 h 4178187"/>
                <a:gd name="connsiteX8231" fmla="*/ 1681111 w 3009712"/>
                <a:gd name="connsiteY8231" fmla="*/ 2328297 h 4178187"/>
                <a:gd name="connsiteX8232" fmla="*/ 1680718 w 3009712"/>
                <a:gd name="connsiteY8232" fmla="*/ 2329084 h 4178187"/>
                <a:gd name="connsiteX8233" fmla="*/ 1679931 w 3009712"/>
                <a:gd name="connsiteY8233" fmla="*/ 2331051 h 4178187"/>
                <a:gd name="connsiteX8234" fmla="*/ 1678751 w 3009712"/>
                <a:gd name="connsiteY8234" fmla="*/ 2328297 h 4178187"/>
                <a:gd name="connsiteX8235" fmla="*/ 1675997 w 3009712"/>
                <a:gd name="connsiteY8235" fmla="*/ 2330658 h 4178187"/>
                <a:gd name="connsiteX8236" fmla="*/ 1672849 w 3009712"/>
                <a:gd name="connsiteY8236" fmla="*/ 2332231 h 4178187"/>
                <a:gd name="connsiteX8237" fmla="*/ 1670095 w 3009712"/>
                <a:gd name="connsiteY8237" fmla="*/ 2332231 h 4178187"/>
                <a:gd name="connsiteX8238" fmla="*/ 1666948 w 3009712"/>
                <a:gd name="connsiteY8238" fmla="*/ 2332625 h 4178187"/>
                <a:gd name="connsiteX8239" fmla="*/ 1664194 w 3009712"/>
                <a:gd name="connsiteY8239" fmla="*/ 2334198 h 4178187"/>
                <a:gd name="connsiteX8240" fmla="*/ 1661440 w 3009712"/>
                <a:gd name="connsiteY8240" fmla="*/ 2335379 h 4178187"/>
                <a:gd name="connsiteX8241" fmla="*/ 1660260 w 3009712"/>
                <a:gd name="connsiteY8241" fmla="*/ 2338133 h 4178187"/>
                <a:gd name="connsiteX8242" fmla="*/ 1659866 w 3009712"/>
                <a:gd name="connsiteY8242" fmla="*/ 2336559 h 4178187"/>
                <a:gd name="connsiteX8243" fmla="*/ 1657112 w 3009712"/>
                <a:gd name="connsiteY8243" fmla="*/ 2336166 h 4178187"/>
                <a:gd name="connsiteX8244" fmla="*/ 1653965 w 3009712"/>
                <a:gd name="connsiteY8244" fmla="*/ 2338920 h 4178187"/>
                <a:gd name="connsiteX8245" fmla="*/ 1651211 w 3009712"/>
                <a:gd name="connsiteY8245" fmla="*/ 2339707 h 4178187"/>
                <a:gd name="connsiteX8246" fmla="*/ 1649637 w 3009712"/>
                <a:gd name="connsiteY8246" fmla="*/ 2340493 h 4178187"/>
                <a:gd name="connsiteX8247" fmla="*/ 1646883 w 3009712"/>
                <a:gd name="connsiteY8247" fmla="*/ 2342067 h 4178187"/>
                <a:gd name="connsiteX8248" fmla="*/ 1646490 w 3009712"/>
                <a:gd name="connsiteY8248" fmla="*/ 2344821 h 4178187"/>
                <a:gd name="connsiteX8249" fmla="*/ 1648850 w 3009712"/>
                <a:gd name="connsiteY8249" fmla="*/ 2347575 h 4178187"/>
                <a:gd name="connsiteX8250" fmla="*/ 1649244 w 3009712"/>
                <a:gd name="connsiteY8250" fmla="*/ 2347968 h 4178187"/>
                <a:gd name="connsiteX8251" fmla="*/ 1649244 w 3009712"/>
                <a:gd name="connsiteY8251" fmla="*/ 2350722 h 4178187"/>
                <a:gd name="connsiteX8252" fmla="*/ 1648850 w 3009712"/>
                <a:gd name="connsiteY8252" fmla="*/ 2353476 h 4178187"/>
                <a:gd name="connsiteX8253" fmla="*/ 1650031 w 3009712"/>
                <a:gd name="connsiteY8253" fmla="*/ 2355050 h 4178187"/>
                <a:gd name="connsiteX8254" fmla="*/ 1650031 w 3009712"/>
                <a:gd name="connsiteY8254" fmla="*/ 2356624 h 4178187"/>
                <a:gd name="connsiteX8255" fmla="*/ 1649637 w 3009712"/>
                <a:gd name="connsiteY8255" fmla="*/ 2356624 h 4178187"/>
                <a:gd name="connsiteX8256" fmla="*/ 1648457 w 3009712"/>
                <a:gd name="connsiteY8256" fmla="*/ 2359378 h 4178187"/>
                <a:gd name="connsiteX8257" fmla="*/ 1648457 w 3009712"/>
                <a:gd name="connsiteY8257" fmla="*/ 2360558 h 4178187"/>
                <a:gd name="connsiteX8258" fmla="*/ 1646490 w 3009712"/>
                <a:gd name="connsiteY8258" fmla="*/ 2368427 h 4178187"/>
                <a:gd name="connsiteX8259" fmla="*/ 1643736 w 3009712"/>
                <a:gd name="connsiteY8259" fmla="*/ 2371574 h 4178187"/>
                <a:gd name="connsiteX8260" fmla="*/ 1638228 w 3009712"/>
                <a:gd name="connsiteY8260" fmla="*/ 2377082 h 4178187"/>
                <a:gd name="connsiteX8261" fmla="*/ 1636261 w 3009712"/>
                <a:gd name="connsiteY8261" fmla="*/ 2379836 h 4178187"/>
                <a:gd name="connsiteX8262" fmla="*/ 1635474 w 3009712"/>
                <a:gd name="connsiteY8262" fmla="*/ 2382590 h 4178187"/>
                <a:gd name="connsiteX8263" fmla="*/ 1637047 w 3009712"/>
                <a:gd name="connsiteY8263" fmla="*/ 2385344 h 4178187"/>
                <a:gd name="connsiteX8264" fmla="*/ 1638621 w 3009712"/>
                <a:gd name="connsiteY8264" fmla="*/ 2388491 h 4178187"/>
                <a:gd name="connsiteX8265" fmla="*/ 1641375 w 3009712"/>
                <a:gd name="connsiteY8265" fmla="*/ 2389278 h 4178187"/>
                <a:gd name="connsiteX8266" fmla="*/ 1641769 w 3009712"/>
                <a:gd name="connsiteY8266" fmla="*/ 2389672 h 4178187"/>
                <a:gd name="connsiteX8267" fmla="*/ 1639015 w 3009712"/>
                <a:gd name="connsiteY8267" fmla="*/ 2390065 h 4178187"/>
                <a:gd name="connsiteX8268" fmla="*/ 1635867 w 3009712"/>
                <a:gd name="connsiteY8268" fmla="*/ 2389672 h 4178187"/>
                <a:gd name="connsiteX8269" fmla="*/ 1634687 w 3009712"/>
                <a:gd name="connsiteY8269" fmla="*/ 2392425 h 4178187"/>
                <a:gd name="connsiteX8270" fmla="*/ 1634294 w 3009712"/>
                <a:gd name="connsiteY8270" fmla="*/ 2395180 h 4178187"/>
                <a:gd name="connsiteX8271" fmla="*/ 1633113 w 3009712"/>
                <a:gd name="connsiteY8271" fmla="*/ 2398327 h 4178187"/>
                <a:gd name="connsiteX8272" fmla="*/ 1629966 w 3009712"/>
                <a:gd name="connsiteY8272" fmla="*/ 2399114 h 4178187"/>
                <a:gd name="connsiteX8273" fmla="*/ 1627212 w 3009712"/>
                <a:gd name="connsiteY8273" fmla="*/ 2399507 h 4178187"/>
                <a:gd name="connsiteX8274" fmla="*/ 1624458 w 3009712"/>
                <a:gd name="connsiteY8274" fmla="*/ 2401474 h 4178187"/>
                <a:gd name="connsiteX8275" fmla="*/ 1622884 w 3009712"/>
                <a:gd name="connsiteY8275" fmla="*/ 2404228 h 4178187"/>
                <a:gd name="connsiteX8276" fmla="*/ 1624064 w 3009712"/>
                <a:gd name="connsiteY8276" fmla="*/ 2406982 h 4178187"/>
                <a:gd name="connsiteX8277" fmla="*/ 1625638 w 3009712"/>
                <a:gd name="connsiteY8277" fmla="*/ 2409736 h 4178187"/>
                <a:gd name="connsiteX8278" fmla="*/ 1627605 w 3009712"/>
                <a:gd name="connsiteY8278" fmla="*/ 2412884 h 4178187"/>
                <a:gd name="connsiteX8279" fmla="*/ 1627212 w 3009712"/>
                <a:gd name="connsiteY8279" fmla="*/ 2415638 h 4178187"/>
                <a:gd name="connsiteX8280" fmla="*/ 1626425 w 3009712"/>
                <a:gd name="connsiteY8280" fmla="*/ 2418392 h 4178187"/>
                <a:gd name="connsiteX8281" fmla="*/ 1625245 w 3009712"/>
                <a:gd name="connsiteY8281" fmla="*/ 2421146 h 4178187"/>
                <a:gd name="connsiteX8282" fmla="*/ 1625638 w 3009712"/>
                <a:gd name="connsiteY8282" fmla="*/ 2424293 h 4178187"/>
                <a:gd name="connsiteX8283" fmla="*/ 1626032 w 3009712"/>
                <a:gd name="connsiteY8283" fmla="*/ 2424686 h 4178187"/>
                <a:gd name="connsiteX8284" fmla="*/ 1623671 w 3009712"/>
                <a:gd name="connsiteY8284" fmla="*/ 2442784 h 4178187"/>
                <a:gd name="connsiteX8285" fmla="*/ 1622491 w 3009712"/>
                <a:gd name="connsiteY8285" fmla="*/ 2442391 h 4178187"/>
                <a:gd name="connsiteX8286" fmla="*/ 1623277 w 3009712"/>
                <a:gd name="connsiteY8286" fmla="*/ 2445145 h 4178187"/>
                <a:gd name="connsiteX8287" fmla="*/ 1625245 w 3009712"/>
                <a:gd name="connsiteY8287" fmla="*/ 2447505 h 4178187"/>
                <a:gd name="connsiteX8288" fmla="*/ 1626818 w 3009712"/>
                <a:gd name="connsiteY8288" fmla="*/ 2448292 h 4178187"/>
                <a:gd name="connsiteX8289" fmla="*/ 1629572 w 3009712"/>
                <a:gd name="connsiteY8289" fmla="*/ 2448686 h 4178187"/>
                <a:gd name="connsiteX8290" fmla="*/ 1632326 w 3009712"/>
                <a:gd name="connsiteY8290" fmla="*/ 2451046 h 4178187"/>
                <a:gd name="connsiteX8291" fmla="*/ 1634687 w 3009712"/>
                <a:gd name="connsiteY8291" fmla="*/ 2454193 h 4178187"/>
                <a:gd name="connsiteX8292" fmla="*/ 1637047 w 3009712"/>
                <a:gd name="connsiteY8292" fmla="*/ 2456947 h 4178187"/>
                <a:gd name="connsiteX8293" fmla="*/ 1640195 w 3009712"/>
                <a:gd name="connsiteY8293" fmla="*/ 2458521 h 4178187"/>
                <a:gd name="connsiteX8294" fmla="*/ 1643342 w 3009712"/>
                <a:gd name="connsiteY8294" fmla="*/ 2460488 h 4178187"/>
                <a:gd name="connsiteX8295" fmla="*/ 1642949 w 3009712"/>
                <a:gd name="connsiteY8295" fmla="*/ 2457341 h 4178187"/>
                <a:gd name="connsiteX8296" fmla="*/ 1645703 w 3009712"/>
                <a:gd name="connsiteY8296" fmla="*/ 2455767 h 4178187"/>
                <a:gd name="connsiteX8297" fmla="*/ 1648064 w 3009712"/>
                <a:gd name="connsiteY8297" fmla="*/ 2453013 h 4178187"/>
                <a:gd name="connsiteX8298" fmla="*/ 1649244 w 3009712"/>
                <a:gd name="connsiteY8298" fmla="*/ 2450259 h 4178187"/>
                <a:gd name="connsiteX8299" fmla="*/ 1650424 w 3009712"/>
                <a:gd name="connsiteY8299" fmla="*/ 2447112 h 4178187"/>
                <a:gd name="connsiteX8300" fmla="*/ 1651211 w 3009712"/>
                <a:gd name="connsiteY8300" fmla="*/ 2446719 h 4178187"/>
                <a:gd name="connsiteX8301" fmla="*/ 1651211 w 3009712"/>
                <a:gd name="connsiteY8301" fmla="*/ 2447899 h 4178187"/>
                <a:gd name="connsiteX8302" fmla="*/ 1650817 w 3009712"/>
                <a:gd name="connsiteY8302" fmla="*/ 2449472 h 4178187"/>
                <a:gd name="connsiteX8303" fmla="*/ 1650424 w 3009712"/>
                <a:gd name="connsiteY8303" fmla="*/ 2449866 h 4178187"/>
                <a:gd name="connsiteX8304" fmla="*/ 1651211 w 3009712"/>
                <a:gd name="connsiteY8304" fmla="*/ 2451439 h 4178187"/>
                <a:gd name="connsiteX8305" fmla="*/ 1653571 w 3009712"/>
                <a:gd name="connsiteY8305" fmla="*/ 2451833 h 4178187"/>
                <a:gd name="connsiteX8306" fmla="*/ 1651998 w 3009712"/>
                <a:gd name="connsiteY8306" fmla="*/ 2452620 h 4178187"/>
                <a:gd name="connsiteX8307" fmla="*/ 1651211 w 3009712"/>
                <a:gd name="connsiteY8307" fmla="*/ 2452226 h 4178187"/>
                <a:gd name="connsiteX8308" fmla="*/ 1649244 w 3009712"/>
                <a:gd name="connsiteY8308" fmla="*/ 2454980 h 4178187"/>
                <a:gd name="connsiteX8309" fmla="*/ 1651211 w 3009712"/>
                <a:gd name="connsiteY8309" fmla="*/ 2456554 h 4178187"/>
                <a:gd name="connsiteX8310" fmla="*/ 1652784 w 3009712"/>
                <a:gd name="connsiteY8310" fmla="*/ 2455767 h 4178187"/>
                <a:gd name="connsiteX8311" fmla="*/ 1653571 w 3009712"/>
                <a:gd name="connsiteY8311" fmla="*/ 2455374 h 4178187"/>
                <a:gd name="connsiteX8312" fmla="*/ 1654752 w 3009712"/>
                <a:gd name="connsiteY8312" fmla="*/ 2452226 h 4178187"/>
                <a:gd name="connsiteX8313" fmla="*/ 1655145 w 3009712"/>
                <a:gd name="connsiteY8313" fmla="*/ 2450653 h 4178187"/>
                <a:gd name="connsiteX8314" fmla="*/ 1655145 w 3009712"/>
                <a:gd name="connsiteY8314" fmla="*/ 2471898 h 4178187"/>
                <a:gd name="connsiteX8315" fmla="*/ 1653571 w 3009712"/>
                <a:gd name="connsiteY8315" fmla="*/ 2475045 h 4178187"/>
                <a:gd name="connsiteX8316" fmla="*/ 1653178 w 3009712"/>
                <a:gd name="connsiteY8316" fmla="*/ 2477406 h 4178187"/>
                <a:gd name="connsiteX8317" fmla="*/ 1651998 w 3009712"/>
                <a:gd name="connsiteY8317" fmla="*/ 2478193 h 4178187"/>
                <a:gd name="connsiteX8318" fmla="*/ 1651604 w 3009712"/>
                <a:gd name="connsiteY8318" fmla="*/ 2478586 h 4178187"/>
                <a:gd name="connsiteX8319" fmla="*/ 1650817 w 3009712"/>
                <a:gd name="connsiteY8319" fmla="*/ 2479766 h 4178187"/>
                <a:gd name="connsiteX8320" fmla="*/ 1648457 w 3009712"/>
                <a:gd name="connsiteY8320" fmla="*/ 2480946 h 4178187"/>
                <a:gd name="connsiteX8321" fmla="*/ 1648064 w 3009712"/>
                <a:gd name="connsiteY8321" fmla="*/ 2481340 h 4178187"/>
                <a:gd name="connsiteX8322" fmla="*/ 1646490 w 3009712"/>
                <a:gd name="connsiteY8322" fmla="*/ 2481733 h 4178187"/>
                <a:gd name="connsiteX8323" fmla="*/ 1644916 w 3009712"/>
                <a:gd name="connsiteY8323" fmla="*/ 2481733 h 4178187"/>
                <a:gd name="connsiteX8324" fmla="*/ 1643342 w 3009712"/>
                <a:gd name="connsiteY8324" fmla="*/ 2482520 h 4178187"/>
                <a:gd name="connsiteX8325" fmla="*/ 1642162 w 3009712"/>
                <a:gd name="connsiteY8325" fmla="*/ 2482914 h 4178187"/>
                <a:gd name="connsiteX8326" fmla="*/ 1642162 w 3009712"/>
                <a:gd name="connsiteY8326" fmla="*/ 2483307 h 4178187"/>
                <a:gd name="connsiteX8327" fmla="*/ 1641769 w 3009712"/>
                <a:gd name="connsiteY8327" fmla="*/ 2483700 h 4178187"/>
                <a:gd name="connsiteX8328" fmla="*/ 1638621 w 3009712"/>
                <a:gd name="connsiteY8328" fmla="*/ 2487241 h 4178187"/>
                <a:gd name="connsiteX8329" fmla="*/ 1637834 w 3009712"/>
                <a:gd name="connsiteY8329" fmla="*/ 2487241 h 4178187"/>
                <a:gd name="connsiteX8330" fmla="*/ 1632326 w 3009712"/>
                <a:gd name="connsiteY8330" fmla="*/ 2492749 h 4178187"/>
                <a:gd name="connsiteX8331" fmla="*/ 1629572 w 3009712"/>
                <a:gd name="connsiteY8331" fmla="*/ 2494716 h 4178187"/>
                <a:gd name="connsiteX8332" fmla="*/ 1627212 w 3009712"/>
                <a:gd name="connsiteY8332" fmla="*/ 2497864 h 4178187"/>
                <a:gd name="connsiteX8333" fmla="*/ 1626032 w 3009712"/>
                <a:gd name="connsiteY8333" fmla="*/ 2500618 h 4178187"/>
                <a:gd name="connsiteX8334" fmla="*/ 1622884 w 3009712"/>
                <a:gd name="connsiteY8334" fmla="*/ 2502978 h 4178187"/>
                <a:gd name="connsiteX8335" fmla="*/ 1621310 w 3009712"/>
                <a:gd name="connsiteY8335" fmla="*/ 2506126 h 4178187"/>
                <a:gd name="connsiteX8336" fmla="*/ 1620917 w 3009712"/>
                <a:gd name="connsiteY8336" fmla="*/ 2506519 h 4178187"/>
                <a:gd name="connsiteX8337" fmla="*/ 1618950 w 3009712"/>
                <a:gd name="connsiteY8337" fmla="*/ 2508093 h 4178187"/>
                <a:gd name="connsiteX8338" fmla="*/ 1617376 w 3009712"/>
                <a:gd name="connsiteY8338" fmla="*/ 2510060 h 4178187"/>
                <a:gd name="connsiteX8339" fmla="*/ 1616983 w 3009712"/>
                <a:gd name="connsiteY8339" fmla="*/ 2510453 h 4178187"/>
                <a:gd name="connsiteX8340" fmla="*/ 1616589 w 3009712"/>
                <a:gd name="connsiteY8340" fmla="*/ 2511240 h 4178187"/>
                <a:gd name="connsiteX8341" fmla="*/ 1615016 w 3009712"/>
                <a:gd name="connsiteY8341" fmla="*/ 2512027 h 4178187"/>
                <a:gd name="connsiteX8342" fmla="*/ 1614622 w 3009712"/>
                <a:gd name="connsiteY8342" fmla="*/ 2513601 h 4178187"/>
                <a:gd name="connsiteX8343" fmla="*/ 1614229 w 3009712"/>
                <a:gd name="connsiteY8343" fmla="*/ 2518322 h 4178187"/>
                <a:gd name="connsiteX8344" fmla="*/ 1613442 w 3009712"/>
                <a:gd name="connsiteY8344" fmla="*/ 2520683 h 4178187"/>
                <a:gd name="connsiteX8345" fmla="*/ 1613835 w 3009712"/>
                <a:gd name="connsiteY8345" fmla="*/ 2523437 h 4178187"/>
                <a:gd name="connsiteX8346" fmla="*/ 1613442 w 3009712"/>
                <a:gd name="connsiteY8346" fmla="*/ 2526190 h 4178187"/>
                <a:gd name="connsiteX8347" fmla="*/ 1613835 w 3009712"/>
                <a:gd name="connsiteY8347" fmla="*/ 2528944 h 4178187"/>
                <a:gd name="connsiteX8348" fmla="*/ 1618163 w 3009712"/>
                <a:gd name="connsiteY8348" fmla="*/ 2534453 h 4178187"/>
                <a:gd name="connsiteX8349" fmla="*/ 1619737 w 3009712"/>
                <a:gd name="connsiteY8349" fmla="*/ 2538780 h 4178187"/>
                <a:gd name="connsiteX8350" fmla="*/ 1618557 w 3009712"/>
                <a:gd name="connsiteY8350" fmla="*/ 2540354 h 4178187"/>
                <a:gd name="connsiteX8351" fmla="*/ 1618557 w 3009712"/>
                <a:gd name="connsiteY8351" fmla="*/ 2543501 h 4178187"/>
                <a:gd name="connsiteX8352" fmla="*/ 1618950 w 3009712"/>
                <a:gd name="connsiteY8352" fmla="*/ 2546255 h 4178187"/>
                <a:gd name="connsiteX8353" fmla="*/ 1622097 w 3009712"/>
                <a:gd name="connsiteY8353" fmla="*/ 2549009 h 4178187"/>
                <a:gd name="connsiteX8354" fmla="*/ 1624458 w 3009712"/>
                <a:gd name="connsiteY8354" fmla="*/ 2551763 h 4178187"/>
                <a:gd name="connsiteX8355" fmla="*/ 1628392 w 3009712"/>
                <a:gd name="connsiteY8355" fmla="*/ 2561599 h 4178187"/>
                <a:gd name="connsiteX8356" fmla="*/ 1628392 w 3009712"/>
                <a:gd name="connsiteY8356" fmla="*/ 2563566 h 4178187"/>
                <a:gd name="connsiteX8357" fmla="*/ 1627212 w 3009712"/>
                <a:gd name="connsiteY8357" fmla="*/ 2566714 h 4178187"/>
                <a:gd name="connsiteX8358" fmla="*/ 1624458 w 3009712"/>
                <a:gd name="connsiteY8358" fmla="*/ 2567107 h 4178187"/>
                <a:gd name="connsiteX8359" fmla="*/ 1621310 w 3009712"/>
                <a:gd name="connsiteY8359" fmla="*/ 2566320 h 4178187"/>
                <a:gd name="connsiteX8360" fmla="*/ 1619737 w 3009712"/>
                <a:gd name="connsiteY8360" fmla="*/ 2569467 h 4178187"/>
                <a:gd name="connsiteX8361" fmla="*/ 1619737 w 3009712"/>
                <a:gd name="connsiteY8361" fmla="*/ 2572615 h 4178187"/>
                <a:gd name="connsiteX8362" fmla="*/ 1620130 w 3009712"/>
                <a:gd name="connsiteY8362" fmla="*/ 2575762 h 4178187"/>
                <a:gd name="connsiteX8363" fmla="*/ 1622884 w 3009712"/>
                <a:gd name="connsiteY8363" fmla="*/ 2576943 h 4178187"/>
                <a:gd name="connsiteX8364" fmla="*/ 1625638 w 3009712"/>
                <a:gd name="connsiteY8364" fmla="*/ 2578516 h 4178187"/>
                <a:gd name="connsiteX8365" fmla="*/ 1628786 w 3009712"/>
                <a:gd name="connsiteY8365" fmla="*/ 2580090 h 4178187"/>
                <a:gd name="connsiteX8366" fmla="*/ 1631540 w 3009712"/>
                <a:gd name="connsiteY8366" fmla="*/ 2581664 h 4178187"/>
                <a:gd name="connsiteX8367" fmla="*/ 1634294 w 3009712"/>
                <a:gd name="connsiteY8367" fmla="*/ 2583237 h 4178187"/>
                <a:gd name="connsiteX8368" fmla="*/ 1637047 w 3009712"/>
                <a:gd name="connsiteY8368" fmla="*/ 2584811 h 4178187"/>
                <a:gd name="connsiteX8369" fmla="*/ 1640195 w 3009712"/>
                <a:gd name="connsiteY8369" fmla="*/ 2587565 h 4178187"/>
                <a:gd name="connsiteX8370" fmla="*/ 1642949 w 3009712"/>
                <a:gd name="connsiteY8370" fmla="*/ 2589532 h 4178187"/>
                <a:gd name="connsiteX8371" fmla="*/ 1646096 w 3009712"/>
                <a:gd name="connsiteY8371" fmla="*/ 2591499 h 4178187"/>
                <a:gd name="connsiteX8372" fmla="*/ 1646490 w 3009712"/>
                <a:gd name="connsiteY8372" fmla="*/ 2591893 h 4178187"/>
                <a:gd name="connsiteX8373" fmla="*/ 1655932 w 3009712"/>
                <a:gd name="connsiteY8373" fmla="*/ 2598581 h 4178187"/>
                <a:gd name="connsiteX8374" fmla="*/ 1657506 w 3009712"/>
                <a:gd name="connsiteY8374" fmla="*/ 2601335 h 4178187"/>
                <a:gd name="connsiteX8375" fmla="*/ 1657506 w 3009712"/>
                <a:gd name="connsiteY8375" fmla="*/ 2601728 h 4178187"/>
                <a:gd name="connsiteX8376" fmla="*/ 1659473 w 3009712"/>
                <a:gd name="connsiteY8376" fmla="*/ 2604482 h 4178187"/>
                <a:gd name="connsiteX8377" fmla="*/ 1665374 w 3009712"/>
                <a:gd name="connsiteY8377" fmla="*/ 2613138 h 4178187"/>
                <a:gd name="connsiteX8378" fmla="*/ 1668915 w 3009712"/>
                <a:gd name="connsiteY8378" fmla="*/ 2618252 h 4178187"/>
                <a:gd name="connsiteX8379" fmla="*/ 1669308 w 3009712"/>
                <a:gd name="connsiteY8379" fmla="*/ 2621006 h 4178187"/>
                <a:gd name="connsiteX8380" fmla="*/ 1670489 w 3009712"/>
                <a:gd name="connsiteY8380" fmla="*/ 2624154 h 4178187"/>
                <a:gd name="connsiteX8381" fmla="*/ 1672062 w 3009712"/>
                <a:gd name="connsiteY8381" fmla="*/ 2626121 h 4178187"/>
                <a:gd name="connsiteX8382" fmla="*/ 1673636 w 3009712"/>
                <a:gd name="connsiteY8382" fmla="*/ 2628875 h 4178187"/>
                <a:gd name="connsiteX8383" fmla="*/ 1674030 w 3009712"/>
                <a:gd name="connsiteY8383" fmla="*/ 2629662 h 4178187"/>
                <a:gd name="connsiteX8384" fmla="*/ 1674816 w 3009712"/>
                <a:gd name="connsiteY8384" fmla="*/ 2632809 h 4178187"/>
                <a:gd name="connsiteX8385" fmla="*/ 1676390 w 3009712"/>
                <a:gd name="connsiteY8385" fmla="*/ 2635563 h 4178187"/>
                <a:gd name="connsiteX8386" fmla="*/ 1678751 w 3009712"/>
                <a:gd name="connsiteY8386" fmla="*/ 2638317 h 4178187"/>
                <a:gd name="connsiteX8387" fmla="*/ 1699602 w 3009712"/>
                <a:gd name="connsiteY8387" fmla="*/ 2673332 h 4178187"/>
                <a:gd name="connsiteX8388" fmla="*/ 1699996 w 3009712"/>
                <a:gd name="connsiteY8388" fmla="*/ 2674512 h 4178187"/>
                <a:gd name="connsiteX8389" fmla="*/ 1701569 w 3009712"/>
                <a:gd name="connsiteY8389" fmla="*/ 2677266 h 4178187"/>
                <a:gd name="connsiteX8390" fmla="*/ 1701176 w 3009712"/>
                <a:gd name="connsiteY8390" fmla="*/ 2680020 h 4178187"/>
                <a:gd name="connsiteX8391" fmla="*/ 1702750 w 3009712"/>
                <a:gd name="connsiteY8391" fmla="*/ 2680020 h 4178187"/>
                <a:gd name="connsiteX8392" fmla="*/ 1703930 w 3009712"/>
                <a:gd name="connsiteY8392" fmla="*/ 2682774 h 4178187"/>
                <a:gd name="connsiteX8393" fmla="*/ 1703930 w 3009712"/>
                <a:gd name="connsiteY8393" fmla="*/ 2683168 h 4178187"/>
                <a:gd name="connsiteX8394" fmla="*/ 1703930 w 3009712"/>
                <a:gd name="connsiteY8394" fmla="*/ 2683168 h 4178187"/>
                <a:gd name="connsiteX8395" fmla="*/ 1710225 w 3009712"/>
                <a:gd name="connsiteY8395" fmla="*/ 2697331 h 4178187"/>
                <a:gd name="connsiteX8396" fmla="*/ 1710225 w 3009712"/>
                <a:gd name="connsiteY8396" fmla="*/ 2697724 h 4178187"/>
                <a:gd name="connsiteX8397" fmla="*/ 1710225 w 3009712"/>
                <a:gd name="connsiteY8397" fmla="*/ 2697724 h 4178187"/>
                <a:gd name="connsiteX8398" fmla="*/ 1713372 w 3009712"/>
                <a:gd name="connsiteY8398" fmla="*/ 2704806 h 4178187"/>
                <a:gd name="connsiteX8399" fmla="*/ 1713766 w 3009712"/>
                <a:gd name="connsiteY8399" fmla="*/ 2706380 h 4178187"/>
                <a:gd name="connsiteX8400" fmla="*/ 1714946 w 3009712"/>
                <a:gd name="connsiteY8400" fmla="*/ 2708347 h 4178187"/>
                <a:gd name="connsiteX8401" fmla="*/ 1716126 w 3009712"/>
                <a:gd name="connsiteY8401" fmla="*/ 2711494 h 4178187"/>
                <a:gd name="connsiteX8402" fmla="*/ 1717306 w 3009712"/>
                <a:gd name="connsiteY8402" fmla="*/ 2714248 h 4178187"/>
                <a:gd name="connsiteX8403" fmla="*/ 1718880 w 3009712"/>
                <a:gd name="connsiteY8403" fmla="*/ 2717396 h 4178187"/>
                <a:gd name="connsiteX8404" fmla="*/ 1720847 w 3009712"/>
                <a:gd name="connsiteY8404" fmla="*/ 2720150 h 4178187"/>
                <a:gd name="connsiteX8405" fmla="*/ 1722421 w 3009712"/>
                <a:gd name="connsiteY8405" fmla="*/ 2722904 h 4178187"/>
                <a:gd name="connsiteX8406" fmla="*/ 1724388 w 3009712"/>
                <a:gd name="connsiteY8406" fmla="*/ 2725658 h 4178187"/>
                <a:gd name="connsiteX8407" fmla="*/ 1726355 w 3009712"/>
                <a:gd name="connsiteY8407" fmla="*/ 2729199 h 4178187"/>
                <a:gd name="connsiteX8408" fmla="*/ 1735011 w 3009712"/>
                <a:gd name="connsiteY8408" fmla="*/ 2744936 h 4178187"/>
                <a:gd name="connsiteX8409" fmla="*/ 1736191 w 3009712"/>
                <a:gd name="connsiteY8409" fmla="*/ 2748083 h 4178187"/>
                <a:gd name="connsiteX8410" fmla="*/ 1734617 w 3009712"/>
                <a:gd name="connsiteY8410" fmla="*/ 2750837 h 4178187"/>
                <a:gd name="connsiteX8411" fmla="*/ 1737371 w 3009712"/>
                <a:gd name="connsiteY8411" fmla="*/ 2753591 h 4178187"/>
                <a:gd name="connsiteX8412" fmla="*/ 1740125 w 3009712"/>
                <a:gd name="connsiteY8412" fmla="*/ 2755165 h 4178187"/>
                <a:gd name="connsiteX8413" fmla="*/ 1740519 w 3009712"/>
                <a:gd name="connsiteY8413" fmla="*/ 2755558 h 4178187"/>
                <a:gd name="connsiteX8414" fmla="*/ 1751928 w 3009712"/>
                <a:gd name="connsiteY8414" fmla="*/ 2777590 h 4178187"/>
                <a:gd name="connsiteX8415" fmla="*/ 1751535 w 3009712"/>
                <a:gd name="connsiteY8415" fmla="*/ 2778377 h 4178187"/>
                <a:gd name="connsiteX8416" fmla="*/ 1773960 w 3009712"/>
                <a:gd name="connsiteY8416" fmla="*/ 2809851 h 4178187"/>
                <a:gd name="connsiteX8417" fmla="*/ 1773960 w 3009712"/>
                <a:gd name="connsiteY8417" fmla="*/ 2810244 h 4178187"/>
                <a:gd name="connsiteX8418" fmla="*/ 1775534 w 3009712"/>
                <a:gd name="connsiteY8418" fmla="*/ 2812998 h 4178187"/>
                <a:gd name="connsiteX8419" fmla="*/ 1777501 w 3009712"/>
                <a:gd name="connsiteY8419" fmla="*/ 2814572 h 4178187"/>
                <a:gd name="connsiteX8420" fmla="*/ 1779468 w 3009712"/>
                <a:gd name="connsiteY8420" fmla="*/ 2817326 h 4178187"/>
                <a:gd name="connsiteX8421" fmla="*/ 1781435 w 3009712"/>
                <a:gd name="connsiteY8421" fmla="*/ 2819687 h 4178187"/>
                <a:gd name="connsiteX8422" fmla="*/ 1782615 w 3009712"/>
                <a:gd name="connsiteY8422" fmla="*/ 2821260 h 4178187"/>
                <a:gd name="connsiteX8423" fmla="*/ 1784976 w 3009712"/>
                <a:gd name="connsiteY8423" fmla="*/ 2833457 h 4178187"/>
                <a:gd name="connsiteX8424" fmla="*/ 1783796 w 3009712"/>
                <a:gd name="connsiteY8424" fmla="*/ 2838964 h 4178187"/>
                <a:gd name="connsiteX8425" fmla="*/ 1781042 w 3009712"/>
                <a:gd name="connsiteY8425" fmla="*/ 2837391 h 4178187"/>
                <a:gd name="connsiteX8426" fmla="*/ 1780255 w 3009712"/>
                <a:gd name="connsiteY8426" fmla="*/ 2840538 h 4178187"/>
                <a:gd name="connsiteX8427" fmla="*/ 1783402 w 3009712"/>
                <a:gd name="connsiteY8427" fmla="*/ 2840931 h 4178187"/>
                <a:gd name="connsiteX8428" fmla="*/ 1783796 w 3009712"/>
                <a:gd name="connsiteY8428" fmla="*/ 2843686 h 4178187"/>
                <a:gd name="connsiteX8429" fmla="*/ 1784189 w 3009712"/>
                <a:gd name="connsiteY8429" fmla="*/ 2846833 h 4178187"/>
                <a:gd name="connsiteX8430" fmla="*/ 1784189 w 3009712"/>
                <a:gd name="connsiteY8430" fmla="*/ 2849587 h 4178187"/>
                <a:gd name="connsiteX8431" fmla="*/ 1786943 w 3009712"/>
                <a:gd name="connsiteY8431" fmla="*/ 2850374 h 4178187"/>
                <a:gd name="connsiteX8432" fmla="*/ 1789303 w 3009712"/>
                <a:gd name="connsiteY8432" fmla="*/ 2853521 h 4178187"/>
                <a:gd name="connsiteX8433" fmla="*/ 1789697 w 3009712"/>
                <a:gd name="connsiteY8433" fmla="*/ 2856275 h 4178187"/>
                <a:gd name="connsiteX8434" fmla="*/ 1792451 w 3009712"/>
                <a:gd name="connsiteY8434" fmla="*/ 2859029 h 4178187"/>
                <a:gd name="connsiteX8435" fmla="*/ 1794418 w 3009712"/>
                <a:gd name="connsiteY8435" fmla="*/ 2861783 h 4178187"/>
                <a:gd name="connsiteX8436" fmla="*/ 1795992 w 3009712"/>
                <a:gd name="connsiteY8436" fmla="*/ 2864537 h 4178187"/>
                <a:gd name="connsiteX8437" fmla="*/ 1797959 w 3009712"/>
                <a:gd name="connsiteY8437" fmla="*/ 2867685 h 4178187"/>
                <a:gd name="connsiteX8438" fmla="*/ 1800713 w 3009712"/>
                <a:gd name="connsiteY8438" fmla="*/ 2870045 h 4178187"/>
                <a:gd name="connsiteX8439" fmla="*/ 1803467 w 3009712"/>
                <a:gd name="connsiteY8439" fmla="*/ 2872012 h 4178187"/>
                <a:gd name="connsiteX8440" fmla="*/ 1806221 w 3009712"/>
                <a:gd name="connsiteY8440" fmla="*/ 2873586 h 4178187"/>
                <a:gd name="connsiteX8441" fmla="*/ 1809368 w 3009712"/>
                <a:gd name="connsiteY8441" fmla="*/ 2875160 h 4178187"/>
                <a:gd name="connsiteX8442" fmla="*/ 1810942 w 3009712"/>
                <a:gd name="connsiteY8442" fmla="*/ 2877914 h 4178187"/>
                <a:gd name="connsiteX8443" fmla="*/ 1811336 w 3009712"/>
                <a:gd name="connsiteY8443" fmla="*/ 2878307 h 4178187"/>
                <a:gd name="connsiteX8444" fmla="*/ 1811729 w 3009712"/>
                <a:gd name="connsiteY8444" fmla="*/ 2879094 h 4178187"/>
                <a:gd name="connsiteX8445" fmla="*/ 1813696 w 3009712"/>
                <a:gd name="connsiteY8445" fmla="*/ 2881848 h 4178187"/>
                <a:gd name="connsiteX8446" fmla="*/ 1814089 w 3009712"/>
                <a:gd name="connsiteY8446" fmla="*/ 2882241 h 4178187"/>
                <a:gd name="connsiteX8447" fmla="*/ 1821171 w 3009712"/>
                <a:gd name="connsiteY8447" fmla="*/ 2891684 h 4178187"/>
                <a:gd name="connsiteX8448" fmla="*/ 1824319 w 3009712"/>
                <a:gd name="connsiteY8448" fmla="*/ 2893651 h 4178187"/>
                <a:gd name="connsiteX8449" fmla="*/ 1827073 w 3009712"/>
                <a:gd name="connsiteY8449" fmla="*/ 2895225 h 4178187"/>
                <a:gd name="connsiteX8450" fmla="*/ 1829040 w 3009712"/>
                <a:gd name="connsiteY8450" fmla="*/ 2896011 h 4178187"/>
                <a:gd name="connsiteX8451" fmla="*/ 1831007 w 3009712"/>
                <a:gd name="connsiteY8451" fmla="*/ 2897192 h 4178187"/>
                <a:gd name="connsiteX8452" fmla="*/ 1832580 w 3009712"/>
                <a:gd name="connsiteY8452" fmla="*/ 2897978 h 4178187"/>
                <a:gd name="connsiteX8453" fmla="*/ 1835334 w 3009712"/>
                <a:gd name="connsiteY8453" fmla="*/ 2899552 h 4178187"/>
                <a:gd name="connsiteX8454" fmla="*/ 1838482 w 3009712"/>
                <a:gd name="connsiteY8454" fmla="*/ 2901126 h 4178187"/>
                <a:gd name="connsiteX8455" fmla="*/ 1840449 w 3009712"/>
                <a:gd name="connsiteY8455" fmla="*/ 2901913 h 4178187"/>
                <a:gd name="connsiteX8456" fmla="*/ 1843596 w 3009712"/>
                <a:gd name="connsiteY8456" fmla="*/ 2904273 h 4178187"/>
                <a:gd name="connsiteX8457" fmla="*/ 1846350 w 3009712"/>
                <a:gd name="connsiteY8457" fmla="*/ 2907027 h 4178187"/>
                <a:gd name="connsiteX8458" fmla="*/ 1849104 w 3009712"/>
                <a:gd name="connsiteY8458" fmla="*/ 2907421 h 4178187"/>
                <a:gd name="connsiteX8459" fmla="*/ 1852252 w 3009712"/>
                <a:gd name="connsiteY8459" fmla="*/ 2908994 h 4178187"/>
                <a:gd name="connsiteX8460" fmla="*/ 1855006 w 3009712"/>
                <a:gd name="connsiteY8460" fmla="*/ 2910568 h 4178187"/>
                <a:gd name="connsiteX8461" fmla="*/ 1857366 w 3009712"/>
                <a:gd name="connsiteY8461" fmla="*/ 2913322 h 4178187"/>
                <a:gd name="connsiteX8462" fmla="*/ 1860120 w 3009712"/>
                <a:gd name="connsiteY8462" fmla="*/ 2915682 h 4178187"/>
                <a:gd name="connsiteX8463" fmla="*/ 1863268 w 3009712"/>
                <a:gd name="connsiteY8463" fmla="*/ 2918043 h 4178187"/>
                <a:gd name="connsiteX8464" fmla="*/ 1866022 w 3009712"/>
                <a:gd name="connsiteY8464" fmla="*/ 2919223 h 4178187"/>
                <a:gd name="connsiteX8465" fmla="*/ 1869169 w 3009712"/>
                <a:gd name="connsiteY8465" fmla="*/ 2920010 h 4178187"/>
                <a:gd name="connsiteX8466" fmla="*/ 1871923 w 3009712"/>
                <a:gd name="connsiteY8466" fmla="*/ 2921191 h 4178187"/>
                <a:gd name="connsiteX8467" fmla="*/ 1874677 w 3009712"/>
                <a:gd name="connsiteY8467" fmla="*/ 2921977 h 4178187"/>
                <a:gd name="connsiteX8468" fmla="*/ 1875857 w 3009712"/>
                <a:gd name="connsiteY8468" fmla="*/ 2922371 h 4178187"/>
                <a:gd name="connsiteX8469" fmla="*/ 1878218 w 3009712"/>
                <a:gd name="connsiteY8469" fmla="*/ 2923551 h 4178187"/>
                <a:gd name="connsiteX8470" fmla="*/ 1880578 w 3009712"/>
                <a:gd name="connsiteY8470" fmla="*/ 2925518 h 4178187"/>
                <a:gd name="connsiteX8471" fmla="*/ 1882152 w 3009712"/>
                <a:gd name="connsiteY8471" fmla="*/ 2925912 h 4178187"/>
                <a:gd name="connsiteX8472" fmla="*/ 1885300 w 3009712"/>
                <a:gd name="connsiteY8472" fmla="*/ 2927879 h 4178187"/>
                <a:gd name="connsiteX8473" fmla="*/ 1894742 w 3009712"/>
                <a:gd name="connsiteY8473" fmla="*/ 2933387 h 4178187"/>
                <a:gd name="connsiteX8474" fmla="*/ 1895922 w 3009712"/>
                <a:gd name="connsiteY8474" fmla="*/ 2934174 h 4178187"/>
                <a:gd name="connsiteX8475" fmla="*/ 1917167 w 3009712"/>
                <a:gd name="connsiteY8475" fmla="*/ 2947550 h 4178187"/>
                <a:gd name="connsiteX8476" fmla="*/ 1919528 w 3009712"/>
                <a:gd name="connsiteY8476" fmla="*/ 2947943 h 4178187"/>
                <a:gd name="connsiteX8477" fmla="*/ 1925036 w 3009712"/>
                <a:gd name="connsiteY8477" fmla="*/ 2952665 h 4178187"/>
                <a:gd name="connsiteX8478" fmla="*/ 1936445 w 3009712"/>
                <a:gd name="connsiteY8478" fmla="*/ 2957779 h 4178187"/>
                <a:gd name="connsiteX8479" fmla="*/ 1940379 w 3009712"/>
                <a:gd name="connsiteY8479" fmla="*/ 2963681 h 4178187"/>
                <a:gd name="connsiteX8480" fmla="*/ 1940773 w 3009712"/>
                <a:gd name="connsiteY8480" fmla="*/ 2966041 h 4178187"/>
                <a:gd name="connsiteX8481" fmla="*/ 1941166 w 3009712"/>
                <a:gd name="connsiteY8481" fmla="*/ 2969189 h 4178187"/>
                <a:gd name="connsiteX8482" fmla="*/ 1943920 w 3009712"/>
                <a:gd name="connsiteY8482" fmla="*/ 2971943 h 4178187"/>
                <a:gd name="connsiteX8483" fmla="*/ 1946674 w 3009712"/>
                <a:gd name="connsiteY8483" fmla="*/ 2973516 h 4178187"/>
                <a:gd name="connsiteX8484" fmla="*/ 1947068 w 3009712"/>
                <a:gd name="connsiteY8484" fmla="*/ 2974303 h 4178187"/>
                <a:gd name="connsiteX8485" fmla="*/ 1949821 w 3009712"/>
                <a:gd name="connsiteY8485" fmla="*/ 2976664 h 4178187"/>
                <a:gd name="connsiteX8486" fmla="*/ 1952575 w 3009712"/>
                <a:gd name="connsiteY8486" fmla="*/ 2977450 h 4178187"/>
                <a:gd name="connsiteX8487" fmla="*/ 1955723 w 3009712"/>
                <a:gd name="connsiteY8487" fmla="*/ 2979811 h 4178187"/>
                <a:gd name="connsiteX8488" fmla="*/ 1958477 w 3009712"/>
                <a:gd name="connsiteY8488" fmla="*/ 2982172 h 4178187"/>
                <a:gd name="connsiteX8489" fmla="*/ 1961231 w 3009712"/>
                <a:gd name="connsiteY8489" fmla="*/ 2984926 h 4178187"/>
                <a:gd name="connsiteX8490" fmla="*/ 1963985 w 3009712"/>
                <a:gd name="connsiteY8490" fmla="*/ 2987680 h 4178187"/>
                <a:gd name="connsiteX8491" fmla="*/ 1966739 w 3009712"/>
                <a:gd name="connsiteY8491" fmla="*/ 2988860 h 4178187"/>
                <a:gd name="connsiteX8492" fmla="*/ 1967132 w 3009712"/>
                <a:gd name="connsiteY8492" fmla="*/ 2989253 h 4178187"/>
                <a:gd name="connsiteX8493" fmla="*/ 1971853 w 3009712"/>
                <a:gd name="connsiteY8493" fmla="*/ 2992794 h 4178187"/>
                <a:gd name="connsiteX8494" fmla="*/ 1975001 w 3009712"/>
                <a:gd name="connsiteY8494" fmla="*/ 2996335 h 4178187"/>
                <a:gd name="connsiteX8495" fmla="*/ 1974607 w 3009712"/>
                <a:gd name="connsiteY8495" fmla="*/ 2997515 h 4178187"/>
                <a:gd name="connsiteX8496" fmla="*/ 1974607 w 3009712"/>
                <a:gd name="connsiteY8496" fmla="*/ 3000663 h 4178187"/>
                <a:gd name="connsiteX8497" fmla="*/ 1975001 w 3009712"/>
                <a:gd name="connsiteY8497" fmla="*/ 3003417 h 4178187"/>
                <a:gd name="connsiteX8498" fmla="*/ 1975394 w 3009712"/>
                <a:gd name="connsiteY8498" fmla="*/ 3006564 h 4178187"/>
                <a:gd name="connsiteX8499" fmla="*/ 1975788 w 3009712"/>
                <a:gd name="connsiteY8499" fmla="*/ 3009318 h 4178187"/>
                <a:gd name="connsiteX8500" fmla="*/ 1976968 w 3009712"/>
                <a:gd name="connsiteY8500" fmla="*/ 3012072 h 4178187"/>
                <a:gd name="connsiteX8501" fmla="*/ 1977361 w 3009712"/>
                <a:gd name="connsiteY8501" fmla="*/ 3014826 h 4178187"/>
                <a:gd name="connsiteX8502" fmla="*/ 1978542 w 3009712"/>
                <a:gd name="connsiteY8502" fmla="*/ 3017973 h 4178187"/>
                <a:gd name="connsiteX8503" fmla="*/ 1978935 w 3009712"/>
                <a:gd name="connsiteY8503" fmla="*/ 3020727 h 4178187"/>
                <a:gd name="connsiteX8504" fmla="*/ 1979328 w 3009712"/>
                <a:gd name="connsiteY8504" fmla="*/ 3023481 h 4178187"/>
                <a:gd name="connsiteX8505" fmla="*/ 1980115 w 3009712"/>
                <a:gd name="connsiteY8505" fmla="*/ 3026629 h 4178187"/>
                <a:gd name="connsiteX8506" fmla="*/ 1981689 w 3009712"/>
                <a:gd name="connsiteY8506" fmla="*/ 3029383 h 4178187"/>
                <a:gd name="connsiteX8507" fmla="*/ 1982476 w 3009712"/>
                <a:gd name="connsiteY8507" fmla="*/ 3032137 h 4178187"/>
                <a:gd name="connsiteX8508" fmla="*/ 1982869 w 3009712"/>
                <a:gd name="connsiteY8508" fmla="*/ 3032924 h 4178187"/>
                <a:gd name="connsiteX8509" fmla="*/ 1983263 w 3009712"/>
                <a:gd name="connsiteY8509" fmla="*/ 3036071 h 4178187"/>
                <a:gd name="connsiteX8510" fmla="*/ 1983656 w 3009712"/>
                <a:gd name="connsiteY8510" fmla="*/ 3037251 h 4178187"/>
                <a:gd name="connsiteX8511" fmla="*/ 1984836 w 3009712"/>
                <a:gd name="connsiteY8511" fmla="*/ 3041972 h 4178187"/>
                <a:gd name="connsiteX8512" fmla="*/ 1984836 w 3009712"/>
                <a:gd name="connsiteY8512" fmla="*/ 3041972 h 4178187"/>
                <a:gd name="connsiteX8513" fmla="*/ 1985230 w 3009712"/>
                <a:gd name="connsiteY8513" fmla="*/ 3044727 h 4178187"/>
                <a:gd name="connsiteX8514" fmla="*/ 1985623 w 3009712"/>
                <a:gd name="connsiteY8514" fmla="*/ 3045513 h 4178187"/>
                <a:gd name="connsiteX8515" fmla="*/ 1986410 w 3009712"/>
                <a:gd name="connsiteY8515" fmla="*/ 3048661 h 4178187"/>
                <a:gd name="connsiteX8516" fmla="*/ 1986017 w 3009712"/>
                <a:gd name="connsiteY8516" fmla="*/ 3055349 h 4178187"/>
                <a:gd name="connsiteX8517" fmla="*/ 1986804 w 3009712"/>
                <a:gd name="connsiteY8517" fmla="*/ 3059283 h 4178187"/>
                <a:gd name="connsiteX8518" fmla="*/ 1986017 w 3009712"/>
                <a:gd name="connsiteY8518" fmla="*/ 3061250 h 4178187"/>
                <a:gd name="connsiteX8519" fmla="*/ 1986804 w 3009712"/>
                <a:gd name="connsiteY8519" fmla="*/ 3064004 h 4178187"/>
                <a:gd name="connsiteX8520" fmla="*/ 1986410 w 3009712"/>
                <a:gd name="connsiteY8520" fmla="*/ 3066758 h 4178187"/>
                <a:gd name="connsiteX8521" fmla="*/ 1986804 w 3009712"/>
                <a:gd name="connsiteY8521" fmla="*/ 3069906 h 4178187"/>
                <a:gd name="connsiteX8522" fmla="*/ 1987197 w 3009712"/>
                <a:gd name="connsiteY8522" fmla="*/ 3072660 h 4178187"/>
                <a:gd name="connsiteX8523" fmla="*/ 1987197 w 3009712"/>
                <a:gd name="connsiteY8523" fmla="*/ 3075414 h 4178187"/>
                <a:gd name="connsiteX8524" fmla="*/ 1989558 w 3009712"/>
                <a:gd name="connsiteY8524" fmla="*/ 3078561 h 4178187"/>
                <a:gd name="connsiteX8525" fmla="*/ 1989164 w 3009712"/>
                <a:gd name="connsiteY8525" fmla="*/ 3081315 h 4178187"/>
                <a:gd name="connsiteX8526" fmla="*/ 1989951 w 3009712"/>
                <a:gd name="connsiteY8526" fmla="*/ 3084069 h 4178187"/>
                <a:gd name="connsiteX8527" fmla="*/ 1991131 w 3009712"/>
                <a:gd name="connsiteY8527" fmla="*/ 3086823 h 4178187"/>
                <a:gd name="connsiteX8528" fmla="*/ 1992705 w 3009712"/>
                <a:gd name="connsiteY8528" fmla="*/ 3089577 h 4178187"/>
                <a:gd name="connsiteX8529" fmla="*/ 1993492 w 3009712"/>
                <a:gd name="connsiteY8529" fmla="*/ 3092331 h 4178187"/>
                <a:gd name="connsiteX8530" fmla="*/ 1993885 w 3009712"/>
                <a:gd name="connsiteY8530" fmla="*/ 3095085 h 4178187"/>
                <a:gd name="connsiteX8531" fmla="*/ 1994279 w 3009712"/>
                <a:gd name="connsiteY8531" fmla="*/ 3096265 h 4178187"/>
                <a:gd name="connsiteX8532" fmla="*/ 1994279 w 3009712"/>
                <a:gd name="connsiteY8532" fmla="*/ 3097052 h 4178187"/>
                <a:gd name="connsiteX8533" fmla="*/ 1993885 w 3009712"/>
                <a:gd name="connsiteY8533" fmla="*/ 3099806 h 4178187"/>
                <a:gd name="connsiteX8534" fmla="*/ 1992705 w 3009712"/>
                <a:gd name="connsiteY8534" fmla="*/ 3102560 h 4178187"/>
                <a:gd name="connsiteX8535" fmla="*/ 1993098 w 3009712"/>
                <a:gd name="connsiteY8535" fmla="*/ 3105708 h 4178187"/>
                <a:gd name="connsiteX8536" fmla="*/ 1993492 w 3009712"/>
                <a:gd name="connsiteY8536" fmla="*/ 3108461 h 4178187"/>
                <a:gd name="connsiteX8537" fmla="*/ 1993492 w 3009712"/>
                <a:gd name="connsiteY8537" fmla="*/ 3111609 h 4178187"/>
                <a:gd name="connsiteX8538" fmla="*/ 1993492 w 3009712"/>
                <a:gd name="connsiteY8538" fmla="*/ 3111609 h 4178187"/>
                <a:gd name="connsiteX8539" fmla="*/ 1993098 w 3009712"/>
                <a:gd name="connsiteY8539" fmla="*/ 3114363 h 4178187"/>
                <a:gd name="connsiteX8540" fmla="*/ 1993098 w 3009712"/>
                <a:gd name="connsiteY8540" fmla="*/ 3114756 h 4178187"/>
                <a:gd name="connsiteX8541" fmla="*/ 1990345 w 3009712"/>
                <a:gd name="connsiteY8541" fmla="*/ 3152132 h 4178187"/>
                <a:gd name="connsiteX8542" fmla="*/ 1987591 w 3009712"/>
                <a:gd name="connsiteY8542" fmla="*/ 3150558 h 4178187"/>
                <a:gd name="connsiteX8543" fmla="*/ 1987197 w 3009712"/>
                <a:gd name="connsiteY8543" fmla="*/ 3156066 h 4178187"/>
                <a:gd name="connsiteX8544" fmla="*/ 1987197 w 3009712"/>
                <a:gd name="connsiteY8544" fmla="*/ 3158820 h 4178187"/>
                <a:gd name="connsiteX8545" fmla="*/ 1987591 w 3009712"/>
                <a:gd name="connsiteY8545" fmla="*/ 3161968 h 4178187"/>
                <a:gd name="connsiteX8546" fmla="*/ 1987591 w 3009712"/>
                <a:gd name="connsiteY8546" fmla="*/ 3164722 h 4178187"/>
                <a:gd name="connsiteX8547" fmla="*/ 1990345 w 3009712"/>
                <a:gd name="connsiteY8547" fmla="*/ 3165508 h 4178187"/>
                <a:gd name="connsiteX8548" fmla="*/ 1991918 w 3009712"/>
                <a:gd name="connsiteY8548" fmla="*/ 3165508 h 4178187"/>
                <a:gd name="connsiteX8549" fmla="*/ 1992705 w 3009712"/>
                <a:gd name="connsiteY8549" fmla="*/ 3174951 h 4178187"/>
                <a:gd name="connsiteX8550" fmla="*/ 1992312 w 3009712"/>
                <a:gd name="connsiteY8550" fmla="*/ 3176918 h 4178187"/>
                <a:gd name="connsiteX8551" fmla="*/ 1992312 w 3009712"/>
                <a:gd name="connsiteY8551" fmla="*/ 3183212 h 4178187"/>
                <a:gd name="connsiteX8552" fmla="*/ 1993492 w 3009712"/>
                <a:gd name="connsiteY8552" fmla="*/ 3185966 h 4178187"/>
                <a:gd name="connsiteX8553" fmla="*/ 1993492 w 3009712"/>
                <a:gd name="connsiteY8553" fmla="*/ 3188720 h 4178187"/>
                <a:gd name="connsiteX8554" fmla="*/ 1993098 w 3009712"/>
                <a:gd name="connsiteY8554" fmla="*/ 3191868 h 4178187"/>
                <a:gd name="connsiteX8555" fmla="*/ 1993492 w 3009712"/>
                <a:gd name="connsiteY8555" fmla="*/ 3194622 h 4178187"/>
                <a:gd name="connsiteX8556" fmla="*/ 1993492 w 3009712"/>
                <a:gd name="connsiteY8556" fmla="*/ 3197376 h 4178187"/>
                <a:gd name="connsiteX8557" fmla="*/ 1993098 w 3009712"/>
                <a:gd name="connsiteY8557" fmla="*/ 3200523 h 4178187"/>
                <a:gd name="connsiteX8558" fmla="*/ 1994279 w 3009712"/>
                <a:gd name="connsiteY8558" fmla="*/ 3203671 h 4178187"/>
                <a:gd name="connsiteX8559" fmla="*/ 1994279 w 3009712"/>
                <a:gd name="connsiteY8559" fmla="*/ 3206425 h 4178187"/>
                <a:gd name="connsiteX8560" fmla="*/ 1996246 w 3009712"/>
                <a:gd name="connsiteY8560" fmla="*/ 3211146 h 4178187"/>
                <a:gd name="connsiteX8561" fmla="*/ 1998213 w 3009712"/>
                <a:gd name="connsiteY8561" fmla="*/ 3233178 h 4178187"/>
                <a:gd name="connsiteX8562" fmla="*/ 1996639 w 3009712"/>
                <a:gd name="connsiteY8562" fmla="*/ 3234358 h 4178187"/>
                <a:gd name="connsiteX8563" fmla="*/ 1997033 w 3009712"/>
                <a:gd name="connsiteY8563" fmla="*/ 3237505 h 4178187"/>
                <a:gd name="connsiteX8564" fmla="*/ 1996639 w 3009712"/>
                <a:gd name="connsiteY8564" fmla="*/ 3240259 h 4178187"/>
                <a:gd name="connsiteX8565" fmla="*/ 1996246 w 3009712"/>
                <a:gd name="connsiteY8565" fmla="*/ 3243407 h 4178187"/>
                <a:gd name="connsiteX8566" fmla="*/ 1997426 w 3009712"/>
                <a:gd name="connsiteY8566" fmla="*/ 3246161 h 4178187"/>
                <a:gd name="connsiteX8567" fmla="*/ 1999787 w 3009712"/>
                <a:gd name="connsiteY8567" fmla="*/ 3249308 h 4178187"/>
                <a:gd name="connsiteX8568" fmla="*/ 2000574 w 3009712"/>
                <a:gd name="connsiteY8568" fmla="*/ 3251669 h 4178187"/>
                <a:gd name="connsiteX8569" fmla="*/ 2000180 w 3009712"/>
                <a:gd name="connsiteY8569" fmla="*/ 3254423 h 4178187"/>
                <a:gd name="connsiteX8570" fmla="*/ 2000574 w 3009712"/>
                <a:gd name="connsiteY8570" fmla="*/ 3257570 h 4178187"/>
                <a:gd name="connsiteX8571" fmla="*/ 2000967 w 3009712"/>
                <a:gd name="connsiteY8571" fmla="*/ 3260324 h 4178187"/>
                <a:gd name="connsiteX8572" fmla="*/ 2002147 w 3009712"/>
                <a:gd name="connsiteY8572" fmla="*/ 3262685 h 4178187"/>
                <a:gd name="connsiteX8573" fmla="*/ 2001754 w 3009712"/>
                <a:gd name="connsiteY8573" fmla="*/ 3268193 h 4178187"/>
                <a:gd name="connsiteX8574" fmla="*/ 2002147 w 3009712"/>
                <a:gd name="connsiteY8574" fmla="*/ 3270160 h 4178187"/>
                <a:gd name="connsiteX8575" fmla="*/ 2002147 w 3009712"/>
                <a:gd name="connsiteY8575" fmla="*/ 3272520 h 4178187"/>
                <a:gd name="connsiteX8576" fmla="*/ 2001360 w 3009712"/>
                <a:gd name="connsiteY8576" fmla="*/ 3276848 h 4178187"/>
                <a:gd name="connsiteX8577" fmla="*/ 2000574 w 3009712"/>
                <a:gd name="connsiteY8577" fmla="*/ 3279995 h 4178187"/>
                <a:gd name="connsiteX8578" fmla="*/ 2001754 w 3009712"/>
                <a:gd name="connsiteY8578" fmla="*/ 3282749 h 4178187"/>
                <a:gd name="connsiteX8579" fmla="*/ 2002147 w 3009712"/>
                <a:gd name="connsiteY8579" fmla="*/ 3285503 h 4178187"/>
                <a:gd name="connsiteX8580" fmla="*/ 2002147 w 3009712"/>
                <a:gd name="connsiteY8580" fmla="*/ 3285897 h 4178187"/>
                <a:gd name="connsiteX8581" fmla="*/ 2000574 w 3009712"/>
                <a:gd name="connsiteY8581" fmla="*/ 3288651 h 4178187"/>
                <a:gd name="connsiteX8582" fmla="*/ 1999393 w 3009712"/>
                <a:gd name="connsiteY8582" fmla="*/ 3291405 h 4178187"/>
                <a:gd name="connsiteX8583" fmla="*/ 2000180 w 3009712"/>
                <a:gd name="connsiteY8583" fmla="*/ 3294552 h 4178187"/>
                <a:gd name="connsiteX8584" fmla="*/ 2000180 w 3009712"/>
                <a:gd name="connsiteY8584" fmla="*/ 3295339 h 4178187"/>
                <a:gd name="connsiteX8585" fmla="*/ 1999000 w 3009712"/>
                <a:gd name="connsiteY8585" fmla="*/ 3311863 h 4178187"/>
                <a:gd name="connsiteX8586" fmla="*/ 1999000 w 3009712"/>
                <a:gd name="connsiteY8586" fmla="*/ 3312650 h 4178187"/>
                <a:gd name="connsiteX8587" fmla="*/ 1998606 w 3009712"/>
                <a:gd name="connsiteY8587" fmla="*/ 3315404 h 4178187"/>
                <a:gd name="connsiteX8588" fmla="*/ 1998606 w 3009712"/>
                <a:gd name="connsiteY8588" fmla="*/ 3317764 h 4178187"/>
                <a:gd name="connsiteX8589" fmla="*/ 1998606 w 3009712"/>
                <a:gd name="connsiteY8589" fmla="*/ 3320125 h 4178187"/>
                <a:gd name="connsiteX8590" fmla="*/ 1998606 w 3009712"/>
                <a:gd name="connsiteY8590" fmla="*/ 3321305 h 4178187"/>
                <a:gd name="connsiteX8591" fmla="*/ 1998606 w 3009712"/>
                <a:gd name="connsiteY8591" fmla="*/ 3321698 h 4178187"/>
                <a:gd name="connsiteX8592" fmla="*/ 2000180 w 3009712"/>
                <a:gd name="connsiteY8592" fmla="*/ 3332321 h 4178187"/>
                <a:gd name="connsiteX8593" fmla="*/ 2000180 w 3009712"/>
                <a:gd name="connsiteY8593" fmla="*/ 3333501 h 4178187"/>
                <a:gd name="connsiteX8594" fmla="*/ 1999000 w 3009712"/>
                <a:gd name="connsiteY8594" fmla="*/ 3336255 h 4178187"/>
                <a:gd name="connsiteX8595" fmla="*/ 1998606 w 3009712"/>
                <a:gd name="connsiteY8595" fmla="*/ 3339403 h 4178187"/>
                <a:gd name="connsiteX8596" fmla="*/ 1998213 w 3009712"/>
                <a:gd name="connsiteY8596" fmla="*/ 3342157 h 4178187"/>
                <a:gd name="connsiteX8597" fmla="*/ 1997033 w 3009712"/>
                <a:gd name="connsiteY8597" fmla="*/ 3344911 h 4178187"/>
                <a:gd name="connsiteX8598" fmla="*/ 1994279 w 3009712"/>
                <a:gd name="connsiteY8598" fmla="*/ 3347665 h 4178187"/>
                <a:gd name="connsiteX8599" fmla="*/ 1994279 w 3009712"/>
                <a:gd name="connsiteY8599" fmla="*/ 3350419 h 4178187"/>
                <a:gd name="connsiteX8600" fmla="*/ 1995852 w 3009712"/>
                <a:gd name="connsiteY8600" fmla="*/ 3353566 h 4178187"/>
                <a:gd name="connsiteX8601" fmla="*/ 1997033 w 3009712"/>
                <a:gd name="connsiteY8601" fmla="*/ 3359074 h 4178187"/>
                <a:gd name="connsiteX8602" fmla="*/ 1997426 w 3009712"/>
                <a:gd name="connsiteY8602" fmla="*/ 3359468 h 4178187"/>
                <a:gd name="connsiteX8603" fmla="*/ 2005688 w 3009712"/>
                <a:gd name="connsiteY8603" fmla="*/ 3377565 h 4178187"/>
                <a:gd name="connsiteX8604" fmla="*/ 2006082 w 3009712"/>
                <a:gd name="connsiteY8604" fmla="*/ 3378745 h 4178187"/>
                <a:gd name="connsiteX8605" fmla="*/ 2007655 w 3009712"/>
                <a:gd name="connsiteY8605" fmla="*/ 3381893 h 4178187"/>
                <a:gd name="connsiteX8606" fmla="*/ 2008049 w 3009712"/>
                <a:gd name="connsiteY8606" fmla="*/ 3382286 h 4178187"/>
                <a:gd name="connsiteX8607" fmla="*/ 2005688 w 3009712"/>
                <a:gd name="connsiteY8607" fmla="*/ 3385434 h 4178187"/>
                <a:gd name="connsiteX8608" fmla="*/ 2005295 w 3009712"/>
                <a:gd name="connsiteY8608" fmla="*/ 3386221 h 4178187"/>
                <a:gd name="connsiteX8609" fmla="*/ 2004114 w 3009712"/>
                <a:gd name="connsiteY8609" fmla="*/ 3394482 h 4178187"/>
                <a:gd name="connsiteX8610" fmla="*/ 2004114 w 3009712"/>
                <a:gd name="connsiteY8610" fmla="*/ 3394482 h 4178187"/>
                <a:gd name="connsiteX8611" fmla="*/ 2001360 w 3009712"/>
                <a:gd name="connsiteY8611" fmla="*/ 3394876 h 4178187"/>
                <a:gd name="connsiteX8612" fmla="*/ 1999787 w 3009712"/>
                <a:gd name="connsiteY8612" fmla="*/ 3398023 h 4178187"/>
                <a:gd name="connsiteX8613" fmla="*/ 2000180 w 3009712"/>
                <a:gd name="connsiteY8613" fmla="*/ 3400777 h 4178187"/>
                <a:gd name="connsiteX8614" fmla="*/ 2000574 w 3009712"/>
                <a:gd name="connsiteY8614" fmla="*/ 3403531 h 4178187"/>
                <a:gd name="connsiteX8615" fmla="*/ 2000967 w 3009712"/>
                <a:gd name="connsiteY8615" fmla="*/ 3406679 h 4178187"/>
                <a:gd name="connsiteX8616" fmla="*/ 2001754 w 3009712"/>
                <a:gd name="connsiteY8616" fmla="*/ 3409433 h 4178187"/>
                <a:gd name="connsiteX8617" fmla="*/ 2002147 w 3009712"/>
                <a:gd name="connsiteY8617" fmla="*/ 3409826 h 4178187"/>
                <a:gd name="connsiteX8618" fmla="*/ 2002541 w 3009712"/>
                <a:gd name="connsiteY8618" fmla="*/ 3412973 h 4178187"/>
                <a:gd name="connsiteX8619" fmla="*/ 2003721 w 3009712"/>
                <a:gd name="connsiteY8619" fmla="*/ 3415727 h 4178187"/>
                <a:gd name="connsiteX8620" fmla="*/ 2004901 w 3009712"/>
                <a:gd name="connsiteY8620" fmla="*/ 3417695 h 4178187"/>
                <a:gd name="connsiteX8621" fmla="*/ 2005688 w 3009712"/>
                <a:gd name="connsiteY8621" fmla="*/ 3420055 h 4178187"/>
                <a:gd name="connsiteX8622" fmla="*/ 2006082 w 3009712"/>
                <a:gd name="connsiteY8622" fmla="*/ 3421629 h 4178187"/>
                <a:gd name="connsiteX8623" fmla="*/ 2006475 w 3009712"/>
                <a:gd name="connsiteY8623" fmla="*/ 3424383 h 4178187"/>
                <a:gd name="connsiteX8624" fmla="*/ 2008049 w 3009712"/>
                <a:gd name="connsiteY8624" fmla="*/ 3427137 h 4178187"/>
                <a:gd name="connsiteX8625" fmla="*/ 2009622 w 3009712"/>
                <a:gd name="connsiteY8625" fmla="*/ 3430284 h 4178187"/>
                <a:gd name="connsiteX8626" fmla="*/ 2010409 w 3009712"/>
                <a:gd name="connsiteY8626" fmla="*/ 3433038 h 4178187"/>
                <a:gd name="connsiteX8627" fmla="*/ 2011196 w 3009712"/>
                <a:gd name="connsiteY8627" fmla="*/ 3434612 h 4178187"/>
                <a:gd name="connsiteX8628" fmla="*/ 2013163 w 3009712"/>
                <a:gd name="connsiteY8628" fmla="*/ 3440120 h 4178187"/>
                <a:gd name="connsiteX8629" fmla="*/ 2018671 w 3009712"/>
                <a:gd name="connsiteY8629" fmla="*/ 3459791 h 4178187"/>
                <a:gd name="connsiteX8630" fmla="*/ 2024572 w 3009712"/>
                <a:gd name="connsiteY8630" fmla="*/ 3484577 h 4178187"/>
                <a:gd name="connsiteX8631" fmla="*/ 2024572 w 3009712"/>
                <a:gd name="connsiteY8631" fmla="*/ 3487724 h 4178187"/>
                <a:gd name="connsiteX8632" fmla="*/ 2022212 w 3009712"/>
                <a:gd name="connsiteY8632" fmla="*/ 3490085 h 4178187"/>
                <a:gd name="connsiteX8633" fmla="*/ 2022212 w 3009712"/>
                <a:gd name="connsiteY8633" fmla="*/ 3492839 h 4178187"/>
                <a:gd name="connsiteX8634" fmla="*/ 2023392 w 3009712"/>
                <a:gd name="connsiteY8634" fmla="*/ 3495986 h 4178187"/>
                <a:gd name="connsiteX8635" fmla="*/ 2024572 w 3009712"/>
                <a:gd name="connsiteY8635" fmla="*/ 3498347 h 4178187"/>
                <a:gd name="connsiteX8636" fmla="*/ 2024572 w 3009712"/>
                <a:gd name="connsiteY8636" fmla="*/ 3518805 h 4178187"/>
                <a:gd name="connsiteX8637" fmla="*/ 2024179 w 3009712"/>
                <a:gd name="connsiteY8637" fmla="*/ 3521559 h 4178187"/>
                <a:gd name="connsiteX8638" fmla="*/ 2022999 w 3009712"/>
                <a:gd name="connsiteY8638" fmla="*/ 3524313 h 4178187"/>
                <a:gd name="connsiteX8639" fmla="*/ 2022605 w 3009712"/>
                <a:gd name="connsiteY8639" fmla="*/ 3527460 h 4178187"/>
                <a:gd name="connsiteX8640" fmla="*/ 2024179 w 3009712"/>
                <a:gd name="connsiteY8640" fmla="*/ 3530214 h 4178187"/>
                <a:gd name="connsiteX8641" fmla="*/ 2024179 w 3009712"/>
                <a:gd name="connsiteY8641" fmla="*/ 3530214 h 4178187"/>
                <a:gd name="connsiteX8642" fmla="*/ 2024179 w 3009712"/>
                <a:gd name="connsiteY8642" fmla="*/ 3534149 h 4178187"/>
                <a:gd name="connsiteX8643" fmla="*/ 2025753 w 3009712"/>
                <a:gd name="connsiteY8643" fmla="*/ 3546738 h 4178187"/>
                <a:gd name="connsiteX8644" fmla="*/ 2025359 w 3009712"/>
                <a:gd name="connsiteY8644" fmla="*/ 3549492 h 4178187"/>
                <a:gd name="connsiteX8645" fmla="*/ 2024966 w 3009712"/>
                <a:gd name="connsiteY8645" fmla="*/ 3552640 h 4178187"/>
                <a:gd name="connsiteX8646" fmla="*/ 2025359 w 3009712"/>
                <a:gd name="connsiteY8646" fmla="*/ 3555394 h 4178187"/>
                <a:gd name="connsiteX8647" fmla="*/ 2025753 w 3009712"/>
                <a:gd name="connsiteY8647" fmla="*/ 3555787 h 4178187"/>
                <a:gd name="connsiteX8648" fmla="*/ 2023786 w 3009712"/>
                <a:gd name="connsiteY8648" fmla="*/ 3560508 h 4178187"/>
                <a:gd name="connsiteX8649" fmla="*/ 2022605 w 3009712"/>
                <a:gd name="connsiteY8649" fmla="*/ 3561689 h 4178187"/>
                <a:gd name="connsiteX8650" fmla="*/ 2021425 w 3009712"/>
                <a:gd name="connsiteY8650" fmla="*/ 3564836 h 4178187"/>
                <a:gd name="connsiteX8651" fmla="*/ 2021819 w 3009712"/>
                <a:gd name="connsiteY8651" fmla="*/ 3565229 h 4178187"/>
                <a:gd name="connsiteX8652" fmla="*/ 2021819 w 3009712"/>
                <a:gd name="connsiteY8652" fmla="*/ 3566016 h 4178187"/>
                <a:gd name="connsiteX8653" fmla="*/ 2021032 w 3009712"/>
                <a:gd name="connsiteY8653" fmla="*/ 3569164 h 4178187"/>
                <a:gd name="connsiteX8654" fmla="*/ 2020245 w 3009712"/>
                <a:gd name="connsiteY8654" fmla="*/ 3571918 h 4178187"/>
                <a:gd name="connsiteX8655" fmla="*/ 2017884 w 3009712"/>
                <a:gd name="connsiteY8655" fmla="*/ 3574672 h 4178187"/>
                <a:gd name="connsiteX8656" fmla="*/ 2020245 w 3009712"/>
                <a:gd name="connsiteY8656" fmla="*/ 3577819 h 4178187"/>
                <a:gd name="connsiteX8657" fmla="*/ 2020245 w 3009712"/>
                <a:gd name="connsiteY8657" fmla="*/ 3577819 h 4178187"/>
                <a:gd name="connsiteX8658" fmla="*/ 2019065 w 3009712"/>
                <a:gd name="connsiteY8658" fmla="*/ 3585688 h 4178187"/>
                <a:gd name="connsiteX8659" fmla="*/ 2018671 w 3009712"/>
                <a:gd name="connsiteY8659" fmla="*/ 3586474 h 4178187"/>
                <a:gd name="connsiteX8660" fmla="*/ 2018278 w 3009712"/>
                <a:gd name="connsiteY8660" fmla="*/ 3589622 h 4178187"/>
                <a:gd name="connsiteX8661" fmla="*/ 2018278 w 3009712"/>
                <a:gd name="connsiteY8661" fmla="*/ 3590802 h 4178187"/>
                <a:gd name="connsiteX8662" fmla="*/ 2019458 w 3009712"/>
                <a:gd name="connsiteY8662" fmla="*/ 3601425 h 4178187"/>
                <a:gd name="connsiteX8663" fmla="*/ 2016704 w 3009712"/>
                <a:gd name="connsiteY8663" fmla="*/ 3612047 h 4178187"/>
                <a:gd name="connsiteX8664" fmla="*/ 2015917 w 3009712"/>
                <a:gd name="connsiteY8664" fmla="*/ 3609687 h 4178187"/>
                <a:gd name="connsiteX8665" fmla="*/ 2015130 w 3009712"/>
                <a:gd name="connsiteY8665" fmla="*/ 3612441 h 4178187"/>
                <a:gd name="connsiteX8666" fmla="*/ 2014737 w 3009712"/>
                <a:gd name="connsiteY8666" fmla="*/ 3615195 h 4178187"/>
                <a:gd name="connsiteX8667" fmla="*/ 2015524 w 3009712"/>
                <a:gd name="connsiteY8667" fmla="*/ 3615588 h 4178187"/>
                <a:gd name="connsiteX8668" fmla="*/ 2011983 w 3009712"/>
                <a:gd name="connsiteY8668" fmla="*/ 3630145 h 4178187"/>
                <a:gd name="connsiteX8669" fmla="*/ 2009622 w 3009712"/>
                <a:gd name="connsiteY8669" fmla="*/ 3629358 h 4178187"/>
                <a:gd name="connsiteX8670" fmla="*/ 2006868 w 3009712"/>
                <a:gd name="connsiteY8670" fmla="*/ 3627784 h 4178187"/>
                <a:gd name="connsiteX8671" fmla="*/ 2006475 w 3009712"/>
                <a:gd name="connsiteY8671" fmla="*/ 3630538 h 4178187"/>
                <a:gd name="connsiteX8672" fmla="*/ 2006475 w 3009712"/>
                <a:gd name="connsiteY8672" fmla="*/ 3633292 h 4178187"/>
                <a:gd name="connsiteX8673" fmla="*/ 2008835 w 3009712"/>
                <a:gd name="connsiteY8673" fmla="*/ 3636440 h 4178187"/>
                <a:gd name="connsiteX8674" fmla="*/ 2009622 w 3009712"/>
                <a:gd name="connsiteY8674" fmla="*/ 3638407 h 4178187"/>
                <a:gd name="connsiteX8675" fmla="*/ 2008835 w 3009712"/>
                <a:gd name="connsiteY8675" fmla="*/ 3642341 h 4178187"/>
                <a:gd name="connsiteX8676" fmla="*/ 2022212 w 3009712"/>
                <a:gd name="connsiteY8676" fmla="*/ 3671061 h 4178187"/>
                <a:gd name="connsiteX8677" fmla="*/ 2022605 w 3009712"/>
                <a:gd name="connsiteY8677" fmla="*/ 3671848 h 4178187"/>
                <a:gd name="connsiteX8678" fmla="*/ 2022999 w 3009712"/>
                <a:gd name="connsiteY8678" fmla="*/ 3672635 h 4178187"/>
                <a:gd name="connsiteX8679" fmla="*/ 2024179 w 3009712"/>
                <a:gd name="connsiteY8679" fmla="*/ 3675389 h 4178187"/>
                <a:gd name="connsiteX8680" fmla="*/ 2026146 w 3009712"/>
                <a:gd name="connsiteY8680" fmla="*/ 3678536 h 4178187"/>
                <a:gd name="connsiteX8681" fmla="*/ 2027720 w 3009712"/>
                <a:gd name="connsiteY8681" fmla="*/ 3681290 h 4178187"/>
                <a:gd name="connsiteX8682" fmla="*/ 2028507 w 3009712"/>
                <a:gd name="connsiteY8682" fmla="*/ 3681290 h 4178187"/>
                <a:gd name="connsiteX8683" fmla="*/ 2030081 w 3009712"/>
                <a:gd name="connsiteY8683" fmla="*/ 3683651 h 4178187"/>
                <a:gd name="connsiteX8684" fmla="*/ 2031654 w 3009712"/>
                <a:gd name="connsiteY8684" fmla="*/ 3686405 h 4178187"/>
                <a:gd name="connsiteX8685" fmla="*/ 2033621 w 3009712"/>
                <a:gd name="connsiteY8685" fmla="*/ 3689159 h 4178187"/>
                <a:gd name="connsiteX8686" fmla="*/ 2035589 w 3009712"/>
                <a:gd name="connsiteY8686" fmla="*/ 3692306 h 4178187"/>
                <a:gd name="connsiteX8687" fmla="*/ 2037556 w 3009712"/>
                <a:gd name="connsiteY8687" fmla="*/ 3695060 h 4178187"/>
                <a:gd name="connsiteX8688" fmla="*/ 2038736 w 3009712"/>
                <a:gd name="connsiteY8688" fmla="*/ 3697814 h 4178187"/>
                <a:gd name="connsiteX8689" fmla="*/ 2039129 w 3009712"/>
                <a:gd name="connsiteY8689" fmla="*/ 3696634 h 4178187"/>
                <a:gd name="connsiteX8690" fmla="*/ 2039523 w 3009712"/>
                <a:gd name="connsiteY8690" fmla="*/ 3699388 h 4178187"/>
                <a:gd name="connsiteX8691" fmla="*/ 2039523 w 3009712"/>
                <a:gd name="connsiteY8691" fmla="*/ 3699781 h 4178187"/>
                <a:gd name="connsiteX8692" fmla="*/ 2040310 w 3009712"/>
                <a:gd name="connsiteY8692" fmla="*/ 3703322 h 4178187"/>
                <a:gd name="connsiteX8693" fmla="*/ 2040703 w 3009712"/>
                <a:gd name="connsiteY8693" fmla="*/ 3710404 h 4178187"/>
                <a:gd name="connsiteX8694" fmla="*/ 2040310 w 3009712"/>
                <a:gd name="connsiteY8694" fmla="*/ 3712371 h 4178187"/>
                <a:gd name="connsiteX8695" fmla="*/ 2040703 w 3009712"/>
                <a:gd name="connsiteY8695" fmla="*/ 3715125 h 4178187"/>
                <a:gd name="connsiteX8696" fmla="*/ 2041096 w 3009712"/>
                <a:gd name="connsiteY8696" fmla="*/ 3717879 h 4178187"/>
                <a:gd name="connsiteX8697" fmla="*/ 2041490 w 3009712"/>
                <a:gd name="connsiteY8697" fmla="*/ 3718272 h 4178187"/>
                <a:gd name="connsiteX8698" fmla="*/ 2041883 w 3009712"/>
                <a:gd name="connsiteY8698" fmla="*/ 3718666 h 4178187"/>
                <a:gd name="connsiteX8699" fmla="*/ 2039129 w 3009712"/>
                <a:gd name="connsiteY8699" fmla="*/ 3719846 h 4178187"/>
                <a:gd name="connsiteX8700" fmla="*/ 2035982 w 3009712"/>
                <a:gd name="connsiteY8700" fmla="*/ 3721813 h 4178187"/>
                <a:gd name="connsiteX8701" fmla="*/ 2034802 w 3009712"/>
                <a:gd name="connsiteY8701" fmla="*/ 3723780 h 4178187"/>
                <a:gd name="connsiteX8702" fmla="*/ 2036375 w 3009712"/>
                <a:gd name="connsiteY8702" fmla="*/ 3729288 h 4178187"/>
                <a:gd name="connsiteX8703" fmla="*/ 2036375 w 3009712"/>
                <a:gd name="connsiteY8703" fmla="*/ 3729682 h 4178187"/>
                <a:gd name="connsiteX8704" fmla="*/ 2036769 w 3009712"/>
                <a:gd name="connsiteY8704" fmla="*/ 3730862 h 4178187"/>
                <a:gd name="connsiteX8705" fmla="*/ 2036769 w 3009712"/>
                <a:gd name="connsiteY8705" fmla="*/ 3734009 h 4178187"/>
                <a:gd name="connsiteX8706" fmla="*/ 2037162 w 3009712"/>
                <a:gd name="connsiteY8706" fmla="*/ 3735583 h 4178187"/>
                <a:gd name="connsiteX8707" fmla="*/ 2037949 w 3009712"/>
                <a:gd name="connsiteY8707" fmla="*/ 3745812 h 4178187"/>
                <a:gd name="connsiteX8708" fmla="*/ 2037949 w 3009712"/>
                <a:gd name="connsiteY8708" fmla="*/ 3745812 h 4178187"/>
                <a:gd name="connsiteX8709" fmla="*/ 2037949 w 3009712"/>
                <a:gd name="connsiteY8709" fmla="*/ 3745812 h 4178187"/>
                <a:gd name="connsiteX8710" fmla="*/ 2038342 w 3009712"/>
                <a:gd name="connsiteY8710" fmla="*/ 3751320 h 4178187"/>
                <a:gd name="connsiteX8711" fmla="*/ 2039916 w 3009712"/>
                <a:gd name="connsiteY8711" fmla="*/ 3754468 h 4178187"/>
                <a:gd name="connsiteX8712" fmla="*/ 2038342 w 3009712"/>
                <a:gd name="connsiteY8712" fmla="*/ 3757221 h 4178187"/>
                <a:gd name="connsiteX8713" fmla="*/ 2039916 w 3009712"/>
                <a:gd name="connsiteY8713" fmla="*/ 3759975 h 4178187"/>
                <a:gd name="connsiteX8714" fmla="*/ 2041490 w 3009712"/>
                <a:gd name="connsiteY8714" fmla="*/ 3763123 h 4178187"/>
                <a:gd name="connsiteX8715" fmla="*/ 2043850 w 3009712"/>
                <a:gd name="connsiteY8715" fmla="*/ 3765877 h 4178187"/>
                <a:gd name="connsiteX8716" fmla="*/ 2046211 w 3009712"/>
                <a:gd name="connsiteY8716" fmla="*/ 3768631 h 4178187"/>
                <a:gd name="connsiteX8717" fmla="*/ 2047391 w 3009712"/>
                <a:gd name="connsiteY8717" fmla="*/ 3771778 h 4178187"/>
                <a:gd name="connsiteX8718" fmla="*/ 2048965 w 3009712"/>
                <a:gd name="connsiteY8718" fmla="*/ 3774532 h 4178187"/>
                <a:gd name="connsiteX8719" fmla="*/ 2052112 w 3009712"/>
                <a:gd name="connsiteY8719" fmla="*/ 3776893 h 4178187"/>
                <a:gd name="connsiteX8720" fmla="*/ 2054866 w 3009712"/>
                <a:gd name="connsiteY8720" fmla="*/ 3777286 h 4178187"/>
                <a:gd name="connsiteX8721" fmla="*/ 2057227 w 3009712"/>
                <a:gd name="connsiteY8721" fmla="*/ 3777679 h 4178187"/>
                <a:gd name="connsiteX8722" fmla="*/ 2054473 w 3009712"/>
                <a:gd name="connsiteY8722" fmla="*/ 3780040 h 4178187"/>
                <a:gd name="connsiteX8723" fmla="*/ 2054473 w 3009712"/>
                <a:gd name="connsiteY8723" fmla="*/ 3782794 h 4178187"/>
                <a:gd name="connsiteX8724" fmla="*/ 2057620 w 3009712"/>
                <a:gd name="connsiteY8724" fmla="*/ 3783188 h 4178187"/>
                <a:gd name="connsiteX8725" fmla="*/ 2060374 w 3009712"/>
                <a:gd name="connsiteY8725" fmla="*/ 3783975 h 4178187"/>
                <a:gd name="connsiteX8726" fmla="*/ 2060768 w 3009712"/>
                <a:gd name="connsiteY8726" fmla="*/ 3784761 h 4178187"/>
                <a:gd name="connsiteX8727" fmla="*/ 2063915 w 3009712"/>
                <a:gd name="connsiteY8727" fmla="*/ 3784761 h 4178187"/>
                <a:gd name="connsiteX8728" fmla="*/ 2066669 w 3009712"/>
                <a:gd name="connsiteY8728" fmla="*/ 3783975 h 4178187"/>
                <a:gd name="connsiteX8729" fmla="*/ 2069816 w 3009712"/>
                <a:gd name="connsiteY8729" fmla="*/ 3784368 h 4178187"/>
                <a:gd name="connsiteX8730" fmla="*/ 2071390 w 3009712"/>
                <a:gd name="connsiteY8730" fmla="*/ 3781220 h 4178187"/>
                <a:gd name="connsiteX8731" fmla="*/ 2070997 w 3009712"/>
                <a:gd name="connsiteY8731" fmla="*/ 3780434 h 4178187"/>
                <a:gd name="connsiteX8732" fmla="*/ 2079652 w 3009712"/>
                <a:gd name="connsiteY8732" fmla="*/ 3777286 h 4178187"/>
                <a:gd name="connsiteX8733" fmla="*/ 2083586 w 3009712"/>
                <a:gd name="connsiteY8733" fmla="*/ 3782794 h 4178187"/>
                <a:gd name="connsiteX8734" fmla="*/ 2081619 w 3009712"/>
                <a:gd name="connsiteY8734" fmla="*/ 3785155 h 4178187"/>
                <a:gd name="connsiteX8735" fmla="*/ 2080046 w 3009712"/>
                <a:gd name="connsiteY8735" fmla="*/ 3787909 h 4178187"/>
                <a:gd name="connsiteX8736" fmla="*/ 2081619 w 3009712"/>
                <a:gd name="connsiteY8736" fmla="*/ 3790663 h 4178187"/>
                <a:gd name="connsiteX8737" fmla="*/ 2084373 w 3009712"/>
                <a:gd name="connsiteY8737" fmla="*/ 3792237 h 4178187"/>
                <a:gd name="connsiteX8738" fmla="*/ 2087127 w 3009712"/>
                <a:gd name="connsiteY8738" fmla="*/ 3792237 h 4178187"/>
                <a:gd name="connsiteX8739" fmla="*/ 2089094 w 3009712"/>
                <a:gd name="connsiteY8739" fmla="*/ 3791056 h 4178187"/>
                <a:gd name="connsiteX8740" fmla="*/ 2092242 w 3009712"/>
                <a:gd name="connsiteY8740" fmla="*/ 3794990 h 4178187"/>
                <a:gd name="connsiteX8741" fmla="*/ 2092635 w 3009712"/>
                <a:gd name="connsiteY8741" fmla="*/ 3795777 h 4178187"/>
                <a:gd name="connsiteX8742" fmla="*/ 2093422 w 3009712"/>
                <a:gd name="connsiteY8742" fmla="*/ 3796171 h 4178187"/>
                <a:gd name="connsiteX8743" fmla="*/ 2094996 w 3009712"/>
                <a:gd name="connsiteY8743" fmla="*/ 3801679 h 4178187"/>
                <a:gd name="connsiteX8744" fmla="*/ 2096963 w 3009712"/>
                <a:gd name="connsiteY8744" fmla="*/ 3804433 h 4178187"/>
                <a:gd name="connsiteX8745" fmla="*/ 2097750 w 3009712"/>
                <a:gd name="connsiteY8745" fmla="*/ 3806400 h 4178187"/>
                <a:gd name="connsiteX8746" fmla="*/ 2097356 w 3009712"/>
                <a:gd name="connsiteY8746" fmla="*/ 3806793 h 4178187"/>
                <a:gd name="connsiteX8747" fmla="*/ 2094996 w 3009712"/>
                <a:gd name="connsiteY8747" fmla="*/ 3803646 h 4178187"/>
                <a:gd name="connsiteX8748" fmla="*/ 2092635 w 3009712"/>
                <a:gd name="connsiteY8748" fmla="*/ 3800892 h 4178187"/>
                <a:gd name="connsiteX8749" fmla="*/ 2090668 w 3009712"/>
                <a:gd name="connsiteY8749" fmla="*/ 3798138 h 4178187"/>
                <a:gd name="connsiteX8750" fmla="*/ 2087914 w 3009712"/>
                <a:gd name="connsiteY8750" fmla="*/ 3798531 h 4178187"/>
                <a:gd name="connsiteX8751" fmla="*/ 2085160 w 3009712"/>
                <a:gd name="connsiteY8751" fmla="*/ 3799318 h 4178187"/>
                <a:gd name="connsiteX8752" fmla="*/ 2086734 w 3009712"/>
                <a:gd name="connsiteY8752" fmla="*/ 3802466 h 4178187"/>
                <a:gd name="connsiteX8753" fmla="*/ 2089488 w 3009712"/>
                <a:gd name="connsiteY8753" fmla="*/ 3804826 h 4178187"/>
                <a:gd name="connsiteX8754" fmla="*/ 2091849 w 3009712"/>
                <a:gd name="connsiteY8754" fmla="*/ 3807580 h 4178187"/>
                <a:gd name="connsiteX8755" fmla="*/ 2094996 w 3009712"/>
                <a:gd name="connsiteY8755" fmla="*/ 3808760 h 4178187"/>
                <a:gd name="connsiteX8756" fmla="*/ 2095389 w 3009712"/>
                <a:gd name="connsiteY8756" fmla="*/ 3808760 h 4178187"/>
                <a:gd name="connsiteX8757" fmla="*/ 2094603 w 3009712"/>
                <a:gd name="connsiteY8757" fmla="*/ 3809547 h 4178187"/>
                <a:gd name="connsiteX8758" fmla="*/ 2091849 w 3009712"/>
                <a:gd name="connsiteY8758" fmla="*/ 3807974 h 4178187"/>
                <a:gd name="connsiteX8759" fmla="*/ 2088701 w 3009712"/>
                <a:gd name="connsiteY8759" fmla="*/ 3807186 h 4178187"/>
                <a:gd name="connsiteX8760" fmla="*/ 2087914 w 3009712"/>
                <a:gd name="connsiteY8760" fmla="*/ 3810334 h 4178187"/>
                <a:gd name="connsiteX8761" fmla="*/ 2090275 w 3009712"/>
                <a:gd name="connsiteY8761" fmla="*/ 3813088 h 4178187"/>
                <a:gd name="connsiteX8762" fmla="*/ 2089881 w 3009712"/>
                <a:gd name="connsiteY8762" fmla="*/ 3815842 h 4178187"/>
                <a:gd name="connsiteX8763" fmla="*/ 2091849 w 3009712"/>
                <a:gd name="connsiteY8763" fmla="*/ 3818989 h 4178187"/>
                <a:gd name="connsiteX8764" fmla="*/ 2094603 w 3009712"/>
                <a:gd name="connsiteY8764" fmla="*/ 3820956 h 4178187"/>
                <a:gd name="connsiteX8765" fmla="*/ 2095389 w 3009712"/>
                <a:gd name="connsiteY8765" fmla="*/ 3821743 h 4178187"/>
                <a:gd name="connsiteX8766" fmla="*/ 2095783 w 3009712"/>
                <a:gd name="connsiteY8766" fmla="*/ 3824891 h 4178187"/>
                <a:gd name="connsiteX8767" fmla="*/ 2093029 w 3009712"/>
                <a:gd name="connsiteY8767" fmla="*/ 3824891 h 4178187"/>
                <a:gd name="connsiteX8768" fmla="*/ 2092635 w 3009712"/>
                <a:gd name="connsiteY8768" fmla="*/ 3828038 h 4178187"/>
                <a:gd name="connsiteX8769" fmla="*/ 2094209 w 3009712"/>
                <a:gd name="connsiteY8769" fmla="*/ 3830792 h 4178187"/>
                <a:gd name="connsiteX8770" fmla="*/ 2091849 w 3009712"/>
                <a:gd name="connsiteY8770" fmla="*/ 3833546 h 4178187"/>
                <a:gd name="connsiteX8771" fmla="*/ 2091455 w 3009712"/>
                <a:gd name="connsiteY8771" fmla="*/ 3836693 h 4178187"/>
                <a:gd name="connsiteX8772" fmla="*/ 2091849 w 3009712"/>
                <a:gd name="connsiteY8772" fmla="*/ 3839448 h 4178187"/>
                <a:gd name="connsiteX8773" fmla="*/ 2094603 w 3009712"/>
                <a:gd name="connsiteY8773" fmla="*/ 3842201 h 4178187"/>
                <a:gd name="connsiteX8774" fmla="*/ 2097356 w 3009712"/>
                <a:gd name="connsiteY8774" fmla="*/ 3843775 h 4178187"/>
                <a:gd name="connsiteX8775" fmla="*/ 2097750 w 3009712"/>
                <a:gd name="connsiteY8775" fmla="*/ 3843775 h 4178187"/>
                <a:gd name="connsiteX8776" fmla="*/ 2096570 w 3009712"/>
                <a:gd name="connsiteY8776" fmla="*/ 3848496 h 4178187"/>
                <a:gd name="connsiteX8777" fmla="*/ 2099717 w 3009712"/>
                <a:gd name="connsiteY8777" fmla="*/ 3851250 h 4178187"/>
                <a:gd name="connsiteX8778" fmla="*/ 2098537 w 3009712"/>
                <a:gd name="connsiteY8778" fmla="*/ 3854004 h 4178187"/>
                <a:gd name="connsiteX8779" fmla="*/ 2097750 w 3009712"/>
                <a:gd name="connsiteY8779" fmla="*/ 3857152 h 4178187"/>
                <a:gd name="connsiteX8780" fmla="*/ 2099324 w 3009712"/>
                <a:gd name="connsiteY8780" fmla="*/ 3860299 h 4178187"/>
                <a:gd name="connsiteX8781" fmla="*/ 2096570 w 3009712"/>
                <a:gd name="connsiteY8781" fmla="*/ 3859906 h 4178187"/>
                <a:gd name="connsiteX8782" fmla="*/ 2096176 w 3009712"/>
                <a:gd name="connsiteY8782" fmla="*/ 3862660 h 4178187"/>
                <a:gd name="connsiteX8783" fmla="*/ 2098930 w 3009712"/>
                <a:gd name="connsiteY8783" fmla="*/ 3864233 h 4178187"/>
                <a:gd name="connsiteX8784" fmla="*/ 2099717 w 3009712"/>
                <a:gd name="connsiteY8784" fmla="*/ 3865020 h 4178187"/>
                <a:gd name="connsiteX8785" fmla="*/ 2101291 w 3009712"/>
                <a:gd name="connsiteY8785" fmla="*/ 3873282 h 4178187"/>
                <a:gd name="connsiteX8786" fmla="*/ 2101291 w 3009712"/>
                <a:gd name="connsiteY8786" fmla="*/ 3874069 h 4178187"/>
                <a:gd name="connsiteX8787" fmla="*/ 2101684 w 3009712"/>
                <a:gd name="connsiteY8787" fmla="*/ 3874069 h 4178187"/>
                <a:gd name="connsiteX8788" fmla="*/ 2102078 w 3009712"/>
                <a:gd name="connsiteY8788" fmla="*/ 3877217 h 4178187"/>
                <a:gd name="connsiteX8789" fmla="*/ 2101291 w 3009712"/>
                <a:gd name="connsiteY8789" fmla="*/ 3877610 h 4178187"/>
                <a:gd name="connsiteX8790" fmla="*/ 2098143 w 3009712"/>
                <a:gd name="connsiteY8790" fmla="*/ 3878003 h 4178187"/>
                <a:gd name="connsiteX8791" fmla="*/ 2099324 w 3009712"/>
                <a:gd name="connsiteY8791" fmla="*/ 3880757 h 4178187"/>
                <a:gd name="connsiteX8792" fmla="*/ 2101684 w 3009712"/>
                <a:gd name="connsiteY8792" fmla="*/ 3883905 h 4178187"/>
                <a:gd name="connsiteX8793" fmla="*/ 2102864 w 3009712"/>
                <a:gd name="connsiteY8793" fmla="*/ 3883905 h 4178187"/>
                <a:gd name="connsiteX8794" fmla="*/ 2102864 w 3009712"/>
                <a:gd name="connsiteY8794" fmla="*/ 3884298 h 4178187"/>
                <a:gd name="connsiteX8795" fmla="*/ 2101291 w 3009712"/>
                <a:gd name="connsiteY8795" fmla="*/ 3884692 h 4178187"/>
                <a:gd name="connsiteX8796" fmla="*/ 2103258 w 3009712"/>
                <a:gd name="connsiteY8796" fmla="*/ 3886266 h 4178187"/>
                <a:gd name="connsiteX8797" fmla="*/ 2104045 w 3009712"/>
                <a:gd name="connsiteY8797" fmla="*/ 3890593 h 4178187"/>
                <a:gd name="connsiteX8798" fmla="*/ 2106405 w 3009712"/>
                <a:gd name="connsiteY8798" fmla="*/ 3893740 h 4178187"/>
                <a:gd name="connsiteX8799" fmla="*/ 2108373 w 3009712"/>
                <a:gd name="connsiteY8799" fmla="*/ 3896494 h 4178187"/>
                <a:gd name="connsiteX8800" fmla="*/ 2106012 w 3009712"/>
                <a:gd name="connsiteY8800" fmla="*/ 3899642 h 4178187"/>
                <a:gd name="connsiteX8801" fmla="*/ 2108766 w 3009712"/>
                <a:gd name="connsiteY8801" fmla="*/ 3900429 h 4178187"/>
                <a:gd name="connsiteX8802" fmla="*/ 2111913 w 3009712"/>
                <a:gd name="connsiteY8802" fmla="*/ 3898855 h 4178187"/>
                <a:gd name="connsiteX8803" fmla="*/ 2115061 w 3009712"/>
                <a:gd name="connsiteY8803" fmla="*/ 3900429 h 4178187"/>
                <a:gd name="connsiteX8804" fmla="*/ 2117815 w 3009712"/>
                <a:gd name="connsiteY8804" fmla="*/ 3902396 h 4178187"/>
                <a:gd name="connsiteX8805" fmla="*/ 2120569 w 3009712"/>
                <a:gd name="connsiteY8805" fmla="*/ 3903970 h 4178187"/>
                <a:gd name="connsiteX8806" fmla="*/ 2123716 w 3009712"/>
                <a:gd name="connsiteY8806" fmla="*/ 3903576 h 4178187"/>
                <a:gd name="connsiteX8807" fmla="*/ 2125290 w 3009712"/>
                <a:gd name="connsiteY8807" fmla="*/ 3904363 h 4178187"/>
                <a:gd name="connsiteX8808" fmla="*/ 2124896 w 3009712"/>
                <a:gd name="connsiteY8808" fmla="*/ 3905937 h 4178187"/>
                <a:gd name="connsiteX8809" fmla="*/ 2122142 w 3009712"/>
                <a:gd name="connsiteY8809" fmla="*/ 3905543 h 4178187"/>
                <a:gd name="connsiteX8810" fmla="*/ 2119388 w 3009712"/>
                <a:gd name="connsiteY8810" fmla="*/ 3903970 h 4178187"/>
                <a:gd name="connsiteX8811" fmla="*/ 2116634 w 3009712"/>
                <a:gd name="connsiteY8811" fmla="*/ 3902789 h 4178187"/>
                <a:gd name="connsiteX8812" fmla="*/ 2113487 w 3009712"/>
                <a:gd name="connsiteY8812" fmla="*/ 3900035 h 4178187"/>
                <a:gd name="connsiteX8813" fmla="*/ 2111520 w 3009712"/>
                <a:gd name="connsiteY8813" fmla="*/ 3903183 h 4178187"/>
                <a:gd name="connsiteX8814" fmla="*/ 2108766 w 3009712"/>
                <a:gd name="connsiteY8814" fmla="*/ 3903576 h 4178187"/>
                <a:gd name="connsiteX8815" fmla="*/ 2107979 w 3009712"/>
                <a:gd name="connsiteY8815" fmla="*/ 3906330 h 4178187"/>
                <a:gd name="connsiteX8816" fmla="*/ 2108373 w 3009712"/>
                <a:gd name="connsiteY8816" fmla="*/ 3909477 h 4178187"/>
                <a:gd name="connsiteX8817" fmla="*/ 2108766 w 3009712"/>
                <a:gd name="connsiteY8817" fmla="*/ 3912625 h 4178187"/>
                <a:gd name="connsiteX8818" fmla="*/ 2109159 w 3009712"/>
                <a:gd name="connsiteY8818" fmla="*/ 3915379 h 4178187"/>
                <a:gd name="connsiteX8819" fmla="*/ 2111520 w 3009712"/>
                <a:gd name="connsiteY8819" fmla="*/ 3912625 h 4178187"/>
                <a:gd name="connsiteX8820" fmla="*/ 2114667 w 3009712"/>
                <a:gd name="connsiteY8820" fmla="*/ 3911051 h 4178187"/>
                <a:gd name="connsiteX8821" fmla="*/ 2115454 w 3009712"/>
                <a:gd name="connsiteY8821" fmla="*/ 3911444 h 4178187"/>
                <a:gd name="connsiteX8822" fmla="*/ 2105619 w 3009712"/>
                <a:gd name="connsiteY8822" fmla="*/ 3917740 h 4178187"/>
                <a:gd name="connsiteX8823" fmla="*/ 2104832 w 3009712"/>
                <a:gd name="connsiteY8823" fmla="*/ 3916952 h 4178187"/>
                <a:gd name="connsiteX8824" fmla="*/ 2101684 w 3009712"/>
                <a:gd name="connsiteY8824" fmla="*/ 3919707 h 4178187"/>
                <a:gd name="connsiteX8825" fmla="*/ 2101684 w 3009712"/>
                <a:gd name="connsiteY8825" fmla="*/ 3920100 h 4178187"/>
                <a:gd name="connsiteX8826" fmla="*/ 2098143 w 3009712"/>
                <a:gd name="connsiteY8826" fmla="*/ 3922461 h 4178187"/>
                <a:gd name="connsiteX8827" fmla="*/ 2098930 w 3009712"/>
                <a:gd name="connsiteY8827" fmla="*/ 3920887 h 4178187"/>
                <a:gd name="connsiteX8828" fmla="*/ 2095783 w 3009712"/>
                <a:gd name="connsiteY8828" fmla="*/ 3919707 h 4178187"/>
                <a:gd name="connsiteX8829" fmla="*/ 2094996 w 3009712"/>
                <a:gd name="connsiteY8829" fmla="*/ 3916559 h 4178187"/>
                <a:gd name="connsiteX8830" fmla="*/ 2092242 w 3009712"/>
                <a:gd name="connsiteY8830" fmla="*/ 3916952 h 4178187"/>
                <a:gd name="connsiteX8831" fmla="*/ 2090668 w 3009712"/>
                <a:gd name="connsiteY8831" fmla="*/ 3916559 h 4178187"/>
                <a:gd name="connsiteX8832" fmla="*/ 2093029 w 3009712"/>
                <a:gd name="connsiteY8832" fmla="*/ 3914592 h 4178187"/>
                <a:gd name="connsiteX8833" fmla="*/ 2089881 w 3009712"/>
                <a:gd name="connsiteY8833" fmla="*/ 3913412 h 4178187"/>
                <a:gd name="connsiteX8834" fmla="*/ 2090668 w 3009712"/>
                <a:gd name="connsiteY8834" fmla="*/ 3916559 h 4178187"/>
                <a:gd name="connsiteX8835" fmla="*/ 2089094 w 3009712"/>
                <a:gd name="connsiteY8835" fmla="*/ 3916166 h 4178187"/>
                <a:gd name="connsiteX8836" fmla="*/ 2087521 w 3009712"/>
                <a:gd name="connsiteY8836" fmla="*/ 3918920 h 4178187"/>
                <a:gd name="connsiteX8837" fmla="*/ 2089881 w 3009712"/>
                <a:gd name="connsiteY8837" fmla="*/ 3921674 h 4178187"/>
                <a:gd name="connsiteX8838" fmla="*/ 2087127 w 3009712"/>
                <a:gd name="connsiteY8838" fmla="*/ 3920887 h 4178187"/>
                <a:gd name="connsiteX8839" fmla="*/ 2085160 w 3009712"/>
                <a:gd name="connsiteY8839" fmla="*/ 3917740 h 4178187"/>
                <a:gd name="connsiteX8840" fmla="*/ 2082406 w 3009712"/>
                <a:gd name="connsiteY8840" fmla="*/ 3916952 h 4178187"/>
                <a:gd name="connsiteX8841" fmla="*/ 2079652 w 3009712"/>
                <a:gd name="connsiteY8841" fmla="*/ 3916166 h 4178187"/>
                <a:gd name="connsiteX8842" fmla="*/ 2076505 w 3009712"/>
                <a:gd name="connsiteY8842" fmla="*/ 3918133 h 4178187"/>
                <a:gd name="connsiteX8843" fmla="*/ 2073751 w 3009712"/>
                <a:gd name="connsiteY8843" fmla="*/ 3918920 h 4178187"/>
                <a:gd name="connsiteX8844" fmla="*/ 2070997 w 3009712"/>
                <a:gd name="connsiteY8844" fmla="*/ 3918133 h 4178187"/>
                <a:gd name="connsiteX8845" fmla="*/ 2072571 w 3009712"/>
                <a:gd name="connsiteY8845" fmla="*/ 3920887 h 4178187"/>
                <a:gd name="connsiteX8846" fmla="*/ 2075325 w 3009712"/>
                <a:gd name="connsiteY8846" fmla="*/ 3922067 h 4178187"/>
                <a:gd name="connsiteX8847" fmla="*/ 2078079 w 3009712"/>
                <a:gd name="connsiteY8847" fmla="*/ 3922461 h 4178187"/>
                <a:gd name="connsiteX8848" fmla="*/ 2075325 w 3009712"/>
                <a:gd name="connsiteY8848" fmla="*/ 3923247 h 4178187"/>
                <a:gd name="connsiteX8849" fmla="*/ 2075325 w 3009712"/>
                <a:gd name="connsiteY8849" fmla="*/ 3926001 h 4178187"/>
                <a:gd name="connsiteX8850" fmla="*/ 2078079 w 3009712"/>
                <a:gd name="connsiteY8850" fmla="*/ 3926001 h 4178187"/>
                <a:gd name="connsiteX8851" fmla="*/ 2080833 w 3009712"/>
                <a:gd name="connsiteY8851" fmla="*/ 3923641 h 4178187"/>
                <a:gd name="connsiteX8852" fmla="*/ 2080833 w 3009712"/>
                <a:gd name="connsiteY8852" fmla="*/ 3920493 h 4178187"/>
                <a:gd name="connsiteX8853" fmla="*/ 2083586 w 3009712"/>
                <a:gd name="connsiteY8853" fmla="*/ 3923641 h 4178187"/>
                <a:gd name="connsiteX8854" fmla="*/ 2081619 w 3009712"/>
                <a:gd name="connsiteY8854" fmla="*/ 3926395 h 4178187"/>
                <a:gd name="connsiteX8855" fmla="*/ 2083980 w 3009712"/>
                <a:gd name="connsiteY8855" fmla="*/ 3929542 h 4178187"/>
                <a:gd name="connsiteX8856" fmla="*/ 2081226 w 3009712"/>
                <a:gd name="connsiteY8856" fmla="*/ 3927969 h 4178187"/>
                <a:gd name="connsiteX8857" fmla="*/ 2079652 w 3009712"/>
                <a:gd name="connsiteY8857" fmla="*/ 3930722 h 4178187"/>
                <a:gd name="connsiteX8858" fmla="*/ 2076898 w 3009712"/>
                <a:gd name="connsiteY8858" fmla="*/ 3929542 h 4178187"/>
                <a:gd name="connsiteX8859" fmla="*/ 2075718 w 3009712"/>
                <a:gd name="connsiteY8859" fmla="*/ 3932690 h 4178187"/>
                <a:gd name="connsiteX8860" fmla="*/ 2078865 w 3009712"/>
                <a:gd name="connsiteY8860" fmla="*/ 3934263 h 4178187"/>
                <a:gd name="connsiteX8861" fmla="*/ 2075718 w 3009712"/>
                <a:gd name="connsiteY8861" fmla="*/ 3933870 h 4178187"/>
                <a:gd name="connsiteX8862" fmla="*/ 2072964 w 3009712"/>
                <a:gd name="connsiteY8862" fmla="*/ 3935444 h 4178187"/>
                <a:gd name="connsiteX8863" fmla="*/ 2071390 w 3009712"/>
                <a:gd name="connsiteY8863" fmla="*/ 3938198 h 4178187"/>
                <a:gd name="connsiteX8864" fmla="*/ 2068636 w 3009712"/>
                <a:gd name="connsiteY8864" fmla="*/ 3940165 h 4178187"/>
                <a:gd name="connsiteX8865" fmla="*/ 2066669 w 3009712"/>
                <a:gd name="connsiteY8865" fmla="*/ 3942919 h 4178187"/>
                <a:gd name="connsiteX8866" fmla="*/ 2065882 w 3009712"/>
                <a:gd name="connsiteY8866" fmla="*/ 3943706 h 4178187"/>
                <a:gd name="connsiteX8867" fmla="*/ 2066276 w 3009712"/>
                <a:gd name="connsiteY8867" fmla="*/ 3946459 h 4178187"/>
                <a:gd name="connsiteX8868" fmla="*/ 2067849 w 3009712"/>
                <a:gd name="connsiteY8868" fmla="*/ 3948820 h 4178187"/>
                <a:gd name="connsiteX8869" fmla="*/ 2068243 w 3009712"/>
                <a:gd name="connsiteY8869" fmla="*/ 3949607 h 4178187"/>
                <a:gd name="connsiteX8870" fmla="*/ 2070603 w 3009712"/>
                <a:gd name="connsiteY8870" fmla="*/ 3951574 h 4178187"/>
                <a:gd name="connsiteX8871" fmla="*/ 2070997 w 3009712"/>
                <a:gd name="connsiteY8871" fmla="*/ 3951968 h 4178187"/>
                <a:gd name="connsiteX8872" fmla="*/ 2074144 w 3009712"/>
                <a:gd name="connsiteY8872" fmla="*/ 3954328 h 4178187"/>
                <a:gd name="connsiteX8873" fmla="*/ 2075718 w 3009712"/>
                <a:gd name="connsiteY8873" fmla="*/ 3954328 h 4178187"/>
                <a:gd name="connsiteX8874" fmla="*/ 2109159 w 3009712"/>
                <a:gd name="connsiteY8874" fmla="*/ 3969278 h 4178187"/>
                <a:gd name="connsiteX8875" fmla="*/ 2109159 w 3009712"/>
                <a:gd name="connsiteY8875" fmla="*/ 3971245 h 4178187"/>
                <a:gd name="connsiteX8876" fmla="*/ 2111913 w 3009712"/>
                <a:gd name="connsiteY8876" fmla="*/ 3971245 h 4178187"/>
                <a:gd name="connsiteX8877" fmla="*/ 2113487 w 3009712"/>
                <a:gd name="connsiteY8877" fmla="*/ 3973999 h 4178187"/>
                <a:gd name="connsiteX8878" fmla="*/ 2116241 w 3009712"/>
                <a:gd name="connsiteY8878" fmla="*/ 3975966 h 4178187"/>
                <a:gd name="connsiteX8879" fmla="*/ 2118995 w 3009712"/>
                <a:gd name="connsiteY8879" fmla="*/ 3975573 h 4178187"/>
                <a:gd name="connsiteX8880" fmla="*/ 2120962 w 3009712"/>
                <a:gd name="connsiteY8880" fmla="*/ 3974786 h 4178187"/>
                <a:gd name="connsiteX8881" fmla="*/ 2122536 w 3009712"/>
                <a:gd name="connsiteY8881" fmla="*/ 3975573 h 4178187"/>
                <a:gd name="connsiteX8882" fmla="*/ 2123323 w 3009712"/>
                <a:gd name="connsiteY8882" fmla="*/ 3977147 h 4178187"/>
                <a:gd name="connsiteX8883" fmla="*/ 2120175 w 3009712"/>
                <a:gd name="connsiteY8883" fmla="*/ 3976754 h 4178187"/>
                <a:gd name="connsiteX8884" fmla="*/ 2118602 w 3009712"/>
                <a:gd name="connsiteY8884" fmla="*/ 3979507 h 4178187"/>
                <a:gd name="connsiteX8885" fmla="*/ 2121356 w 3009712"/>
                <a:gd name="connsiteY8885" fmla="*/ 3981081 h 4178187"/>
                <a:gd name="connsiteX8886" fmla="*/ 2118602 w 3009712"/>
                <a:gd name="connsiteY8886" fmla="*/ 3980294 h 4178187"/>
                <a:gd name="connsiteX8887" fmla="*/ 2115454 w 3009712"/>
                <a:gd name="connsiteY8887" fmla="*/ 3978721 h 4178187"/>
                <a:gd name="connsiteX8888" fmla="*/ 2114274 w 3009712"/>
                <a:gd name="connsiteY8888" fmla="*/ 3975966 h 4178187"/>
                <a:gd name="connsiteX8889" fmla="*/ 2111520 w 3009712"/>
                <a:gd name="connsiteY8889" fmla="*/ 3974786 h 4178187"/>
                <a:gd name="connsiteX8890" fmla="*/ 2108373 w 3009712"/>
                <a:gd name="connsiteY8890" fmla="*/ 3975180 h 4178187"/>
                <a:gd name="connsiteX8891" fmla="*/ 2109553 w 3009712"/>
                <a:gd name="connsiteY8891" fmla="*/ 3977934 h 4178187"/>
                <a:gd name="connsiteX8892" fmla="*/ 2106799 w 3009712"/>
                <a:gd name="connsiteY8892" fmla="*/ 3979507 h 4178187"/>
                <a:gd name="connsiteX8893" fmla="*/ 2109553 w 3009712"/>
                <a:gd name="connsiteY8893" fmla="*/ 3981474 h 4178187"/>
                <a:gd name="connsiteX8894" fmla="*/ 2112700 w 3009712"/>
                <a:gd name="connsiteY8894" fmla="*/ 3981868 h 4178187"/>
                <a:gd name="connsiteX8895" fmla="*/ 2115454 w 3009712"/>
                <a:gd name="connsiteY8895" fmla="*/ 3981474 h 4178187"/>
                <a:gd name="connsiteX8896" fmla="*/ 2118602 w 3009712"/>
                <a:gd name="connsiteY8896" fmla="*/ 3982655 h 4178187"/>
                <a:gd name="connsiteX8897" fmla="*/ 2121356 w 3009712"/>
                <a:gd name="connsiteY8897" fmla="*/ 3982655 h 4178187"/>
                <a:gd name="connsiteX8898" fmla="*/ 2124110 w 3009712"/>
                <a:gd name="connsiteY8898" fmla="*/ 3982261 h 4178187"/>
                <a:gd name="connsiteX8899" fmla="*/ 2127257 w 3009712"/>
                <a:gd name="connsiteY8899" fmla="*/ 3983835 h 4178187"/>
                <a:gd name="connsiteX8900" fmla="*/ 2130011 w 3009712"/>
                <a:gd name="connsiteY8900" fmla="*/ 3984228 h 4178187"/>
                <a:gd name="connsiteX8901" fmla="*/ 2132765 w 3009712"/>
                <a:gd name="connsiteY8901" fmla="*/ 3982655 h 4178187"/>
                <a:gd name="connsiteX8902" fmla="*/ 2131585 w 3009712"/>
                <a:gd name="connsiteY8902" fmla="*/ 3979507 h 4178187"/>
                <a:gd name="connsiteX8903" fmla="*/ 2131585 w 3009712"/>
                <a:gd name="connsiteY8903" fmla="*/ 3979507 h 4178187"/>
                <a:gd name="connsiteX8904" fmla="*/ 2133158 w 3009712"/>
                <a:gd name="connsiteY8904" fmla="*/ 3980294 h 4178187"/>
                <a:gd name="connsiteX8905" fmla="*/ 2135519 w 3009712"/>
                <a:gd name="connsiteY8905" fmla="*/ 3982655 h 4178187"/>
                <a:gd name="connsiteX8906" fmla="*/ 2138666 w 3009712"/>
                <a:gd name="connsiteY8906" fmla="*/ 3983048 h 4178187"/>
                <a:gd name="connsiteX8907" fmla="*/ 2139060 w 3009712"/>
                <a:gd name="connsiteY8907" fmla="*/ 3983048 h 4178187"/>
                <a:gd name="connsiteX8908" fmla="*/ 2141420 w 3009712"/>
                <a:gd name="connsiteY8908" fmla="*/ 3986195 h 4178187"/>
                <a:gd name="connsiteX8909" fmla="*/ 2142207 w 3009712"/>
                <a:gd name="connsiteY8909" fmla="*/ 3986589 h 4178187"/>
                <a:gd name="connsiteX8910" fmla="*/ 2143781 w 3009712"/>
                <a:gd name="connsiteY8910" fmla="*/ 3988556 h 4178187"/>
                <a:gd name="connsiteX8911" fmla="*/ 2141814 w 3009712"/>
                <a:gd name="connsiteY8911" fmla="*/ 3987769 h 4178187"/>
                <a:gd name="connsiteX8912" fmla="*/ 2138666 w 3009712"/>
                <a:gd name="connsiteY8912" fmla="*/ 3985802 h 4178187"/>
                <a:gd name="connsiteX8913" fmla="*/ 2139453 w 3009712"/>
                <a:gd name="connsiteY8913" fmla="*/ 3988556 h 4178187"/>
                <a:gd name="connsiteX8914" fmla="*/ 2142207 w 3009712"/>
                <a:gd name="connsiteY8914" fmla="*/ 3990917 h 4178187"/>
                <a:gd name="connsiteX8915" fmla="*/ 2144961 w 3009712"/>
                <a:gd name="connsiteY8915" fmla="*/ 3992884 h 4178187"/>
                <a:gd name="connsiteX8916" fmla="*/ 2148109 w 3009712"/>
                <a:gd name="connsiteY8916" fmla="*/ 3994458 h 4178187"/>
                <a:gd name="connsiteX8917" fmla="*/ 2148109 w 3009712"/>
                <a:gd name="connsiteY8917" fmla="*/ 3994064 h 4178187"/>
                <a:gd name="connsiteX8918" fmla="*/ 2150076 w 3009712"/>
                <a:gd name="connsiteY8918" fmla="*/ 3996425 h 4178187"/>
                <a:gd name="connsiteX8919" fmla="*/ 2146928 w 3009712"/>
                <a:gd name="connsiteY8919" fmla="*/ 3994851 h 4178187"/>
                <a:gd name="connsiteX8920" fmla="*/ 2144174 w 3009712"/>
                <a:gd name="connsiteY8920" fmla="*/ 3996425 h 4178187"/>
                <a:gd name="connsiteX8921" fmla="*/ 2142600 w 3009712"/>
                <a:gd name="connsiteY8921" fmla="*/ 3993671 h 4178187"/>
                <a:gd name="connsiteX8922" fmla="*/ 2139847 w 3009712"/>
                <a:gd name="connsiteY8922" fmla="*/ 3992884 h 4178187"/>
                <a:gd name="connsiteX8923" fmla="*/ 2136699 w 3009712"/>
                <a:gd name="connsiteY8923" fmla="*/ 3992884 h 4178187"/>
                <a:gd name="connsiteX8924" fmla="*/ 2133945 w 3009712"/>
                <a:gd name="connsiteY8924" fmla="*/ 3990523 h 4178187"/>
                <a:gd name="connsiteX8925" fmla="*/ 2131191 w 3009712"/>
                <a:gd name="connsiteY8925" fmla="*/ 3990523 h 4178187"/>
                <a:gd name="connsiteX8926" fmla="*/ 2128044 w 3009712"/>
                <a:gd name="connsiteY8926" fmla="*/ 3988950 h 4178187"/>
                <a:gd name="connsiteX8927" fmla="*/ 2125290 w 3009712"/>
                <a:gd name="connsiteY8927" fmla="*/ 3988556 h 4178187"/>
                <a:gd name="connsiteX8928" fmla="*/ 2122142 w 3009712"/>
                <a:gd name="connsiteY8928" fmla="*/ 3988950 h 4178187"/>
                <a:gd name="connsiteX8929" fmla="*/ 2124503 w 3009712"/>
                <a:gd name="connsiteY8929" fmla="*/ 3991703 h 4178187"/>
                <a:gd name="connsiteX8930" fmla="*/ 2126470 w 3009712"/>
                <a:gd name="connsiteY8930" fmla="*/ 3994458 h 4178187"/>
                <a:gd name="connsiteX8931" fmla="*/ 2123716 w 3009712"/>
                <a:gd name="connsiteY8931" fmla="*/ 3991703 h 4178187"/>
                <a:gd name="connsiteX8932" fmla="*/ 2120569 w 3009712"/>
                <a:gd name="connsiteY8932" fmla="*/ 3989343 h 4178187"/>
                <a:gd name="connsiteX8933" fmla="*/ 2117815 w 3009712"/>
                <a:gd name="connsiteY8933" fmla="*/ 3988163 h 4178187"/>
                <a:gd name="connsiteX8934" fmla="*/ 2114667 w 3009712"/>
                <a:gd name="connsiteY8934" fmla="*/ 3988556 h 4178187"/>
                <a:gd name="connsiteX8935" fmla="*/ 2114274 w 3009712"/>
                <a:gd name="connsiteY8935" fmla="*/ 3991310 h 4178187"/>
                <a:gd name="connsiteX8936" fmla="*/ 2117028 w 3009712"/>
                <a:gd name="connsiteY8936" fmla="*/ 3990917 h 4178187"/>
                <a:gd name="connsiteX8937" fmla="*/ 2120175 w 3009712"/>
                <a:gd name="connsiteY8937" fmla="*/ 3993671 h 4178187"/>
                <a:gd name="connsiteX8938" fmla="*/ 2125683 w 3009712"/>
                <a:gd name="connsiteY8938" fmla="*/ 3997212 h 4178187"/>
                <a:gd name="connsiteX8939" fmla="*/ 2128831 w 3009712"/>
                <a:gd name="connsiteY8939" fmla="*/ 3999572 h 4178187"/>
                <a:gd name="connsiteX8940" fmla="*/ 2131585 w 3009712"/>
                <a:gd name="connsiteY8940" fmla="*/ 3999179 h 4178187"/>
                <a:gd name="connsiteX8941" fmla="*/ 2128831 w 3009712"/>
                <a:gd name="connsiteY8941" fmla="*/ 4000752 h 4178187"/>
                <a:gd name="connsiteX8942" fmla="*/ 2131585 w 3009712"/>
                <a:gd name="connsiteY8942" fmla="*/ 4001539 h 4178187"/>
                <a:gd name="connsiteX8943" fmla="*/ 2134732 w 3009712"/>
                <a:gd name="connsiteY8943" fmla="*/ 4002720 h 4178187"/>
                <a:gd name="connsiteX8944" fmla="*/ 2137486 w 3009712"/>
                <a:gd name="connsiteY8944" fmla="*/ 4002720 h 4178187"/>
                <a:gd name="connsiteX8945" fmla="*/ 2136306 w 3009712"/>
                <a:gd name="connsiteY8945" fmla="*/ 4005867 h 4178187"/>
                <a:gd name="connsiteX8946" fmla="*/ 2139060 w 3009712"/>
                <a:gd name="connsiteY8946" fmla="*/ 4008621 h 4178187"/>
                <a:gd name="connsiteX8947" fmla="*/ 2136306 w 3009712"/>
                <a:gd name="connsiteY8947" fmla="*/ 4007441 h 4178187"/>
                <a:gd name="connsiteX8948" fmla="*/ 2133552 w 3009712"/>
                <a:gd name="connsiteY8948" fmla="*/ 4005867 h 4178187"/>
                <a:gd name="connsiteX8949" fmla="*/ 2130798 w 3009712"/>
                <a:gd name="connsiteY8949" fmla="*/ 4005867 h 4178187"/>
                <a:gd name="connsiteX8950" fmla="*/ 2128831 w 3009712"/>
                <a:gd name="connsiteY8950" fmla="*/ 4008621 h 4178187"/>
                <a:gd name="connsiteX8951" fmla="*/ 2130011 w 3009712"/>
                <a:gd name="connsiteY8951" fmla="*/ 4011375 h 4178187"/>
                <a:gd name="connsiteX8952" fmla="*/ 2133158 w 3009712"/>
                <a:gd name="connsiteY8952" fmla="*/ 4013342 h 4178187"/>
                <a:gd name="connsiteX8953" fmla="*/ 2135912 w 3009712"/>
                <a:gd name="connsiteY8953" fmla="*/ 4012555 h 4178187"/>
                <a:gd name="connsiteX8954" fmla="*/ 2138666 w 3009712"/>
                <a:gd name="connsiteY8954" fmla="*/ 4012949 h 4178187"/>
                <a:gd name="connsiteX8955" fmla="*/ 2139060 w 3009712"/>
                <a:gd name="connsiteY8955" fmla="*/ 4013342 h 4178187"/>
                <a:gd name="connsiteX8956" fmla="*/ 2135912 w 3009712"/>
                <a:gd name="connsiteY8956" fmla="*/ 4012949 h 4178187"/>
                <a:gd name="connsiteX8957" fmla="*/ 2133158 w 3009712"/>
                <a:gd name="connsiteY8957" fmla="*/ 4013735 h 4178187"/>
                <a:gd name="connsiteX8958" fmla="*/ 2130404 w 3009712"/>
                <a:gd name="connsiteY8958" fmla="*/ 4014129 h 4178187"/>
                <a:gd name="connsiteX8959" fmla="*/ 2130798 w 3009712"/>
                <a:gd name="connsiteY8959" fmla="*/ 4017276 h 4178187"/>
                <a:gd name="connsiteX8960" fmla="*/ 2133552 w 3009712"/>
                <a:gd name="connsiteY8960" fmla="*/ 4019637 h 4178187"/>
                <a:gd name="connsiteX8961" fmla="*/ 2133158 w 3009712"/>
                <a:gd name="connsiteY8961" fmla="*/ 4022391 h 4178187"/>
                <a:gd name="connsiteX8962" fmla="*/ 2135519 w 3009712"/>
                <a:gd name="connsiteY8962" fmla="*/ 4025145 h 4178187"/>
                <a:gd name="connsiteX8963" fmla="*/ 2137880 w 3009712"/>
                <a:gd name="connsiteY8963" fmla="*/ 4027899 h 4178187"/>
                <a:gd name="connsiteX8964" fmla="*/ 2138273 w 3009712"/>
                <a:gd name="connsiteY8964" fmla="*/ 4030653 h 4178187"/>
                <a:gd name="connsiteX8965" fmla="*/ 2139060 w 3009712"/>
                <a:gd name="connsiteY8965" fmla="*/ 4033800 h 4178187"/>
                <a:gd name="connsiteX8966" fmla="*/ 2141814 w 3009712"/>
                <a:gd name="connsiteY8966" fmla="*/ 4035768 h 4178187"/>
                <a:gd name="connsiteX8967" fmla="*/ 2144568 w 3009712"/>
                <a:gd name="connsiteY8967" fmla="*/ 4038128 h 4178187"/>
                <a:gd name="connsiteX8968" fmla="*/ 2145748 w 3009712"/>
                <a:gd name="connsiteY8968" fmla="*/ 4035374 h 4178187"/>
                <a:gd name="connsiteX8969" fmla="*/ 2145354 w 3009712"/>
                <a:gd name="connsiteY8969" fmla="*/ 4032227 h 4178187"/>
                <a:gd name="connsiteX8970" fmla="*/ 2143781 w 3009712"/>
                <a:gd name="connsiteY8970" fmla="*/ 4029472 h 4178187"/>
                <a:gd name="connsiteX8971" fmla="*/ 2145748 w 3009712"/>
                <a:gd name="connsiteY8971" fmla="*/ 4026325 h 4178187"/>
                <a:gd name="connsiteX8972" fmla="*/ 2144174 w 3009712"/>
                <a:gd name="connsiteY8972" fmla="*/ 4023571 h 4178187"/>
                <a:gd name="connsiteX8973" fmla="*/ 2145748 w 3009712"/>
                <a:gd name="connsiteY8973" fmla="*/ 4022784 h 4178187"/>
                <a:gd name="connsiteX8974" fmla="*/ 2146535 w 3009712"/>
                <a:gd name="connsiteY8974" fmla="*/ 4023965 h 4178187"/>
                <a:gd name="connsiteX8975" fmla="*/ 2146141 w 3009712"/>
                <a:gd name="connsiteY8975" fmla="*/ 4025145 h 4178187"/>
                <a:gd name="connsiteX8976" fmla="*/ 2147715 w 3009712"/>
                <a:gd name="connsiteY8976" fmla="*/ 4028292 h 4178187"/>
                <a:gd name="connsiteX8977" fmla="*/ 2150076 w 3009712"/>
                <a:gd name="connsiteY8977" fmla="*/ 4031046 h 4178187"/>
                <a:gd name="connsiteX8978" fmla="*/ 2152436 w 3009712"/>
                <a:gd name="connsiteY8978" fmla="*/ 4032620 h 4178187"/>
                <a:gd name="connsiteX8979" fmla="*/ 2149682 w 3009712"/>
                <a:gd name="connsiteY8979" fmla="*/ 4031833 h 4178187"/>
                <a:gd name="connsiteX8980" fmla="*/ 2147715 w 3009712"/>
                <a:gd name="connsiteY8980" fmla="*/ 4034587 h 4178187"/>
                <a:gd name="connsiteX8981" fmla="*/ 2149289 w 3009712"/>
                <a:gd name="connsiteY8981" fmla="*/ 4037341 h 4178187"/>
                <a:gd name="connsiteX8982" fmla="*/ 2152043 w 3009712"/>
                <a:gd name="connsiteY8982" fmla="*/ 4038521 h 4178187"/>
                <a:gd name="connsiteX8983" fmla="*/ 2154403 w 3009712"/>
                <a:gd name="connsiteY8983" fmla="*/ 4038521 h 4178187"/>
                <a:gd name="connsiteX8984" fmla="*/ 2155190 w 3009712"/>
                <a:gd name="connsiteY8984" fmla="*/ 4040488 h 4178187"/>
                <a:gd name="connsiteX8985" fmla="*/ 2154797 w 3009712"/>
                <a:gd name="connsiteY8985" fmla="*/ 4039702 h 4178187"/>
                <a:gd name="connsiteX8986" fmla="*/ 2151649 w 3009712"/>
                <a:gd name="connsiteY8986" fmla="*/ 4039308 h 4178187"/>
                <a:gd name="connsiteX8987" fmla="*/ 2148895 w 3009712"/>
                <a:gd name="connsiteY8987" fmla="*/ 4040095 h 4178187"/>
                <a:gd name="connsiteX8988" fmla="*/ 2146141 w 3009712"/>
                <a:gd name="connsiteY8988" fmla="*/ 4041669 h 4178187"/>
                <a:gd name="connsiteX8989" fmla="*/ 2147715 w 3009712"/>
                <a:gd name="connsiteY8989" fmla="*/ 4044423 h 4178187"/>
                <a:gd name="connsiteX8990" fmla="*/ 2150469 w 3009712"/>
                <a:gd name="connsiteY8990" fmla="*/ 4045209 h 4178187"/>
                <a:gd name="connsiteX8991" fmla="*/ 2153617 w 3009712"/>
                <a:gd name="connsiteY8991" fmla="*/ 4044816 h 4178187"/>
                <a:gd name="connsiteX8992" fmla="*/ 2150469 w 3009712"/>
                <a:gd name="connsiteY8992" fmla="*/ 4046390 h 4178187"/>
                <a:gd name="connsiteX8993" fmla="*/ 2149289 w 3009712"/>
                <a:gd name="connsiteY8993" fmla="*/ 4049144 h 4178187"/>
                <a:gd name="connsiteX8994" fmla="*/ 2152436 w 3009712"/>
                <a:gd name="connsiteY8994" fmla="*/ 4050717 h 4178187"/>
                <a:gd name="connsiteX8995" fmla="*/ 2155190 w 3009712"/>
                <a:gd name="connsiteY8995" fmla="*/ 4051111 h 4178187"/>
                <a:gd name="connsiteX8996" fmla="*/ 2157944 w 3009712"/>
                <a:gd name="connsiteY8996" fmla="*/ 4052685 h 4178187"/>
                <a:gd name="connsiteX8997" fmla="*/ 2159124 w 3009712"/>
                <a:gd name="connsiteY8997" fmla="*/ 4051111 h 4178187"/>
                <a:gd name="connsiteX8998" fmla="*/ 2159911 w 3009712"/>
                <a:gd name="connsiteY8998" fmla="*/ 4053865 h 4178187"/>
                <a:gd name="connsiteX8999" fmla="*/ 2155977 w 3009712"/>
                <a:gd name="connsiteY8999" fmla="*/ 4053865 h 4178187"/>
                <a:gd name="connsiteX9000" fmla="*/ 2152830 w 3009712"/>
                <a:gd name="connsiteY9000" fmla="*/ 4051898 h 4178187"/>
                <a:gd name="connsiteX9001" fmla="*/ 2150076 w 3009712"/>
                <a:gd name="connsiteY9001" fmla="*/ 4051505 h 4178187"/>
                <a:gd name="connsiteX9002" fmla="*/ 2150863 w 3009712"/>
                <a:gd name="connsiteY9002" fmla="*/ 4053865 h 4178187"/>
                <a:gd name="connsiteX9003" fmla="*/ 2153617 w 3009712"/>
                <a:gd name="connsiteY9003" fmla="*/ 4056225 h 4178187"/>
                <a:gd name="connsiteX9004" fmla="*/ 2156764 w 3009712"/>
                <a:gd name="connsiteY9004" fmla="*/ 4057799 h 4178187"/>
                <a:gd name="connsiteX9005" fmla="*/ 2159518 w 3009712"/>
                <a:gd name="connsiteY9005" fmla="*/ 4060553 h 4178187"/>
                <a:gd name="connsiteX9006" fmla="*/ 2162272 w 3009712"/>
                <a:gd name="connsiteY9006" fmla="*/ 4060553 h 4178187"/>
                <a:gd name="connsiteX9007" fmla="*/ 2165419 w 3009712"/>
                <a:gd name="connsiteY9007" fmla="*/ 4062127 h 4178187"/>
                <a:gd name="connsiteX9008" fmla="*/ 2167780 w 3009712"/>
                <a:gd name="connsiteY9008" fmla="*/ 4062914 h 4178187"/>
                <a:gd name="connsiteX9009" fmla="*/ 2167780 w 3009712"/>
                <a:gd name="connsiteY9009" fmla="*/ 4062914 h 4178187"/>
                <a:gd name="connsiteX9010" fmla="*/ 2165026 w 3009712"/>
                <a:gd name="connsiteY9010" fmla="*/ 4062914 h 4178187"/>
                <a:gd name="connsiteX9011" fmla="*/ 2161878 w 3009712"/>
                <a:gd name="connsiteY9011" fmla="*/ 4061340 h 4178187"/>
                <a:gd name="connsiteX9012" fmla="*/ 2159124 w 3009712"/>
                <a:gd name="connsiteY9012" fmla="*/ 4061734 h 4178187"/>
                <a:gd name="connsiteX9013" fmla="*/ 2156370 w 3009712"/>
                <a:gd name="connsiteY9013" fmla="*/ 4059373 h 4178187"/>
                <a:gd name="connsiteX9014" fmla="*/ 2153223 w 3009712"/>
                <a:gd name="connsiteY9014" fmla="*/ 4057012 h 4178187"/>
                <a:gd name="connsiteX9015" fmla="*/ 2150469 w 3009712"/>
                <a:gd name="connsiteY9015" fmla="*/ 4056225 h 4178187"/>
                <a:gd name="connsiteX9016" fmla="*/ 2147322 w 3009712"/>
                <a:gd name="connsiteY9016" fmla="*/ 4056225 h 4178187"/>
                <a:gd name="connsiteX9017" fmla="*/ 2144961 w 3009712"/>
                <a:gd name="connsiteY9017" fmla="*/ 4058979 h 4178187"/>
                <a:gd name="connsiteX9018" fmla="*/ 2147715 w 3009712"/>
                <a:gd name="connsiteY9018" fmla="*/ 4059373 h 4178187"/>
                <a:gd name="connsiteX9019" fmla="*/ 2150469 w 3009712"/>
                <a:gd name="connsiteY9019" fmla="*/ 4061340 h 4178187"/>
                <a:gd name="connsiteX9020" fmla="*/ 2153223 w 3009712"/>
                <a:gd name="connsiteY9020" fmla="*/ 4064094 h 4178187"/>
                <a:gd name="connsiteX9021" fmla="*/ 2155977 w 3009712"/>
                <a:gd name="connsiteY9021" fmla="*/ 4064881 h 4178187"/>
                <a:gd name="connsiteX9022" fmla="*/ 2155977 w 3009712"/>
                <a:gd name="connsiteY9022" fmla="*/ 4062127 h 4178187"/>
                <a:gd name="connsiteX9023" fmla="*/ 2157551 w 3009712"/>
                <a:gd name="connsiteY9023" fmla="*/ 4064881 h 4178187"/>
                <a:gd name="connsiteX9024" fmla="*/ 2160305 w 3009712"/>
                <a:gd name="connsiteY9024" fmla="*/ 4066061 h 4178187"/>
                <a:gd name="connsiteX9025" fmla="*/ 2163059 w 3009712"/>
                <a:gd name="connsiteY9025" fmla="*/ 4065668 h 4178187"/>
                <a:gd name="connsiteX9026" fmla="*/ 2166206 w 3009712"/>
                <a:gd name="connsiteY9026" fmla="*/ 4067635 h 4178187"/>
                <a:gd name="connsiteX9027" fmla="*/ 2168960 w 3009712"/>
                <a:gd name="connsiteY9027" fmla="*/ 4069995 h 4178187"/>
                <a:gd name="connsiteX9028" fmla="*/ 2166206 w 3009712"/>
                <a:gd name="connsiteY9028" fmla="*/ 4069995 h 4178187"/>
                <a:gd name="connsiteX9029" fmla="*/ 2163059 w 3009712"/>
                <a:gd name="connsiteY9029" fmla="*/ 4068815 h 4178187"/>
                <a:gd name="connsiteX9030" fmla="*/ 2165419 w 3009712"/>
                <a:gd name="connsiteY9030" fmla="*/ 4071569 h 4178187"/>
                <a:gd name="connsiteX9031" fmla="*/ 2162272 w 3009712"/>
                <a:gd name="connsiteY9031" fmla="*/ 4069602 h 4178187"/>
                <a:gd name="connsiteX9032" fmla="*/ 2159518 w 3009712"/>
                <a:gd name="connsiteY9032" fmla="*/ 4068422 h 4178187"/>
                <a:gd name="connsiteX9033" fmla="*/ 2162272 w 3009712"/>
                <a:gd name="connsiteY9033" fmla="*/ 4070782 h 4178187"/>
                <a:gd name="connsiteX9034" fmla="*/ 2163846 w 3009712"/>
                <a:gd name="connsiteY9034" fmla="*/ 4073536 h 4178187"/>
                <a:gd name="connsiteX9035" fmla="*/ 2166600 w 3009712"/>
                <a:gd name="connsiteY9035" fmla="*/ 4076683 h 4178187"/>
                <a:gd name="connsiteX9036" fmla="*/ 2169747 w 3009712"/>
                <a:gd name="connsiteY9036" fmla="*/ 4079044 h 4178187"/>
                <a:gd name="connsiteX9037" fmla="*/ 2172501 w 3009712"/>
                <a:gd name="connsiteY9037" fmla="*/ 4080224 h 4178187"/>
                <a:gd name="connsiteX9038" fmla="*/ 2175255 w 3009712"/>
                <a:gd name="connsiteY9038" fmla="*/ 4078651 h 4178187"/>
                <a:gd name="connsiteX9039" fmla="*/ 2174468 w 3009712"/>
                <a:gd name="connsiteY9039" fmla="*/ 4075503 h 4178187"/>
                <a:gd name="connsiteX9040" fmla="*/ 2174075 w 3009712"/>
                <a:gd name="connsiteY9040" fmla="*/ 4072749 h 4178187"/>
                <a:gd name="connsiteX9041" fmla="*/ 2174468 w 3009712"/>
                <a:gd name="connsiteY9041" fmla="*/ 4069995 h 4178187"/>
                <a:gd name="connsiteX9042" fmla="*/ 2176435 w 3009712"/>
                <a:gd name="connsiteY9042" fmla="*/ 4067242 h 4178187"/>
                <a:gd name="connsiteX9043" fmla="*/ 2175255 w 3009712"/>
                <a:gd name="connsiteY9043" fmla="*/ 4069995 h 4178187"/>
                <a:gd name="connsiteX9044" fmla="*/ 2178009 w 3009712"/>
                <a:gd name="connsiteY9044" fmla="*/ 4073143 h 4178187"/>
                <a:gd name="connsiteX9045" fmla="*/ 2181156 w 3009712"/>
                <a:gd name="connsiteY9045" fmla="*/ 4073930 h 4178187"/>
                <a:gd name="connsiteX9046" fmla="*/ 2178402 w 3009712"/>
                <a:gd name="connsiteY9046" fmla="*/ 4074323 h 4178187"/>
                <a:gd name="connsiteX9047" fmla="*/ 2177615 w 3009712"/>
                <a:gd name="connsiteY9047" fmla="*/ 4077471 h 4178187"/>
                <a:gd name="connsiteX9048" fmla="*/ 2179583 w 3009712"/>
                <a:gd name="connsiteY9048" fmla="*/ 4080224 h 4178187"/>
                <a:gd name="connsiteX9049" fmla="*/ 2176829 w 3009712"/>
                <a:gd name="connsiteY9049" fmla="*/ 4079044 h 4178187"/>
                <a:gd name="connsiteX9050" fmla="*/ 2178402 w 3009712"/>
                <a:gd name="connsiteY9050" fmla="*/ 4081798 h 4178187"/>
                <a:gd name="connsiteX9051" fmla="*/ 2175648 w 3009712"/>
                <a:gd name="connsiteY9051" fmla="*/ 4081405 h 4178187"/>
                <a:gd name="connsiteX9052" fmla="*/ 2172894 w 3009712"/>
                <a:gd name="connsiteY9052" fmla="*/ 4081798 h 4178187"/>
                <a:gd name="connsiteX9053" fmla="*/ 2170140 w 3009712"/>
                <a:gd name="connsiteY9053" fmla="*/ 4081405 h 4178187"/>
                <a:gd name="connsiteX9054" fmla="*/ 2169747 w 3009712"/>
                <a:gd name="connsiteY9054" fmla="*/ 4084159 h 4178187"/>
                <a:gd name="connsiteX9055" fmla="*/ 2172501 w 3009712"/>
                <a:gd name="connsiteY9055" fmla="*/ 4085339 h 4178187"/>
                <a:gd name="connsiteX9056" fmla="*/ 2173681 w 3009712"/>
                <a:gd name="connsiteY9056" fmla="*/ 4088486 h 4178187"/>
                <a:gd name="connsiteX9057" fmla="*/ 2175255 w 3009712"/>
                <a:gd name="connsiteY9057" fmla="*/ 4091241 h 4178187"/>
                <a:gd name="connsiteX9058" fmla="*/ 2178402 w 3009712"/>
                <a:gd name="connsiteY9058" fmla="*/ 4092421 h 4178187"/>
                <a:gd name="connsiteX9059" fmla="*/ 2177222 w 3009712"/>
                <a:gd name="connsiteY9059" fmla="*/ 4089667 h 4178187"/>
                <a:gd name="connsiteX9060" fmla="*/ 2180370 w 3009712"/>
                <a:gd name="connsiteY9060" fmla="*/ 4092027 h 4178187"/>
                <a:gd name="connsiteX9061" fmla="*/ 2183517 w 3009712"/>
                <a:gd name="connsiteY9061" fmla="*/ 4093208 h 4178187"/>
                <a:gd name="connsiteX9062" fmla="*/ 2184304 w 3009712"/>
                <a:gd name="connsiteY9062" fmla="*/ 4090453 h 4178187"/>
                <a:gd name="connsiteX9063" fmla="*/ 2187451 w 3009712"/>
                <a:gd name="connsiteY9063" fmla="*/ 4092027 h 4178187"/>
                <a:gd name="connsiteX9064" fmla="*/ 2189025 w 3009712"/>
                <a:gd name="connsiteY9064" fmla="*/ 4094781 h 4178187"/>
                <a:gd name="connsiteX9065" fmla="*/ 2185877 w 3009712"/>
                <a:gd name="connsiteY9065" fmla="*/ 4092421 h 4178187"/>
                <a:gd name="connsiteX9066" fmla="*/ 2188631 w 3009712"/>
                <a:gd name="connsiteY9066" fmla="*/ 4095175 h 4178187"/>
                <a:gd name="connsiteX9067" fmla="*/ 2190205 w 3009712"/>
                <a:gd name="connsiteY9067" fmla="*/ 4098322 h 4178187"/>
                <a:gd name="connsiteX9068" fmla="*/ 2192959 w 3009712"/>
                <a:gd name="connsiteY9068" fmla="*/ 4100683 h 4178187"/>
                <a:gd name="connsiteX9069" fmla="*/ 2194533 w 3009712"/>
                <a:gd name="connsiteY9069" fmla="*/ 4103437 h 4178187"/>
                <a:gd name="connsiteX9070" fmla="*/ 2196893 w 3009712"/>
                <a:gd name="connsiteY9070" fmla="*/ 4106190 h 4178187"/>
                <a:gd name="connsiteX9071" fmla="*/ 2193746 w 3009712"/>
                <a:gd name="connsiteY9071" fmla="*/ 4103437 h 4178187"/>
                <a:gd name="connsiteX9072" fmla="*/ 2190992 w 3009712"/>
                <a:gd name="connsiteY9072" fmla="*/ 4100683 h 4178187"/>
                <a:gd name="connsiteX9073" fmla="*/ 2188238 w 3009712"/>
                <a:gd name="connsiteY9073" fmla="*/ 4098716 h 4178187"/>
                <a:gd name="connsiteX9074" fmla="*/ 2185091 w 3009712"/>
                <a:gd name="connsiteY9074" fmla="*/ 4097535 h 4178187"/>
                <a:gd name="connsiteX9075" fmla="*/ 2186271 w 3009712"/>
                <a:gd name="connsiteY9075" fmla="*/ 4100683 h 4178187"/>
                <a:gd name="connsiteX9076" fmla="*/ 2189025 w 3009712"/>
                <a:gd name="connsiteY9076" fmla="*/ 4103437 h 4178187"/>
                <a:gd name="connsiteX9077" fmla="*/ 2190205 w 3009712"/>
                <a:gd name="connsiteY9077" fmla="*/ 4106190 h 4178187"/>
                <a:gd name="connsiteX9078" fmla="*/ 2193353 w 3009712"/>
                <a:gd name="connsiteY9078" fmla="*/ 4106584 h 4178187"/>
                <a:gd name="connsiteX9079" fmla="*/ 2194926 w 3009712"/>
                <a:gd name="connsiteY9079" fmla="*/ 4109731 h 4178187"/>
                <a:gd name="connsiteX9080" fmla="*/ 2197680 w 3009712"/>
                <a:gd name="connsiteY9080" fmla="*/ 4108551 h 4178187"/>
                <a:gd name="connsiteX9081" fmla="*/ 2200434 w 3009712"/>
                <a:gd name="connsiteY9081" fmla="*/ 4108158 h 4178187"/>
                <a:gd name="connsiteX9082" fmla="*/ 2200434 w 3009712"/>
                <a:gd name="connsiteY9082" fmla="*/ 4110912 h 4178187"/>
                <a:gd name="connsiteX9083" fmla="*/ 2203582 w 3009712"/>
                <a:gd name="connsiteY9083" fmla="*/ 4113272 h 4178187"/>
                <a:gd name="connsiteX9084" fmla="*/ 2205942 w 3009712"/>
                <a:gd name="connsiteY9084" fmla="*/ 4116420 h 4178187"/>
                <a:gd name="connsiteX9085" fmla="*/ 2203188 w 3009712"/>
                <a:gd name="connsiteY9085" fmla="*/ 4114453 h 4178187"/>
                <a:gd name="connsiteX9086" fmla="*/ 2200041 w 3009712"/>
                <a:gd name="connsiteY9086" fmla="*/ 4112092 h 4178187"/>
                <a:gd name="connsiteX9087" fmla="*/ 2201614 w 3009712"/>
                <a:gd name="connsiteY9087" fmla="*/ 4114846 h 4178187"/>
                <a:gd name="connsiteX9088" fmla="*/ 2203975 w 3009712"/>
                <a:gd name="connsiteY9088" fmla="*/ 4117600 h 4178187"/>
                <a:gd name="connsiteX9089" fmla="*/ 2206729 w 3009712"/>
                <a:gd name="connsiteY9089" fmla="*/ 4120354 h 4178187"/>
                <a:gd name="connsiteX9090" fmla="*/ 2209877 w 3009712"/>
                <a:gd name="connsiteY9090" fmla="*/ 4121534 h 4178187"/>
                <a:gd name="connsiteX9091" fmla="*/ 2212631 w 3009712"/>
                <a:gd name="connsiteY9091" fmla="*/ 4123501 h 4178187"/>
                <a:gd name="connsiteX9092" fmla="*/ 2212237 w 3009712"/>
                <a:gd name="connsiteY9092" fmla="*/ 4120748 h 4178187"/>
                <a:gd name="connsiteX9093" fmla="*/ 2210663 w 3009712"/>
                <a:gd name="connsiteY9093" fmla="*/ 4117600 h 4178187"/>
                <a:gd name="connsiteX9094" fmla="*/ 2208696 w 3009712"/>
                <a:gd name="connsiteY9094" fmla="*/ 4114846 h 4178187"/>
                <a:gd name="connsiteX9095" fmla="*/ 2207122 w 3009712"/>
                <a:gd name="connsiteY9095" fmla="*/ 4112092 h 4178187"/>
                <a:gd name="connsiteX9096" fmla="*/ 2205155 w 3009712"/>
                <a:gd name="connsiteY9096" fmla="*/ 4109338 h 4178187"/>
                <a:gd name="connsiteX9097" fmla="*/ 2207909 w 3009712"/>
                <a:gd name="connsiteY9097" fmla="*/ 4112092 h 4178187"/>
                <a:gd name="connsiteX9098" fmla="*/ 2209483 w 3009712"/>
                <a:gd name="connsiteY9098" fmla="*/ 4114846 h 4178187"/>
                <a:gd name="connsiteX9099" fmla="*/ 2211844 w 3009712"/>
                <a:gd name="connsiteY9099" fmla="*/ 4117993 h 4178187"/>
                <a:gd name="connsiteX9100" fmla="*/ 2213811 w 3009712"/>
                <a:gd name="connsiteY9100" fmla="*/ 4120748 h 4178187"/>
                <a:gd name="connsiteX9101" fmla="*/ 2214598 w 3009712"/>
                <a:gd name="connsiteY9101" fmla="*/ 4117993 h 4178187"/>
                <a:gd name="connsiteX9102" fmla="*/ 2216565 w 3009712"/>
                <a:gd name="connsiteY9102" fmla="*/ 4115239 h 4178187"/>
                <a:gd name="connsiteX9103" fmla="*/ 2213417 w 3009712"/>
                <a:gd name="connsiteY9103" fmla="*/ 4114453 h 4178187"/>
                <a:gd name="connsiteX9104" fmla="*/ 2214204 w 3009712"/>
                <a:gd name="connsiteY9104" fmla="*/ 4111699 h 4178187"/>
                <a:gd name="connsiteX9105" fmla="*/ 2211450 w 3009712"/>
                <a:gd name="connsiteY9105" fmla="*/ 4109338 h 4178187"/>
                <a:gd name="connsiteX9106" fmla="*/ 2208696 w 3009712"/>
                <a:gd name="connsiteY9106" fmla="*/ 4108945 h 4178187"/>
                <a:gd name="connsiteX9107" fmla="*/ 2205549 w 3009712"/>
                <a:gd name="connsiteY9107" fmla="*/ 4106190 h 4178187"/>
                <a:gd name="connsiteX9108" fmla="*/ 2208696 w 3009712"/>
                <a:gd name="connsiteY9108" fmla="*/ 4106584 h 4178187"/>
                <a:gd name="connsiteX9109" fmla="*/ 2211450 w 3009712"/>
                <a:gd name="connsiteY9109" fmla="*/ 4108945 h 4178187"/>
                <a:gd name="connsiteX9110" fmla="*/ 2214598 w 3009712"/>
                <a:gd name="connsiteY9110" fmla="*/ 4109731 h 4178187"/>
                <a:gd name="connsiteX9111" fmla="*/ 2217351 w 3009712"/>
                <a:gd name="connsiteY9111" fmla="*/ 4110912 h 4178187"/>
                <a:gd name="connsiteX9112" fmla="*/ 2220106 w 3009712"/>
                <a:gd name="connsiteY9112" fmla="*/ 4111305 h 4178187"/>
                <a:gd name="connsiteX9113" fmla="*/ 2220499 w 3009712"/>
                <a:gd name="connsiteY9113" fmla="*/ 4111699 h 4178187"/>
                <a:gd name="connsiteX9114" fmla="*/ 2228761 w 3009712"/>
                <a:gd name="connsiteY9114" fmla="*/ 4119174 h 4178187"/>
                <a:gd name="connsiteX9115" fmla="*/ 2229154 w 3009712"/>
                <a:gd name="connsiteY9115" fmla="*/ 4120748 h 4178187"/>
                <a:gd name="connsiteX9116" fmla="*/ 2231908 w 3009712"/>
                <a:gd name="connsiteY9116" fmla="*/ 4123108 h 4178187"/>
                <a:gd name="connsiteX9117" fmla="*/ 2234662 w 3009712"/>
                <a:gd name="connsiteY9117" fmla="*/ 4124682 h 4178187"/>
                <a:gd name="connsiteX9118" fmla="*/ 2236236 w 3009712"/>
                <a:gd name="connsiteY9118" fmla="*/ 4127436 h 4178187"/>
                <a:gd name="connsiteX9119" fmla="*/ 2235843 w 3009712"/>
                <a:gd name="connsiteY9119" fmla="*/ 4130190 h 4178187"/>
                <a:gd name="connsiteX9120" fmla="*/ 2238597 w 3009712"/>
                <a:gd name="connsiteY9120" fmla="*/ 4132944 h 4178187"/>
                <a:gd name="connsiteX9121" fmla="*/ 2235843 w 3009712"/>
                <a:gd name="connsiteY9121" fmla="*/ 4132550 h 4178187"/>
                <a:gd name="connsiteX9122" fmla="*/ 2232695 w 3009712"/>
                <a:gd name="connsiteY9122" fmla="*/ 4132157 h 4178187"/>
                <a:gd name="connsiteX9123" fmla="*/ 2229941 w 3009712"/>
                <a:gd name="connsiteY9123" fmla="*/ 4133337 h 4178187"/>
                <a:gd name="connsiteX9124" fmla="*/ 2232302 w 3009712"/>
                <a:gd name="connsiteY9124" fmla="*/ 4130190 h 4178187"/>
                <a:gd name="connsiteX9125" fmla="*/ 2234269 w 3009712"/>
                <a:gd name="connsiteY9125" fmla="*/ 4127436 h 4178187"/>
                <a:gd name="connsiteX9126" fmla="*/ 2233089 w 3009712"/>
                <a:gd name="connsiteY9126" fmla="*/ 4124682 h 4178187"/>
                <a:gd name="connsiteX9127" fmla="*/ 2230335 w 3009712"/>
                <a:gd name="connsiteY9127" fmla="*/ 4122321 h 4178187"/>
                <a:gd name="connsiteX9128" fmla="*/ 2227187 w 3009712"/>
                <a:gd name="connsiteY9128" fmla="*/ 4120748 h 4178187"/>
                <a:gd name="connsiteX9129" fmla="*/ 2225220 w 3009712"/>
                <a:gd name="connsiteY9129" fmla="*/ 4117993 h 4178187"/>
                <a:gd name="connsiteX9130" fmla="*/ 2222466 w 3009712"/>
                <a:gd name="connsiteY9130" fmla="*/ 4117207 h 4178187"/>
                <a:gd name="connsiteX9131" fmla="*/ 2222466 w 3009712"/>
                <a:gd name="connsiteY9131" fmla="*/ 4122715 h 4178187"/>
                <a:gd name="connsiteX9132" fmla="*/ 2225220 w 3009712"/>
                <a:gd name="connsiteY9132" fmla="*/ 4125468 h 4178187"/>
                <a:gd name="connsiteX9133" fmla="*/ 2223646 w 3009712"/>
                <a:gd name="connsiteY9133" fmla="*/ 4125468 h 4178187"/>
                <a:gd name="connsiteX9134" fmla="*/ 2220892 w 3009712"/>
                <a:gd name="connsiteY9134" fmla="*/ 4126649 h 4178187"/>
                <a:gd name="connsiteX9135" fmla="*/ 2220892 w 3009712"/>
                <a:gd name="connsiteY9135" fmla="*/ 4123895 h 4178187"/>
                <a:gd name="connsiteX9136" fmla="*/ 2218138 w 3009712"/>
                <a:gd name="connsiteY9136" fmla="*/ 4122321 h 4178187"/>
                <a:gd name="connsiteX9137" fmla="*/ 2216565 w 3009712"/>
                <a:gd name="connsiteY9137" fmla="*/ 4125075 h 4178187"/>
                <a:gd name="connsiteX9138" fmla="*/ 2213811 w 3009712"/>
                <a:gd name="connsiteY9138" fmla="*/ 4126256 h 4178187"/>
                <a:gd name="connsiteX9139" fmla="*/ 2210663 w 3009712"/>
                <a:gd name="connsiteY9139" fmla="*/ 4124288 h 4178187"/>
                <a:gd name="connsiteX9140" fmla="*/ 2207909 w 3009712"/>
                <a:gd name="connsiteY9140" fmla="*/ 4124682 h 4178187"/>
                <a:gd name="connsiteX9141" fmla="*/ 2205155 w 3009712"/>
                <a:gd name="connsiteY9141" fmla="*/ 4122715 h 4178187"/>
                <a:gd name="connsiteX9142" fmla="*/ 2202401 w 3009712"/>
                <a:gd name="connsiteY9142" fmla="*/ 4119960 h 4178187"/>
                <a:gd name="connsiteX9143" fmla="*/ 2203582 w 3009712"/>
                <a:gd name="connsiteY9143" fmla="*/ 4122715 h 4178187"/>
                <a:gd name="connsiteX9144" fmla="*/ 2206336 w 3009712"/>
                <a:gd name="connsiteY9144" fmla="*/ 4125468 h 4178187"/>
                <a:gd name="connsiteX9145" fmla="*/ 2208303 w 3009712"/>
                <a:gd name="connsiteY9145" fmla="*/ 4128223 h 4178187"/>
                <a:gd name="connsiteX9146" fmla="*/ 2210663 w 3009712"/>
                <a:gd name="connsiteY9146" fmla="*/ 4130976 h 4178187"/>
                <a:gd name="connsiteX9147" fmla="*/ 2213024 w 3009712"/>
                <a:gd name="connsiteY9147" fmla="*/ 4133730 h 4178187"/>
                <a:gd name="connsiteX9148" fmla="*/ 2214598 w 3009712"/>
                <a:gd name="connsiteY9148" fmla="*/ 4136878 h 4178187"/>
                <a:gd name="connsiteX9149" fmla="*/ 2212631 w 3009712"/>
                <a:gd name="connsiteY9149" fmla="*/ 4139632 h 4178187"/>
                <a:gd name="connsiteX9150" fmla="*/ 2215384 w 3009712"/>
                <a:gd name="connsiteY9150" fmla="*/ 4140025 h 4178187"/>
                <a:gd name="connsiteX9151" fmla="*/ 2214991 w 3009712"/>
                <a:gd name="connsiteY9151" fmla="*/ 4142779 h 4178187"/>
                <a:gd name="connsiteX9152" fmla="*/ 2217745 w 3009712"/>
                <a:gd name="connsiteY9152" fmla="*/ 4140419 h 4178187"/>
                <a:gd name="connsiteX9153" fmla="*/ 2218138 w 3009712"/>
                <a:gd name="connsiteY9153" fmla="*/ 4137271 h 4178187"/>
                <a:gd name="connsiteX9154" fmla="*/ 2220892 w 3009712"/>
                <a:gd name="connsiteY9154" fmla="*/ 4138058 h 4178187"/>
                <a:gd name="connsiteX9155" fmla="*/ 2223253 w 3009712"/>
                <a:gd name="connsiteY9155" fmla="*/ 4140812 h 4178187"/>
                <a:gd name="connsiteX9156" fmla="*/ 2224433 w 3009712"/>
                <a:gd name="connsiteY9156" fmla="*/ 4137665 h 4178187"/>
                <a:gd name="connsiteX9157" fmla="*/ 2222073 w 3009712"/>
                <a:gd name="connsiteY9157" fmla="*/ 4134911 h 4178187"/>
                <a:gd name="connsiteX9158" fmla="*/ 2224827 w 3009712"/>
                <a:gd name="connsiteY9158" fmla="*/ 4134124 h 4178187"/>
                <a:gd name="connsiteX9159" fmla="*/ 2227974 w 3009712"/>
                <a:gd name="connsiteY9159" fmla="*/ 4134911 h 4178187"/>
                <a:gd name="connsiteX9160" fmla="*/ 2224827 w 3009712"/>
                <a:gd name="connsiteY9160" fmla="*/ 4135304 h 4178187"/>
                <a:gd name="connsiteX9161" fmla="*/ 2227974 w 3009712"/>
                <a:gd name="connsiteY9161" fmla="*/ 4136878 h 4178187"/>
                <a:gd name="connsiteX9162" fmla="*/ 2224827 w 3009712"/>
                <a:gd name="connsiteY9162" fmla="*/ 4136878 h 4178187"/>
                <a:gd name="connsiteX9163" fmla="*/ 2225614 w 3009712"/>
                <a:gd name="connsiteY9163" fmla="*/ 4139632 h 4178187"/>
                <a:gd name="connsiteX9164" fmla="*/ 2222860 w 3009712"/>
                <a:gd name="connsiteY9164" fmla="*/ 4142386 h 4178187"/>
                <a:gd name="connsiteX9165" fmla="*/ 2226007 w 3009712"/>
                <a:gd name="connsiteY9165" fmla="*/ 4143960 h 4178187"/>
                <a:gd name="connsiteX9166" fmla="*/ 2222860 w 3009712"/>
                <a:gd name="connsiteY9166" fmla="*/ 4144353 h 4178187"/>
                <a:gd name="connsiteX9167" fmla="*/ 2220106 w 3009712"/>
                <a:gd name="connsiteY9167" fmla="*/ 4143960 h 4178187"/>
                <a:gd name="connsiteX9168" fmla="*/ 2222860 w 3009712"/>
                <a:gd name="connsiteY9168" fmla="*/ 4145927 h 4178187"/>
                <a:gd name="connsiteX9169" fmla="*/ 2225614 w 3009712"/>
                <a:gd name="connsiteY9169" fmla="*/ 4147894 h 4178187"/>
                <a:gd name="connsiteX9170" fmla="*/ 2228761 w 3009712"/>
                <a:gd name="connsiteY9170" fmla="*/ 4147500 h 4178187"/>
                <a:gd name="connsiteX9171" fmla="*/ 2225614 w 3009712"/>
                <a:gd name="connsiteY9171" fmla="*/ 4149467 h 4178187"/>
                <a:gd name="connsiteX9172" fmla="*/ 2226794 w 3009712"/>
                <a:gd name="connsiteY9172" fmla="*/ 4152615 h 4178187"/>
                <a:gd name="connsiteX9173" fmla="*/ 2229548 w 3009712"/>
                <a:gd name="connsiteY9173" fmla="*/ 4153402 h 4178187"/>
                <a:gd name="connsiteX9174" fmla="*/ 2232302 w 3009712"/>
                <a:gd name="connsiteY9174" fmla="*/ 4153795 h 4178187"/>
                <a:gd name="connsiteX9175" fmla="*/ 2235449 w 3009712"/>
                <a:gd name="connsiteY9175" fmla="*/ 4153402 h 4178187"/>
                <a:gd name="connsiteX9176" fmla="*/ 2236236 w 3009712"/>
                <a:gd name="connsiteY9176" fmla="*/ 4150254 h 4178187"/>
                <a:gd name="connsiteX9177" fmla="*/ 2232695 w 3009712"/>
                <a:gd name="connsiteY9177" fmla="*/ 4144746 h 4178187"/>
                <a:gd name="connsiteX9178" fmla="*/ 2235843 w 3009712"/>
                <a:gd name="connsiteY9178" fmla="*/ 4143173 h 4178187"/>
                <a:gd name="connsiteX9179" fmla="*/ 2237416 w 3009712"/>
                <a:gd name="connsiteY9179" fmla="*/ 4140419 h 4178187"/>
                <a:gd name="connsiteX9180" fmla="*/ 2234269 w 3009712"/>
                <a:gd name="connsiteY9180" fmla="*/ 4138845 h 4178187"/>
                <a:gd name="connsiteX9181" fmla="*/ 2231515 w 3009712"/>
                <a:gd name="connsiteY9181" fmla="*/ 4140419 h 4178187"/>
                <a:gd name="connsiteX9182" fmla="*/ 2231121 w 3009712"/>
                <a:gd name="connsiteY9182" fmla="*/ 4137665 h 4178187"/>
                <a:gd name="connsiteX9183" fmla="*/ 2233875 w 3009712"/>
                <a:gd name="connsiteY9183" fmla="*/ 4136091 h 4178187"/>
                <a:gd name="connsiteX9184" fmla="*/ 2237023 w 3009712"/>
                <a:gd name="connsiteY9184" fmla="*/ 4136091 h 4178187"/>
                <a:gd name="connsiteX9185" fmla="*/ 2239777 w 3009712"/>
                <a:gd name="connsiteY9185" fmla="*/ 4135304 h 4178187"/>
                <a:gd name="connsiteX9186" fmla="*/ 2242531 w 3009712"/>
                <a:gd name="connsiteY9186" fmla="*/ 4134911 h 4178187"/>
                <a:gd name="connsiteX9187" fmla="*/ 2239777 w 3009712"/>
                <a:gd name="connsiteY9187" fmla="*/ 4136878 h 4178187"/>
                <a:gd name="connsiteX9188" fmla="*/ 2242924 w 3009712"/>
                <a:gd name="connsiteY9188" fmla="*/ 4138845 h 4178187"/>
                <a:gd name="connsiteX9189" fmla="*/ 2244105 w 3009712"/>
                <a:gd name="connsiteY9189" fmla="*/ 4136091 h 4178187"/>
                <a:gd name="connsiteX9190" fmla="*/ 2246858 w 3009712"/>
                <a:gd name="connsiteY9190" fmla="*/ 4135697 h 4178187"/>
                <a:gd name="connsiteX9191" fmla="*/ 2250006 w 3009712"/>
                <a:gd name="connsiteY9191" fmla="*/ 4135304 h 4178187"/>
                <a:gd name="connsiteX9192" fmla="*/ 2252760 w 3009712"/>
                <a:gd name="connsiteY9192" fmla="*/ 4136091 h 4178187"/>
                <a:gd name="connsiteX9193" fmla="*/ 2255907 w 3009712"/>
                <a:gd name="connsiteY9193" fmla="*/ 4135697 h 4178187"/>
                <a:gd name="connsiteX9194" fmla="*/ 2259055 w 3009712"/>
                <a:gd name="connsiteY9194" fmla="*/ 4136091 h 4178187"/>
                <a:gd name="connsiteX9195" fmla="*/ 2261809 w 3009712"/>
                <a:gd name="connsiteY9195" fmla="*/ 4136485 h 4178187"/>
                <a:gd name="connsiteX9196" fmla="*/ 2261809 w 3009712"/>
                <a:gd name="connsiteY9196" fmla="*/ 4136485 h 4178187"/>
                <a:gd name="connsiteX9197" fmla="*/ 2267710 w 3009712"/>
                <a:gd name="connsiteY9197" fmla="*/ 4138845 h 4178187"/>
                <a:gd name="connsiteX9198" fmla="*/ 2264956 w 3009712"/>
                <a:gd name="connsiteY9198" fmla="*/ 4140419 h 4178187"/>
                <a:gd name="connsiteX9199" fmla="*/ 2261809 w 3009712"/>
                <a:gd name="connsiteY9199" fmla="*/ 4140812 h 4178187"/>
                <a:gd name="connsiteX9200" fmla="*/ 2259055 w 3009712"/>
                <a:gd name="connsiteY9200" fmla="*/ 4140812 h 4178187"/>
                <a:gd name="connsiteX9201" fmla="*/ 2255907 w 3009712"/>
                <a:gd name="connsiteY9201" fmla="*/ 4139632 h 4178187"/>
                <a:gd name="connsiteX9202" fmla="*/ 2253153 w 3009712"/>
                <a:gd name="connsiteY9202" fmla="*/ 4139238 h 4178187"/>
                <a:gd name="connsiteX9203" fmla="*/ 2250399 w 3009712"/>
                <a:gd name="connsiteY9203" fmla="*/ 4139238 h 4178187"/>
                <a:gd name="connsiteX9204" fmla="*/ 2248826 w 3009712"/>
                <a:gd name="connsiteY9204" fmla="*/ 4142386 h 4178187"/>
                <a:gd name="connsiteX9205" fmla="*/ 2246465 w 3009712"/>
                <a:gd name="connsiteY9205" fmla="*/ 4145140 h 4178187"/>
                <a:gd name="connsiteX9206" fmla="*/ 2243711 w 3009712"/>
                <a:gd name="connsiteY9206" fmla="*/ 4144746 h 4178187"/>
                <a:gd name="connsiteX9207" fmla="*/ 2240957 w 3009712"/>
                <a:gd name="connsiteY9207" fmla="*/ 4145140 h 4178187"/>
                <a:gd name="connsiteX9208" fmla="*/ 2240957 w 3009712"/>
                <a:gd name="connsiteY9208" fmla="*/ 4142386 h 4178187"/>
                <a:gd name="connsiteX9209" fmla="*/ 2237810 w 3009712"/>
                <a:gd name="connsiteY9209" fmla="*/ 4140812 h 4178187"/>
                <a:gd name="connsiteX9210" fmla="*/ 2235449 w 3009712"/>
                <a:gd name="connsiteY9210" fmla="*/ 4143566 h 4178187"/>
                <a:gd name="connsiteX9211" fmla="*/ 2235056 w 3009712"/>
                <a:gd name="connsiteY9211" fmla="*/ 4146714 h 4178187"/>
                <a:gd name="connsiteX9212" fmla="*/ 2236629 w 3009712"/>
                <a:gd name="connsiteY9212" fmla="*/ 4149467 h 4178187"/>
                <a:gd name="connsiteX9213" fmla="*/ 2238990 w 3009712"/>
                <a:gd name="connsiteY9213" fmla="*/ 4152615 h 4178187"/>
                <a:gd name="connsiteX9214" fmla="*/ 2241744 w 3009712"/>
                <a:gd name="connsiteY9214" fmla="*/ 4154975 h 4178187"/>
                <a:gd name="connsiteX9215" fmla="*/ 2244498 w 3009712"/>
                <a:gd name="connsiteY9215" fmla="*/ 4154189 h 4178187"/>
                <a:gd name="connsiteX9216" fmla="*/ 2245285 w 3009712"/>
                <a:gd name="connsiteY9216" fmla="*/ 4156943 h 4178187"/>
                <a:gd name="connsiteX9217" fmla="*/ 2242138 w 3009712"/>
                <a:gd name="connsiteY9217" fmla="*/ 4156549 h 4178187"/>
                <a:gd name="connsiteX9218" fmla="*/ 2239383 w 3009712"/>
                <a:gd name="connsiteY9218" fmla="*/ 4155369 h 4178187"/>
                <a:gd name="connsiteX9219" fmla="*/ 2236629 w 3009712"/>
                <a:gd name="connsiteY9219" fmla="*/ 4155369 h 4178187"/>
                <a:gd name="connsiteX9220" fmla="*/ 2233482 w 3009712"/>
                <a:gd name="connsiteY9220" fmla="*/ 4155763 h 4178187"/>
                <a:gd name="connsiteX9221" fmla="*/ 2230728 w 3009712"/>
                <a:gd name="connsiteY9221" fmla="*/ 4154975 h 4178187"/>
                <a:gd name="connsiteX9222" fmla="*/ 2233482 w 3009712"/>
                <a:gd name="connsiteY9222" fmla="*/ 4157336 h 4178187"/>
                <a:gd name="connsiteX9223" fmla="*/ 2236236 w 3009712"/>
                <a:gd name="connsiteY9223" fmla="*/ 4158910 h 4178187"/>
                <a:gd name="connsiteX9224" fmla="*/ 2239383 w 3009712"/>
                <a:gd name="connsiteY9224" fmla="*/ 4159697 h 4178187"/>
                <a:gd name="connsiteX9225" fmla="*/ 2242138 w 3009712"/>
                <a:gd name="connsiteY9225" fmla="*/ 4160877 h 4178187"/>
                <a:gd name="connsiteX9226" fmla="*/ 2244891 w 3009712"/>
                <a:gd name="connsiteY9226" fmla="*/ 4162451 h 4178187"/>
                <a:gd name="connsiteX9227" fmla="*/ 2247645 w 3009712"/>
                <a:gd name="connsiteY9227" fmla="*/ 4164024 h 4178187"/>
                <a:gd name="connsiteX9228" fmla="*/ 2250793 w 3009712"/>
                <a:gd name="connsiteY9228" fmla="*/ 4164811 h 4178187"/>
                <a:gd name="connsiteX9229" fmla="*/ 2253940 w 3009712"/>
                <a:gd name="connsiteY9229" fmla="*/ 4166385 h 4178187"/>
                <a:gd name="connsiteX9230" fmla="*/ 2256694 w 3009712"/>
                <a:gd name="connsiteY9230" fmla="*/ 4167959 h 4178187"/>
                <a:gd name="connsiteX9231" fmla="*/ 2259448 w 3009712"/>
                <a:gd name="connsiteY9231" fmla="*/ 4167565 h 4178187"/>
                <a:gd name="connsiteX9232" fmla="*/ 2256694 w 3009712"/>
                <a:gd name="connsiteY9232" fmla="*/ 4165204 h 4178187"/>
                <a:gd name="connsiteX9233" fmla="*/ 2253940 w 3009712"/>
                <a:gd name="connsiteY9233" fmla="*/ 4163237 h 4178187"/>
                <a:gd name="connsiteX9234" fmla="*/ 2250793 w 3009712"/>
                <a:gd name="connsiteY9234" fmla="*/ 4162451 h 4178187"/>
                <a:gd name="connsiteX9235" fmla="*/ 2252367 w 3009712"/>
                <a:gd name="connsiteY9235" fmla="*/ 4159303 h 4178187"/>
                <a:gd name="connsiteX9236" fmla="*/ 2251973 w 3009712"/>
                <a:gd name="connsiteY9236" fmla="*/ 4156549 h 4178187"/>
                <a:gd name="connsiteX9237" fmla="*/ 2254727 w 3009712"/>
                <a:gd name="connsiteY9237" fmla="*/ 4157336 h 4178187"/>
                <a:gd name="connsiteX9238" fmla="*/ 2257875 w 3009712"/>
                <a:gd name="connsiteY9238" fmla="*/ 4156943 h 4178187"/>
                <a:gd name="connsiteX9239" fmla="*/ 2254727 w 3009712"/>
                <a:gd name="connsiteY9239" fmla="*/ 4154582 h 4178187"/>
                <a:gd name="connsiteX9240" fmla="*/ 2251973 w 3009712"/>
                <a:gd name="connsiteY9240" fmla="*/ 4152615 h 4178187"/>
                <a:gd name="connsiteX9241" fmla="*/ 2249219 w 3009712"/>
                <a:gd name="connsiteY9241" fmla="*/ 4152615 h 4178187"/>
                <a:gd name="connsiteX9242" fmla="*/ 2252367 w 3009712"/>
                <a:gd name="connsiteY9242" fmla="*/ 4151434 h 4178187"/>
                <a:gd name="connsiteX9243" fmla="*/ 2255121 w 3009712"/>
                <a:gd name="connsiteY9243" fmla="*/ 4152222 h 4178187"/>
                <a:gd name="connsiteX9244" fmla="*/ 2257875 w 3009712"/>
                <a:gd name="connsiteY9244" fmla="*/ 4152615 h 4178187"/>
                <a:gd name="connsiteX9245" fmla="*/ 2261022 w 3009712"/>
                <a:gd name="connsiteY9245" fmla="*/ 4154189 h 4178187"/>
                <a:gd name="connsiteX9246" fmla="*/ 2263382 w 3009712"/>
                <a:gd name="connsiteY9246" fmla="*/ 4151434 h 4178187"/>
                <a:gd name="connsiteX9247" fmla="*/ 2264956 w 3009712"/>
                <a:gd name="connsiteY9247" fmla="*/ 4148681 h 4178187"/>
                <a:gd name="connsiteX9248" fmla="*/ 2267710 w 3009712"/>
                <a:gd name="connsiteY9248" fmla="*/ 4147107 h 4178187"/>
                <a:gd name="connsiteX9249" fmla="*/ 2270464 w 3009712"/>
                <a:gd name="connsiteY9249" fmla="*/ 4145533 h 4178187"/>
                <a:gd name="connsiteX9250" fmla="*/ 2272038 w 3009712"/>
                <a:gd name="connsiteY9250" fmla="*/ 4142386 h 4178187"/>
                <a:gd name="connsiteX9251" fmla="*/ 2271645 w 3009712"/>
                <a:gd name="connsiteY9251" fmla="*/ 4141599 h 4178187"/>
                <a:gd name="connsiteX9252" fmla="*/ 2274398 w 3009712"/>
                <a:gd name="connsiteY9252" fmla="*/ 4143566 h 4178187"/>
                <a:gd name="connsiteX9253" fmla="*/ 2277546 w 3009712"/>
                <a:gd name="connsiteY9253" fmla="*/ 4144353 h 4178187"/>
                <a:gd name="connsiteX9254" fmla="*/ 2280300 w 3009712"/>
                <a:gd name="connsiteY9254" fmla="*/ 4145927 h 4178187"/>
                <a:gd name="connsiteX9255" fmla="*/ 2279906 w 3009712"/>
                <a:gd name="connsiteY9255" fmla="*/ 4148681 h 4178187"/>
                <a:gd name="connsiteX9256" fmla="*/ 2279513 w 3009712"/>
                <a:gd name="connsiteY9256" fmla="*/ 4151434 h 4178187"/>
                <a:gd name="connsiteX9257" fmla="*/ 2278726 w 3009712"/>
                <a:gd name="connsiteY9257" fmla="*/ 4154189 h 4178187"/>
                <a:gd name="connsiteX9258" fmla="*/ 2275579 w 3009712"/>
                <a:gd name="connsiteY9258" fmla="*/ 4154582 h 4178187"/>
                <a:gd name="connsiteX9259" fmla="*/ 2272825 w 3009712"/>
                <a:gd name="connsiteY9259" fmla="*/ 4156943 h 4178187"/>
                <a:gd name="connsiteX9260" fmla="*/ 2271251 w 3009712"/>
                <a:gd name="connsiteY9260" fmla="*/ 4160090 h 4178187"/>
                <a:gd name="connsiteX9261" fmla="*/ 2272825 w 3009712"/>
                <a:gd name="connsiteY9261" fmla="*/ 4162844 h 4178187"/>
                <a:gd name="connsiteX9262" fmla="*/ 2274398 w 3009712"/>
                <a:gd name="connsiteY9262" fmla="*/ 4165992 h 4178187"/>
                <a:gd name="connsiteX9263" fmla="*/ 2271645 w 3009712"/>
                <a:gd name="connsiteY9263" fmla="*/ 4167959 h 4178187"/>
                <a:gd name="connsiteX9264" fmla="*/ 2273218 w 3009712"/>
                <a:gd name="connsiteY9264" fmla="*/ 4165204 h 4178187"/>
                <a:gd name="connsiteX9265" fmla="*/ 2270858 w 3009712"/>
                <a:gd name="connsiteY9265" fmla="*/ 4162057 h 4178187"/>
                <a:gd name="connsiteX9266" fmla="*/ 2269284 w 3009712"/>
                <a:gd name="connsiteY9266" fmla="*/ 4159303 h 4178187"/>
                <a:gd name="connsiteX9267" fmla="*/ 2266530 w 3009712"/>
                <a:gd name="connsiteY9267" fmla="*/ 4158123 h 4178187"/>
                <a:gd name="connsiteX9268" fmla="*/ 2265350 w 3009712"/>
                <a:gd name="connsiteY9268" fmla="*/ 4160877 h 4178187"/>
                <a:gd name="connsiteX9269" fmla="*/ 2265743 w 3009712"/>
                <a:gd name="connsiteY9269" fmla="*/ 4164024 h 4178187"/>
                <a:gd name="connsiteX9270" fmla="*/ 2262596 w 3009712"/>
                <a:gd name="connsiteY9270" fmla="*/ 4164811 h 4178187"/>
                <a:gd name="connsiteX9271" fmla="*/ 2264563 w 3009712"/>
                <a:gd name="connsiteY9271" fmla="*/ 4162057 h 4178187"/>
                <a:gd name="connsiteX9272" fmla="*/ 2262202 w 3009712"/>
                <a:gd name="connsiteY9272" fmla="*/ 4159303 h 4178187"/>
                <a:gd name="connsiteX9273" fmla="*/ 2259448 w 3009712"/>
                <a:gd name="connsiteY9273" fmla="*/ 4158910 h 4178187"/>
                <a:gd name="connsiteX9274" fmla="*/ 2256301 w 3009712"/>
                <a:gd name="connsiteY9274" fmla="*/ 4159303 h 4178187"/>
                <a:gd name="connsiteX9275" fmla="*/ 2255907 w 3009712"/>
                <a:gd name="connsiteY9275" fmla="*/ 4162057 h 4178187"/>
                <a:gd name="connsiteX9276" fmla="*/ 2257088 w 3009712"/>
                <a:gd name="connsiteY9276" fmla="*/ 4164811 h 4178187"/>
                <a:gd name="connsiteX9277" fmla="*/ 2259842 w 3009712"/>
                <a:gd name="connsiteY9277" fmla="*/ 4167172 h 4178187"/>
                <a:gd name="connsiteX9278" fmla="*/ 2262989 w 3009712"/>
                <a:gd name="connsiteY9278" fmla="*/ 4169532 h 4178187"/>
                <a:gd name="connsiteX9279" fmla="*/ 2265743 w 3009712"/>
                <a:gd name="connsiteY9279" fmla="*/ 4170712 h 4178187"/>
                <a:gd name="connsiteX9280" fmla="*/ 2268497 w 3009712"/>
                <a:gd name="connsiteY9280" fmla="*/ 4173073 h 4178187"/>
                <a:gd name="connsiteX9281" fmla="*/ 2271645 w 3009712"/>
                <a:gd name="connsiteY9281" fmla="*/ 4172680 h 4178187"/>
                <a:gd name="connsiteX9282" fmla="*/ 2274398 w 3009712"/>
                <a:gd name="connsiteY9282" fmla="*/ 4174253 h 4178187"/>
                <a:gd name="connsiteX9283" fmla="*/ 2277152 w 3009712"/>
                <a:gd name="connsiteY9283" fmla="*/ 4175434 h 4178187"/>
                <a:gd name="connsiteX9284" fmla="*/ 2280300 w 3009712"/>
                <a:gd name="connsiteY9284" fmla="*/ 4176614 h 4178187"/>
                <a:gd name="connsiteX9285" fmla="*/ 2283054 w 3009712"/>
                <a:gd name="connsiteY9285" fmla="*/ 4177401 h 4178187"/>
                <a:gd name="connsiteX9286" fmla="*/ 2286201 w 3009712"/>
                <a:gd name="connsiteY9286" fmla="*/ 4177794 h 4178187"/>
                <a:gd name="connsiteX9287" fmla="*/ 2288955 w 3009712"/>
                <a:gd name="connsiteY9287" fmla="*/ 4178188 h 4178187"/>
                <a:gd name="connsiteX9288" fmla="*/ 2292102 w 3009712"/>
                <a:gd name="connsiteY9288" fmla="*/ 4179368 h 4178187"/>
                <a:gd name="connsiteX9289" fmla="*/ 2294857 w 3009712"/>
                <a:gd name="connsiteY9289" fmla="*/ 4178974 h 4178187"/>
                <a:gd name="connsiteX9290" fmla="*/ 2297611 w 3009712"/>
                <a:gd name="connsiteY9290" fmla="*/ 4177794 h 4178187"/>
                <a:gd name="connsiteX9291" fmla="*/ 2298397 w 3009712"/>
                <a:gd name="connsiteY9291" fmla="*/ 4174647 h 4178187"/>
                <a:gd name="connsiteX9292" fmla="*/ 2297611 w 3009712"/>
                <a:gd name="connsiteY9292" fmla="*/ 4171893 h 4178187"/>
                <a:gd name="connsiteX9293" fmla="*/ 2296037 w 3009712"/>
                <a:gd name="connsiteY9293" fmla="*/ 4168745 h 4178187"/>
                <a:gd name="connsiteX9294" fmla="*/ 2293283 w 3009712"/>
                <a:gd name="connsiteY9294" fmla="*/ 4165992 h 4178187"/>
                <a:gd name="connsiteX9295" fmla="*/ 2291709 w 3009712"/>
                <a:gd name="connsiteY9295" fmla="*/ 4162844 h 4178187"/>
                <a:gd name="connsiteX9296" fmla="*/ 2291316 w 3009712"/>
                <a:gd name="connsiteY9296" fmla="*/ 4160090 h 4178187"/>
                <a:gd name="connsiteX9297" fmla="*/ 2289742 w 3009712"/>
                <a:gd name="connsiteY9297" fmla="*/ 4156943 h 4178187"/>
                <a:gd name="connsiteX9298" fmla="*/ 2290135 w 3009712"/>
                <a:gd name="connsiteY9298" fmla="*/ 4154189 h 4178187"/>
                <a:gd name="connsiteX9299" fmla="*/ 2290135 w 3009712"/>
                <a:gd name="connsiteY9299" fmla="*/ 4151434 h 4178187"/>
                <a:gd name="connsiteX9300" fmla="*/ 2288955 w 3009712"/>
                <a:gd name="connsiteY9300" fmla="*/ 4148287 h 4178187"/>
                <a:gd name="connsiteX9301" fmla="*/ 2287382 w 3009712"/>
                <a:gd name="connsiteY9301" fmla="*/ 4145533 h 4178187"/>
                <a:gd name="connsiteX9302" fmla="*/ 2285414 w 3009712"/>
                <a:gd name="connsiteY9302" fmla="*/ 4142779 h 4178187"/>
                <a:gd name="connsiteX9303" fmla="*/ 2288168 w 3009712"/>
                <a:gd name="connsiteY9303" fmla="*/ 4141993 h 4178187"/>
                <a:gd name="connsiteX9304" fmla="*/ 2290922 w 3009712"/>
                <a:gd name="connsiteY9304" fmla="*/ 4141205 h 4178187"/>
                <a:gd name="connsiteX9305" fmla="*/ 2293676 w 3009712"/>
                <a:gd name="connsiteY9305" fmla="*/ 4141205 h 4178187"/>
                <a:gd name="connsiteX9306" fmla="*/ 2296430 w 3009712"/>
                <a:gd name="connsiteY9306" fmla="*/ 4139632 h 4178187"/>
                <a:gd name="connsiteX9307" fmla="*/ 2299578 w 3009712"/>
                <a:gd name="connsiteY9307" fmla="*/ 4139632 h 4178187"/>
                <a:gd name="connsiteX9308" fmla="*/ 2301938 w 3009712"/>
                <a:gd name="connsiteY9308" fmla="*/ 4136878 h 4178187"/>
                <a:gd name="connsiteX9309" fmla="*/ 2303512 w 3009712"/>
                <a:gd name="connsiteY9309" fmla="*/ 4136485 h 4178187"/>
                <a:gd name="connsiteX9310" fmla="*/ 2308233 w 3009712"/>
                <a:gd name="connsiteY9310" fmla="*/ 4135304 h 4178187"/>
                <a:gd name="connsiteX9311" fmla="*/ 2309413 w 3009712"/>
                <a:gd name="connsiteY9311" fmla="*/ 4135697 h 4178187"/>
                <a:gd name="connsiteX9312" fmla="*/ 2312167 w 3009712"/>
                <a:gd name="connsiteY9312" fmla="*/ 4134911 h 4178187"/>
                <a:gd name="connsiteX9313" fmla="*/ 2312954 w 3009712"/>
                <a:gd name="connsiteY9313" fmla="*/ 4134124 h 4178187"/>
                <a:gd name="connsiteX9314" fmla="*/ 2312954 w 3009712"/>
                <a:gd name="connsiteY9314" fmla="*/ 4133730 h 4178187"/>
                <a:gd name="connsiteX9315" fmla="*/ 2313348 w 3009712"/>
                <a:gd name="connsiteY9315" fmla="*/ 4133337 h 4178187"/>
                <a:gd name="connsiteX9316" fmla="*/ 2312954 w 3009712"/>
                <a:gd name="connsiteY9316" fmla="*/ 4132550 h 4178187"/>
                <a:gd name="connsiteX9317" fmla="*/ 2321216 w 3009712"/>
                <a:gd name="connsiteY9317" fmla="*/ 4125862 h 4178187"/>
                <a:gd name="connsiteX9318" fmla="*/ 2323970 w 3009712"/>
                <a:gd name="connsiteY9318" fmla="*/ 4127436 h 4178187"/>
                <a:gd name="connsiteX9319" fmla="*/ 2327118 w 3009712"/>
                <a:gd name="connsiteY9319" fmla="*/ 4128616 h 4178187"/>
                <a:gd name="connsiteX9320" fmla="*/ 2331052 w 3009712"/>
                <a:gd name="connsiteY9320" fmla="*/ 4128616 h 4178187"/>
                <a:gd name="connsiteX9321" fmla="*/ 2332626 w 3009712"/>
                <a:gd name="connsiteY9321" fmla="*/ 4129009 h 4178187"/>
                <a:gd name="connsiteX9322" fmla="*/ 2335379 w 3009712"/>
                <a:gd name="connsiteY9322" fmla="*/ 4129796 h 4178187"/>
                <a:gd name="connsiteX9323" fmla="*/ 2336166 w 3009712"/>
                <a:gd name="connsiteY9323" fmla="*/ 4129796 h 4178187"/>
                <a:gd name="connsiteX9324" fmla="*/ 2340887 w 3009712"/>
                <a:gd name="connsiteY9324" fmla="*/ 4132157 h 4178187"/>
                <a:gd name="connsiteX9325" fmla="*/ 2340887 w 3009712"/>
                <a:gd name="connsiteY9325" fmla="*/ 4131763 h 4178187"/>
                <a:gd name="connsiteX9326" fmla="*/ 2341281 w 3009712"/>
                <a:gd name="connsiteY9326" fmla="*/ 4131763 h 4178187"/>
                <a:gd name="connsiteX9327" fmla="*/ 2340101 w 3009712"/>
                <a:gd name="connsiteY9327" fmla="*/ 4128616 h 4178187"/>
                <a:gd name="connsiteX9328" fmla="*/ 2336953 w 3009712"/>
                <a:gd name="connsiteY9328" fmla="*/ 4126256 h 4178187"/>
                <a:gd name="connsiteX9329" fmla="*/ 2334199 w 3009712"/>
                <a:gd name="connsiteY9329" fmla="*/ 4123895 h 4178187"/>
                <a:gd name="connsiteX9330" fmla="*/ 2331445 w 3009712"/>
                <a:gd name="connsiteY9330" fmla="*/ 4121927 h 4178187"/>
                <a:gd name="connsiteX9331" fmla="*/ 2328298 w 3009712"/>
                <a:gd name="connsiteY9331" fmla="*/ 4119174 h 4178187"/>
                <a:gd name="connsiteX9332" fmla="*/ 2325544 w 3009712"/>
                <a:gd name="connsiteY9332" fmla="*/ 4116813 h 4178187"/>
                <a:gd name="connsiteX9333" fmla="*/ 2322790 w 3009712"/>
                <a:gd name="connsiteY9333" fmla="*/ 4114059 h 4178187"/>
                <a:gd name="connsiteX9334" fmla="*/ 2320036 w 3009712"/>
                <a:gd name="connsiteY9334" fmla="*/ 4110912 h 4178187"/>
                <a:gd name="connsiteX9335" fmla="*/ 2317282 w 3009712"/>
                <a:gd name="connsiteY9335" fmla="*/ 4108551 h 4178187"/>
                <a:gd name="connsiteX9336" fmla="*/ 2314528 w 3009712"/>
                <a:gd name="connsiteY9336" fmla="*/ 4106584 h 4178187"/>
                <a:gd name="connsiteX9337" fmla="*/ 2311380 w 3009712"/>
                <a:gd name="connsiteY9337" fmla="*/ 4108551 h 4178187"/>
                <a:gd name="connsiteX9338" fmla="*/ 2308626 w 3009712"/>
                <a:gd name="connsiteY9338" fmla="*/ 4106190 h 4178187"/>
                <a:gd name="connsiteX9339" fmla="*/ 2305479 w 3009712"/>
                <a:gd name="connsiteY9339" fmla="*/ 4105797 h 4178187"/>
                <a:gd name="connsiteX9340" fmla="*/ 2302725 w 3009712"/>
                <a:gd name="connsiteY9340" fmla="*/ 4106190 h 4178187"/>
                <a:gd name="connsiteX9341" fmla="*/ 2299971 w 3009712"/>
                <a:gd name="connsiteY9341" fmla="*/ 4106978 h 4178187"/>
                <a:gd name="connsiteX9342" fmla="*/ 2299578 w 3009712"/>
                <a:gd name="connsiteY9342" fmla="*/ 4106978 h 4178187"/>
                <a:gd name="connsiteX9343" fmla="*/ 2302332 w 3009712"/>
                <a:gd name="connsiteY9343" fmla="*/ 4105404 h 4178187"/>
                <a:gd name="connsiteX9344" fmla="*/ 2305479 w 3009712"/>
                <a:gd name="connsiteY9344" fmla="*/ 4105010 h 4178187"/>
                <a:gd name="connsiteX9345" fmla="*/ 2308233 w 3009712"/>
                <a:gd name="connsiteY9345" fmla="*/ 4105797 h 4178187"/>
                <a:gd name="connsiteX9346" fmla="*/ 2311380 w 3009712"/>
                <a:gd name="connsiteY9346" fmla="*/ 4106584 h 4178187"/>
                <a:gd name="connsiteX9347" fmla="*/ 2314135 w 3009712"/>
                <a:gd name="connsiteY9347" fmla="*/ 4105010 h 4178187"/>
                <a:gd name="connsiteX9348" fmla="*/ 2313348 w 3009712"/>
                <a:gd name="connsiteY9348" fmla="*/ 4102256 h 4178187"/>
                <a:gd name="connsiteX9349" fmla="*/ 2310987 w 3009712"/>
                <a:gd name="connsiteY9349" fmla="*/ 4099502 h 4178187"/>
                <a:gd name="connsiteX9350" fmla="*/ 2308626 w 3009712"/>
                <a:gd name="connsiteY9350" fmla="*/ 4096749 h 4178187"/>
                <a:gd name="connsiteX9351" fmla="*/ 2306659 w 3009712"/>
                <a:gd name="connsiteY9351" fmla="*/ 4093601 h 4178187"/>
                <a:gd name="connsiteX9352" fmla="*/ 2304299 w 3009712"/>
                <a:gd name="connsiteY9352" fmla="*/ 4090847 h 4178187"/>
                <a:gd name="connsiteX9353" fmla="*/ 2302725 w 3009712"/>
                <a:gd name="connsiteY9353" fmla="*/ 4088093 h 4178187"/>
                <a:gd name="connsiteX9354" fmla="*/ 2299971 w 3009712"/>
                <a:gd name="connsiteY9354" fmla="*/ 4086519 h 4178187"/>
                <a:gd name="connsiteX9355" fmla="*/ 2297217 w 3009712"/>
                <a:gd name="connsiteY9355" fmla="*/ 4089273 h 4178187"/>
                <a:gd name="connsiteX9356" fmla="*/ 2296430 w 3009712"/>
                <a:gd name="connsiteY9356" fmla="*/ 4089667 h 4178187"/>
                <a:gd name="connsiteX9357" fmla="*/ 2298004 w 3009712"/>
                <a:gd name="connsiteY9357" fmla="*/ 4086913 h 4178187"/>
                <a:gd name="connsiteX9358" fmla="*/ 2299971 w 3009712"/>
                <a:gd name="connsiteY9358" fmla="*/ 4084159 h 4178187"/>
                <a:gd name="connsiteX9359" fmla="*/ 2299184 w 3009712"/>
                <a:gd name="connsiteY9359" fmla="*/ 4081012 h 4178187"/>
                <a:gd name="connsiteX9360" fmla="*/ 2298397 w 3009712"/>
                <a:gd name="connsiteY9360" fmla="*/ 4079044 h 4178187"/>
                <a:gd name="connsiteX9361" fmla="*/ 2301151 w 3009712"/>
                <a:gd name="connsiteY9361" fmla="*/ 4064094 h 4178187"/>
                <a:gd name="connsiteX9362" fmla="*/ 2301545 w 3009712"/>
                <a:gd name="connsiteY9362" fmla="*/ 4063701 h 4178187"/>
                <a:gd name="connsiteX9363" fmla="*/ 2304692 w 3009712"/>
                <a:gd name="connsiteY9363" fmla="*/ 4062127 h 4178187"/>
                <a:gd name="connsiteX9364" fmla="*/ 2307446 w 3009712"/>
                <a:gd name="connsiteY9364" fmla="*/ 4061340 h 4178187"/>
                <a:gd name="connsiteX9365" fmla="*/ 2309020 w 3009712"/>
                <a:gd name="connsiteY9365" fmla="*/ 4058193 h 4178187"/>
                <a:gd name="connsiteX9366" fmla="*/ 2305872 w 3009712"/>
                <a:gd name="connsiteY9366" fmla="*/ 4057012 h 4178187"/>
                <a:gd name="connsiteX9367" fmla="*/ 2303119 w 3009712"/>
                <a:gd name="connsiteY9367" fmla="*/ 4054258 h 4178187"/>
                <a:gd name="connsiteX9368" fmla="*/ 2299971 w 3009712"/>
                <a:gd name="connsiteY9368" fmla="*/ 4053865 h 4178187"/>
                <a:gd name="connsiteX9369" fmla="*/ 2298791 w 3009712"/>
                <a:gd name="connsiteY9369" fmla="*/ 4053865 h 4178187"/>
                <a:gd name="connsiteX9370" fmla="*/ 2294463 w 3009712"/>
                <a:gd name="connsiteY9370" fmla="*/ 4053472 h 4178187"/>
                <a:gd name="connsiteX9371" fmla="*/ 2293676 w 3009712"/>
                <a:gd name="connsiteY9371" fmla="*/ 4053865 h 4178187"/>
                <a:gd name="connsiteX9372" fmla="*/ 2293283 w 3009712"/>
                <a:gd name="connsiteY9372" fmla="*/ 4053865 h 4178187"/>
                <a:gd name="connsiteX9373" fmla="*/ 2291316 w 3009712"/>
                <a:gd name="connsiteY9373" fmla="*/ 4054258 h 4178187"/>
                <a:gd name="connsiteX9374" fmla="*/ 2291709 w 3009712"/>
                <a:gd name="connsiteY9374" fmla="*/ 4053865 h 4178187"/>
                <a:gd name="connsiteX9375" fmla="*/ 2292889 w 3009712"/>
                <a:gd name="connsiteY9375" fmla="*/ 4053472 h 4178187"/>
                <a:gd name="connsiteX9376" fmla="*/ 2294463 w 3009712"/>
                <a:gd name="connsiteY9376" fmla="*/ 4053078 h 4178187"/>
                <a:gd name="connsiteX9377" fmla="*/ 2297217 w 3009712"/>
                <a:gd name="connsiteY9377" fmla="*/ 4052685 h 4178187"/>
                <a:gd name="connsiteX9378" fmla="*/ 2299971 w 3009712"/>
                <a:gd name="connsiteY9378" fmla="*/ 4052291 h 4178187"/>
                <a:gd name="connsiteX9379" fmla="*/ 2299578 w 3009712"/>
                <a:gd name="connsiteY9379" fmla="*/ 4049537 h 4178187"/>
                <a:gd name="connsiteX9380" fmla="*/ 2298397 w 3009712"/>
                <a:gd name="connsiteY9380" fmla="*/ 4048357 h 4178187"/>
                <a:gd name="connsiteX9381" fmla="*/ 2296824 w 3009712"/>
                <a:gd name="connsiteY9381" fmla="*/ 4045996 h 4178187"/>
                <a:gd name="connsiteX9382" fmla="*/ 2294463 w 3009712"/>
                <a:gd name="connsiteY9382" fmla="*/ 4044423 h 4178187"/>
                <a:gd name="connsiteX9383" fmla="*/ 2297611 w 3009712"/>
                <a:gd name="connsiteY9383" fmla="*/ 4045996 h 4178187"/>
                <a:gd name="connsiteX9384" fmla="*/ 2299184 w 3009712"/>
                <a:gd name="connsiteY9384" fmla="*/ 4048357 h 4178187"/>
                <a:gd name="connsiteX9385" fmla="*/ 2305086 w 3009712"/>
                <a:gd name="connsiteY9385" fmla="*/ 4053865 h 4178187"/>
                <a:gd name="connsiteX9386" fmla="*/ 2308233 w 3009712"/>
                <a:gd name="connsiteY9386" fmla="*/ 4056225 h 4178187"/>
                <a:gd name="connsiteX9387" fmla="*/ 2310987 w 3009712"/>
                <a:gd name="connsiteY9387" fmla="*/ 4057799 h 4178187"/>
                <a:gd name="connsiteX9388" fmla="*/ 2314135 w 3009712"/>
                <a:gd name="connsiteY9388" fmla="*/ 4057406 h 4178187"/>
                <a:gd name="connsiteX9389" fmla="*/ 2316889 w 3009712"/>
                <a:gd name="connsiteY9389" fmla="*/ 4056225 h 4178187"/>
                <a:gd name="connsiteX9390" fmla="*/ 2319642 w 3009712"/>
                <a:gd name="connsiteY9390" fmla="*/ 4053865 h 4178187"/>
                <a:gd name="connsiteX9391" fmla="*/ 2321609 w 3009712"/>
                <a:gd name="connsiteY9391" fmla="*/ 4051111 h 4178187"/>
                <a:gd name="connsiteX9392" fmla="*/ 2321216 w 3009712"/>
                <a:gd name="connsiteY9392" fmla="*/ 4047964 h 4178187"/>
                <a:gd name="connsiteX9393" fmla="*/ 2320823 w 3009712"/>
                <a:gd name="connsiteY9393" fmla="*/ 4045996 h 4178187"/>
                <a:gd name="connsiteX9394" fmla="*/ 2327118 w 3009712"/>
                <a:gd name="connsiteY9394" fmla="*/ 4007441 h 4178187"/>
                <a:gd name="connsiteX9395" fmla="*/ 2327904 w 3009712"/>
                <a:gd name="connsiteY9395" fmla="*/ 4007047 h 4178187"/>
                <a:gd name="connsiteX9396" fmla="*/ 2330658 w 3009712"/>
                <a:gd name="connsiteY9396" fmla="*/ 4003900 h 4178187"/>
                <a:gd name="connsiteX9397" fmla="*/ 2333412 w 3009712"/>
                <a:gd name="connsiteY9397" fmla="*/ 4001539 h 4178187"/>
                <a:gd name="connsiteX9398" fmla="*/ 2336166 w 3009712"/>
                <a:gd name="connsiteY9398" fmla="*/ 3999179 h 4178187"/>
                <a:gd name="connsiteX9399" fmla="*/ 2338527 w 3009712"/>
                <a:gd name="connsiteY9399" fmla="*/ 3996425 h 4178187"/>
                <a:gd name="connsiteX9400" fmla="*/ 2341674 w 3009712"/>
                <a:gd name="connsiteY9400" fmla="*/ 3994064 h 4178187"/>
                <a:gd name="connsiteX9401" fmla="*/ 2342461 w 3009712"/>
                <a:gd name="connsiteY9401" fmla="*/ 3991310 h 4178187"/>
                <a:gd name="connsiteX9402" fmla="*/ 2345609 w 3009712"/>
                <a:gd name="connsiteY9402" fmla="*/ 3990917 h 4178187"/>
                <a:gd name="connsiteX9403" fmla="*/ 2344822 w 3009712"/>
                <a:gd name="connsiteY9403" fmla="*/ 3988163 h 4178187"/>
                <a:gd name="connsiteX9404" fmla="*/ 2347576 w 3009712"/>
                <a:gd name="connsiteY9404" fmla="*/ 3986983 h 4178187"/>
                <a:gd name="connsiteX9405" fmla="*/ 2344822 w 3009712"/>
                <a:gd name="connsiteY9405" fmla="*/ 3983835 h 4178187"/>
                <a:gd name="connsiteX9406" fmla="*/ 2342068 w 3009712"/>
                <a:gd name="connsiteY9406" fmla="*/ 3981081 h 4178187"/>
                <a:gd name="connsiteX9407" fmla="*/ 2338920 w 3009712"/>
                <a:gd name="connsiteY9407" fmla="*/ 3981868 h 4178187"/>
                <a:gd name="connsiteX9408" fmla="*/ 2336166 w 3009712"/>
                <a:gd name="connsiteY9408" fmla="*/ 3982655 h 4178187"/>
                <a:gd name="connsiteX9409" fmla="*/ 2333412 w 3009712"/>
                <a:gd name="connsiteY9409" fmla="*/ 3984228 h 4178187"/>
                <a:gd name="connsiteX9410" fmla="*/ 2331052 w 3009712"/>
                <a:gd name="connsiteY9410" fmla="*/ 3983835 h 4178187"/>
                <a:gd name="connsiteX9411" fmla="*/ 2333806 w 3009712"/>
                <a:gd name="connsiteY9411" fmla="*/ 3983835 h 4178187"/>
                <a:gd name="connsiteX9412" fmla="*/ 2336560 w 3009712"/>
                <a:gd name="connsiteY9412" fmla="*/ 3982261 h 4178187"/>
                <a:gd name="connsiteX9413" fmla="*/ 2339707 w 3009712"/>
                <a:gd name="connsiteY9413" fmla="*/ 3980294 h 4178187"/>
                <a:gd name="connsiteX9414" fmla="*/ 2342461 w 3009712"/>
                <a:gd name="connsiteY9414" fmla="*/ 3980688 h 4178187"/>
                <a:gd name="connsiteX9415" fmla="*/ 2342855 w 3009712"/>
                <a:gd name="connsiteY9415" fmla="*/ 3977934 h 4178187"/>
                <a:gd name="connsiteX9416" fmla="*/ 2343248 w 3009712"/>
                <a:gd name="connsiteY9416" fmla="*/ 3975180 h 4178187"/>
                <a:gd name="connsiteX9417" fmla="*/ 2342855 w 3009712"/>
                <a:gd name="connsiteY9417" fmla="*/ 3972032 h 4178187"/>
                <a:gd name="connsiteX9418" fmla="*/ 2342068 w 3009712"/>
                <a:gd name="connsiteY9418" fmla="*/ 3969278 h 4178187"/>
                <a:gd name="connsiteX9419" fmla="*/ 2341281 w 3009712"/>
                <a:gd name="connsiteY9419" fmla="*/ 3966524 h 4178187"/>
                <a:gd name="connsiteX9420" fmla="*/ 2339314 w 3009712"/>
                <a:gd name="connsiteY9420" fmla="*/ 3963377 h 4178187"/>
                <a:gd name="connsiteX9421" fmla="*/ 2336560 w 3009712"/>
                <a:gd name="connsiteY9421" fmla="*/ 3960623 h 4178187"/>
                <a:gd name="connsiteX9422" fmla="*/ 2333412 w 3009712"/>
                <a:gd name="connsiteY9422" fmla="*/ 3958656 h 4178187"/>
                <a:gd name="connsiteX9423" fmla="*/ 2330658 w 3009712"/>
                <a:gd name="connsiteY9423" fmla="*/ 3957869 h 4178187"/>
                <a:gd name="connsiteX9424" fmla="*/ 2327511 w 3009712"/>
                <a:gd name="connsiteY9424" fmla="*/ 3958656 h 4178187"/>
                <a:gd name="connsiteX9425" fmla="*/ 2322003 w 3009712"/>
                <a:gd name="connsiteY9425" fmla="*/ 3958656 h 4178187"/>
                <a:gd name="connsiteX9426" fmla="*/ 2318856 w 3009712"/>
                <a:gd name="connsiteY9426" fmla="*/ 3957869 h 4178187"/>
                <a:gd name="connsiteX9427" fmla="*/ 2316102 w 3009712"/>
                <a:gd name="connsiteY9427" fmla="*/ 3957476 h 4178187"/>
                <a:gd name="connsiteX9428" fmla="*/ 2313348 w 3009712"/>
                <a:gd name="connsiteY9428" fmla="*/ 3957476 h 4178187"/>
                <a:gd name="connsiteX9429" fmla="*/ 2310594 w 3009712"/>
                <a:gd name="connsiteY9429" fmla="*/ 3956295 h 4178187"/>
                <a:gd name="connsiteX9430" fmla="*/ 2307446 w 3009712"/>
                <a:gd name="connsiteY9430" fmla="*/ 3954721 h 4178187"/>
                <a:gd name="connsiteX9431" fmla="*/ 2304692 w 3009712"/>
                <a:gd name="connsiteY9431" fmla="*/ 3951968 h 4178187"/>
                <a:gd name="connsiteX9432" fmla="*/ 2301545 w 3009712"/>
                <a:gd name="connsiteY9432" fmla="*/ 3950000 h 4178187"/>
                <a:gd name="connsiteX9433" fmla="*/ 2298791 w 3009712"/>
                <a:gd name="connsiteY9433" fmla="*/ 3948427 h 4178187"/>
                <a:gd name="connsiteX9434" fmla="*/ 2275185 w 3009712"/>
                <a:gd name="connsiteY9434" fmla="*/ 3922067 h 4178187"/>
                <a:gd name="connsiteX9435" fmla="*/ 2298791 w 3009712"/>
                <a:gd name="connsiteY9435" fmla="*/ 3888626 h 4178187"/>
                <a:gd name="connsiteX9436" fmla="*/ 2305479 w 3009712"/>
                <a:gd name="connsiteY9436" fmla="*/ 3888626 h 4178187"/>
                <a:gd name="connsiteX9437" fmla="*/ 2308233 w 3009712"/>
                <a:gd name="connsiteY9437" fmla="*/ 3889413 h 4178187"/>
                <a:gd name="connsiteX9438" fmla="*/ 2308233 w 3009712"/>
                <a:gd name="connsiteY9438" fmla="*/ 3888626 h 4178187"/>
                <a:gd name="connsiteX9439" fmla="*/ 2309807 w 3009712"/>
                <a:gd name="connsiteY9439" fmla="*/ 3888626 h 4178187"/>
                <a:gd name="connsiteX9440" fmla="*/ 2312561 w 3009712"/>
                <a:gd name="connsiteY9440" fmla="*/ 3889413 h 4178187"/>
                <a:gd name="connsiteX9441" fmla="*/ 2315315 w 3009712"/>
                <a:gd name="connsiteY9441" fmla="*/ 3889806 h 4178187"/>
                <a:gd name="connsiteX9442" fmla="*/ 2315708 w 3009712"/>
                <a:gd name="connsiteY9442" fmla="*/ 3888626 h 4178187"/>
                <a:gd name="connsiteX9443" fmla="*/ 2316102 w 3009712"/>
                <a:gd name="connsiteY9443" fmla="*/ 3885872 h 4178187"/>
                <a:gd name="connsiteX9444" fmla="*/ 2315315 w 3009712"/>
                <a:gd name="connsiteY9444" fmla="*/ 3885478 h 4178187"/>
                <a:gd name="connsiteX9445" fmla="*/ 2314135 w 3009712"/>
                <a:gd name="connsiteY9445" fmla="*/ 3874463 h 4178187"/>
                <a:gd name="connsiteX9446" fmla="*/ 2316102 w 3009712"/>
                <a:gd name="connsiteY9446" fmla="*/ 3873676 h 4178187"/>
                <a:gd name="connsiteX9447" fmla="*/ 2316102 w 3009712"/>
                <a:gd name="connsiteY9447" fmla="*/ 3870922 h 4178187"/>
                <a:gd name="connsiteX9448" fmla="*/ 2316889 w 3009712"/>
                <a:gd name="connsiteY9448" fmla="*/ 3867774 h 4178187"/>
                <a:gd name="connsiteX9449" fmla="*/ 2315708 w 3009712"/>
                <a:gd name="connsiteY9449" fmla="*/ 3865020 h 4178187"/>
                <a:gd name="connsiteX9450" fmla="*/ 2313348 w 3009712"/>
                <a:gd name="connsiteY9450" fmla="*/ 3862266 h 4178187"/>
                <a:gd name="connsiteX9451" fmla="*/ 2314135 w 3009712"/>
                <a:gd name="connsiteY9451" fmla="*/ 3859512 h 4178187"/>
                <a:gd name="connsiteX9452" fmla="*/ 2313741 w 3009712"/>
                <a:gd name="connsiteY9452" fmla="*/ 3856759 h 4178187"/>
                <a:gd name="connsiteX9453" fmla="*/ 2312167 w 3009712"/>
                <a:gd name="connsiteY9453" fmla="*/ 3854791 h 4178187"/>
                <a:gd name="connsiteX9454" fmla="*/ 2310200 w 3009712"/>
                <a:gd name="connsiteY9454" fmla="*/ 3832366 h 4178187"/>
                <a:gd name="connsiteX9455" fmla="*/ 2312954 w 3009712"/>
                <a:gd name="connsiteY9455" fmla="*/ 3829219 h 4178187"/>
                <a:gd name="connsiteX9456" fmla="*/ 2315708 w 3009712"/>
                <a:gd name="connsiteY9456" fmla="*/ 3826858 h 4178187"/>
                <a:gd name="connsiteX9457" fmla="*/ 2318856 w 3009712"/>
                <a:gd name="connsiteY9457" fmla="*/ 3826071 h 4178187"/>
                <a:gd name="connsiteX9458" fmla="*/ 2321609 w 3009712"/>
                <a:gd name="connsiteY9458" fmla="*/ 3824891 h 4178187"/>
                <a:gd name="connsiteX9459" fmla="*/ 2324757 w 3009712"/>
                <a:gd name="connsiteY9459" fmla="*/ 3823317 h 4178187"/>
                <a:gd name="connsiteX9460" fmla="*/ 2325937 w 3009712"/>
                <a:gd name="connsiteY9460" fmla="*/ 3820563 h 4178187"/>
                <a:gd name="connsiteX9461" fmla="*/ 2323183 w 3009712"/>
                <a:gd name="connsiteY9461" fmla="*/ 3820956 h 4178187"/>
                <a:gd name="connsiteX9462" fmla="*/ 2320036 w 3009712"/>
                <a:gd name="connsiteY9462" fmla="*/ 3819776 h 4178187"/>
                <a:gd name="connsiteX9463" fmla="*/ 2317282 w 3009712"/>
                <a:gd name="connsiteY9463" fmla="*/ 3819383 h 4178187"/>
                <a:gd name="connsiteX9464" fmla="*/ 2314135 w 3009712"/>
                <a:gd name="connsiteY9464" fmla="*/ 3817809 h 4178187"/>
                <a:gd name="connsiteX9465" fmla="*/ 2311380 w 3009712"/>
                <a:gd name="connsiteY9465" fmla="*/ 3816235 h 4178187"/>
                <a:gd name="connsiteX9466" fmla="*/ 2308626 w 3009712"/>
                <a:gd name="connsiteY9466" fmla="*/ 3815449 h 4178187"/>
                <a:gd name="connsiteX9467" fmla="*/ 2305872 w 3009712"/>
                <a:gd name="connsiteY9467" fmla="*/ 3814662 h 4178187"/>
                <a:gd name="connsiteX9468" fmla="*/ 2305086 w 3009712"/>
                <a:gd name="connsiteY9468" fmla="*/ 3811908 h 4178187"/>
                <a:gd name="connsiteX9469" fmla="*/ 2308233 w 3009712"/>
                <a:gd name="connsiteY9469" fmla="*/ 3809547 h 4178187"/>
                <a:gd name="connsiteX9470" fmla="*/ 2310987 w 3009712"/>
                <a:gd name="connsiteY9470" fmla="*/ 3806793 h 4178187"/>
                <a:gd name="connsiteX9471" fmla="*/ 2314135 w 3009712"/>
                <a:gd name="connsiteY9471" fmla="*/ 3805613 h 4178187"/>
                <a:gd name="connsiteX9472" fmla="*/ 2317282 w 3009712"/>
                <a:gd name="connsiteY9472" fmla="*/ 3805219 h 4178187"/>
                <a:gd name="connsiteX9473" fmla="*/ 2320036 w 3009712"/>
                <a:gd name="connsiteY9473" fmla="*/ 3806006 h 4178187"/>
                <a:gd name="connsiteX9474" fmla="*/ 2322790 w 3009712"/>
                <a:gd name="connsiteY9474" fmla="*/ 3808367 h 4178187"/>
                <a:gd name="connsiteX9475" fmla="*/ 2325544 w 3009712"/>
                <a:gd name="connsiteY9475" fmla="*/ 3809941 h 4178187"/>
                <a:gd name="connsiteX9476" fmla="*/ 2325150 w 3009712"/>
                <a:gd name="connsiteY9476" fmla="*/ 3812694 h 4178187"/>
                <a:gd name="connsiteX9477" fmla="*/ 2327904 w 3009712"/>
                <a:gd name="connsiteY9477" fmla="*/ 3815449 h 4178187"/>
                <a:gd name="connsiteX9478" fmla="*/ 2330658 w 3009712"/>
                <a:gd name="connsiteY9478" fmla="*/ 3818203 h 4178187"/>
                <a:gd name="connsiteX9479" fmla="*/ 2333412 w 3009712"/>
                <a:gd name="connsiteY9479" fmla="*/ 3817416 h 4178187"/>
                <a:gd name="connsiteX9480" fmla="*/ 2336166 w 3009712"/>
                <a:gd name="connsiteY9480" fmla="*/ 3817022 h 4178187"/>
                <a:gd name="connsiteX9481" fmla="*/ 2339314 w 3009712"/>
                <a:gd name="connsiteY9481" fmla="*/ 3816235 h 4178187"/>
                <a:gd name="connsiteX9482" fmla="*/ 2342068 w 3009712"/>
                <a:gd name="connsiteY9482" fmla="*/ 3814662 h 4178187"/>
                <a:gd name="connsiteX9483" fmla="*/ 2341674 w 3009712"/>
                <a:gd name="connsiteY9483" fmla="*/ 3811908 h 4178187"/>
                <a:gd name="connsiteX9484" fmla="*/ 2342068 w 3009712"/>
                <a:gd name="connsiteY9484" fmla="*/ 3808760 h 4178187"/>
                <a:gd name="connsiteX9485" fmla="*/ 2340887 w 3009712"/>
                <a:gd name="connsiteY9485" fmla="*/ 3806006 h 4178187"/>
                <a:gd name="connsiteX9486" fmla="*/ 2339314 w 3009712"/>
                <a:gd name="connsiteY9486" fmla="*/ 3803252 h 4178187"/>
                <a:gd name="connsiteX9487" fmla="*/ 2338527 w 3009712"/>
                <a:gd name="connsiteY9487" fmla="*/ 3800498 h 4178187"/>
                <a:gd name="connsiteX9488" fmla="*/ 2336560 w 3009712"/>
                <a:gd name="connsiteY9488" fmla="*/ 3797745 h 4178187"/>
                <a:gd name="connsiteX9489" fmla="*/ 2333806 w 3009712"/>
                <a:gd name="connsiteY9489" fmla="*/ 3794597 h 4178187"/>
                <a:gd name="connsiteX9490" fmla="*/ 2331445 w 3009712"/>
                <a:gd name="connsiteY9490" fmla="*/ 3791843 h 4178187"/>
                <a:gd name="connsiteX9491" fmla="*/ 2328691 w 3009712"/>
                <a:gd name="connsiteY9491" fmla="*/ 3791843 h 4178187"/>
                <a:gd name="connsiteX9492" fmla="*/ 2325937 w 3009712"/>
                <a:gd name="connsiteY9492" fmla="*/ 3793810 h 4178187"/>
                <a:gd name="connsiteX9493" fmla="*/ 2323183 w 3009712"/>
                <a:gd name="connsiteY9493" fmla="*/ 3794990 h 4178187"/>
                <a:gd name="connsiteX9494" fmla="*/ 2320036 w 3009712"/>
                <a:gd name="connsiteY9494" fmla="*/ 3796564 h 4178187"/>
                <a:gd name="connsiteX9495" fmla="*/ 2316889 w 3009712"/>
                <a:gd name="connsiteY9495" fmla="*/ 3796564 h 4178187"/>
                <a:gd name="connsiteX9496" fmla="*/ 2320036 w 3009712"/>
                <a:gd name="connsiteY9496" fmla="*/ 3797745 h 4178187"/>
                <a:gd name="connsiteX9497" fmla="*/ 2322790 w 3009712"/>
                <a:gd name="connsiteY9497" fmla="*/ 3797351 h 4178187"/>
                <a:gd name="connsiteX9498" fmla="*/ 2325544 w 3009712"/>
                <a:gd name="connsiteY9498" fmla="*/ 3799318 h 4178187"/>
                <a:gd name="connsiteX9499" fmla="*/ 2325937 w 3009712"/>
                <a:gd name="connsiteY9499" fmla="*/ 3802072 h 4178187"/>
                <a:gd name="connsiteX9500" fmla="*/ 2323183 w 3009712"/>
                <a:gd name="connsiteY9500" fmla="*/ 3803252 h 4178187"/>
                <a:gd name="connsiteX9501" fmla="*/ 2320429 w 3009712"/>
                <a:gd name="connsiteY9501" fmla="*/ 3802859 h 4178187"/>
                <a:gd name="connsiteX9502" fmla="*/ 2317282 w 3009712"/>
                <a:gd name="connsiteY9502" fmla="*/ 3803252 h 4178187"/>
                <a:gd name="connsiteX9503" fmla="*/ 2314528 w 3009712"/>
                <a:gd name="connsiteY9503" fmla="*/ 3802859 h 4178187"/>
                <a:gd name="connsiteX9504" fmla="*/ 2311774 w 3009712"/>
                <a:gd name="connsiteY9504" fmla="*/ 3802072 h 4178187"/>
                <a:gd name="connsiteX9505" fmla="*/ 2312561 w 3009712"/>
                <a:gd name="connsiteY9505" fmla="*/ 3799318 h 4178187"/>
                <a:gd name="connsiteX9506" fmla="*/ 2312167 w 3009712"/>
                <a:gd name="connsiteY9506" fmla="*/ 3796564 h 4178187"/>
                <a:gd name="connsiteX9507" fmla="*/ 2309413 w 3009712"/>
                <a:gd name="connsiteY9507" fmla="*/ 3796564 h 4178187"/>
                <a:gd name="connsiteX9508" fmla="*/ 2306266 w 3009712"/>
                <a:gd name="connsiteY9508" fmla="*/ 3796171 h 4178187"/>
                <a:gd name="connsiteX9509" fmla="*/ 2300758 w 3009712"/>
                <a:gd name="connsiteY9509" fmla="*/ 3793810 h 4178187"/>
                <a:gd name="connsiteX9510" fmla="*/ 2297611 w 3009712"/>
                <a:gd name="connsiteY9510" fmla="*/ 3791843 h 4178187"/>
                <a:gd name="connsiteX9511" fmla="*/ 2296430 w 3009712"/>
                <a:gd name="connsiteY9511" fmla="*/ 3790663 h 4178187"/>
                <a:gd name="connsiteX9512" fmla="*/ 2294857 w 3009712"/>
                <a:gd name="connsiteY9512" fmla="*/ 3788696 h 4178187"/>
                <a:gd name="connsiteX9513" fmla="*/ 2347576 w 3009712"/>
                <a:gd name="connsiteY9513" fmla="*/ 3756041 h 4178187"/>
                <a:gd name="connsiteX9514" fmla="*/ 2350330 w 3009712"/>
                <a:gd name="connsiteY9514" fmla="*/ 3754861 h 4178187"/>
                <a:gd name="connsiteX9515" fmla="*/ 2353084 w 3009712"/>
                <a:gd name="connsiteY9515" fmla="*/ 3752894 h 4178187"/>
                <a:gd name="connsiteX9516" fmla="*/ 2355838 w 3009712"/>
                <a:gd name="connsiteY9516" fmla="*/ 3751320 h 4178187"/>
                <a:gd name="connsiteX9517" fmla="*/ 2357805 w 3009712"/>
                <a:gd name="connsiteY9517" fmla="*/ 3748172 h 4178187"/>
                <a:gd name="connsiteX9518" fmla="*/ 2358592 w 3009712"/>
                <a:gd name="connsiteY9518" fmla="*/ 3745419 h 4178187"/>
                <a:gd name="connsiteX9519" fmla="*/ 2358985 w 3009712"/>
                <a:gd name="connsiteY9519" fmla="*/ 3742271 h 4178187"/>
                <a:gd name="connsiteX9520" fmla="*/ 2356231 w 3009712"/>
                <a:gd name="connsiteY9520" fmla="*/ 3743058 h 4178187"/>
                <a:gd name="connsiteX9521" fmla="*/ 2357018 w 3009712"/>
                <a:gd name="connsiteY9521" fmla="*/ 3740304 h 4178187"/>
                <a:gd name="connsiteX9522" fmla="*/ 2354264 w 3009712"/>
                <a:gd name="connsiteY9522" fmla="*/ 3737550 h 4178187"/>
                <a:gd name="connsiteX9523" fmla="*/ 2351510 w 3009712"/>
                <a:gd name="connsiteY9523" fmla="*/ 3736370 h 4178187"/>
                <a:gd name="connsiteX9524" fmla="*/ 2349543 w 3009712"/>
                <a:gd name="connsiteY9524" fmla="*/ 3733223 h 4178187"/>
                <a:gd name="connsiteX9525" fmla="*/ 2348756 w 3009712"/>
                <a:gd name="connsiteY9525" fmla="*/ 3731649 h 4178187"/>
                <a:gd name="connsiteX9526" fmla="*/ 2348756 w 3009712"/>
                <a:gd name="connsiteY9526" fmla="*/ 3729288 h 4178187"/>
                <a:gd name="connsiteX9527" fmla="*/ 2350330 w 3009712"/>
                <a:gd name="connsiteY9527" fmla="*/ 3727715 h 4178187"/>
                <a:gd name="connsiteX9528" fmla="*/ 2349936 w 3009712"/>
                <a:gd name="connsiteY9528" fmla="*/ 3724567 h 4178187"/>
                <a:gd name="connsiteX9529" fmla="*/ 2349149 w 3009712"/>
                <a:gd name="connsiteY9529" fmla="*/ 3722206 h 4178187"/>
                <a:gd name="connsiteX9530" fmla="*/ 2349149 w 3009712"/>
                <a:gd name="connsiteY9530" fmla="*/ 3720633 h 4178187"/>
                <a:gd name="connsiteX9531" fmla="*/ 2352690 w 3009712"/>
                <a:gd name="connsiteY9531" fmla="*/ 3715518 h 4178187"/>
                <a:gd name="connsiteX9532" fmla="*/ 2403049 w 3009712"/>
                <a:gd name="connsiteY9532" fmla="*/ 3682077 h 4178187"/>
                <a:gd name="connsiteX9533" fmla="*/ 2406196 w 3009712"/>
                <a:gd name="connsiteY9533" fmla="*/ 3681684 h 4178187"/>
                <a:gd name="connsiteX9534" fmla="*/ 2408950 w 3009712"/>
                <a:gd name="connsiteY9534" fmla="*/ 3681290 h 4178187"/>
                <a:gd name="connsiteX9535" fmla="*/ 2411704 w 3009712"/>
                <a:gd name="connsiteY9535" fmla="*/ 3680110 h 4178187"/>
                <a:gd name="connsiteX9536" fmla="*/ 2414458 w 3009712"/>
                <a:gd name="connsiteY9536" fmla="*/ 3679323 h 4178187"/>
                <a:gd name="connsiteX9537" fmla="*/ 2417606 w 3009712"/>
                <a:gd name="connsiteY9537" fmla="*/ 3678536 h 4178187"/>
                <a:gd name="connsiteX9538" fmla="*/ 2420360 w 3009712"/>
                <a:gd name="connsiteY9538" fmla="*/ 3677749 h 4178187"/>
                <a:gd name="connsiteX9539" fmla="*/ 2423507 w 3009712"/>
                <a:gd name="connsiteY9539" fmla="*/ 3676962 h 4178187"/>
                <a:gd name="connsiteX9540" fmla="*/ 2426654 w 3009712"/>
                <a:gd name="connsiteY9540" fmla="*/ 3676569 h 4178187"/>
                <a:gd name="connsiteX9541" fmla="*/ 2429408 w 3009712"/>
                <a:gd name="connsiteY9541" fmla="*/ 3675782 h 4178187"/>
                <a:gd name="connsiteX9542" fmla="*/ 2432162 w 3009712"/>
                <a:gd name="connsiteY9542" fmla="*/ 3674209 h 4178187"/>
                <a:gd name="connsiteX9543" fmla="*/ 2435310 w 3009712"/>
                <a:gd name="connsiteY9543" fmla="*/ 3672635 h 4178187"/>
                <a:gd name="connsiteX9544" fmla="*/ 2438064 w 3009712"/>
                <a:gd name="connsiteY9544" fmla="*/ 3672241 h 4178187"/>
                <a:gd name="connsiteX9545" fmla="*/ 2440818 w 3009712"/>
                <a:gd name="connsiteY9545" fmla="*/ 3671061 h 4178187"/>
                <a:gd name="connsiteX9546" fmla="*/ 2443965 w 3009712"/>
                <a:gd name="connsiteY9546" fmla="*/ 3669881 h 4178187"/>
                <a:gd name="connsiteX9547" fmla="*/ 2446719 w 3009712"/>
                <a:gd name="connsiteY9547" fmla="*/ 3669094 h 4178187"/>
                <a:gd name="connsiteX9548" fmla="*/ 2449473 w 3009712"/>
                <a:gd name="connsiteY9548" fmla="*/ 3667520 h 4178187"/>
                <a:gd name="connsiteX9549" fmla="*/ 2452227 w 3009712"/>
                <a:gd name="connsiteY9549" fmla="*/ 3665160 h 4178187"/>
                <a:gd name="connsiteX9550" fmla="*/ 2457735 w 3009712"/>
                <a:gd name="connsiteY9550" fmla="*/ 3661619 h 4178187"/>
                <a:gd name="connsiteX9551" fmla="*/ 2460489 w 3009712"/>
                <a:gd name="connsiteY9551" fmla="*/ 3659652 h 4178187"/>
                <a:gd name="connsiteX9552" fmla="*/ 2463243 w 3009712"/>
                <a:gd name="connsiteY9552" fmla="*/ 3656898 h 4178187"/>
                <a:gd name="connsiteX9553" fmla="*/ 2463637 w 3009712"/>
                <a:gd name="connsiteY9553" fmla="*/ 3653750 h 4178187"/>
                <a:gd name="connsiteX9554" fmla="*/ 2462850 w 3009712"/>
                <a:gd name="connsiteY9554" fmla="*/ 3650996 h 4178187"/>
                <a:gd name="connsiteX9555" fmla="*/ 2462850 w 3009712"/>
                <a:gd name="connsiteY9555" fmla="*/ 3647849 h 4178187"/>
                <a:gd name="connsiteX9556" fmla="*/ 2464423 w 3009712"/>
                <a:gd name="connsiteY9556" fmla="*/ 3645095 h 4178187"/>
                <a:gd name="connsiteX9557" fmla="*/ 2465997 w 3009712"/>
                <a:gd name="connsiteY9557" fmla="*/ 3642341 h 4178187"/>
                <a:gd name="connsiteX9558" fmla="*/ 2467964 w 3009712"/>
                <a:gd name="connsiteY9558" fmla="*/ 3639587 h 4178187"/>
                <a:gd name="connsiteX9559" fmla="*/ 2469931 w 3009712"/>
                <a:gd name="connsiteY9559" fmla="*/ 3636440 h 4178187"/>
                <a:gd name="connsiteX9560" fmla="*/ 2471505 w 3009712"/>
                <a:gd name="connsiteY9560" fmla="*/ 3633686 h 4178187"/>
                <a:gd name="connsiteX9561" fmla="*/ 2472292 w 3009712"/>
                <a:gd name="connsiteY9561" fmla="*/ 3630538 h 4178187"/>
                <a:gd name="connsiteX9562" fmla="*/ 2473472 w 3009712"/>
                <a:gd name="connsiteY9562" fmla="*/ 3627784 h 4178187"/>
                <a:gd name="connsiteX9563" fmla="*/ 2474259 w 3009712"/>
                <a:gd name="connsiteY9563" fmla="*/ 3625030 h 4178187"/>
                <a:gd name="connsiteX9564" fmla="*/ 2475439 w 3009712"/>
                <a:gd name="connsiteY9564" fmla="*/ 3621883 h 4178187"/>
                <a:gd name="connsiteX9565" fmla="*/ 2478193 w 3009712"/>
                <a:gd name="connsiteY9565" fmla="*/ 3616375 h 4178187"/>
                <a:gd name="connsiteX9566" fmla="*/ 2477800 w 3009712"/>
                <a:gd name="connsiteY9566" fmla="*/ 3613228 h 4178187"/>
                <a:gd name="connsiteX9567" fmla="*/ 2477013 w 3009712"/>
                <a:gd name="connsiteY9567" fmla="*/ 3610080 h 4178187"/>
                <a:gd name="connsiteX9568" fmla="*/ 2475833 w 3009712"/>
                <a:gd name="connsiteY9568" fmla="*/ 3607326 h 4178187"/>
                <a:gd name="connsiteX9569" fmla="*/ 2475046 w 3009712"/>
                <a:gd name="connsiteY9569" fmla="*/ 3604179 h 4178187"/>
                <a:gd name="connsiteX9570" fmla="*/ 2473866 w 3009712"/>
                <a:gd name="connsiteY9570" fmla="*/ 3601425 h 4178187"/>
                <a:gd name="connsiteX9571" fmla="*/ 2472685 w 3009712"/>
                <a:gd name="connsiteY9571" fmla="*/ 3598277 h 4178187"/>
                <a:gd name="connsiteX9572" fmla="*/ 2471505 w 3009712"/>
                <a:gd name="connsiteY9572" fmla="*/ 3596704 h 4178187"/>
                <a:gd name="connsiteX9573" fmla="*/ 2469931 w 3009712"/>
                <a:gd name="connsiteY9573" fmla="*/ 3595523 h 4178187"/>
                <a:gd name="connsiteX9574" fmla="*/ 2449080 w 3009712"/>
                <a:gd name="connsiteY9574" fmla="*/ 3576639 h 4178187"/>
                <a:gd name="connsiteX9575" fmla="*/ 2449867 w 3009712"/>
                <a:gd name="connsiteY9575" fmla="*/ 3573885 h 4178187"/>
                <a:gd name="connsiteX9576" fmla="*/ 2451440 w 3009712"/>
                <a:gd name="connsiteY9576" fmla="*/ 3571131 h 4178187"/>
                <a:gd name="connsiteX9577" fmla="*/ 2453014 w 3009712"/>
                <a:gd name="connsiteY9577" fmla="*/ 3567984 h 4178187"/>
                <a:gd name="connsiteX9578" fmla="*/ 2453014 w 3009712"/>
                <a:gd name="connsiteY9578" fmla="*/ 3565229 h 4178187"/>
                <a:gd name="connsiteX9579" fmla="*/ 2450654 w 3009712"/>
                <a:gd name="connsiteY9579" fmla="*/ 3562082 h 4178187"/>
                <a:gd name="connsiteX9580" fmla="*/ 2445145 w 3009712"/>
                <a:gd name="connsiteY9580" fmla="*/ 3556574 h 4178187"/>
                <a:gd name="connsiteX9581" fmla="*/ 2442391 w 3009712"/>
                <a:gd name="connsiteY9581" fmla="*/ 3555000 h 4178187"/>
                <a:gd name="connsiteX9582" fmla="*/ 2439637 w 3009712"/>
                <a:gd name="connsiteY9582" fmla="*/ 3552640 h 4178187"/>
                <a:gd name="connsiteX9583" fmla="*/ 2436884 w 3009712"/>
                <a:gd name="connsiteY9583" fmla="*/ 3551460 h 4178187"/>
                <a:gd name="connsiteX9584" fmla="*/ 2436884 w 3009712"/>
                <a:gd name="connsiteY9584" fmla="*/ 3551066 h 4178187"/>
                <a:gd name="connsiteX9585" fmla="*/ 2433736 w 3009712"/>
                <a:gd name="connsiteY9585" fmla="*/ 3549492 h 4178187"/>
                <a:gd name="connsiteX9586" fmla="*/ 2430982 w 3009712"/>
                <a:gd name="connsiteY9586" fmla="*/ 3547525 h 4178187"/>
                <a:gd name="connsiteX9587" fmla="*/ 2428228 w 3009712"/>
                <a:gd name="connsiteY9587" fmla="*/ 3545952 h 4178187"/>
                <a:gd name="connsiteX9588" fmla="*/ 2427048 w 3009712"/>
                <a:gd name="connsiteY9588" fmla="*/ 3545558 h 4178187"/>
                <a:gd name="connsiteX9589" fmla="*/ 2412098 w 3009712"/>
                <a:gd name="connsiteY9589" fmla="*/ 3537296 h 4178187"/>
                <a:gd name="connsiteX9590" fmla="*/ 2406590 w 3009712"/>
                <a:gd name="connsiteY9590" fmla="*/ 3530608 h 4178187"/>
                <a:gd name="connsiteX9591" fmla="*/ 2406590 w 3009712"/>
                <a:gd name="connsiteY9591" fmla="*/ 3530214 h 4178187"/>
                <a:gd name="connsiteX9592" fmla="*/ 2404229 w 3009712"/>
                <a:gd name="connsiteY9592" fmla="*/ 3527460 h 4178187"/>
                <a:gd name="connsiteX9593" fmla="*/ 2403836 w 3009712"/>
                <a:gd name="connsiteY9593" fmla="*/ 3527067 h 4178187"/>
                <a:gd name="connsiteX9594" fmla="*/ 2406590 w 3009712"/>
                <a:gd name="connsiteY9594" fmla="*/ 3526674 h 4178187"/>
                <a:gd name="connsiteX9595" fmla="*/ 2407770 w 3009712"/>
                <a:gd name="connsiteY9595" fmla="*/ 3525493 h 4178187"/>
                <a:gd name="connsiteX9596" fmla="*/ 2407770 w 3009712"/>
                <a:gd name="connsiteY9596" fmla="*/ 3524313 h 4178187"/>
                <a:gd name="connsiteX9597" fmla="*/ 2408163 w 3009712"/>
                <a:gd name="connsiteY9597" fmla="*/ 3522739 h 4178187"/>
                <a:gd name="connsiteX9598" fmla="*/ 2407377 w 3009712"/>
                <a:gd name="connsiteY9598" fmla="*/ 3519592 h 4178187"/>
                <a:gd name="connsiteX9599" fmla="*/ 2405016 w 3009712"/>
                <a:gd name="connsiteY9599" fmla="*/ 3517625 h 4178187"/>
                <a:gd name="connsiteX9600" fmla="*/ 2404229 w 3009712"/>
                <a:gd name="connsiteY9600" fmla="*/ 3515658 h 4178187"/>
                <a:gd name="connsiteX9601" fmla="*/ 2403836 w 3009712"/>
                <a:gd name="connsiteY9601" fmla="*/ 3514084 h 4178187"/>
                <a:gd name="connsiteX9602" fmla="*/ 2402262 w 3009712"/>
                <a:gd name="connsiteY9602" fmla="*/ 3511330 h 4178187"/>
                <a:gd name="connsiteX9603" fmla="*/ 2402262 w 3009712"/>
                <a:gd name="connsiteY9603" fmla="*/ 3507002 h 4178187"/>
                <a:gd name="connsiteX9604" fmla="*/ 2402262 w 3009712"/>
                <a:gd name="connsiteY9604" fmla="*/ 3507396 h 4178187"/>
                <a:gd name="connsiteX9605" fmla="*/ 2403049 w 3009712"/>
                <a:gd name="connsiteY9605" fmla="*/ 3510150 h 4178187"/>
                <a:gd name="connsiteX9606" fmla="*/ 2403836 w 3009712"/>
                <a:gd name="connsiteY9606" fmla="*/ 3513297 h 4178187"/>
                <a:gd name="connsiteX9607" fmla="*/ 2405410 w 3009712"/>
                <a:gd name="connsiteY9607" fmla="*/ 3516051 h 4178187"/>
                <a:gd name="connsiteX9608" fmla="*/ 2407770 w 3009712"/>
                <a:gd name="connsiteY9608" fmla="*/ 3519199 h 4178187"/>
                <a:gd name="connsiteX9609" fmla="*/ 2410524 w 3009712"/>
                <a:gd name="connsiteY9609" fmla="*/ 3521953 h 4178187"/>
                <a:gd name="connsiteX9610" fmla="*/ 2410917 w 3009712"/>
                <a:gd name="connsiteY9610" fmla="*/ 3522739 h 4178187"/>
                <a:gd name="connsiteX9611" fmla="*/ 2410130 w 3009712"/>
                <a:gd name="connsiteY9611" fmla="*/ 3519199 h 4178187"/>
                <a:gd name="connsiteX9612" fmla="*/ 2412098 w 3009712"/>
                <a:gd name="connsiteY9612" fmla="*/ 3521166 h 4178187"/>
                <a:gd name="connsiteX9613" fmla="*/ 2414458 w 3009712"/>
                <a:gd name="connsiteY9613" fmla="*/ 3522346 h 4178187"/>
                <a:gd name="connsiteX9614" fmla="*/ 2425081 w 3009712"/>
                <a:gd name="connsiteY9614" fmla="*/ 3532575 h 4178187"/>
                <a:gd name="connsiteX9615" fmla="*/ 2425867 w 3009712"/>
                <a:gd name="connsiteY9615" fmla="*/ 3533755 h 4178187"/>
                <a:gd name="connsiteX9616" fmla="*/ 2431376 w 3009712"/>
                <a:gd name="connsiteY9616" fmla="*/ 3532182 h 4178187"/>
                <a:gd name="connsiteX9617" fmla="*/ 2434523 w 3009712"/>
                <a:gd name="connsiteY9617" fmla="*/ 3532575 h 4178187"/>
                <a:gd name="connsiteX9618" fmla="*/ 2436097 w 3009712"/>
                <a:gd name="connsiteY9618" fmla="*/ 3532182 h 4178187"/>
                <a:gd name="connsiteX9619" fmla="*/ 2444752 w 3009712"/>
                <a:gd name="connsiteY9619" fmla="*/ 3532182 h 4178187"/>
                <a:gd name="connsiteX9620" fmla="*/ 2447900 w 3009712"/>
                <a:gd name="connsiteY9620" fmla="*/ 3533755 h 4178187"/>
                <a:gd name="connsiteX9621" fmla="*/ 2450654 w 3009712"/>
                <a:gd name="connsiteY9621" fmla="*/ 3536509 h 4178187"/>
                <a:gd name="connsiteX9622" fmla="*/ 2453407 w 3009712"/>
                <a:gd name="connsiteY9622" fmla="*/ 3538477 h 4178187"/>
                <a:gd name="connsiteX9623" fmla="*/ 2456161 w 3009712"/>
                <a:gd name="connsiteY9623" fmla="*/ 3540444 h 4178187"/>
                <a:gd name="connsiteX9624" fmla="*/ 2459309 w 3009712"/>
                <a:gd name="connsiteY9624" fmla="*/ 3541230 h 4178187"/>
                <a:gd name="connsiteX9625" fmla="*/ 2462456 w 3009712"/>
                <a:gd name="connsiteY9625" fmla="*/ 3542017 h 4178187"/>
                <a:gd name="connsiteX9626" fmla="*/ 2465210 w 3009712"/>
                <a:gd name="connsiteY9626" fmla="*/ 3543197 h 4178187"/>
                <a:gd name="connsiteX9627" fmla="*/ 2468358 w 3009712"/>
                <a:gd name="connsiteY9627" fmla="*/ 3543591 h 4178187"/>
                <a:gd name="connsiteX9628" fmla="*/ 2470325 w 3009712"/>
                <a:gd name="connsiteY9628" fmla="*/ 3543984 h 4178187"/>
                <a:gd name="connsiteX9629" fmla="*/ 2471112 w 3009712"/>
                <a:gd name="connsiteY9629" fmla="*/ 3546738 h 4178187"/>
                <a:gd name="connsiteX9630" fmla="*/ 2474259 w 3009712"/>
                <a:gd name="connsiteY9630" fmla="*/ 3547525 h 4178187"/>
                <a:gd name="connsiteX9631" fmla="*/ 2477013 w 3009712"/>
                <a:gd name="connsiteY9631" fmla="*/ 3548312 h 4178187"/>
                <a:gd name="connsiteX9632" fmla="*/ 2480161 w 3009712"/>
                <a:gd name="connsiteY9632" fmla="*/ 3547132 h 4178187"/>
                <a:gd name="connsiteX9633" fmla="*/ 2480161 w 3009712"/>
                <a:gd name="connsiteY9633" fmla="*/ 3546738 h 4178187"/>
                <a:gd name="connsiteX9634" fmla="*/ 2498258 w 3009712"/>
                <a:gd name="connsiteY9634" fmla="*/ 3543984 h 4178187"/>
                <a:gd name="connsiteX9635" fmla="*/ 2501405 w 3009712"/>
                <a:gd name="connsiteY9635" fmla="*/ 3546345 h 4178187"/>
                <a:gd name="connsiteX9636" fmla="*/ 2504159 w 3009712"/>
                <a:gd name="connsiteY9636" fmla="*/ 3547132 h 4178187"/>
                <a:gd name="connsiteX9637" fmla="*/ 2506520 w 3009712"/>
                <a:gd name="connsiteY9637" fmla="*/ 3546738 h 4178187"/>
                <a:gd name="connsiteX9638" fmla="*/ 2509668 w 3009712"/>
                <a:gd name="connsiteY9638" fmla="*/ 3547919 h 4178187"/>
                <a:gd name="connsiteX9639" fmla="*/ 2512421 w 3009712"/>
                <a:gd name="connsiteY9639" fmla="*/ 3548706 h 4178187"/>
                <a:gd name="connsiteX9640" fmla="*/ 2515175 w 3009712"/>
                <a:gd name="connsiteY9640" fmla="*/ 3547525 h 4178187"/>
                <a:gd name="connsiteX9641" fmla="*/ 2517929 w 3009712"/>
                <a:gd name="connsiteY9641" fmla="*/ 3545558 h 4178187"/>
                <a:gd name="connsiteX9642" fmla="*/ 2520683 w 3009712"/>
                <a:gd name="connsiteY9642" fmla="*/ 3544378 h 4178187"/>
                <a:gd name="connsiteX9643" fmla="*/ 2522257 w 3009712"/>
                <a:gd name="connsiteY9643" fmla="*/ 3543984 h 4178187"/>
                <a:gd name="connsiteX9644" fmla="*/ 2527765 w 3009712"/>
                <a:gd name="connsiteY9644" fmla="*/ 3540444 h 4178187"/>
                <a:gd name="connsiteX9645" fmla="*/ 2526585 w 3009712"/>
                <a:gd name="connsiteY9645" fmla="*/ 3537690 h 4178187"/>
                <a:gd name="connsiteX9646" fmla="*/ 2529339 w 3009712"/>
                <a:gd name="connsiteY9646" fmla="*/ 3539263 h 4178187"/>
                <a:gd name="connsiteX9647" fmla="*/ 2532093 w 3009712"/>
                <a:gd name="connsiteY9647" fmla="*/ 3537690 h 4178187"/>
                <a:gd name="connsiteX9648" fmla="*/ 2534453 w 3009712"/>
                <a:gd name="connsiteY9648" fmla="*/ 3534542 h 4178187"/>
                <a:gd name="connsiteX9649" fmla="*/ 2537207 w 3009712"/>
                <a:gd name="connsiteY9649" fmla="*/ 3531788 h 4178187"/>
                <a:gd name="connsiteX9650" fmla="*/ 2539961 w 3009712"/>
                <a:gd name="connsiteY9650" fmla="*/ 3530214 h 4178187"/>
                <a:gd name="connsiteX9651" fmla="*/ 2539961 w 3009712"/>
                <a:gd name="connsiteY9651" fmla="*/ 3527067 h 4178187"/>
                <a:gd name="connsiteX9652" fmla="*/ 2540748 w 3009712"/>
                <a:gd name="connsiteY9652" fmla="*/ 3524313 h 4178187"/>
                <a:gd name="connsiteX9653" fmla="*/ 2542715 w 3009712"/>
                <a:gd name="connsiteY9653" fmla="*/ 3521559 h 4178187"/>
                <a:gd name="connsiteX9654" fmla="*/ 2545076 w 3009712"/>
                <a:gd name="connsiteY9654" fmla="*/ 3518805 h 4178187"/>
                <a:gd name="connsiteX9655" fmla="*/ 2545469 w 3009712"/>
                <a:gd name="connsiteY9655" fmla="*/ 3515658 h 4178187"/>
                <a:gd name="connsiteX9656" fmla="*/ 2545076 w 3009712"/>
                <a:gd name="connsiteY9656" fmla="*/ 3512904 h 4178187"/>
                <a:gd name="connsiteX9657" fmla="*/ 2545863 w 3009712"/>
                <a:gd name="connsiteY9657" fmla="*/ 3510543 h 4178187"/>
                <a:gd name="connsiteX9658" fmla="*/ 2547830 w 3009712"/>
                <a:gd name="connsiteY9658" fmla="*/ 3507789 h 4178187"/>
                <a:gd name="connsiteX9659" fmla="*/ 2550584 w 3009712"/>
                <a:gd name="connsiteY9659" fmla="*/ 3505429 h 4178187"/>
                <a:gd name="connsiteX9660" fmla="*/ 2552944 w 3009712"/>
                <a:gd name="connsiteY9660" fmla="*/ 3502281 h 4178187"/>
                <a:gd name="connsiteX9661" fmla="*/ 2555305 w 3009712"/>
                <a:gd name="connsiteY9661" fmla="*/ 3499527 h 4178187"/>
                <a:gd name="connsiteX9662" fmla="*/ 2558059 w 3009712"/>
                <a:gd name="connsiteY9662" fmla="*/ 3496773 h 4178187"/>
                <a:gd name="connsiteX9663" fmla="*/ 2560419 w 3009712"/>
                <a:gd name="connsiteY9663" fmla="*/ 3494019 h 4178187"/>
                <a:gd name="connsiteX9664" fmla="*/ 2562780 w 3009712"/>
                <a:gd name="connsiteY9664" fmla="*/ 3491265 h 4178187"/>
                <a:gd name="connsiteX9665" fmla="*/ 2563960 w 3009712"/>
                <a:gd name="connsiteY9665" fmla="*/ 3488511 h 4178187"/>
                <a:gd name="connsiteX9666" fmla="*/ 2565141 w 3009712"/>
                <a:gd name="connsiteY9666" fmla="*/ 3485757 h 4178187"/>
                <a:gd name="connsiteX9667" fmla="*/ 2565927 w 3009712"/>
                <a:gd name="connsiteY9667" fmla="*/ 3483003 h 4178187"/>
                <a:gd name="connsiteX9668" fmla="*/ 2566714 w 3009712"/>
                <a:gd name="connsiteY9668" fmla="*/ 3479856 h 4178187"/>
                <a:gd name="connsiteX9669" fmla="*/ 2567108 w 3009712"/>
                <a:gd name="connsiteY9669" fmla="*/ 3477102 h 4178187"/>
                <a:gd name="connsiteX9670" fmla="*/ 2567501 w 3009712"/>
                <a:gd name="connsiteY9670" fmla="*/ 3474348 h 4178187"/>
                <a:gd name="connsiteX9671" fmla="*/ 2567501 w 3009712"/>
                <a:gd name="connsiteY9671" fmla="*/ 3471201 h 4178187"/>
                <a:gd name="connsiteX9672" fmla="*/ 2567895 w 3009712"/>
                <a:gd name="connsiteY9672" fmla="*/ 3468446 h 4178187"/>
                <a:gd name="connsiteX9673" fmla="*/ 2568681 w 3009712"/>
                <a:gd name="connsiteY9673" fmla="*/ 3465693 h 4178187"/>
                <a:gd name="connsiteX9674" fmla="*/ 2569468 w 3009712"/>
                <a:gd name="connsiteY9674" fmla="*/ 3462545 h 4178187"/>
                <a:gd name="connsiteX9675" fmla="*/ 2570255 w 3009712"/>
                <a:gd name="connsiteY9675" fmla="*/ 3459791 h 4178187"/>
                <a:gd name="connsiteX9676" fmla="*/ 2572222 w 3009712"/>
                <a:gd name="connsiteY9676" fmla="*/ 3457037 h 4178187"/>
                <a:gd name="connsiteX9677" fmla="*/ 2573796 w 3009712"/>
                <a:gd name="connsiteY9677" fmla="*/ 3453890 h 4178187"/>
                <a:gd name="connsiteX9678" fmla="*/ 2573796 w 3009712"/>
                <a:gd name="connsiteY9678" fmla="*/ 3462152 h 4178187"/>
                <a:gd name="connsiteX9679" fmla="*/ 2571042 w 3009712"/>
                <a:gd name="connsiteY9679" fmla="*/ 3463332 h 4178187"/>
                <a:gd name="connsiteX9680" fmla="*/ 2568681 w 3009712"/>
                <a:gd name="connsiteY9680" fmla="*/ 3460578 h 4178187"/>
                <a:gd name="connsiteX9681" fmla="*/ 2571042 w 3009712"/>
                <a:gd name="connsiteY9681" fmla="*/ 3457824 h 4178187"/>
                <a:gd name="connsiteX9682" fmla="*/ 2568288 w 3009712"/>
                <a:gd name="connsiteY9682" fmla="*/ 3456644 h 4178187"/>
                <a:gd name="connsiteX9683" fmla="*/ 2568681 w 3009712"/>
                <a:gd name="connsiteY9683" fmla="*/ 3453496 h 4178187"/>
                <a:gd name="connsiteX9684" fmla="*/ 2567895 w 3009712"/>
                <a:gd name="connsiteY9684" fmla="*/ 3453103 h 4178187"/>
                <a:gd name="connsiteX9685" fmla="*/ 2570649 w 3009712"/>
                <a:gd name="connsiteY9685" fmla="*/ 3450349 h 4178187"/>
                <a:gd name="connsiteX9686" fmla="*/ 2572222 w 3009712"/>
                <a:gd name="connsiteY9686" fmla="*/ 3447202 h 4178187"/>
                <a:gd name="connsiteX9687" fmla="*/ 2572616 w 3009712"/>
                <a:gd name="connsiteY9687" fmla="*/ 3446021 h 4178187"/>
                <a:gd name="connsiteX9688" fmla="*/ 2579304 w 3009712"/>
                <a:gd name="connsiteY9688" fmla="*/ 3435792 h 4178187"/>
                <a:gd name="connsiteX9689" fmla="*/ 2581271 w 3009712"/>
                <a:gd name="connsiteY9689" fmla="*/ 3433038 h 4178187"/>
                <a:gd name="connsiteX9690" fmla="*/ 2584025 w 3009712"/>
                <a:gd name="connsiteY9690" fmla="*/ 3430284 h 4178187"/>
                <a:gd name="connsiteX9691" fmla="*/ 2584812 w 3009712"/>
                <a:gd name="connsiteY9691" fmla="*/ 3427530 h 4178187"/>
                <a:gd name="connsiteX9692" fmla="*/ 2584419 w 3009712"/>
                <a:gd name="connsiteY9692" fmla="*/ 3424383 h 4178187"/>
                <a:gd name="connsiteX9693" fmla="*/ 2587566 w 3009712"/>
                <a:gd name="connsiteY9693" fmla="*/ 3423202 h 4178187"/>
                <a:gd name="connsiteX9694" fmla="*/ 2587172 w 3009712"/>
                <a:gd name="connsiteY9694" fmla="*/ 3420055 h 4178187"/>
                <a:gd name="connsiteX9695" fmla="*/ 2586386 w 3009712"/>
                <a:gd name="connsiteY9695" fmla="*/ 3417301 h 4178187"/>
                <a:gd name="connsiteX9696" fmla="*/ 2586779 w 3009712"/>
                <a:gd name="connsiteY9696" fmla="*/ 3414547 h 4178187"/>
                <a:gd name="connsiteX9697" fmla="*/ 2588353 w 3009712"/>
                <a:gd name="connsiteY9697" fmla="*/ 3417301 h 4178187"/>
                <a:gd name="connsiteX9698" fmla="*/ 2589139 w 3009712"/>
                <a:gd name="connsiteY9698" fmla="*/ 3420055 h 4178187"/>
                <a:gd name="connsiteX9699" fmla="*/ 2589139 w 3009712"/>
                <a:gd name="connsiteY9699" fmla="*/ 3417301 h 4178187"/>
                <a:gd name="connsiteX9700" fmla="*/ 2587959 w 3009712"/>
                <a:gd name="connsiteY9700" fmla="*/ 3414547 h 4178187"/>
                <a:gd name="connsiteX9701" fmla="*/ 2587959 w 3009712"/>
                <a:gd name="connsiteY9701" fmla="*/ 3411006 h 4178187"/>
                <a:gd name="connsiteX9702" fmla="*/ 2588353 w 3009712"/>
                <a:gd name="connsiteY9702" fmla="*/ 3408252 h 4178187"/>
                <a:gd name="connsiteX9703" fmla="*/ 2591500 w 3009712"/>
                <a:gd name="connsiteY9703" fmla="*/ 3406679 h 4178187"/>
                <a:gd name="connsiteX9704" fmla="*/ 2589139 w 3009712"/>
                <a:gd name="connsiteY9704" fmla="*/ 3403925 h 4178187"/>
                <a:gd name="connsiteX9705" fmla="*/ 2586386 w 3009712"/>
                <a:gd name="connsiteY9705" fmla="*/ 3402351 h 4178187"/>
                <a:gd name="connsiteX9706" fmla="*/ 2585205 w 3009712"/>
                <a:gd name="connsiteY9706" fmla="*/ 3399990 h 4178187"/>
                <a:gd name="connsiteX9707" fmla="*/ 2586386 w 3009712"/>
                <a:gd name="connsiteY9707" fmla="*/ 3394089 h 4178187"/>
                <a:gd name="connsiteX9708" fmla="*/ 2587172 w 3009712"/>
                <a:gd name="connsiteY9708" fmla="*/ 3396843 h 4178187"/>
                <a:gd name="connsiteX9709" fmla="*/ 2589139 w 3009712"/>
                <a:gd name="connsiteY9709" fmla="*/ 3399990 h 4178187"/>
                <a:gd name="connsiteX9710" fmla="*/ 2591893 w 3009712"/>
                <a:gd name="connsiteY9710" fmla="*/ 3400777 h 4178187"/>
                <a:gd name="connsiteX9711" fmla="*/ 2593861 w 3009712"/>
                <a:gd name="connsiteY9711" fmla="*/ 3403925 h 4178187"/>
                <a:gd name="connsiteX9712" fmla="*/ 2596221 w 3009712"/>
                <a:gd name="connsiteY9712" fmla="*/ 3406679 h 4178187"/>
                <a:gd name="connsiteX9713" fmla="*/ 2597008 w 3009712"/>
                <a:gd name="connsiteY9713" fmla="*/ 3403925 h 4178187"/>
                <a:gd name="connsiteX9714" fmla="*/ 2599762 w 3009712"/>
                <a:gd name="connsiteY9714" fmla="*/ 3403925 h 4178187"/>
                <a:gd name="connsiteX9715" fmla="*/ 2600942 w 3009712"/>
                <a:gd name="connsiteY9715" fmla="*/ 3403531 h 4178187"/>
                <a:gd name="connsiteX9716" fmla="*/ 2608024 w 3009712"/>
                <a:gd name="connsiteY9716" fmla="*/ 3407859 h 4178187"/>
                <a:gd name="connsiteX9717" fmla="*/ 2605270 w 3009712"/>
                <a:gd name="connsiteY9717" fmla="*/ 3406285 h 4178187"/>
                <a:gd name="connsiteX9718" fmla="*/ 2604877 w 3009712"/>
                <a:gd name="connsiteY9718" fmla="*/ 3409039 h 4178187"/>
                <a:gd name="connsiteX9719" fmla="*/ 2605663 w 3009712"/>
                <a:gd name="connsiteY9719" fmla="*/ 3412187 h 4178187"/>
                <a:gd name="connsiteX9720" fmla="*/ 2606057 w 3009712"/>
                <a:gd name="connsiteY9720" fmla="*/ 3414941 h 4178187"/>
                <a:gd name="connsiteX9721" fmla="*/ 2606057 w 3009712"/>
                <a:gd name="connsiteY9721" fmla="*/ 3417695 h 4178187"/>
                <a:gd name="connsiteX9722" fmla="*/ 2604483 w 3009712"/>
                <a:gd name="connsiteY9722" fmla="*/ 3420842 h 4178187"/>
                <a:gd name="connsiteX9723" fmla="*/ 2601729 w 3009712"/>
                <a:gd name="connsiteY9723" fmla="*/ 3422809 h 4178187"/>
                <a:gd name="connsiteX9724" fmla="*/ 2600156 w 3009712"/>
                <a:gd name="connsiteY9724" fmla="*/ 3425563 h 4178187"/>
                <a:gd name="connsiteX9725" fmla="*/ 2599762 w 3009712"/>
                <a:gd name="connsiteY9725" fmla="*/ 3428317 h 4178187"/>
                <a:gd name="connsiteX9726" fmla="*/ 2600549 w 3009712"/>
                <a:gd name="connsiteY9726" fmla="*/ 3431071 h 4178187"/>
                <a:gd name="connsiteX9727" fmla="*/ 2597795 w 3009712"/>
                <a:gd name="connsiteY9727" fmla="*/ 3429104 h 4178187"/>
                <a:gd name="connsiteX9728" fmla="*/ 2595434 w 3009712"/>
                <a:gd name="connsiteY9728" fmla="*/ 3432251 h 4178187"/>
                <a:gd name="connsiteX9729" fmla="*/ 2596221 w 3009712"/>
                <a:gd name="connsiteY9729" fmla="*/ 3435005 h 4178187"/>
                <a:gd name="connsiteX9730" fmla="*/ 2596221 w 3009712"/>
                <a:gd name="connsiteY9730" fmla="*/ 3437759 h 4178187"/>
                <a:gd name="connsiteX9731" fmla="*/ 2595434 w 3009712"/>
                <a:gd name="connsiteY9731" fmla="*/ 3440907 h 4178187"/>
                <a:gd name="connsiteX9732" fmla="*/ 2593074 w 3009712"/>
                <a:gd name="connsiteY9732" fmla="*/ 3443661 h 4178187"/>
                <a:gd name="connsiteX9733" fmla="*/ 2590320 w 3009712"/>
                <a:gd name="connsiteY9733" fmla="*/ 3444054 h 4178187"/>
                <a:gd name="connsiteX9734" fmla="*/ 2589926 w 3009712"/>
                <a:gd name="connsiteY9734" fmla="*/ 3447202 h 4178187"/>
                <a:gd name="connsiteX9735" fmla="*/ 2587172 w 3009712"/>
                <a:gd name="connsiteY9735" fmla="*/ 3448775 h 4178187"/>
                <a:gd name="connsiteX9736" fmla="*/ 2585599 w 3009712"/>
                <a:gd name="connsiteY9736" fmla="*/ 3451529 h 4178187"/>
                <a:gd name="connsiteX9737" fmla="*/ 2582845 w 3009712"/>
                <a:gd name="connsiteY9737" fmla="*/ 3453496 h 4178187"/>
                <a:gd name="connsiteX9738" fmla="*/ 2579697 w 3009712"/>
                <a:gd name="connsiteY9738" fmla="*/ 3456250 h 4178187"/>
                <a:gd name="connsiteX9739" fmla="*/ 2576943 w 3009712"/>
                <a:gd name="connsiteY9739" fmla="*/ 3455070 h 4178187"/>
                <a:gd name="connsiteX9740" fmla="*/ 2574189 w 3009712"/>
                <a:gd name="connsiteY9740" fmla="*/ 3454283 h 4178187"/>
                <a:gd name="connsiteX9741" fmla="*/ 2574583 w 3009712"/>
                <a:gd name="connsiteY9741" fmla="*/ 3457037 h 4178187"/>
                <a:gd name="connsiteX9742" fmla="*/ 2574976 w 3009712"/>
                <a:gd name="connsiteY9742" fmla="*/ 3459791 h 4178187"/>
                <a:gd name="connsiteX9743" fmla="*/ 2576156 w 3009712"/>
                <a:gd name="connsiteY9743" fmla="*/ 3462545 h 4178187"/>
                <a:gd name="connsiteX9744" fmla="*/ 2575763 w 3009712"/>
                <a:gd name="connsiteY9744" fmla="*/ 3465693 h 4178187"/>
                <a:gd name="connsiteX9745" fmla="*/ 2578124 w 3009712"/>
                <a:gd name="connsiteY9745" fmla="*/ 3462545 h 4178187"/>
                <a:gd name="connsiteX9746" fmla="*/ 2579304 w 3009712"/>
                <a:gd name="connsiteY9746" fmla="*/ 3459791 h 4178187"/>
                <a:gd name="connsiteX9747" fmla="*/ 2582058 w 3009712"/>
                <a:gd name="connsiteY9747" fmla="*/ 3457037 h 4178187"/>
                <a:gd name="connsiteX9748" fmla="*/ 2584812 w 3009712"/>
                <a:gd name="connsiteY9748" fmla="*/ 3454677 h 4178187"/>
                <a:gd name="connsiteX9749" fmla="*/ 2587566 w 3009712"/>
                <a:gd name="connsiteY9749" fmla="*/ 3453103 h 4178187"/>
                <a:gd name="connsiteX9750" fmla="*/ 2590320 w 3009712"/>
                <a:gd name="connsiteY9750" fmla="*/ 3451136 h 4178187"/>
                <a:gd name="connsiteX9751" fmla="*/ 2592680 w 3009712"/>
                <a:gd name="connsiteY9751" fmla="*/ 3448382 h 4178187"/>
                <a:gd name="connsiteX9752" fmla="*/ 2595434 w 3009712"/>
                <a:gd name="connsiteY9752" fmla="*/ 3445628 h 4178187"/>
                <a:gd name="connsiteX9753" fmla="*/ 2597795 w 3009712"/>
                <a:gd name="connsiteY9753" fmla="*/ 3442874 h 4178187"/>
                <a:gd name="connsiteX9754" fmla="*/ 2600156 w 3009712"/>
                <a:gd name="connsiteY9754" fmla="*/ 3439726 h 4178187"/>
                <a:gd name="connsiteX9755" fmla="*/ 2601729 w 3009712"/>
                <a:gd name="connsiteY9755" fmla="*/ 3436972 h 4178187"/>
                <a:gd name="connsiteX9756" fmla="*/ 2604090 w 3009712"/>
                <a:gd name="connsiteY9756" fmla="*/ 3434219 h 4178187"/>
                <a:gd name="connsiteX9757" fmla="*/ 2605663 w 3009712"/>
                <a:gd name="connsiteY9757" fmla="*/ 3431071 h 4178187"/>
                <a:gd name="connsiteX9758" fmla="*/ 2607237 w 3009712"/>
                <a:gd name="connsiteY9758" fmla="*/ 3428317 h 4178187"/>
                <a:gd name="connsiteX9759" fmla="*/ 2608417 w 3009712"/>
                <a:gd name="connsiteY9759" fmla="*/ 3425563 h 4178187"/>
                <a:gd name="connsiteX9760" fmla="*/ 2608811 w 3009712"/>
                <a:gd name="connsiteY9760" fmla="*/ 3423989 h 4178187"/>
                <a:gd name="connsiteX9761" fmla="*/ 2611565 w 3009712"/>
                <a:gd name="connsiteY9761" fmla="*/ 3418482 h 4178187"/>
                <a:gd name="connsiteX9762" fmla="*/ 2612352 w 3009712"/>
                <a:gd name="connsiteY9762" fmla="*/ 3415334 h 4178187"/>
                <a:gd name="connsiteX9763" fmla="*/ 2613926 w 3009712"/>
                <a:gd name="connsiteY9763" fmla="*/ 3412580 h 4178187"/>
                <a:gd name="connsiteX9764" fmla="*/ 2614712 w 3009712"/>
                <a:gd name="connsiteY9764" fmla="*/ 3409826 h 4178187"/>
                <a:gd name="connsiteX9765" fmla="*/ 2615499 w 3009712"/>
                <a:gd name="connsiteY9765" fmla="*/ 3407072 h 4178187"/>
                <a:gd name="connsiteX9766" fmla="*/ 2616286 w 3009712"/>
                <a:gd name="connsiteY9766" fmla="*/ 3403925 h 4178187"/>
                <a:gd name="connsiteX9767" fmla="*/ 2616286 w 3009712"/>
                <a:gd name="connsiteY9767" fmla="*/ 3401171 h 4178187"/>
                <a:gd name="connsiteX9768" fmla="*/ 2616679 w 3009712"/>
                <a:gd name="connsiteY9768" fmla="*/ 3398417 h 4178187"/>
                <a:gd name="connsiteX9769" fmla="*/ 2617466 w 3009712"/>
                <a:gd name="connsiteY9769" fmla="*/ 3395663 h 4178187"/>
                <a:gd name="connsiteX9770" fmla="*/ 2617860 w 3009712"/>
                <a:gd name="connsiteY9770" fmla="*/ 3393695 h 4178187"/>
                <a:gd name="connsiteX9771" fmla="*/ 2620220 w 3009712"/>
                <a:gd name="connsiteY9771" fmla="*/ 3385827 h 4178187"/>
                <a:gd name="connsiteX9772" fmla="*/ 2626515 w 3009712"/>
                <a:gd name="connsiteY9772" fmla="*/ 3370483 h 4178187"/>
                <a:gd name="connsiteX9773" fmla="*/ 2637531 w 3009712"/>
                <a:gd name="connsiteY9773" fmla="*/ 3354353 h 4178187"/>
                <a:gd name="connsiteX9774" fmla="*/ 2638711 w 3009712"/>
                <a:gd name="connsiteY9774" fmla="*/ 3353173 h 4178187"/>
                <a:gd name="connsiteX9775" fmla="*/ 2641465 w 3009712"/>
                <a:gd name="connsiteY9775" fmla="*/ 3350812 h 4178187"/>
                <a:gd name="connsiteX9776" fmla="*/ 2644219 w 3009712"/>
                <a:gd name="connsiteY9776" fmla="*/ 3348451 h 4178187"/>
                <a:gd name="connsiteX9777" fmla="*/ 2646973 w 3009712"/>
                <a:gd name="connsiteY9777" fmla="*/ 3346878 h 4178187"/>
                <a:gd name="connsiteX9778" fmla="*/ 2649727 w 3009712"/>
                <a:gd name="connsiteY9778" fmla="*/ 3344124 h 4178187"/>
                <a:gd name="connsiteX9779" fmla="*/ 2646973 w 3009712"/>
                <a:gd name="connsiteY9779" fmla="*/ 3342550 h 4178187"/>
                <a:gd name="connsiteX9780" fmla="*/ 2646973 w 3009712"/>
                <a:gd name="connsiteY9780" fmla="*/ 3340976 h 4178187"/>
                <a:gd name="connsiteX9781" fmla="*/ 2647367 w 3009712"/>
                <a:gd name="connsiteY9781" fmla="*/ 3340976 h 4178187"/>
                <a:gd name="connsiteX9782" fmla="*/ 2648153 w 3009712"/>
                <a:gd name="connsiteY9782" fmla="*/ 3340583 h 4178187"/>
                <a:gd name="connsiteX9783" fmla="*/ 2648547 w 3009712"/>
                <a:gd name="connsiteY9783" fmla="*/ 3340976 h 4178187"/>
                <a:gd name="connsiteX9784" fmla="*/ 2650121 w 3009712"/>
                <a:gd name="connsiteY9784" fmla="*/ 3342157 h 4178187"/>
                <a:gd name="connsiteX9785" fmla="*/ 2650514 w 3009712"/>
                <a:gd name="connsiteY9785" fmla="*/ 3339403 h 4178187"/>
                <a:gd name="connsiteX9786" fmla="*/ 2651301 w 3009712"/>
                <a:gd name="connsiteY9786" fmla="*/ 3336255 h 4178187"/>
                <a:gd name="connsiteX9787" fmla="*/ 2651694 w 3009712"/>
                <a:gd name="connsiteY9787" fmla="*/ 3333501 h 4178187"/>
                <a:gd name="connsiteX9788" fmla="*/ 2652088 w 3009712"/>
                <a:gd name="connsiteY9788" fmla="*/ 3330747 h 4178187"/>
                <a:gd name="connsiteX9789" fmla="*/ 2652875 w 3009712"/>
                <a:gd name="connsiteY9789" fmla="*/ 3327993 h 4178187"/>
                <a:gd name="connsiteX9790" fmla="*/ 2652088 w 3009712"/>
                <a:gd name="connsiteY9790" fmla="*/ 3324846 h 4178187"/>
                <a:gd name="connsiteX9791" fmla="*/ 2653268 w 3009712"/>
                <a:gd name="connsiteY9791" fmla="*/ 3322092 h 4178187"/>
                <a:gd name="connsiteX9792" fmla="*/ 2651694 w 3009712"/>
                <a:gd name="connsiteY9792" fmla="*/ 3319338 h 4178187"/>
                <a:gd name="connsiteX9793" fmla="*/ 2650514 w 3009712"/>
                <a:gd name="connsiteY9793" fmla="*/ 3316191 h 4178187"/>
                <a:gd name="connsiteX9794" fmla="*/ 2650907 w 3009712"/>
                <a:gd name="connsiteY9794" fmla="*/ 3313437 h 4178187"/>
                <a:gd name="connsiteX9795" fmla="*/ 2650121 w 3009712"/>
                <a:gd name="connsiteY9795" fmla="*/ 3310289 h 4178187"/>
                <a:gd name="connsiteX9796" fmla="*/ 2649334 w 3009712"/>
                <a:gd name="connsiteY9796" fmla="*/ 3307535 h 4178187"/>
                <a:gd name="connsiteX9797" fmla="*/ 2651301 w 3009712"/>
                <a:gd name="connsiteY9797" fmla="*/ 3304781 h 4178187"/>
                <a:gd name="connsiteX9798" fmla="*/ 2648940 w 3009712"/>
                <a:gd name="connsiteY9798" fmla="*/ 3301634 h 4178187"/>
                <a:gd name="connsiteX9799" fmla="*/ 2651694 w 3009712"/>
                <a:gd name="connsiteY9799" fmla="*/ 3300060 h 4178187"/>
                <a:gd name="connsiteX9800" fmla="*/ 2651301 w 3009712"/>
                <a:gd name="connsiteY9800" fmla="*/ 3296913 h 4178187"/>
                <a:gd name="connsiteX9801" fmla="*/ 2648547 w 3009712"/>
                <a:gd name="connsiteY9801" fmla="*/ 3296913 h 4178187"/>
                <a:gd name="connsiteX9802" fmla="*/ 2648940 w 3009712"/>
                <a:gd name="connsiteY9802" fmla="*/ 3293765 h 4178187"/>
                <a:gd name="connsiteX9803" fmla="*/ 2647367 w 3009712"/>
                <a:gd name="connsiteY9803" fmla="*/ 3291011 h 4178187"/>
                <a:gd name="connsiteX9804" fmla="*/ 2646580 w 3009712"/>
                <a:gd name="connsiteY9804" fmla="*/ 3288257 h 4178187"/>
                <a:gd name="connsiteX9805" fmla="*/ 2647760 w 3009712"/>
                <a:gd name="connsiteY9805" fmla="*/ 3285110 h 4178187"/>
                <a:gd name="connsiteX9806" fmla="*/ 2645006 w 3009712"/>
                <a:gd name="connsiteY9806" fmla="*/ 3283536 h 4178187"/>
                <a:gd name="connsiteX9807" fmla="*/ 2644613 w 3009712"/>
                <a:gd name="connsiteY9807" fmla="*/ 3280782 h 4178187"/>
                <a:gd name="connsiteX9808" fmla="*/ 2644219 w 3009712"/>
                <a:gd name="connsiteY9808" fmla="*/ 3278815 h 4178187"/>
                <a:gd name="connsiteX9809" fmla="*/ 2645400 w 3009712"/>
                <a:gd name="connsiteY9809" fmla="*/ 3273307 h 4178187"/>
                <a:gd name="connsiteX9810" fmla="*/ 2643826 w 3009712"/>
                <a:gd name="connsiteY9810" fmla="*/ 3271340 h 4178187"/>
                <a:gd name="connsiteX9811" fmla="*/ 2643433 w 3009712"/>
                <a:gd name="connsiteY9811" fmla="*/ 3270553 h 4178187"/>
                <a:gd name="connsiteX9812" fmla="*/ 2643826 w 3009712"/>
                <a:gd name="connsiteY9812" fmla="*/ 3264258 h 4178187"/>
                <a:gd name="connsiteX9813" fmla="*/ 2644613 w 3009712"/>
                <a:gd name="connsiteY9813" fmla="*/ 3261898 h 4178187"/>
                <a:gd name="connsiteX9814" fmla="*/ 2644219 w 3009712"/>
                <a:gd name="connsiteY9814" fmla="*/ 3259931 h 4178187"/>
                <a:gd name="connsiteX9815" fmla="*/ 2644219 w 3009712"/>
                <a:gd name="connsiteY9815" fmla="*/ 3257570 h 4178187"/>
                <a:gd name="connsiteX9816" fmla="*/ 2644613 w 3009712"/>
                <a:gd name="connsiteY9816" fmla="*/ 3254423 h 4178187"/>
                <a:gd name="connsiteX9817" fmla="*/ 2644613 w 3009712"/>
                <a:gd name="connsiteY9817" fmla="*/ 3254423 h 4178187"/>
                <a:gd name="connsiteX9818" fmla="*/ 2644613 w 3009712"/>
                <a:gd name="connsiteY9818" fmla="*/ 3252849 h 4178187"/>
                <a:gd name="connsiteX9819" fmla="*/ 2645006 w 3009712"/>
                <a:gd name="connsiteY9819" fmla="*/ 3252849 h 4178187"/>
                <a:gd name="connsiteX9820" fmla="*/ 2645793 w 3009712"/>
                <a:gd name="connsiteY9820" fmla="*/ 3250095 h 4178187"/>
                <a:gd name="connsiteX9821" fmla="*/ 2646580 w 3009712"/>
                <a:gd name="connsiteY9821" fmla="*/ 3246947 h 4178187"/>
                <a:gd name="connsiteX9822" fmla="*/ 2648940 w 3009712"/>
                <a:gd name="connsiteY9822" fmla="*/ 3244193 h 4178187"/>
                <a:gd name="connsiteX9823" fmla="*/ 2646186 w 3009712"/>
                <a:gd name="connsiteY9823" fmla="*/ 3243800 h 4178187"/>
                <a:gd name="connsiteX9824" fmla="*/ 2644613 w 3009712"/>
                <a:gd name="connsiteY9824" fmla="*/ 3241440 h 4178187"/>
                <a:gd name="connsiteX9825" fmla="*/ 2652875 w 3009712"/>
                <a:gd name="connsiteY9825" fmla="*/ 3236719 h 4178187"/>
                <a:gd name="connsiteX9826" fmla="*/ 2652875 w 3009712"/>
                <a:gd name="connsiteY9826" fmla="*/ 3239473 h 4178187"/>
                <a:gd name="connsiteX9827" fmla="*/ 2654448 w 3009712"/>
                <a:gd name="connsiteY9827" fmla="*/ 3236719 h 4178187"/>
                <a:gd name="connsiteX9828" fmla="*/ 2656809 w 3009712"/>
                <a:gd name="connsiteY9828" fmla="*/ 3234751 h 4178187"/>
                <a:gd name="connsiteX9829" fmla="*/ 2658383 w 3009712"/>
                <a:gd name="connsiteY9829" fmla="*/ 3231210 h 4178187"/>
                <a:gd name="connsiteX9830" fmla="*/ 2661137 w 3009712"/>
                <a:gd name="connsiteY9830" fmla="*/ 3228063 h 4178187"/>
                <a:gd name="connsiteX9831" fmla="*/ 2659170 w 3009712"/>
                <a:gd name="connsiteY9831" fmla="*/ 3226883 h 4178187"/>
                <a:gd name="connsiteX9832" fmla="*/ 2659170 w 3009712"/>
                <a:gd name="connsiteY9832" fmla="*/ 3225703 h 4178187"/>
                <a:gd name="connsiteX9833" fmla="*/ 2661137 w 3009712"/>
                <a:gd name="connsiteY9833" fmla="*/ 3223342 h 4178187"/>
                <a:gd name="connsiteX9834" fmla="*/ 2661137 w 3009712"/>
                <a:gd name="connsiteY9834" fmla="*/ 3224916 h 4178187"/>
                <a:gd name="connsiteX9835" fmla="*/ 2661530 w 3009712"/>
                <a:gd name="connsiteY9835" fmla="*/ 3223342 h 4178187"/>
                <a:gd name="connsiteX9836" fmla="*/ 2663890 w 3009712"/>
                <a:gd name="connsiteY9836" fmla="*/ 3220588 h 4178187"/>
                <a:gd name="connsiteX9837" fmla="*/ 2666645 w 3009712"/>
                <a:gd name="connsiteY9837" fmla="*/ 3217834 h 4178187"/>
                <a:gd name="connsiteX9838" fmla="*/ 2669399 w 3009712"/>
                <a:gd name="connsiteY9838" fmla="*/ 3215080 h 4178187"/>
                <a:gd name="connsiteX9839" fmla="*/ 2672546 w 3009712"/>
                <a:gd name="connsiteY9839" fmla="*/ 3212719 h 4178187"/>
                <a:gd name="connsiteX9840" fmla="*/ 2669399 w 3009712"/>
                <a:gd name="connsiteY9840" fmla="*/ 3214293 h 4178187"/>
                <a:gd name="connsiteX9841" fmla="*/ 2666645 w 3009712"/>
                <a:gd name="connsiteY9841" fmla="*/ 3216654 h 4178187"/>
                <a:gd name="connsiteX9842" fmla="*/ 2669399 w 3009712"/>
                <a:gd name="connsiteY9842" fmla="*/ 3213506 h 4178187"/>
                <a:gd name="connsiteX9843" fmla="*/ 2674513 w 3009712"/>
                <a:gd name="connsiteY9843" fmla="*/ 3210752 h 4178187"/>
                <a:gd name="connsiteX9844" fmla="*/ 2677267 w 3009712"/>
                <a:gd name="connsiteY9844" fmla="*/ 3208785 h 4178187"/>
                <a:gd name="connsiteX9845" fmla="*/ 2680021 w 3009712"/>
                <a:gd name="connsiteY9845" fmla="*/ 3206818 h 4178187"/>
                <a:gd name="connsiteX9846" fmla="*/ 2682775 w 3009712"/>
                <a:gd name="connsiteY9846" fmla="*/ 3204064 h 4178187"/>
                <a:gd name="connsiteX9847" fmla="*/ 2683168 w 3009712"/>
                <a:gd name="connsiteY9847" fmla="*/ 3203277 h 4178187"/>
                <a:gd name="connsiteX9848" fmla="*/ 2698119 w 3009712"/>
                <a:gd name="connsiteY9848" fmla="*/ 3190688 h 4178187"/>
                <a:gd name="connsiteX9849" fmla="*/ 2700873 w 3009712"/>
                <a:gd name="connsiteY9849" fmla="*/ 3189507 h 4178187"/>
                <a:gd name="connsiteX9850" fmla="*/ 2700479 w 3009712"/>
                <a:gd name="connsiteY9850" fmla="*/ 3188720 h 4178187"/>
                <a:gd name="connsiteX9851" fmla="*/ 2699692 w 3009712"/>
                <a:gd name="connsiteY9851" fmla="*/ 3188327 h 4178187"/>
                <a:gd name="connsiteX9852" fmla="*/ 2700086 w 3009712"/>
                <a:gd name="connsiteY9852" fmla="*/ 3186753 h 4178187"/>
                <a:gd name="connsiteX9853" fmla="*/ 2700086 w 3009712"/>
                <a:gd name="connsiteY9853" fmla="*/ 3186360 h 4178187"/>
                <a:gd name="connsiteX9854" fmla="*/ 2702446 w 3009712"/>
                <a:gd name="connsiteY9854" fmla="*/ 3189114 h 4178187"/>
                <a:gd name="connsiteX9855" fmla="*/ 2700873 w 3009712"/>
                <a:gd name="connsiteY9855" fmla="*/ 3188720 h 4178187"/>
                <a:gd name="connsiteX9856" fmla="*/ 2700479 w 3009712"/>
                <a:gd name="connsiteY9856" fmla="*/ 3188720 h 4178187"/>
                <a:gd name="connsiteX9857" fmla="*/ 2702446 w 3009712"/>
                <a:gd name="connsiteY9857" fmla="*/ 3189114 h 4178187"/>
                <a:gd name="connsiteX9858" fmla="*/ 2703627 w 3009712"/>
                <a:gd name="connsiteY9858" fmla="*/ 3190294 h 4178187"/>
                <a:gd name="connsiteX9859" fmla="*/ 2706381 w 3009712"/>
                <a:gd name="connsiteY9859" fmla="*/ 3189114 h 4178187"/>
                <a:gd name="connsiteX9860" fmla="*/ 2706774 w 3009712"/>
                <a:gd name="connsiteY9860" fmla="*/ 3188327 h 4178187"/>
                <a:gd name="connsiteX9861" fmla="*/ 2718577 w 3009712"/>
                <a:gd name="connsiteY9861" fmla="*/ 3181245 h 4178187"/>
                <a:gd name="connsiteX9862" fmla="*/ 2718970 w 3009712"/>
                <a:gd name="connsiteY9862" fmla="*/ 3181245 h 4178187"/>
                <a:gd name="connsiteX9863" fmla="*/ 2721724 w 3009712"/>
                <a:gd name="connsiteY9863" fmla="*/ 3182032 h 4178187"/>
                <a:gd name="connsiteX9864" fmla="*/ 2724478 w 3009712"/>
                <a:gd name="connsiteY9864" fmla="*/ 3182426 h 4178187"/>
                <a:gd name="connsiteX9865" fmla="*/ 2727232 w 3009712"/>
                <a:gd name="connsiteY9865" fmla="*/ 3183212 h 4178187"/>
                <a:gd name="connsiteX9866" fmla="*/ 2728806 w 3009712"/>
                <a:gd name="connsiteY9866" fmla="*/ 3180459 h 4178187"/>
                <a:gd name="connsiteX9867" fmla="*/ 2727626 w 3009712"/>
                <a:gd name="connsiteY9867" fmla="*/ 3177311 h 4178187"/>
                <a:gd name="connsiteX9868" fmla="*/ 2730380 w 3009712"/>
                <a:gd name="connsiteY9868" fmla="*/ 3175344 h 4178187"/>
                <a:gd name="connsiteX9869" fmla="*/ 2733134 w 3009712"/>
                <a:gd name="connsiteY9869" fmla="*/ 3174951 h 4178187"/>
                <a:gd name="connsiteX9870" fmla="*/ 2735101 w 3009712"/>
                <a:gd name="connsiteY9870" fmla="*/ 3172196 h 4178187"/>
                <a:gd name="connsiteX9871" fmla="*/ 2737855 w 3009712"/>
                <a:gd name="connsiteY9871" fmla="*/ 3171410 h 4178187"/>
                <a:gd name="connsiteX9872" fmla="*/ 2739428 w 3009712"/>
                <a:gd name="connsiteY9872" fmla="*/ 3168656 h 4178187"/>
                <a:gd name="connsiteX9873" fmla="*/ 2744936 w 3009712"/>
                <a:gd name="connsiteY9873" fmla="*/ 3167475 h 4178187"/>
                <a:gd name="connsiteX9874" fmla="*/ 2744936 w 3009712"/>
                <a:gd name="connsiteY9874" fmla="*/ 3167475 h 4178187"/>
                <a:gd name="connsiteX9875" fmla="*/ 2747297 w 3009712"/>
                <a:gd name="connsiteY9875" fmla="*/ 3167082 h 4178187"/>
                <a:gd name="connsiteX9876" fmla="*/ 2750051 w 3009712"/>
                <a:gd name="connsiteY9876" fmla="*/ 3166689 h 4178187"/>
                <a:gd name="connsiteX9877" fmla="*/ 2752805 w 3009712"/>
                <a:gd name="connsiteY9877" fmla="*/ 3165115 h 4178187"/>
                <a:gd name="connsiteX9878" fmla="*/ 2752805 w 3009712"/>
                <a:gd name="connsiteY9878" fmla="*/ 3165115 h 4178187"/>
                <a:gd name="connsiteX9879" fmla="*/ 2775230 w 3009712"/>
                <a:gd name="connsiteY9879" fmla="*/ 3157246 h 4178187"/>
                <a:gd name="connsiteX9880" fmla="*/ 2776804 w 3009712"/>
                <a:gd name="connsiteY9880" fmla="*/ 3157246 h 4178187"/>
                <a:gd name="connsiteX9881" fmla="*/ 2779558 w 3009712"/>
                <a:gd name="connsiteY9881" fmla="*/ 3156853 h 4178187"/>
                <a:gd name="connsiteX9882" fmla="*/ 2782312 w 3009712"/>
                <a:gd name="connsiteY9882" fmla="*/ 3156066 h 4178187"/>
                <a:gd name="connsiteX9883" fmla="*/ 2785066 w 3009712"/>
                <a:gd name="connsiteY9883" fmla="*/ 3155673 h 4178187"/>
                <a:gd name="connsiteX9884" fmla="*/ 2788213 w 3009712"/>
                <a:gd name="connsiteY9884" fmla="*/ 3155673 h 4178187"/>
                <a:gd name="connsiteX9885" fmla="*/ 2790967 w 3009712"/>
                <a:gd name="connsiteY9885" fmla="*/ 3154886 h 4178187"/>
                <a:gd name="connsiteX9886" fmla="*/ 2791361 w 3009712"/>
                <a:gd name="connsiteY9886" fmla="*/ 3151738 h 4178187"/>
                <a:gd name="connsiteX9887" fmla="*/ 2790967 w 3009712"/>
                <a:gd name="connsiteY9887" fmla="*/ 3151345 h 4178187"/>
                <a:gd name="connsiteX9888" fmla="*/ 2789787 w 3009712"/>
                <a:gd name="connsiteY9888" fmla="*/ 3150952 h 4178187"/>
                <a:gd name="connsiteX9889" fmla="*/ 2789394 w 3009712"/>
                <a:gd name="connsiteY9889" fmla="*/ 3150558 h 4178187"/>
                <a:gd name="connsiteX9890" fmla="*/ 2792148 w 3009712"/>
                <a:gd name="connsiteY9890" fmla="*/ 3151345 h 4178187"/>
                <a:gd name="connsiteX9891" fmla="*/ 2794902 w 3009712"/>
                <a:gd name="connsiteY9891" fmla="*/ 3154099 h 4178187"/>
                <a:gd name="connsiteX9892" fmla="*/ 2797655 w 3009712"/>
                <a:gd name="connsiteY9892" fmla="*/ 3154492 h 4178187"/>
                <a:gd name="connsiteX9893" fmla="*/ 2800803 w 3009712"/>
                <a:gd name="connsiteY9893" fmla="*/ 3154099 h 4178187"/>
                <a:gd name="connsiteX9894" fmla="*/ 2803557 w 3009712"/>
                <a:gd name="connsiteY9894" fmla="*/ 3153705 h 4178187"/>
                <a:gd name="connsiteX9895" fmla="*/ 2806311 w 3009712"/>
                <a:gd name="connsiteY9895" fmla="*/ 3152919 h 4178187"/>
                <a:gd name="connsiteX9896" fmla="*/ 2824802 w 3009712"/>
                <a:gd name="connsiteY9896" fmla="*/ 3154492 h 4178187"/>
                <a:gd name="connsiteX9897" fmla="*/ 2839359 w 3009712"/>
                <a:gd name="connsiteY9897" fmla="*/ 3127739 h 4178187"/>
                <a:gd name="connsiteX9898" fmla="*/ 2840539 w 3009712"/>
                <a:gd name="connsiteY9898" fmla="*/ 3127346 h 4178187"/>
                <a:gd name="connsiteX9899" fmla="*/ 2843293 w 3009712"/>
                <a:gd name="connsiteY9899" fmla="*/ 3126559 h 4178187"/>
                <a:gd name="connsiteX9900" fmla="*/ 2846047 w 3009712"/>
                <a:gd name="connsiteY9900" fmla="*/ 3125379 h 4178187"/>
                <a:gd name="connsiteX9901" fmla="*/ 2849194 w 3009712"/>
                <a:gd name="connsiteY9901" fmla="*/ 3123018 h 4178187"/>
                <a:gd name="connsiteX9902" fmla="*/ 2851949 w 3009712"/>
                <a:gd name="connsiteY9902" fmla="*/ 3121445 h 4178187"/>
                <a:gd name="connsiteX9903" fmla="*/ 2852342 w 3009712"/>
                <a:gd name="connsiteY9903" fmla="*/ 3118691 h 4178187"/>
                <a:gd name="connsiteX9904" fmla="*/ 2851162 w 3009712"/>
                <a:gd name="connsiteY9904" fmla="*/ 3115937 h 4178187"/>
                <a:gd name="connsiteX9905" fmla="*/ 2850768 w 3009712"/>
                <a:gd name="connsiteY9905" fmla="*/ 3112789 h 4178187"/>
                <a:gd name="connsiteX9906" fmla="*/ 2850375 w 3009712"/>
                <a:gd name="connsiteY9906" fmla="*/ 3110035 h 4178187"/>
                <a:gd name="connsiteX9907" fmla="*/ 2850375 w 3009712"/>
                <a:gd name="connsiteY9907" fmla="*/ 3107675 h 4178187"/>
                <a:gd name="connsiteX9908" fmla="*/ 2850768 w 3009712"/>
                <a:gd name="connsiteY9908" fmla="*/ 3099413 h 4178187"/>
                <a:gd name="connsiteX9909" fmla="*/ 2850768 w 3009712"/>
                <a:gd name="connsiteY9909" fmla="*/ 3099019 h 4178187"/>
                <a:gd name="connsiteX9910" fmla="*/ 2850768 w 3009712"/>
                <a:gd name="connsiteY9910" fmla="*/ 3096265 h 4178187"/>
                <a:gd name="connsiteX9911" fmla="*/ 2859817 w 3009712"/>
                <a:gd name="connsiteY9911" fmla="*/ 3080135 h 4178187"/>
                <a:gd name="connsiteX9912" fmla="*/ 2861784 w 3009712"/>
                <a:gd name="connsiteY9912" fmla="*/ 3078168 h 4178187"/>
                <a:gd name="connsiteX9913" fmla="*/ 2863358 w 3009712"/>
                <a:gd name="connsiteY9913" fmla="*/ 3075020 h 4178187"/>
                <a:gd name="connsiteX9914" fmla="*/ 2865718 w 3009712"/>
                <a:gd name="connsiteY9914" fmla="*/ 3072266 h 4178187"/>
                <a:gd name="connsiteX9915" fmla="*/ 2867292 w 3009712"/>
                <a:gd name="connsiteY9915" fmla="*/ 3069512 h 4178187"/>
                <a:gd name="connsiteX9916" fmla="*/ 2868079 w 3009712"/>
                <a:gd name="connsiteY9916" fmla="*/ 3066758 h 4178187"/>
                <a:gd name="connsiteX9917" fmla="*/ 2867686 w 3009712"/>
                <a:gd name="connsiteY9917" fmla="*/ 3066365 h 4178187"/>
                <a:gd name="connsiteX9918" fmla="*/ 2869653 w 3009712"/>
                <a:gd name="connsiteY9918" fmla="*/ 3062824 h 4178187"/>
                <a:gd name="connsiteX9919" fmla="*/ 2870833 w 3009712"/>
                <a:gd name="connsiteY9919" fmla="*/ 3059677 h 4178187"/>
                <a:gd name="connsiteX9920" fmla="*/ 2871226 w 3009712"/>
                <a:gd name="connsiteY9920" fmla="*/ 3056923 h 4178187"/>
                <a:gd name="connsiteX9921" fmla="*/ 2872013 w 3009712"/>
                <a:gd name="connsiteY9921" fmla="*/ 3053775 h 4178187"/>
                <a:gd name="connsiteX9922" fmla="*/ 2872013 w 3009712"/>
                <a:gd name="connsiteY9922" fmla="*/ 3053382 h 4178187"/>
                <a:gd name="connsiteX9923" fmla="*/ 2873193 w 3009712"/>
                <a:gd name="connsiteY9923" fmla="*/ 3050628 h 4178187"/>
                <a:gd name="connsiteX9924" fmla="*/ 2873587 w 3009712"/>
                <a:gd name="connsiteY9924" fmla="*/ 3049841 h 4178187"/>
                <a:gd name="connsiteX9925" fmla="*/ 2875554 w 3009712"/>
                <a:gd name="connsiteY9925" fmla="*/ 3044333 h 4178187"/>
                <a:gd name="connsiteX9926" fmla="*/ 2881062 w 3009712"/>
                <a:gd name="connsiteY9926" fmla="*/ 3041186 h 4178187"/>
                <a:gd name="connsiteX9927" fmla="*/ 2881849 w 3009712"/>
                <a:gd name="connsiteY9927" fmla="*/ 3038432 h 4178187"/>
                <a:gd name="connsiteX9928" fmla="*/ 2883029 w 3009712"/>
                <a:gd name="connsiteY9928" fmla="*/ 3035284 h 4178187"/>
                <a:gd name="connsiteX9929" fmla="*/ 2883816 w 3009712"/>
                <a:gd name="connsiteY9929" fmla="*/ 3032530 h 4178187"/>
                <a:gd name="connsiteX9930" fmla="*/ 2883816 w 3009712"/>
                <a:gd name="connsiteY9930" fmla="*/ 3029776 h 4178187"/>
                <a:gd name="connsiteX9931" fmla="*/ 2883029 w 3009712"/>
                <a:gd name="connsiteY9931" fmla="*/ 3026629 h 4178187"/>
                <a:gd name="connsiteX9932" fmla="*/ 2882636 w 3009712"/>
                <a:gd name="connsiteY9932" fmla="*/ 3023875 h 4178187"/>
                <a:gd name="connsiteX9933" fmla="*/ 2881849 w 3009712"/>
                <a:gd name="connsiteY9933" fmla="*/ 3021121 h 4178187"/>
                <a:gd name="connsiteX9934" fmla="*/ 2881456 w 3009712"/>
                <a:gd name="connsiteY9934" fmla="*/ 3018760 h 4178187"/>
                <a:gd name="connsiteX9935" fmla="*/ 2881849 w 3009712"/>
                <a:gd name="connsiteY9935" fmla="*/ 2996728 h 4178187"/>
                <a:gd name="connsiteX9936" fmla="*/ 2884603 w 3009712"/>
                <a:gd name="connsiteY9936" fmla="*/ 2988860 h 4178187"/>
                <a:gd name="connsiteX9937" fmla="*/ 2886176 w 3009712"/>
                <a:gd name="connsiteY9937" fmla="*/ 2986106 h 4178187"/>
                <a:gd name="connsiteX9938" fmla="*/ 2888144 w 3009712"/>
                <a:gd name="connsiteY9938" fmla="*/ 2983352 h 4178187"/>
                <a:gd name="connsiteX9939" fmla="*/ 2890898 w 3009712"/>
                <a:gd name="connsiteY9939" fmla="*/ 2982172 h 4178187"/>
                <a:gd name="connsiteX9940" fmla="*/ 2893258 w 3009712"/>
                <a:gd name="connsiteY9940" fmla="*/ 2979418 h 4178187"/>
                <a:gd name="connsiteX9941" fmla="*/ 2895619 w 3009712"/>
                <a:gd name="connsiteY9941" fmla="*/ 2976270 h 4178187"/>
                <a:gd name="connsiteX9942" fmla="*/ 2895225 w 3009712"/>
                <a:gd name="connsiteY9942" fmla="*/ 2973516 h 4178187"/>
                <a:gd name="connsiteX9943" fmla="*/ 2894439 w 3009712"/>
                <a:gd name="connsiteY9943" fmla="*/ 2970762 h 4178187"/>
                <a:gd name="connsiteX9944" fmla="*/ 2894439 w 3009712"/>
                <a:gd name="connsiteY9944" fmla="*/ 2967615 h 4178187"/>
                <a:gd name="connsiteX9945" fmla="*/ 2893652 w 3009712"/>
                <a:gd name="connsiteY9945" fmla="*/ 2964861 h 4178187"/>
                <a:gd name="connsiteX9946" fmla="*/ 2893258 w 3009712"/>
                <a:gd name="connsiteY9946" fmla="*/ 2961713 h 4178187"/>
                <a:gd name="connsiteX9947" fmla="*/ 2893258 w 3009712"/>
                <a:gd name="connsiteY9947" fmla="*/ 2958959 h 4178187"/>
                <a:gd name="connsiteX9948" fmla="*/ 2893652 w 3009712"/>
                <a:gd name="connsiteY9948" fmla="*/ 2956206 h 4178187"/>
                <a:gd name="connsiteX9949" fmla="*/ 2894045 w 3009712"/>
                <a:gd name="connsiteY9949" fmla="*/ 2953452 h 4178187"/>
                <a:gd name="connsiteX9950" fmla="*/ 2894439 w 3009712"/>
                <a:gd name="connsiteY9950" fmla="*/ 2950698 h 4178187"/>
                <a:gd name="connsiteX9951" fmla="*/ 2894832 w 3009712"/>
                <a:gd name="connsiteY9951" fmla="*/ 2947550 h 4178187"/>
                <a:gd name="connsiteX9952" fmla="*/ 2894439 w 3009712"/>
                <a:gd name="connsiteY9952" fmla="*/ 2944796 h 4178187"/>
                <a:gd name="connsiteX9953" fmla="*/ 2895225 w 3009712"/>
                <a:gd name="connsiteY9953" fmla="*/ 2942042 h 4178187"/>
                <a:gd name="connsiteX9954" fmla="*/ 2895619 w 3009712"/>
                <a:gd name="connsiteY9954" fmla="*/ 2938895 h 4178187"/>
                <a:gd name="connsiteX9955" fmla="*/ 2895619 w 3009712"/>
                <a:gd name="connsiteY9955" fmla="*/ 2938108 h 4178187"/>
                <a:gd name="connsiteX9956" fmla="*/ 2897193 w 3009712"/>
                <a:gd name="connsiteY9956" fmla="*/ 2931026 h 4178187"/>
                <a:gd name="connsiteX9957" fmla="*/ 2897586 w 3009712"/>
                <a:gd name="connsiteY9957" fmla="*/ 2929846 h 4178187"/>
                <a:gd name="connsiteX9958" fmla="*/ 2897586 w 3009712"/>
                <a:gd name="connsiteY9958" fmla="*/ 2928666 h 4178187"/>
                <a:gd name="connsiteX9959" fmla="*/ 2900733 w 3009712"/>
                <a:gd name="connsiteY9959" fmla="*/ 2912929 h 4178187"/>
                <a:gd name="connsiteX9960" fmla="*/ 2898373 w 3009712"/>
                <a:gd name="connsiteY9960" fmla="*/ 2907027 h 4178187"/>
                <a:gd name="connsiteX9961" fmla="*/ 2894045 w 3009712"/>
                <a:gd name="connsiteY9961" fmla="*/ 2860603 h 4178187"/>
                <a:gd name="connsiteX9962" fmla="*/ 2894045 w 3009712"/>
                <a:gd name="connsiteY9962" fmla="*/ 2859816 h 4178187"/>
                <a:gd name="connsiteX9963" fmla="*/ 2893652 w 3009712"/>
                <a:gd name="connsiteY9963" fmla="*/ 2859029 h 4178187"/>
                <a:gd name="connsiteX9964" fmla="*/ 2894439 w 3009712"/>
                <a:gd name="connsiteY9964" fmla="*/ 2856275 h 4178187"/>
                <a:gd name="connsiteX9965" fmla="*/ 2894832 w 3009712"/>
                <a:gd name="connsiteY9965" fmla="*/ 2853128 h 4178187"/>
                <a:gd name="connsiteX9966" fmla="*/ 2895225 w 3009712"/>
                <a:gd name="connsiteY9966" fmla="*/ 2850374 h 4178187"/>
                <a:gd name="connsiteX9967" fmla="*/ 2895225 w 3009712"/>
                <a:gd name="connsiteY9967" fmla="*/ 2847226 h 4178187"/>
                <a:gd name="connsiteX9968" fmla="*/ 2894045 w 3009712"/>
                <a:gd name="connsiteY9968" fmla="*/ 2850374 h 4178187"/>
                <a:gd name="connsiteX9969" fmla="*/ 2892865 w 3009712"/>
                <a:gd name="connsiteY9969" fmla="*/ 2853128 h 4178187"/>
                <a:gd name="connsiteX9970" fmla="*/ 2893258 w 3009712"/>
                <a:gd name="connsiteY9970" fmla="*/ 2850374 h 4178187"/>
                <a:gd name="connsiteX9971" fmla="*/ 2892471 w 3009712"/>
                <a:gd name="connsiteY9971" fmla="*/ 2849194 h 4178187"/>
                <a:gd name="connsiteX9972" fmla="*/ 2891684 w 3009712"/>
                <a:gd name="connsiteY9972" fmla="*/ 2843292 h 4178187"/>
                <a:gd name="connsiteX9973" fmla="*/ 2892471 w 3009712"/>
                <a:gd name="connsiteY9973" fmla="*/ 2844079 h 4178187"/>
                <a:gd name="connsiteX9974" fmla="*/ 2892865 w 3009712"/>
                <a:gd name="connsiteY9974" fmla="*/ 2841325 h 4178187"/>
                <a:gd name="connsiteX9975" fmla="*/ 2893652 w 3009712"/>
                <a:gd name="connsiteY9975" fmla="*/ 2838571 h 4178187"/>
                <a:gd name="connsiteX9976" fmla="*/ 2892078 w 3009712"/>
                <a:gd name="connsiteY9976" fmla="*/ 2835424 h 4178187"/>
                <a:gd name="connsiteX9977" fmla="*/ 2890898 w 3009712"/>
                <a:gd name="connsiteY9977" fmla="*/ 2832670 h 4178187"/>
                <a:gd name="connsiteX9978" fmla="*/ 2891684 w 3009712"/>
                <a:gd name="connsiteY9978" fmla="*/ 2830309 h 4178187"/>
                <a:gd name="connsiteX9979" fmla="*/ 2891291 w 3009712"/>
                <a:gd name="connsiteY9979" fmla="*/ 2832276 h 4178187"/>
                <a:gd name="connsiteX9980" fmla="*/ 2892471 w 3009712"/>
                <a:gd name="connsiteY9980" fmla="*/ 2835030 h 4178187"/>
                <a:gd name="connsiteX9981" fmla="*/ 2894045 w 3009712"/>
                <a:gd name="connsiteY9981" fmla="*/ 2835424 h 4178187"/>
                <a:gd name="connsiteX9982" fmla="*/ 2894832 w 3009712"/>
                <a:gd name="connsiteY9982" fmla="*/ 2832276 h 4178187"/>
                <a:gd name="connsiteX9983" fmla="*/ 2894832 w 3009712"/>
                <a:gd name="connsiteY9983" fmla="*/ 2829522 h 4178187"/>
                <a:gd name="connsiteX9984" fmla="*/ 2892078 w 3009712"/>
                <a:gd name="connsiteY9984" fmla="*/ 2829522 h 4178187"/>
                <a:gd name="connsiteX9985" fmla="*/ 2892471 w 3009712"/>
                <a:gd name="connsiteY9985" fmla="*/ 2828735 h 4178187"/>
                <a:gd name="connsiteX9986" fmla="*/ 2893258 w 3009712"/>
                <a:gd name="connsiteY9986" fmla="*/ 2829129 h 4178187"/>
                <a:gd name="connsiteX9987" fmla="*/ 2893258 w 3009712"/>
                <a:gd name="connsiteY9987" fmla="*/ 2827555 h 4178187"/>
                <a:gd name="connsiteX9988" fmla="*/ 2894832 w 3009712"/>
                <a:gd name="connsiteY9988" fmla="*/ 2823621 h 4178187"/>
                <a:gd name="connsiteX9989" fmla="*/ 2895225 w 3009712"/>
                <a:gd name="connsiteY9989" fmla="*/ 2822834 h 4178187"/>
                <a:gd name="connsiteX9990" fmla="*/ 2895225 w 3009712"/>
                <a:gd name="connsiteY9990" fmla="*/ 2822441 h 4178187"/>
                <a:gd name="connsiteX9991" fmla="*/ 2897193 w 3009712"/>
                <a:gd name="connsiteY9991" fmla="*/ 2817326 h 4178187"/>
                <a:gd name="connsiteX9992" fmla="*/ 2898766 w 3009712"/>
                <a:gd name="connsiteY9992" fmla="*/ 2814179 h 4178187"/>
                <a:gd name="connsiteX9993" fmla="*/ 2897193 w 3009712"/>
                <a:gd name="connsiteY9993" fmla="*/ 2811031 h 4178187"/>
                <a:gd name="connsiteX9994" fmla="*/ 2895619 w 3009712"/>
                <a:gd name="connsiteY9994" fmla="*/ 2811031 h 4178187"/>
                <a:gd name="connsiteX9995" fmla="*/ 2894045 w 3009712"/>
                <a:gd name="connsiteY9995" fmla="*/ 2808277 h 4178187"/>
                <a:gd name="connsiteX9996" fmla="*/ 2893652 w 3009712"/>
                <a:gd name="connsiteY9996" fmla="*/ 2807490 h 4178187"/>
                <a:gd name="connsiteX9997" fmla="*/ 2896012 w 3009712"/>
                <a:gd name="connsiteY9997" fmla="*/ 2810244 h 4178187"/>
                <a:gd name="connsiteX9998" fmla="*/ 2898766 w 3009712"/>
                <a:gd name="connsiteY9998" fmla="*/ 2808277 h 4178187"/>
                <a:gd name="connsiteX9999" fmla="*/ 2899553 w 3009712"/>
                <a:gd name="connsiteY9999" fmla="*/ 2805130 h 4178187"/>
                <a:gd name="connsiteX10000" fmla="*/ 2899946 w 3009712"/>
                <a:gd name="connsiteY10000" fmla="*/ 2802376 h 4178187"/>
                <a:gd name="connsiteX10001" fmla="*/ 2899946 w 3009712"/>
                <a:gd name="connsiteY10001" fmla="*/ 2802376 h 4178187"/>
                <a:gd name="connsiteX10002" fmla="*/ 2901913 w 3009712"/>
                <a:gd name="connsiteY10002" fmla="*/ 2805523 h 4178187"/>
                <a:gd name="connsiteX10003" fmla="*/ 2904668 w 3009712"/>
                <a:gd name="connsiteY10003" fmla="*/ 2807097 h 4178187"/>
                <a:gd name="connsiteX10004" fmla="*/ 2906241 w 3009712"/>
                <a:gd name="connsiteY10004" fmla="*/ 2809851 h 4178187"/>
                <a:gd name="connsiteX10005" fmla="*/ 2906635 w 3009712"/>
                <a:gd name="connsiteY10005" fmla="*/ 2812998 h 4178187"/>
                <a:gd name="connsiteX10006" fmla="*/ 2905848 w 3009712"/>
                <a:gd name="connsiteY10006" fmla="*/ 2815752 h 4178187"/>
                <a:gd name="connsiteX10007" fmla="*/ 2908995 w 3009712"/>
                <a:gd name="connsiteY10007" fmla="*/ 2815752 h 4178187"/>
                <a:gd name="connsiteX10008" fmla="*/ 2911749 w 3009712"/>
                <a:gd name="connsiteY10008" fmla="*/ 2814179 h 4178187"/>
                <a:gd name="connsiteX10009" fmla="*/ 2914110 w 3009712"/>
                <a:gd name="connsiteY10009" fmla="*/ 2811425 h 4178187"/>
                <a:gd name="connsiteX10010" fmla="*/ 2916077 w 3009712"/>
                <a:gd name="connsiteY10010" fmla="*/ 2808277 h 4178187"/>
                <a:gd name="connsiteX10011" fmla="*/ 2918044 w 3009712"/>
                <a:gd name="connsiteY10011" fmla="*/ 2805523 h 4178187"/>
                <a:gd name="connsiteX10012" fmla="*/ 2920405 w 3009712"/>
                <a:gd name="connsiteY10012" fmla="*/ 2802769 h 4178187"/>
                <a:gd name="connsiteX10013" fmla="*/ 2921978 w 3009712"/>
                <a:gd name="connsiteY10013" fmla="*/ 2800015 h 4178187"/>
                <a:gd name="connsiteX10014" fmla="*/ 2923159 w 3009712"/>
                <a:gd name="connsiteY10014" fmla="*/ 2796868 h 4178187"/>
                <a:gd name="connsiteX10015" fmla="*/ 2925126 w 3009712"/>
                <a:gd name="connsiteY10015" fmla="*/ 2794114 h 4178187"/>
                <a:gd name="connsiteX10016" fmla="*/ 2928667 w 3009712"/>
                <a:gd name="connsiteY10016" fmla="*/ 2788606 h 4178187"/>
                <a:gd name="connsiteX10017" fmla="*/ 2930240 w 3009712"/>
                <a:gd name="connsiteY10017" fmla="*/ 2785458 h 4178187"/>
                <a:gd name="connsiteX10018" fmla="*/ 2931814 w 3009712"/>
                <a:gd name="connsiteY10018" fmla="*/ 2782704 h 4178187"/>
                <a:gd name="connsiteX10019" fmla="*/ 2932994 w 3009712"/>
                <a:gd name="connsiteY10019" fmla="*/ 2779950 h 4178187"/>
                <a:gd name="connsiteX10020" fmla="*/ 2933781 w 3009712"/>
                <a:gd name="connsiteY10020" fmla="*/ 2777197 h 4178187"/>
                <a:gd name="connsiteX10021" fmla="*/ 2934175 w 3009712"/>
                <a:gd name="connsiteY10021" fmla="*/ 2775623 h 4178187"/>
                <a:gd name="connsiteX10022" fmla="*/ 2934961 w 3009712"/>
                <a:gd name="connsiteY10022" fmla="*/ 2774049 h 4178187"/>
                <a:gd name="connsiteX10023" fmla="*/ 2936142 w 3009712"/>
                <a:gd name="connsiteY10023" fmla="*/ 2771295 h 4178187"/>
                <a:gd name="connsiteX10024" fmla="*/ 2937322 w 3009712"/>
                <a:gd name="connsiteY10024" fmla="*/ 2768148 h 4178187"/>
                <a:gd name="connsiteX10025" fmla="*/ 2938896 w 3009712"/>
                <a:gd name="connsiteY10025" fmla="*/ 2765394 h 4178187"/>
                <a:gd name="connsiteX10026" fmla="*/ 2936142 w 3009712"/>
                <a:gd name="connsiteY10026" fmla="*/ 2766574 h 4178187"/>
                <a:gd name="connsiteX10027" fmla="*/ 2936929 w 3009712"/>
                <a:gd name="connsiteY10027" fmla="*/ 2766574 h 4178187"/>
                <a:gd name="connsiteX10028" fmla="*/ 2939289 w 3009712"/>
                <a:gd name="connsiteY10028" fmla="*/ 2763427 h 4178187"/>
                <a:gd name="connsiteX10029" fmla="*/ 2939683 w 3009712"/>
                <a:gd name="connsiteY10029" fmla="*/ 2760673 h 4178187"/>
                <a:gd name="connsiteX10030" fmla="*/ 2941256 w 3009712"/>
                <a:gd name="connsiteY10030" fmla="*/ 2757919 h 4178187"/>
                <a:gd name="connsiteX10031" fmla="*/ 2940469 w 3009712"/>
                <a:gd name="connsiteY10031" fmla="*/ 2761066 h 4178187"/>
                <a:gd name="connsiteX10032" fmla="*/ 2943223 w 3009712"/>
                <a:gd name="connsiteY10032" fmla="*/ 2758706 h 4178187"/>
                <a:gd name="connsiteX10033" fmla="*/ 2945977 w 3009712"/>
                <a:gd name="connsiteY10033" fmla="*/ 2755951 h 4178187"/>
                <a:gd name="connsiteX10034" fmla="*/ 2945977 w 3009712"/>
                <a:gd name="connsiteY10034" fmla="*/ 2752804 h 4178187"/>
                <a:gd name="connsiteX10035" fmla="*/ 2943223 w 3009712"/>
                <a:gd name="connsiteY10035" fmla="*/ 2751230 h 4178187"/>
                <a:gd name="connsiteX10036" fmla="*/ 2942437 w 3009712"/>
                <a:gd name="connsiteY10036" fmla="*/ 2749657 h 4178187"/>
                <a:gd name="connsiteX10037" fmla="*/ 2945584 w 3009712"/>
                <a:gd name="connsiteY10037" fmla="*/ 2752017 h 4178187"/>
                <a:gd name="connsiteX10038" fmla="*/ 2947944 w 3009712"/>
                <a:gd name="connsiteY10038" fmla="*/ 2748870 h 4178187"/>
                <a:gd name="connsiteX10039" fmla="*/ 2948338 w 3009712"/>
                <a:gd name="connsiteY10039" fmla="*/ 2747690 h 4178187"/>
                <a:gd name="connsiteX10040" fmla="*/ 2949125 w 3009712"/>
                <a:gd name="connsiteY10040" fmla="*/ 2744936 h 4178187"/>
                <a:gd name="connsiteX10041" fmla="*/ 2946371 w 3009712"/>
                <a:gd name="connsiteY10041" fmla="*/ 2743362 h 4178187"/>
                <a:gd name="connsiteX10042" fmla="*/ 2946371 w 3009712"/>
                <a:gd name="connsiteY10042" fmla="*/ 2742968 h 4178187"/>
                <a:gd name="connsiteX10043" fmla="*/ 2945977 w 3009712"/>
                <a:gd name="connsiteY10043" fmla="*/ 2741788 h 4178187"/>
                <a:gd name="connsiteX10044" fmla="*/ 2945977 w 3009712"/>
                <a:gd name="connsiteY10044" fmla="*/ 2740608 h 4178187"/>
                <a:gd name="connsiteX10045" fmla="*/ 2949125 w 3009712"/>
                <a:gd name="connsiteY10045" fmla="*/ 2742575 h 4178187"/>
                <a:gd name="connsiteX10046" fmla="*/ 2949125 w 3009712"/>
                <a:gd name="connsiteY10046" fmla="*/ 2745329 h 4178187"/>
                <a:gd name="connsiteX10047" fmla="*/ 2952272 w 3009712"/>
                <a:gd name="connsiteY10047" fmla="*/ 2742968 h 4178187"/>
                <a:gd name="connsiteX10048" fmla="*/ 2954633 w 3009712"/>
                <a:gd name="connsiteY10048" fmla="*/ 2739821 h 4178187"/>
                <a:gd name="connsiteX10049" fmla="*/ 2957780 w 3009712"/>
                <a:gd name="connsiteY10049" fmla="*/ 2737460 h 4178187"/>
                <a:gd name="connsiteX10050" fmla="*/ 2960534 w 3009712"/>
                <a:gd name="connsiteY10050" fmla="*/ 2735100 h 4178187"/>
                <a:gd name="connsiteX10051" fmla="*/ 2963681 w 3009712"/>
                <a:gd name="connsiteY10051" fmla="*/ 2733526 h 4178187"/>
                <a:gd name="connsiteX10052" fmla="*/ 2966436 w 3009712"/>
                <a:gd name="connsiteY10052" fmla="*/ 2732346 h 4178187"/>
                <a:gd name="connsiteX10053" fmla="*/ 2967616 w 3009712"/>
                <a:gd name="connsiteY10053" fmla="*/ 2731953 h 4178187"/>
                <a:gd name="connsiteX10054" fmla="*/ 2975484 w 3009712"/>
                <a:gd name="connsiteY10054" fmla="*/ 2720150 h 4178187"/>
                <a:gd name="connsiteX10055" fmla="*/ 2977845 w 3009712"/>
                <a:gd name="connsiteY10055" fmla="*/ 2717002 h 4178187"/>
                <a:gd name="connsiteX10056" fmla="*/ 2979025 w 3009712"/>
                <a:gd name="connsiteY10056" fmla="*/ 2714642 h 4178187"/>
                <a:gd name="connsiteX10057" fmla="*/ 2980599 w 3009712"/>
                <a:gd name="connsiteY10057" fmla="*/ 2711888 h 4178187"/>
                <a:gd name="connsiteX10058" fmla="*/ 2982566 w 3009712"/>
                <a:gd name="connsiteY10058" fmla="*/ 2709134 h 4178187"/>
                <a:gd name="connsiteX10059" fmla="*/ 2984140 w 3009712"/>
                <a:gd name="connsiteY10059" fmla="*/ 2705986 h 4178187"/>
                <a:gd name="connsiteX10060" fmla="*/ 2982959 w 3009712"/>
                <a:gd name="connsiteY10060" fmla="*/ 2705986 h 4178187"/>
                <a:gd name="connsiteX10061" fmla="*/ 2983746 w 3009712"/>
                <a:gd name="connsiteY10061" fmla="*/ 2704413 h 4178187"/>
                <a:gd name="connsiteX10062" fmla="*/ 2986107 w 3009712"/>
                <a:gd name="connsiteY10062" fmla="*/ 2702839 h 4178187"/>
                <a:gd name="connsiteX10063" fmla="*/ 2986894 w 3009712"/>
                <a:gd name="connsiteY10063" fmla="*/ 2703232 h 4178187"/>
                <a:gd name="connsiteX10064" fmla="*/ 2989254 w 3009712"/>
                <a:gd name="connsiteY10064" fmla="*/ 2699298 h 4178187"/>
                <a:gd name="connsiteX10065" fmla="*/ 2990828 w 3009712"/>
                <a:gd name="connsiteY10065" fmla="*/ 2697331 h 4178187"/>
                <a:gd name="connsiteX10066" fmla="*/ 2992795 w 3009712"/>
                <a:gd name="connsiteY10066" fmla="*/ 2694577 h 4178187"/>
                <a:gd name="connsiteX10067" fmla="*/ 2994369 w 3009712"/>
                <a:gd name="connsiteY10067" fmla="*/ 2691429 h 4178187"/>
                <a:gd name="connsiteX10068" fmla="*/ 2997123 w 3009712"/>
                <a:gd name="connsiteY10068" fmla="*/ 2688676 h 4178187"/>
                <a:gd name="connsiteX10069" fmla="*/ 2998697 w 3009712"/>
                <a:gd name="connsiteY10069" fmla="*/ 2685922 h 4178187"/>
                <a:gd name="connsiteX10070" fmla="*/ 3000270 w 3009712"/>
                <a:gd name="connsiteY10070" fmla="*/ 2682774 h 4178187"/>
                <a:gd name="connsiteX10071" fmla="*/ 3001844 w 3009712"/>
                <a:gd name="connsiteY10071" fmla="*/ 2679627 h 4178187"/>
                <a:gd name="connsiteX10072" fmla="*/ 3002631 w 3009712"/>
                <a:gd name="connsiteY10072" fmla="*/ 2677660 h 4178187"/>
                <a:gd name="connsiteX10073" fmla="*/ 3003418 w 3009712"/>
                <a:gd name="connsiteY10073" fmla="*/ 2674512 h 4178187"/>
                <a:gd name="connsiteX10074" fmla="*/ 3004598 w 3009712"/>
                <a:gd name="connsiteY10074" fmla="*/ 2671758 h 4178187"/>
                <a:gd name="connsiteX10075" fmla="*/ 3004991 w 3009712"/>
                <a:gd name="connsiteY10075" fmla="*/ 2668217 h 4178187"/>
                <a:gd name="connsiteX10076" fmla="*/ 3006565 w 3009712"/>
                <a:gd name="connsiteY10076" fmla="*/ 2665463 h 4178187"/>
                <a:gd name="connsiteX10077" fmla="*/ 3007352 w 3009712"/>
                <a:gd name="connsiteY10077" fmla="*/ 2662316 h 4178187"/>
                <a:gd name="connsiteX10078" fmla="*/ 3006171 w 3009712"/>
                <a:gd name="connsiteY10078" fmla="*/ 2660742 h 4178187"/>
                <a:gd name="connsiteX10079" fmla="*/ 3008532 w 3009712"/>
                <a:gd name="connsiteY10079" fmla="*/ 2657988 h 4178187"/>
                <a:gd name="connsiteX10080" fmla="*/ 3008926 w 3009712"/>
                <a:gd name="connsiteY10080" fmla="*/ 2654448 h 4178187"/>
                <a:gd name="connsiteX10081" fmla="*/ 3009712 w 3009712"/>
                <a:gd name="connsiteY10081" fmla="*/ 2651694 h 4178187"/>
                <a:gd name="connsiteX10082" fmla="*/ 3009712 w 3009712"/>
                <a:gd name="connsiteY10082" fmla="*/ 2650120 h 4178187"/>
                <a:gd name="connsiteX10083" fmla="*/ 3009319 w 3009712"/>
                <a:gd name="connsiteY10083" fmla="*/ 2649726 h 4178187"/>
                <a:gd name="connsiteX10084" fmla="*/ 3009712 w 3009712"/>
                <a:gd name="connsiteY10084" fmla="*/ 2648939 h 4178187"/>
                <a:gd name="connsiteX10085" fmla="*/ 3010106 w 3009712"/>
                <a:gd name="connsiteY10085" fmla="*/ 2649333 h 4178187"/>
                <a:gd name="connsiteX10086" fmla="*/ 3011680 w 3009712"/>
                <a:gd name="connsiteY10086" fmla="*/ 2645792 h 4178187"/>
                <a:gd name="connsiteX10087" fmla="*/ 3011680 w 3009712"/>
                <a:gd name="connsiteY10087" fmla="*/ 2639891 h 4178187"/>
                <a:gd name="connsiteX10088" fmla="*/ 3009712 w 3009712"/>
                <a:gd name="connsiteY10088" fmla="*/ 2637137 h 4178187"/>
                <a:gd name="connsiteX10089" fmla="*/ 3009712 w 3009712"/>
                <a:gd name="connsiteY10089" fmla="*/ 2635170 h 4178187"/>
                <a:gd name="connsiteX10090" fmla="*/ 3010106 w 3009712"/>
                <a:gd name="connsiteY10090" fmla="*/ 2632022 h 4178187"/>
                <a:gd name="connsiteX10091" fmla="*/ 3011286 w 3009712"/>
                <a:gd name="connsiteY10091" fmla="*/ 2629268 h 4178187"/>
                <a:gd name="connsiteX10092" fmla="*/ 3008926 w 3009712"/>
                <a:gd name="connsiteY10092" fmla="*/ 2628875 h 4178187"/>
                <a:gd name="connsiteX10093" fmla="*/ 3008926 w 3009712"/>
                <a:gd name="connsiteY10093" fmla="*/ 2628088 h 4178187"/>
                <a:gd name="connsiteX10094" fmla="*/ 3011286 w 3009712"/>
                <a:gd name="connsiteY10094" fmla="*/ 2624941 h 4178187"/>
                <a:gd name="connsiteX10095" fmla="*/ 3011286 w 3009712"/>
                <a:gd name="connsiteY10095" fmla="*/ 2624547 h 4178187"/>
                <a:gd name="connsiteX10096" fmla="*/ 3011680 w 3009712"/>
                <a:gd name="connsiteY10096" fmla="*/ 2621793 h 4178187"/>
                <a:gd name="connsiteX10097" fmla="*/ 3011286 w 3009712"/>
                <a:gd name="connsiteY10097" fmla="*/ 2618646 h 4178187"/>
                <a:gd name="connsiteX10098" fmla="*/ 3011680 w 3009712"/>
                <a:gd name="connsiteY10098" fmla="*/ 2615498 h 4178187"/>
                <a:gd name="connsiteX10099" fmla="*/ 3011680 w 3009712"/>
                <a:gd name="connsiteY10099" fmla="*/ 2612351 h 4178187"/>
                <a:gd name="connsiteX10100" fmla="*/ 1992312 w 3009712"/>
                <a:gd name="connsiteY10100" fmla="*/ 242351 h 4178187"/>
                <a:gd name="connsiteX10101" fmla="*/ 1990345 w 3009712"/>
                <a:gd name="connsiteY10101" fmla="*/ 243137 h 4178187"/>
                <a:gd name="connsiteX10102" fmla="*/ 1987591 w 3009712"/>
                <a:gd name="connsiteY10102" fmla="*/ 243531 h 4178187"/>
                <a:gd name="connsiteX10103" fmla="*/ 1984836 w 3009712"/>
                <a:gd name="connsiteY10103" fmla="*/ 245105 h 4178187"/>
                <a:gd name="connsiteX10104" fmla="*/ 1981689 w 3009712"/>
                <a:gd name="connsiteY10104" fmla="*/ 245105 h 4178187"/>
                <a:gd name="connsiteX10105" fmla="*/ 1978542 w 3009712"/>
                <a:gd name="connsiteY10105" fmla="*/ 245498 h 4178187"/>
                <a:gd name="connsiteX10106" fmla="*/ 1986017 w 3009712"/>
                <a:gd name="connsiteY10106" fmla="*/ 242744 h 4178187"/>
                <a:gd name="connsiteX10107" fmla="*/ 1987591 w 3009712"/>
                <a:gd name="connsiteY10107" fmla="*/ 242744 h 4178187"/>
                <a:gd name="connsiteX10108" fmla="*/ 1988377 w 3009712"/>
                <a:gd name="connsiteY10108" fmla="*/ 242351 h 4178187"/>
                <a:gd name="connsiteX10109" fmla="*/ 1992312 w 3009712"/>
                <a:gd name="connsiteY10109" fmla="*/ 242351 h 4178187"/>
                <a:gd name="connsiteX10110" fmla="*/ 1984050 w 3009712"/>
                <a:gd name="connsiteY10110" fmla="*/ 243137 h 4178187"/>
                <a:gd name="connsiteX10111" fmla="*/ 1984443 w 3009712"/>
                <a:gd name="connsiteY10111" fmla="*/ 243137 h 4178187"/>
                <a:gd name="connsiteX10112" fmla="*/ 1984836 w 3009712"/>
                <a:gd name="connsiteY10112" fmla="*/ 243137 h 4178187"/>
                <a:gd name="connsiteX10113" fmla="*/ 1984050 w 3009712"/>
                <a:gd name="connsiteY10113" fmla="*/ 243137 h 4178187"/>
                <a:gd name="connsiteX10114" fmla="*/ 1981296 w 3009712"/>
                <a:gd name="connsiteY10114" fmla="*/ 238023 h 4178187"/>
                <a:gd name="connsiteX10115" fmla="*/ 1981296 w 3009712"/>
                <a:gd name="connsiteY10115" fmla="*/ 238023 h 4178187"/>
                <a:gd name="connsiteX10116" fmla="*/ 1980902 w 3009712"/>
                <a:gd name="connsiteY10116" fmla="*/ 238023 h 4178187"/>
                <a:gd name="connsiteX10117" fmla="*/ 1981296 w 3009712"/>
                <a:gd name="connsiteY10117" fmla="*/ 238023 h 4178187"/>
                <a:gd name="connsiteX10118" fmla="*/ 1293193 w 3009712"/>
                <a:gd name="connsiteY10118" fmla="*/ 66882 h 4178187"/>
                <a:gd name="connsiteX10119" fmla="*/ 1291226 w 3009712"/>
                <a:gd name="connsiteY10119" fmla="*/ 69243 h 4178187"/>
                <a:gd name="connsiteX10120" fmla="*/ 1293193 w 3009712"/>
                <a:gd name="connsiteY10120" fmla="*/ 66882 h 4178187"/>
                <a:gd name="connsiteX10121" fmla="*/ 1293193 w 3009712"/>
                <a:gd name="connsiteY10121" fmla="*/ 66882 h 4178187"/>
                <a:gd name="connsiteX10122" fmla="*/ 1987984 w 3009712"/>
                <a:gd name="connsiteY10122" fmla="*/ 1016220 h 4178187"/>
                <a:gd name="connsiteX10123" fmla="*/ 1987197 w 3009712"/>
                <a:gd name="connsiteY10123" fmla="*/ 1016614 h 4178187"/>
                <a:gd name="connsiteX10124" fmla="*/ 1986804 w 3009712"/>
                <a:gd name="connsiteY10124" fmla="*/ 1017007 h 4178187"/>
                <a:gd name="connsiteX10125" fmla="*/ 1986804 w 3009712"/>
                <a:gd name="connsiteY10125" fmla="*/ 1015827 h 4178187"/>
                <a:gd name="connsiteX10126" fmla="*/ 1989558 w 3009712"/>
                <a:gd name="connsiteY10126" fmla="*/ 1014253 h 4178187"/>
                <a:gd name="connsiteX10127" fmla="*/ 1991131 w 3009712"/>
                <a:gd name="connsiteY10127" fmla="*/ 1013860 h 4178187"/>
                <a:gd name="connsiteX10128" fmla="*/ 1988377 w 3009712"/>
                <a:gd name="connsiteY10128" fmla="*/ 1015433 h 4178187"/>
                <a:gd name="connsiteX10129" fmla="*/ 1987984 w 3009712"/>
                <a:gd name="connsiteY10129" fmla="*/ 1016220 h 4178187"/>
                <a:gd name="connsiteX10130" fmla="*/ 1192476 w 3009712"/>
                <a:gd name="connsiteY10130" fmla="*/ 1640194 h 4178187"/>
                <a:gd name="connsiteX10131" fmla="*/ 1192476 w 3009712"/>
                <a:gd name="connsiteY10131" fmla="*/ 1640194 h 4178187"/>
                <a:gd name="connsiteX10132" fmla="*/ 1190902 w 3009712"/>
                <a:gd name="connsiteY10132" fmla="*/ 1642948 h 4178187"/>
                <a:gd name="connsiteX10133" fmla="*/ 1192082 w 3009712"/>
                <a:gd name="connsiteY10133" fmla="*/ 1641375 h 4178187"/>
                <a:gd name="connsiteX10134" fmla="*/ 1190902 w 3009712"/>
                <a:gd name="connsiteY10134" fmla="*/ 1644129 h 4178187"/>
                <a:gd name="connsiteX10135" fmla="*/ 1190902 w 3009712"/>
                <a:gd name="connsiteY10135" fmla="*/ 1645309 h 4178187"/>
                <a:gd name="connsiteX10136" fmla="*/ 1190115 w 3009712"/>
                <a:gd name="connsiteY10136" fmla="*/ 1639801 h 4178187"/>
                <a:gd name="connsiteX10137" fmla="*/ 1186574 w 3009712"/>
                <a:gd name="connsiteY10137" fmla="*/ 1635080 h 4178187"/>
                <a:gd name="connsiteX10138" fmla="*/ 1193656 w 3009712"/>
                <a:gd name="connsiteY10138" fmla="*/ 1638227 h 4178187"/>
                <a:gd name="connsiteX10139" fmla="*/ 1192476 w 3009712"/>
                <a:gd name="connsiteY10139" fmla="*/ 1640194 h 4178187"/>
                <a:gd name="connsiteX10140" fmla="*/ 1663801 w 3009712"/>
                <a:gd name="connsiteY10140" fmla="*/ 1420663 h 4178187"/>
                <a:gd name="connsiteX10141" fmla="*/ 1665374 w 3009712"/>
                <a:gd name="connsiteY10141" fmla="*/ 1417908 h 4178187"/>
                <a:gd name="connsiteX10142" fmla="*/ 1665374 w 3009712"/>
                <a:gd name="connsiteY10142" fmla="*/ 1417122 h 4178187"/>
                <a:gd name="connsiteX10143" fmla="*/ 1665374 w 3009712"/>
                <a:gd name="connsiteY10143" fmla="*/ 1421843 h 4178187"/>
                <a:gd name="connsiteX10144" fmla="*/ 1663801 w 3009712"/>
                <a:gd name="connsiteY10144" fmla="*/ 1420663 h 4178187"/>
                <a:gd name="connsiteX10145" fmla="*/ 1929757 w 3009712"/>
                <a:gd name="connsiteY10145" fmla="*/ 1084283 h 4178187"/>
                <a:gd name="connsiteX10146" fmla="*/ 1930937 w 3009712"/>
                <a:gd name="connsiteY10146" fmla="*/ 1085070 h 4178187"/>
                <a:gd name="connsiteX10147" fmla="*/ 1931724 w 3009712"/>
                <a:gd name="connsiteY10147" fmla="*/ 1087430 h 4178187"/>
                <a:gd name="connsiteX10148" fmla="*/ 1929757 w 3009712"/>
                <a:gd name="connsiteY10148" fmla="*/ 1084283 h 4178187"/>
                <a:gd name="connsiteX10149" fmla="*/ 2332626 w 3009712"/>
                <a:gd name="connsiteY10149" fmla="*/ 740428 h 4178187"/>
                <a:gd name="connsiteX10150" fmla="*/ 2329478 w 3009712"/>
                <a:gd name="connsiteY10150" fmla="*/ 741609 h 4178187"/>
                <a:gd name="connsiteX10151" fmla="*/ 2326724 w 3009712"/>
                <a:gd name="connsiteY10151" fmla="*/ 742396 h 4178187"/>
                <a:gd name="connsiteX10152" fmla="*/ 2323970 w 3009712"/>
                <a:gd name="connsiteY10152" fmla="*/ 742002 h 4178187"/>
                <a:gd name="connsiteX10153" fmla="*/ 2325544 w 3009712"/>
                <a:gd name="connsiteY10153" fmla="*/ 741609 h 4178187"/>
                <a:gd name="connsiteX10154" fmla="*/ 2326331 w 3009712"/>
                <a:gd name="connsiteY10154" fmla="*/ 741609 h 4178187"/>
                <a:gd name="connsiteX10155" fmla="*/ 2333412 w 3009712"/>
                <a:gd name="connsiteY10155" fmla="*/ 740428 h 4178187"/>
                <a:gd name="connsiteX10156" fmla="*/ 2332626 w 3009712"/>
                <a:gd name="connsiteY10156" fmla="*/ 740428 h 4178187"/>
                <a:gd name="connsiteX10157" fmla="*/ 2230728 w 3009712"/>
                <a:gd name="connsiteY10157" fmla="*/ 729806 h 4178187"/>
                <a:gd name="connsiteX10158" fmla="*/ 2229548 w 3009712"/>
                <a:gd name="connsiteY10158" fmla="*/ 729806 h 4178187"/>
                <a:gd name="connsiteX10159" fmla="*/ 2224040 w 3009712"/>
                <a:gd name="connsiteY10159" fmla="*/ 728232 h 4178187"/>
                <a:gd name="connsiteX10160" fmla="*/ 2224040 w 3009712"/>
                <a:gd name="connsiteY10160" fmla="*/ 727839 h 4178187"/>
                <a:gd name="connsiteX10161" fmla="*/ 2233089 w 3009712"/>
                <a:gd name="connsiteY10161" fmla="*/ 729806 h 4178187"/>
                <a:gd name="connsiteX10162" fmla="*/ 2230728 w 3009712"/>
                <a:gd name="connsiteY10162" fmla="*/ 729806 h 4178187"/>
                <a:gd name="connsiteX10163" fmla="*/ 2654842 w 3009712"/>
                <a:gd name="connsiteY10163" fmla="*/ 590926 h 4178187"/>
                <a:gd name="connsiteX10164" fmla="*/ 2657989 w 3009712"/>
                <a:gd name="connsiteY10164" fmla="*/ 591320 h 4178187"/>
                <a:gd name="connsiteX10165" fmla="*/ 2660350 w 3009712"/>
                <a:gd name="connsiteY10165" fmla="*/ 592107 h 4178187"/>
                <a:gd name="connsiteX10166" fmla="*/ 2654055 w 3009712"/>
                <a:gd name="connsiteY10166" fmla="*/ 590926 h 4178187"/>
                <a:gd name="connsiteX10167" fmla="*/ 2654842 w 3009712"/>
                <a:gd name="connsiteY10167" fmla="*/ 590926 h 4178187"/>
                <a:gd name="connsiteX10168" fmla="*/ 2570255 w 3009712"/>
                <a:gd name="connsiteY10168" fmla="*/ 362739 h 4178187"/>
                <a:gd name="connsiteX10169" fmla="*/ 2570255 w 3009712"/>
                <a:gd name="connsiteY10169" fmla="*/ 364313 h 4178187"/>
                <a:gd name="connsiteX10170" fmla="*/ 2570255 w 3009712"/>
                <a:gd name="connsiteY10170" fmla="*/ 362739 h 4178187"/>
                <a:gd name="connsiteX10171" fmla="*/ 2570255 w 3009712"/>
                <a:gd name="connsiteY10171" fmla="*/ 362739 h 4178187"/>
                <a:gd name="connsiteX10172" fmla="*/ 2501405 w 3009712"/>
                <a:gd name="connsiteY10172" fmla="*/ 405623 h 4178187"/>
                <a:gd name="connsiteX10173" fmla="*/ 2502979 w 3009712"/>
                <a:gd name="connsiteY10173" fmla="*/ 404836 h 4178187"/>
                <a:gd name="connsiteX10174" fmla="*/ 2501012 w 3009712"/>
                <a:gd name="connsiteY10174" fmla="*/ 406803 h 4178187"/>
                <a:gd name="connsiteX10175" fmla="*/ 2501405 w 3009712"/>
                <a:gd name="connsiteY10175" fmla="*/ 405623 h 4178187"/>
                <a:gd name="connsiteX10176" fmla="*/ 2410524 w 3009712"/>
                <a:gd name="connsiteY10176" fmla="*/ 424507 h 4178187"/>
                <a:gd name="connsiteX10177" fmla="*/ 2410524 w 3009712"/>
                <a:gd name="connsiteY10177" fmla="*/ 424507 h 4178187"/>
                <a:gd name="connsiteX10178" fmla="*/ 2410524 w 3009712"/>
                <a:gd name="connsiteY10178" fmla="*/ 424507 h 4178187"/>
                <a:gd name="connsiteX10179" fmla="*/ 2410524 w 3009712"/>
                <a:gd name="connsiteY10179" fmla="*/ 424507 h 4178187"/>
                <a:gd name="connsiteX10180" fmla="*/ 1999393 w 3009712"/>
                <a:gd name="connsiteY10180" fmla="*/ 503979 h 4178187"/>
                <a:gd name="connsiteX10181" fmla="*/ 1999393 w 3009712"/>
                <a:gd name="connsiteY10181" fmla="*/ 503979 h 4178187"/>
                <a:gd name="connsiteX10182" fmla="*/ 1999393 w 3009712"/>
                <a:gd name="connsiteY10182" fmla="*/ 503979 h 4178187"/>
                <a:gd name="connsiteX10183" fmla="*/ 1999393 w 3009712"/>
                <a:gd name="connsiteY10183" fmla="*/ 503979 h 4178187"/>
                <a:gd name="connsiteX10184" fmla="*/ 2241744 w 3009712"/>
                <a:gd name="connsiteY10184" fmla="*/ 149502 h 4178187"/>
                <a:gd name="connsiteX10185" fmla="*/ 2241744 w 3009712"/>
                <a:gd name="connsiteY10185" fmla="*/ 149502 h 4178187"/>
                <a:gd name="connsiteX10186" fmla="*/ 2240170 w 3009712"/>
                <a:gd name="connsiteY10186" fmla="*/ 151863 h 4178187"/>
                <a:gd name="connsiteX10187" fmla="*/ 2241744 w 3009712"/>
                <a:gd name="connsiteY10187" fmla="*/ 149502 h 4178187"/>
                <a:gd name="connsiteX10188" fmla="*/ 1986804 w 3009712"/>
                <a:gd name="connsiteY10188" fmla="*/ 150289 h 4178187"/>
                <a:gd name="connsiteX10189" fmla="*/ 1984050 w 3009712"/>
                <a:gd name="connsiteY10189" fmla="*/ 152649 h 4178187"/>
                <a:gd name="connsiteX10190" fmla="*/ 1981296 w 3009712"/>
                <a:gd name="connsiteY10190" fmla="*/ 154223 h 4178187"/>
                <a:gd name="connsiteX10191" fmla="*/ 1979722 w 3009712"/>
                <a:gd name="connsiteY10191" fmla="*/ 155010 h 4178187"/>
                <a:gd name="connsiteX10192" fmla="*/ 1986804 w 3009712"/>
                <a:gd name="connsiteY10192" fmla="*/ 150289 h 4178187"/>
                <a:gd name="connsiteX10193" fmla="*/ 1986804 w 3009712"/>
                <a:gd name="connsiteY10193" fmla="*/ 150289 h 4178187"/>
                <a:gd name="connsiteX10194" fmla="*/ 1711405 w 3009712"/>
                <a:gd name="connsiteY10194" fmla="*/ 140453 h 4178187"/>
                <a:gd name="connsiteX10195" fmla="*/ 1714552 w 3009712"/>
                <a:gd name="connsiteY10195" fmla="*/ 141633 h 4178187"/>
                <a:gd name="connsiteX10196" fmla="*/ 1716520 w 3009712"/>
                <a:gd name="connsiteY10196" fmla="*/ 140847 h 4178187"/>
                <a:gd name="connsiteX10197" fmla="*/ 1712979 w 3009712"/>
                <a:gd name="connsiteY10197" fmla="*/ 143601 h 4178187"/>
                <a:gd name="connsiteX10198" fmla="*/ 1710225 w 3009712"/>
                <a:gd name="connsiteY10198" fmla="*/ 143207 h 4178187"/>
                <a:gd name="connsiteX10199" fmla="*/ 1708651 w 3009712"/>
                <a:gd name="connsiteY10199" fmla="*/ 142027 h 4178187"/>
                <a:gd name="connsiteX10200" fmla="*/ 1708651 w 3009712"/>
                <a:gd name="connsiteY10200" fmla="*/ 138486 h 4178187"/>
                <a:gd name="connsiteX10201" fmla="*/ 1711405 w 3009712"/>
                <a:gd name="connsiteY10201" fmla="*/ 140453 h 4178187"/>
                <a:gd name="connsiteX10202" fmla="*/ 1447022 w 3009712"/>
                <a:gd name="connsiteY10202" fmla="*/ 55473 h 4178187"/>
                <a:gd name="connsiteX10203" fmla="*/ 1445055 w 3009712"/>
                <a:gd name="connsiteY10203" fmla="*/ 55473 h 4178187"/>
                <a:gd name="connsiteX10204" fmla="*/ 1445449 w 3009712"/>
                <a:gd name="connsiteY10204" fmla="*/ 55473 h 4178187"/>
                <a:gd name="connsiteX10205" fmla="*/ 1447022 w 3009712"/>
                <a:gd name="connsiteY10205" fmla="*/ 55473 h 4178187"/>
                <a:gd name="connsiteX10206" fmla="*/ 1438761 w 3009712"/>
                <a:gd name="connsiteY10206" fmla="*/ 55473 h 4178187"/>
                <a:gd name="connsiteX10207" fmla="*/ 1440334 w 3009712"/>
                <a:gd name="connsiteY10207" fmla="*/ 55473 h 4178187"/>
                <a:gd name="connsiteX10208" fmla="*/ 1441121 w 3009712"/>
                <a:gd name="connsiteY10208" fmla="*/ 55473 h 4178187"/>
                <a:gd name="connsiteX10209" fmla="*/ 1443482 w 3009712"/>
                <a:gd name="connsiteY10209" fmla="*/ 55473 h 4178187"/>
                <a:gd name="connsiteX10210" fmla="*/ 1443482 w 3009712"/>
                <a:gd name="connsiteY10210" fmla="*/ 55473 h 4178187"/>
                <a:gd name="connsiteX10211" fmla="*/ 1437974 w 3009712"/>
                <a:gd name="connsiteY10211" fmla="*/ 55473 h 4178187"/>
                <a:gd name="connsiteX10212" fmla="*/ 1438761 w 3009712"/>
                <a:gd name="connsiteY10212" fmla="*/ 55473 h 4178187"/>
                <a:gd name="connsiteX10213" fmla="*/ 1288472 w 3009712"/>
                <a:gd name="connsiteY10213" fmla="*/ 72390 h 4178187"/>
                <a:gd name="connsiteX10214" fmla="*/ 1285718 w 3009712"/>
                <a:gd name="connsiteY10214" fmla="*/ 73571 h 4178187"/>
                <a:gd name="connsiteX10215" fmla="*/ 1288472 w 3009712"/>
                <a:gd name="connsiteY10215" fmla="*/ 72390 h 4178187"/>
                <a:gd name="connsiteX10216" fmla="*/ 1288865 w 3009712"/>
                <a:gd name="connsiteY10216" fmla="*/ 71604 h 4178187"/>
                <a:gd name="connsiteX10217" fmla="*/ 1290832 w 3009712"/>
                <a:gd name="connsiteY10217" fmla="*/ 70817 h 4178187"/>
                <a:gd name="connsiteX10218" fmla="*/ 1288472 w 3009712"/>
                <a:gd name="connsiteY10218" fmla="*/ 72390 h 4178187"/>
                <a:gd name="connsiteX10219" fmla="*/ 868292 w 3009712"/>
                <a:gd name="connsiteY10219" fmla="*/ 483128 h 4178187"/>
                <a:gd name="connsiteX10220" fmla="*/ 867112 w 3009712"/>
                <a:gd name="connsiteY10220" fmla="*/ 484701 h 4178187"/>
                <a:gd name="connsiteX10221" fmla="*/ 865932 w 3009712"/>
                <a:gd name="connsiteY10221" fmla="*/ 485488 h 4178187"/>
                <a:gd name="connsiteX10222" fmla="*/ 867505 w 3009712"/>
                <a:gd name="connsiteY10222" fmla="*/ 483914 h 4178187"/>
                <a:gd name="connsiteX10223" fmla="*/ 868292 w 3009712"/>
                <a:gd name="connsiteY10223" fmla="*/ 483128 h 4178187"/>
                <a:gd name="connsiteX10224" fmla="*/ 851768 w 3009712"/>
                <a:gd name="connsiteY10224" fmla="*/ 501225 h 4178187"/>
                <a:gd name="connsiteX10225" fmla="*/ 850981 w 3009712"/>
                <a:gd name="connsiteY10225" fmla="*/ 502012 h 4178187"/>
                <a:gd name="connsiteX10226" fmla="*/ 849408 w 3009712"/>
                <a:gd name="connsiteY10226" fmla="*/ 503586 h 4178187"/>
                <a:gd name="connsiteX10227" fmla="*/ 849801 w 3009712"/>
                <a:gd name="connsiteY10227" fmla="*/ 503192 h 4178187"/>
                <a:gd name="connsiteX10228" fmla="*/ 851768 w 3009712"/>
                <a:gd name="connsiteY10228" fmla="*/ 501225 h 4178187"/>
                <a:gd name="connsiteX10229" fmla="*/ 706200 w 3009712"/>
                <a:gd name="connsiteY10229" fmla="*/ 40916 h 4178187"/>
                <a:gd name="connsiteX10230" fmla="*/ 699119 w 3009712"/>
                <a:gd name="connsiteY10230" fmla="*/ 45637 h 4178187"/>
                <a:gd name="connsiteX10231" fmla="*/ 702266 w 3009712"/>
                <a:gd name="connsiteY10231" fmla="*/ 43670 h 4178187"/>
                <a:gd name="connsiteX10232" fmla="*/ 704233 w 3009712"/>
                <a:gd name="connsiteY10232" fmla="*/ 42097 h 4178187"/>
                <a:gd name="connsiteX10233" fmla="*/ 706200 w 3009712"/>
                <a:gd name="connsiteY10233" fmla="*/ 40916 h 4178187"/>
                <a:gd name="connsiteX10234" fmla="*/ 706200 w 3009712"/>
                <a:gd name="connsiteY10234" fmla="*/ 40916 h 4178187"/>
                <a:gd name="connsiteX10235" fmla="*/ 690070 w 3009712"/>
                <a:gd name="connsiteY10235" fmla="*/ 42883 h 4178187"/>
                <a:gd name="connsiteX10236" fmla="*/ 687709 w 3009712"/>
                <a:gd name="connsiteY10236" fmla="*/ 43277 h 4178187"/>
                <a:gd name="connsiteX10237" fmla="*/ 684955 w 3009712"/>
                <a:gd name="connsiteY10237" fmla="*/ 43670 h 4178187"/>
                <a:gd name="connsiteX10238" fmla="*/ 690070 w 3009712"/>
                <a:gd name="connsiteY10238" fmla="*/ 42883 h 4178187"/>
                <a:gd name="connsiteX10239" fmla="*/ 306479 w 3009712"/>
                <a:gd name="connsiteY10239" fmla="*/ 260842 h 4178187"/>
                <a:gd name="connsiteX10240" fmla="*/ 306479 w 3009712"/>
                <a:gd name="connsiteY10240" fmla="*/ 260842 h 4178187"/>
                <a:gd name="connsiteX10241" fmla="*/ 302151 w 3009712"/>
                <a:gd name="connsiteY10241" fmla="*/ 262415 h 4178187"/>
                <a:gd name="connsiteX10242" fmla="*/ 303725 w 3009712"/>
                <a:gd name="connsiteY10242" fmla="*/ 261629 h 4178187"/>
                <a:gd name="connsiteX10243" fmla="*/ 306479 w 3009712"/>
                <a:gd name="connsiteY10243" fmla="*/ 260842 h 4178187"/>
                <a:gd name="connsiteX10244" fmla="*/ 254154 w 3009712"/>
                <a:gd name="connsiteY10244" fmla="*/ 333232 h 4178187"/>
                <a:gd name="connsiteX10245" fmla="*/ 250613 w 3009712"/>
                <a:gd name="connsiteY10245" fmla="*/ 334412 h 4178187"/>
                <a:gd name="connsiteX10246" fmla="*/ 247859 w 3009712"/>
                <a:gd name="connsiteY10246" fmla="*/ 334806 h 4178187"/>
                <a:gd name="connsiteX10247" fmla="*/ 244711 w 3009712"/>
                <a:gd name="connsiteY10247" fmla="*/ 335986 h 4178187"/>
                <a:gd name="connsiteX10248" fmla="*/ 241957 w 3009712"/>
                <a:gd name="connsiteY10248" fmla="*/ 337560 h 4178187"/>
                <a:gd name="connsiteX10249" fmla="*/ 238810 w 3009712"/>
                <a:gd name="connsiteY10249" fmla="*/ 339133 h 4178187"/>
                <a:gd name="connsiteX10250" fmla="*/ 236449 w 3009712"/>
                <a:gd name="connsiteY10250" fmla="*/ 340314 h 4178187"/>
                <a:gd name="connsiteX10251" fmla="*/ 245498 w 3009712"/>
                <a:gd name="connsiteY10251" fmla="*/ 334806 h 4178187"/>
                <a:gd name="connsiteX10252" fmla="*/ 248252 w 3009712"/>
                <a:gd name="connsiteY10252" fmla="*/ 334412 h 4178187"/>
                <a:gd name="connsiteX10253" fmla="*/ 251006 w 3009712"/>
                <a:gd name="connsiteY10253" fmla="*/ 331658 h 4178187"/>
                <a:gd name="connsiteX10254" fmla="*/ 250613 w 3009712"/>
                <a:gd name="connsiteY10254" fmla="*/ 334019 h 4178187"/>
                <a:gd name="connsiteX10255" fmla="*/ 253760 w 3009712"/>
                <a:gd name="connsiteY10255" fmla="*/ 333232 h 4178187"/>
                <a:gd name="connsiteX10256" fmla="*/ 256514 w 3009712"/>
                <a:gd name="connsiteY10256" fmla="*/ 332839 h 4178187"/>
                <a:gd name="connsiteX10257" fmla="*/ 254154 w 3009712"/>
                <a:gd name="connsiteY10257" fmla="*/ 333232 h 4178187"/>
                <a:gd name="connsiteX10258" fmla="*/ 278939 w 3009712"/>
                <a:gd name="connsiteY10258" fmla="*/ 388312 h 4178187"/>
                <a:gd name="connsiteX10259" fmla="*/ 279333 w 3009712"/>
                <a:gd name="connsiteY10259" fmla="*/ 385951 h 4178187"/>
                <a:gd name="connsiteX10260" fmla="*/ 280120 w 3009712"/>
                <a:gd name="connsiteY10260" fmla="*/ 388705 h 4178187"/>
                <a:gd name="connsiteX10261" fmla="*/ 278939 w 3009712"/>
                <a:gd name="connsiteY10261" fmla="*/ 388312 h 4178187"/>
                <a:gd name="connsiteX10262" fmla="*/ 181370 w 3009712"/>
                <a:gd name="connsiteY10262" fmla="*/ 453227 h 4178187"/>
                <a:gd name="connsiteX10263" fmla="*/ 184517 w 3009712"/>
                <a:gd name="connsiteY10263" fmla="*/ 452440 h 4178187"/>
                <a:gd name="connsiteX10264" fmla="*/ 181370 w 3009712"/>
                <a:gd name="connsiteY10264" fmla="*/ 453227 h 4178187"/>
                <a:gd name="connsiteX10265" fmla="*/ 178222 w 3009712"/>
                <a:gd name="connsiteY10265" fmla="*/ 454801 h 4178187"/>
                <a:gd name="connsiteX10266" fmla="*/ 181370 w 3009712"/>
                <a:gd name="connsiteY10266" fmla="*/ 453227 h 4178187"/>
                <a:gd name="connsiteX10267" fmla="*/ 613745 w 3009712"/>
                <a:gd name="connsiteY10267" fmla="*/ 315921 h 4178187"/>
                <a:gd name="connsiteX10268" fmla="*/ 610598 w 3009712"/>
                <a:gd name="connsiteY10268" fmla="*/ 317888 h 4178187"/>
                <a:gd name="connsiteX10269" fmla="*/ 609811 w 3009712"/>
                <a:gd name="connsiteY10269" fmla="*/ 318282 h 4178187"/>
                <a:gd name="connsiteX10270" fmla="*/ 614532 w 3009712"/>
                <a:gd name="connsiteY10270" fmla="*/ 315135 h 4178187"/>
                <a:gd name="connsiteX10271" fmla="*/ 613745 w 3009712"/>
                <a:gd name="connsiteY10271" fmla="*/ 315921 h 4178187"/>
                <a:gd name="connsiteX10272" fmla="*/ 847047 w 3009712"/>
                <a:gd name="connsiteY10272" fmla="*/ 505553 h 4178187"/>
                <a:gd name="connsiteX10273" fmla="*/ 844687 w 3009712"/>
                <a:gd name="connsiteY10273" fmla="*/ 506733 h 4178187"/>
                <a:gd name="connsiteX10274" fmla="*/ 849014 w 3009712"/>
                <a:gd name="connsiteY10274" fmla="*/ 504373 h 4178187"/>
                <a:gd name="connsiteX10275" fmla="*/ 848621 w 3009712"/>
                <a:gd name="connsiteY10275" fmla="*/ 504766 h 4178187"/>
                <a:gd name="connsiteX10276" fmla="*/ 847047 w 3009712"/>
                <a:gd name="connsiteY10276" fmla="*/ 505553 h 4178187"/>
                <a:gd name="connsiteX10277" fmla="*/ 824228 w 3009712"/>
                <a:gd name="connsiteY10277" fmla="*/ 538601 h 4178187"/>
                <a:gd name="connsiteX10278" fmla="*/ 821868 w 3009712"/>
                <a:gd name="connsiteY10278" fmla="*/ 538207 h 4178187"/>
                <a:gd name="connsiteX10279" fmla="*/ 825802 w 3009712"/>
                <a:gd name="connsiteY10279" fmla="*/ 537814 h 4178187"/>
                <a:gd name="connsiteX10280" fmla="*/ 826589 w 3009712"/>
                <a:gd name="connsiteY10280" fmla="*/ 537814 h 4178187"/>
                <a:gd name="connsiteX10281" fmla="*/ 828556 w 3009712"/>
                <a:gd name="connsiteY10281" fmla="*/ 537420 h 4178187"/>
                <a:gd name="connsiteX10282" fmla="*/ 824228 w 3009712"/>
                <a:gd name="connsiteY10282" fmla="*/ 538601 h 4178187"/>
                <a:gd name="connsiteX10283" fmla="*/ 824228 w 3009712"/>
                <a:gd name="connsiteY10283" fmla="*/ 538601 h 4178187"/>
                <a:gd name="connsiteX10284" fmla="*/ 825015 w 3009712"/>
                <a:gd name="connsiteY10284" fmla="*/ 765214 h 4178187"/>
                <a:gd name="connsiteX10285" fmla="*/ 826982 w 3009712"/>
                <a:gd name="connsiteY10285" fmla="*/ 764034 h 4178187"/>
                <a:gd name="connsiteX10286" fmla="*/ 825015 w 3009712"/>
                <a:gd name="connsiteY10286" fmla="*/ 765214 h 4178187"/>
                <a:gd name="connsiteX10287" fmla="*/ 825015 w 3009712"/>
                <a:gd name="connsiteY10287" fmla="*/ 765214 h 4178187"/>
                <a:gd name="connsiteX10288" fmla="*/ 825015 w 3009712"/>
                <a:gd name="connsiteY10288" fmla="*/ 765214 h 4178187"/>
                <a:gd name="connsiteX10289" fmla="*/ 824228 w 3009712"/>
                <a:gd name="connsiteY10289" fmla="*/ 765608 h 4178187"/>
                <a:gd name="connsiteX10290" fmla="*/ 825015 w 3009712"/>
                <a:gd name="connsiteY10290" fmla="*/ 765214 h 4178187"/>
                <a:gd name="connsiteX10291" fmla="*/ 856489 w 3009712"/>
                <a:gd name="connsiteY10291" fmla="*/ 736101 h 4178187"/>
                <a:gd name="connsiteX10292" fmla="*/ 858457 w 3009712"/>
                <a:gd name="connsiteY10292" fmla="*/ 734920 h 4178187"/>
                <a:gd name="connsiteX10293" fmla="*/ 856489 w 3009712"/>
                <a:gd name="connsiteY10293" fmla="*/ 736887 h 4178187"/>
                <a:gd name="connsiteX10294" fmla="*/ 856489 w 3009712"/>
                <a:gd name="connsiteY10294" fmla="*/ 736101 h 4178187"/>
                <a:gd name="connsiteX10295" fmla="*/ 852555 w 3009712"/>
                <a:gd name="connsiteY10295" fmla="*/ 739642 h 4178187"/>
                <a:gd name="connsiteX10296" fmla="*/ 854129 w 3009712"/>
                <a:gd name="connsiteY10296" fmla="*/ 736494 h 4178187"/>
                <a:gd name="connsiteX10297" fmla="*/ 853342 w 3009712"/>
                <a:gd name="connsiteY10297" fmla="*/ 733740 h 4178187"/>
                <a:gd name="connsiteX10298" fmla="*/ 856096 w 3009712"/>
                <a:gd name="connsiteY10298" fmla="*/ 731773 h 4178187"/>
                <a:gd name="connsiteX10299" fmla="*/ 858850 w 3009712"/>
                <a:gd name="connsiteY10299" fmla="*/ 731773 h 4178187"/>
                <a:gd name="connsiteX10300" fmla="*/ 858850 w 3009712"/>
                <a:gd name="connsiteY10300" fmla="*/ 729412 h 4178187"/>
                <a:gd name="connsiteX10301" fmla="*/ 860424 w 3009712"/>
                <a:gd name="connsiteY10301" fmla="*/ 729806 h 4178187"/>
                <a:gd name="connsiteX10302" fmla="*/ 861997 w 3009712"/>
                <a:gd name="connsiteY10302" fmla="*/ 731773 h 4178187"/>
                <a:gd name="connsiteX10303" fmla="*/ 859637 w 3009712"/>
                <a:gd name="connsiteY10303" fmla="*/ 734134 h 4178187"/>
                <a:gd name="connsiteX10304" fmla="*/ 858457 w 3009712"/>
                <a:gd name="connsiteY10304" fmla="*/ 733347 h 4178187"/>
                <a:gd name="connsiteX10305" fmla="*/ 855703 w 3009712"/>
                <a:gd name="connsiteY10305" fmla="*/ 735707 h 4178187"/>
                <a:gd name="connsiteX10306" fmla="*/ 856883 w 3009712"/>
                <a:gd name="connsiteY10306" fmla="*/ 737281 h 4178187"/>
                <a:gd name="connsiteX10307" fmla="*/ 854129 w 3009712"/>
                <a:gd name="connsiteY10307" fmla="*/ 740035 h 4178187"/>
                <a:gd name="connsiteX10308" fmla="*/ 852555 w 3009712"/>
                <a:gd name="connsiteY10308" fmla="*/ 739642 h 4178187"/>
                <a:gd name="connsiteX10309" fmla="*/ 842326 w 3009712"/>
                <a:gd name="connsiteY10309" fmla="*/ 750264 h 4178187"/>
                <a:gd name="connsiteX10310" fmla="*/ 843506 w 3009712"/>
                <a:gd name="connsiteY10310" fmla="*/ 750264 h 4178187"/>
                <a:gd name="connsiteX10311" fmla="*/ 841933 w 3009712"/>
                <a:gd name="connsiteY10311" fmla="*/ 751838 h 4178187"/>
                <a:gd name="connsiteX10312" fmla="*/ 842326 w 3009712"/>
                <a:gd name="connsiteY10312" fmla="*/ 750264 h 4178187"/>
                <a:gd name="connsiteX10313" fmla="*/ 839965 w 3009712"/>
                <a:gd name="connsiteY10313" fmla="*/ 753411 h 4178187"/>
                <a:gd name="connsiteX10314" fmla="*/ 837605 w 3009712"/>
                <a:gd name="connsiteY10314" fmla="*/ 755772 h 4178187"/>
                <a:gd name="connsiteX10315" fmla="*/ 838785 w 3009712"/>
                <a:gd name="connsiteY10315" fmla="*/ 753805 h 4178187"/>
                <a:gd name="connsiteX10316" fmla="*/ 839965 w 3009712"/>
                <a:gd name="connsiteY10316" fmla="*/ 753411 h 4178187"/>
                <a:gd name="connsiteX10317" fmla="*/ 830523 w 3009712"/>
                <a:gd name="connsiteY10317" fmla="*/ 760100 h 4178187"/>
                <a:gd name="connsiteX10318" fmla="*/ 830523 w 3009712"/>
                <a:gd name="connsiteY10318" fmla="*/ 760100 h 4178187"/>
                <a:gd name="connsiteX10319" fmla="*/ 830523 w 3009712"/>
                <a:gd name="connsiteY10319" fmla="*/ 760100 h 4178187"/>
                <a:gd name="connsiteX10320" fmla="*/ 830523 w 3009712"/>
                <a:gd name="connsiteY10320" fmla="*/ 760100 h 4178187"/>
                <a:gd name="connsiteX10321" fmla="*/ 1561116 w 3009712"/>
                <a:gd name="connsiteY10321" fmla="*/ 1849104 h 4178187"/>
                <a:gd name="connsiteX10322" fmla="*/ 1561510 w 3009712"/>
                <a:gd name="connsiteY10322" fmla="*/ 1852251 h 4178187"/>
                <a:gd name="connsiteX10323" fmla="*/ 1559149 w 3009712"/>
                <a:gd name="connsiteY10323" fmla="*/ 1848317 h 4178187"/>
                <a:gd name="connsiteX10324" fmla="*/ 1561116 w 3009712"/>
                <a:gd name="connsiteY10324" fmla="*/ 1849104 h 4178187"/>
                <a:gd name="connsiteX10325" fmla="*/ 2892471 w 3009712"/>
                <a:gd name="connsiteY10325" fmla="*/ 2833063 h 4178187"/>
                <a:gd name="connsiteX10326" fmla="*/ 2892078 w 3009712"/>
                <a:gd name="connsiteY10326" fmla="*/ 2834243 h 4178187"/>
                <a:gd name="connsiteX10327" fmla="*/ 2892078 w 3009712"/>
                <a:gd name="connsiteY10327" fmla="*/ 2833850 h 4178187"/>
                <a:gd name="connsiteX10328" fmla="*/ 2892471 w 3009712"/>
                <a:gd name="connsiteY10328" fmla="*/ 2833063 h 4178187"/>
                <a:gd name="connsiteX10329" fmla="*/ 2404623 w 3009712"/>
                <a:gd name="connsiteY10329" fmla="*/ 3498347 h 4178187"/>
                <a:gd name="connsiteX10330" fmla="*/ 2404623 w 3009712"/>
                <a:gd name="connsiteY10330" fmla="*/ 3497953 h 4178187"/>
                <a:gd name="connsiteX10331" fmla="*/ 2405016 w 3009712"/>
                <a:gd name="connsiteY10331" fmla="*/ 3497560 h 4178187"/>
                <a:gd name="connsiteX10332" fmla="*/ 2404623 w 3009712"/>
                <a:gd name="connsiteY10332" fmla="*/ 3498347 h 4178187"/>
                <a:gd name="connsiteX10333" fmla="*/ 2404623 w 3009712"/>
                <a:gd name="connsiteY10333" fmla="*/ 3498347 h 4178187"/>
                <a:gd name="connsiteX10334" fmla="*/ 2403836 w 3009712"/>
                <a:gd name="connsiteY10334" fmla="*/ 3475528 h 4178187"/>
                <a:gd name="connsiteX10335" fmla="*/ 2404229 w 3009712"/>
                <a:gd name="connsiteY10335" fmla="*/ 3477102 h 4178187"/>
                <a:gd name="connsiteX10336" fmla="*/ 2404229 w 3009712"/>
                <a:gd name="connsiteY10336" fmla="*/ 3477495 h 4178187"/>
                <a:gd name="connsiteX10337" fmla="*/ 2403836 w 3009712"/>
                <a:gd name="connsiteY10337" fmla="*/ 3475528 h 4178187"/>
                <a:gd name="connsiteX10338" fmla="*/ 2404623 w 3009712"/>
                <a:gd name="connsiteY10338" fmla="*/ 3479069 h 4178187"/>
                <a:gd name="connsiteX10339" fmla="*/ 2404623 w 3009712"/>
                <a:gd name="connsiteY10339" fmla="*/ 3479463 h 4178187"/>
                <a:gd name="connsiteX10340" fmla="*/ 2404229 w 3009712"/>
                <a:gd name="connsiteY10340" fmla="*/ 3478676 h 4178187"/>
                <a:gd name="connsiteX10341" fmla="*/ 2404623 w 3009712"/>
                <a:gd name="connsiteY10341" fmla="*/ 3479856 h 4178187"/>
                <a:gd name="connsiteX10342" fmla="*/ 2404623 w 3009712"/>
                <a:gd name="connsiteY10342" fmla="*/ 3481430 h 4178187"/>
                <a:gd name="connsiteX10343" fmla="*/ 2404229 w 3009712"/>
                <a:gd name="connsiteY10343" fmla="*/ 3480249 h 4178187"/>
                <a:gd name="connsiteX10344" fmla="*/ 2404229 w 3009712"/>
                <a:gd name="connsiteY10344" fmla="*/ 3479856 h 4178187"/>
                <a:gd name="connsiteX10345" fmla="*/ 2403836 w 3009712"/>
                <a:gd name="connsiteY10345" fmla="*/ 3475528 h 4178187"/>
                <a:gd name="connsiteX10346" fmla="*/ 1708258 w 3009712"/>
                <a:gd name="connsiteY10346" fmla="*/ 2285807 h 4178187"/>
                <a:gd name="connsiteX10347" fmla="*/ 1707471 w 3009712"/>
                <a:gd name="connsiteY10347" fmla="*/ 2285414 h 4178187"/>
                <a:gd name="connsiteX10348" fmla="*/ 1707471 w 3009712"/>
                <a:gd name="connsiteY10348" fmla="*/ 2285414 h 4178187"/>
                <a:gd name="connsiteX10349" fmla="*/ 1708258 w 3009712"/>
                <a:gd name="connsiteY10349" fmla="*/ 2285807 h 4178187"/>
                <a:gd name="connsiteX10350" fmla="*/ 1653571 w 3009712"/>
                <a:gd name="connsiteY10350" fmla="*/ 2446325 h 4178187"/>
                <a:gd name="connsiteX10351" fmla="*/ 1653571 w 3009712"/>
                <a:gd name="connsiteY10351" fmla="*/ 2445145 h 4178187"/>
                <a:gd name="connsiteX10352" fmla="*/ 1653965 w 3009712"/>
                <a:gd name="connsiteY10352" fmla="*/ 2442784 h 4178187"/>
                <a:gd name="connsiteX10353" fmla="*/ 1657506 w 3009712"/>
                <a:gd name="connsiteY10353" fmla="*/ 2439243 h 4178187"/>
                <a:gd name="connsiteX10354" fmla="*/ 1655538 w 3009712"/>
                <a:gd name="connsiteY10354" fmla="*/ 2441997 h 4178187"/>
                <a:gd name="connsiteX10355" fmla="*/ 1654358 w 3009712"/>
                <a:gd name="connsiteY10355" fmla="*/ 2444358 h 4178187"/>
                <a:gd name="connsiteX10356" fmla="*/ 1654358 w 3009712"/>
                <a:gd name="connsiteY10356" fmla="*/ 2444751 h 4178187"/>
                <a:gd name="connsiteX10357" fmla="*/ 1654358 w 3009712"/>
                <a:gd name="connsiteY10357" fmla="*/ 2448292 h 4178187"/>
                <a:gd name="connsiteX10358" fmla="*/ 1653571 w 3009712"/>
                <a:gd name="connsiteY10358" fmla="*/ 2446325 h 4178187"/>
                <a:gd name="connsiteX10359" fmla="*/ 2121356 w 3009712"/>
                <a:gd name="connsiteY10359" fmla="*/ 3968491 h 4178187"/>
                <a:gd name="connsiteX10360" fmla="*/ 2120569 w 3009712"/>
                <a:gd name="connsiteY10360" fmla="*/ 3966918 h 4178187"/>
                <a:gd name="connsiteX10361" fmla="*/ 2121356 w 3009712"/>
                <a:gd name="connsiteY10361" fmla="*/ 3968491 h 4178187"/>
                <a:gd name="connsiteX10362" fmla="*/ 2121356 w 3009712"/>
                <a:gd name="connsiteY10362" fmla="*/ 3968491 h 4178187"/>
                <a:gd name="connsiteX10363" fmla="*/ 2211450 w 3009712"/>
                <a:gd name="connsiteY10363" fmla="*/ 4116026 h 4178187"/>
                <a:gd name="connsiteX10364" fmla="*/ 2208303 w 3009712"/>
                <a:gd name="connsiteY10364" fmla="*/ 4116026 h 4178187"/>
                <a:gd name="connsiteX10365" fmla="*/ 2209877 w 3009712"/>
                <a:gd name="connsiteY10365" fmla="*/ 4113272 h 4178187"/>
                <a:gd name="connsiteX10366" fmla="*/ 2213811 w 3009712"/>
                <a:gd name="connsiteY10366" fmla="*/ 4116813 h 4178187"/>
                <a:gd name="connsiteX10367" fmla="*/ 2211450 w 3009712"/>
                <a:gd name="connsiteY10367" fmla="*/ 4116026 h 4178187"/>
                <a:gd name="connsiteX10368" fmla="*/ 2343642 w 3009712"/>
                <a:gd name="connsiteY10368" fmla="*/ 4143566 h 4178187"/>
                <a:gd name="connsiteX10369" fmla="*/ 2343642 w 3009712"/>
                <a:gd name="connsiteY10369" fmla="*/ 4143566 h 4178187"/>
                <a:gd name="connsiteX10370" fmla="*/ 2341674 w 3009712"/>
                <a:gd name="connsiteY10370" fmla="*/ 4142779 h 4178187"/>
                <a:gd name="connsiteX10371" fmla="*/ 2343642 w 3009712"/>
                <a:gd name="connsiteY10371" fmla="*/ 4143566 h 4178187"/>
                <a:gd name="connsiteX10372" fmla="*/ 2343642 w 3009712"/>
                <a:gd name="connsiteY10372" fmla="*/ 4143566 h 417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  <a:cxn ang="0">
                  <a:pos x="connsiteX4543" y="connsiteY4543"/>
                </a:cxn>
                <a:cxn ang="0">
                  <a:pos x="connsiteX4544" y="connsiteY4544"/>
                </a:cxn>
                <a:cxn ang="0">
                  <a:pos x="connsiteX4545" y="connsiteY4545"/>
                </a:cxn>
                <a:cxn ang="0">
                  <a:pos x="connsiteX4546" y="connsiteY4546"/>
                </a:cxn>
                <a:cxn ang="0">
                  <a:pos x="connsiteX4547" y="connsiteY4547"/>
                </a:cxn>
                <a:cxn ang="0">
                  <a:pos x="connsiteX4548" y="connsiteY4548"/>
                </a:cxn>
                <a:cxn ang="0">
                  <a:pos x="connsiteX4549" y="connsiteY4549"/>
                </a:cxn>
                <a:cxn ang="0">
                  <a:pos x="connsiteX4550" y="connsiteY4550"/>
                </a:cxn>
                <a:cxn ang="0">
                  <a:pos x="connsiteX4551" y="connsiteY4551"/>
                </a:cxn>
                <a:cxn ang="0">
                  <a:pos x="connsiteX4552" y="connsiteY4552"/>
                </a:cxn>
                <a:cxn ang="0">
                  <a:pos x="connsiteX4553" y="connsiteY4553"/>
                </a:cxn>
                <a:cxn ang="0">
                  <a:pos x="connsiteX4554" y="connsiteY4554"/>
                </a:cxn>
                <a:cxn ang="0">
                  <a:pos x="connsiteX4555" y="connsiteY4555"/>
                </a:cxn>
                <a:cxn ang="0">
                  <a:pos x="connsiteX4556" y="connsiteY4556"/>
                </a:cxn>
                <a:cxn ang="0">
                  <a:pos x="connsiteX4557" y="connsiteY4557"/>
                </a:cxn>
                <a:cxn ang="0">
                  <a:pos x="connsiteX4558" y="connsiteY4558"/>
                </a:cxn>
                <a:cxn ang="0">
                  <a:pos x="connsiteX4559" y="connsiteY4559"/>
                </a:cxn>
                <a:cxn ang="0">
                  <a:pos x="connsiteX4560" y="connsiteY4560"/>
                </a:cxn>
                <a:cxn ang="0">
                  <a:pos x="connsiteX4561" y="connsiteY4561"/>
                </a:cxn>
                <a:cxn ang="0">
                  <a:pos x="connsiteX4562" y="connsiteY4562"/>
                </a:cxn>
                <a:cxn ang="0">
                  <a:pos x="connsiteX4563" y="connsiteY4563"/>
                </a:cxn>
                <a:cxn ang="0">
                  <a:pos x="connsiteX4564" y="connsiteY4564"/>
                </a:cxn>
                <a:cxn ang="0">
                  <a:pos x="connsiteX4565" y="connsiteY4565"/>
                </a:cxn>
                <a:cxn ang="0">
                  <a:pos x="connsiteX4566" y="connsiteY4566"/>
                </a:cxn>
                <a:cxn ang="0">
                  <a:pos x="connsiteX4567" y="connsiteY4567"/>
                </a:cxn>
                <a:cxn ang="0">
                  <a:pos x="connsiteX4568" y="connsiteY4568"/>
                </a:cxn>
                <a:cxn ang="0">
                  <a:pos x="connsiteX4569" y="connsiteY4569"/>
                </a:cxn>
                <a:cxn ang="0">
                  <a:pos x="connsiteX4570" y="connsiteY4570"/>
                </a:cxn>
                <a:cxn ang="0">
                  <a:pos x="connsiteX4571" y="connsiteY4571"/>
                </a:cxn>
                <a:cxn ang="0">
                  <a:pos x="connsiteX4572" y="connsiteY4572"/>
                </a:cxn>
                <a:cxn ang="0">
                  <a:pos x="connsiteX4573" y="connsiteY4573"/>
                </a:cxn>
                <a:cxn ang="0">
                  <a:pos x="connsiteX4574" y="connsiteY4574"/>
                </a:cxn>
                <a:cxn ang="0">
                  <a:pos x="connsiteX4575" y="connsiteY4575"/>
                </a:cxn>
                <a:cxn ang="0">
                  <a:pos x="connsiteX4576" y="connsiteY4576"/>
                </a:cxn>
                <a:cxn ang="0">
                  <a:pos x="connsiteX4577" y="connsiteY4577"/>
                </a:cxn>
                <a:cxn ang="0">
                  <a:pos x="connsiteX4578" y="connsiteY4578"/>
                </a:cxn>
                <a:cxn ang="0">
                  <a:pos x="connsiteX4579" y="connsiteY4579"/>
                </a:cxn>
                <a:cxn ang="0">
                  <a:pos x="connsiteX4580" y="connsiteY4580"/>
                </a:cxn>
                <a:cxn ang="0">
                  <a:pos x="connsiteX4581" y="connsiteY4581"/>
                </a:cxn>
                <a:cxn ang="0">
                  <a:pos x="connsiteX4582" y="connsiteY4582"/>
                </a:cxn>
                <a:cxn ang="0">
                  <a:pos x="connsiteX4583" y="connsiteY4583"/>
                </a:cxn>
                <a:cxn ang="0">
                  <a:pos x="connsiteX4584" y="connsiteY4584"/>
                </a:cxn>
                <a:cxn ang="0">
                  <a:pos x="connsiteX4585" y="connsiteY4585"/>
                </a:cxn>
                <a:cxn ang="0">
                  <a:pos x="connsiteX4586" y="connsiteY4586"/>
                </a:cxn>
                <a:cxn ang="0">
                  <a:pos x="connsiteX4587" y="connsiteY4587"/>
                </a:cxn>
                <a:cxn ang="0">
                  <a:pos x="connsiteX4588" y="connsiteY4588"/>
                </a:cxn>
                <a:cxn ang="0">
                  <a:pos x="connsiteX4589" y="connsiteY4589"/>
                </a:cxn>
                <a:cxn ang="0">
                  <a:pos x="connsiteX4590" y="connsiteY4590"/>
                </a:cxn>
                <a:cxn ang="0">
                  <a:pos x="connsiteX4591" y="connsiteY4591"/>
                </a:cxn>
                <a:cxn ang="0">
                  <a:pos x="connsiteX4592" y="connsiteY4592"/>
                </a:cxn>
                <a:cxn ang="0">
                  <a:pos x="connsiteX4593" y="connsiteY4593"/>
                </a:cxn>
                <a:cxn ang="0">
                  <a:pos x="connsiteX4594" y="connsiteY4594"/>
                </a:cxn>
                <a:cxn ang="0">
                  <a:pos x="connsiteX4595" y="connsiteY4595"/>
                </a:cxn>
                <a:cxn ang="0">
                  <a:pos x="connsiteX4596" y="connsiteY4596"/>
                </a:cxn>
                <a:cxn ang="0">
                  <a:pos x="connsiteX4597" y="connsiteY4597"/>
                </a:cxn>
                <a:cxn ang="0">
                  <a:pos x="connsiteX4598" y="connsiteY4598"/>
                </a:cxn>
                <a:cxn ang="0">
                  <a:pos x="connsiteX4599" y="connsiteY4599"/>
                </a:cxn>
                <a:cxn ang="0">
                  <a:pos x="connsiteX4600" y="connsiteY4600"/>
                </a:cxn>
                <a:cxn ang="0">
                  <a:pos x="connsiteX4601" y="connsiteY4601"/>
                </a:cxn>
                <a:cxn ang="0">
                  <a:pos x="connsiteX4602" y="connsiteY4602"/>
                </a:cxn>
                <a:cxn ang="0">
                  <a:pos x="connsiteX4603" y="connsiteY4603"/>
                </a:cxn>
                <a:cxn ang="0">
                  <a:pos x="connsiteX4604" y="connsiteY4604"/>
                </a:cxn>
                <a:cxn ang="0">
                  <a:pos x="connsiteX4605" y="connsiteY4605"/>
                </a:cxn>
                <a:cxn ang="0">
                  <a:pos x="connsiteX4606" y="connsiteY4606"/>
                </a:cxn>
                <a:cxn ang="0">
                  <a:pos x="connsiteX4607" y="connsiteY4607"/>
                </a:cxn>
                <a:cxn ang="0">
                  <a:pos x="connsiteX4608" y="connsiteY4608"/>
                </a:cxn>
                <a:cxn ang="0">
                  <a:pos x="connsiteX4609" y="connsiteY4609"/>
                </a:cxn>
                <a:cxn ang="0">
                  <a:pos x="connsiteX4610" y="connsiteY4610"/>
                </a:cxn>
                <a:cxn ang="0">
                  <a:pos x="connsiteX4611" y="connsiteY4611"/>
                </a:cxn>
                <a:cxn ang="0">
                  <a:pos x="connsiteX4612" y="connsiteY4612"/>
                </a:cxn>
                <a:cxn ang="0">
                  <a:pos x="connsiteX4613" y="connsiteY4613"/>
                </a:cxn>
                <a:cxn ang="0">
                  <a:pos x="connsiteX4614" y="connsiteY4614"/>
                </a:cxn>
                <a:cxn ang="0">
                  <a:pos x="connsiteX4615" y="connsiteY4615"/>
                </a:cxn>
                <a:cxn ang="0">
                  <a:pos x="connsiteX4616" y="connsiteY4616"/>
                </a:cxn>
                <a:cxn ang="0">
                  <a:pos x="connsiteX4617" y="connsiteY4617"/>
                </a:cxn>
                <a:cxn ang="0">
                  <a:pos x="connsiteX4618" y="connsiteY4618"/>
                </a:cxn>
                <a:cxn ang="0">
                  <a:pos x="connsiteX4619" y="connsiteY4619"/>
                </a:cxn>
                <a:cxn ang="0">
                  <a:pos x="connsiteX4620" y="connsiteY4620"/>
                </a:cxn>
                <a:cxn ang="0">
                  <a:pos x="connsiteX4621" y="connsiteY4621"/>
                </a:cxn>
                <a:cxn ang="0">
                  <a:pos x="connsiteX4622" y="connsiteY4622"/>
                </a:cxn>
                <a:cxn ang="0">
                  <a:pos x="connsiteX4623" y="connsiteY4623"/>
                </a:cxn>
                <a:cxn ang="0">
                  <a:pos x="connsiteX4624" y="connsiteY4624"/>
                </a:cxn>
                <a:cxn ang="0">
                  <a:pos x="connsiteX4625" y="connsiteY4625"/>
                </a:cxn>
                <a:cxn ang="0">
                  <a:pos x="connsiteX4626" y="connsiteY4626"/>
                </a:cxn>
                <a:cxn ang="0">
                  <a:pos x="connsiteX4627" y="connsiteY4627"/>
                </a:cxn>
                <a:cxn ang="0">
                  <a:pos x="connsiteX4628" y="connsiteY4628"/>
                </a:cxn>
                <a:cxn ang="0">
                  <a:pos x="connsiteX4629" y="connsiteY4629"/>
                </a:cxn>
                <a:cxn ang="0">
                  <a:pos x="connsiteX4630" y="connsiteY4630"/>
                </a:cxn>
                <a:cxn ang="0">
                  <a:pos x="connsiteX4631" y="connsiteY4631"/>
                </a:cxn>
                <a:cxn ang="0">
                  <a:pos x="connsiteX4632" y="connsiteY4632"/>
                </a:cxn>
                <a:cxn ang="0">
                  <a:pos x="connsiteX4633" y="connsiteY4633"/>
                </a:cxn>
                <a:cxn ang="0">
                  <a:pos x="connsiteX4634" y="connsiteY4634"/>
                </a:cxn>
                <a:cxn ang="0">
                  <a:pos x="connsiteX4635" y="connsiteY4635"/>
                </a:cxn>
                <a:cxn ang="0">
                  <a:pos x="connsiteX4636" y="connsiteY4636"/>
                </a:cxn>
                <a:cxn ang="0">
                  <a:pos x="connsiteX4637" y="connsiteY4637"/>
                </a:cxn>
                <a:cxn ang="0">
                  <a:pos x="connsiteX4638" y="connsiteY4638"/>
                </a:cxn>
                <a:cxn ang="0">
                  <a:pos x="connsiteX4639" y="connsiteY4639"/>
                </a:cxn>
                <a:cxn ang="0">
                  <a:pos x="connsiteX4640" y="connsiteY4640"/>
                </a:cxn>
                <a:cxn ang="0">
                  <a:pos x="connsiteX4641" y="connsiteY4641"/>
                </a:cxn>
                <a:cxn ang="0">
                  <a:pos x="connsiteX4642" y="connsiteY4642"/>
                </a:cxn>
                <a:cxn ang="0">
                  <a:pos x="connsiteX4643" y="connsiteY4643"/>
                </a:cxn>
                <a:cxn ang="0">
                  <a:pos x="connsiteX4644" y="connsiteY4644"/>
                </a:cxn>
                <a:cxn ang="0">
                  <a:pos x="connsiteX4645" y="connsiteY4645"/>
                </a:cxn>
                <a:cxn ang="0">
                  <a:pos x="connsiteX4646" y="connsiteY4646"/>
                </a:cxn>
                <a:cxn ang="0">
                  <a:pos x="connsiteX4647" y="connsiteY4647"/>
                </a:cxn>
                <a:cxn ang="0">
                  <a:pos x="connsiteX4648" y="connsiteY4648"/>
                </a:cxn>
                <a:cxn ang="0">
                  <a:pos x="connsiteX4649" y="connsiteY4649"/>
                </a:cxn>
                <a:cxn ang="0">
                  <a:pos x="connsiteX4650" y="connsiteY4650"/>
                </a:cxn>
                <a:cxn ang="0">
                  <a:pos x="connsiteX4651" y="connsiteY4651"/>
                </a:cxn>
                <a:cxn ang="0">
                  <a:pos x="connsiteX4652" y="connsiteY4652"/>
                </a:cxn>
                <a:cxn ang="0">
                  <a:pos x="connsiteX4653" y="connsiteY4653"/>
                </a:cxn>
                <a:cxn ang="0">
                  <a:pos x="connsiteX4654" y="connsiteY4654"/>
                </a:cxn>
                <a:cxn ang="0">
                  <a:pos x="connsiteX4655" y="connsiteY4655"/>
                </a:cxn>
                <a:cxn ang="0">
                  <a:pos x="connsiteX4656" y="connsiteY4656"/>
                </a:cxn>
                <a:cxn ang="0">
                  <a:pos x="connsiteX4657" y="connsiteY4657"/>
                </a:cxn>
                <a:cxn ang="0">
                  <a:pos x="connsiteX4658" y="connsiteY4658"/>
                </a:cxn>
                <a:cxn ang="0">
                  <a:pos x="connsiteX4659" y="connsiteY4659"/>
                </a:cxn>
                <a:cxn ang="0">
                  <a:pos x="connsiteX4660" y="connsiteY4660"/>
                </a:cxn>
                <a:cxn ang="0">
                  <a:pos x="connsiteX4661" y="connsiteY4661"/>
                </a:cxn>
                <a:cxn ang="0">
                  <a:pos x="connsiteX4662" y="connsiteY4662"/>
                </a:cxn>
                <a:cxn ang="0">
                  <a:pos x="connsiteX4663" y="connsiteY4663"/>
                </a:cxn>
                <a:cxn ang="0">
                  <a:pos x="connsiteX4664" y="connsiteY4664"/>
                </a:cxn>
                <a:cxn ang="0">
                  <a:pos x="connsiteX4665" y="connsiteY4665"/>
                </a:cxn>
                <a:cxn ang="0">
                  <a:pos x="connsiteX4666" y="connsiteY4666"/>
                </a:cxn>
                <a:cxn ang="0">
                  <a:pos x="connsiteX4667" y="connsiteY4667"/>
                </a:cxn>
                <a:cxn ang="0">
                  <a:pos x="connsiteX4668" y="connsiteY4668"/>
                </a:cxn>
                <a:cxn ang="0">
                  <a:pos x="connsiteX4669" y="connsiteY4669"/>
                </a:cxn>
                <a:cxn ang="0">
                  <a:pos x="connsiteX4670" y="connsiteY4670"/>
                </a:cxn>
                <a:cxn ang="0">
                  <a:pos x="connsiteX4671" y="connsiteY4671"/>
                </a:cxn>
                <a:cxn ang="0">
                  <a:pos x="connsiteX4672" y="connsiteY4672"/>
                </a:cxn>
                <a:cxn ang="0">
                  <a:pos x="connsiteX4673" y="connsiteY4673"/>
                </a:cxn>
                <a:cxn ang="0">
                  <a:pos x="connsiteX4674" y="connsiteY4674"/>
                </a:cxn>
                <a:cxn ang="0">
                  <a:pos x="connsiteX4675" y="connsiteY4675"/>
                </a:cxn>
                <a:cxn ang="0">
                  <a:pos x="connsiteX4676" y="connsiteY4676"/>
                </a:cxn>
                <a:cxn ang="0">
                  <a:pos x="connsiteX4677" y="connsiteY4677"/>
                </a:cxn>
                <a:cxn ang="0">
                  <a:pos x="connsiteX4678" y="connsiteY4678"/>
                </a:cxn>
                <a:cxn ang="0">
                  <a:pos x="connsiteX4679" y="connsiteY4679"/>
                </a:cxn>
                <a:cxn ang="0">
                  <a:pos x="connsiteX4680" y="connsiteY4680"/>
                </a:cxn>
                <a:cxn ang="0">
                  <a:pos x="connsiteX4681" y="connsiteY4681"/>
                </a:cxn>
                <a:cxn ang="0">
                  <a:pos x="connsiteX4682" y="connsiteY4682"/>
                </a:cxn>
                <a:cxn ang="0">
                  <a:pos x="connsiteX4683" y="connsiteY4683"/>
                </a:cxn>
                <a:cxn ang="0">
                  <a:pos x="connsiteX4684" y="connsiteY4684"/>
                </a:cxn>
                <a:cxn ang="0">
                  <a:pos x="connsiteX4685" y="connsiteY4685"/>
                </a:cxn>
                <a:cxn ang="0">
                  <a:pos x="connsiteX4686" y="connsiteY4686"/>
                </a:cxn>
                <a:cxn ang="0">
                  <a:pos x="connsiteX4687" y="connsiteY4687"/>
                </a:cxn>
                <a:cxn ang="0">
                  <a:pos x="connsiteX4688" y="connsiteY4688"/>
                </a:cxn>
                <a:cxn ang="0">
                  <a:pos x="connsiteX4689" y="connsiteY4689"/>
                </a:cxn>
                <a:cxn ang="0">
                  <a:pos x="connsiteX4690" y="connsiteY4690"/>
                </a:cxn>
                <a:cxn ang="0">
                  <a:pos x="connsiteX4691" y="connsiteY4691"/>
                </a:cxn>
                <a:cxn ang="0">
                  <a:pos x="connsiteX4692" y="connsiteY4692"/>
                </a:cxn>
                <a:cxn ang="0">
                  <a:pos x="connsiteX4693" y="connsiteY4693"/>
                </a:cxn>
                <a:cxn ang="0">
                  <a:pos x="connsiteX4694" y="connsiteY4694"/>
                </a:cxn>
                <a:cxn ang="0">
                  <a:pos x="connsiteX4695" y="connsiteY4695"/>
                </a:cxn>
                <a:cxn ang="0">
                  <a:pos x="connsiteX4696" y="connsiteY4696"/>
                </a:cxn>
                <a:cxn ang="0">
                  <a:pos x="connsiteX4697" y="connsiteY4697"/>
                </a:cxn>
                <a:cxn ang="0">
                  <a:pos x="connsiteX4698" y="connsiteY4698"/>
                </a:cxn>
                <a:cxn ang="0">
                  <a:pos x="connsiteX4699" y="connsiteY4699"/>
                </a:cxn>
                <a:cxn ang="0">
                  <a:pos x="connsiteX4700" y="connsiteY4700"/>
                </a:cxn>
                <a:cxn ang="0">
                  <a:pos x="connsiteX4701" y="connsiteY4701"/>
                </a:cxn>
                <a:cxn ang="0">
                  <a:pos x="connsiteX4702" y="connsiteY4702"/>
                </a:cxn>
                <a:cxn ang="0">
                  <a:pos x="connsiteX4703" y="connsiteY4703"/>
                </a:cxn>
                <a:cxn ang="0">
                  <a:pos x="connsiteX4704" y="connsiteY4704"/>
                </a:cxn>
                <a:cxn ang="0">
                  <a:pos x="connsiteX4705" y="connsiteY4705"/>
                </a:cxn>
                <a:cxn ang="0">
                  <a:pos x="connsiteX4706" y="connsiteY4706"/>
                </a:cxn>
                <a:cxn ang="0">
                  <a:pos x="connsiteX4707" y="connsiteY4707"/>
                </a:cxn>
                <a:cxn ang="0">
                  <a:pos x="connsiteX4708" y="connsiteY4708"/>
                </a:cxn>
                <a:cxn ang="0">
                  <a:pos x="connsiteX4709" y="connsiteY4709"/>
                </a:cxn>
                <a:cxn ang="0">
                  <a:pos x="connsiteX4710" y="connsiteY4710"/>
                </a:cxn>
                <a:cxn ang="0">
                  <a:pos x="connsiteX4711" y="connsiteY4711"/>
                </a:cxn>
                <a:cxn ang="0">
                  <a:pos x="connsiteX4712" y="connsiteY4712"/>
                </a:cxn>
                <a:cxn ang="0">
                  <a:pos x="connsiteX4713" y="connsiteY4713"/>
                </a:cxn>
                <a:cxn ang="0">
                  <a:pos x="connsiteX4714" y="connsiteY4714"/>
                </a:cxn>
                <a:cxn ang="0">
                  <a:pos x="connsiteX4715" y="connsiteY4715"/>
                </a:cxn>
                <a:cxn ang="0">
                  <a:pos x="connsiteX4716" y="connsiteY4716"/>
                </a:cxn>
                <a:cxn ang="0">
                  <a:pos x="connsiteX4717" y="connsiteY4717"/>
                </a:cxn>
                <a:cxn ang="0">
                  <a:pos x="connsiteX4718" y="connsiteY4718"/>
                </a:cxn>
                <a:cxn ang="0">
                  <a:pos x="connsiteX4719" y="connsiteY4719"/>
                </a:cxn>
                <a:cxn ang="0">
                  <a:pos x="connsiteX4720" y="connsiteY4720"/>
                </a:cxn>
                <a:cxn ang="0">
                  <a:pos x="connsiteX4721" y="connsiteY4721"/>
                </a:cxn>
                <a:cxn ang="0">
                  <a:pos x="connsiteX4722" y="connsiteY4722"/>
                </a:cxn>
                <a:cxn ang="0">
                  <a:pos x="connsiteX4723" y="connsiteY4723"/>
                </a:cxn>
                <a:cxn ang="0">
                  <a:pos x="connsiteX4724" y="connsiteY4724"/>
                </a:cxn>
                <a:cxn ang="0">
                  <a:pos x="connsiteX4725" y="connsiteY4725"/>
                </a:cxn>
                <a:cxn ang="0">
                  <a:pos x="connsiteX4726" y="connsiteY4726"/>
                </a:cxn>
                <a:cxn ang="0">
                  <a:pos x="connsiteX4727" y="connsiteY4727"/>
                </a:cxn>
                <a:cxn ang="0">
                  <a:pos x="connsiteX4728" y="connsiteY4728"/>
                </a:cxn>
                <a:cxn ang="0">
                  <a:pos x="connsiteX4729" y="connsiteY4729"/>
                </a:cxn>
                <a:cxn ang="0">
                  <a:pos x="connsiteX4730" y="connsiteY4730"/>
                </a:cxn>
                <a:cxn ang="0">
                  <a:pos x="connsiteX4731" y="connsiteY4731"/>
                </a:cxn>
                <a:cxn ang="0">
                  <a:pos x="connsiteX4732" y="connsiteY4732"/>
                </a:cxn>
                <a:cxn ang="0">
                  <a:pos x="connsiteX4733" y="connsiteY4733"/>
                </a:cxn>
                <a:cxn ang="0">
                  <a:pos x="connsiteX4734" y="connsiteY4734"/>
                </a:cxn>
                <a:cxn ang="0">
                  <a:pos x="connsiteX4735" y="connsiteY4735"/>
                </a:cxn>
                <a:cxn ang="0">
                  <a:pos x="connsiteX4736" y="connsiteY4736"/>
                </a:cxn>
                <a:cxn ang="0">
                  <a:pos x="connsiteX4737" y="connsiteY4737"/>
                </a:cxn>
                <a:cxn ang="0">
                  <a:pos x="connsiteX4738" y="connsiteY4738"/>
                </a:cxn>
                <a:cxn ang="0">
                  <a:pos x="connsiteX4739" y="connsiteY4739"/>
                </a:cxn>
                <a:cxn ang="0">
                  <a:pos x="connsiteX4740" y="connsiteY4740"/>
                </a:cxn>
                <a:cxn ang="0">
                  <a:pos x="connsiteX4741" y="connsiteY4741"/>
                </a:cxn>
                <a:cxn ang="0">
                  <a:pos x="connsiteX4742" y="connsiteY4742"/>
                </a:cxn>
                <a:cxn ang="0">
                  <a:pos x="connsiteX4743" y="connsiteY4743"/>
                </a:cxn>
                <a:cxn ang="0">
                  <a:pos x="connsiteX4744" y="connsiteY4744"/>
                </a:cxn>
                <a:cxn ang="0">
                  <a:pos x="connsiteX4745" y="connsiteY4745"/>
                </a:cxn>
                <a:cxn ang="0">
                  <a:pos x="connsiteX4746" y="connsiteY4746"/>
                </a:cxn>
                <a:cxn ang="0">
                  <a:pos x="connsiteX4747" y="connsiteY4747"/>
                </a:cxn>
                <a:cxn ang="0">
                  <a:pos x="connsiteX4748" y="connsiteY4748"/>
                </a:cxn>
                <a:cxn ang="0">
                  <a:pos x="connsiteX4749" y="connsiteY4749"/>
                </a:cxn>
                <a:cxn ang="0">
                  <a:pos x="connsiteX4750" y="connsiteY4750"/>
                </a:cxn>
                <a:cxn ang="0">
                  <a:pos x="connsiteX4751" y="connsiteY4751"/>
                </a:cxn>
                <a:cxn ang="0">
                  <a:pos x="connsiteX4752" y="connsiteY4752"/>
                </a:cxn>
                <a:cxn ang="0">
                  <a:pos x="connsiteX4753" y="connsiteY4753"/>
                </a:cxn>
                <a:cxn ang="0">
                  <a:pos x="connsiteX4754" y="connsiteY4754"/>
                </a:cxn>
                <a:cxn ang="0">
                  <a:pos x="connsiteX4755" y="connsiteY4755"/>
                </a:cxn>
                <a:cxn ang="0">
                  <a:pos x="connsiteX4756" y="connsiteY4756"/>
                </a:cxn>
                <a:cxn ang="0">
                  <a:pos x="connsiteX4757" y="connsiteY4757"/>
                </a:cxn>
                <a:cxn ang="0">
                  <a:pos x="connsiteX4758" y="connsiteY4758"/>
                </a:cxn>
                <a:cxn ang="0">
                  <a:pos x="connsiteX4759" y="connsiteY4759"/>
                </a:cxn>
                <a:cxn ang="0">
                  <a:pos x="connsiteX4760" y="connsiteY4760"/>
                </a:cxn>
                <a:cxn ang="0">
                  <a:pos x="connsiteX4761" y="connsiteY4761"/>
                </a:cxn>
                <a:cxn ang="0">
                  <a:pos x="connsiteX4762" y="connsiteY4762"/>
                </a:cxn>
                <a:cxn ang="0">
                  <a:pos x="connsiteX4763" y="connsiteY4763"/>
                </a:cxn>
                <a:cxn ang="0">
                  <a:pos x="connsiteX4764" y="connsiteY4764"/>
                </a:cxn>
                <a:cxn ang="0">
                  <a:pos x="connsiteX4765" y="connsiteY4765"/>
                </a:cxn>
                <a:cxn ang="0">
                  <a:pos x="connsiteX4766" y="connsiteY4766"/>
                </a:cxn>
                <a:cxn ang="0">
                  <a:pos x="connsiteX4767" y="connsiteY4767"/>
                </a:cxn>
                <a:cxn ang="0">
                  <a:pos x="connsiteX4768" y="connsiteY4768"/>
                </a:cxn>
                <a:cxn ang="0">
                  <a:pos x="connsiteX4769" y="connsiteY4769"/>
                </a:cxn>
                <a:cxn ang="0">
                  <a:pos x="connsiteX4770" y="connsiteY4770"/>
                </a:cxn>
                <a:cxn ang="0">
                  <a:pos x="connsiteX4771" y="connsiteY4771"/>
                </a:cxn>
                <a:cxn ang="0">
                  <a:pos x="connsiteX4772" y="connsiteY4772"/>
                </a:cxn>
                <a:cxn ang="0">
                  <a:pos x="connsiteX4773" y="connsiteY4773"/>
                </a:cxn>
                <a:cxn ang="0">
                  <a:pos x="connsiteX4774" y="connsiteY4774"/>
                </a:cxn>
                <a:cxn ang="0">
                  <a:pos x="connsiteX4775" y="connsiteY4775"/>
                </a:cxn>
                <a:cxn ang="0">
                  <a:pos x="connsiteX4776" y="connsiteY4776"/>
                </a:cxn>
                <a:cxn ang="0">
                  <a:pos x="connsiteX4777" y="connsiteY4777"/>
                </a:cxn>
                <a:cxn ang="0">
                  <a:pos x="connsiteX4778" y="connsiteY4778"/>
                </a:cxn>
                <a:cxn ang="0">
                  <a:pos x="connsiteX4779" y="connsiteY4779"/>
                </a:cxn>
                <a:cxn ang="0">
                  <a:pos x="connsiteX4780" y="connsiteY4780"/>
                </a:cxn>
                <a:cxn ang="0">
                  <a:pos x="connsiteX4781" y="connsiteY4781"/>
                </a:cxn>
                <a:cxn ang="0">
                  <a:pos x="connsiteX4782" y="connsiteY4782"/>
                </a:cxn>
                <a:cxn ang="0">
                  <a:pos x="connsiteX4783" y="connsiteY4783"/>
                </a:cxn>
                <a:cxn ang="0">
                  <a:pos x="connsiteX4784" y="connsiteY4784"/>
                </a:cxn>
                <a:cxn ang="0">
                  <a:pos x="connsiteX4785" y="connsiteY4785"/>
                </a:cxn>
                <a:cxn ang="0">
                  <a:pos x="connsiteX4786" y="connsiteY4786"/>
                </a:cxn>
                <a:cxn ang="0">
                  <a:pos x="connsiteX4787" y="connsiteY4787"/>
                </a:cxn>
                <a:cxn ang="0">
                  <a:pos x="connsiteX4788" y="connsiteY4788"/>
                </a:cxn>
                <a:cxn ang="0">
                  <a:pos x="connsiteX4789" y="connsiteY4789"/>
                </a:cxn>
                <a:cxn ang="0">
                  <a:pos x="connsiteX4790" y="connsiteY4790"/>
                </a:cxn>
                <a:cxn ang="0">
                  <a:pos x="connsiteX4791" y="connsiteY4791"/>
                </a:cxn>
                <a:cxn ang="0">
                  <a:pos x="connsiteX4792" y="connsiteY4792"/>
                </a:cxn>
                <a:cxn ang="0">
                  <a:pos x="connsiteX4793" y="connsiteY4793"/>
                </a:cxn>
                <a:cxn ang="0">
                  <a:pos x="connsiteX4794" y="connsiteY4794"/>
                </a:cxn>
                <a:cxn ang="0">
                  <a:pos x="connsiteX4795" y="connsiteY4795"/>
                </a:cxn>
                <a:cxn ang="0">
                  <a:pos x="connsiteX4796" y="connsiteY4796"/>
                </a:cxn>
                <a:cxn ang="0">
                  <a:pos x="connsiteX4797" y="connsiteY4797"/>
                </a:cxn>
                <a:cxn ang="0">
                  <a:pos x="connsiteX4798" y="connsiteY4798"/>
                </a:cxn>
                <a:cxn ang="0">
                  <a:pos x="connsiteX4799" y="connsiteY4799"/>
                </a:cxn>
                <a:cxn ang="0">
                  <a:pos x="connsiteX4800" y="connsiteY4800"/>
                </a:cxn>
                <a:cxn ang="0">
                  <a:pos x="connsiteX4801" y="connsiteY4801"/>
                </a:cxn>
                <a:cxn ang="0">
                  <a:pos x="connsiteX4802" y="connsiteY4802"/>
                </a:cxn>
                <a:cxn ang="0">
                  <a:pos x="connsiteX4803" y="connsiteY4803"/>
                </a:cxn>
                <a:cxn ang="0">
                  <a:pos x="connsiteX4804" y="connsiteY4804"/>
                </a:cxn>
                <a:cxn ang="0">
                  <a:pos x="connsiteX4805" y="connsiteY4805"/>
                </a:cxn>
                <a:cxn ang="0">
                  <a:pos x="connsiteX4806" y="connsiteY4806"/>
                </a:cxn>
                <a:cxn ang="0">
                  <a:pos x="connsiteX4807" y="connsiteY4807"/>
                </a:cxn>
                <a:cxn ang="0">
                  <a:pos x="connsiteX4808" y="connsiteY4808"/>
                </a:cxn>
                <a:cxn ang="0">
                  <a:pos x="connsiteX4809" y="connsiteY4809"/>
                </a:cxn>
                <a:cxn ang="0">
                  <a:pos x="connsiteX4810" y="connsiteY4810"/>
                </a:cxn>
                <a:cxn ang="0">
                  <a:pos x="connsiteX4811" y="connsiteY4811"/>
                </a:cxn>
                <a:cxn ang="0">
                  <a:pos x="connsiteX4812" y="connsiteY4812"/>
                </a:cxn>
                <a:cxn ang="0">
                  <a:pos x="connsiteX4813" y="connsiteY4813"/>
                </a:cxn>
                <a:cxn ang="0">
                  <a:pos x="connsiteX4814" y="connsiteY4814"/>
                </a:cxn>
                <a:cxn ang="0">
                  <a:pos x="connsiteX4815" y="connsiteY4815"/>
                </a:cxn>
                <a:cxn ang="0">
                  <a:pos x="connsiteX4816" y="connsiteY4816"/>
                </a:cxn>
                <a:cxn ang="0">
                  <a:pos x="connsiteX4817" y="connsiteY4817"/>
                </a:cxn>
                <a:cxn ang="0">
                  <a:pos x="connsiteX4818" y="connsiteY4818"/>
                </a:cxn>
                <a:cxn ang="0">
                  <a:pos x="connsiteX4819" y="connsiteY4819"/>
                </a:cxn>
                <a:cxn ang="0">
                  <a:pos x="connsiteX4820" y="connsiteY4820"/>
                </a:cxn>
                <a:cxn ang="0">
                  <a:pos x="connsiteX4821" y="connsiteY4821"/>
                </a:cxn>
                <a:cxn ang="0">
                  <a:pos x="connsiteX4822" y="connsiteY4822"/>
                </a:cxn>
                <a:cxn ang="0">
                  <a:pos x="connsiteX4823" y="connsiteY4823"/>
                </a:cxn>
                <a:cxn ang="0">
                  <a:pos x="connsiteX4824" y="connsiteY4824"/>
                </a:cxn>
                <a:cxn ang="0">
                  <a:pos x="connsiteX4825" y="connsiteY4825"/>
                </a:cxn>
                <a:cxn ang="0">
                  <a:pos x="connsiteX4826" y="connsiteY4826"/>
                </a:cxn>
                <a:cxn ang="0">
                  <a:pos x="connsiteX4827" y="connsiteY4827"/>
                </a:cxn>
                <a:cxn ang="0">
                  <a:pos x="connsiteX4828" y="connsiteY4828"/>
                </a:cxn>
                <a:cxn ang="0">
                  <a:pos x="connsiteX4829" y="connsiteY4829"/>
                </a:cxn>
                <a:cxn ang="0">
                  <a:pos x="connsiteX4830" y="connsiteY4830"/>
                </a:cxn>
                <a:cxn ang="0">
                  <a:pos x="connsiteX4831" y="connsiteY4831"/>
                </a:cxn>
                <a:cxn ang="0">
                  <a:pos x="connsiteX4832" y="connsiteY4832"/>
                </a:cxn>
                <a:cxn ang="0">
                  <a:pos x="connsiteX4833" y="connsiteY4833"/>
                </a:cxn>
                <a:cxn ang="0">
                  <a:pos x="connsiteX4834" y="connsiteY4834"/>
                </a:cxn>
                <a:cxn ang="0">
                  <a:pos x="connsiteX4835" y="connsiteY4835"/>
                </a:cxn>
                <a:cxn ang="0">
                  <a:pos x="connsiteX4836" y="connsiteY4836"/>
                </a:cxn>
                <a:cxn ang="0">
                  <a:pos x="connsiteX4837" y="connsiteY4837"/>
                </a:cxn>
                <a:cxn ang="0">
                  <a:pos x="connsiteX4838" y="connsiteY4838"/>
                </a:cxn>
                <a:cxn ang="0">
                  <a:pos x="connsiteX4839" y="connsiteY4839"/>
                </a:cxn>
                <a:cxn ang="0">
                  <a:pos x="connsiteX4840" y="connsiteY4840"/>
                </a:cxn>
                <a:cxn ang="0">
                  <a:pos x="connsiteX4841" y="connsiteY4841"/>
                </a:cxn>
                <a:cxn ang="0">
                  <a:pos x="connsiteX4842" y="connsiteY4842"/>
                </a:cxn>
                <a:cxn ang="0">
                  <a:pos x="connsiteX4843" y="connsiteY4843"/>
                </a:cxn>
                <a:cxn ang="0">
                  <a:pos x="connsiteX4844" y="connsiteY4844"/>
                </a:cxn>
                <a:cxn ang="0">
                  <a:pos x="connsiteX4845" y="connsiteY4845"/>
                </a:cxn>
                <a:cxn ang="0">
                  <a:pos x="connsiteX4846" y="connsiteY4846"/>
                </a:cxn>
                <a:cxn ang="0">
                  <a:pos x="connsiteX4847" y="connsiteY4847"/>
                </a:cxn>
                <a:cxn ang="0">
                  <a:pos x="connsiteX4848" y="connsiteY4848"/>
                </a:cxn>
                <a:cxn ang="0">
                  <a:pos x="connsiteX4849" y="connsiteY4849"/>
                </a:cxn>
                <a:cxn ang="0">
                  <a:pos x="connsiteX4850" y="connsiteY4850"/>
                </a:cxn>
                <a:cxn ang="0">
                  <a:pos x="connsiteX4851" y="connsiteY4851"/>
                </a:cxn>
                <a:cxn ang="0">
                  <a:pos x="connsiteX4852" y="connsiteY4852"/>
                </a:cxn>
                <a:cxn ang="0">
                  <a:pos x="connsiteX4853" y="connsiteY4853"/>
                </a:cxn>
                <a:cxn ang="0">
                  <a:pos x="connsiteX4854" y="connsiteY4854"/>
                </a:cxn>
                <a:cxn ang="0">
                  <a:pos x="connsiteX4855" y="connsiteY4855"/>
                </a:cxn>
                <a:cxn ang="0">
                  <a:pos x="connsiteX4856" y="connsiteY4856"/>
                </a:cxn>
                <a:cxn ang="0">
                  <a:pos x="connsiteX4857" y="connsiteY4857"/>
                </a:cxn>
                <a:cxn ang="0">
                  <a:pos x="connsiteX4858" y="connsiteY4858"/>
                </a:cxn>
                <a:cxn ang="0">
                  <a:pos x="connsiteX4859" y="connsiteY4859"/>
                </a:cxn>
                <a:cxn ang="0">
                  <a:pos x="connsiteX4860" y="connsiteY4860"/>
                </a:cxn>
                <a:cxn ang="0">
                  <a:pos x="connsiteX4861" y="connsiteY4861"/>
                </a:cxn>
                <a:cxn ang="0">
                  <a:pos x="connsiteX4862" y="connsiteY4862"/>
                </a:cxn>
                <a:cxn ang="0">
                  <a:pos x="connsiteX4863" y="connsiteY4863"/>
                </a:cxn>
                <a:cxn ang="0">
                  <a:pos x="connsiteX4864" y="connsiteY4864"/>
                </a:cxn>
                <a:cxn ang="0">
                  <a:pos x="connsiteX4865" y="connsiteY4865"/>
                </a:cxn>
                <a:cxn ang="0">
                  <a:pos x="connsiteX4866" y="connsiteY4866"/>
                </a:cxn>
                <a:cxn ang="0">
                  <a:pos x="connsiteX4867" y="connsiteY4867"/>
                </a:cxn>
                <a:cxn ang="0">
                  <a:pos x="connsiteX4868" y="connsiteY4868"/>
                </a:cxn>
                <a:cxn ang="0">
                  <a:pos x="connsiteX4869" y="connsiteY4869"/>
                </a:cxn>
                <a:cxn ang="0">
                  <a:pos x="connsiteX4870" y="connsiteY4870"/>
                </a:cxn>
                <a:cxn ang="0">
                  <a:pos x="connsiteX4871" y="connsiteY4871"/>
                </a:cxn>
                <a:cxn ang="0">
                  <a:pos x="connsiteX4872" y="connsiteY4872"/>
                </a:cxn>
                <a:cxn ang="0">
                  <a:pos x="connsiteX4873" y="connsiteY4873"/>
                </a:cxn>
                <a:cxn ang="0">
                  <a:pos x="connsiteX4874" y="connsiteY4874"/>
                </a:cxn>
                <a:cxn ang="0">
                  <a:pos x="connsiteX4875" y="connsiteY4875"/>
                </a:cxn>
                <a:cxn ang="0">
                  <a:pos x="connsiteX4876" y="connsiteY4876"/>
                </a:cxn>
                <a:cxn ang="0">
                  <a:pos x="connsiteX4877" y="connsiteY4877"/>
                </a:cxn>
                <a:cxn ang="0">
                  <a:pos x="connsiteX4878" y="connsiteY4878"/>
                </a:cxn>
                <a:cxn ang="0">
                  <a:pos x="connsiteX4879" y="connsiteY4879"/>
                </a:cxn>
                <a:cxn ang="0">
                  <a:pos x="connsiteX4880" y="connsiteY4880"/>
                </a:cxn>
                <a:cxn ang="0">
                  <a:pos x="connsiteX4881" y="connsiteY4881"/>
                </a:cxn>
                <a:cxn ang="0">
                  <a:pos x="connsiteX4882" y="connsiteY4882"/>
                </a:cxn>
                <a:cxn ang="0">
                  <a:pos x="connsiteX4883" y="connsiteY4883"/>
                </a:cxn>
                <a:cxn ang="0">
                  <a:pos x="connsiteX4884" y="connsiteY4884"/>
                </a:cxn>
                <a:cxn ang="0">
                  <a:pos x="connsiteX4885" y="connsiteY4885"/>
                </a:cxn>
                <a:cxn ang="0">
                  <a:pos x="connsiteX4886" y="connsiteY4886"/>
                </a:cxn>
                <a:cxn ang="0">
                  <a:pos x="connsiteX4887" y="connsiteY4887"/>
                </a:cxn>
                <a:cxn ang="0">
                  <a:pos x="connsiteX4888" y="connsiteY4888"/>
                </a:cxn>
                <a:cxn ang="0">
                  <a:pos x="connsiteX4889" y="connsiteY4889"/>
                </a:cxn>
                <a:cxn ang="0">
                  <a:pos x="connsiteX4890" y="connsiteY4890"/>
                </a:cxn>
                <a:cxn ang="0">
                  <a:pos x="connsiteX4891" y="connsiteY4891"/>
                </a:cxn>
                <a:cxn ang="0">
                  <a:pos x="connsiteX4892" y="connsiteY4892"/>
                </a:cxn>
                <a:cxn ang="0">
                  <a:pos x="connsiteX4893" y="connsiteY4893"/>
                </a:cxn>
                <a:cxn ang="0">
                  <a:pos x="connsiteX4894" y="connsiteY4894"/>
                </a:cxn>
                <a:cxn ang="0">
                  <a:pos x="connsiteX4895" y="connsiteY4895"/>
                </a:cxn>
                <a:cxn ang="0">
                  <a:pos x="connsiteX4896" y="connsiteY4896"/>
                </a:cxn>
                <a:cxn ang="0">
                  <a:pos x="connsiteX4897" y="connsiteY4897"/>
                </a:cxn>
                <a:cxn ang="0">
                  <a:pos x="connsiteX4898" y="connsiteY4898"/>
                </a:cxn>
                <a:cxn ang="0">
                  <a:pos x="connsiteX4899" y="connsiteY4899"/>
                </a:cxn>
                <a:cxn ang="0">
                  <a:pos x="connsiteX4900" y="connsiteY4900"/>
                </a:cxn>
                <a:cxn ang="0">
                  <a:pos x="connsiteX4901" y="connsiteY4901"/>
                </a:cxn>
                <a:cxn ang="0">
                  <a:pos x="connsiteX4902" y="connsiteY4902"/>
                </a:cxn>
                <a:cxn ang="0">
                  <a:pos x="connsiteX4903" y="connsiteY4903"/>
                </a:cxn>
                <a:cxn ang="0">
                  <a:pos x="connsiteX4904" y="connsiteY4904"/>
                </a:cxn>
                <a:cxn ang="0">
                  <a:pos x="connsiteX4905" y="connsiteY4905"/>
                </a:cxn>
                <a:cxn ang="0">
                  <a:pos x="connsiteX4906" y="connsiteY4906"/>
                </a:cxn>
                <a:cxn ang="0">
                  <a:pos x="connsiteX4907" y="connsiteY4907"/>
                </a:cxn>
                <a:cxn ang="0">
                  <a:pos x="connsiteX4908" y="connsiteY4908"/>
                </a:cxn>
                <a:cxn ang="0">
                  <a:pos x="connsiteX4909" y="connsiteY4909"/>
                </a:cxn>
                <a:cxn ang="0">
                  <a:pos x="connsiteX4910" y="connsiteY4910"/>
                </a:cxn>
                <a:cxn ang="0">
                  <a:pos x="connsiteX4911" y="connsiteY4911"/>
                </a:cxn>
                <a:cxn ang="0">
                  <a:pos x="connsiteX4912" y="connsiteY4912"/>
                </a:cxn>
                <a:cxn ang="0">
                  <a:pos x="connsiteX4913" y="connsiteY4913"/>
                </a:cxn>
                <a:cxn ang="0">
                  <a:pos x="connsiteX4914" y="connsiteY4914"/>
                </a:cxn>
                <a:cxn ang="0">
                  <a:pos x="connsiteX4915" y="connsiteY4915"/>
                </a:cxn>
                <a:cxn ang="0">
                  <a:pos x="connsiteX4916" y="connsiteY4916"/>
                </a:cxn>
                <a:cxn ang="0">
                  <a:pos x="connsiteX4917" y="connsiteY4917"/>
                </a:cxn>
                <a:cxn ang="0">
                  <a:pos x="connsiteX4918" y="connsiteY4918"/>
                </a:cxn>
                <a:cxn ang="0">
                  <a:pos x="connsiteX4919" y="connsiteY4919"/>
                </a:cxn>
                <a:cxn ang="0">
                  <a:pos x="connsiteX4920" y="connsiteY4920"/>
                </a:cxn>
                <a:cxn ang="0">
                  <a:pos x="connsiteX4921" y="connsiteY4921"/>
                </a:cxn>
                <a:cxn ang="0">
                  <a:pos x="connsiteX4922" y="connsiteY4922"/>
                </a:cxn>
                <a:cxn ang="0">
                  <a:pos x="connsiteX4923" y="connsiteY4923"/>
                </a:cxn>
                <a:cxn ang="0">
                  <a:pos x="connsiteX4924" y="connsiteY4924"/>
                </a:cxn>
                <a:cxn ang="0">
                  <a:pos x="connsiteX4925" y="connsiteY4925"/>
                </a:cxn>
                <a:cxn ang="0">
                  <a:pos x="connsiteX4926" y="connsiteY4926"/>
                </a:cxn>
                <a:cxn ang="0">
                  <a:pos x="connsiteX4927" y="connsiteY4927"/>
                </a:cxn>
                <a:cxn ang="0">
                  <a:pos x="connsiteX4928" y="connsiteY4928"/>
                </a:cxn>
                <a:cxn ang="0">
                  <a:pos x="connsiteX4929" y="connsiteY4929"/>
                </a:cxn>
                <a:cxn ang="0">
                  <a:pos x="connsiteX4930" y="connsiteY4930"/>
                </a:cxn>
                <a:cxn ang="0">
                  <a:pos x="connsiteX4931" y="connsiteY4931"/>
                </a:cxn>
                <a:cxn ang="0">
                  <a:pos x="connsiteX4932" y="connsiteY4932"/>
                </a:cxn>
                <a:cxn ang="0">
                  <a:pos x="connsiteX4933" y="connsiteY4933"/>
                </a:cxn>
                <a:cxn ang="0">
                  <a:pos x="connsiteX4934" y="connsiteY4934"/>
                </a:cxn>
                <a:cxn ang="0">
                  <a:pos x="connsiteX4935" y="connsiteY4935"/>
                </a:cxn>
                <a:cxn ang="0">
                  <a:pos x="connsiteX4936" y="connsiteY4936"/>
                </a:cxn>
                <a:cxn ang="0">
                  <a:pos x="connsiteX4937" y="connsiteY4937"/>
                </a:cxn>
                <a:cxn ang="0">
                  <a:pos x="connsiteX4938" y="connsiteY4938"/>
                </a:cxn>
                <a:cxn ang="0">
                  <a:pos x="connsiteX4939" y="connsiteY4939"/>
                </a:cxn>
                <a:cxn ang="0">
                  <a:pos x="connsiteX4940" y="connsiteY4940"/>
                </a:cxn>
                <a:cxn ang="0">
                  <a:pos x="connsiteX4941" y="connsiteY4941"/>
                </a:cxn>
                <a:cxn ang="0">
                  <a:pos x="connsiteX4942" y="connsiteY4942"/>
                </a:cxn>
                <a:cxn ang="0">
                  <a:pos x="connsiteX4943" y="connsiteY4943"/>
                </a:cxn>
                <a:cxn ang="0">
                  <a:pos x="connsiteX4944" y="connsiteY4944"/>
                </a:cxn>
                <a:cxn ang="0">
                  <a:pos x="connsiteX4945" y="connsiteY4945"/>
                </a:cxn>
                <a:cxn ang="0">
                  <a:pos x="connsiteX4946" y="connsiteY4946"/>
                </a:cxn>
                <a:cxn ang="0">
                  <a:pos x="connsiteX4947" y="connsiteY4947"/>
                </a:cxn>
                <a:cxn ang="0">
                  <a:pos x="connsiteX4948" y="connsiteY4948"/>
                </a:cxn>
                <a:cxn ang="0">
                  <a:pos x="connsiteX4949" y="connsiteY4949"/>
                </a:cxn>
                <a:cxn ang="0">
                  <a:pos x="connsiteX4950" y="connsiteY4950"/>
                </a:cxn>
                <a:cxn ang="0">
                  <a:pos x="connsiteX4951" y="connsiteY4951"/>
                </a:cxn>
                <a:cxn ang="0">
                  <a:pos x="connsiteX4952" y="connsiteY4952"/>
                </a:cxn>
                <a:cxn ang="0">
                  <a:pos x="connsiteX4953" y="connsiteY4953"/>
                </a:cxn>
                <a:cxn ang="0">
                  <a:pos x="connsiteX4954" y="connsiteY4954"/>
                </a:cxn>
                <a:cxn ang="0">
                  <a:pos x="connsiteX4955" y="connsiteY4955"/>
                </a:cxn>
                <a:cxn ang="0">
                  <a:pos x="connsiteX4956" y="connsiteY4956"/>
                </a:cxn>
                <a:cxn ang="0">
                  <a:pos x="connsiteX4957" y="connsiteY4957"/>
                </a:cxn>
                <a:cxn ang="0">
                  <a:pos x="connsiteX4958" y="connsiteY4958"/>
                </a:cxn>
                <a:cxn ang="0">
                  <a:pos x="connsiteX4959" y="connsiteY4959"/>
                </a:cxn>
                <a:cxn ang="0">
                  <a:pos x="connsiteX4960" y="connsiteY4960"/>
                </a:cxn>
                <a:cxn ang="0">
                  <a:pos x="connsiteX4961" y="connsiteY4961"/>
                </a:cxn>
                <a:cxn ang="0">
                  <a:pos x="connsiteX4962" y="connsiteY4962"/>
                </a:cxn>
                <a:cxn ang="0">
                  <a:pos x="connsiteX4963" y="connsiteY4963"/>
                </a:cxn>
                <a:cxn ang="0">
                  <a:pos x="connsiteX4964" y="connsiteY4964"/>
                </a:cxn>
                <a:cxn ang="0">
                  <a:pos x="connsiteX4965" y="connsiteY4965"/>
                </a:cxn>
                <a:cxn ang="0">
                  <a:pos x="connsiteX4966" y="connsiteY4966"/>
                </a:cxn>
                <a:cxn ang="0">
                  <a:pos x="connsiteX4967" y="connsiteY4967"/>
                </a:cxn>
                <a:cxn ang="0">
                  <a:pos x="connsiteX4968" y="connsiteY4968"/>
                </a:cxn>
                <a:cxn ang="0">
                  <a:pos x="connsiteX4969" y="connsiteY4969"/>
                </a:cxn>
                <a:cxn ang="0">
                  <a:pos x="connsiteX4970" y="connsiteY4970"/>
                </a:cxn>
                <a:cxn ang="0">
                  <a:pos x="connsiteX4971" y="connsiteY4971"/>
                </a:cxn>
                <a:cxn ang="0">
                  <a:pos x="connsiteX4972" y="connsiteY4972"/>
                </a:cxn>
                <a:cxn ang="0">
                  <a:pos x="connsiteX4973" y="connsiteY4973"/>
                </a:cxn>
                <a:cxn ang="0">
                  <a:pos x="connsiteX4974" y="connsiteY4974"/>
                </a:cxn>
                <a:cxn ang="0">
                  <a:pos x="connsiteX4975" y="connsiteY4975"/>
                </a:cxn>
                <a:cxn ang="0">
                  <a:pos x="connsiteX4976" y="connsiteY4976"/>
                </a:cxn>
                <a:cxn ang="0">
                  <a:pos x="connsiteX4977" y="connsiteY4977"/>
                </a:cxn>
                <a:cxn ang="0">
                  <a:pos x="connsiteX4978" y="connsiteY4978"/>
                </a:cxn>
                <a:cxn ang="0">
                  <a:pos x="connsiteX4979" y="connsiteY4979"/>
                </a:cxn>
                <a:cxn ang="0">
                  <a:pos x="connsiteX4980" y="connsiteY4980"/>
                </a:cxn>
                <a:cxn ang="0">
                  <a:pos x="connsiteX4981" y="connsiteY4981"/>
                </a:cxn>
                <a:cxn ang="0">
                  <a:pos x="connsiteX4982" y="connsiteY4982"/>
                </a:cxn>
                <a:cxn ang="0">
                  <a:pos x="connsiteX4983" y="connsiteY4983"/>
                </a:cxn>
                <a:cxn ang="0">
                  <a:pos x="connsiteX4984" y="connsiteY4984"/>
                </a:cxn>
                <a:cxn ang="0">
                  <a:pos x="connsiteX4985" y="connsiteY4985"/>
                </a:cxn>
                <a:cxn ang="0">
                  <a:pos x="connsiteX4986" y="connsiteY4986"/>
                </a:cxn>
                <a:cxn ang="0">
                  <a:pos x="connsiteX4987" y="connsiteY4987"/>
                </a:cxn>
                <a:cxn ang="0">
                  <a:pos x="connsiteX4988" y="connsiteY4988"/>
                </a:cxn>
                <a:cxn ang="0">
                  <a:pos x="connsiteX4989" y="connsiteY4989"/>
                </a:cxn>
                <a:cxn ang="0">
                  <a:pos x="connsiteX4990" y="connsiteY4990"/>
                </a:cxn>
                <a:cxn ang="0">
                  <a:pos x="connsiteX4991" y="connsiteY4991"/>
                </a:cxn>
                <a:cxn ang="0">
                  <a:pos x="connsiteX4992" y="connsiteY4992"/>
                </a:cxn>
                <a:cxn ang="0">
                  <a:pos x="connsiteX4993" y="connsiteY4993"/>
                </a:cxn>
                <a:cxn ang="0">
                  <a:pos x="connsiteX4994" y="connsiteY4994"/>
                </a:cxn>
                <a:cxn ang="0">
                  <a:pos x="connsiteX4995" y="connsiteY4995"/>
                </a:cxn>
                <a:cxn ang="0">
                  <a:pos x="connsiteX4996" y="connsiteY4996"/>
                </a:cxn>
                <a:cxn ang="0">
                  <a:pos x="connsiteX4997" y="connsiteY4997"/>
                </a:cxn>
                <a:cxn ang="0">
                  <a:pos x="connsiteX4998" y="connsiteY4998"/>
                </a:cxn>
                <a:cxn ang="0">
                  <a:pos x="connsiteX4999" y="connsiteY4999"/>
                </a:cxn>
                <a:cxn ang="0">
                  <a:pos x="connsiteX5000" y="connsiteY5000"/>
                </a:cxn>
                <a:cxn ang="0">
                  <a:pos x="connsiteX5001" y="connsiteY5001"/>
                </a:cxn>
                <a:cxn ang="0">
                  <a:pos x="connsiteX5002" y="connsiteY5002"/>
                </a:cxn>
                <a:cxn ang="0">
                  <a:pos x="connsiteX5003" y="connsiteY5003"/>
                </a:cxn>
                <a:cxn ang="0">
                  <a:pos x="connsiteX5004" y="connsiteY5004"/>
                </a:cxn>
                <a:cxn ang="0">
                  <a:pos x="connsiteX5005" y="connsiteY5005"/>
                </a:cxn>
                <a:cxn ang="0">
                  <a:pos x="connsiteX5006" y="connsiteY5006"/>
                </a:cxn>
                <a:cxn ang="0">
                  <a:pos x="connsiteX5007" y="connsiteY5007"/>
                </a:cxn>
                <a:cxn ang="0">
                  <a:pos x="connsiteX5008" y="connsiteY5008"/>
                </a:cxn>
                <a:cxn ang="0">
                  <a:pos x="connsiteX5009" y="connsiteY5009"/>
                </a:cxn>
                <a:cxn ang="0">
                  <a:pos x="connsiteX5010" y="connsiteY5010"/>
                </a:cxn>
                <a:cxn ang="0">
                  <a:pos x="connsiteX5011" y="connsiteY5011"/>
                </a:cxn>
                <a:cxn ang="0">
                  <a:pos x="connsiteX5012" y="connsiteY5012"/>
                </a:cxn>
                <a:cxn ang="0">
                  <a:pos x="connsiteX5013" y="connsiteY5013"/>
                </a:cxn>
                <a:cxn ang="0">
                  <a:pos x="connsiteX5014" y="connsiteY5014"/>
                </a:cxn>
                <a:cxn ang="0">
                  <a:pos x="connsiteX5015" y="connsiteY5015"/>
                </a:cxn>
                <a:cxn ang="0">
                  <a:pos x="connsiteX5016" y="connsiteY5016"/>
                </a:cxn>
                <a:cxn ang="0">
                  <a:pos x="connsiteX5017" y="connsiteY5017"/>
                </a:cxn>
                <a:cxn ang="0">
                  <a:pos x="connsiteX5018" y="connsiteY5018"/>
                </a:cxn>
                <a:cxn ang="0">
                  <a:pos x="connsiteX5019" y="connsiteY5019"/>
                </a:cxn>
                <a:cxn ang="0">
                  <a:pos x="connsiteX5020" y="connsiteY5020"/>
                </a:cxn>
                <a:cxn ang="0">
                  <a:pos x="connsiteX5021" y="connsiteY5021"/>
                </a:cxn>
                <a:cxn ang="0">
                  <a:pos x="connsiteX5022" y="connsiteY5022"/>
                </a:cxn>
                <a:cxn ang="0">
                  <a:pos x="connsiteX5023" y="connsiteY5023"/>
                </a:cxn>
                <a:cxn ang="0">
                  <a:pos x="connsiteX5024" y="connsiteY5024"/>
                </a:cxn>
                <a:cxn ang="0">
                  <a:pos x="connsiteX5025" y="connsiteY5025"/>
                </a:cxn>
                <a:cxn ang="0">
                  <a:pos x="connsiteX5026" y="connsiteY5026"/>
                </a:cxn>
                <a:cxn ang="0">
                  <a:pos x="connsiteX5027" y="connsiteY5027"/>
                </a:cxn>
                <a:cxn ang="0">
                  <a:pos x="connsiteX5028" y="connsiteY5028"/>
                </a:cxn>
                <a:cxn ang="0">
                  <a:pos x="connsiteX5029" y="connsiteY5029"/>
                </a:cxn>
                <a:cxn ang="0">
                  <a:pos x="connsiteX5030" y="connsiteY5030"/>
                </a:cxn>
                <a:cxn ang="0">
                  <a:pos x="connsiteX5031" y="connsiteY5031"/>
                </a:cxn>
                <a:cxn ang="0">
                  <a:pos x="connsiteX5032" y="connsiteY5032"/>
                </a:cxn>
                <a:cxn ang="0">
                  <a:pos x="connsiteX5033" y="connsiteY5033"/>
                </a:cxn>
                <a:cxn ang="0">
                  <a:pos x="connsiteX5034" y="connsiteY5034"/>
                </a:cxn>
                <a:cxn ang="0">
                  <a:pos x="connsiteX5035" y="connsiteY5035"/>
                </a:cxn>
                <a:cxn ang="0">
                  <a:pos x="connsiteX5036" y="connsiteY5036"/>
                </a:cxn>
                <a:cxn ang="0">
                  <a:pos x="connsiteX5037" y="connsiteY5037"/>
                </a:cxn>
                <a:cxn ang="0">
                  <a:pos x="connsiteX5038" y="connsiteY5038"/>
                </a:cxn>
                <a:cxn ang="0">
                  <a:pos x="connsiteX5039" y="connsiteY5039"/>
                </a:cxn>
                <a:cxn ang="0">
                  <a:pos x="connsiteX5040" y="connsiteY5040"/>
                </a:cxn>
                <a:cxn ang="0">
                  <a:pos x="connsiteX5041" y="connsiteY5041"/>
                </a:cxn>
                <a:cxn ang="0">
                  <a:pos x="connsiteX5042" y="connsiteY5042"/>
                </a:cxn>
                <a:cxn ang="0">
                  <a:pos x="connsiteX5043" y="connsiteY5043"/>
                </a:cxn>
                <a:cxn ang="0">
                  <a:pos x="connsiteX5044" y="connsiteY5044"/>
                </a:cxn>
                <a:cxn ang="0">
                  <a:pos x="connsiteX5045" y="connsiteY5045"/>
                </a:cxn>
                <a:cxn ang="0">
                  <a:pos x="connsiteX5046" y="connsiteY5046"/>
                </a:cxn>
                <a:cxn ang="0">
                  <a:pos x="connsiteX5047" y="connsiteY5047"/>
                </a:cxn>
                <a:cxn ang="0">
                  <a:pos x="connsiteX5048" y="connsiteY5048"/>
                </a:cxn>
                <a:cxn ang="0">
                  <a:pos x="connsiteX5049" y="connsiteY5049"/>
                </a:cxn>
                <a:cxn ang="0">
                  <a:pos x="connsiteX5050" y="connsiteY5050"/>
                </a:cxn>
                <a:cxn ang="0">
                  <a:pos x="connsiteX5051" y="connsiteY5051"/>
                </a:cxn>
                <a:cxn ang="0">
                  <a:pos x="connsiteX5052" y="connsiteY5052"/>
                </a:cxn>
                <a:cxn ang="0">
                  <a:pos x="connsiteX5053" y="connsiteY5053"/>
                </a:cxn>
                <a:cxn ang="0">
                  <a:pos x="connsiteX5054" y="connsiteY5054"/>
                </a:cxn>
                <a:cxn ang="0">
                  <a:pos x="connsiteX5055" y="connsiteY5055"/>
                </a:cxn>
                <a:cxn ang="0">
                  <a:pos x="connsiteX5056" y="connsiteY5056"/>
                </a:cxn>
                <a:cxn ang="0">
                  <a:pos x="connsiteX5057" y="connsiteY5057"/>
                </a:cxn>
                <a:cxn ang="0">
                  <a:pos x="connsiteX5058" y="connsiteY5058"/>
                </a:cxn>
                <a:cxn ang="0">
                  <a:pos x="connsiteX5059" y="connsiteY5059"/>
                </a:cxn>
                <a:cxn ang="0">
                  <a:pos x="connsiteX5060" y="connsiteY5060"/>
                </a:cxn>
                <a:cxn ang="0">
                  <a:pos x="connsiteX5061" y="connsiteY5061"/>
                </a:cxn>
                <a:cxn ang="0">
                  <a:pos x="connsiteX5062" y="connsiteY5062"/>
                </a:cxn>
                <a:cxn ang="0">
                  <a:pos x="connsiteX5063" y="connsiteY5063"/>
                </a:cxn>
                <a:cxn ang="0">
                  <a:pos x="connsiteX5064" y="connsiteY5064"/>
                </a:cxn>
                <a:cxn ang="0">
                  <a:pos x="connsiteX5065" y="connsiteY5065"/>
                </a:cxn>
                <a:cxn ang="0">
                  <a:pos x="connsiteX5066" y="connsiteY5066"/>
                </a:cxn>
                <a:cxn ang="0">
                  <a:pos x="connsiteX5067" y="connsiteY5067"/>
                </a:cxn>
                <a:cxn ang="0">
                  <a:pos x="connsiteX5068" y="connsiteY5068"/>
                </a:cxn>
                <a:cxn ang="0">
                  <a:pos x="connsiteX5069" y="connsiteY5069"/>
                </a:cxn>
                <a:cxn ang="0">
                  <a:pos x="connsiteX5070" y="connsiteY5070"/>
                </a:cxn>
                <a:cxn ang="0">
                  <a:pos x="connsiteX5071" y="connsiteY5071"/>
                </a:cxn>
                <a:cxn ang="0">
                  <a:pos x="connsiteX5072" y="connsiteY5072"/>
                </a:cxn>
                <a:cxn ang="0">
                  <a:pos x="connsiteX5073" y="connsiteY5073"/>
                </a:cxn>
                <a:cxn ang="0">
                  <a:pos x="connsiteX5074" y="connsiteY5074"/>
                </a:cxn>
                <a:cxn ang="0">
                  <a:pos x="connsiteX5075" y="connsiteY5075"/>
                </a:cxn>
                <a:cxn ang="0">
                  <a:pos x="connsiteX5076" y="connsiteY5076"/>
                </a:cxn>
                <a:cxn ang="0">
                  <a:pos x="connsiteX5077" y="connsiteY5077"/>
                </a:cxn>
                <a:cxn ang="0">
                  <a:pos x="connsiteX5078" y="connsiteY5078"/>
                </a:cxn>
                <a:cxn ang="0">
                  <a:pos x="connsiteX5079" y="connsiteY5079"/>
                </a:cxn>
                <a:cxn ang="0">
                  <a:pos x="connsiteX5080" y="connsiteY5080"/>
                </a:cxn>
                <a:cxn ang="0">
                  <a:pos x="connsiteX5081" y="connsiteY5081"/>
                </a:cxn>
                <a:cxn ang="0">
                  <a:pos x="connsiteX5082" y="connsiteY5082"/>
                </a:cxn>
                <a:cxn ang="0">
                  <a:pos x="connsiteX5083" y="connsiteY5083"/>
                </a:cxn>
                <a:cxn ang="0">
                  <a:pos x="connsiteX5084" y="connsiteY5084"/>
                </a:cxn>
                <a:cxn ang="0">
                  <a:pos x="connsiteX5085" y="connsiteY5085"/>
                </a:cxn>
                <a:cxn ang="0">
                  <a:pos x="connsiteX5086" y="connsiteY5086"/>
                </a:cxn>
                <a:cxn ang="0">
                  <a:pos x="connsiteX5087" y="connsiteY5087"/>
                </a:cxn>
                <a:cxn ang="0">
                  <a:pos x="connsiteX5088" y="connsiteY5088"/>
                </a:cxn>
                <a:cxn ang="0">
                  <a:pos x="connsiteX5089" y="connsiteY5089"/>
                </a:cxn>
                <a:cxn ang="0">
                  <a:pos x="connsiteX5090" y="connsiteY5090"/>
                </a:cxn>
                <a:cxn ang="0">
                  <a:pos x="connsiteX5091" y="connsiteY5091"/>
                </a:cxn>
                <a:cxn ang="0">
                  <a:pos x="connsiteX5092" y="connsiteY5092"/>
                </a:cxn>
                <a:cxn ang="0">
                  <a:pos x="connsiteX5093" y="connsiteY5093"/>
                </a:cxn>
                <a:cxn ang="0">
                  <a:pos x="connsiteX5094" y="connsiteY5094"/>
                </a:cxn>
                <a:cxn ang="0">
                  <a:pos x="connsiteX5095" y="connsiteY5095"/>
                </a:cxn>
                <a:cxn ang="0">
                  <a:pos x="connsiteX5096" y="connsiteY5096"/>
                </a:cxn>
                <a:cxn ang="0">
                  <a:pos x="connsiteX5097" y="connsiteY5097"/>
                </a:cxn>
                <a:cxn ang="0">
                  <a:pos x="connsiteX5098" y="connsiteY5098"/>
                </a:cxn>
                <a:cxn ang="0">
                  <a:pos x="connsiteX5099" y="connsiteY5099"/>
                </a:cxn>
                <a:cxn ang="0">
                  <a:pos x="connsiteX5100" y="connsiteY5100"/>
                </a:cxn>
                <a:cxn ang="0">
                  <a:pos x="connsiteX5101" y="connsiteY5101"/>
                </a:cxn>
                <a:cxn ang="0">
                  <a:pos x="connsiteX5102" y="connsiteY5102"/>
                </a:cxn>
                <a:cxn ang="0">
                  <a:pos x="connsiteX5103" y="connsiteY5103"/>
                </a:cxn>
                <a:cxn ang="0">
                  <a:pos x="connsiteX5104" y="connsiteY5104"/>
                </a:cxn>
                <a:cxn ang="0">
                  <a:pos x="connsiteX5105" y="connsiteY5105"/>
                </a:cxn>
                <a:cxn ang="0">
                  <a:pos x="connsiteX5106" y="connsiteY5106"/>
                </a:cxn>
                <a:cxn ang="0">
                  <a:pos x="connsiteX5107" y="connsiteY5107"/>
                </a:cxn>
                <a:cxn ang="0">
                  <a:pos x="connsiteX5108" y="connsiteY5108"/>
                </a:cxn>
                <a:cxn ang="0">
                  <a:pos x="connsiteX5109" y="connsiteY5109"/>
                </a:cxn>
                <a:cxn ang="0">
                  <a:pos x="connsiteX5110" y="connsiteY5110"/>
                </a:cxn>
                <a:cxn ang="0">
                  <a:pos x="connsiteX5111" y="connsiteY5111"/>
                </a:cxn>
                <a:cxn ang="0">
                  <a:pos x="connsiteX5112" y="connsiteY5112"/>
                </a:cxn>
                <a:cxn ang="0">
                  <a:pos x="connsiteX5113" y="connsiteY5113"/>
                </a:cxn>
                <a:cxn ang="0">
                  <a:pos x="connsiteX5114" y="connsiteY5114"/>
                </a:cxn>
                <a:cxn ang="0">
                  <a:pos x="connsiteX5115" y="connsiteY5115"/>
                </a:cxn>
                <a:cxn ang="0">
                  <a:pos x="connsiteX5116" y="connsiteY5116"/>
                </a:cxn>
                <a:cxn ang="0">
                  <a:pos x="connsiteX5117" y="connsiteY5117"/>
                </a:cxn>
                <a:cxn ang="0">
                  <a:pos x="connsiteX5118" y="connsiteY5118"/>
                </a:cxn>
                <a:cxn ang="0">
                  <a:pos x="connsiteX5119" y="connsiteY5119"/>
                </a:cxn>
                <a:cxn ang="0">
                  <a:pos x="connsiteX5120" y="connsiteY5120"/>
                </a:cxn>
                <a:cxn ang="0">
                  <a:pos x="connsiteX5121" y="connsiteY5121"/>
                </a:cxn>
                <a:cxn ang="0">
                  <a:pos x="connsiteX5122" y="connsiteY5122"/>
                </a:cxn>
                <a:cxn ang="0">
                  <a:pos x="connsiteX5123" y="connsiteY5123"/>
                </a:cxn>
                <a:cxn ang="0">
                  <a:pos x="connsiteX5124" y="connsiteY5124"/>
                </a:cxn>
                <a:cxn ang="0">
                  <a:pos x="connsiteX5125" y="connsiteY5125"/>
                </a:cxn>
                <a:cxn ang="0">
                  <a:pos x="connsiteX5126" y="connsiteY5126"/>
                </a:cxn>
                <a:cxn ang="0">
                  <a:pos x="connsiteX5127" y="connsiteY5127"/>
                </a:cxn>
                <a:cxn ang="0">
                  <a:pos x="connsiteX5128" y="connsiteY5128"/>
                </a:cxn>
                <a:cxn ang="0">
                  <a:pos x="connsiteX5129" y="connsiteY5129"/>
                </a:cxn>
                <a:cxn ang="0">
                  <a:pos x="connsiteX5130" y="connsiteY5130"/>
                </a:cxn>
                <a:cxn ang="0">
                  <a:pos x="connsiteX5131" y="connsiteY5131"/>
                </a:cxn>
                <a:cxn ang="0">
                  <a:pos x="connsiteX5132" y="connsiteY5132"/>
                </a:cxn>
                <a:cxn ang="0">
                  <a:pos x="connsiteX5133" y="connsiteY5133"/>
                </a:cxn>
                <a:cxn ang="0">
                  <a:pos x="connsiteX5134" y="connsiteY5134"/>
                </a:cxn>
                <a:cxn ang="0">
                  <a:pos x="connsiteX5135" y="connsiteY5135"/>
                </a:cxn>
                <a:cxn ang="0">
                  <a:pos x="connsiteX5136" y="connsiteY5136"/>
                </a:cxn>
                <a:cxn ang="0">
                  <a:pos x="connsiteX5137" y="connsiteY5137"/>
                </a:cxn>
                <a:cxn ang="0">
                  <a:pos x="connsiteX5138" y="connsiteY5138"/>
                </a:cxn>
                <a:cxn ang="0">
                  <a:pos x="connsiteX5139" y="connsiteY5139"/>
                </a:cxn>
                <a:cxn ang="0">
                  <a:pos x="connsiteX5140" y="connsiteY5140"/>
                </a:cxn>
                <a:cxn ang="0">
                  <a:pos x="connsiteX5141" y="connsiteY5141"/>
                </a:cxn>
                <a:cxn ang="0">
                  <a:pos x="connsiteX5142" y="connsiteY5142"/>
                </a:cxn>
                <a:cxn ang="0">
                  <a:pos x="connsiteX5143" y="connsiteY5143"/>
                </a:cxn>
                <a:cxn ang="0">
                  <a:pos x="connsiteX5144" y="connsiteY5144"/>
                </a:cxn>
                <a:cxn ang="0">
                  <a:pos x="connsiteX5145" y="connsiteY5145"/>
                </a:cxn>
                <a:cxn ang="0">
                  <a:pos x="connsiteX5146" y="connsiteY5146"/>
                </a:cxn>
                <a:cxn ang="0">
                  <a:pos x="connsiteX5147" y="connsiteY5147"/>
                </a:cxn>
                <a:cxn ang="0">
                  <a:pos x="connsiteX5148" y="connsiteY5148"/>
                </a:cxn>
                <a:cxn ang="0">
                  <a:pos x="connsiteX5149" y="connsiteY5149"/>
                </a:cxn>
                <a:cxn ang="0">
                  <a:pos x="connsiteX5150" y="connsiteY5150"/>
                </a:cxn>
                <a:cxn ang="0">
                  <a:pos x="connsiteX5151" y="connsiteY5151"/>
                </a:cxn>
                <a:cxn ang="0">
                  <a:pos x="connsiteX5152" y="connsiteY5152"/>
                </a:cxn>
                <a:cxn ang="0">
                  <a:pos x="connsiteX5153" y="connsiteY5153"/>
                </a:cxn>
                <a:cxn ang="0">
                  <a:pos x="connsiteX5154" y="connsiteY5154"/>
                </a:cxn>
                <a:cxn ang="0">
                  <a:pos x="connsiteX5155" y="connsiteY5155"/>
                </a:cxn>
                <a:cxn ang="0">
                  <a:pos x="connsiteX5156" y="connsiteY5156"/>
                </a:cxn>
                <a:cxn ang="0">
                  <a:pos x="connsiteX5157" y="connsiteY5157"/>
                </a:cxn>
                <a:cxn ang="0">
                  <a:pos x="connsiteX5158" y="connsiteY5158"/>
                </a:cxn>
                <a:cxn ang="0">
                  <a:pos x="connsiteX5159" y="connsiteY5159"/>
                </a:cxn>
                <a:cxn ang="0">
                  <a:pos x="connsiteX5160" y="connsiteY5160"/>
                </a:cxn>
                <a:cxn ang="0">
                  <a:pos x="connsiteX5161" y="connsiteY5161"/>
                </a:cxn>
                <a:cxn ang="0">
                  <a:pos x="connsiteX5162" y="connsiteY5162"/>
                </a:cxn>
                <a:cxn ang="0">
                  <a:pos x="connsiteX5163" y="connsiteY5163"/>
                </a:cxn>
                <a:cxn ang="0">
                  <a:pos x="connsiteX5164" y="connsiteY5164"/>
                </a:cxn>
                <a:cxn ang="0">
                  <a:pos x="connsiteX5165" y="connsiteY5165"/>
                </a:cxn>
                <a:cxn ang="0">
                  <a:pos x="connsiteX5166" y="connsiteY5166"/>
                </a:cxn>
                <a:cxn ang="0">
                  <a:pos x="connsiteX5167" y="connsiteY5167"/>
                </a:cxn>
                <a:cxn ang="0">
                  <a:pos x="connsiteX5168" y="connsiteY5168"/>
                </a:cxn>
                <a:cxn ang="0">
                  <a:pos x="connsiteX5169" y="connsiteY5169"/>
                </a:cxn>
                <a:cxn ang="0">
                  <a:pos x="connsiteX5170" y="connsiteY5170"/>
                </a:cxn>
                <a:cxn ang="0">
                  <a:pos x="connsiteX5171" y="connsiteY5171"/>
                </a:cxn>
                <a:cxn ang="0">
                  <a:pos x="connsiteX5172" y="connsiteY5172"/>
                </a:cxn>
                <a:cxn ang="0">
                  <a:pos x="connsiteX5173" y="connsiteY5173"/>
                </a:cxn>
                <a:cxn ang="0">
                  <a:pos x="connsiteX5174" y="connsiteY5174"/>
                </a:cxn>
                <a:cxn ang="0">
                  <a:pos x="connsiteX5175" y="connsiteY5175"/>
                </a:cxn>
                <a:cxn ang="0">
                  <a:pos x="connsiteX5176" y="connsiteY5176"/>
                </a:cxn>
                <a:cxn ang="0">
                  <a:pos x="connsiteX5177" y="connsiteY5177"/>
                </a:cxn>
                <a:cxn ang="0">
                  <a:pos x="connsiteX5178" y="connsiteY5178"/>
                </a:cxn>
                <a:cxn ang="0">
                  <a:pos x="connsiteX5179" y="connsiteY5179"/>
                </a:cxn>
                <a:cxn ang="0">
                  <a:pos x="connsiteX5180" y="connsiteY5180"/>
                </a:cxn>
                <a:cxn ang="0">
                  <a:pos x="connsiteX5181" y="connsiteY5181"/>
                </a:cxn>
                <a:cxn ang="0">
                  <a:pos x="connsiteX5182" y="connsiteY5182"/>
                </a:cxn>
                <a:cxn ang="0">
                  <a:pos x="connsiteX5183" y="connsiteY5183"/>
                </a:cxn>
                <a:cxn ang="0">
                  <a:pos x="connsiteX5184" y="connsiteY5184"/>
                </a:cxn>
                <a:cxn ang="0">
                  <a:pos x="connsiteX5185" y="connsiteY5185"/>
                </a:cxn>
                <a:cxn ang="0">
                  <a:pos x="connsiteX5186" y="connsiteY5186"/>
                </a:cxn>
                <a:cxn ang="0">
                  <a:pos x="connsiteX5187" y="connsiteY5187"/>
                </a:cxn>
                <a:cxn ang="0">
                  <a:pos x="connsiteX5188" y="connsiteY5188"/>
                </a:cxn>
                <a:cxn ang="0">
                  <a:pos x="connsiteX5189" y="connsiteY5189"/>
                </a:cxn>
                <a:cxn ang="0">
                  <a:pos x="connsiteX5190" y="connsiteY5190"/>
                </a:cxn>
                <a:cxn ang="0">
                  <a:pos x="connsiteX5191" y="connsiteY5191"/>
                </a:cxn>
                <a:cxn ang="0">
                  <a:pos x="connsiteX5192" y="connsiteY5192"/>
                </a:cxn>
                <a:cxn ang="0">
                  <a:pos x="connsiteX5193" y="connsiteY5193"/>
                </a:cxn>
                <a:cxn ang="0">
                  <a:pos x="connsiteX5194" y="connsiteY5194"/>
                </a:cxn>
                <a:cxn ang="0">
                  <a:pos x="connsiteX5195" y="connsiteY5195"/>
                </a:cxn>
                <a:cxn ang="0">
                  <a:pos x="connsiteX5196" y="connsiteY5196"/>
                </a:cxn>
                <a:cxn ang="0">
                  <a:pos x="connsiteX5197" y="connsiteY5197"/>
                </a:cxn>
                <a:cxn ang="0">
                  <a:pos x="connsiteX5198" y="connsiteY5198"/>
                </a:cxn>
                <a:cxn ang="0">
                  <a:pos x="connsiteX5199" y="connsiteY5199"/>
                </a:cxn>
                <a:cxn ang="0">
                  <a:pos x="connsiteX5200" y="connsiteY5200"/>
                </a:cxn>
                <a:cxn ang="0">
                  <a:pos x="connsiteX5201" y="connsiteY5201"/>
                </a:cxn>
                <a:cxn ang="0">
                  <a:pos x="connsiteX5202" y="connsiteY5202"/>
                </a:cxn>
                <a:cxn ang="0">
                  <a:pos x="connsiteX5203" y="connsiteY5203"/>
                </a:cxn>
                <a:cxn ang="0">
                  <a:pos x="connsiteX5204" y="connsiteY5204"/>
                </a:cxn>
                <a:cxn ang="0">
                  <a:pos x="connsiteX5205" y="connsiteY5205"/>
                </a:cxn>
                <a:cxn ang="0">
                  <a:pos x="connsiteX5206" y="connsiteY5206"/>
                </a:cxn>
                <a:cxn ang="0">
                  <a:pos x="connsiteX5207" y="connsiteY5207"/>
                </a:cxn>
                <a:cxn ang="0">
                  <a:pos x="connsiteX5208" y="connsiteY5208"/>
                </a:cxn>
                <a:cxn ang="0">
                  <a:pos x="connsiteX5209" y="connsiteY5209"/>
                </a:cxn>
                <a:cxn ang="0">
                  <a:pos x="connsiteX5210" y="connsiteY5210"/>
                </a:cxn>
                <a:cxn ang="0">
                  <a:pos x="connsiteX5211" y="connsiteY5211"/>
                </a:cxn>
                <a:cxn ang="0">
                  <a:pos x="connsiteX5212" y="connsiteY5212"/>
                </a:cxn>
                <a:cxn ang="0">
                  <a:pos x="connsiteX5213" y="connsiteY5213"/>
                </a:cxn>
                <a:cxn ang="0">
                  <a:pos x="connsiteX5214" y="connsiteY5214"/>
                </a:cxn>
                <a:cxn ang="0">
                  <a:pos x="connsiteX5215" y="connsiteY5215"/>
                </a:cxn>
                <a:cxn ang="0">
                  <a:pos x="connsiteX5216" y="connsiteY5216"/>
                </a:cxn>
                <a:cxn ang="0">
                  <a:pos x="connsiteX5217" y="connsiteY5217"/>
                </a:cxn>
                <a:cxn ang="0">
                  <a:pos x="connsiteX5218" y="connsiteY5218"/>
                </a:cxn>
                <a:cxn ang="0">
                  <a:pos x="connsiteX5219" y="connsiteY5219"/>
                </a:cxn>
                <a:cxn ang="0">
                  <a:pos x="connsiteX5220" y="connsiteY5220"/>
                </a:cxn>
                <a:cxn ang="0">
                  <a:pos x="connsiteX5221" y="connsiteY5221"/>
                </a:cxn>
                <a:cxn ang="0">
                  <a:pos x="connsiteX5222" y="connsiteY5222"/>
                </a:cxn>
                <a:cxn ang="0">
                  <a:pos x="connsiteX5223" y="connsiteY5223"/>
                </a:cxn>
                <a:cxn ang="0">
                  <a:pos x="connsiteX5224" y="connsiteY5224"/>
                </a:cxn>
                <a:cxn ang="0">
                  <a:pos x="connsiteX5225" y="connsiteY5225"/>
                </a:cxn>
                <a:cxn ang="0">
                  <a:pos x="connsiteX5226" y="connsiteY5226"/>
                </a:cxn>
                <a:cxn ang="0">
                  <a:pos x="connsiteX5227" y="connsiteY5227"/>
                </a:cxn>
                <a:cxn ang="0">
                  <a:pos x="connsiteX5228" y="connsiteY5228"/>
                </a:cxn>
                <a:cxn ang="0">
                  <a:pos x="connsiteX5229" y="connsiteY5229"/>
                </a:cxn>
                <a:cxn ang="0">
                  <a:pos x="connsiteX5230" y="connsiteY5230"/>
                </a:cxn>
                <a:cxn ang="0">
                  <a:pos x="connsiteX5231" y="connsiteY5231"/>
                </a:cxn>
                <a:cxn ang="0">
                  <a:pos x="connsiteX5232" y="connsiteY5232"/>
                </a:cxn>
                <a:cxn ang="0">
                  <a:pos x="connsiteX5233" y="connsiteY5233"/>
                </a:cxn>
                <a:cxn ang="0">
                  <a:pos x="connsiteX5234" y="connsiteY5234"/>
                </a:cxn>
                <a:cxn ang="0">
                  <a:pos x="connsiteX5235" y="connsiteY5235"/>
                </a:cxn>
                <a:cxn ang="0">
                  <a:pos x="connsiteX5236" y="connsiteY5236"/>
                </a:cxn>
                <a:cxn ang="0">
                  <a:pos x="connsiteX5237" y="connsiteY5237"/>
                </a:cxn>
                <a:cxn ang="0">
                  <a:pos x="connsiteX5238" y="connsiteY5238"/>
                </a:cxn>
                <a:cxn ang="0">
                  <a:pos x="connsiteX5239" y="connsiteY5239"/>
                </a:cxn>
                <a:cxn ang="0">
                  <a:pos x="connsiteX5240" y="connsiteY5240"/>
                </a:cxn>
                <a:cxn ang="0">
                  <a:pos x="connsiteX5241" y="connsiteY5241"/>
                </a:cxn>
                <a:cxn ang="0">
                  <a:pos x="connsiteX5242" y="connsiteY5242"/>
                </a:cxn>
                <a:cxn ang="0">
                  <a:pos x="connsiteX5243" y="connsiteY5243"/>
                </a:cxn>
                <a:cxn ang="0">
                  <a:pos x="connsiteX5244" y="connsiteY5244"/>
                </a:cxn>
                <a:cxn ang="0">
                  <a:pos x="connsiteX5245" y="connsiteY5245"/>
                </a:cxn>
                <a:cxn ang="0">
                  <a:pos x="connsiteX5246" y="connsiteY5246"/>
                </a:cxn>
                <a:cxn ang="0">
                  <a:pos x="connsiteX5247" y="connsiteY5247"/>
                </a:cxn>
                <a:cxn ang="0">
                  <a:pos x="connsiteX5248" y="connsiteY5248"/>
                </a:cxn>
                <a:cxn ang="0">
                  <a:pos x="connsiteX5249" y="connsiteY5249"/>
                </a:cxn>
                <a:cxn ang="0">
                  <a:pos x="connsiteX5250" y="connsiteY5250"/>
                </a:cxn>
                <a:cxn ang="0">
                  <a:pos x="connsiteX5251" y="connsiteY5251"/>
                </a:cxn>
                <a:cxn ang="0">
                  <a:pos x="connsiteX5252" y="connsiteY5252"/>
                </a:cxn>
                <a:cxn ang="0">
                  <a:pos x="connsiteX5253" y="connsiteY5253"/>
                </a:cxn>
                <a:cxn ang="0">
                  <a:pos x="connsiteX5254" y="connsiteY5254"/>
                </a:cxn>
                <a:cxn ang="0">
                  <a:pos x="connsiteX5255" y="connsiteY5255"/>
                </a:cxn>
                <a:cxn ang="0">
                  <a:pos x="connsiteX5256" y="connsiteY5256"/>
                </a:cxn>
                <a:cxn ang="0">
                  <a:pos x="connsiteX5257" y="connsiteY5257"/>
                </a:cxn>
                <a:cxn ang="0">
                  <a:pos x="connsiteX5258" y="connsiteY5258"/>
                </a:cxn>
                <a:cxn ang="0">
                  <a:pos x="connsiteX5259" y="connsiteY5259"/>
                </a:cxn>
                <a:cxn ang="0">
                  <a:pos x="connsiteX5260" y="connsiteY5260"/>
                </a:cxn>
                <a:cxn ang="0">
                  <a:pos x="connsiteX5261" y="connsiteY5261"/>
                </a:cxn>
                <a:cxn ang="0">
                  <a:pos x="connsiteX5262" y="connsiteY5262"/>
                </a:cxn>
                <a:cxn ang="0">
                  <a:pos x="connsiteX5263" y="connsiteY5263"/>
                </a:cxn>
                <a:cxn ang="0">
                  <a:pos x="connsiteX5264" y="connsiteY5264"/>
                </a:cxn>
                <a:cxn ang="0">
                  <a:pos x="connsiteX5265" y="connsiteY5265"/>
                </a:cxn>
                <a:cxn ang="0">
                  <a:pos x="connsiteX5266" y="connsiteY5266"/>
                </a:cxn>
                <a:cxn ang="0">
                  <a:pos x="connsiteX5267" y="connsiteY5267"/>
                </a:cxn>
                <a:cxn ang="0">
                  <a:pos x="connsiteX5268" y="connsiteY5268"/>
                </a:cxn>
                <a:cxn ang="0">
                  <a:pos x="connsiteX5269" y="connsiteY5269"/>
                </a:cxn>
                <a:cxn ang="0">
                  <a:pos x="connsiteX5270" y="connsiteY5270"/>
                </a:cxn>
                <a:cxn ang="0">
                  <a:pos x="connsiteX5271" y="connsiteY5271"/>
                </a:cxn>
                <a:cxn ang="0">
                  <a:pos x="connsiteX5272" y="connsiteY5272"/>
                </a:cxn>
                <a:cxn ang="0">
                  <a:pos x="connsiteX5273" y="connsiteY5273"/>
                </a:cxn>
                <a:cxn ang="0">
                  <a:pos x="connsiteX5274" y="connsiteY5274"/>
                </a:cxn>
                <a:cxn ang="0">
                  <a:pos x="connsiteX5275" y="connsiteY5275"/>
                </a:cxn>
                <a:cxn ang="0">
                  <a:pos x="connsiteX5276" y="connsiteY5276"/>
                </a:cxn>
                <a:cxn ang="0">
                  <a:pos x="connsiteX5277" y="connsiteY5277"/>
                </a:cxn>
                <a:cxn ang="0">
                  <a:pos x="connsiteX5278" y="connsiteY5278"/>
                </a:cxn>
                <a:cxn ang="0">
                  <a:pos x="connsiteX5279" y="connsiteY5279"/>
                </a:cxn>
                <a:cxn ang="0">
                  <a:pos x="connsiteX5280" y="connsiteY5280"/>
                </a:cxn>
                <a:cxn ang="0">
                  <a:pos x="connsiteX5281" y="connsiteY5281"/>
                </a:cxn>
                <a:cxn ang="0">
                  <a:pos x="connsiteX5282" y="connsiteY5282"/>
                </a:cxn>
                <a:cxn ang="0">
                  <a:pos x="connsiteX5283" y="connsiteY5283"/>
                </a:cxn>
                <a:cxn ang="0">
                  <a:pos x="connsiteX5284" y="connsiteY5284"/>
                </a:cxn>
                <a:cxn ang="0">
                  <a:pos x="connsiteX5285" y="connsiteY5285"/>
                </a:cxn>
                <a:cxn ang="0">
                  <a:pos x="connsiteX5286" y="connsiteY5286"/>
                </a:cxn>
                <a:cxn ang="0">
                  <a:pos x="connsiteX5287" y="connsiteY5287"/>
                </a:cxn>
                <a:cxn ang="0">
                  <a:pos x="connsiteX5288" y="connsiteY5288"/>
                </a:cxn>
                <a:cxn ang="0">
                  <a:pos x="connsiteX5289" y="connsiteY5289"/>
                </a:cxn>
                <a:cxn ang="0">
                  <a:pos x="connsiteX5290" y="connsiteY5290"/>
                </a:cxn>
                <a:cxn ang="0">
                  <a:pos x="connsiteX5291" y="connsiteY5291"/>
                </a:cxn>
                <a:cxn ang="0">
                  <a:pos x="connsiteX5292" y="connsiteY5292"/>
                </a:cxn>
                <a:cxn ang="0">
                  <a:pos x="connsiteX5293" y="connsiteY5293"/>
                </a:cxn>
                <a:cxn ang="0">
                  <a:pos x="connsiteX5294" y="connsiteY5294"/>
                </a:cxn>
                <a:cxn ang="0">
                  <a:pos x="connsiteX5295" y="connsiteY5295"/>
                </a:cxn>
                <a:cxn ang="0">
                  <a:pos x="connsiteX5296" y="connsiteY5296"/>
                </a:cxn>
                <a:cxn ang="0">
                  <a:pos x="connsiteX5297" y="connsiteY5297"/>
                </a:cxn>
                <a:cxn ang="0">
                  <a:pos x="connsiteX5298" y="connsiteY5298"/>
                </a:cxn>
                <a:cxn ang="0">
                  <a:pos x="connsiteX5299" y="connsiteY5299"/>
                </a:cxn>
                <a:cxn ang="0">
                  <a:pos x="connsiteX5300" y="connsiteY5300"/>
                </a:cxn>
                <a:cxn ang="0">
                  <a:pos x="connsiteX5301" y="connsiteY5301"/>
                </a:cxn>
                <a:cxn ang="0">
                  <a:pos x="connsiteX5302" y="connsiteY5302"/>
                </a:cxn>
                <a:cxn ang="0">
                  <a:pos x="connsiteX5303" y="connsiteY5303"/>
                </a:cxn>
                <a:cxn ang="0">
                  <a:pos x="connsiteX5304" y="connsiteY5304"/>
                </a:cxn>
                <a:cxn ang="0">
                  <a:pos x="connsiteX5305" y="connsiteY5305"/>
                </a:cxn>
                <a:cxn ang="0">
                  <a:pos x="connsiteX5306" y="connsiteY5306"/>
                </a:cxn>
                <a:cxn ang="0">
                  <a:pos x="connsiteX5307" y="connsiteY5307"/>
                </a:cxn>
                <a:cxn ang="0">
                  <a:pos x="connsiteX5308" y="connsiteY5308"/>
                </a:cxn>
                <a:cxn ang="0">
                  <a:pos x="connsiteX5309" y="connsiteY5309"/>
                </a:cxn>
                <a:cxn ang="0">
                  <a:pos x="connsiteX5310" y="connsiteY5310"/>
                </a:cxn>
                <a:cxn ang="0">
                  <a:pos x="connsiteX5311" y="connsiteY5311"/>
                </a:cxn>
                <a:cxn ang="0">
                  <a:pos x="connsiteX5312" y="connsiteY5312"/>
                </a:cxn>
                <a:cxn ang="0">
                  <a:pos x="connsiteX5313" y="connsiteY5313"/>
                </a:cxn>
                <a:cxn ang="0">
                  <a:pos x="connsiteX5314" y="connsiteY5314"/>
                </a:cxn>
                <a:cxn ang="0">
                  <a:pos x="connsiteX5315" y="connsiteY5315"/>
                </a:cxn>
                <a:cxn ang="0">
                  <a:pos x="connsiteX5316" y="connsiteY5316"/>
                </a:cxn>
                <a:cxn ang="0">
                  <a:pos x="connsiteX5317" y="connsiteY5317"/>
                </a:cxn>
                <a:cxn ang="0">
                  <a:pos x="connsiteX5318" y="connsiteY5318"/>
                </a:cxn>
                <a:cxn ang="0">
                  <a:pos x="connsiteX5319" y="connsiteY5319"/>
                </a:cxn>
                <a:cxn ang="0">
                  <a:pos x="connsiteX5320" y="connsiteY5320"/>
                </a:cxn>
                <a:cxn ang="0">
                  <a:pos x="connsiteX5321" y="connsiteY5321"/>
                </a:cxn>
                <a:cxn ang="0">
                  <a:pos x="connsiteX5322" y="connsiteY5322"/>
                </a:cxn>
                <a:cxn ang="0">
                  <a:pos x="connsiteX5323" y="connsiteY5323"/>
                </a:cxn>
                <a:cxn ang="0">
                  <a:pos x="connsiteX5324" y="connsiteY5324"/>
                </a:cxn>
                <a:cxn ang="0">
                  <a:pos x="connsiteX5325" y="connsiteY5325"/>
                </a:cxn>
                <a:cxn ang="0">
                  <a:pos x="connsiteX5326" y="connsiteY5326"/>
                </a:cxn>
                <a:cxn ang="0">
                  <a:pos x="connsiteX5327" y="connsiteY5327"/>
                </a:cxn>
                <a:cxn ang="0">
                  <a:pos x="connsiteX5328" y="connsiteY5328"/>
                </a:cxn>
                <a:cxn ang="0">
                  <a:pos x="connsiteX5329" y="connsiteY5329"/>
                </a:cxn>
                <a:cxn ang="0">
                  <a:pos x="connsiteX5330" y="connsiteY5330"/>
                </a:cxn>
                <a:cxn ang="0">
                  <a:pos x="connsiteX5331" y="connsiteY5331"/>
                </a:cxn>
                <a:cxn ang="0">
                  <a:pos x="connsiteX5332" y="connsiteY5332"/>
                </a:cxn>
                <a:cxn ang="0">
                  <a:pos x="connsiteX5333" y="connsiteY5333"/>
                </a:cxn>
                <a:cxn ang="0">
                  <a:pos x="connsiteX5334" y="connsiteY5334"/>
                </a:cxn>
                <a:cxn ang="0">
                  <a:pos x="connsiteX5335" y="connsiteY5335"/>
                </a:cxn>
                <a:cxn ang="0">
                  <a:pos x="connsiteX5336" y="connsiteY5336"/>
                </a:cxn>
                <a:cxn ang="0">
                  <a:pos x="connsiteX5337" y="connsiteY5337"/>
                </a:cxn>
                <a:cxn ang="0">
                  <a:pos x="connsiteX5338" y="connsiteY5338"/>
                </a:cxn>
                <a:cxn ang="0">
                  <a:pos x="connsiteX5339" y="connsiteY5339"/>
                </a:cxn>
                <a:cxn ang="0">
                  <a:pos x="connsiteX5340" y="connsiteY5340"/>
                </a:cxn>
                <a:cxn ang="0">
                  <a:pos x="connsiteX5341" y="connsiteY5341"/>
                </a:cxn>
                <a:cxn ang="0">
                  <a:pos x="connsiteX5342" y="connsiteY5342"/>
                </a:cxn>
                <a:cxn ang="0">
                  <a:pos x="connsiteX5343" y="connsiteY5343"/>
                </a:cxn>
                <a:cxn ang="0">
                  <a:pos x="connsiteX5344" y="connsiteY5344"/>
                </a:cxn>
                <a:cxn ang="0">
                  <a:pos x="connsiteX5345" y="connsiteY5345"/>
                </a:cxn>
                <a:cxn ang="0">
                  <a:pos x="connsiteX5346" y="connsiteY5346"/>
                </a:cxn>
                <a:cxn ang="0">
                  <a:pos x="connsiteX5347" y="connsiteY5347"/>
                </a:cxn>
                <a:cxn ang="0">
                  <a:pos x="connsiteX5348" y="connsiteY5348"/>
                </a:cxn>
                <a:cxn ang="0">
                  <a:pos x="connsiteX5349" y="connsiteY5349"/>
                </a:cxn>
                <a:cxn ang="0">
                  <a:pos x="connsiteX5350" y="connsiteY5350"/>
                </a:cxn>
                <a:cxn ang="0">
                  <a:pos x="connsiteX5351" y="connsiteY5351"/>
                </a:cxn>
                <a:cxn ang="0">
                  <a:pos x="connsiteX5352" y="connsiteY5352"/>
                </a:cxn>
                <a:cxn ang="0">
                  <a:pos x="connsiteX5353" y="connsiteY5353"/>
                </a:cxn>
                <a:cxn ang="0">
                  <a:pos x="connsiteX5354" y="connsiteY5354"/>
                </a:cxn>
                <a:cxn ang="0">
                  <a:pos x="connsiteX5355" y="connsiteY5355"/>
                </a:cxn>
                <a:cxn ang="0">
                  <a:pos x="connsiteX5356" y="connsiteY5356"/>
                </a:cxn>
                <a:cxn ang="0">
                  <a:pos x="connsiteX5357" y="connsiteY5357"/>
                </a:cxn>
                <a:cxn ang="0">
                  <a:pos x="connsiteX5358" y="connsiteY5358"/>
                </a:cxn>
                <a:cxn ang="0">
                  <a:pos x="connsiteX5359" y="connsiteY5359"/>
                </a:cxn>
                <a:cxn ang="0">
                  <a:pos x="connsiteX5360" y="connsiteY5360"/>
                </a:cxn>
                <a:cxn ang="0">
                  <a:pos x="connsiteX5361" y="connsiteY5361"/>
                </a:cxn>
                <a:cxn ang="0">
                  <a:pos x="connsiteX5362" y="connsiteY5362"/>
                </a:cxn>
                <a:cxn ang="0">
                  <a:pos x="connsiteX5363" y="connsiteY5363"/>
                </a:cxn>
                <a:cxn ang="0">
                  <a:pos x="connsiteX5364" y="connsiteY5364"/>
                </a:cxn>
                <a:cxn ang="0">
                  <a:pos x="connsiteX5365" y="connsiteY5365"/>
                </a:cxn>
                <a:cxn ang="0">
                  <a:pos x="connsiteX5366" y="connsiteY5366"/>
                </a:cxn>
                <a:cxn ang="0">
                  <a:pos x="connsiteX5367" y="connsiteY5367"/>
                </a:cxn>
                <a:cxn ang="0">
                  <a:pos x="connsiteX5368" y="connsiteY5368"/>
                </a:cxn>
                <a:cxn ang="0">
                  <a:pos x="connsiteX5369" y="connsiteY5369"/>
                </a:cxn>
                <a:cxn ang="0">
                  <a:pos x="connsiteX5370" y="connsiteY5370"/>
                </a:cxn>
                <a:cxn ang="0">
                  <a:pos x="connsiteX5371" y="connsiteY5371"/>
                </a:cxn>
                <a:cxn ang="0">
                  <a:pos x="connsiteX5372" y="connsiteY5372"/>
                </a:cxn>
                <a:cxn ang="0">
                  <a:pos x="connsiteX5373" y="connsiteY5373"/>
                </a:cxn>
                <a:cxn ang="0">
                  <a:pos x="connsiteX5374" y="connsiteY5374"/>
                </a:cxn>
                <a:cxn ang="0">
                  <a:pos x="connsiteX5375" y="connsiteY5375"/>
                </a:cxn>
                <a:cxn ang="0">
                  <a:pos x="connsiteX5376" y="connsiteY5376"/>
                </a:cxn>
                <a:cxn ang="0">
                  <a:pos x="connsiteX5377" y="connsiteY5377"/>
                </a:cxn>
                <a:cxn ang="0">
                  <a:pos x="connsiteX5378" y="connsiteY5378"/>
                </a:cxn>
                <a:cxn ang="0">
                  <a:pos x="connsiteX5379" y="connsiteY5379"/>
                </a:cxn>
                <a:cxn ang="0">
                  <a:pos x="connsiteX5380" y="connsiteY5380"/>
                </a:cxn>
                <a:cxn ang="0">
                  <a:pos x="connsiteX5381" y="connsiteY5381"/>
                </a:cxn>
                <a:cxn ang="0">
                  <a:pos x="connsiteX5382" y="connsiteY5382"/>
                </a:cxn>
                <a:cxn ang="0">
                  <a:pos x="connsiteX5383" y="connsiteY5383"/>
                </a:cxn>
                <a:cxn ang="0">
                  <a:pos x="connsiteX5384" y="connsiteY5384"/>
                </a:cxn>
                <a:cxn ang="0">
                  <a:pos x="connsiteX5385" y="connsiteY5385"/>
                </a:cxn>
                <a:cxn ang="0">
                  <a:pos x="connsiteX5386" y="connsiteY5386"/>
                </a:cxn>
                <a:cxn ang="0">
                  <a:pos x="connsiteX5387" y="connsiteY5387"/>
                </a:cxn>
                <a:cxn ang="0">
                  <a:pos x="connsiteX5388" y="connsiteY5388"/>
                </a:cxn>
                <a:cxn ang="0">
                  <a:pos x="connsiteX5389" y="connsiteY5389"/>
                </a:cxn>
                <a:cxn ang="0">
                  <a:pos x="connsiteX5390" y="connsiteY5390"/>
                </a:cxn>
                <a:cxn ang="0">
                  <a:pos x="connsiteX5391" y="connsiteY5391"/>
                </a:cxn>
                <a:cxn ang="0">
                  <a:pos x="connsiteX5392" y="connsiteY5392"/>
                </a:cxn>
                <a:cxn ang="0">
                  <a:pos x="connsiteX5393" y="connsiteY5393"/>
                </a:cxn>
                <a:cxn ang="0">
                  <a:pos x="connsiteX5394" y="connsiteY5394"/>
                </a:cxn>
                <a:cxn ang="0">
                  <a:pos x="connsiteX5395" y="connsiteY5395"/>
                </a:cxn>
                <a:cxn ang="0">
                  <a:pos x="connsiteX5396" y="connsiteY5396"/>
                </a:cxn>
                <a:cxn ang="0">
                  <a:pos x="connsiteX5397" y="connsiteY5397"/>
                </a:cxn>
                <a:cxn ang="0">
                  <a:pos x="connsiteX5398" y="connsiteY5398"/>
                </a:cxn>
                <a:cxn ang="0">
                  <a:pos x="connsiteX5399" y="connsiteY5399"/>
                </a:cxn>
                <a:cxn ang="0">
                  <a:pos x="connsiteX5400" y="connsiteY5400"/>
                </a:cxn>
                <a:cxn ang="0">
                  <a:pos x="connsiteX5401" y="connsiteY5401"/>
                </a:cxn>
                <a:cxn ang="0">
                  <a:pos x="connsiteX5402" y="connsiteY5402"/>
                </a:cxn>
                <a:cxn ang="0">
                  <a:pos x="connsiteX5403" y="connsiteY5403"/>
                </a:cxn>
                <a:cxn ang="0">
                  <a:pos x="connsiteX5404" y="connsiteY5404"/>
                </a:cxn>
                <a:cxn ang="0">
                  <a:pos x="connsiteX5405" y="connsiteY5405"/>
                </a:cxn>
                <a:cxn ang="0">
                  <a:pos x="connsiteX5406" y="connsiteY5406"/>
                </a:cxn>
                <a:cxn ang="0">
                  <a:pos x="connsiteX5407" y="connsiteY5407"/>
                </a:cxn>
                <a:cxn ang="0">
                  <a:pos x="connsiteX5408" y="connsiteY5408"/>
                </a:cxn>
                <a:cxn ang="0">
                  <a:pos x="connsiteX5409" y="connsiteY5409"/>
                </a:cxn>
                <a:cxn ang="0">
                  <a:pos x="connsiteX5410" y="connsiteY5410"/>
                </a:cxn>
                <a:cxn ang="0">
                  <a:pos x="connsiteX5411" y="connsiteY5411"/>
                </a:cxn>
                <a:cxn ang="0">
                  <a:pos x="connsiteX5412" y="connsiteY5412"/>
                </a:cxn>
                <a:cxn ang="0">
                  <a:pos x="connsiteX5413" y="connsiteY5413"/>
                </a:cxn>
                <a:cxn ang="0">
                  <a:pos x="connsiteX5414" y="connsiteY5414"/>
                </a:cxn>
                <a:cxn ang="0">
                  <a:pos x="connsiteX5415" y="connsiteY5415"/>
                </a:cxn>
                <a:cxn ang="0">
                  <a:pos x="connsiteX5416" y="connsiteY5416"/>
                </a:cxn>
                <a:cxn ang="0">
                  <a:pos x="connsiteX5417" y="connsiteY5417"/>
                </a:cxn>
                <a:cxn ang="0">
                  <a:pos x="connsiteX5418" y="connsiteY5418"/>
                </a:cxn>
                <a:cxn ang="0">
                  <a:pos x="connsiteX5419" y="connsiteY5419"/>
                </a:cxn>
                <a:cxn ang="0">
                  <a:pos x="connsiteX5420" y="connsiteY5420"/>
                </a:cxn>
                <a:cxn ang="0">
                  <a:pos x="connsiteX5421" y="connsiteY5421"/>
                </a:cxn>
                <a:cxn ang="0">
                  <a:pos x="connsiteX5422" y="connsiteY5422"/>
                </a:cxn>
                <a:cxn ang="0">
                  <a:pos x="connsiteX5423" y="connsiteY5423"/>
                </a:cxn>
                <a:cxn ang="0">
                  <a:pos x="connsiteX5424" y="connsiteY5424"/>
                </a:cxn>
                <a:cxn ang="0">
                  <a:pos x="connsiteX5425" y="connsiteY5425"/>
                </a:cxn>
                <a:cxn ang="0">
                  <a:pos x="connsiteX5426" y="connsiteY5426"/>
                </a:cxn>
                <a:cxn ang="0">
                  <a:pos x="connsiteX5427" y="connsiteY5427"/>
                </a:cxn>
                <a:cxn ang="0">
                  <a:pos x="connsiteX5428" y="connsiteY5428"/>
                </a:cxn>
                <a:cxn ang="0">
                  <a:pos x="connsiteX5429" y="connsiteY5429"/>
                </a:cxn>
                <a:cxn ang="0">
                  <a:pos x="connsiteX5430" y="connsiteY5430"/>
                </a:cxn>
                <a:cxn ang="0">
                  <a:pos x="connsiteX5431" y="connsiteY5431"/>
                </a:cxn>
                <a:cxn ang="0">
                  <a:pos x="connsiteX5432" y="connsiteY5432"/>
                </a:cxn>
                <a:cxn ang="0">
                  <a:pos x="connsiteX5433" y="connsiteY5433"/>
                </a:cxn>
                <a:cxn ang="0">
                  <a:pos x="connsiteX5434" y="connsiteY5434"/>
                </a:cxn>
                <a:cxn ang="0">
                  <a:pos x="connsiteX5435" y="connsiteY5435"/>
                </a:cxn>
                <a:cxn ang="0">
                  <a:pos x="connsiteX5436" y="connsiteY5436"/>
                </a:cxn>
                <a:cxn ang="0">
                  <a:pos x="connsiteX5437" y="connsiteY5437"/>
                </a:cxn>
                <a:cxn ang="0">
                  <a:pos x="connsiteX5438" y="connsiteY5438"/>
                </a:cxn>
                <a:cxn ang="0">
                  <a:pos x="connsiteX5439" y="connsiteY5439"/>
                </a:cxn>
                <a:cxn ang="0">
                  <a:pos x="connsiteX5440" y="connsiteY5440"/>
                </a:cxn>
                <a:cxn ang="0">
                  <a:pos x="connsiteX5441" y="connsiteY5441"/>
                </a:cxn>
                <a:cxn ang="0">
                  <a:pos x="connsiteX5442" y="connsiteY5442"/>
                </a:cxn>
                <a:cxn ang="0">
                  <a:pos x="connsiteX5443" y="connsiteY5443"/>
                </a:cxn>
                <a:cxn ang="0">
                  <a:pos x="connsiteX5444" y="connsiteY5444"/>
                </a:cxn>
                <a:cxn ang="0">
                  <a:pos x="connsiteX5445" y="connsiteY5445"/>
                </a:cxn>
                <a:cxn ang="0">
                  <a:pos x="connsiteX5446" y="connsiteY5446"/>
                </a:cxn>
                <a:cxn ang="0">
                  <a:pos x="connsiteX5447" y="connsiteY5447"/>
                </a:cxn>
                <a:cxn ang="0">
                  <a:pos x="connsiteX5448" y="connsiteY5448"/>
                </a:cxn>
                <a:cxn ang="0">
                  <a:pos x="connsiteX5449" y="connsiteY5449"/>
                </a:cxn>
                <a:cxn ang="0">
                  <a:pos x="connsiteX5450" y="connsiteY5450"/>
                </a:cxn>
                <a:cxn ang="0">
                  <a:pos x="connsiteX5451" y="connsiteY5451"/>
                </a:cxn>
                <a:cxn ang="0">
                  <a:pos x="connsiteX5452" y="connsiteY5452"/>
                </a:cxn>
                <a:cxn ang="0">
                  <a:pos x="connsiteX5453" y="connsiteY5453"/>
                </a:cxn>
                <a:cxn ang="0">
                  <a:pos x="connsiteX5454" y="connsiteY5454"/>
                </a:cxn>
                <a:cxn ang="0">
                  <a:pos x="connsiteX5455" y="connsiteY5455"/>
                </a:cxn>
                <a:cxn ang="0">
                  <a:pos x="connsiteX5456" y="connsiteY5456"/>
                </a:cxn>
                <a:cxn ang="0">
                  <a:pos x="connsiteX5457" y="connsiteY5457"/>
                </a:cxn>
                <a:cxn ang="0">
                  <a:pos x="connsiteX5458" y="connsiteY5458"/>
                </a:cxn>
                <a:cxn ang="0">
                  <a:pos x="connsiteX5459" y="connsiteY5459"/>
                </a:cxn>
                <a:cxn ang="0">
                  <a:pos x="connsiteX5460" y="connsiteY5460"/>
                </a:cxn>
                <a:cxn ang="0">
                  <a:pos x="connsiteX5461" y="connsiteY5461"/>
                </a:cxn>
                <a:cxn ang="0">
                  <a:pos x="connsiteX5462" y="connsiteY5462"/>
                </a:cxn>
                <a:cxn ang="0">
                  <a:pos x="connsiteX5463" y="connsiteY5463"/>
                </a:cxn>
                <a:cxn ang="0">
                  <a:pos x="connsiteX5464" y="connsiteY5464"/>
                </a:cxn>
                <a:cxn ang="0">
                  <a:pos x="connsiteX5465" y="connsiteY5465"/>
                </a:cxn>
                <a:cxn ang="0">
                  <a:pos x="connsiteX5466" y="connsiteY5466"/>
                </a:cxn>
                <a:cxn ang="0">
                  <a:pos x="connsiteX5467" y="connsiteY5467"/>
                </a:cxn>
                <a:cxn ang="0">
                  <a:pos x="connsiteX5468" y="connsiteY5468"/>
                </a:cxn>
                <a:cxn ang="0">
                  <a:pos x="connsiteX5469" y="connsiteY5469"/>
                </a:cxn>
                <a:cxn ang="0">
                  <a:pos x="connsiteX5470" y="connsiteY5470"/>
                </a:cxn>
                <a:cxn ang="0">
                  <a:pos x="connsiteX5471" y="connsiteY5471"/>
                </a:cxn>
                <a:cxn ang="0">
                  <a:pos x="connsiteX5472" y="connsiteY5472"/>
                </a:cxn>
                <a:cxn ang="0">
                  <a:pos x="connsiteX5473" y="connsiteY5473"/>
                </a:cxn>
                <a:cxn ang="0">
                  <a:pos x="connsiteX5474" y="connsiteY5474"/>
                </a:cxn>
                <a:cxn ang="0">
                  <a:pos x="connsiteX5475" y="connsiteY5475"/>
                </a:cxn>
                <a:cxn ang="0">
                  <a:pos x="connsiteX5476" y="connsiteY5476"/>
                </a:cxn>
                <a:cxn ang="0">
                  <a:pos x="connsiteX5477" y="connsiteY5477"/>
                </a:cxn>
                <a:cxn ang="0">
                  <a:pos x="connsiteX5478" y="connsiteY5478"/>
                </a:cxn>
                <a:cxn ang="0">
                  <a:pos x="connsiteX5479" y="connsiteY5479"/>
                </a:cxn>
                <a:cxn ang="0">
                  <a:pos x="connsiteX5480" y="connsiteY5480"/>
                </a:cxn>
                <a:cxn ang="0">
                  <a:pos x="connsiteX5481" y="connsiteY5481"/>
                </a:cxn>
                <a:cxn ang="0">
                  <a:pos x="connsiteX5482" y="connsiteY5482"/>
                </a:cxn>
                <a:cxn ang="0">
                  <a:pos x="connsiteX5483" y="connsiteY5483"/>
                </a:cxn>
                <a:cxn ang="0">
                  <a:pos x="connsiteX5484" y="connsiteY5484"/>
                </a:cxn>
                <a:cxn ang="0">
                  <a:pos x="connsiteX5485" y="connsiteY5485"/>
                </a:cxn>
                <a:cxn ang="0">
                  <a:pos x="connsiteX5486" y="connsiteY5486"/>
                </a:cxn>
                <a:cxn ang="0">
                  <a:pos x="connsiteX5487" y="connsiteY5487"/>
                </a:cxn>
                <a:cxn ang="0">
                  <a:pos x="connsiteX5488" y="connsiteY5488"/>
                </a:cxn>
                <a:cxn ang="0">
                  <a:pos x="connsiteX5489" y="connsiteY5489"/>
                </a:cxn>
                <a:cxn ang="0">
                  <a:pos x="connsiteX5490" y="connsiteY5490"/>
                </a:cxn>
                <a:cxn ang="0">
                  <a:pos x="connsiteX5491" y="connsiteY5491"/>
                </a:cxn>
                <a:cxn ang="0">
                  <a:pos x="connsiteX5492" y="connsiteY5492"/>
                </a:cxn>
                <a:cxn ang="0">
                  <a:pos x="connsiteX5493" y="connsiteY5493"/>
                </a:cxn>
                <a:cxn ang="0">
                  <a:pos x="connsiteX5494" y="connsiteY5494"/>
                </a:cxn>
                <a:cxn ang="0">
                  <a:pos x="connsiteX5495" y="connsiteY5495"/>
                </a:cxn>
                <a:cxn ang="0">
                  <a:pos x="connsiteX5496" y="connsiteY5496"/>
                </a:cxn>
                <a:cxn ang="0">
                  <a:pos x="connsiteX5497" y="connsiteY5497"/>
                </a:cxn>
                <a:cxn ang="0">
                  <a:pos x="connsiteX5498" y="connsiteY5498"/>
                </a:cxn>
                <a:cxn ang="0">
                  <a:pos x="connsiteX5499" y="connsiteY5499"/>
                </a:cxn>
                <a:cxn ang="0">
                  <a:pos x="connsiteX5500" y="connsiteY5500"/>
                </a:cxn>
                <a:cxn ang="0">
                  <a:pos x="connsiteX5501" y="connsiteY5501"/>
                </a:cxn>
                <a:cxn ang="0">
                  <a:pos x="connsiteX5502" y="connsiteY5502"/>
                </a:cxn>
                <a:cxn ang="0">
                  <a:pos x="connsiteX5503" y="connsiteY5503"/>
                </a:cxn>
                <a:cxn ang="0">
                  <a:pos x="connsiteX5504" y="connsiteY5504"/>
                </a:cxn>
                <a:cxn ang="0">
                  <a:pos x="connsiteX5505" y="connsiteY5505"/>
                </a:cxn>
                <a:cxn ang="0">
                  <a:pos x="connsiteX5506" y="connsiteY5506"/>
                </a:cxn>
                <a:cxn ang="0">
                  <a:pos x="connsiteX5507" y="connsiteY5507"/>
                </a:cxn>
                <a:cxn ang="0">
                  <a:pos x="connsiteX5508" y="connsiteY5508"/>
                </a:cxn>
                <a:cxn ang="0">
                  <a:pos x="connsiteX5509" y="connsiteY5509"/>
                </a:cxn>
                <a:cxn ang="0">
                  <a:pos x="connsiteX5510" y="connsiteY5510"/>
                </a:cxn>
                <a:cxn ang="0">
                  <a:pos x="connsiteX5511" y="connsiteY5511"/>
                </a:cxn>
                <a:cxn ang="0">
                  <a:pos x="connsiteX5512" y="connsiteY5512"/>
                </a:cxn>
                <a:cxn ang="0">
                  <a:pos x="connsiteX5513" y="connsiteY5513"/>
                </a:cxn>
                <a:cxn ang="0">
                  <a:pos x="connsiteX5514" y="connsiteY5514"/>
                </a:cxn>
                <a:cxn ang="0">
                  <a:pos x="connsiteX5515" y="connsiteY5515"/>
                </a:cxn>
                <a:cxn ang="0">
                  <a:pos x="connsiteX5516" y="connsiteY5516"/>
                </a:cxn>
                <a:cxn ang="0">
                  <a:pos x="connsiteX5517" y="connsiteY5517"/>
                </a:cxn>
                <a:cxn ang="0">
                  <a:pos x="connsiteX5518" y="connsiteY5518"/>
                </a:cxn>
                <a:cxn ang="0">
                  <a:pos x="connsiteX5519" y="connsiteY5519"/>
                </a:cxn>
                <a:cxn ang="0">
                  <a:pos x="connsiteX5520" y="connsiteY5520"/>
                </a:cxn>
                <a:cxn ang="0">
                  <a:pos x="connsiteX5521" y="connsiteY5521"/>
                </a:cxn>
                <a:cxn ang="0">
                  <a:pos x="connsiteX5522" y="connsiteY5522"/>
                </a:cxn>
                <a:cxn ang="0">
                  <a:pos x="connsiteX5523" y="connsiteY5523"/>
                </a:cxn>
                <a:cxn ang="0">
                  <a:pos x="connsiteX5524" y="connsiteY5524"/>
                </a:cxn>
                <a:cxn ang="0">
                  <a:pos x="connsiteX5525" y="connsiteY5525"/>
                </a:cxn>
                <a:cxn ang="0">
                  <a:pos x="connsiteX5526" y="connsiteY5526"/>
                </a:cxn>
                <a:cxn ang="0">
                  <a:pos x="connsiteX5527" y="connsiteY5527"/>
                </a:cxn>
                <a:cxn ang="0">
                  <a:pos x="connsiteX5528" y="connsiteY5528"/>
                </a:cxn>
                <a:cxn ang="0">
                  <a:pos x="connsiteX5529" y="connsiteY5529"/>
                </a:cxn>
                <a:cxn ang="0">
                  <a:pos x="connsiteX5530" y="connsiteY5530"/>
                </a:cxn>
                <a:cxn ang="0">
                  <a:pos x="connsiteX5531" y="connsiteY5531"/>
                </a:cxn>
                <a:cxn ang="0">
                  <a:pos x="connsiteX5532" y="connsiteY5532"/>
                </a:cxn>
                <a:cxn ang="0">
                  <a:pos x="connsiteX5533" y="connsiteY5533"/>
                </a:cxn>
                <a:cxn ang="0">
                  <a:pos x="connsiteX5534" y="connsiteY5534"/>
                </a:cxn>
                <a:cxn ang="0">
                  <a:pos x="connsiteX5535" y="connsiteY5535"/>
                </a:cxn>
                <a:cxn ang="0">
                  <a:pos x="connsiteX5536" y="connsiteY5536"/>
                </a:cxn>
                <a:cxn ang="0">
                  <a:pos x="connsiteX5537" y="connsiteY5537"/>
                </a:cxn>
                <a:cxn ang="0">
                  <a:pos x="connsiteX5538" y="connsiteY5538"/>
                </a:cxn>
                <a:cxn ang="0">
                  <a:pos x="connsiteX5539" y="connsiteY5539"/>
                </a:cxn>
                <a:cxn ang="0">
                  <a:pos x="connsiteX5540" y="connsiteY5540"/>
                </a:cxn>
                <a:cxn ang="0">
                  <a:pos x="connsiteX5541" y="connsiteY5541"/>
                </a:cxn>
                <a:cxn ang="0">
                  <a:pos x="connsiteX5542" y="connsiteY5542"/>
                </a:cxn>
                <a:cxn ang="0">
                  <a:pos x="connsiteX5543" y="connsiteY5543"/>
                </a:cxn>
                <a:cxn ang="0">
                  <a:pos x="connsiteX5544" y="connsiteY5544"/>
                </a:cxn>
                <a:cxn ang="0">
                  <a:pos x="connsiteX5545" y="connsiteY5545"/>
                </a:cxn>
                <a:cxn ang="0">
                  <a:pos x="connsiteX5546" y="connsiteY5546"/>
                </a:cxn>
                <a:cxn ang="0">
                  <a:pos x="connsiteX5547" y="connsiteY5547"/>
                </a:cxn>
                <a:cxn ang="0">
                  <a:pos x="connsiteX5548" y="connsiteY5548"/>
                </a:cxn>
                <a:cxn ang="0">
                  <a:pos x="connsiteX5549" y="connsiteY5549"/>
                </a:cxn>
                <a:cxn ang="0">
                  <a:pos x="connsiteX5550" y="connsiteY5550"/>
                </a:cxn>
                <a:cxn ang="0">
                  <a:pos x="connsiteX5551" y="connsiteY5551"/>
                </a:cxn>
                <a:cxn ang="0">
                  <a:pos x="connsiteX5552" y="connsiteY5552"/>
                </a:cxn>
                <a:cxn ang="0">
                  <a:pos x="connsiteX5553" y="connsiteY5553"/>
                </a:cxn>
                <a:cxn ang="0">
                  <a:pos x="connsiteX5554" y="connsiteY5554"/>
                </a:cxn>
                <a:cxn ang="0">
                  <a:pos x="connsiteX5555" y="connsiteY5555"/>
                </a:cxn>
                <a:cxn ang="0">
                  <a:pos x="connsiteX5556" y="connsiteY5556"/>
                </a:cxn>
                <a:cxn ang="0">
                  <a:pos x="connsiteX5557" y="connsiteY5557"/>
                </a:cxn>
                <a:cxn ang="0">
                  <a:pos x="connsiteX5558" y="connsiteY5558"/>
                </a:cxn>
                <a:cxn ang="0">
                  <a:pos x="connsiteX5559" y="connsiteY5559"/>
                </a:cxn>
                <a:cxn ang="0">
                  <a:pos x="connsiteX5560" y="connsiteY5560"/>
                </a:cxn>
                <a:cxn ang="0">
                  <a:pos x="connsiteX5561" y="connsiteY5561"/>
                </a:cxn>
                <a:cxn ang="0">
                  <a:pos x="connsiteX5562" y="connsiteY5562"/>
                </a:cxn>
                <a:cxn ang="0">
                  <a:pos x="connsiteX5563" y="connsiteY5563"/>
                </a:cxn>
                <a:cxn ang="0">
                  <a:pos x="connsiteX5564" y="connsiteY5564"/>
                </a:cxn>
                <a:cxn ang="0">
                  <a:pos x="connsiteX5565" y="connsiteY5565"/>
                </a:cxn>
                <a:cxn ang="0">
                  <a:pos x="connsiteX5566" y="connsiteY5566"/>
                </a:cxn>
                <a:cxn ang="0">
                  <a:pos x="connsiteX5567" y="connsiteY5567"/>
                </a:cxn>
                <a:cxn ang="0">
                  <a:pos x="connsiteX5568" y="connsiteY5568"/>
                </a:cxn>
                <a:cxn ang="0">
                  <a:pos x="connsiteX5569" y="connsiteY5569"/>
                </a:cxn>
                <a:cxn ang="0">
                  <a:pos x="connsiteX5570" y="connsiteY5570"/>
                </a:cxn>
                <a:cxn ang="0">
                  <a:pos x="connsiteX5571" y="connsiteY5571"/>
                </a:cxn>
                <a:cxn ang="0">
                  <a:pos x="connsiteX5572" y="connsiteY5572"/>
                </a:cxn>
                <a:cxn ang="0">
                  <a:pos x="connsiteX5573" y="connsiteY5573"/>
                </a:cxn>
                <a:cxn ang="0">
                  <a:pos x="connsiteX5574" y="connsiteY5574"/>
                </a:cxn>
                <a:cxn ang="0">
                  <a:pos x="connsiteX5575" y="connsiteY5575"/>
                </a:cxn>
                <a:cxn ang="0">
                  <a:pos x="connsiteX5576" y="connsiteY5576"/>
                </a:cxn>
                <a:cxn ang="0">
                  <a:pos x="connsiteX5577" y="connsiteY5577"/>
                </a:cxn>
                <a:cxn ang="0">
                  <a:pos x="connsiteX5578" y="connsiteY5578"/>
                </a:cxn>
                <a:cxn ang="0">
                  <a:pos x="connsiteX5579" y="connsiteY5579"/>
                </a:cxn>
                <a:cxn ang="0">
                  <a:pos x="connsiteX5580" y="connsiteY5580"/>
                </a:cxn>
                <a:cxn ang="0">
                  <a:pos x="connsiteX5581" y="connsiteY5581"/>
                </a:cxn>
                <a:cxn ang="0">
                  <a:pos x="connsiteX5582" y="connsiteY5582"/>
                </a:cxn>
                <a:cxn ang="0">
                  <a:pos x="connsiteX5583" y="connsiteY5583"/>
                </a:cxn>
                <a:cxn ang="0">
                  <a:pos x="connsiteX5584" y="connsiteY5584"/>
                </a:cxn>
                <a:cxn ang="0">
                  <a:pos x="connsiteX5585" y="connsiteY5585"/>
                </a:cxn>
                <a:cxn ang="0">
                  <a:pos x="connsiteX5586" y="connsiteY5586"/>
                </a:cxn>
                <a:cxn ang="0">
                  <a:pos x="connsiteX5587" y="connsiteY5587"/>
                </a:cxn>
                <a:cxn ang="0">
                  <a:pos x="connsiteX5588" y="connsiteY5588"/>
                </a:cxn>
                <a:cxn ang="0">
                  <a:pos x="connsiteX5589" y="connsiteY5589"/>
                </a:cxn>
                <a:cxn ang="0">
                  <a:pos x="connsiteX5590" y="connsiteY5590"/>
                </a:cxn>
                <a:cxn ang="0">
                  <a:pos x="connsiteX5591" y="connsiteY5591"/>
                </a:cxn>
                <a:cxn ang="0">
                  <a:pos x="connsiteX5592" y="connsiteY5592"/>
                </a:cxn>
                <a:cxn ang="0">
                  <a:pos x="connsiteX5593" y="connsiteY5593"/>
                </a:cxn>
                <a:cxn ang="0">
                  <a:pos x="connsiteX5594" y="connsiteY5594"/>
                </a:cxn>
                <a:cxn ang="0">
                  <a:pos x="connsiteX5595" y="connsiteY5595"/>
                </a:cxn>
                <a:cxn ang="0">
                  <a:pos x="connsiteX5596" y="connsiteY5596"/>
                </a:cxn>
                <a:cxn ang="0">
                  <a:pos x="connsiteX5597" y="connsiteY5597"/>
                </a:cxn>
                <a:cxn ang="0">
                  <a:pos x="connsiteX5598" y="connsiteY5598"/>
                </a:cxn>
                <a:cxn ang="0">
                  <a:pos x="connsiteX5599" y="connsiteY5599"/>
                </a:cxn>
                <a:cxn ang="0">
                  <a:pos x="connsiteX5600" y="connsiteY5600"/>
                </a:cxn>
                <a:cxn ang="0">
                  <a:pos x="connsiteX5601" y="connsiteY5601"/>
                </a:cxn>
                <a:cxn ang="0">
                  <a:pos x="connsiteX5602" y="connsiteY5602"/>
                </a:cxn>
                <a:cxn ang="0">
                  <a:pos x="connsiteX5603" y="connsiteY5603"/>
                </a:cxn>
                <a:cxn ang="0">
                  <a:pos x="connsiteX5604" y="connsiteY5604"/>
                </a:cxn>
                <a:cxn ang="0">
                  <a:pos x="connsiteX5605" y="connsiteY5605"/>
                </a:cxn>
                <a:cxn ang="0">
                  <a:pos x="connsiteX5606" y="connsiteY5606"/>
                </a:cxn>
                <a:cxn ang="0">
                  <a:pos x="connsiteX5607" y="connsiteY5607"/>
                </a:cxn>
                <a:cxn ang="0">
                  <a:pos x="connsiteX5608" y="connsiteY5608"/>
                </a:cxn>
                <a:cxn ang="0">
                  <a:pos x="connsiteX5609" y="connsiteY5609"/>
                </a:cxn>
                <a:cxn ang="0">
                  <a:pos x="connsiteX5610" y="connsiteY5610"/>
                </a:cxn>
                <a:cxn ang="0">
                  <a:pos x="connsiteX5611" y="connsiteY5611"/>
                </a:cxn>
                <a:cxn ang="0">
                  <a:pos x="connsiteX5612" y="connsiteY5612"/>
                </a:cxn>
                <a:cxn ang="0">
                  <a:pos x="connsiteX5613" y="connsiteY5613"/>
                </a:cxn>
                <a:cxn ang="0">
                  <a:pos x="connsiteX5614" y="connsiteY5614"/>
                </a:cxn>
                <a:cxn ang="0">
                  <a:pos x="connsiteX5615" y="connsiteY5615"/>
                </a:cxn>
                <a:cxn ang="0">
                  <a:pos x="connsiteX5616" y="connsiteY5616"/>
                </a:cxn>
                <a:cxn ang="0">
                  <a:pos x="connsiteX5617" y="connsiteY5617"/>
                </a:cxn>
                <a:cxn ang="0">
                  <a:pos x="connsiteX5618" y="connsiteY5618"/>
                </a:cxn>
                <a:cxn ang="0">
                  <a:pos x="connsiteX5619" y="connsiteY5619"/>
                </a:cxn>
                <a:cxn ang="0">
                  <a:pos x="connsiteX5620" y="connsiteY5620"/>
                </a:cxn>
                <a:cxn ang="0">
                  <a:pos x="connsiteX5621" y="connsiteY5621"/>
                </a:cxn>
                <a:cxn ang="0">
                  <a:pos x="connsiteX5622" y="connsiteY5622"/>
                </a:cxn>
                <a:cxn ang="0">
                  <a:pos x="connsiteX5623" y="connsiteY5623"/>
                </a:cxn>
                <a:cxn ang="0">
                  <a:pos x="connsiteX5624" y="connsiteY5624"/>
                </a:cxn>
                <a:cxn ang="0">
                  <a:pos x="connsiteX5625" y="connsiteY5625"/>
                </a:cxn>
                <a:cxn ang="0">
                  <a:pos x="connsiteX5626" y="connsiteY5626"/>
                </a:cxn>
                <a:cxn ang="0">
                  <a:pos x="connsiteX5627" y="connsiteY5627"/>
                </a:cxn>
                <a:cxn ang="0">
                  <a:pos x="connsiteX5628" y="connsiteY5628"/>
                </a:cxn>
                <a:cxn ang="0">
                  <a:pos x="connsiteX5629" y="connsiteY5629"/>
                </a:cxn>
                <a:cxn ang="0">
                  <a:pos x="connsiteX5630" y="connsiteY5630"/>
                </a:cxn>
                <a:cxn ang="0">
                  <a:pos x="connsiteX5631" y="connsiteY5631"/>
                </a:cxn>
                <a:cxn ang="0">
                  <a:pos x="connsiteX5632" y="connsiteY5632"/>
                </a:cxn>
                <a:cxn ang="0">
                  <a:pos x="connsiteX5633" y="connsiteY5633"/>
                </a:cxn>
                <a:cxn ang="0">
                  <a:pos x="connsiteX5634" y="connsiteY5634"/>
                </a:cxn>
                <a:cxn ang="0">
                  <a:pos x="connsiteX5635" y="connsiteY5635"/>
                </a:cxn>
                <a:cxn ang="0">
                  <a:pos x="connsiteX5636" y="connsiteY5636"/>
                </a:cxn>
                <a:cxn ang="0">
                  <a:pos x="connsiteX5637" y="connsiteY5637"/>
                </a:cxn>
                <a:cxn ang="0">
                  <a:pos x="connsiteX5638" y="connsiteY5638"/>
                </a:cxn>
                <a:cxn ang="0">
                  <a:pos x="connsiteX5639" y="connsiteY5639"/>
                </a:cxn>
                <a:cxn ang="0">
                  <a:pos x="connsiteX5640" y="connsiteY5640"/>
                </a:cxn>
                <a:cxn ang="0">
                  <a:pos x="connsiteX5641" y="connsiteY5641"/>
                </a:cxn>
                <a:cxn ang="0">
                  <a:pos x="connsiteX5642" y="connsiteY5642"/>
                </a:cxn>
                <a:cxn ang="0">
                  <a:pos x="connsiteX5643" y="connsiteY5643"/>
                </a:cxn>
                <a:cxn ang="0">
                  <a:pos x="connsiteX5644" y="connsiteY5644"/>
                </a:cxn>
                <a:cxn ang="0">
                  <a:pos x="connsiteX5645" y="connsiteY5645"/>
                </a:cxn>
                <a:cxn ang="0">
                  <a:pos x="connsiteX5646" y="connsiteY5646"/>
                </a:cxn>
                <a:cxn ang="0">
                  <a:pos x="connsiteX5647" y="connsiteY5647"/>
                </a:cxn>
                <a:cxn ang="0">
                  <a:pos x="connsiteX5648" y="connsiteY5648"/>
                </a:cxn>
                <a:cxn ang="0">
                  <a:pos x="connsiteX5649" y="connsiteY5649"/>
                </a:cxn>
                <a:cxn ang="0">
                  <a:pos x="connsiteX5650" y="connsiteY5650"/>
                </a:cxn>
                <a:cxn ang="0">
                  <a:pos x="connsiteX5651" y="connsiteY5651"/>
                </a:cxn>
                <a:cxn ang="0">
                  <a:pos x="connsiteX5652" y="connsiteY5652"/>
                </a:cxn>
                <a:cxn ang="0">
                  <a:pos x="connsiteX5653" y="connsiteY5653"/>
                </a:cxn>
                <a:cxn ang="0">
                  <a:pos x="connsiteX5654" y="connsiteY5654"/>
                </a:cxn>
                <a:cxn ang="0">
                  <a:pos x="connsiteX5655" y="connsiteY5655"/>
                </a:cxn>
                <a:cxn ang="0">
                  <a:pos x="connsiteX5656" y="connsiteY5656"/>
                </a:cxn>
                <a:cxn ang="0">
                  <a:pos x="connsiteX5657" y="connsiteY5657"/>
                </a:cxn>
                <a:cxn ang="0">
                  <a:pos x="connsiteX5658" y="connsiteY5658"/>
                </a:cxn>
                <a:cxn ang="0">
                  <a:pos x="connsiteX5659" y="connsiteY5659"/>
                </a:cxn>
                <a:cxn ang="0">
                  <a:pos x="connsiteX5660" y="connsiteY5660"/>
                </a:cxn>
                <a:cxn ang="0">
                  <a:pos x="connsiteX5661" y="connsiteY5661"/>
                </a:cxn>
                <a:cxn ang="0">
                  <a:pos x="connsiteX5662" y="connsiteY5662"/>
                </a:cxn>
                <a:cxn ang="0">
                  <a:pos x="connsiteX5663" y="connsiteY5663"/>
                </a:cxn>
                <a:cxn ang="0">
                  <a:pos x="connsiteX5664" y="connsiteY5664"/>
                </a:cxn>
                <a:cxn ang="0">
                  <a:pos x="connsiteX5665" y="connsiteY5665"/>
                </a:cxn>
                <a:cxn ang="0">
                  <a:pos x="connsiteX5666" y="connsiteY5666"/>
                </a:cxn>
                <a:cxn ang="0">
                  <a:pos x="connsiteX5667" y="connsiteY5667"/>
                </a:cxn>
                <a:cxn ang="0">
                  <a:pos x="connsiteX5668" y="connsiteY5668"/>
                </a:cxn>
                <a:cxn ang="0">
                  <a:pos x="connsiteX5669" y="connsiteY5669"/>
                </a:cxn>
                <a:cxn ang="0">
                  <a:pos x="connsiteX5670" y="connsiteY5670"/>
                </a:cxn>
                <a:cxn ang="0">
                  <a:pos x="connsiteX5671" y="connsiteY5671"/>
                </a:cxn>
                <a:cxn ang="0">
                  <a:pos x="connsiteX5672" y="connsiteY5672"/>
                </a:cxn>
                <a:cxn ang="0">
                  <a:pos x="connsiteX5673" y="connsiteY5673"/>
                </a:cxn>
                <a:cxn ang="0">
                  <a:pos x="connsiteX5674" y="connsiteY5674"/>
                </a:cxn>
                <a:cxn ang="0">
                  <a:pos x="connsiteX5675" y="connsiteY5675"/>
                </a:cxn>
                <a:cxn ang="0">
                  <a:pos x="connsiteX5676" y="connsiteY5676"/>
                </a:cxn>
                <a:cxn ang="0">
                  <a:pos x="connsiteX5677" y="connsiteY5677"/>
                </a:cxn>
                <a:cxn ang="0">
                  <a:pos x="connsiteX5678" y="connsiteY5678"/>
                </a:cxn>
                <a:cxn ang="0">
                  <a:pos x="connsiteX5679" y="connsiteY5679"/>
                </a:cxn>
                <a:cxn ang="0">
                  <a:pos x="connsiteX5680" y="connsiteY5680"/>
                </a:cxn>
                <a:cxn ang="0">
                  <a:pos x="connsiteX5681" y="connsiteY5681"/>
                </a:cxn>
                <a:cxn ang="0">
                  <a:pos x="connsiteX5682" y="connsiteY5682"/>
                </a:cxn>
                <a:cxn ang="0">
                  <a:pos x="connsiteX5683" y="connsiteY5683"/>
                </a:cxn>
                <a:cxn ang="0">
                  <a:pos x="connsiteX5684" y="connsiteY5684"/>
                </a:cxn>
                <a:cxn ang="0">
                  <a:pos x="connsiteX5685" y="connsiteY5685"/>
                </a:cxn>
                <a:cxn ang="0">
                  <a:pos x="connsiteX5686" y="connsiteY5686"/>
                </a:cxn>
                <a:cxn ang="0">
                  <a:pos x="connsiteX5687" y="connsiteY5687"/>
                </a:cxn>
                <a:cxn ang="0">
                  <a:pos x="connsiteX5688" y="connsiteY5688"/>
                </a:cxn>
                <a:cxn ang="0">
                  <a:pos x="connsiteX5689" y="connsiteY5689"/>
                </a:cxn>
                <a:cxn ang="0">
                  <a:pos x="connsiteX5690" y="connsiteY5690"/>
                </a:cxn>
                <a:cxn ang="0">
                  <a:pos x="connsiteX5691" y="connsiteY5691"/>
                </a:cxn>
                <a:cxn ang="0">
                  <a:pos x="connsiteX5692" y="connsiteY5692"/>
                </a:cxn>
                <a:cxn ang="0">
                  <a:pos x="connsiteX5693" y="connsiteY5693"/>
                </a:cxn>
                <a:cxn ang="0">
                  <a:pos x="connsiteX5694" y="connsiteY5694"/>
                </a:cxn>
                <a:cxn ang="0">
                  <a:pos x="connsiteX5695" y="connsiteY5695"/>
                </a:cxn>
                <a:cxn ang="0">
                  <a:pos x="connsiteX5696" y="connsiteY5696"/>
                </a:cxn>
                <a:cxn ang="0">
                  <a:pos x="connsiteX5697" y="connsiteY5697"/>
                </a:cxn>
                <a:cxn ang="0">
                  <a:pos x="connsiteX5698" y="connsiteY5698"/>
                </a:cxn>
                <a:cxn ang="0">
                  <a:pos x="connsiteX5699" y="connsiteY5699"/>
                </a:cxn>
                <a:cxn ang="0">
                  <a:pos x="connsiteX5700" y="connsiteY5700"/>
                </a:cxn>
                <a:cxn ang="0">
                  <a:pos x="connsiteX5701" y="connsiteY5701"/>
                </a:cxn>
                <a:cxn ang="0">
                  <a:pos x="connsiteX5702" y="connsiteY5702"/>
                </a:cxn>
                <a:cxn ang="0">
                  <a:pos x="connsiteX5703" y="connsiteY5703"/>
                </a:cxn>
                <a:cxn ang="0">
                  <a:pos x="connsiteX5704" y="connsiteY5704"/>
                </a:cxn>
                <a:cxn ang="0">
                  <a:pos x="connsiteX5705" y="connsiteY5705"/>
                </a:cxn>
                <a:cxn ang="0">
                  <a:pos x="connsiteX5706" y="connsiteY5706"/>
                </a:cxn>
                <a:cxn ang="0">
                  <a:pos x="connsiteX5707" y="connsiteY5707"/>
                </a:cxn>
                <a:cxn ang="0">
                  <a:pos x="connsiteX5708" y="connsiteY5708"/>
                </a:cxn>
                <a:cxn ang="0">
                  <a:pos x="connsiteX5709" y="connsiteY5709"/>
                </a:cxn>
                <a:cxn ang="0">
                  <a:pos x="connsiteX5710" y="connsiteY5710"/>
                </a:cxn>
                <a:cxn ang="0">
                  <a:pos x="connsiteX5711" y="connsiteY5711"/>
                </a:cxn>
                <a:cxn ang="0">
                  <a:pos x="connsiteX5712" y="connsiteY5712"/>
                </a:cxn>
                <a:cxn ang="0">
                  <a:pos x="connsiteX5713" y="connsiteY5713"/>
                </a:cxn>
                <a:cxn ang="0">
                  <a:pos x="connsiteX5714" y="connsiteY5714"/>
                </a:cxn>
                <a:cxn ang="0">
                  <a:pos x="connsiteX5715" y="connsiteY5715"/>
                </a:cxn>
                <a:cxn ang="0">
                  <a:pos x="connsiteX5716" y="connsiteY5716"/>
                </a:cxn>
                <a:cxn ang="0">
                  <a:pos x="connsiteX5717" y="connsiteY5717"/>
                </a:cxn>
                <a:cxn ang="0">
                  <a:pos x="connsiteX5718" y="connsiteY5718"/>
                </a:cxn>
                <a:cxn ang="0">
                  <a:pos x="connsiteX5719" y="connsiteY5719"/>
                </a:cxn>
                <a:cxn ang="0">
                  <a:pos x="connsiteX5720" y="connsiteY5720"/>
                </a:cxn>
                <a:cxn ang="0">
                  <a:pos x="connsiteX5721" y="connsiteY5721"/>
                </a:cxn>
                <a:cxn ang="0">
                  <a:pos x="connsiteX5722" y="connsiteY5722"/>
                </a:cxn>
                <a:cxn ang="0">
                  <a:pos x="connsiteX5723" y="connsiteY5723"/>
                </a:cxn>
                <a:cxn ang="0">
                  <a:pos x="connsiteX5724" y="connsiteY5724"/>
                </a:cxn>
                <a:cxn ang="0">
                  <a:pos x="connsiteX5725" y="connsiteY5725"/>
                </a:cxn>
                <a:cxn ang="0">
                  <a:pos x="connsiteX5726" y="connsiteY5726"/>
                </a:cxn>
                <a:cxn ang="0">
                  <a:pos x="connsiteX5727" y="connsiteY5727"/>
                </a:cxn>
                <a:cxn ang="0">
                  <a:pos x="connsiteX5728" y="connsiteY5728"/>
                </a:cxn>
                <a:cxn ang="0">
                  <a:pos x="connsiteX5729" y="connsiteY5729"/>
                </a:cxn>
                <a:cxn ang="0">
                  <a:pos x="connsiteX5730" y="connsiteY5730"/>
                </a:cxn>
                <a:cxn ang="0">
                  <a:pos x="connsiteX5731" y="connsiteY5731"/>
                </a:cxn>
                <a:cxn ang="0">
                  <a:pos x="connsiteX5732" y="connsiteY5732"/>
                </a:cxn>
                <a:cxn ang="0">
                  <a:pos x="connsiteX5733" y="connsiteY5733"/>
                </a:cxn>
                <a:cxn ang="0">
                  <a:pos x="connsiteX5734" y="connsiteY5734"/>
                </a:cxn>
                <a:cxn ang="0">
                  <a:pos x="connsiteX5735" y="connsiteY5735"/>
                </a:cxn>
                <a:cxn ang="0">
                  <a:pos x="connsiteX5736" y="connsiteY5736"/>
                </a:cxn>
                <a:cxn ang="0">
                  <a:pos x="connsiteX5737" y="connsiteY5737"/>
                </a:cxn>
                <a:cxn ang="0">
                  <a:pos x="connsiteX5738" y="connsiteY5738"/>
                </a:cxn>
                <a:cxn ang="0">
                  <a:pos x="connsiteX5739" y="connsiteY5739"/>
                </a:cxn>
                <a:cxn ang="0">
                  <a:pos x="connsiteX5740" y="connsiteY5740"/>
                </a:cxn>
                <a:cxn ang="0">
                  <a:pos x="connsiteX5741" y="connsiteY5741"/>
                </a:cxn>
                <a:cxn ang="0">
                  <a:pos x="connsiteX5742" y="connsiteY5742"/>
                </a:cxn>
                <a:cxn ang="0">
                  <a:pos x="connsiteX5743" y="connsiteY5743"/>
                </a:cxn>
                <a:cxn ang="0">
                  <a:pos x="connsiteX5744" y="connsiteY5744"/>
                </a:cxn>
                <a:cxn ang="0">
                  <a:pos x="connsiteX5745" y="connsiteY5745"/>
                </a:cxn>
                <a:cxn ang="0">
                  <a:pos x="connsiteX5746" y="connsiteY5746"/>
                </a:cxn>
                <a:cxn ang="0">
                  <a:pos x="connsiteX5747" y="connsiteY5747"/>
                </a:cxn>
                <a:cxn ang="0">
                  <a:pos x="connsiteX5748" y="connsiteY5748"/>
                </a:cxn>
                <a:cxn ang="0">
                  <a:pos x="connsiteX5749" y="connsiteY5749"/>
                </a:cxn>
                <a:cxn ang="0">
                  <a:pos x="connsiteX5750" y="connsiteY5750"/>
                </a:cxn>
                <a:cxn ang="0">
                  <a:pos x="connsiteX5751" y="connsiteY5751"/>
                </a:cxn>
                <a:cxn ang="0">
                  <a:pos x="connsiteX5752" y="connsiteY5752"/>
                </a:cxn>
                <a:cxn ang="0">
                  <a:pos x="connsiteX5753" y="connsiteY5753"/>
                </a:cxn>
                <a:cxn ang="0">
                  <a:pos x="connsiteX5754" y="connsiteY5754"/>
                </a:cxn>
                <a:cxn ang="0">
                  <a:pos x="connsiteX5755" y="connsiteY5755"/>
                </a:cxn>
                <a:cxn ang="0">
                  <a:pos x="connsiteX5756" y="connsiteY5756"/>
                </a:cxn>
                <a:cxn ang="0">
                  <a:pos x="connsiteX5757" y="connsiteY5757"/>
                </a:cxn>
                <a:cxn ang="0">
                  <a:pos x="connsiteX5758" y="connsiteY5758"/>
                </a:cxn>
                <a:cxn ang="0">
                  <a:pos x="connsiteX5759" y="connsiteY5759"/>
                </a:cxn>
                <a:cxn ang="0">
                  <a:pos x="connsiteX5760" y="connsiteY5760"/>
                </a:cxn>
                <a:cxn ang="0">
                  <a:pos x="connsiteX5761" y="connsiteY5761"/>
                </a:cxn>
                <a:cxn ang="0">
                  <a:pos x="connsiteX5762" y="connsiteY5762"/>
                </a:cxn>
                <a:cxn ang="0">
                  <a:pos x="connsiteX5763" y="connsiteY5763"/>
                </a:cxn>
                <a:cxn ang="0">
                  <a:pos x="connsiteX5764" y="connsiteY5764"/>
                </a:cxn>
                <a:cxn ang="0">
                  <a:pos x="connsiteX5765" y="connsiteY5765"/>
                </a:cxn>
                <a:cxn ang="0">
                  <a:pos x="connsiteX5766" y="connsiteY5766"/>
                </a:cxn>
                <a:cxn ang="0">
                  <a:pos x="connsiteX5767" y="connsiteY5767"/>
                </a:cxn>
                <a:cxn ang="0">
                  <a:pos x="connsiteX5768" y="connsiteY5768"/>
                </a:cxn>
                <a:cxn ang="0">
                  <a:pos x="connsiteX5769" y="connsiteY5769"/>
                </a:cxn>
                <a:cxn ang="0">
                  <a:pos x="connsiteX5770" y="connsiteY5770"/>
                </a:cxn>
                <a:cxn ang="0">
                  <a:pos x="connsiteX5771" y="connsiteY5771"/>
                </a:cxn>
                <a:cxn ang="0">
                  <a:pos x="connsiteX5772" y="connsiteY5772"/>
                </a:cxn>
                <a:cxn ang="0">
                  <a:pos x="connsiteX5773" y="connsiteY5773"/>
                </a:cxn>
                <a:cxn ang="0">
                  <a:pos x="connsiteX5774" y="connsiteY5774"/>
                </a:cxn>
                <a:cxn ang="0">
                  <a:pos x="connsiteX5775" y="connsiteY5775"/>
                </a:cxn>
                <a:cxn ang="0">
                  <a:pos x="connsiteX5776" y="connsiteY5776"/>
                </a:cxn>
                <a:cxn ang="0">
                  <a:pos x="connsiteX5777" y="connsiteY5777"/>
                </a:cxn>
                <a:cxn ang="0">
                  <a:pos x="connsiteX5778" y="connsiteY5778"/>
                </a:cxn>
                <a:cxn ang="0">
                  <a:pos x="connsiteX5779" y="connsiteY5779"/>
                </a:cxn>
                <a:cxn ang="0">
                  <a:pos x="connsiteX5780" y="connsiteY5780"/>
                </a:cxn>
                <a:cxn ang="0">
                  <a:pos x="connsiteX5781" y="connsiteY5781"/>
                </a:cxn>
                <a:cxn ang="0">
                  <a:pos x="connsiteX5782" y="connsiteY5782"/>
                </a:cxn>
                <a:cxn ang="0">
                  <a:pos x="connsiteX5783" y="connsiteY5783"/>
                </a:cxn>
                <a:cxn ang="0">
                  <a:pos x="connsiteX5784" y="connsiteY5784"/>
                </a:cxn>
                <a:cxn ang="0">
                  <a:pos x="connsiteX5785" y="connsiteY5785"/>
                </a:cxn>
                <a:cxn ang="0">
                  <a:pos x="connsiteX5786" y="connsiteY5786"/>
                </a:cxn>
                <a:cxn ang="0">
                  <a:pos x="connsiteX5787" y="connsiteY5787"/>
                </a:cxn>
                <a:cxn ang="0">
                  <a:pos x="connsiteX5788" y="connsiteY5788"/>
                </a:cxn>
                <a:cxn ang="0">
                  <a:pos x="connsiteX5789" y="connsiteY5789"/>
                </a:cxn>
                <a:cxn ang="0">
                  <a:pos x="connsiteX5790" y="connsiteY5790"/>
                </a:cxn>
                <a:cxn ang="0">
                  <a:pos x="connsiteX5791" y="connsiteY5791"/>
                </a:cxn>
                <a:cxn ang="0">
                  <a:pos x="connsiteX5792" y="connsiteY5792"/>
                </a:cxn>
                <a:cxn ang="0">
                  <a:pos x="connsiteX5793" y="connsiteY5793"/>
                </a:cxn>
                <a:cxn ang="0">
                  <a:pos x="connsiteX5794" y="connsiteY5794"/>
                </a:cxn>
                <a:cxn ang="0">
                  <a:pos x="connsiteX5795" y="connsiteY5795"/>
                </a:cxn>
                <a:cxn ang="0">
                  <a:pos x="connsiteX5796" y="connsiteY5796"/>
                </a:cxn>
                <a:cxn ang="0">
                  <a:pos x="connsiteX5797" y="connsiteY5797"/>
                </a:cxn>
                <a:cxn ang="0">
                  <a:pos x="connsiteX5798" y="connsiteY5798"/>
                </a:cxn>
                <a:cxn ang="0">
                  <a:pos x="connsiteX5799" y="connsiteY5799"/>
                </a:cxn>
                <a:cxn ang="0">
                  <a:pos x="connsiteX5800" y="connsiteY5800"/>
                </a:cxn>
                <a:cxn ang="0">
                  <a:pos x="connsiteX5801" y="connsiteY5801"/>
                </a:cxn>
                <a:cxn ang="0">
                  <a:pos x="connsiteX5802" y="connsiteY5802"/>
                </a:cxn>
                <a:cxn ang="0">
                  <a:pos x="connsiteX5803" y="connsiteY5803"/>
                </a:cxn>
                <a:cxn ang="0">
                  <a:pos x="connsiteX5804" y="connsiteY5804"/>
                </a:cxn>
                <a:cxn ang="0">
                  <a:pos x="connsiteX5805" y="connsiteY5805"/>
                </a:cxn>
                <a:cxn ang="0">
                  <a:pos x="connsiteX5806" y="connsiteY5806"/>
                </a:cxn>
                <a:cxn ang="0">
                  <a:pos x="connsiteX5807" y="connsiteY5807"/>
                </a:cxn>
                <a:cxn ang="0">
                  <a:pos x="connsiteX5808" y="connsiteY5808"/>
                </a:cxn>
                <a:cxn ang="0">
                  <a:pos x="connsiteX5809" y="connsiteY5809"/>
                </a:cxn>
                <a:cxn ang="0">
                  <a:pos x="connsiteX5810" y="connsiteY5810"/>
                </a:cxn>
                <a:cxn ang="0">
                  <a:pos x="connsiteX5811" y="connsiteY5811"/>
                </a:cxn>
                <a:cxn ang="0">
                  <a:pos x="connsiteX5812" y="connsiteY5812"/>
                </a:cxn>
                <a:cxn ang="0">
                  <a:pos x="connsiteX5813" y="connsiteY5813"/>
                </a:cxn>
                <a:cxn ang="0">
                  <a:pos x="connsiteX5814" y="connsiteY5814"/>
                </a:cxn>
                <a:cxn ang="0">
                  <a:pos x="connsiteX5815" y="connsiteY5815"/>
                </a:cxn>
                <a:cxn ang="0">
                  <a:pos x="connsiteX5816" y="connsiteY5816"/>
                </a:cxn>
                <a:cxn ang="0">
                  <a:pos x="connsiteX5817" y="connsiteY5817"/>
                </a:cxn>
                <a:cxn ang="0">
                  <a:pos x="connsiteX5818" y="connsiteY5818"/>
                </a:cxn>
                <a:cxn ang="0">
                  <a:pos x="connsiteX5819" y="connsiteY5819"/>
                </a:cxn>
                <a:cxn ang="0">
                  <a:pos x="connsiteX5820" y="connsiteY5820"/>
                </a:cxn>
                <a:cxn ang="0">
                  <a:pos x="connsiteX5821" y="connsiteY5821"/>
                </a:cxn>
                <a:cxn ang="0">
                  <a:pos x="connsiteX5822" y="connsiteY5822"/>
                </a:cxn>
                <a:cxn ang="0">
                  <a:pos x="connsiteX5823" y="connsiteY5823"/>
                </a:cxn>
                <a:cxn ang="0">
                  <a:pos x="connsiteX5824" y="connsiteY5824"/>
                </a:cxn>
                <a:cxn ang="0">
                  <a:pos x="connsiteX5825" y="connsiteY5825"/>
                </a:cxn>
                <a:cxn ang="0">
                  <a:pos x="connsiteX5826" y="connsiteY5826"/>
                </a:cxn>
                <a:cxn ang="0">
                  <a:pos x="connsiteX5827" y="connsiteY5827"/>
                </a:cxn>
                <a:cxn ang="0">
                  <a:pos x="connsiteX5828" y="connsiteY5828"/>
                </a:cxn>
                <a:cxn ang="0">
                  <a:pos x="connsiteX5829" y="connsiteY5829"/>
                </a:cxn>
                <a:cxn ang="0">
                  <a:pos x="connsiteX5830" y="connsiteY5830"/>
                </a:cxn>
                <a:cxn ang="0">
                  <a:pos x="connsiteX5831" y="connsiteY5831"/>
                </a:cxn>
                <a:cxn ang="0">
                  <a:pos x="connsiteX5832" y="connsiteY5832"/>
                </a:cxn>
                <a:cxn ang="0">
                  <a:pos x="connsiteX5833" y="connsiteY5833"/>
                </a:cxn>
                <a:cxn ang="0">
                  <a:pos x="connsiteX5834" y="connsiteY5834"/>
                </a:cxn>
                <a:cxn ang="0">
                  <a:pos x="connsiteX5835" y="connsiteY5835"/>
                </a:cxn>
                <a:cxn ang="0">
                  <a:pos x="connsiteX5836" y="connsiteY5836"/>
                </a:cxn>
                <a:cxn ang="0">
                  <a:pos x="connsiteX5837" y="connsiteY5837"/>
                </a:cxn>
                <a:cxn ang="0">
                  <a:pos x="connsiteX5838" y="connsiteY5838"/>
                </a:cxn>
                <a:cxn ang="0">
                  <a:pos x="connsiteX5839" y="connsiteY5839"/>
                </a:cxn>
                <a:cxn ang="0">
                  <a:pos x="connsiteX5840" y="connsiteY5840"/>
                </a:cxn>
                <a:cxn ang="0">
                  <a:pos x="connsiteX5841" y="connsiteY5841"/>
                </a:cxn>
                <a:cxn ang="0">
                  <a:pos x="connsiteX5842" y="connsiteY5842"/>
                </a:cxn>
                <a:cxn ang="0">
                  <a:pos x="connsiteX5843" y="connsiteY5843"/>
                </a:cxn>
                <a:cxn ang="0">
                  <a:pos x="connsiteX5844" y="connsiteY5844"/>
                </a:cxn>
                <a:cxn ang="0">
                  <a:pos x="connsiteX5845" y="connsiteY5845"/>
                </a:cxn>
                <a:cxn ang="0">
                  <a:pos x="connsiteX5846" y="connsiteY5846"/>
                </a:cxn>
                <a:cxn ang="0">
                  <a:pos x="connsiteX5847" y="connsiteY5847"/>
                </a:cxn>
                <a:cxn ang="0">
                  <a:pos x="connsiteX5848" y="connsiteY5848"/>
                </a:cxn>
                <a:cxn ang="0">
                  <a:pos x="connsiteX5849" y="connsiteY5849"/>
                </a:cxn>
                <a:cxn ang="0">
                  <a:pos x="connsiteX5850" y="connsiteY5850"/>
                </a:cxn>
                <a:cxn ang="0">
                  <a:pos x="connsiteX5851" y="connsiteY5851"/>
                </a:cxn>
                <a:cxn ang="0">
                  <a:pos x="connsiteX5852" y="connsiteY5852"/>
                </a:cxn>
                <a:cxn ang="0">
                  <a:pos x="connsiteX5853" y="connsiteY5853"/>
                </a:cxn>
                <a:cxn ang="0">
                  <a:pos x="connsiteX5854" y="connsiteY5854"/>
                </a:cxn>
                <a:cxn ang="0">
                  <a:pos x="connsiteX5855" y="connsiteY5855"/>
                </a:cxn>
                <a:cxn ang="0">
                  <a:pos x="connsiteX5856" y="connsiteY5856"/>
                </a:cxn>
                <a:cxn ang="0">
                  <a:pos x="connsiteX5857" y="connsiteY5857"/>
                </a:cxn>
                <a:cxn ang="0">
                  <a:pos x="connsiteX5858" y="connsiteY5858"/>
                </a:cxn>
                <a:cxn ang="0">
                  <a:pos x="connsiteX5859" y="connsiteY5859"/>
                </a:cxn>
                <a:cxn ang="0">
                  <a:pos x="connsiteX5860" y="connsiteY5860"/>
                </a:cxn>
                <a:cxn ang="0">
                  <a:pos x="connsiteX5861" y="connsiteY5861"/>
                </a:cxn>
                <a:cxn ang="0">
                  <a:pos x="connsiteX5862" y="connsiteY5862"/>
                </a:cxn>
                <a:cxn ang="0">
                  <a:pos x="connsiteX5863" y="connsiteY5863"/>
                </a:cxn>
                <a:cxn ang="0">
                  <a:pos x="connsiteX5864" y="connsiteY5864"/>
                </a:cxn>
                <a:cxn ang="0">
                  <a:pos x="connsiteX5865" y="connsiteY5865"/>
                </a:cxn>
                <a:cxn ang="0">
                  <a:pos x="connsiteX5866" y="connsiteY5866"/>
                </a:cxn>
                <a:cxn ang="0">
                  <a:pos x="connsiteX5867" y="connsiteY5867"/>
                </a:cxn>
                <a:cxn ang="0">
                  <a:pos x="connsiteX5868" y="connsiteY5868"/>
                </a:cxn>
                <a:cxn ang="0">
                  <a:pos x="connsiteX5869" y="connsiteY5869"/>
                </a:cxn>
                <a:cxn ang="0">
                  <a:pos x="connsiteX5870" y="connsiteY5870"/>
                </a:cxn>
                <a:cxn ang="0">
                  <a:pos x="connsiteX5871" y="connsiteY5871"/>
                </a:cxn>
                <a:cxn ang="0">
                  <a:pos x="connsiteX5872" y="connsiteY5872"/>
                </a:cxn>
                <a:cxn ang="0">
                  <a:pos x="connsiteX5873" y="connsiteY5873"/>
                </a:cxn>
                <a:cxn ang="0">
                  <a:pos x="connsiteX5874" y="connsiteY5874"/>
                </a:cxn>
                <a:cxn ang="0">
                  <a:pos x="connsiteX5875" y="connsiteY5875"/>
                </a:cxn>
                <a:cxn ang="0">
                  <a:pos x="connsiteX5876" y="connsiteY5876"/>
                </a:cxn>
                <a:cxn ang="0">
                  <a:pos x="connsiteX5877" y="connsiteY5877"/>
                </a:cxn>
                <a:cxn ang="0">
                  <a:pos x="connsiteX5878" y="connsiteY5878"/>
                </a:cxn>
                <a:cxn ang="0">
                  <a:pos x="connsiteX5879" y="connsiteY5879"/>
                </a:cxn>
                <a:cxn ang="0">
                  <a:pos x="connsiteX5880" y="connsiteY5880"/>
                </a:cxn>
                <a:cxn ang="0">
                  <a:pos x="connsiteX5881" y="connsiteY5881"/>
                </a:cxn>
                <a:cxn ang="0">
                  <a:pos x="connsiteX5882" y="connsiteY5882"/>
                </a:cxn>
                <a:cxn ang="0">
                  <a:pos x="connsiteX5883" y="connsiteY5883"/>
                </a:cxn>
                <a:cxn ang="0">
                  <a:pos x="connsiteX5884" y="connsiteY5884"/>
                </a:cxn>
                <a:cxn ang="0">
                  <a:pos x="connsiteX5885" y="connsiteY5885"/>
                </a:cxn>
                <a:cxn ang="0">
                  <a:pos x="connsiteX5886" y="connsiteY5886"/>
                </a:cxn>
                <a:cxn ang="0">
                  <a:pos x="connsiteX5887" y="connsiteY5887"/>
                </a:cxn>
                <a:cxn ang="0">
                  <a:pos x="connsiteX5888" y="connsiteY5888"/>
                </a:cxn>
                <a:cxn ang="0">
                  <a:pos x="connsiteX5889" y="connsiteY5889"/>
                </a:cxn>
                <a:cxn ang="0">
                  <a:pos x="connsiteX5890" y="connsiteY5890"/>
                </a:cxn>
                <a:cxn ang="0">
                  <a:pos x="connsiteX5891" y="connsiteY5891"/>
                </a:cxn>
                <a:cxn ang="0">
                  <a:pos x="connsiteX5892" y="connsiteY5892"/>
                </a:cxn>
                <a:cxn ang="0">
                  <a:pos x="connsiteX5893" y="connsiteY5893"/>
                </a:cxn>
                <a:cxn ang="0">
                  <a:pos x="connsiteX5894" y="connsiteY5894"/>
                </a:cxn>
                <a:cxn ang="0">
                  <a:pos x="connsiteX5895" y="connsiteY5895"/>
                </a:cxn>
                <a:cxn ang="0">
                  <a:pos x="connsiteX5896" y="connsiteY5896"/>
                </a:cxn>
                <a:cxn ang="0">
                  <a:pos x="connsiteX5897" y="connsiteY5897"/>
                </a:cxn>
                <a:cxn ang="0">
                  <a:pos x="connsiteX5898" y="connsiteY5898"/>
                </a:cxn>
                <a:cxn ang="0">
                  <a:pos x="connsiteX5899" y="connsiteY5899"/>
                </a:cxn>
                <a:cxn ang="0">
                  <a:pos x="connsiteX5900" y="connsiteY5900"/>
                </a:cxn>
                <a:cxn ang="0">
                  <a:pos x="connsiteX5901" y="connsiteY5901"/>
                </a:cxn>
                <a:cxn ang="0">
                  <a:pos x="connsiteX5902" y="connsiteY5902"/>
                </a:cxn>
                <a:cxn ang="0">
                  <a:pos x="connsiteX5903" y="connsiteY5903"/>
                </a:cxn>
                <a:cxn ang="0">
                  <a:pos x="connsiteX5904" y="connsiteY5904"/>
                </a:cxn>
                <a:cxn ang="0">
                  <a:pos x="connsiteX5905" y="connsiteY5905"/>
                </a:cxn>
                <a:cxn ang="0">
                  <a:pos x="connsiteX5906" y="connsiteY5906"/>
                </a:cxn>
                <a:cxn ang="0">
                  <a:pos x="connsiteX5907" y="connsiteY5907"/>
                </a:cxn>
                <a:cxn ang="0">
                  <a:pos x="connsiteX5908" y="connsiteY5908"/>
                </a:cxn>
                <a:cxn ang="0">
                  <a:pos x="connsiteX5909" y="connsiteY5909"/>
                </a:cxn>
                <a:cxn ang="0">
                  <a:pos x="connsiteX5910" y="connsiteY5910"/>
                </a:cxn>
                <a:cxn ang="0">
                  <a:pos x="connsiteX5911" y="connsiteY5911"/>
                </a:cxn>
                <a:cxn ang="0">
                  <a:pos x="connsiteX5912" y="connsiteY5912"/>
                </a:cxn>
                <a:cxn ang="0">
                  <a:pos x="connsiteX5913" y="connsiteY5913"/>
                </a:cxn>
                <a:cxn ang="0">
                  <a:pos x="connsiteX5914" y="connsiteY5914"/>
                </a:cxn>
                <a:cxn ang="0">
                  <a:pos x="connsiteX5915" y="connsiteY5915"/>
                </a:cxn>
                <a:cxn ang="0">
                  <a:pos x="connsiteX5916" y="connsiteY5916"/>
                </a:cxn>
                <a:cxn ang="0">
                  <a:pos x="connsiteX5917" y="connsiteY5917"/>
                </a:cxn>
                <a:cxn ang="0">
                  <a:pos x="connsiteX5918" y="connsiteY5918"/>
                </a:cxn>
                <a:cxn ang="0">
                  <a:pos x="connsiteX5919" y="connsiteY5919"/>
                </a:cxn>
                <a:cxn ang="0">
                  <a:pos x="connsiteX5920" y="connsiteY5920"/>
                </a:cxn>
                <a:cxn ang="0">
                  <a:pos x="connsiteX5921" y="connsiteY5921"/>
                </a:cxn>
                <a:cxn ang="0">
                  <a:pos x="connsiteX5922" y="connsiteY5922"/>
                </a:cxn>
                <a:cxn ang="0">
                  <a:pos x="connsiteX5923" y="connsiteY5923"/>
                </a:cxn>
                <a:cxn ang="0">
                  <a:pos x="connsiteX5924" y="connsiteY5924"/>
                </a:cxn>
                <a:cxn ang="0">
                  <a:pos x="connsiteX5925" y="connsiteY5925"/>
                </a:cxn>
                <a:cxn ang="0">
                  <a:pos x="connsiteX5926" y="connsiteY5926"/>
                </a:cxn>
                <a:cxn ang="0">
                  <a:pos x="connsiteX5927" y="connsiteY5927"/>
                </a:cxn>
                <a:cxn ang="0">
                  <a:pos x="connsiteX5928" y="connsiteY5928"/>
                </a:cxn>
                <a:cxn ang="0">
                  <a:pos x="connsiteX5929" y="connsiteY5929"/>
                </a:cxn>
                <a:cxn ang="0">
                  <a:pos x="connsiteX5930" y="connsiteY5930"/>
                </a:cxn>
                <a:cxn ang="0">
                  <a:pos x="connsiteX5931" y="connsiteY5931"/>
                </a:cxn>
                <a:cxn ang="0">
                  <a:pos x="connsiteX5932" y="connsiteY5932"/>
                </a:cxn>
                <a:cxn ang="0">
                  <a:pos x="connsiteX5933" y="connsiteY5933"/>
                </a:cxn>
                <a:cxn ang="0">
                  <a:pos x="connsiteX5934" y="connsiteY5934"/>
                </a:cxn>
                <a:cxn ang="0">
                  <a:pos x="connsiteX5935" y="connsiteY5935"/>
                </a:cxn>
                <a:cxn ang="0">
                  <a:pos x="connsiteX5936" y="connsiteY5936"/>
                </a:cxn>
                <a:cxn ang="0">
                  <a:pos x="connsiteX5937" y="connsiteY5937"/>
                </a:cxn>
                <a:cxn ang="0">
                  <a:pos x="connsiteX5938" y="connsiteY5938"/>
                </a:cxn>
                <a:cxn ang="0">
                  <a:pos x="connsiteX5939" y="connsiteY5939"/>
                </a:cxn>
                <a:cxn ang="0">
                  <a:pos x="connsiteX5940" y="connsiteY5940"/>
                </a:cxn>
                <a:cxn ang="0">
                  <a:pos x="connsiteX5941" y="connsiteY5941"/>
                </a:cxn>
                <a:cxn ang="0">
                  <a:pos x="connsiteX5942" y="connsiteY5942"/>
                </a:cxn>
                <a:cxn ang="0">
                  <a:pos x="connsiteX5943" y="connsiteY5943"/>
                </a:cxn>
                <a:cxn ang="0">
                  <a:pos x="connsiteX5944" y="connsiteY5944"/>
                </a:cxn>
                <a:cxn ang="0">
                  <a:pos x="connsiteX5945" y="connsiteY5945"/>
                </a:cxn>
                <a:cxn ang="0">
                  <a:pos x="connsiteX5946" y="connsiteY5946"/>
                </a:cxn>
                <a:cxn ang="0">
                  <a:pos x="connsiteX5947" y="connsiteY5947"/>
                </a:cxn>
                <a:cxn ang="0">
                  <a:pos x="connsiteX5948" y="connsiteY5948"/>
                </a:cxn>
                <a:cxn ang="0">
                  <a:pos x="connsiteX5949" y="connsiteY5949"/>
                </a:cxn>
                <a:cxn ang="0">
                  <a:pos x="connsiteX5950" y="connsiteY5950"/>
                </a:cxn>
                <a:cxn ang="0">
                  <a:pos x="connsiteX5951" y="connsiteY5951"/>
                </a:cxn>
                <a:cxn ang="0">
                  <a:pos x="connsiteX5952" y="connsiteY5952"/>
                </a:cxn>
                <a:cxn ang="0">
                  <a:pos x="connsiteX5953" y="connsiteY5953"/>
                </a:cxn>
                <a:cxn ang="0">
                  <a:pos x="connsiteX5954" y="connsiteY5954"/>
                </a:cxn>
                <a:cxn ang="0">
                  <a:pos x="connsiteX5955" y="connsiteY5955"/>
                </a:cxn>
                <a:cxn ang="0">
                  <a:pos x="connsiteX5956" y="connsiteY5956"/>
                </a:cxn>
                <a:cxn ang="0">
                  <a:pos x="connsiteX5957" y="connsiteY5957"/>
                </a:cxn>
                <a:cxn ang="0">
                  <a:pos x="connsiteX5958" y="connsiteY5958"/>
                </a:cxn>
                <a:cxn ang="0">
                  <a:pos x="connsiteX5959" y="connsiteY5959"/>
                </a:cxn>
                <a:cxn ang="0">
                  <a:pos x="connsiteX5960" y="connsiteY5960"/>
                </a:cxn>
                <a:cxn ang="0">
                  <a:pos x="connsiteX5961" y="connsiteY5961"/>
                </a:cxn>
                <a:cxn ang="0">
                  <a:pos x="connsiteX5962" y="connsiteY5962"/>
                </a:cxn>
                <a:cxn ang="0">
                  <a:pos x="connsiteX5963" y="connsiteY5963"/>
                </a:cxn>
                <a:cxn ang="0">
                  <a:pos x="connsiteX5964" y="connsiteY5964"/>
                </a:cxn>
                <a:cxn ang="0">
                  <a:pos x="connsiteX5965" y="connsiteY5965"/>
                </a:cxn>
                <a:cxn ang="0">
                  <a:pos x="connsiteX5966" y="connsiteY5966"/>
                </a:cxn>
                <a:cxn ang="0">
                  <a:pos x="connsiteX5967" y="connsiteY5967"/>
                </a:cxn>
                <a:cxn ang="0">
                  <a:pos x="connsiteX5968" y="connsiteY5968"/>
                </a:cxn>
                <a:cxn ang="0">
                  <a:pos x="connsiteX5969" y="connsiteY5969"/>
                </a:cxn>
                <a:cxn ang="0">
                  <a:pos x="connsiteX5970" y="connsiteY5970"/>
                </a:cxn>
                <a:cxn ang="0">
                  <a:pos x="connsiteX5971" y="connsiteY5971"/>
                </a:cxn>
                <a:cxn ang="0">
                  <a:pos x="connsiteX5972" y="connsiteY5972"/>
                </a:cxn>
                <a:cxn ang="0">
                  <a:pos x="connsiteX5973" y="connsiteY5973"/>
                </a:cxn>
                <a:cxn ang="0">
                  <a:pos x="connsiteX5974" y="connsiteY5974"/>
                </a:cxn>
                <a:cxn ang="0">
                  <a:pos x="connsiteX5975" y="connsiteY5975"/>
                </a:cxn>
                <a:cxn ang="0">
                  <a:pos x="connsiteX5976" y="connsiteY5976"/>
                </a:cxn>
                <a:cxn ang="0">
                  <a:pos x="connsiteX5977" y="connsiteY5977"/>
                </a:cxn>
                <a:cxn ang="0">
                  <a:pos x="connsiteX5978" y="connsiteY5978"/>
                </a:cxn>
                <a:cxn ang="0">
                  <a:pos x="connsiteX5979" y="connsiteY5979"/>
                </a:cxn>
                <a:cxn ang="0">
                  <a:pos x="connsiteX5980" y="connsiteY5980"/>
                </a:cxn>
                <a:cxn ang="0">
                  <a:pos x="connsiteX5981" y="connsiteY5981"/>
                </a:cxn>
                <a:cxn ang="0">
                  <a:pos x="connsiteX5982" y="connsiteY5982"/>
                </a:cxn>
                <a:cxn ang="0">
                  <a:pos x="connsiteX5983" y="connsiteY5983"/>
                </a:cxn>
                <a:cxn ang="0">
                  <a:pos x="connsiteX5984" y="connsiteY5984"/>
                </a:cxn>
                <a:cxn ang="0">
                  <a:pos x="connsiteX5985" y="connsiteY5985"/>
                </a:cxn>
                <a:cxn ang="0">
                  <a:pos x="connsiteX5986" y="connsiteY5986"/>
                </a:cxn>
                <a:cxn ang="0">
                  <a:pos x="connsiteX5987" y="connsiteY5987"/>
                </a:cxn>
                <a:cxn ang="0">
                  <a:pos x="connsiteX5988" y="connsiteY5988"/>
                </a:cxn>
                <a:cxn ang="0">
                  <a:pos x="connsiteX5989" y="connsiteY5989"/>
                </a:cxn>
                <a:cxn ang="0">
                  <a:pos x="connsiteX5990" y="connsiteY5990"/>
                </a:cxn>
                <a:cxn ang="0">
                  <a:pos x="connsiteX5991" y="connsiteY5991"/>
                </a:cxn>
                <a:cxn ang="0">
                  <a:pos x="connsiteX5992" y="connsiteY5992"/>
                </a:cxn>
                <a:cxn ang="0">
                  <a:pos x="connsiteX5993" y="connsiteY5993"/>
                </a:cxn>
                <a:cxn ang="0">
                  <a:pos x="connsiteX5994" y="connsiteY5994"/>
                </a:cxn>
                <a:cxn ang="0">
                  <a:pos x="connsiteX5995" y="connsiteY5995"/>
                </a:cxn>
                <a:cxn ang="0">
                  <a:pos x="connsiteX5996" y="connsiteY5996"/>
                </a:cxn>
                <a:cxn ang="0">
                  <a:pos x="connsiteX5997" y="connsiteY5997"/>
                </a:cxn>
                <a:cxn ang="0">
                  <a:pos x="connsiteX5998" y="connsiteY5998"/>
                </a:cxn>
                <a:cxn ang="0">
                  <a:pos x="connsiteX5999" y="connsiteY5999"/>
                </a:cxn>
                <a:cxn ang="0">
                  <a:pos x="connsiteX6000" y="connsiteY6000"/>
                </a:cxn>
                <a:cxn ang="0">
                  <a:pos x="connsiteX6001" y="connsiteY6001"/>
                </a:cxn>
                <a:cxn ang="0">
                  <a:pos x="connsiteX6002" y="connsiteY6002"/>
                </a:cxn>
                <a:cxn ang="0">
                  <a:pos x="connsiteX6003" y="connsiteY6003"/>
                </a:cxn>
                <a:cxn ang="0">
                  <a:pos x="connsiteX6004" y="connsiteY6004"/>
                </a:cxn>
                <a:cxn ang="0">
                  <a:pos x="connsiteX6005" y="connsiteY6005"/>
                </a:cxn>
                <a:cxn ang="0">
                  <a:pos x="connsiteX6006" y="connsiteY6006"/>
                </a:cxn>
                <a:cxn ang="0">
                  <a:pos x="connsiteX6007" y="connsiteY6007"/>
                </a:cxn>
                <a:cxn ang="0">
                  <a:pos x="connsiteX6008" y="connsiteY6008"/>
                </a:cxn>
                <a:cxn ang="0">
                  <a:pos x="connsiteX6009" y="connsiteY6009"/>
                </a:cxn>
                <a:cxn ang="0">
                  <a:pos x="connsiteX6010" y="connsiteY6010"/>
                </a:cxn>
                <a:cxn ang="0">
                  <a:pos x="connsiteX6011" y="connsiteY6011"/>
                </a:cxn>
                <a:cxn ang="0">
                  <a:pos x="connsiteX6012" y="connsiteY6012"/>
                </a:cxn>
                <a:cxn ang="0">
                  <a:pos x="connsiteX6013" y="connsiteY6013"/>
                </a:cxn>
                <a:cxn ang="0">
                  <a:pos x="connsiteX6014" y="connsiteY6014"/>
                </a:cxn>
                <a:cxn ang="0">
                  <a:pos x="connsiteX6015" y="connsiteY6015"/>
                </a:cxn>
                <a:cxn ang="0">
                  <a:pos x="connsiteX6016" y="connsiteY6016"/>
                </a:cxn>
                <a:cxn ang="0">
                  <a:pos x="connsiteX6017" y="connsiteY6017"/>
                </a:cxn>
                <a:cxn ang="0">
                  <a:pos x="connsiteX6018" y="connsiteY6018"/>
                </a:cxn>
                <a:cxn ang="0">
                  <a:pos x="connsiteX6019" y="connsiteY6019"/>
                </a:cxn>
                <a:cxn ang="0">
                  <a:pos x="connsiteX6020" y="connsiteY6020"/>
                </a:cxn>
                <a:cxn ang="0">
                  <a:pos x="connsiteX6021" y="connsiteY6021"/>
                </a:cxn>
                <a:cxn ang="0">
                  <a:pos x="connsiteX6022" y="connsiteY6022"/>
                </a:cxn>
                <a:cxn ang="0">
                  <a:pos x="connsiteX6023" y="connsiteY6023"/>
                </a:cxn>
                <a:cxn ang="0">
                  <a:pos x="connsiteX6024" y="connsiteY6024"/>
                </a:cxn>
                <a:cxn ang="0">
                  <a:pos x="connsiteX6025" y="connsiteY6025"/>
                </a:cxn>
                <a:cxn ang="0">
                  <a:pos x="connsiteX6026" y="connsiteY6026"/>
                </a:cxn>
                <a:cxn ang="0">
                  <a:pos x="connsiteX6027" y="connsiteY6027"/>
                </a:cxn>
                <a:cxn ang="0">
                  <a:pos x="connsiteX6028" y="connsiteY6028"/>
                </a:cxn>
                <a:cxn ang="0">
                  <a:pos x="connsiteX6029" y="connsiteY6029"/>
                </a:cxn>
                <a:cxn ang="0">
                  <a:pos x="connsiteX6030" y="connsiteY6030"/>
                </a:cxn>
                <a:cxn ang="0">
                  <a:pos x="connsiteX6031" y="connsiteY6031"/>
                </a:cxn>
                <a:cxn ang="0">
                  <a:pos x="connsiteX6032" y="connsiteY6032"/>
                </a:cxn>
                <a:cxn ang="0">
                  <a:pos x="connsiteX6033" y="connsiteY6033"/>
                </a:cxn>
                <a:cxn ang="0">
                  <a:pos x="connsiteX6034" y="connsiteY6034"/>
                </a:cxn>
                <a:cxn ang="0">
                  <a:pos x="connsiteX6035" y="connsiteY6035"/>
                </a:cxn>
                <a:cxn ang="0">
                  <a:pos x="connsiteX6036" y="connsiteY6036"/>
                </a:cxn>
                <a:cxn ang="0">
                  <a:pos x="connsiteX6037" y="connsiteY6037"/>
                </a:cxn>
                <a:cxn ang="0">
                  <a:pos x="connsiteX6038" y="connsiteY6038"/>
                </a:cxn>
                <a:cxn ang="0">
                  <a:pos x="connsiteX6039" y="connsiteY6039"/>
                </a:cxn>
                <a:cxn ang="0">
                  <a:pos x="connsiteX6040" y="connsiteY6040"/>
                </a:cxn>
                <a:cxn ang="0">
                  <a:pos x="connsiteX6041" y="connsiteY6041"/>
                </a:cxn>
                <a:cxn ang="0">
                  <a:pos x="connsiteX6042" y="connsiteY6042"/>
                </a:cxn>
                <a:cxn ang="0">
                  <a:pos x="connsiteX6043" y="connsiteY6043"/>
                </a:cxn>
                <a:cxn ang="0">
                  <a:pos x="connsiteX6044" y="connsiteY6044"/>
                </a:cxn>
                <a:cxn ang="0">
                  <a:pos x="connsiteX6045" y="connsiteY6045"/>
                </a:cxn>
                <a:cxn ang="0">
                  <a:pos x="connsiteX6046" y="connsiteY6046"/>
                </a:cxn>
                <a:cxn ang="0">
                  <a:pos x="connsiteX6047" y="connsiteY6047"/>
                </a:cxn>
                <a:cxn ang="0">
                  <a:pos x="connsiteX6048" y="connsiteY6048"/>
                </a:cxn>
                <a:cxn ang="0">
                  <a:pos x="connsiteX6049" y="connsiteY6049"/>
                </a:cxn>
                <a:cxn ang="0">
                  <a:pos x="connsiteX6050" y="connsiteY6050"/>
                </a:cxn>
                <a:cxn ang="0">
                  <a:pos x="connsiteX6051" y="connsiteY6051"/>
                </a:cxn>
                <a:cxn ang="0">
                  <a:pos x="connsiteX6052" y="connsiteY6052"/>
                </a:cxn>
                <a:cxn ang="0">
                  <a:pos x="connsiteX6053" y="connsiteY6053"/>
                </a:cxn>
                <a:cxn ang="0">
                  <a:pos x="connsiteX6054" y="connsiteY6054"/>
                </a:cxn>
                <a:cxn ang="0">
                  <a:pos x="connsiteX6055" y="connsiteY6055"/>
                </a:cxn>
                <a:cxn ang="0">
                  <a:pos x="connsiteX6056" y="connsiteY6056"/>
                </a:cxn>
                <a:cxn ang="0">
                  <a:pos x="connsiteX6057" y="connsiteY6057"/>
                </a:cxn>
                <a:cxn ang="0">
                  <a:pos x="connsiteX6058" y="connsiteY6058"/>
                </a:cxn>
                <a:cxn ang="0">
                  <a:pos x="connsiteX6059" y="connsiteY6059"/>
                </a:cxn>
                <a:cxn ang="0">
                  <a:pos x="connsiteX6060" y="connsiteY6060"/>
                </a:cxn>
                <a:cxn ang="0">
                  <a:pos x="connsiteX6061" y="connsiteY6061"/>
                </a:cxn>
                <a:cxn ang="0">
                  <a:pos x="connsiteX6062" y="connsiteY6062"/>
                </a:cxn>
                <a:cxn ang="0">
                  <a:pos x="connsiteX6063" y="connsiteY6063"/>
                </a:cxn>
                <a:cxn ang="0">
                  <a:pos x="connsiteX6064" y="connsiteY6064"/>
                </a:cxn>
                <a:cxn ang="0">
                  <a:pos x="connsiteX6065" y="connsiteY6065"/>
                </a:cxn>
                <a:cxn ang="0">
                  <a:pos x="connsiteX6066" y="connsiteY6066"/>
                </a:cxn>
                <a:cxn ang="0">
                  <a:pos x="connsiteX6067" y="connsiteY6067"/>
                </a:cxn>
                <a:cxn ang="0">
                  <a:pos x="connsiteX6068" y="connsiteY6068"/>
                </a:cxn>
                <a:cxn ang="0">
                  <a:pos x="connsiteX6069" y="connsiteY6069"/>
                </a:cxn>
                <a:cxn ang="0">
                  <a:pos x="connsiteX6070" y="connsiteY6070"/>
                </a:cxn>
                <a:cxn ang="0">
                  <a:pos x="connsiteX6071" y="connsiteY6071"/>
                </a:cxn>
                <a:cxn ang="0">
                  <a:pos x="connsiteX6072" y="connsiteY6072"/>
                </a:cxn>
                <a:cxn ang="0">
                  <a:pos x="connsiteX6073" y="connsiteY6073"/>
                </a:cxn>
                <a:cxn ang="0">
                  <a:pos x="connsiteX6074" y="connsiteY6074"/>
                </a:cxn>
                <a:cxn ang="0">
                  <a:pos x="connsiteX6075" y="connsiteY6075"/>
                </a:cxn>
                <a:cxn ang="0">
                  <a:pos x="connsiteX6076" y="connsiteY6076"/>
                </a:cxn>
                <a:cxn ang="0">
                  <a:pos x="connsiteX6077" y="connsiteY6077"/>
                </a:cxn>
                <a:cxn ang="0">
                  <a:pos x="connsiteX6078" y="connsiteY6078"/>
                </a:cxn>
                <a:cxn ang="0">
                  <a:pos x="connsiteX6079" y="connsiteY6079"/>
                </a:cxn>
                <a:cxn ang="0">
                  <a:pos x="connsiteX6080" y="connsiteY6080"/>
                </a:cxn>
                <a:cxn ang="0">
                  <a:pos x="connsiteX6081" y="connsiteY6081"/>
                </a:cxn>
                <a:cxn ang="0">
                  <a:pos x="connsiteX6082" y="connsiteY6082"/>
                </a:cxn>
                <a:cxn ang="0">
                  <a:pos x="connsiteX6083" y="connsiteY6083"/>
                </a:cxn>
                <a:cxn ang="0">
                  <a:pos x="connsiteX6084" y="connsiteY6084"/>
                </a:cxn>
                <a:cxn ang="0">
                  <a:pos x="connsiteX6085" y="connsiteY6085"/>
                </a:cxn>
                <a:cxn ang="0">
                  <a:pos x="connsiteX6086" y="connsiteY6086"/>
                </a:cxn>
                <a:cxn ang="0">
                  <a:pos x="connsiteX6087" y="connsiteY6087"/>
                </a:cxn>
                <a:cxn ang="0">
                  <a:pos x="connsiteX6088" y="connsiteY6088"/>
                </a:cxn>
                <a:cxn ang="0">
                  <a:pos x="connsiteX6089" y="connsiteY6089"/>
                </a:cxn>
                <a:cxn ang="0">
                  <a:pos x="connsiteX6090" y="connsiteY6090"/>
                </a:cxn>
                <a:cxn ang="0">
                  <a:pos x="connsiteX6091" y="connsiteY6091"/>
                </a:cxn>
                <a:cxn ang="0">
                  <a:pos x="connsiteX6092" y="connsiteY6092"/>
                </a:cxn>
                <a:cxn ang="0">
                  <a:pos x="connsiteX6093" y="connsiteY6093"/>
                </a:cxn>
                <a:cxn ang="0">
                  <a:pos x="connsiteX6094" y="connsiteY6094"/>
                </a:cxn>
                <a:cxn ang="0">
                  <a:pos x="connsiteX6095" y="connsiteY6095"/>
                </a:cxn>
                <a:cxn ang="0">
                  <a:pos x="connsiteX6096" y="connsiteY6096"/>
                </a:cxn>
                <a:cxn ang="0">
                  <a:pos x="connsiteX6097" y="connsiteY6097"/>
                </a:cxn>
                <a:cxn ang="0">
                  <a:pos x="connsiteX6098" y="connsiteY6098"/>
                </a:cxn>
                <a:cxn ang="0">
                  <a:pos x="connsiteX6099" y="connsiteY6099"/>
                </a:cxn>
                <a:cxn ang="0">
                  <a:pos x="connsiteX6100" y="connsiteY6100"/>
                </a:cxn>
                <a:cxn ang="0">
                  <a:pos x="connsiteX6101" y="connsiteY6101"/>
                </a:cxn>
                <a:cxn ang="0">
                  <a:pos x="connsiteX6102" y="connsiteY6102"/>
                </a:cxn>
                <a:cxn ang="0">
                  <a:pos x="connsiteX6103" y="connsiteY6103"/>
                </a:cxn>
                <a:cxn ang="0">
                  <a:pos x="connsiteX6104" y="connsiteY6104"/>
                </a:cxn>
                <a:cxn ang="0">
                  <a:pos x="connsiteX6105" y="connsiteY6105"/>
                </a:cxn>
                <a:cxn ang="0">
                  <a:pos x="connsiteX6106" y="connsiteY6106"/>
                </a:cxn>
                <a:cxn ang="0">
                  <a:pos x="connsiteX6107" y="connsiteY6107"/>
                </a:cxn>
                <a:cxn ang="0">
                  <a:pos x="connsiteX6108" y="connsiteY6108"/>
                </a:cxn>
                <a:cxn ang="0">
                  <a:pos x="connsiteX6109" y="connsiteY6109"/>
                </a:cxn>
                <a:cxn ang="0">
                  <a:pos x="connsiteX6110" y="connsiteY6110"/>
                </a:cxn>
                <a:cxn ang="0">
                  <a:pos x="connsiteX6111" y="connsiteY6111"/>
                </a:cxn>
                <a:cxn ang="0">
                  <a:pos x="connsiteX6112" y="connsiteY6112"/>
                </a:cxn>
                <a:cxn ang="0">
                  <a:pos x="connsiteX6113" y="connsiteY6113"/>
                </a:cxn>
                <a:cxn ang="0">
                  <a:pos x="connsiteX6114" y="connsiteY6114"/>
                </a:cxn>
                <a:cxn ang="0">
                  <a:pos x="connsiteX6115" y="connsiteY6115"/>
                </a:cxn>
                <a:cxn ang="0">
                  <a:pos x="connsiteX6116" y="connsiteY6116"/>
                </a:cxn>
                <a:cxn ang="0">
                  <a:pos x="connsiteX6117" y="connsiteY6117"/>
                </a:cxn>
                <a:cxn ang="0">
                  <a:pos x="connsiteX6118" y="connsiteY6118"/>
                </a:cxn>
                <a:cxn ang="0">
                  <a:pos x="connsiteX6119" y="connsiteY6119"/>
                </a:cxn>
                <a:cxn ang="0">
                  <a:pos x="connsiteX6120" y="connsiteY6120"/>
                </a:cxn>
                <a:cxn ang="0">
                  <a:pos x="connsiteX6121" y="connsiteY6121"/>
                </a:cxn>
                <a:cxn ang="0">
                  <a:pos x="connsiteX6122" y="connsiteY6122"/>
                </a:cxn>
                <a:cxn ang="0">
                  <a:pos x="connsiteX6123" y="connsiteY6123"/>
                </a:cxn>
                <a:cxn ang="0">
                  <a:pos x="connsiteX6124" y="connsiteY6124"/>
                </a:cxn>
                <a:cxn ang="0">
                  <a:pos x="connsiteX6125" y="connsiteY6125"/>
                </a:cxn>
                <a:cxn ang="0">
                  <a:pos x="connsiteX6126" y="connsiteY6126"/>
                </a:cxn>
                <a:cxn ang="0">
                  <a:pos x="connsiteX6127" y="connsiteY6127"/>
                </a:cxn>
                <a:cxn ang="0">
                  <a:pos x="connsiteX6128" y="connsiteY6128"/>
                </a:cxn>
                <a:cxn ang="0">
                  <a:pos x="connsiteX6129" y="connsiteY6129"/>
                </a:cxn>
                <a:cxn ang="0">
                  <a:pos x="connsiteX6130" y="connsiteY6130"/>
                </a:cxn>
                <a:cxn ang="0">
                  <a:pos x="connsiteX6131" y="connsiteY6131"/>
                </a:cxn>
                <a:cxn ang="0">
                  <a:pos x="connsiteX6132" y="connsiteY6132"/>
                </a:cxn>
                <a:cxn ang="0">
                  <a:pos x="connsiteX6133" y="connsiteY6133"/>
                </a:cxn>
                <a:cxn ang="0">
                  <a:pos x="connsiteX6134" y="connsiteY6134"/>
                </a:cxn>
                <a:cxn ang="0">
                  <a:pos x="connsiteX6135" y="connsiteY6135"/>
                </a:cxn>
                <a:cxn ang="0">
                  <a:pos x="connsiteX6136" y="connsiteY6136"/>
                </a:cxn>
                <a:cxn ang="0">
                  <a:pos x="connsiteX6137" y="connsiteY6137"/>
                </a:cxn>
                <a:cxn ang="0">
                  <a:pos x="connsiteX6138" y="connsiteY6138"/>
                </a:cxn>
                <a:cxn ang="0">
                  <a:pos x="connsiteX6139" y="connsiteY6139"/>
                </a:cxn>
                <a:cxn ang="0">
                  <a:pos x="connsiteX6140" y="connsiteY6140"/>
                </a:cxn>
                <a:cxn ang="0">
                  <a:pos x="connsiteX6141" y="connsiteY6141"/>
                </a:cxn>
                <a:cxn ang="0">
                  <a:pos x="connsiteX6142" y="connsiteY6142"/>
                </a:cxn>
                <a:cxn ang="0">
                  <a:pos x="connsiteX6143" y="connsiteY6143"/>
                </a:cxn>
                <a:cxn ang="0">
                  <a:pos x="connsiteX6144" y="connsiteY6144"/>
                </a:cxn>
                <a:cxn ang="0">
                  <a:pos x="connsiteX6145" y="connsiteY6145"/>
                </a:cxn>
                <a:cxn ang="0">
                  <a:pos x="connsiteX6146" y="connsiteY6146"/>
                </a:cxn>
                <a:cxn ang="0">
                  <a:pos x="connsiteX6147" y="connsiteY6147"/>
                </a:cxn>
                <a:cxn ang="0">
                  <a:pos x="connsiteX6148" y="connsiteY6148"/>
                </a:cxn>
                <a:cxn ang="0">
                  <a:pos x="connsiteX6149" y="connsiteY6149"/>
                </a:cxn>
                <a:cxn ang="0">
                  <a:pos x="connsiteX6150" y="connsiteY6150"/>
                </a:cxn>
                <a:cxn ang="0">
                  <a:pos x="connsiteX6151" y="connsiteY6151"/>
                </a:cxn>
                <a:cxn ang="0">
                  <a:pos x="connsiteX6152" y="connsiteY6152"/>
                </a:cxn>
                <a:cxn ang="0">
                  <a:pos x="connsiteX6153" y="connsiteY6153"/>
                </a:cxn>
                <a:cxn ang="0">
                  <a:pos x="connsiteX6154" y="connsiteY6154"/>
                </a:cxn>
                <a:cxn ang="0">
                  <a:pos x="connsiteX6155" y="connsiteY6155"/>
                </a:cxn>
                <a:cxn ang="0">
                  <a:pos x="connsiteX6156" y="connsiteY6156"/>
                </a:cxn>
                <a:cxn ang="0">
                  <a:pos x="connsiteX6157" y="connsiteY6157"/>
                </a:cxn>
                <a:cxn ang="0">
                  <a:pos x="connsiteX6158" y="connsiteY6158"/>
                </a:cxn>
                <a:cxn ang="0">
                  <a:pos x="connsiteX6159" y="connsiteY6159"/>
                </a:cxn>
                <a:cxn ang="0">
                  <a:pos x="connsiteX6160" y="connsiteY6160"/>
                </a:cxn>
                <a:cxn ang="0">
                  <a:pos x="connsiteX6161" y="connsiteY6161"/>
                </a:cxn>
                <a:cxn ang="0">
                  <a:pos x="connsiteX6162" y="connsiteY6162"/>
                </a:cxn>
                <a:cxn ang="0">
                  <a:pos x="connsiteX6163" y="connsiteY6163"/>
                </a:cxn>
                <a:cxn ang="0">
                  <a:pos x="connsiteX6164" y="connsiteY6164"/>
                </a:cxn>
                <a:cxn ang="0">
                  <a:pos x="connsiteX6165" y="connsiteY6165"/>
                </a:cxn>
                <a:cxn ang="0">
                  <a:pos x="connsiteX6166" y="connsiteY6166"/>
                </a:cxn>
                <a:cxn ang="0">
                  <a:pos x="connsiteX6167" y="connsiteY6167"/>
                </a:cxn>
                <a:cxn ang="0">
                  <a:pos x="connsiteX6168" y="connsiteY6168"/>
                </a:cxn>
                <a:cxn ang="0">
                  <a:pos x="connsiteX6169" y="connsiteY6169"/>
                </a:cxn>
                <a:cxn ang="0">
                  <a:pos x="connsiteX6170" y="connsiteY6170"/>
                </a:cxn>
                <a:cxn ang="0">
                  <a:pos x="connsiteX6171" y="connsiteY6171"/>
                </a:cxn>
                <a:cxn ang="0">
                  <a:pos x="connsiteX6172" y="connsiteY6172"/>
                </a:cxn>
                <a:cxn ang="0">
                  <a:pos x="connsiteX6173" y="connsiteY6173"/>
                </a:cxn>
                <a:cxn ang="0">
                  <a:pos x="connsiteX6174" y="connsiteY6174"/>
                </a:cxn>
                <a:cxn ang="0">
                  <a:pos x="connsiteX6175" y="connsiteY6175"/>
                </a:cxn>
                <a:cxn ang="0">
                  <a:pos x="connsiteX6176" y="connsiteY6176"/>
                </a:cxn>
                <a:cxn ang="0">
                  <a:pos x="connsiteX6177" y="connsiteY6177"/>
                </a:cxn>
                <a:cxn ang="0">
                  <a:pos x="connsiteX6178" y="connsiteY6178"/>
                </a:cxn>
                <a:cxn ang="0">
                  <a:pos x="connsiteX6179" y="connsiteY6179"/>
                </a:cxn>
                <a:cxn ang="0">
                  <a:pos x="connsiteX6180" y="connsiteY6180"/>
                </a:cxn>
                <a:cxn ang="0">
                  <a:pos x="connsiteX6181" y="connsiteY6181"/>
                </a:cxn>
                <a:cxn ang="0">
                  <a:pos x="connsiteX6182" y="connsiteY6182"/>
                </a:cxn>
                <a:cxn ang="0">
                  <a:pos x="connsiteX6183" y="connsiteY6183"/>
                </a:cxn>
                <a:cxn ang="0">
                  <a:pos x="connsiteX6184" y="connsiteY6184"/>
                </a:cxn>
                <a:cxn ang="0">
                  <a:pos x="connsiteX6185" y="connsiteY6185"/>
                </a:cxn>
                <a:cxn ang="0">
                  <a:pos x="connsiteX6186" y="connsiteY6186"/>
                </a:cxn>
                <a:cxn ang="0">
                  <a:pos x="connsiteX6187" y="connsiteY6187"/>
                </a:cxn>
                <a:cxn ang="0">
                  <a:pos x="connsiteX6188" y="connsiteY6188"/>
                </a:cxn>
                <a:cxn ang="0">
                  <a:pos x="connsiteX6189" y="connsiteY6189"/>
                </a:cxn>
                <a:cxn ang="0">
                  <a:pos x="connsiteX6190" y="connsiteY6190"/>
                </a:cxn>
                <a:cxn ang="0">
                  <a:pos x="connsiteX6191" y="connsiteY6191"/>
                </a:cxn>
                <a:cxn ang="0">
                  <a:pos x="connsiteX6192" y="connsiteY6192"/>
                </a:cxn>
                <a:cxn ang="0">
                  <a:pos x="connsiteX6193" y="connsiteY6193"/>
                </a:cxn>
                <a:cxn ang="0">
                  <a:pos x="connsiteX6194" y="connsiteY6194"/>
                </a:cxn>
                <a:cxn ang="0">
                  <a:pos x="connsiteX6195" y="connsiteY6195"/>
                </a:cxn>
                <a:cxn ang="0">
                  <a:pos x="connsiteX6196" y="connsiteY6196"/>
                </a:cxn>
                <a:cxn ang="0">
                  <a:pos x="connsiteX6197" y="connsiteY6197"/>
                </a:cxn>
                <a:cxn ang="0">
                  <a:pos x="connsiteX6198" y="connsiteY6198"/>
                </a:cxn>
                <a:cxn ang="0">
                  <a:pos x="connsiteX6199" y="connsiteY6199"/>
                </a:cxn>
                <a:cxn ang="0">
                  <a:pos x="connsiteX6200" y="connsiteY6200"/>
                </a:cxn>
                <a:cxn ang="0">
                  <a:pos x="connsiteX6201" y="connsiteY6201"/>
                </a:cxn>
                <a:cxn ang="0">
                  <a:pos x="connsiteX6202" y="connsiteY6202"/>
                </a:cxn>
                <a:cxn ang="0">
                  <a:pos x="connsiteX6203" y="connsiteY6203"/>
                </a:cxn>
                <a:cxn ang="0">
                  <a:pos x="connsiteX6204" y="connsiteY6204"/>
                </a:cxn>
                <a:cxn ang="0">
                  <a:pos x="connsiteX6205" y="connsiteY6205"/>
                </a:cxn>
                <a:cxn ang="0">
                  <a:pos x="connsiteX6206" y="connsiteY6206"/>
                </a:cxn>
                <a:cxn ang="0">
                  <a:pos x="connsiteX6207" y="connsiteY6207"/>
                </a:cxn>
                <a:cxn ang="0">
                  <a:pos x="connsiteX6208" y="connsiteY6208"/>
                </a:cxn>
                <a:cxn ang="0">
                  <a:pos x="connsiteX6209" y="connsiteY6209"/>
                </a:cxn>
                <a:cxn ang="0">
                  <a:pos x="connsiteX6210" y="connsiteY6210"/>
                </a:cxn>
                <a:cxn ang="0">
                  <a:pos x="connsiteX6211" y="connsiteY6211"/>
                </a:cxn>
                <a:cxn ang="0">
                  <a:pos x="connsiteX6212" y="connsiteY6212"/>
                </a:cxn>
                <a:cxn ang="0">
                  <a:pos x="connsiteX6213" y="connsiteY6213"/>
                </a:cxn>
                <a:cxn ang="0">
                  <a:pos x="connsiteX6214" y="connsiteY6214"/>
                </a:cxn>
                <a:cxn ang="0">
                  <a:pos x="connsiteX6215" y="connsiteY6215"/>
                </a:cxn>
                <a:cxn ang="0">
                  <a:pos x="connsiteX6216" y="connsiteY6216"/>
                </a:cxn>
                <a:cxn ang="0">
                  <a:pos x="connsiteX6217" y="connsiteY6217"/>
                </a:cxn>
                <a:cxn ang="0">
                  <a:pos x="connsiteX6218" y="connsiteY6218"/>
                </a:cxn>
                <a:cxn ang="0">
                  <a:pos x="connsiteX6219" y="connsiteY6219"/>
                </a:cxn>
                <a:cxn ang="0">
                  <a:pos x="connsiteX6220" y="connsiteY6220"/>
                </a:cxn>
                <a:cxn ang="0">
                  <a:pos x="connsiteX6221" y="connsiteY6221"/>
                </a:cxn>
                <a:cxn ang="0">
                  <a:pos x="connsiteX6222" y="connsiteY6222"/>
                </a:cxn>
                <a:cxn ang="0">
                  <a:pos x="connsiteX6223" y="connsiteY6223"/>
                </a:cxn>
                <a:cxn ang="0">
                  <a:pos x="connsiteX6224" y="connsiteY6224"/>
                </a:cxn>
                <a:cxn ang="0">
                  <a:pos x="connsiteX6225" y="connsiteY6225"/>
                </a:cxn>
                <a:cxn ang="0">
                  <a:pos x="connsiteX6226" y="connsiteY6226"/>
                </a:cxn>
                <a:cxn ang="0">
                  <a:pos x="connsiteX6227" y="connsiteY6227"/>
                </a:cxn>
                <a:cxn ang="0">
                  <a:pos x="connsiteX6228" y="connsiteY6228"/>
                </a:cxn>
                <a:cxn ang="0">
                  <a:pos x="connsiteX6229" y="connsiteY6229"/>
                </a:cxn>
                <a:cxn ang="0">
                  <a:pos x="connsiteX6230" y="connsiteY6230"/>
                </a:cxn>
                <a:cxn ang="0">
                  <a:pos x="connsiteX6231" y="connsiteY6231"/>
                </a:cxn>
                <a:cxn ang="0">
                  <a:pos x="connsiteX6232" y="connsiteY6232"/>
                </a:cxn>
                <a:cxn ang="0">
                  <a:pos x="connsiteX6233" y="connsiteY6233"/>
                </a:cxn>
                <a:cxn ang="0">
                  <a:pos x="connsiteX6234" y="connsiteY6234"/>
                </a:cxn>
                <a:cxn ang="0">
                  <a:pos x="connsiteX6235" y="connsiteY6235"/>
                </a:cxn>
                <a:cxn ang="0">
                  <a:pos x="connsiteX6236" y="connsiteY6236"/>
                </a:cxn>
                <a:cxn ang="0">
                  <a:pos x="connsiteX6237" y="connsiteY6237"/>
                </a:cxn>
                <a:cxn ang="0">
                  <a:pos x="connsiteX6238" y="connsiteY6238"/>
                </a:cxn>
                <a:cxn ang="0">
                  <a:pos x="connsiteX6239" y="connsiteY6239"/>
                </a:cxn>
                <a:cxn ang="0">
                  <a:pos x="connsiteX6240" y="connsiteY6240"/>
                </a:cxn>
                <a:cxn ang="0">
                  <a:pos x="connsiteX6241" y="connsiteY6241"/>
                </a:cxn>
                <a:cxn ang="0">
                  <a:pos x="connsiteX6242" y="connsiteY6242"/>
                </a:cxn>
                <a:cxn ang="0">
                  <a:pos x="connsiteX6243" y="connsiteY6243"/>
                </a:cxn>
                <a:cxn ang="0">
                  <a:pos x="connsiteX6244" y="connsiteY6244"/>
                </a:cxn>
                <a:cxn ang="0">
                  <a:pos x="connsiteX6245" y="connsiteY6245"/>
                </a:cxn>
                <a:cxn ang="0">
                  <a:pos x="connsiteX6246" y="connsiteY6246"/>
                </a:cxn>
                <a:cxn ang="0">
                  <a:pos x="connsiteX6247" y="connsiteY6247"/>
                </a:cxn>
                <a:cxn ang="0">
                  <a:pos x="connsiteX6248" y="connsiteY6248"/>
                </a:cxn>
                <a:cxn ang="0">
                  <a:pos x="connsiteX6249" y="connsiteY6249"/>
                </a:cxn>
                <a:cxn ang="0">
                  <a:pos x="connsiteX6250" y="connsiteY6250"/>
                </a:cxn>
                <a:cxn ang="0">
                  <a:pos x="connsiteX6251" y="connsiteY6251"/>
                </a:cxn>
                <a:cxn ang="0">
                  <a:pos x="connsiteX6252" y="connsiteY6252"/>
                </a:cxn>
                <a:cxn ang="0">
                  <a:pos x="connsiteX6253" y="connsiteY6253"/>
                </a:cxn>
                <a:cxn ang="0">
                  <a:pos x="connsiteX6254" y="connsiteY6254"/>
                </a:cxn>
                <a:cxn ang="0">
                  <a:pos x="connsiteX6255" y="connsiteY6255"/>
                </a:cxn>
                <a:cxn ang="0">
                  <a:pos x="connsiteX6256" y="connsiteY6256"/>
                </a:cxn>
                <a:cxn ang="0">
                  <a:pos x="connsiteX6257" y="connsiteY6257"/>
                </a:cxn>
                <a:cxn ang="0">
                  <a:pos x="connsiteX6258" y="connsiteY6258"/>
                </a:cxn>
                <a:cxn ang="0">
                  <a:pos x="connsiteX6259" y="connsiteY6259"/>
                </a:cxn>
                <a:cxn ang="0">
                  <a:pos x="connsiteX6260" y="connsiteY6260"/>
                </a:cxn>
                <a:cxn ang="0">
                  <a:pos x="connsiteX6261" y="connsiteY6261"/>
                </a:cxn>
                <a:cxn ang="0">
                  <a:pos x="connsiteX6262" y="connsiteY6262"/>
                </a:cxn>
                <a:cxn ang="0">
                  <a:pos x="connsiteX6263" y="connsiteY6263"/>
                </a:cxn>
                <a:cxn ang="0">
                  <a:pos x="connsiteX6264" y="connsiteY6264"/>
                </a:cxn>
                <a:cxn ang="0">
                  <a:pos x="connsiteX6265" y="connsiteY6265"/>
                </a:cxn>
                <a:cxn ang="0">
                  <a:pos x="connsiteX6266" y="connsiteY6266"/>
                </a:cxn>
                <a:cxn ang="0">
                  <a:pos x="connsiteX6267" y="connsiteY6267"/>
                </a:cxn>
                <a:cxn ang="0">
                  <a:pos x="connsiteX6268" y="connsiteY6268"/>
                </a:cxn>
                <a:cxn ang="0">
                  <a:pos x="connsiteX6269" y="connsiteY6269"/>
                </a:cxn>
                <a:cxn ang="0">
                  <a:pos x="connsiteX6270" y="connsiteY6270"/>
                </a:cxn>
                <a:cxn ang="0">
                  <a:pos x="connsiteX6271" y="connsiteY6271"/>
                </a:cxn>
                <a:cxn ang="0">
                  <a:pos x="connsiteX6272" y="connsiteY6272"/>
                </a:cxn>
                <a:cxn ang="0">
                  <a:pos x="connsiteX6273" y="connsiteY6273"/>
                </a:cxn>
                <a:cxn ang="0">
                  <a:pos x="connsiteX6274" y="connsiteY6274"/>
                </a:cxn>
                <a:cxn ang="0">
                  <a:pos x="connsiteX6275" y="connsiteY6275"/>
                </a:cxn>
                <a:cxn ang="0">
                  <a:pos x="connsiteX6276" y="connsiteY6276"/>
                </a:cxn>
                <a:cxn ang="0">
                  <a:pos x="connsiteX6277" y="connsiteY6277"/>
                </a:cxn>
                <a:cxn ang="0">
                  <a:pos x="connsiteX6278" y="connsiteY6278"/>
                </a:cxn>
                <a:cxn ang="0">
                  <a:pos x="connsiteX6279" y="connsiteY6279"/>
                </a:cxn>
                <a:cxn ang="0">
                  <a:pos x="connsiteX6280" y="connsiteY6280"/>
                </a:cxn>
                <a:cxn ang="0">
                  <a:pos x="connsiteX6281" y="connsiteY6281"/>
                </a:cxn>
                <a:cxn ang="0">
                  <a:pos x="connsiteX6282" y="connsiteY6282"/>
                </a:cxn>
                <a:cxn ang="0">
                  <a:pos x="connsiteX6283" y="connsiteY6283"/>
                </a:cxn>
                <a:cxn ang="0">
                  <a:pos x="connsiteX6284" y="connsiteY6284"/>
                </a:cxn>
                <a:cxn ang="0">
                  <a:pos x="connsiteX6285" y="connsiteY6285"/>
                </a:cxn>
                <a:cxn ang="0">
                  <a:pos x="connsiteX6286" y="connsiteY6286"/>
                </a:cxn>
                <a:cxn ang="0">
                  <a:pos x="connsiteX6287" y="connsiteY6287"/>
                </a:cxn>
                <a:cxn ang="0">
                  <a:pos x="connsiteX6288" y="connsiteY6288"/>
                </a:cxn>
                <a:cxn ang="0">
                  <a:pos x="connsiteX6289" y="connsiteY6289"/>
                </a:cxn>
                <a:cxn ang="0">
                  <a:pos x="connsiteX6290" y="connsiteY6290"/>
                </a:cxn>
                <a:cxn ang="0">
                  <a:pos x="connsiteX6291" y="connsiteY6291"/>
                </a:cxn>
                <a:cxn ang="0">
                  <a:pos x="connsiteX6292" y="connsiteY6292"/>
                </a:cxn>
                <a:cxn ang="0">
                  <a:pos x="connsiteX6293" y="connsiteY6293"/>
                </a:cxn>
                <a:cxn ang="0">
                  <a:pos x="connsiteX6294" y="connsiteY6294"/>
                </a:cxn>
                <a:cxn ang="0">
                  <a:pos x="connsiteX6295" y="connsiteY6295"/>
                </a:cxn>
                <a:cxn ang="0">
                  <a:pos x="connsiteX6296" y="connsiteY6296"/>
                </a:cxn>
                <a:cxn ang="0">
                  <a:pos x="connsiteX6297" y="connsiteY6297"/>
                </a:cxn>
                <a:cxn ang="0">
                  <a:pos x="connsiteX6298" y="connsiteY6298"/>
                </a:cxn>
                <a:cxn ang="0">
                  <a:pos x="connsiteX6299" y="connsiteY6299"/>
                </a:cxn>
                <a:cxn ang="0">
                  <a:pos x="connsiteX6300" y="connsiteY6300"/>
                </a:cxn>
                <a:cxn ang="0">
                  <a:pos x="connsiteX6301" y="connsiteY6301"/>
                </a:cxn>
                <a:cxn ang="0">
                  <a:pos x="connsiteX6302" y="connsiteY6302"/>
                </a:cxn>
                <a:cxn ang="0">
                  <a:pos x="connsiteX6303" y="connsiteY6303"/>
                </a:cxn>
                <a:cxn ang="0">
                  <a:pos x="connsiteX6304" y="connsiteY6304"/>
                </a:cxn>
                <a:cxn ang="0">
                  <a:pos x="connsiteX6305" y="connsiteY6305"/>
                </a:cxn>
                <a:cxn ang="0">
                  <a:pos x="connsiteX6306" y="connsiteY6306"/>
                </a:cxn>
                <a:cxn ang="0">
                  <a:pos x="connsiteX6307" y="connsiteY6307"/>
                </a:cxn>
                <a:cxn ang="0">
                  <a:pos x="connsiteX6308" y="connsiteY6308"/>
                </a:cxn>
                <a:cxn ang="0">
                  <a:pos x="connsiteX6309" y="connsiteY6309"/>
                </a:cxn>
                <a:cxn ang="0">
                  <a:pos x="connsiteX6310" y="connsiteY6310"/>
                </a:cxn>
                <a:cxn ang="0">
                  <a:pos x="connsiteX6311" y="connsiteY6311"/>
                </a:cxn>
                <a:cxn ang="0">
                  <a:pos x="connsiteX6312" y="connsiteY6312"/>
                </a:cxn>
                <a:cxn ang="0">
                  <a:pos x="connsiteX6313" y="connsiteY6313"/>
                </a:cxn>
                <a:cxn ang="0">
                  <a:pos x="connsiteX6314" y="connsiteY6314"/>
                </a:cxn>
                <a:cxn ang="0">
                  <a:pos x="connsiteX6315" y="connsiteY6315"/>
                </a:cxn>
                <a:cxn ang="0">
                  <a:pos x="connsiteX6316" y="connsiteY6316"/>
                </a:cxn>
                <a:cxn ang="0">
                  <a:pos x="connsiteX6317" y="connsiteY6317"/>
                </a:cxn>
                <a:cxn ang="0">
                  <a:pos x="connsiteX6318" y="connsiteY6318"/>
                </a:cxn>
                <a:cxn ang="0">
                  <a:pos x="connsiteX6319" y="connsiteY6319"/>
                </a:cxn>
                <a:cxn ang="0">
                  <a:pos x="connsiteX6320" y="connsiteY6320"/>
                </a:cxn>
                <a:cxn ang="0">
                  <a:pos x="connsiteX6321" y="connsiteY6321"/>
                </a:cxn>
                <a:cxn ang="0">
                  <a:pos x="connsiteX6322" y="connsiteY6322"/>
                </a:cxn>
                <a:cxn ang="0">
                  <a:pos x="connsiteX6323" y="connsiteY6323"/>
                </a:cxn>
                <a:cxn ang="0">
                  <a:pos x="connsiteX6324" y="connsiteY6324"/>
                </a:cxn>
                <a:cxn ang="0">
                  <a:pos x="connsiteX6325" y="connsiteY6325"/>
                </a:cxn>
                <a:cxn ang="0">
                  <a:pos x="connsiteX6326" y="connsiteY6326"/>
                </a:cxn>
                <a:cxn ang="0">
                  <a:pos x="connsiteX6327" y="connsiteY6327"/>
                </a:cxn>
                <a:cxn ang="0">
                  <a:pos x="connsiteX6328" y="connsiteY6328"/>
                </a:cxn>
                <a:cxn ang="0">
                  <a:pos x="connsiteX6329" y="connsiteY6329"/>
                </a:cxn>
                <a:cxn ang="0">
                  <a:pos x="connsiteX6330" y="connsiteY6330"/>
                </a:cxn>
                <a:cxn ang="0">
                  <a:pos x="connsiteX6331" y="connsiteY6331"/>
                </a:cxn>
                <a:cxn ang="0">
                  <a:pos x="connsiteX6332" y="connsiteY6332"/>
                </a:cxn>
                <a:cxn ang="0">
                  <a:pos x="connsiteX6333" y="connsiteY6333"/>
                </a:cxn>
                <a:cxn ang="0">
                  <a:pos x="connsiteX6334" y="connsiteY6334"/>
                </a:cxn>
                <a:cxn ang="0">
                  <a:pos x="connsiteX6335" y="connsiteY6335"/>
                </a:cxn>
                <a:cxn ang="0">
                  <a:pos x="connsiteX6336" y="connsiteY6336"/>
                </a:cxn>
                <a:cxn ang="0">
                  <a:pos x="connsiteX6337" y="connsiteY6337"/>
                </a:cxn>
                <a:cxn ang="0">
                  <a:pos x="connsiteX6338" y="connsiteY6338"/>
                </a:cxn>
                <a:cxn ang="0">
                  <a:pos x="connsiteX6339" y="connsiteY6339"/>
                </a:cxn>
                <a:cxn ang="0">
                  <a:pos x="connsiteX6340" y="connsiteY6340"/>
                </a:cxn>
                <a:cxn ang="0">
                  <a:pos x="connsiteX6341" y="connsiteY6341"/>
                </a:cxn>
                <a:cxn ang="0">
                  <a:pos x="connsiteX6342" y="connsiteY6342"/>
                </a:cxn>
                <a:cxn ang="0">
                  <a:pos x="connsiteX6343" y="connsiteY6343"/>
                </a:cxn>
                <a:cxn ang="0">
                  <a:pos x="connsiteX6344" y="connsiteY6344"/>
                </a:cxn>
                <a:cxn ang="0">
                  <a:pos x="connsiteX6345" y="connsiteY6345"/>
                </a:cxn>
                <a:cxn ang="0">
                  <a:pos x="connsiteX6346" y="connsiteY6346"/>
                </a:cxn>
                <a:cxn ang="0">
                  <a:pos x="connsiteX6347" y="connsiteY6347"/>
                </a:cxn>
                <a:cxn ang="0">
                  <a:pos x="connsiteX6348" y="connsiteY6348"/>
                </a:cxn>
                <a:cxn ang="0">
                  <a:pos x="connsiteX6349" y="connsiteY6349"/>
                </a:cxn>
                <a:cxn ang="0">
                  <a:pos x="connsiteX6350" y="connsiteY6350"/>
                </a:cxn>
                <a:cxn ang="0">
                  <a:pos x="connsiteX6351" y="connsiteY6351"/>
                </a:cxn>
                <a:cxn ang="0">
                  <a:pos x="connsiteX6352" y="connsiteY6352"/>
                </a:cxn>
                <a:cxn ang="0">
                  <a:pos x="connsiteX6353" y="connsiteY6353"/>
                </a:cxn>
                <a:cxn ang="0">
                  <a:pos x="connsiteX6354" y="connsiteY6354"/>
                </a:cxn>
                <a:cxn ang="0">
                  <a:pos x="connsiteX6355" y="connsiteY6355"/>
                </a:cxn>
                <a:cxn ang="0">
                  <a:pos x="connsiteX6356" y="connsiteY6356"/>
                </a:cxn>
                <a:cxn ang="0">
                  <a:pos x="connsiteX6357" y="connsiteY6357"/>
                </a:cxn>
                <a:cxn ang="0">
                  <a:pos x="connsiteX6358" y="connsiteY6358"/>
                </a:cxn>
                <a:cxn ang="0">
                  <a:pos x="connsiteX6359" y="connsiteY6359"/>
                </a:cxn>
                <a:cxn ang="0">
                  <a:pos x="connsiteX6360" y="connsiteY6360"/>
                </a:cxn>
                <a:cxn ang="0">
                  <a:pos x="connsiteX6361" y="connsiteY6361"/>
                </a:cxn>
                <a:cxn ang="0">
                  <a:pos x="connsiteX6362" y="connsiteY6362"/>
                </a:cxn>
                <a:cxn ang="0">
                  <a:pos x="connsiteX6363" y="connsiteY6363"/>
                </a:cxn>
                <a:cxn ang="0">
                  <a:pos x="connsiteX6364" y="connsiteY6364"/>
                </a:cxn>
                <a:cxn ang="0">
                  <a:pos x="connsiteX6365" y="connsiteY6365"/>
                </a:cxn>
                <a:cxn ang="0">
                  <a:pos x="connsiteX6366" y="connsiteY6366"/>
                </a:cxn>
                <a:cxn ang="0">
                  <a:pos x="connsiteX6367" y="connsiteY6367"/>
                </a:cxn>
                <a:cxn ang="0">
                  <a:pos x="connsiteX6368" y="connsiteY6368"/>
                </a:cxn>
                <a:cxn ang="0">
                  <a:pos x="connsiteX6369" y="connsiteY6369"/>
                </a:cxn>
                <a:cxn ang="0">
                  <a:pos x="connsiteX6370" y="connsiteY6370"/>
                </a:cxn>
                <a:cxn ang="0">
                  <a:pos x="connsiteX6371" y="connsiteY6371"/>
                </a:cxn>
                <a:cxn ang="0">
                  <a:pos x="connsiteX6372" y="connsiteY6372"/>
                </a:cxn>
                <a:cxn ang="0">
                  <a:pos x="connsiteX6373" y="connsiteY6373"/>
                </a:cxn>
                <a:cxn ang="0">
                  <a:pos x="connsiteX6374" y="connsiteY6374"/>
                </a:cxn>
                <a:cxn ang="0">
                  <a:pos x="connsiteX6375" y="connsiteY6375"/>
                </a:cxn>
                <a:cxn ang="0">
                  <a:pos x="connsiteX6376" y="connsiteY6376"/>
                </a:cxn>
                <a:cxn ang="0">
                  <a:pos x="connsiteX6377" y="connsiteY6377"/>
                </a:cxn>
                <a:cxn ang="0">
                  <a:pos x="connsiteX6378" y="connsiteY6378"/>
                </a:cxn>
                <a:cxn ang="0">
                  <a:pos x="connsiteX6379" y="connsiteY6379"/>
                </a:cxn>
                <a:cxn ang="0">
                  <a:pos x="connsiteX6380" y="connsiteY6380"/>
                </a:cxn>
                <a:cxn ang="0">
                  <a:pos x="connsiteX6381" y="connsiteY6381"/>
                </a:cxn>
                <a:cxn ang="0">
                  <a:pos x="connsiteX6382" y="connsiteY6382"/>
                </a:cxn>
                <a:cxn ang="0">
                  <a:pos x="connsiteX6383" y="connsiteY6383"/>
                </a:cxn>
                <a:cxn ang="0">
                  <a:pos x="connsiteX6384" y="connsiteY6384"/>
                </a:cxn>
                <a:cxn ang="0">
                  <a:pos x="connsiteX6385" y="connsiteY6385"/>
                </a:cxn>
                <a:cxn ang="0">
                  <a:pos x="connsiteX6386" y="connsiteY6386"/>
                </a:cxn>
                <a:cxn ang="0">
                  <a:pos x="connsiteX6387" y="connsiteY6387"/>
                </a:cxn>
                <a:cxn ang="0">
                  <a:pos x="connsiteX6388" y="connsiteY6388"/>
                </a:cxn>
                <a:cxn ang="0">
                  <a:pos x="connsiteX6389" y="connsiteY6389"/>
                </a:cxn>
                <a:cxn ang="0">
                  <a:pos x="connsiteX6390" y="connsiteY6390"/>
                </a:cxn>
                <a:cxn ang="0">
                  <a:pos x="connsiteX6391" y="connsiteY6391"/>
                </a:cxn>
                <a:cxn ang="0">
                  <a:pos x="connsiteX6392" y="connsiteY6392"/>
                </a:cxn>
                <a:cxn ang="0">
                  <a:pos x="connsiteX6393" y="connsiteY6393"/>
                </a:cxn>
                <a:cxn ang="0">
                  <a:pos x="connsiteX6394" y="connsiteY6394"/>
                </a:cxn>
                <a:cxn ang="0">
                  <a:pos x="connsiteX6395" y="connsiteY6395"/>
                </a:cxn>
                <a:cxn ang="0">
                  <a:pos x="connsiteX6396" y="connsiteY6396"/>
                </a:cxn>
                <a:cxn ang="0">
                  <a:pos x="connsiteX6397" y="connsiteY6397"/>
                </a:cxn>
                <a:cxn ang="0">
                  <a:pos x="connsiteX6398" y="connsiteY6398"/>
                </a:cxn>
                <a:cxn ang="0">
                  <a:pos x="connsiteX6399" y="connsiteY6399"/>
                </a:cxn>
                <a:cxn ang="0">
                  <a:pos x="connsiteX6400" y="connsiteY6400"/>
                </a:cxn>
                <a:cxn ang="0">
                  <a:pos x="connsiteX6401" y="connsiteY6401"/>
                </a:cxn>
                <a:cxn ang="0">
                  <a:pos x="connsiteX6402" y="connsiteY6402"/>
                </a:cxn>
                <a:cxn ang="0">
                  <a:pos x="connsiteX6403" y="connsiteY6403"/>
                </a:cxn>
                <a:cxn ang="0">
                  <a:pos x="connsiteX6404" y="connsiteY6404"/>
                </a:cxn>
                <a:cxn ang="0">
                  <a:pos x="connsiteX6405" y="connsiteY6405"/>
                </a:cxn>
                <a:cxn ang="0">
                  <a:pos x="connsiteX6406" y="connsiteY6406"/>
                </a:cxn>
                <a:cxn ang="0">
                  <a:pos x="connsiteX6407" y="connsiteY6407"/>
                </a:cxn>
                <a:cxn ang="0">
                  <a:pos x="connsiteX6408" y="connsiteY6408"/>
                </a:cxn>
                <a:cxn ang="0">
                  <a:pos x="connsiteX6409" y="connsiteY6409"/>
                </a:cxn>
                <a:cxn ang="0">
                  <a:pos x="connsiteX6410" y="connsiteY6410"/>
                </a:cxn>
                <a:cxn ang="0">
                  <a:pos x="connsiteX6411" y="connsiteY6411"/>
                </a:cxn>
                <a:cxn ang="0">
                  <a:pos x="connsiteX6412" y="connsiteY6412"/>
                </a:cxn>
                <a:cxn ang="0">
                  <a:pos x="connsiteX6413" y="connsiteY6413"/>
                </a:cxn>
                <a:cxn ang="0">
                  <a:pos x="connsiteX6414" y="connsiteY6414"/>
                </a:cxn>
                <a:cxn ang="0">
                  <a:pos x="connsiteX6415" y="connsiteY6415"/>
                </a:cxn>
                <a:cxn ang="0">
                  <a:pos x="connsiteX6416" y="connsiteY6416"/>
                </a:cxn>
                <a:cxn ang="0">
                  <a:pos x="connsiteX6417" y="connsiteY6417"/>
                </a:cxn>
                <a:cxn ang="0">
                  <a:pos x="connsiteX6418" y="connsiteY6418"/>
                </a:cxn>
                <a:cxn ang="0">
                  <a:pos x="connsiteX6419" y="connsiteY6419"/>
                </a:cxn>
                <a:cxn ang="0">
                  <a:pos x="connsiteX6420" y="connsiteY6420"/>
                </a:cxn>
                <a:cxn ang="0">
                  <a:pos x="connsiteX6421" y="connsiteY6421"/>
                </a:cxn>
                <a:cxn ang="0">
                  <a:pos x="connsiteX6422" y="connsiteY6422"/>
                </a:cxn>
                <a:cxn ang="0">
                  <a:pos x="connsiteX6423" y="connsiteY6423"/>
                </a:cxn>
                <a:cxn ang="0">
                  <a:pos x="connsiteX6424" y="connsiteY6424"/>
                </a:cxn>
                <a:cxn ang="0">
                  <a:pos x="connsiteX6425" y="connsiteY6425"/>
                </a:cxn>
                <a:cxn ang="0">
                  <a:pos x="connsiteX6426" y="connsiteY6426"/>
                </a:cxn>
                <a:cxn ang="0">
                  <a:pos x="connsiteX6427" y="connsiteY6427"/>
                </a:cxn>
                <a:cxn ang="0">
                  <a:pos x="connsiteX6428" y="connsiteY6428"/>
                </a:cxn>
                <a:cxn ang="0">
                  <a:pos x="connsiteX6429" y="connsiteY6429"/>
                </a:cxn>
                <a:cxn ang="0">
                  <a:pos x="connsiteX6430" y="connsiteY6430"/>
                </a:cxn>
                <a:cxn ang="0">
                  <a:pos x="connsiteX6431" y="connsiteY6431"/>
                </a:cxn>
                <a:cxn ang="0">
                  <a:pos x="connsiteX6432" y="connsiteY6432"/>
                </a:cxn>
                <a:cxn ang="0">
                  <a:pos x="connsiteX6433" y="connsiteY6433"/>
                </a:cxn>
                <a:cxn ang="0">
                  <a:pos x="connsiteX6434" y="connsiteY6434"/>
                </a:cxn>
                <a:cxn ang="0">
                  <a:pos x="connsiteX6435" y="connsiteY6435"/>
                </a:cxn>
                <a:cxn ang="0">
                  <a:pos x="connsiteX6436" y="connsiteY6436"/>
                </a:cxn>
                <a:cxn ang="0">
                  <a:pos x="connsiteX6437" y="connsiteY6437"/>
                </a:cxn>
                <a:cxn ang="0">
                  <a:pos x="connsiteX6438" y="connsiteY6438"/>
                </a:cxn>
                <a:cxn ang="0">
                  <a:pos x="connsiteX6439" y="connsiteY6439"/>
                </a:cxn>
                <a:cxn ang="0">
                  <a:pos x="connsiteX6440" y="connsiteY6440"/>
                </a:cxn>
                <a:cxn ang="0">
                  <a:pos x="connsiteX6441" y="connsiteY6441"/>
                </a:cxn>
                <a:cxn ang="0">
                  <a:pos x="connsiteX6442" y="connsiteY6442"/>
                </a:cxn>
                <a:cxn ang="0">
                  <a:pos x="connsiteX6443" y="connsiteY6443"/>
                </a:cxn>
                <a:cxn ang="0">
                  <a:pos x="connsiteX6444" y="connsiteY6444"/>
                </a:cxn>
                <a:cxn ang="0">
                  <a:pos x="connsiteX6445" y="connsiteY6445"/>
                </a:cxn>
                <a:cxn ang="0">
                  <a:pos x="connsiteX6446" y="connsiteY6446"/>
                </a:cxn>
                <a:cxn ang="0">
                  <a:pos x="connsiteX6447" y="connsiteY6447"/>
                </a:cxn>
                <a:cxn ang="0">
                  <a:pos x="connsiteX6448" y="connsiteY6448"/>
                </a:cxn>
                <a:cxn ang="0">
                  <a:pos x="connsiteX6449" y="connsiteY6449"/>
                </a:cxn>
                <a:cxn ang="0">
                  <a:pos x="connsiteX6450" y="connsiteY6450"/>
                </a:cxn>
                <a:cxn ang="0">
                  <a:pos x="connsiteX6451" y="connsiteY6451"/>
                </a:cxn>
                <a:cxn ang="0">
                  <a:pos x="connsiteX6452" y="connsiteY6452"/>
                </a:cxn>
                <a:cxn ang="0">
                  <a:pos x="connsiteX6453" y="connsiteY6453"/>
                </a:cxn>
                <a:cxn ang="0">
                  <a:pos x="connsiteX6454" y="connsiteY6454"/>
                </a:cxn>
                <a:cxn ang="0">
                  <a:pos x="connsiteX6455" y="connsiteY6455"/>
                </a:cxn>
                <a:cxn ang="0">
                  <a:pos x="connsiteX6456" y="connsiteY6456"/>
                </a:cxn>
                <a:cxn ang="0">
                  <a:pos x="connsiteX6457" y="connsiteY6457"/>
                </a:cxn>
                <a:cxn ang="0">
                  <a:pos x="connsiteX6458" y="connsiteY6458"/>
                </a:cxn>
                <a:cxn ang="0">
                  <a:pos x="connsiteX6459" y="connsiteY6459"/>
                </a:cxn>
                <a:cxn ang="0">
                  <a:pos x="connsiteX6460" y="connsiteY6460"/>
                </a:cxn>
                <a:cxn ang="0">
                  <a:pos x="connsiteX6461" y="connsiteY6461"/>
                </a:cxn>
                <a:cxn ang="0">
                  <a:pos x="connsiteX6462" y="connsiteY6462"/>
                </a:cxn>
                <a:cxn ang="0">
                  <a:pos x="connsiteX6463" y="connsiteY6463"/>
                </a:cxn>
                <a:cxn ang="0">
                  <a:pos x="connsiteX6464" y="connsiteY6464"/>
                </a:cxn>
                <a:cxn ang="0">
                  <a:pos x="connsiteX6465" y="connsiteY6465"/>
                </a:cxn>
                <a:cxn ang="0">
                  <a:pos x="connsiteX6466" y="connsiteY6466"/>
                </a:cxn>
                <a:cxn ang="0">
                  <a:pos x="connsiteX6467" y="connsiteY6467"/>
                </a:cxn>
                <a:cxn ang="0">
                  <a:pos x="connsiteX6468" y="connsiteY6468"/>
                </a:cxn>
                <a:cxn ang="0">
                  <a:pos x="connsiteX6469" y="connsiteY6469"/>
                </a:cxn>
                <a:cxn ang="0">
                  <a:pos x="connsiteX6470" y="connsiteY6470"/>
                </a:cxn>
                <a:cxn ang="0">
                  <a:pos x="connsiteX6471" y="connsiteY6471"/>
                </a:cxn>
                <a:cxn ang="0">
                  <a:pos x="connsiteX6472" y="connsiteY6472"/>
                </a:cxn>
                <a:cxn ang="0">
                  <a:pos x="connsiteX6473" y="connsiteY6473"/>
                </a:cxn>
                <a:cxn ang="0">
                  <a:pos x="connsiteX6474" y="connsiteY6474"/>
                </a:cxn>
                <a:cxn ang="0">
                  <a:pos x="connsiteX6475" y="connsiteY6475"/>
                </a:cxn>
                <a:cxn ang="0">
                  <a:pos x="connsiteX6476" y="connsiteY6476"/>
                </a:cxn>
                <a:cxn ang="0">
                  <a:pos x="connsiteX6477" y="connsiteY6477"/>
                </a:cxn>
                <a:cxn ang="0">
                  <a:pos x="connsiteX6478" y="connsiteY6478"/>
                </a:cxn>
                <a:cxn ang="0">
                  <a:pos x="connsiteX6479" y="connsiteY6479"/>
                </a:cxn>
                <a:cxn ang="0">
                  <a:pos x="connsiteX6480" y="connsiteY6480"/>
                </a:cxn>
                <a:cxn ang="0">
                  <a:pos x="connsiteX6481" y="connsiteY6481"/>
                </a:cxn>
                <a:cxn ang="0">
                  <a:pos x="connsiteX6482" y="connsiteY6482"/>
                </a:cxn>
                <a:cxn ang="0">
                  <a:pos x="connsiteX6483" y="connsiteY6483"/>
                </a:cxn>
                <a:cxn ang="0">
                  <a:pos x="connsiteX6484" y="connsiteY6484"/>
                </a:cxn>
                <a:cxn ang="0">
                  <a:pos x="connsiteX6485" y="connsiteY6485"/>
                </a:cxn>
                <a:cxn ang="0">
                  <a:pos x="connsiteX6486" y="connsiteY6486"/>
                </a:cxn>
                <a:cxn ang="0">
                  <a:pos x="connsiteX6487" y="connsiteY6487"/>
                </a:cxn>
                <a:cxn ang="0">
                  <a:pos x="connsiteX6488" y="connsiteY6488"/>
                </a:cxn>
                <a:cxn ang="0">
                  <a:pos x="connsiteX6489" y="connsiteY6489"/>
                </a:cxn>
                <a:cxn ang="0">
                  <a:pos x="connsiteX6490" y="connsiteY6490"/>
                </a:cxn>
                <a:cxn ang="0">
                  <a:pos x="connsiteX6491" y="connsiteY6491"/>
                </a:cxn>
                <a:cxn ang="0">
                  <a:pos x="connsiteX6492" y="connsiteY6492"/>
                </a:cxn>
                <a:cxn ang="0">
                  <a:pos x="connsiteX6493" y="connsiteY6493"/>
                </a:cxn>
                <a:cxn ang="0">
                  <a:pos x="connsiteX6494" y="connsiteY6494"/>
                </a:cxn>
                <a:cxn ang="0">
                  <a:pos x="connsiteX6495" y="connsiteY6495"/>
                </a:cxn>
                <a:cxn ang="0">
                  <a:pos x="connsiteX6496" y="connsiteY6496"/>
                </a:cxn>
                <a:cxn ang="0">
                  <a:pos x="connsiteX6497" y="connsiteY6497"/>
                </a:cxn>
                <a:cxn ang="0">
                  <a:pos x="connsiteX6498" y="connsiteY6498"/>
                </a:cxn>
                <a:cxn ang="0">
                  <a:pos x="connsiteX6499" y="connsiteY6499"/>
                </a:cxn>
                <a:cxn ang="0">
                  <a:pos x="connsiteX6500" y="connsiteY6500"/>
                </a:cxn>
                <a:cxn ang="0">
                  <a:pos x="connsiteX6501" y="connsiteY6501"/>
                </a:cxn>
                <a:cxn ang="0">
                  <a:pos x="connsiteX6502" y="connsiteY6502"/>
                </a:cxn>
                <a:cxn ang="0">
                  <a:pos x="connsiteX6503" y="connsiteY6503"/>
                </a:cxn>
                <a:cxn ang="0">
                  <a:pos x="connsiteX6504" y="connsiteY6504"/>
                </a:cxn>
                <a:cxn ang="0">
                  <a:pos x="connsiteX6505" y="connsiteY6505"/>
                </a:cxn>
                <a:cxn ang="0">
                  <a:pos x="connsiteX6506" y="connsiteY6506"/>
                </a:cxn>
                <a:cxn ang="0">
                  <a:pos x="connsiteX6507" y="connsiteY6507"/>
                </a:cxn>
                <a:cxn ang="0">
                  <a:pos x="connsiteX6508" y="connsiteY6508"/>
                </a:cxn>
                <a:cxn ang="0">
                  <a:pos x="connsiteX6509" y="connsiteY6509"/>
                </a:cxn>
                <a:cxn ang="0">
                  <a:pos x="connsiteX6510" y="connsiteY6510"/>
                </a:cxn>
                <a:cxn ang="0">
                  <a:pos x="connsiteX6511" y="connsiteY6511"/>
                </a:cxn>
                <a:cxn ang="0">
                  <a:pos x="connsiteX6512" y="connsiteY6512"/>
                </a:cxn>
                <a:cxn ang="0">
                  <a:pos x="connsiteX6513" y="connsiteY6513"/>
                </a:cxn>
                <a:cxn ang="0">
                  <a:pos x="connsiteX6514" y="connsiteY6514"/>
                </a:cxn>
                <a:cxn ang="0">
                  <a:pos x="connsiteX6515" y="connsiteY6515"/>
                </a:cxn>
                <a:cxn ang="0">
                  <a:pos x="connsiteX6516" y="connsiteY6516"/>
                </a:cxn>
                <a:cxn ang="0">
                  <a:pos x="connsiteX6517" y="connsiteY6517"/>
                </a:cxn>
                <a:cxn ang="0">
                  <a:pos x="connsiteX6518" y="connsiteY6518"/>
                </a:cxn>
                <a:cxn ang="0">
                  <a:pos x="connsiteX6519" y="connsiteY6519"/>
                </a:cxn>
                <a:cxn ang="0">
                  <a:pos x="connsiteX6520" y="connsiteY6520"/>
                </a:cxn>
                <a:cxn ang="0">
                  <a:pos x="connsiteX6521" y="connsiteY6521"/>
                </a:cxn>
                <a:cxn ang="0">
                  <a:pos x="connsiteX6522" y="connsiteY6522"/>
                </a:cxn>
                <a:cxn ang="0">
                  <a:pos x="connsiteX6523" y="connsiteY6523"/>
                </a:cxn>
                <a:cxn ang="0">
                  <a:pos x="connsiteX6524" y="connsiteY6524"/>
                </a:cxn>
                <a:cxn ang="0">
                  <a:pos x="connsiteX6525" y="connsiteY6525"/>
                </a:cxn>
                <a:cxn ang="0">
                  <a:pos x="connsiteX6526" y="connsiteY6526"/>
                </a:cxn>
                <a:cxn ang="0">
                  <a:pos x="connsiteX6527" y="connsiteY6527"/>
                </a:cxn>
                <a:cxn ang="0">
                  <a:pos x="connsiteX6528" y="connsiteY6528"/>
                </a:cxn>
                <a:cxn ang="0">
                  <a:pos x="connsiteX6529" y="connsiteY6529"/>
                </a:cxn>
                <a:cxn ang="0">
                  <a:pos x="connsiteX6530" y="connsiteY6530"/>
                </a:cxn>
                <a:cxn ang="0">
                  <a:pos x="connsiteX6531" y="connsiteY6531"/>
                </a:cxn>
                <a:cxn ang="0">
                  <a:pos x="connsiteX6532" y="connsiteY6532"/>
                </a:cxn>
                <a:cxn ang="0">
                  <a:pos x="connsiteX6533" y="connsiteY6533"/>
                </a:cxn>
                <a:cxn ang="0">
                  <a:pos x="connsiteX6534" y="connsiteY6534"/>
                </a:cxn>
                <a:cxn ang="0">
                  <a:pos x="connsiteX6535" y="connsiteY6535"/>
                </a:cxn>
                <a:cxn ang="0">
                  <a:pos x="connsiteX6536" y="connsiteY6536"/>
                </a:cxn>
                <a:cxn ang="0">
                  <a:pos x="connsiteX6537" y="connsiteY6537"/>
                </a:cxn>
                <a:cxn ang="0">
                  <a:pos x="connsiteX6538" y="connsiteY6538"/>
                </a:cxn>
                <a:cxn ang="0">
                  <a:pos x="connsiteX6539" y="connsiteY6539"/>
                </a:cxn>
                <a:cxn ang="0">
                  <a:pos x="connsiteX6540" y="connsiteY6540"/>
                </a:cxn>
                <a:cxn ang="0">
                  <a:pos x="connsiteX6541" y="connsiteY6541"/>
                </a:cxn>
                <a:cxn ang="0">
                  <a:pos x="connsiteX6542" y="connsiteY6542"/>
                </a:cxn>
                <a:cxn ang="0">
                  <a:pos x="connsiteX6543" y="connsiteY6543"/>
                </a:cxn>
                <a:cxn ang="0">
                  <a:pos x="connsiteX6544" y="connsiteY6544"/>
                </a:cxn>
                <a:cxn ang="0">
                  <a:pos x="connsiteX6545" y="connsiteY6545"/>
                </a:cxn>
                <a:cxn ang="0">
                  <a:pos x="connsiteX6546" y="connsiteY6546"/>
                </a:cxn>
                <a:cxn ang="0">
                  <a:pos x="connsiteX6547" y="connsiteY6547"/>
                </a:cxn>
                <a:cxn ang="0">
                  <a:pos x="connsiteX6548" y="connsiteY6548"/>
                </a:cxn>
                <a:cxn ang="0">
                  <a:pos x="connsiteX6549" y="connsiteY6549"/>
                </a:cxn>
                <a:cxn ang="0">
                  <a:pos x="connsiteX6550" y="connsiteY6550"/>
                </a:cxn>
                <a:cxn ang="0">
                  <a:pos x="connsiteX6551" y="connsiteY6551"/>
                </a:cxn>
                <a:cxn ang="0">
                  <a:pos x="connsiteX6552" y="connsiteY6552"/>
                </a:cxn>
                <a:cxn ang="0">
                  <a:pos x="connsiteX6553" y="connsiteY6553"/>
                </a:cxn>
                <a:cxn ang="0">
                  <a:pos x="connsiteX6554" y="connsiteY6554"/>
                </a:cxn>
                <a:cxn ang="0">
                  <a:pos x="connsiteX6555" y="connsiteY6555"/>
                </a:cxn>
                <a:cxn ang="0">
                  <a:pos x="connsiteX6556" y="connsiteY6556"/>
                </a:cxn>
                <a:cxn ang="0">
                  <a:pos x="connsiteX6557" y="connsiteY6557"/>
                </a:cxn>
                <a:cxn ang="0">
                  <a:pos x="connsiteX6558" y="connsiteY6558"/>
                </a:cxn>
                <a:cxn ang="0">
                  <a:pos x="connsiteX6559" y="connsiteY6559"/>
                </a:cxn>
                <a:cxn ang="0">
                  <a:pos x="connsiteX6560" y="connsiteY6560"/>
                </a:cxn>
                <a:cxn ang="0">
                  <a:pos x="connsiteX6561" y="connsiteY6561"/>
                </a:cxn>
                <a:cxn ang="0">
                  <a:pos x="connsiteX6562" y="connsiteY6562"/>
                </a:cxn>
                <a:cxn ang="0">
                  <a:pos x="connsiteX6563" y="connsiteY6563"/>
                </a:cxn>
                <a:cxn ang="0">
                  <a:pos x="connsiteX6564" y="connsiteY6564"/>
                </a:cxn>
                <a:cxn ang="0">
                  <a:pos x="connsiteX6565" y="connsiteY6565"/>
                </a:cxn>
                <a:cxn ang="0">
                  <a:pos x="connsiteX6566" y="connsiteY6566"/>
                </a:cxn>
                <a:cxn ang="0">
                  <a:pos x="connsiteX6567" y="connsiteY6567"/>
                </a:cxn>
                <a:cxn ang="0">
                  <a:pos x="connsiteX6568" y="connsiteY6568"/>
                </a:cxn>
                <a:cxn ang="0">
                  <a:pos x="connsiteX6569" y="connsiteY6569"/>
                </a:cxn>
                <a:cxn ang="0">
                  <a:pos x="connsiteX6570" y="connsiteY6570"/>
                </a:cxn>
                <a:cxn ang="0">
                  <a:pos x="connsiteX6571" y="connsiteY6571"/>
                </a:cxn>
                <a:cxn ang="0">
                  <a:pos x="connsiteX6572" y="connsiteY6572"/>
                </a:cxn>
                <a:cxn ang="0">
                  <a:pos x="connsiteX6573" y="connsiteY6573"/>
                </a:cxn>
                <a:cxn ang="0">
                  <a:pos x="connsiteX6574" y="connsiteY6574"/>
                </a:cxn>
                <a:cxn ang="0">
                  <a:pos x="connsiteX6575" y="connsiteY6575"/>
                </a:cxn>
                <a:cxn ang="0">
                  <a:pos x="connsiteX6576" y="connsiteY6576"/>
                </a:cxn>
                <a:cxn ang="0">
                  <a:pos x="connsiteX6577" y="connsiteY6577"/>
                </a:cxn>
                <a:cxn ang="0">
                  <a:pos x="connsiteX6578" y="connsiteY6578"/>
                </a:cxn>
                <a:cxn ang="0">
                  <a:pos x="connsiteX6579" y="connsiteY6579"/>
                </a:cxn>
                <a:cxn ang="0">
                  <a:pos x="connsiteX6580" y="connsiteY6580"/>
                </a:cxn>
                <a:cxn ang="0">
                  <a:pos x="connsiteX6581" y="connsiteY6581"/>
                </a:cxn>
                <a:cxn ang="0">
                  <a:pos x="connsiteX6582" y="connsiteY6582"/>
                </a:cxn>
                <a:cxn ang="0">
                  <a:pos x="connsiteX6583" y="connsiteY6583"/>
                </a:cxn>
                <a:cxn ang="0">
                  <a:pos x="connsiteX6584" y="connsiteY6584"/>
                </a:cxn>
                <a:cxn ang="0">
                  <a:pos x="connsiteX6585" y="connsiteY6585"/>
                </a:cxn>
                <a:cxn ang="0">
                  <a:pos x="connsiteX6586" y="connsiteY6586"/>
                </a:cxn>
                <a:cxn ang="0">
                  <a:pos x="connsiteX6587" y="connsiteY6587"/>
                </a:cxn>
                <a:cxn ang="0">
                  <a:pos x="connsiteX6588" y="connsiteY6588"/>
                </a:cxn>
                <a:cxn ang="0">
                  <a:pos x="connsiteX6589" y="connsiteY6589"/>
                </a:cxn>
                <a:cxn ang="0">
                  <a:pos x="connsiteX6590" y="connsiteY6590"/>
                </a:cxn>
                <a:cxn ang="0">
                  <a:pos x="connsiteX6591" y="connsiteY6591"/>
                </a:cxn>
                <a:cxn ang="0">
                  <a:pos x="connsiteX6592" y="connsiteY6592"/>
                </a:cxn>
                <a:cxn ang="0">
                  <a:pos x="connsiteX6593" y="connsiteY6593"/>
                </a:cxn>
                <a:cxn ang="0">
                  <a:pos x="connsiteX6594" y="connsiteY6594"/>
                </a:cxn>
                <a:cxn ang="0">
                  <a:pos x="connsiteX6595" y="connsiteY6595"/>
                </a:cxn>
                <a:cxn ang="0">
                  <a:pos x="connsiteX6596" y="connsiteY6596"/>
                </a:cxn>
                <a:cxn ang="0">
                  <a:pos x="connsiteX6597" y="connsiteY6597"/>
                </a:cxn>
                <a:cxn ang="0">
                  <a:pos x="connsiteX6598" y="connsiteY6598"/>
                </a:cxn>
                <a:cxn ang="0">
                  <a:pos x="connsiteX6599" y="connsiteY6599"/>
                </a:cxn>
                <a:cxn ang="0">
                  <a:pos x="connsiteX6600" y="connsiteY6600"/>
                </a:cxn>
                <a:cxn ang="0">
                  <a:pos x="connsiteX6601" y="connsiteY6601"/>
                </a:cxn>
                <a:cxn ang="0">
                  <a:pos x="connsiteX6602" y="connsiteY6602"/>
                </a:cxn>
                <a:cxn ang="0">
                  <a:pos x="connsiteX6603" y="connsiteY6603"/>
                </a:cxn>
                <a:cxn ang="0">
                  <a:pos x="connsiteX6604" y="connsiteY6604"/>
                </a:cxn>
                <a:cxn ang="0">
                  <a:pos x="connsiteX6605" y="connsiteY6605"/>
                </a:cxn>
                <a:cxn ang="0">
                  <a:pos x="connsiteX6606" y="connsiteY6606"/>
                </a:cxn>
                <a:cxn ang="0">
                  <a:pos x="connsiteX6607" y="connsiteY6607"/>
                </a:cxn>
                <a:cxn ang="0">
                  <a:pos x="connsiteX6608" y="connsiteY6608"/>
                </a:cxn>
                <a:cxn ang="0">
                  <a:pos x="connsiteX6609" y="connsiteY6609"/>
                </a:cxn>
                <a:cxn ang="0">
                  <a:pos x="connsiteX6610" y="connsiteY6610"/>
                </a:cxn>
                <a:cxn ang="0">
                  <a:pos x="connsiteX6611" y="connsiteY6611"/>
                </a:cxn>
                <a:cxn ang="0">
                  <a:pos x="connsiteX6612" y="connsiteY6612"/>
                </a:cxn>
                <a:cxn ang="0">
                  <a:pos x="connsiteX6613" y="connsiteY6613"/>
                </a:cxn>
                <a:cxn ang="0">
                  <a:pos x="connsiteX6614" y="connsiteY6614"/>
                </a:cxn>
                <a:cxn ang="0">
                  <a:pos x="connsiteX6615" y="connsiteY6615"/>
                </a:cxn>
                <a:cxn ang="0">
                  <a:pos x="connsiteX6616" y="connsiteY6616"/>
                </a:cxn>
                <a:cxn ang="0">
                  <a:pos x="connsiteX6617" y="connsiteY6617"/>
                </a:cxn>
                <a:cxn ang="0">
                  <a:pos x="connsiteX6618" y="connsiteY6618"/>
                </a:cxn>
                <a:cxn ang="0">
                  <a:pos x="connsiteX6619" y="connsiteY6619"/>
                </a:cxn>
                <a:cxn ang="0">
                  <a:pos x="connsiteX6620" y="connsiteY6620"/>
                </a:cxn>
                <a:cxn ang="0">
                  <a:pos x="connsiteX6621" y="connsiteY6621"/>
                </a:cxn>
                <a:cxn ang="0">
                  <a:pos x="connsiteX6622" y="connsiteY6622"/>
                </a:cxn>
                <a:cxn ang="0">
                  <a:pos x="connsiteX6623" y="connsiteY6623"/>
                </a:cxn>
                <a:cxn ang="0">
                  <a:pos x="connsiteX6624" y="connsiteY6624"/>
                </a:cxn>
                <a:cxn ang="0">
                  <a:pos x="connsiteX6625" y="connsiteY6625"/>
                </a:cxn>
                <a:cxn ang="0">
                  <a:pos x="connsiteX6626" y="connsiteY6626"/>
                </a:cxn>
                <a:cxn ang="0">
                  <a:pos x="connsiteX6627" y="connsiteY6627"/>
                </a:cxn>
                <a:cxn ang="0">
                  <a:pos x="connsiteX6628" y="connsiteY6628"/>
                </a:cxn>
                <a:cxn ang="0">
                  <a:pos x="connsiteX6629" y="connsiteY6629"/>
                </a:cxn>
                <a:cxn ang="0">
                  <a:pos x="connsiteX6630" y="connsiteY6630"/>
                </a:cxn>
                <a:cxn ang="0">
                  <a:pos x="connsiteX6631" y="connsiteY6631"/>
                </a:cxn>
                <a:cxn ang="0">
                  <a:pos x="connsiteX6632" y="connsiteY6632"/>
                </a:cxn>
                <a:cxn ang="0">
                  <a:pos x="connsiteX6633" y="connsiteY6633"/>
                </a:cxn>
                <a:cxn ang="0">
                  <a:pos x="connsiteX6634" y="connsiteY6634"/>
                </a:cxn>
                <a:cxn ang="0">
                  <a:pos x="connsiteX6635" y="connsiteY6635"/>
                </a:cxn>
                <a:cxn ang="0">
                  <a:pos x="connsiteX6636" y="connsiteY6636"/>
                </a:cxn>
                <a:cxn ang="0">
                  <a:pos x="connsiteX6637" y="connsiteY6637"/>
                </a:cxn>
                <a:cxn ang="0">
                  <a:pos x="connsiteX6638" y="connsiteY6638"/>
                </a:cxn>
                <a:cxn ang="0">
                  <a:pos x="connsiteX6639" y="connsiteY6639"/>
                </a:cxn>
                <a:cxn ang="0">
                  <a:pos x="connsiteX6640" y="connsiteY6640"/>
                </a:cxn>
                <a:cxn ang="0">
                  <a:pos x="connsiteX6641" y="connsiteY6641"/>
                </a:cxn>
                <a:cxn ang="0">
                  <a:pos x="connsiteX6642" y="connsiteY6642"/>
                </a:cxn>
                <a:cxn ang="0">
                  <a:pos x="connsiteX6643" y="connsiteY6643"/>
                </a:cxn>
                <a:cxn ang="0">
                  <a:pos x="connsiteX6644" y="connsiteY6644"/>
                </a:cxn>
                <a:cxn ang="0">
                  <a:pos x="connsiteX6645" y="connsiteY6645"/>
                </a:cxn>
                <a:cxn ang="0">
                  <a:pos x="connsiteX6646" y="connsiteY6646"/>
                </a:cxn>
                <a:cxn ang="0">
                  <a:pos x="connsiteX6647" y="connsiteY6647"/>
                </a:cxn>
                <a:cxn ang="0">
                  <a:pos x="connsiteX6648" y="connsiteY6648"/>
                </a:cxn>
                <a:cxn ang="0">
                  <a:pos x="connsiteX6649" y="connsiteY6649"/>
                </a:cxn>
                <a:cxn ang="0">
                  <a:pos x="connsiteX6650" y="connsiteY6650"/>
                </a:cxn>
                <a:cxn ang="0">
                  <a:pos x="connsiteX6651" y="connsiteY6651"/>
                </a:cxn>
                <a:cxn ang="0">
                  <a:pos x="connsiteX6652" y="connsiteY6652"/>
                </a:cxn>
                <a:cxn ang="0">
                  <a:pos x="connsiteX6653" y="connsiteY6653"/>
                </a:cxn>
                <a:cxn ang="0">
                  <a:pos x="connsiteX6654" y="connsiteY6654"/>
                </a:cxn>
                <a:cxn ang="0">
                  <a:pos x="connsiteX6655" y="connsiteY6655"/>
                </a:cxn>
                <a:cxn ang="0">
                  <a:pos x="connsiteX6656" y="connsiteY6656"/>
                </a:cxn>
                <a:cxn ang="0">
                  <a:pos x="connsiteX6657" y="connsiteY6657"/>
                </a:cxn>
                <a:cxn ang="0">
                  <a:pos x="connsiteX6658" y="connsiteY6658"/>
                </a:cxn>
                <a:cxn ang="0">
                  <a:pos x="connsiteX6659" y="connsiteY6659"/>
                </a:cxn>
                <a:cxn ang="0">
                  <a:pos x="connsiteX6660" y="connsiteY6660"/>
                </a:cxn>
                <a:cxn ang="0">
                  <a:pos x="connsiteX6661" y="connsiteY6661"/>
                </a:cxn>
                <a:cxn ang="0">
                  <a:pos x="connsiteX6662" y="connsiteY6662"/>
                </a:cxn>
                <a:cxn ang="0">
                  <a:pos x="connsiteX6663" y="connsiteY6663"/>
                </a:cxn>
                <a:cxn ang="0">
                  <a:pos x="connsiteX6664" y="connsiteY6664"/>
                </a:cxn>
                <a:cxn ang="0">
                  <a:pos x="connsiteX6665" y="connsiteY6665"/>
                </a:cxn>
                <a:cxn ang="0">
                  <a:pos x="connsiteX6666" y="connsiteY6666"/>
                </a:cxn>
                <a:cxn ang="0">
                  <a:pos x="connsiteX6667" y="connsiteY6667"/>
                </a:cxn>
                <a:cxn ang="0">
                  <a:pos x="connsiteX6668" y="connsiteY6668"/>
                </a:cxn>
                <a:cxn ang="0">
                  <a:pos x="connsiteX6669" y="connsiteY6669"/>
                </a:cxn>
                <a:cxn ang="0">
                  <a:pos x="connsiteX6670" y="connsiteY6670"/>
                </a:cxn>
                <a:cxn ang="0">
                  <a:pos x="connsiteX6671" y="connsiteY6671"/>
                </a:cxn>
                <a:cxn ang="0">
                  <a:pos x="connsiteX6672" y="connsiteY6672"/>
                </a:cxn>
                <a:cxn ang="0">
                  <a:pos x="connsiteX6673" y="connsiteY6673"/>
                </a:cxn>
                <a:cxn ang="0">
                  <a:pos x="connsiteX6674" y="connsiteY6674"/>
                </a:cxn>
                <a:cxn ang="0">
                  <a:pos x="connsiteX6675" y="connsiteY6675"/>
                </a:cxn>
                <a:cxn ang="0">
                  <a:pos x="connsiteX6676" y="connsiteY6676"/>
                </a:cxn>
                <a:cxn ang="0">
                  <a:pos x="connsiteX6677" y="connsiteY6677"/>
                </a:cxn>
                <a:cxn ang="0">
                  <a:pos x="connsiteX6678" y="connsiteY6678"/>
                </a:cxn>
                <a:cxn ang="0">
                  <a:pos x="connsiteX6679" y="connsiteY6679"/>
                </a:cxn>
                <a:cxn ang="0">
                  <a:pos x="connsiteX6680" y="connsiteY6680"/>
                </a:cxn>
                <a:cxn ang="0">
                  <a:pos x="connsiteX6681" y="connsiteY6681"/>
                </a:cxn>
                <a:cxn ang="0">
                  <a:pos x="connsiteX6682" y="connsiteY6682"/>
                </a:cxn>
                <a:cxn ang="0">
                  <a:pos x="connsiteX6683" y="connsiteY6683"/>
                </a:cxn>
                <a:cxn ang="0">
                  <a:pos x="connsiteX6684" y="connsiteY6684"/>
                </a:cxn>
                <a:cxn ang="0">
                  <a:pos x="connsiteX6685" y="connsiteY6685"/>
                </a:cxn>
                <a:cxn ang="0">
                  <a:pos x="connsiteX6686" y="connsiteY6686"/>
                </a:cxn>
                <a:cxn ang="0">
                  <a:pos x="connsiteX6687" y="connsiteY6687"/>
                </a:cxn>
                <a:cxn ang="0">
                  <a:pos x="connsiteX6688" y="connsiteY6688"/>
                </a:cxn>
                <a:cxn ang="0">
                  <a:pos x="connsiteX6689" y="connsiteY6689"/>
                </a:cxn>
                <a:cxn ang="0">
                  <a:pos x="connsiteX6690" y="connsiteY6690"/>
                </a:cxn>
                <a:cxn ang="0">
                  <a:pos x="connsiteX6691" y="connsiteY6691"/>
                </a:cxn>
                <a:cxn ang="0">
                  <a:pos x="connsiteX6692" y="connsiteY6692"/>
                </a:cxn>
                <a:cxn ang="0">
                  <a:pos x="connsiteX6693" y="connsiteY6693"/>
                </a:cxn>
                <a:cxn ang="0">
                  <a:pos x="connsiteX6694" y="connsiteY6694"/>
                </a:cxn>
                <a:cxn ang="0">
                  <a:pos x="connsiteX6695" y="connsiteY6695"/>
                </a:cxn>
                <a:cxn ang="0">
                  <a:pos x="connsiteX6696" y="connsiteY6696"/>
                </a:cxn>
                <a:cxn ang="0">
                  <a:pos x="connsiteX6697" y="connsiteY6697"/>
                </a:cxn>
                <a:cxn ang="0">
                  <a:pos x="connsiteX6698" y="connsiteY6698"/>
                </a:cxn>
                <a:cxn ang="0">
                  <a:pos x="connsiteX6699" y="connsiteY6699"/>
                </a:cxn>
                <a:cxn ang="0">
                  <a:pos x="connsiteX6700" y="connsiteY6700"/>
                </a:cxn>
                <a:cxn ang="0">
                  <a:pos x="connsiteX6701" y="connsiteY6701"/>
                </a:cxn>
                <a:cxn ang="0">
                  <a:pos x="connsiteX6702" y="connsiteY6702"/>
                </a:cxn>
                <a:cxn ang="0">
                  <a:pos x="connsiteX6703" y="connsiteY6703"/>
                </a:cxn>
                <a:cxn ang="0">
                  <a:pos x="connsiteX6704" y="connsiteY6704"/>
                </a:cxn>
                <a:cxn ang="0">
                  <a:pos x="connsiteX6705" y="connsiteY6705"/>
                </a:cxn>
                <a:cxn ang="0">
                  <a:pos x="connsiteX6706" y="connsiteY6706"/>
                </a:cxn>
                <a:cxn ang="0">
                  <a:pos x="connsiteX6707" y="connsiteY6707"/>
                </a:cxn>
                <a:cxn ang="0">
                  <a:pos x="connsiteX6708" y="connsiteY6708"/>
                </a:cxn>
                <a:cxn ang="0">
                  <a:pos x="connsiteX6709" y="connsiteY6709"/>
                </a:cxn>
                <a:cxn ang="0">
                  <a:pos x="connsiteX6710" y="connsiteY6710"/>
                </a:cxn>
                <a:cxn ang="0">
                  <a:pos x="connsiteX6711" y="connsiteY6711"/>
                </a:cxn>
                <a:cxn ang="0">
                  <a:pos x="connsiteX6712" y="connsiteY6712"/>
                </a:cxn>
                <a:cxn ang="0">
                  <a:pos x="connsiteX6713" y="connsiteY6713"/>
                </a:cxn>
                <a:cxn ang="0">
                  <a:pos x="connsiteX6714" y="connsiteY6714"/>
                </a:cxn>
                <a:cxn ang="0">
                  <a:pos x="connsiteX6715" y="connsiteY6715"/>
                </a:cxn>
                <a:cxn ang="0">
                  <a:pos x="connsiteX6716" y="connsiteY6716"/>
                </a:cxn>
                <a:cxn ang="0">
                  <a:pos x="connsiteX6717" y="connsiteY6717"/>
                </a:cxn>
                <a:cxn ang="0">
                  <a:pos x="connsiteX6718" y="connsiteY6718"/>
                </a:cxn>
                <a:cxn ang="0">
                  <a:pos x="connsiteX6719" y="connsiteY6719"/>
                </a:cxn>
                <a:cxn ang="0">
                  <a:pos x="connsiteX6720" y="connsiteY6720"/>
                </a:cxn>
                <a:cxn ang="0">
                  <a:pos x="connsiteX6721" y="connsiteY6721"/>
                </a:cxn>
                <a:cxn ang="0">
                  <a:pos x="connsiteX6722" y="connsiteY6722"/>
                </a:cxn>
                <a:cxn ang="0">
                  <a:pos x="connsiteX6723" y="connsiteY6723"/>
                </a:cxn>
                <a:cxn ang="0">
                  <a:pos x="connsiteX6724" y="connsiteY6724"/>
                </a:cxn>
                <a:cxn ang="0">
                  <a:pos x="connsiteX6725" y="connsiteY6725"/>
                </a:cxn>
                <a:cxn ang="0">
                  <a:pos x="connsiteX6726" y="connsiteY6726"/>
                </a:cxn>
                <a:cxn ang="0">
                  <a:pos x="connsiteX6727" y="connsiteY6727"/>
                </a:cxn>
                <a:cxn ang="0">
                  <a:pos x="connsiteX6728" y="connsiteY6728"/>
                </a:cxn>
                <a:cxn ang="0">
                  <a:pos x="connsiteX6729" y="connsiteY6729"/>
                </a:cxn>
                <a:cxn ang="0">
                  <a:pos x="connsiteX6730" y="connsiteY6730"/>
                </a:cxn>
                <a:cxn ang="0">
                  <a:pos x="connsiteX6731" y="connsiteY6731"/>
                </a:cxn>
                <a:cxn ang="0">
                  <a:pos x="connsiteX6732" y="connsiteY6732"/>
                </a:cxn>
                <a:cxn ang="0">
                  <a:pos x="connsiteX6733" y="connsiteY6733"/>
                </a:cxn>
                <a:cxn ang="0">
                  <a:pos x="connsiteX6734" y="connsiteY6734"/>
                </a:cxn>
                <a:cxn ang="0">
                  <a:pos x="connsiteX6735" y="connsiteY6735"/>
                </a:cxn>
                <a:cxn ang="0">
                  <a:pos x="connsiteX6736" y="connsiteY6736"/>
                </a:cxn>
                <a:cxn ang="0">
                  <a:pos x="connsiteX6737" y="connsiteY6737"/>
                </a:cxn>
                <a:cxn ang="0">
                  <a:pos x="connsiteX6738" y="connsiteY6738"/>
                </a:cxn>
                <a:cxn ang="0">
                  <a:pos x="connsiteX6739" y="connsiteY6739"/>
                </a:cxn>
                <a:cxn ang="0">
                  <a:pos x="connsiteX6740" y="connsiteY6740"/>
                </a:cxn>
                <a:cxn ang="0">
                  <a:pos x="connsiteX6741" y="connsiteY6741"/>
                </a:cxn>
                <a:cxn ang="0">
                  <a:pos x="connsiteX6742" y="connsiteY6742"/>
                </a:cxn>
                <a:cxn ang="0">
                  <a:pos x="connsiteX6743" y="connsiteY6743"/>
                </a:cxn>
                <a:cxn ang="0">
                  <a:pos x="connsiteX6744" y="connsiteY6744"/>
                </a:cxn>
                <a:cxn ang="0">
                  <a:pos x="connsiteX6745" y="connsiteY6745"/>
                </a:cxn>
                <a:cxn ang="0">
                  <a:pos x="connsiteX6746" y="connsiteY6746"/>
                </a:cxn>
                <a:cxn ang="0">
                  <a:pos x="connsiteX6747" y="connsiteY6747"/>
                </a:cxn>
                <a:cxn ang="0">
                  <a:pos x="connsiteX6748" y="connsiteY6748"/>
                </a:cxn>
                <a:cxn ang="0">
                  <a:pos x="connsiteX6749" y="connsiteY6749"/>
                </a:cxn>
                <a:cxn ang="0">
                  <a:pos x="connsiteX6750" y="connsiteY6750"/>
                </a:cxn>
                <a:cxn ang="0">
                  <a:pos x="connsiteX6751" y="connsiteY6751"/>
                </a:cxn>
                <a:cxn ang="0">
                  <a:pos x="connsiteX6752" y="connsiteY6752"/>
                </a:cxn>
                <a:cxn ang="0">
                  <a:pos x="connsiteX6753" y="connsiteY6753"/>
                </a:cxn>
                <a:cxn ang="0">
                  <a:pos x="connsiteX6754" y="connsiteY6754"/>
                </a:cxn>
                <a:cxn ang="0">
                  <a:pos x="connsiteX6755" y="connsiteY6755"/>
                </a:cxn>
                <a:cxn ang="0">
                  <a:pos x="connsiteX6756" y="connsiteY6756"/>
                </a:cxn>
                <a:cxn ang="0">
                  <a:pos x="connsiteX6757" y="connsiteY6757"/>
                </a:cxn>
                <a:cxn ang="0">
                  <a:pos x="connsiteX6758" y="connsiteY6758"/>
                </a:cxn>
                <a:cxn ang="0">
                  <a:pos x="connsiteX6759" y="connsiteY6759"/>
                </a:cxn>
                <a:cxn ang="0">
                  <a:pos x="connsiteX6760" y="connsiteY6760"/>
                </a:cxn>
                <a:cxn ang="0">
                  <a:pos x="connsiteX6761" y="connsiteY6761"/>
                </a:cxn>
                <a:cxn ang="0">
                  <a:pos x="connsiteX6762" y="connsiteY6762"/>
                </a:cxn>
                <a:cxn ang="0">
                  <a:pos x="connsiteX6763" y="connsiteY6763"/>
                </a:cxn>
                <a:cxn ang="0">
                  <a:pos x="connsiteX6764" y="connsiteY6764"/>
                </a:cxn>
                <a:cxn ang="0">
                  <a:pos x="connsiteX6765" y="connsiteY6765"/>
                </a:cxn>
                <a:cxn ang="0">
                  <a:pos x="connsiteX6766" y="connsiteY6766"/>
                </a:cxn>
                <a:cxn ang="0">
                  <a:pos x="connsiteX6767" y="connsiteY6767"/>
                </a:cxn>
                <a:cxn ang="0">
                  <a:pos x="connsiteX6768" y="connsiteY6768"/>
                </a:cxn>
                <a:cxn ang="0">
                  <a:pos x="connsiteX6769" y="connsiteY6769"/>
                </a:cxn>
                <a:cxn ang="0">
                  <a:pos x="connsiteX6770" y="connsiteY6770"/>
                </a:cxn>
                <a:cxn ang="0">
                  <a:pos x="connsiteX6771" y="connsiteY6771"/>
                </a:cxn>
                <a:cxn ang="0">
                  <a:pos x="connsiteX6772" y="connsiteY6772"/>
                </a:cxn>
                <a:cxn ang="0">
                  <a:pos x="connsiteX6773" y="connsiteY6773"/>
                </a:cxn>
                <a:cxn ang="0">
                  <a:pos x="connsiteX6774" y="connsiteY6774"/>
                </a:cxn>
                <a:cxn ang="0">
                  <a:pos x="connsiteX6775" y="connsiteY6775"/>
                </a:cxn>
                <a:cxn ang="0">
                  <a:pos x="connsiteX6776" y="connsiteY6776"/>
                </a:cxn>
                <a:cxn ang="0">
                  <a:pos x="connsiteX6777" y="connsiteY6777"/>
                </a:cxn>
                <a:cxn ang="0">
                  <a:pos x="connsiteX6778" y="connsiteY6778"/>
                </a:cxn>
                <a:cxn ang="0">
                  <a:pos x="connsiteX6779" y="connsiteY6779"/>
                </a:cxn>
                <a:cxn ang="0">
                  <a:pos x="connsiteX6780" y="connsiteY6780"/>
                </a:cxn>
                <a:cxn ang="0">
                  <a:pos x="connsiteX6781" y="connsiteY6781"/>
                </a:cxn>
                <a:cxn ang="0">
                  <a:pos x="connsiteX6782" y="connsiteY6782"/>
                </a:cxn>
                <a:cxn ang="0">
                  <a:pos x="connsiteX6783" y="connsiteY6783"/>
                </a:cxn>
                <a:cxn ang="0">
                  <a:pos x="connsiteX6784" y="connsiteY6784"/>
                </a:cxn>
                <a:cxn ang="0">
                  <a:pos x="connsiteX6785" y="connsiteY6785"/>
                </a:cxn>
                <a:cxn ang="0">
                  <a:pos x="connsiteX6786" y="connsiteY6786"/>
                </a:cxn>
                <a:cxn ang="0">
                  <a:pos x="connsiteX6787" y="connsiteY6787"/>
                </a:cxn>
                <a:cxn ang="0">
                  <a:pos x="connsiteX6788" y="connsiteY6788"/>
                </a:cxn>
                <a:cxn ang="0">
                  <a:pos x="connsiteX6789" y="connsiteY6789"/>
                </a:cxn>
                <a:cxn ang="0">
                  <a:pos x="connsiteX6790" y="connsiteY6790"/>
                </a:cxn>
                <a:cxn ang="0">
                  <a:pos x="connsiteX6791" y="connsiteY6791"/>
                </a:cxn>
                <a:cxn ang="0">
                  <a:pos x="connsiteX6792" y="connsiteY6792"/>
                </a:cxn>
                <a:cxn ang="0">
                  <a:pos x="connsiteX6793" y="connsiteY6793"/>
                </a:cxn>
                <a:cxn ang="0">
                  <a:pos x="connsiteX6794" y="connsiteY6794"/>
                </a:cxn>
                <a:cxn ang="0">
                  <a:pos x="connsiteX6795" y="connsiteY6795"/>
                </a:cxn>
                <a:cxn ang="0">
                  <a:pos x="connsiteX6796" y="connsiteY6796"/>
                </a:cxn>
                <a:cxn ang="0">
                  <a:pos x="connsiteX6797" y="connsiteY6797"/>
                </a:cxn>
                <a:cxn ang="0">
                  <a:pos x="connsiteX6798" y="connsiteY6798"/>
                </a:cxn>
                <a:cxn ang="0">
                  <a:pos x="connsiteX6799" y="connsiteY6799"/>
                </a:cxn>
                <a:cxn ang="0">
                  <a:pos x="connsiteX6800" y="connsiteY6800"/>
                </a:cxn>
                <a:cxn ang="0">
                  <a:pos x="connsiteX6801" y="connsiteY6801"/>
                </a:cxn>
                <a:cxn ang="0">
                  <a:pos x="connsiteX6802" y="connsiteY6802"/>
                </a:cxn>
                <a:cxn ang="0">
                  <a:pos x="connsiteX6803" y="connsiteY6803"/>
                </a:cxn>
                <a:cxn ang="0">
                  <a:pos x="connsiteX6804" y="connsiteY6804"/>
                </a:cxn>
                <a:cxn ang="0">
                  <a:pos x="connsiteX6805" y="connsiteY6805"/>
                </a:cxn>
                <a:cxn ang="0">
                  <a:pos x="connsiteX6806" y="connsiteY6806"/>
                </a:cxn>
                <a:cxn ang="0">
                  <a:pos x="connsiteX6807" y="connsiteY6807"/>
                </a:cxn>
                <a:cxn ang="0">
                  <a:pos x="connsiteX6808" y="connsiteY6808"/>
                </a:cxn>
                <a:cxn ang="0">
                  <a:pos x="connsiteX6809" y="connsiteY6809"/>
                </a:cxn>
                <a:cxn ang="0">
                  <a:pos x="connsiteX6810" y="connsiteY6810"/>
                </a:cxn>
                <a:cxn ang="0">
                  <a:pos x="connsiteX6811" y="connsiteY6811"/>
                </a:cxn>
                <a:cxn ang="0">
                  <a:pos x="connsiteX6812" y="connsiteY6812"/>
                </a:cxn>
                <a:cxn ang="0">
                  <a:pos x="connsiteX6813" y="connsiteY6813"/>
                </a:cxn>
                <a:cxn ang="0">
                  <a:pos x="connsiteX6814" y="connsiteY6814"/>
                </a:cxn>
                <a:cxn ang="0">
                  <a:pos x="connsiteX6815" y="connsiteY6815"/>
                </a:cxn>
                <a:cxn ang="0">
                  <a:pos x="connsiteX6816" y="connsiteY6816"/>
                </a:cxn>
                <a:cxn ang="0">
                  <a:pos x="connsiteX6817" y="connsiteY6817"/>
                </a:cxn>
                <a:cxn ang="0">
                  <a:pos x="connsiteX6818" y="connsiteY6818"/>
                </a:cxn>
                <a:cxn ang="0">
                  <a:pos x="connsiteX6819" y="connsiteY6819"/>
                </a:cxn>
                <a:cxn ang="0">
                  <a:pos x="connsiteX6820" y="connsiteY6820"/>
                </a:cxn>
                <a:cxn ang="0">
                  <a:pos x="connsiteX6821" y="connsiteY6821"/>
                </a:cxn>
                <a:cxn ang="0">
                  <a:pos x="connsiteX6822" y="connsiteY6822"/>
                </a:cxn>
                <a:cxn ang="0">
                  <a:pos x="connsiteX6823" y="connsiteY6823"/>
                </a:cxn>
                <a:cxn ang="0">
                  <a:pos x="connsiteX6824" y="connsiteY6824"/>
                </a:cxn>
                <a:cxn ang="0">
                  <a:pos x="connsiteX6825" y="connsiteY6825"/>
                </a:cxn>
                <a:cxn ang="0">
                  <a:pos x="connsiteX6826" y="connsiteY6826"/>
                </a:cxn>
                <a:cxn ang="0">
                  <a:pos x="connsiteX6827" y="connsiteY6827"/>
                </a:cxn>
                <a:cxn ang="0">
                  <a:pos x="connsiteX6828" y="connsiteY6828"/>
                </a:cxn>
                <a:cxn ang="0">
                  <a:pos x="connsiteX6829" y="connsiteY6829"/>
                </a:cxn>
                <a:cxn ang="0">
                  <a:pos x="connsiteX6830" y="connsiteY6830"/>
                </a:cxn>
                <a:cxn ang="0">
                  <a:pos x="connsiteX6831" y="connsiteY6831"/>
                </a:cxn>
                <a:cxn ang="0">
                  <a:pos x="connsiteX6832" y="connsiteY6832"/>
                </a:cxn>
                <a:cxn ang="0">
                  <a:pos x="connsiteX6833" y="connsiteY6833"/>
                </a:cxn>
                <a:cxn ang="0">
                  <a:pos x="connsiteX6834" y="connsiteY6834"/>
                </a:cxn>
                <a:cxn ang="0">
                  <a:pos x="connsiteX6835" y="connsiteY6835"/>
                </a:cxn>
                <a:cxn ang="0">
                  <a:pos x="connsiteX6836" y="connsiteY6836"/>
                </a:cxn>
                <a:cxn ang="0">
                  <a:pos x="connsiteX6837" y="connsiteY6837"/>
                </a:cxn>
                <a:cxn ang="0">
                  <a:pos x="connsiteX6838" y="connsiteY6838"/>
                </a:cxn>
                <a:cxn ang="0">
                  <a:pos x="connsiteX6839" y="connsiteY6839"/>
                </a:cxn>
                <a:cxn ang="0">
                  <a:pos x="connsiteX6840" y="connsiteY6840"/>
                </a:cxn>
                <a:cxn ang="0">
                  <a:pos x="connsiteX6841" y="connsiteY6841"/>
                </a:cxn>
                <a:cxn ang="0">
                  <a:pos x="connsiteX6842" y="connsiteY6842"/>
                </a:cxn>
                <a:cxn ang="0">
                  <a:pos x="connsiteX6843" y="connsiteY6843"/>
                </a:cxn>
                <a:cxn ang="0">
                  <a:pos x="connsiteX6844" y="connsiteY6844"/>
                </a:cxn>
                <a:cxn ang="0">
                  <a:pos x="connsiteX6845" y="connsiteY6845"/>
                </a:cxn>
                <a:cxn ang="0">
                  <a:pos x="connsiteX6846" y="connsiteY6846"/>
                </a:cxn>
                <a:cxn ang="0">
                  <a:pos x="connsiteX6847" y="connsiteY6847"/>
                </a:cxn>
                <a:cxn ang="0">
                  <a:pos x="connsiteX6848" y="connsiteY6848"/>
                </a:cxn>
                <a:cxn ang="0">
                  <a:pos x="connsiteX6849" y="connsiteY6849"/>
                </a:cxn>
                <a:cxn ang="0">
                  <a:pos x="connsiteX6850" y="connsiteY6850"/>
                </a:cxn>
                <a:cxn ang="0">
                  <a:pos x="connsiteX6851" y="connsiteY6851"/>
                </a:cxn>
                <a:cxn ang="0">
                  <a:pos x="connsiteX6852" y="connsiteY6852"/>
                </a:cxn>
                <a:cxn ang="0">
                  <a:pos x="connsiteX6853" y="connsiteY6853"/>
                </a:cxn>
                <a:cxn ang="0">
                  <a:pos x="connsiteX6854" y="connsiteY6854"/>
                </a:cxn>
                <a:cxn ang="0">
                  <a:pos x="connsiteX6855" y="connsiteY6855"/>
                </a:cxn>
                <a:cxn ang="0">
                  <a:pos x="connsiteX6856" y="connsiteY6856"/>
                </a:cxn>
                <a:cxn ang="0">
                  <a:pos x="connsiteX6857" y="connsiteY6857"/>
                </a:cxn>
                <a:cxn ang="0">
                  <a:pos x="connsiteX6858" y="connsiteY6858"/>
                </a:cxn>
                <a:cxn ang="0">
                  <a:pos x="connsiteX6859" y="connsiteY6859"/>
                </a:cxn>
                <a:cxn ang="0">
                  <a:pos x="connsiteX6860" y="connsiteY6860"/>
                </a:cxn>
                <a:cxn ang="0">
                  <a:pos x="connsiteX6861" y="connsiteY6861"/>
                </a:cxn>
                <a:cxn ang="0">
                  <a:pos x="connsiteX6862" y="connsiteY6862"/>
                </a:cxn>
                <a:cxn ang="0">
                  <a:pos x="connsiteX6863" y="connsiteY6863"/>
                </a:cxn>
                <a:cxn ang="0">
                  <a:pos x="connsiteX6864" y="connsiteY6864"/>
                </a:cxn>
                <a:cxn ang="0">
                  <a:pos x="connsiteX6865" y="connsiteY6865"/>
                </a:cxn>
                <a:cxn ang="0">
                  <a:pos x="connsiteX6866" y="connsiteY6866"/>
                </a:cxn>
                <a:cxn ang="0">
                  <a:pos x="connsiteX6867" y="connsiteY6867"/>
                </a:cxn>
                <a:cxn ang="0">
                  <a:pos x="connsiteX6868" y="connsiteY6868"/>
                </a:cxn>
                <a:cxn ang="0">
                  <a:pos x="connsiteX6869" y="connsiteY6869"/>
                </a:cxn>
                <a:cxn ang="0">
                  <a:pos x="connsiteX6870" y="connsiteY6870"/>
                </a:cxn>
                <a:cxn ang="0">
                  <a:pos x="connsiteX6871" y="connsiteY6871"/>
                </a:cxn>
                <a:cxn ang="0">
                  <a:pos x="connsiteX6872" y="connsiteY6872"/>
                </a:cxn>
                <a:cxn ang="0">
                  <a:pos x="connsiteX6873" y="connsiteY6873"/>
                </a:cxn>
                <a:cxn ang="0">
                  <a:pos x="connsiteX6874" y="connsiteY6874"/>
                </a:cxn>
                <a:cxn ang="0">
                  <a:pos x="connsiteX6875" y="connsiteY6875"/>
                </a:cxn>
                <a:cxn ang="0">
                  <a:pos x="connsiteX6876" y="connsiteY6876"/>
                </a:cxn>
                <a:cxn ang="0">
                  <a:pos x="connsiteX6877" y="connsiteY6877"/>
                </a:cxn>
                <a:cxn ang="0">
                  <a:pos x="connsiteX6878" y="connsiteY6878"/>
                </a:cxn>
                <a:cxn ang="0">
                  <a:pos x="connsiteX6879" y="connsiteY6879"/>
                </a:cxn>
                <a:cxn ang="0">
                  <a:pos x="connsiteX6880" y="connsiteY6880"/>
                </a:cxn>
                <a:cxn ang="0">
                  <a:pos x="connsiteX6881" y="connsiteY6881"/>
                </a:cxn>
                <a:cxn ang="0">
                  <a:pos x="connsiteX6882" y="connsiteY6882"/>
                </a:cxn>
                <a:cxn ang="0">
                  <a:pos x="connsiteX6883" y="connsiteY6883"/>
                </a:cxn>
                <a:cxn ang="0">
                  <a:pos x="connsiteX6884" y="connsiteY6884"/>
                </a:cxn>
                <a:cxn ang="0">
                  <a:pos x="connsiteX6885" y="connsiteY6885"/>
                </a:cxn>
                <a:cxn ang="0">
                  <a:pos x="connsiteX6886" y="connsiteY6886"/>
                </a:cxn>
                <a:cxn ang="0">
                  <a:pos x="connsiteX6887" y="connsiteY6887"/>
                </a:cxn>
                <a:cxn ang="0">
                  <a:pos x="connsiteX6888" y="connsiteY6888"/>
                </a:cxn>
                <a:cxn ang="0">
                  <a:pos x="connsiteX6889" y="connsiteY6889"/>
                </a:cxn>
                <a:cxn ang="0">
                  <a:pos x="connsiteX6890" y="connsiteY6890"/>
                </a:cxn>
                <a:cxn ang="0">
                  <a:pos x="connsiteX6891" y="connsiteY6891"/>
                </a:cxn>
                <a:cxn ang="0">
                  <a:pos x="connsiteX6892" y="connsiteY6892"/>
                </a:cxn>
                <a:cxn ang="0">
                  <a:pos x="connsiteX6893" y="connsiteY6893"/>
                </a:cxn>
                <a:cxn ang="0">
                  <a:pos x="connsiteX6894" y="connsiteY6894"/>
                </a:cxn>
                <a:cxn ang="0">
                  <a:pos x="connsiteX6895" y="connsiteY6895"/>
                </a:cxn>
                <a:cxn ang="0">
                  <a:pos x="connsiteX6896" y="connsiteY6896"/>
                </a:cxn>
                <a:cxn ang="0">
                  <a:pos x="connsiteX6897" y="connsiteY6897"/>
                </a:cxn>
                <a:cxn ang="0">
                  <a:pos x="connsiteX6898" y="connsiteY6898"/>
                </a:cxn>
                <a:cxn ang="0">
                  <a:pos x="connsiteX6899" y="connsiteY6899"/>
                </a:cxn>
                <a:cxn ang="0">
                  <a:pos x="connsiteX6900" y="connsiteY6900"/>
                </a:cxn>
                <a:cxn ang="0">
                  <a:pos x="connsiteX6901" y="connsiteY6901"/>
                </a:cxn>
                <a:cxn ang="0">
                  <a:pos x="connsiteX6902" y="connsiteY6902"/>
                </a:cxn>
                <a:cxn ang="0">
                  <a:pos x="connsiteX6903" y="connsiteY6903"/>
                </a:cxn>
                <a:cxn ang="0">
                  <a:pos x="connsiteX6904" y="connsiteY6904"/>
                </a:cxn>
                <a:cxn ang="0">
                  <a:pos x="connsiteX6905" y="connsiteY6905"/>
                </a:cxn>
                <a:cxn ang="0">
                  <a:pos x="connsiteX6906" y="connsiteY6906"/>
                </a:cxn>
                <a:cxn ang="0">
                  <a:pos x="connsiteX6907" y="connsiteY6907"/>
                </a:cxn>
                <a:cxn ang="0">
                  <a:pos x="connsiteX6908" y="connsiteY6908"/>
                </a:cxn>
                <a:cxn ang="0">
                  <a:pos x="connsiteX6909" y="connsiteY6909"/>
                </a:cxn>
                <a:cxn ang="0">
                  <a:pos x="connsiteX6910" y="connsiteY6910"/>
                </a:cxn>
                <a:cxn ang="0">
                  <a:pos x="connsiteX6911" y="connsiteY6911"/>
                </a:cxn>
                <a:cxn ang="0">
                  <a:pos x="connsiteX6912" y="connsiteY6912"/>
                </a:cxn>
                <a:cxn ang="0">
                  <a:pos x="connsiteX6913" y="connsiteY6913"/>
                </a:cxn>
                <a:cxn ang="0">
                  <a:pos x="connsiteX6914" y="connsiteY6914"/>
                </a:cxn>
                <a:cxn ang="0">
                  <a:pos x="connsiteX6915" y="connsiteY6915"/>
                </a:cxn>
                <a:cxn ang="0">
                  <a:pos x="connsiteX6916" y="connsiteY6916"/>
                </a:cxn>
                <a:cxn ang="0">
                  <a:pos x="connsiteX6917" y="connsiteY6917"/>
                </a:cxn>
                <a:cxn ang="0">
                  <a:pos x="connsiteX6918" y="connsiteY6918"/>
                </a:cxn>
                <a:cxn ang="0">
                  <a:pos x="connsiteX6919" y="connsiteY6919"/>
                </a:cxn>
                <a:cxn ang="0">
                  <a:pos x="connsiteX6920" y="connsiteY6920"/>
                </a:cxn>
                <a:cxn ang="0">
                  <a:pos x="connsiteX6921" y="connsiteY6921"/>
                </a:cxn>
                <a:cxn ang="0">
                  <a:pos x="connsiteX6922" y="connsiteY6922"/>
                </a:cxn>
                <a:cxn ang="0">
                  <a:pos x="connsiteX6923" y="connsiteY6923"/>
                </a:cxn>
                <a:cxn ang="0">
                  <a:pos x="connsiteX6924" y="connsiteY6924"/>
                </a:cxn>
                <a:cxn ang="0">
                  <a:pos x="connsiteX6925" y="connsiteY6925"/>
                </a:cxn>
                <a:cxn ang="0">
                  <a:pos x="connsiteX6926" y="connsiteY6926"/>
                </a:cxn>
                <a:cxn ang="0">
                  <a:pos x="connsiteX6927" y="connsiteY6927"/>
                </a:cxn>
                <a:cxn ang="0">
                  <a:pos x="connsiteX6928" y="connsiteY6928"/>
                </a:cxn>
                <a:cxn ang="0">
                  <a:pos x="connsiteX6929" y="connsiteY6929"/>
                </a:cxn>
                <a:cxn ang="0">
                  <a:pos x="connsiteX6930" y="connsiteY6930"/>
                </a:cxn>
                <a:cxn ang="0">
                  <a:pos x="connsiteX6931" y="connsiteY6931"/>
                </a:cxn>
                <a:cxn ang="0">
                  <a:pos x="connsiteX6932" y="connsiteY6932"/>
                </a:cxn>
                <a:cxn ang="0">
                  <a:pos x="connsiteX6933" y="connsiteY6933"/>
                </a:cxn>
                <a:cxn ang="0">
                  <a:pos x="connsiteX6934" y="connsiteY6934"/>
                </a:cxn>
                <a:cxn ang="0">
                  <a:pos x="connsiteX6935" y="connsiteY6935"/>
                </a:cxn>
                <a:cxn ang="0">
                  <a:pos x="connsiteX6936" y="connsiteY6936"/>
                </a:cxn>
                <a:cxn ang="0">
                  <a:pos x="connsiteX6937" y="connsiteY6937"/>
                </a:cxn>
                <a:cxn ang="0">
                  <a:pos x="connsiteX6938" y="connsiteY6938"/>
                </a:cxn>
                <a:cxn ang="0">
                  <a:pos x="connsiteX6939" y="connsiteY6939"/>
                </a:cxn>
                <a:cxn ang="0">
                  <a:pos x="connsiteX6940" y="connsiteY6940"/>
                </a:cxn>
                <a:cxn ang="0">
                  <a:pos x="connsiteX6941" y="connsiteY6941"/>
                </a:cxn>
                <a:cxn ang="0">
                  <a:pos x="connsiteX6942" y="connsiteY6942"/>
                </a:cxn>
                <a:cxn ang="0">
                  <a:pos x="connsiteX6943" y="connsiteY6943"/>
                </a:cxn>
                <a:cxn ang="0">
                  <a:pos x="connsiteX6944" y="connsiteY6944"/>
                </a:cxn>
                <a:cxn ang="0">
                  <a:pos x="connsiteX6945" y="connsiteY6945"/>
                </a:cxn>
                <a:cxn ang="0">
                  <a:pos x="connsiteX6946" y="connsiteY6946"/>
                </a:cxn>
                <a:cxn ang="0">
                  <a:pos x="connsiteX6947" y="connsiteY6947"/>
                </a:cxn>
                <a:cxn ang="0">
                  <a:pos x="connsiteX6948" y="connsiteY6948"/>
                </a:cxn>
                <a:cxn ang="0">
                  <a:pos x="connsiteX6949" y="connsiteY6949"/>
                </a:cxn>
                <a:cxn ang="0">
                  <a:pos x="connsiteX6950" y="connsiteY6950"/>
                </a:cxn>
                <a:cxn ang="0">
                  <a:pos x="connsiteX6951" y="connsiteY6951"/>
                </a:cxn>
                <a:cxn ang="0">
                  <a:pos x="connsiteX6952" y="connsiteY6952"/>
                </a:cxn>
                <a:cxn ang="0">
                  <a:pos x="connsiteX6953" y="connsiteY6953"/>
                </a:cxn>
                <a:cxn ang="0">
                  <a:pos x="connsiteX6954" y="connsiteY6954"/>
                </a:cxn>
                <a:cxn ang="0">
                  <a:pos x="connsiteX6955" y="connsiteY6955"/>
                </a:cxn>
                <a:cxn ang="0">
                  <a:pos x="connsiteX6956" y="connsiteY6956"/>
                </a:cxn>
                <a:cxn ang="0">
                  <a:pos x="connsiteX6957" y="connsiteY6957"/>
                </a:cxn>
                <a:cxn ang="0">
                  <a:pos x="connsiteX6958" y="connsiteY6958"/>
                </a:cxn>
                <a:cxn ang="0">
                  <a:pos x="connsiteX6959" y="connsiteY6959"/>
                </a:cxn>
                <a:cxn ang="0">
                  <a:pos x="connsiteX6960" y="connsiteY6960"/>
                </a:cxn>
                <a:cxn ang="0">
                  <a:pos x="connsiteX6961" y="connsiteY6961"/>
                </a:cxn>
                <a:cxn ang="0">
                  <a:pos x="connsiteX6962" y="connsiteY6962"/>
                </a:cxn>
                <a:cxn ang="0">
                  <a:pos x="connsiteX6963" y="connsiteY6963"/>
                </a:cxn>
                <a:cxn ang="0">
                  <a:pos x="connsiteX6964" y="connsiteY6964"/>
                </a:cxn>
                <a:cxn ang="0">
                  <a:pos x="connsiteX6965" y="connsiteY6965"/>
                </a:cxn>
                <a:cxn ang="0">
                  <a:pos x="connsiteX6966" y="connsiteY6966"/>
                </a:cxn>
                <a:cxn ang="0">
                  <a:pos x="connsiteX6967" y="connsiteY6967"/>
                </a:cxn>
                <a:cxn ang="0">
                  <a:pos x="connsiteX6968" y="connsiteY6968"/>
                </a:cxn>
                <a:cxn ang="0">
                  <a:pos x="connsiteX6969" y="connsiteY6969"/>
                </a:cxn>
                <a:cxn ang="0">
                  <a:pos x="connsiteX6970" y="connsiteY6970"/>
                </a:cxn>
                <a:cxn ang="0">
                  <a:pos x="connsiteX6971" y="connsiteY6971"/>
                </a:cxn>
                <a:cxn ang="0">
                  <a:pos x="connsiteX6972" y="connsiteY6972"/>
                </a:cxn>
                <a:cxn ang="0">
                  <a:pos x="connsiteX6973" y="connsiteY6973"/>
                </a:cxn>
                <a:cxn ang="0">
                  <a:pos x="connsiteX6974" y="connsiteY6974"/>
                </a:cxn>
                <a:cxn ang="0">
                  <a:pos x="connsiteX6975" y="connsiteY6975"/>
                </a:cxn>
                <a:cxn ang="0">
                  <a:pos x="connsiteX6976" y="connsiteY6976"/>
                </a:cxn>
                <a:cxn ang="0">
                  <a:pos x="connsiteX6977" y="connsiteY6977"/>
                </a:cxn>
                <a:cxn ang="0">
                  <a:pos x="connsiteX6978" y="connsiteY6978"/>
                </a:cxn>
                <a:cxn ang="0">
                  <a:pos x="connsiteX6979" y="connsiteY6979"/>
                </a:cxn>
                <a:cxn ang="0">
                  <a:pos x="connsiteX6980" y="connsiteY6980"/>
                </a:cxn>
                <a:cxn ang="0">
                  <a:pos x="connsiteX6981" y="connsiteY6981"/>
                </a:cxn>
                <a:cxn ang="0">
                  <a:pos x="connsiteX6982" y="connsiteY6982"/>
                </a:cxn>
                <a:cxn ang="0">
                  <a:pos x="connsiteX6983" y="connsiteY6983"/>
                </a:cxn>
                <a:cxn ang="0">
                  <a:pos x="connsiteX6984" y="connsiteY6984"/>
                </a:cxn>
                <a:cxn ang="0">
                  <a:pos x="connsiteX6985" y="connsiteY6985"/>
                </a:cxn>
                <a:cxn ang="0">
                  <a:pos x="connsiteX6986" y="connsiteY6986"/>
                </a:cxn>
                <a:cxn ang="0">
                  <a:pos x="connsiteX6987" y="connsiteY6987"/>
                </a:cxn>
                <a:cxn ang="0">
                  <a:pos x="connsiteX6988" y="connsiteY6988"/>
                </a:cxn>
                <a:cxn ang="0">
                  <a:pos x="connsiteX6989" y="connsiteY6989"/>
                </a:cxn>
                <a:cxn ang="0">
                  <a:pos x="connsiteX6990" y="connsiteY6990"/>
                </a:cxn>
                <a:cxn ang="0">
                  <a:pos x="connsiteX6991" y="connsiteY6991"/>
                </a:cxn>
                <a:cxn ang="0">
                  <a:pos x="connsiteX6992" y="connsiteY6992"/>
                </a:cxn>
                <a:cxn ang="0">
                  <a:pos x="connsiteX6993" y="connsiteY6993"/>
                </a:cxn>
                <a:cxn ang="0">
                  <a:pos x="connsiteX6994" y="connsiteY6994"/>
                </a:cxn>
                <a:cxn ang="0">
                  <a:pos x="connsiteX6995" y="connsiteY6995"/>
                </a:cxn>
                <a:cxn ang="0">
                  <a:pos x="connsiteX6996" y="connsiteY6996"/>
                </a:cxn>
                <a:cxn ang="0">
                  <a:pos x="connsiteX6997" y="connsiteY6997"/>
                </a:cxn>
                <a:cxn ang="0">
                  <a:pos x="connsiteX6998" y="connsiteY6998"/>
                </a:cxn>
                <a:cxn ang="0">
                  <a:pos x="connsiteX6999" y="connsiteY6999"/>
                </a:cxn>
                <a:cxn ang="0">
                  <a:pos x="connsiteX7000" y="connsiteY7000"/>
                </a:cxn>
                <a:cxn ang="0">
                  <a:pos x="connsiteX7001" y="connsiteY7001"/>
                </a:cxn>
                <a:cxn ang="0">
                  <a:pos x="connsiteX7002" y="connsiteY7002"/>
                </a:cxn>
                <a:cxn ang="0">
                  <a:pos x="connsiteX7003" y="connsiteY7003"/>
                </a:cxn>
                <a:cxn ang="0">
                  <a:pos x="connsiteX7004" y="connsiteY7004"/>
                </a:cxn>
                <a:cxn ang="0">
                  <a:pos x="connsiteX7005" y="connsiteY7005"/>
                </a:cxn>
                <a:cxn ang="0">
                  <a:pos x="connsiteX7006" y="connsiteY7006"/>
                </a:cxn>
                <a:cxn ang="0">
                  <a:pos x="connsiteX7007" y="connsiteY7007"/>
                </a:cxn>
                <a:cxn ang="0">
                  <a:pos x="connsiteX7008" y="connsiteY7008"/>
                </a:cxn>
                <a:cxn ang="0">
                  <a:pos x="connsiteX7009" y="connsiteY7009"/>
                </a:cxn>
                <a:cxn ang="0">
                  <a:pos x="connsiteX7010" y="connsiteY7010"/>
                </a:cxn>
                <a:cxn ang="0">
                  <a:pos x="connsiteX7011" y="connsiteY7011"/>
                </a:cxn>
                <a:cxn ang="0">
                  <a:pos x="connsiteX7012" y="connsiteY7012"/>
                </a:cxn>
                <a:cxn ang="0">
                  <a:pos x="connsiteX7013" y="connsiteY7013"/>
                </a:cxn>
                <a:cxn ang="0">
                  <a:pos x="connsiteX7014" y="connsiteY7014"/>
                </a:cxn>
                <a:cxn ang="0">
                  <a:pos x="connsiteX7015" y="connsiteY7015"/>
                </a:cxn>
                <a:cxn ang="0">
                  <a:pos x="connsiteX7016" y="connsiteY7016"/>
                </a:cxn>
                <a:cxn ang="0">
                  <a:pos x="connsiteX7017" y="connsiteY7017"/>
                </a:cxn>
                <a:cxn ang="0">
                  <a:pos x="connsiteX7018" y="connsiteY7018"/>
                </a:cxn>
                <a:cxn ang="0">
                  <a:pos x="connsiteX7019" y="connsiteY7019"/>
                </a:cxn>
                <a:cxn ang="0">
                  <a:pos x="connsiteX7020" y="connsiteY7020"/>
                </a:cxn>
                <a:cxn ang="0">
                  <a:pos x="connsiteX7021" y="connsiteY7021"/>
                </a:cxn>
                <a:cxn ang="0">
                  <a:pos x="connsiteX7022" y="connsiteY7022"/>
                </a:cxn>
                <a:cxn ang="0">
                  <a:pos x="connsiteX7023" y="connsiteY7023"/>
                </a:cxn>
                <a:cxn ang="0">
                  <a:pos x="connsiteX7024" y="connsiteY7024"/>
                </a:cxn>
                <a:cxn ang="0">
                  <a:pos x="connsiteX7025" y="connsiteY7025"/>
                </a:cxn>
                <a:cxn ang="0">
                  <a:pos x="connsiteX7026" y="connsiteY7026"/>
                </a:cxn>
                <a:cxn ang="0">
                  <a:pos x="connsiteX7027" y="connsiteY7027"/>
                </a:cxn>
                <a:cxn ang="0">
                  <a:pos x="connsiteX7028" y="connsiteY7028"/>
                </a:cxn>
                <a:cxn ang="0">
                  <a:pos x="connsiteX7029" y="connsiteY7029"/>
                </a:cxn>
                <a:cxn ang="0">
                  <a:pos x="connsiteX7030" y="connsiteY7030"/>
                </a:cxn>
                <a:cxn ang="0">
                  <a:pos x="connsiteX7031" y="connsiteY7031"/>
                </a:cxn>
                <a:cxn ang="0">
                  <a:pos x="connsiteX7032" y="connsiteY7032"/>
                </a:cxn>
                <a:cxn ang="0">
                  <a:pos x="connsiteX7033" y="connsiteY7033"/>
                </a:cxn>
                <a:cxn ang="0">
                  <a:pos x="connsiteX7034" y="connsiteY7034"/>
                </a:cxn>
                <a:cxn ang="0">
                  <a:pos x="connsiteX7035" y="connsiteY7035"/>
                </a:cxn>
                <a:cxn ang="0">
                  <a:pos x="connsiteX7036" y="connsiteY7036"/>
                </a:cxn>
                <a:cxn ang="0">
                  <a:pos x="connsiteX7037" y="connsiteY7037"/>
                </a:cxn>
                <a:cxn ang="0">
                  <a:pos x="connsiteX7038" y="connsiteY7038"/>
                </a:cxn>
                <a:cxn ang="0">
                  <a:pos x="connsiteX7039" y="connsiteY7039"/>
                </a:cxn>
                <a:cxn ang="0">
                  <a:pos x="connsiteX7040" y="connsiteY7040"/>
                </a:cxn>
                <a:cxn ang="0">
                  <a:pos x="connsiteX7041" y="connsiteY7041"/>
                </a:cxn>
                <a:cxn ang="0">
                  <a:pos x="connsiteX7042" y="connsiteY7042"/>
                </a:cxn>
                <a:cxn ang="0">
                  <a:pos x="connsiteX7043" y="connsiteY7043"/>
                </a:cxn>
                <a:cxn ang="0">
                  <a:pos x="connsiteX7044" y="connsiteY7044"/>
                </a:cxn>
                <a:cxn ang="0">
                  <a:pos x="connsiteX7045" y="connsiteY7045"/>
                </a:cxn>
                <a:cxn ang="0">
                  <a:pos x="connsiteX7046" y="connsiteY7046"/>
                </a:cxn>
                <a:cxn ang="0">
                  <a:pos x="connsiteX7047" y="connsiteY7047"/>
                </a:cxn>
                <a:cxn ang="0">
                  <a:pos x="connsiteX7048" y="connsiteY7048"/>
                </a:cxn>
                <a:cxn ang="0">
                  <a:pos x="connsiteX7049" y="connsiteY7049"/>
                </a:cxn>
                <a:cxn ang="0">
                  <a:pos x="connsiteX7050" y="connsiteY7050"/>
                </a:cxn>
                <a:cxn ang="0">
                  <a:pos x="connsiteX7051" y="connsiteY7051"/>
                </a:cxn>
                <a:cxn ang="0">
                  <a:pos x="connsiteX7052" y="connsiteY7052"/>
                </a:cxn>
                <a:cxn ang="0">
                  <a:pos x="connsiteX7053" y="connsiteY7053"/>
                </a:cxn>
                <a:cxn ang="0">
                  <a:pos x="connsiteX7054" y="connsiteY7054"/>
                </a:cxn>
                <a:cxn ang="0">
                  <a:pos x="connsiteX7055" y="connsiteY7055"/>
                </a:cxn>
                <a:cxn ang="0">
                  <a:pos x="connsiteX7056" y="connsiteY7056"/>
                </a:cxn>
                <a:cxn ang="0">
                  <a:pos x="connsiteX7057" y="connsiteY7057"/>
                </a:cxn>
                <a:cxn ang="0">
                  <a:pos x="connsiteX7058" y="connsiteY7058"/>
                </a:cxn>
                <a:cxn ang="0">
                  <a:pos x="connsiteX7059" y="connsiteY7059"/>
                </a:cxn>
                <a:cxn ang="0">
                  <a:pos x="connsiteX7060" y="connsiteY7060"/>
                </a:cxn>
                <a:cxn ang="0">
                  <a:pos x="connsiteX7061" y="connsiteY7061"/>
                </a:cxn>
                <a:cxn ang="0">
                  <a:pos x="connsiteX7062" y="connsiteY7062"/>
                </a:cxn>
                <a:cxn ang="0">
                  <a:pos x="connsiteX7063" y="connsiteY7063"/>
                </a:cxn>
                <a:cxn ang="0">
                  <a:pos x="connsiteX7064" y="connsiteY7064"/>
                </a:cxn>
                <a:cxn ang="0">
                  <a:pos x="connsiteX7065" y="connsiteY7065"/>
                </a:cxn>
                <a:cxn ang="0">
                  <a:pos x="connsiteX7066" y="connsiteY7066"/>
                </a:cxn>
                <a:cxn ang="0">
                  <a:pos x="connsiteX7067" y="connsiteY7067"/>
                </a:cxn>
                <a:cxn ang="0">
                  <a:pos x="connsiteX7068" y="connsiteY7068"/>
                </a:cxn>
                <a:cxn ang="0">
                  <a:pos x="connsiteX7069" y="connsiteY7069"/>
                </a:cxn>
                <a:cxn ang="0">
                  <a:pos x="connsiteX7070" y="connsiteY7070"/>
                </a:cxn>
                <a:cxn ang="0">
                  <a:pos x="connsiteX7071" y="connsiteY7071"/>
                </a:cxn>
                <a:cxn ang="0">
                  <a:pos x="connsiteX7072" y="connsiteY7072"/>
                </a:cxn>
                <a:cxn ang="0">
                  <a:pos x="connsiteX7073" y="connsiteY7073"/>
                </a:cxn>
                <a:cxn ang="0">
                  <a:pos x="connsiteX7074" y="connsiteY7074"/>
                </a:cxn>
                <a:cxn ang="0">
                  <a:pos x="connsiteX7075" y="connsiteY7075"/>
                </a:cxn>
                <a:cxn ang="0">
                  <a:pos x="connsiteX7076" y="connsiteY7076"/>
                </a:cxn>
                <a:cxn ang="0">
                  <a:pos x="connsiteX7077" y="connsiteY7077"/>
                </a:cxn>
                <a:cxn ang="0">
                  <a:pos x="connsiteX7078" y="connsiteY7078"/>
                </a:cxn>
                <a:cxn ang="0">
                  <a:pos x="connsiteX7079" y="connsiteY7079"/>
                </a:cxn>
                <a:cxn ang="0">
                  <a:pos x="connsiteX7080" y="connsiteY7080"/>
                </a:cxn>
                <a:cxn ang="0">
                  <a:pos x="connsiteX7081" y="connsiteY7081"/>
                </a:cxn>
                <a:cxn ang="0">
                  <a:pos x="connsiteX7082" y="connsiteY7082"/>
                </a:cxn>
                <a:cxn ang="0">
                  <a:pos x="connsiteX7083" y="connsiteY7083"/>
                </a:cxn>
                <a:cxn ang="0">
                  <a:pos x="connsiteX7084" y="connsiteY7084"/>
                </a:cxn>
                <a:cxn ang="0">
                  <a:pos x="connsiteX7085" y="connsiteY7085"/>
                </a:cxn>
                <a:cxn ang="0">
                  <a:pos x="connsiteX7086" y="connsiteY7086"/>
                </a:cxn>
                <a:cxn ang="0">
                  <a:pos x="connsiteX7087" y="connsiteY7087"/>
                </a:cxn>
                <a:cxn ang="0">
                  <a:pos x="connsiteX7088" y="connsiteY7088"/>
                </a:cxn>
                <a:cxn ang="0">
                  <a:pos x="connsiteX7089" y="connsiteY7089"/>
                </a:cxn>
                <a:cxn ang="0">
                  <a:pos x="connsiteX7090" y="connsiteY7090"/>
                </a:cxn>
                <a:cxn ang="0">
                  <a:pos x="connsiteX7091" y="connsiteY7091"/>
                </a:cxn>
                <a:cxn ang="0">
                  <a:pos x="connsiteX7092" y="connsiteY7092"/>
                </a:cxn>
                <a:cxn ang="0">
                  <a:pos x="connsiteX7093" y="connsiteY7093"/>
                </a:cxn>
                <a:cxn ang="0">
                  <a:pos x="connsiteX7094" y="connsiteY7094"/>
                </a:cxn>
                <a:cxn ang="0">
                  <a:pos x="connsiteX7095" y="connsiteY7095"/>
                </a:cxn>
                <a:cxn ang="0">
                  <a:pos x="connsiteX7096" y="connsiteY7096"/>
                </a:cxn>
                <a:cxn ang="0">
                  <a:pos x="connsiteX7097" y="connsiteY7097"/>
                </a:cxn>
                <a:cxn ang="0">
                  <a:pos x="connsiteX7098" y="connsiteY7098"/>
                </a:cxn>
                <a:cxn ang="0">
                  <a:pos x="connsiteX7099" y="connsiteY7099"/>
                </a:cxn>
                <a:cxn ang="0">
                  <a:pos x="connsiteX7100" y="connsiteY7100"/>
                </a:cxn>
                <a:cxn ang="0">
                  <a:pos x="connsiteX7101" y="connsiteY7101"/>
                </a:cxn>
                <a:cxn ang="0">
                  <a:pos x="connsiteX7102" y="connsiteY7102"/>
                </a:cxn>
                <a:cxn ang="0">
                  <a:pos x="connsiteX7103" y="connsiteY7103"/>
                </a:cxn>
                <a:cxn ang="0">
                  <a:pos x="connsiteX7104" y="connsiteY7104"/>
                </a:cxn>
                <a:cxn ang="0">
                  <a:pos x="connsiteX7105" y="connsiteY7105"/>
                </a:cxn>
                <a:cxn ang="0">
                  <a:pos x="connsiteX7106" y="connsiteY7106"/>
                </a:cxn>
                <a:cxn ang="0">
                  <a:pos x="connsiteX7107" y="connsiteY7107"/>
                </a:cxn>
                <a:cxn ang="0">
                  <a:pos x="connsiteX7108" y="connsiteY7108"/>
                </a:cxn>
                <a:cxn ang="0">
                  <a:pos x="connsiteX7109" y="connsiteY7109"/>
                </a:cxn>
                <a:cxn ang="0">
                  <a:pos x="connsiteX7110" y="connsiteY7110"/>
                </a:cxn>
                <a:cxn ang="0">
                  <a:pos x="connsiteX7111" y="connsiteY7111"/>
                </a:cxn>
                <a:cxn ang="0">
                  <a:pos x="connsiteX7112" y="connsiteY7112"/>
                </a:cxn>
                <a:cxn ang="0">
                  <a:pos x="connsiteX7113" y="connsiteY7113"/>
                </a:cxn>
                <a:cxn ang="0">
                  <a:pos x="connsiteX7114" y="connsiteY7114"/>
                </a:cxn>
                <a:cxn ang="0">
                  <a:pos x="connsiteX7115" y="connsiteY7115"/>
                </a:cxn>
                <a:cxn ang="0">
                  <a:pos x="connsiteX7116" y="connsiteY7116"/>
                </a:cxn>
                <a:cxn ang="0">
                  <a:pos x="connsiteX7117" y="connsiteY7117"/>
                </a:cxn>
                <a:cxn ang="0">
                  <a:pos x="connsiteX7118" y="connsiteY7118"/>
                </a:cxn>
                <a:cxn ang="0">
                  <a:pos x="connsiteX7119" y="connsiteY7119"/>
                </a:cxn>
                <a:cxn ang="0">
                  <a:pos x="connsiteX7120" y="connsiteY7120"/>
                </a:cxn>
                <a:cxn ang="0">
                  <a:pos x="connsiteX7121" y="connsiteY7121"/>
                </a:cxn>
                <a:cxn ang="0">
                  <a:pos x="connsiteX7122" y="connsiteY7122"/>
                </a:cxn>
                <a:cxn ang="0">
                  <a:pos x="connsiteX7123" y="connsiteY7123"/>
                </a:cxn>
                <a:cxn ang="0">
                  <a:pos x="connsiteX7124" y="connsiteY7124"/>
                </a:cxn>
                <a:cxn ang="0">
                  <a:pos x="connsiteX7125" y="connsiteY7125"/>
                </a:cxn>
                <a:cxn ang="0">
                  <a:pos x="connsiteX7126" y="connsiteY7126"/>
                </a:cxn>
                <a:cxn ang="0">
                  <a:pos x="connsiteX7127" y="connsiteY7127"/>
                </a:cxn>
                <a:cxn ang="0">
                  <a:pos x="connsiteX7128" y="connsiteY7128"/>
                </a:cxn>
                <a:cxn ang="0">
                  <a:pos x="connsiteX7129" y="connsiteY7129"/>
                </a:cxn>
                <a:cxn ang="0">
                  <a:pos x="connsiteX7130" y="connsiteY7130"/>
                </a:cxn>
                <a:cxn ang="0">
                  <a:pos x="connsiteX7131" y="connsiteY7131"/>
                </a:cxn>
                <a:cxn ang="0">
                  <a:pos x="connsiteX7132" y="connsiteY7132"/>
                </a:cxn>
                <a:cxn ang="0">
                  <a:pos x="connsiteX7133" y="connsiteY7133"/>
                </a:cxn>
                <a:cxn ang="0">
                  <a:pos x="connsiteX7134" y="connsiteY7134"/>
                </a:cxn>
                <a:cxn ang="0">
                  <a:pos x="connsiteX7135" y="connsiteY7135"/>
                </a:cxn>
                <a:cxn ang="0">
                  <a:pos x="connsiteX7136" y="connsiteY7136"/>
                </a:cxn>
                <a:cxn ang="0">
                  <a:pos x="connsiteX7137" y="connsiteY7137"/>
                </a:cxn>
                <a:cxn ang="0">
                  <a:pos x="connsiteX7138" y="connsiteY7138"/>
                </a:cxn>
                <a:cxn ang="0">
                  <a:pos x="connsiteX7139" y="connsiteY7139"/>
                </a:cxn>
                <a:cxn ang="0">
                  <a:pos x="connsiteX7140" y="connsiteY7140"/>
                </a:cxn>
                <a:cxn ang="0">
                  <a:pos x="connsiteX7141" y="connsiteY7141"/>
                </a:cxn>
                <a:cxn ang="0">
                  <a:pos x="connsiteX7142" y="connsiteY7142"/>
                </a:cxn>
                <a:cxn ang="0">
                  <a:pos x="connsiteX7143" y="connsiteY7143"/>
                </a:cxn>
                <a:cxn ang="0">
                  <a:pos x="connsiteX7144" y="connsiteY7144"/>
                </a:cxn>
                <a:cxn ang="0">
                  <a:pos x="connsiteX7145" y="connsiteY7145"/>
                </a:cxn>
                <a:cxn ang="0">
                  <a:pos x="connsiteX7146" y="connsiteY7146"/>
                </a:cxn>
                <a:cxn ang="0">
                  <a:pos x="connsiteX7147" y="connsiteY7147"/>
                </a:cxn>
                <a:cxn ang="0">
                  <a:pos x="connsiteX7148" y="connsiteY7148"/>
                </a:cxn>
                <a:cxn ang="0">
                  <a:pos x="connsiteX7149" y="connsiteY7149"/>
                </a:cxn>
                <a:cxn ang="0">
                  <a:pos x="connsiteX7150" y="connsiteY7150"/>
                </a:cxn>
                <a:cxn ang="0">
                  <a:pos x="connsiteX7151" y="connsiteY7151"/>
                </a:cxn>
                <a:cxn ang="0">
                  <a:pos x="connsiteX7152" y="connsiteY7152"/>
                </a:cxn>
                <a:cxn ang="0">
                  <a:pos x="connsiteX7153" y="connsiteY7153"/>
                </a:cxn>
                <a:cxn ang="0">
                  <a:pos x="connsiteX7154" y="connsiteY7154"/>
                </a:cxn>
                <a:cxn ang="0">
                  <a:pos x="connsiteX7155" y="connsiteY7155"/>
                </a:cxn>
                <a:cxn ang="0">
                  <a:pos x="connsiteX7156" y="connsiteY7156"/>
                </a:cxn>
                <a:cxn ang="0">
                  <a:pos x="connsiteX7157" y="connsiteY7157"/>
                </a:cxn>
                <a:cxn ang="0">
                  <a:pos x="connsiteX7158" y="connsiteY7158"/>
                </a:cxn>
                <a:cxn ang="0">
                  <a:pos x="connsiteX7159" y="connsiteY7159"/>
                </a:cxn>
                <a:cxn ang="0">
                  <a:pos x="connsiteX7160" y="connsiteY7160"/>
                </a:cxn>
                <a:cxn ang="0">
                  <a:pos x="connsiteX7161" y="connsiteY7161"/>
                </a:cxn>
                <a:cxn ang="0">
                  <a:pos x="connsiteX7162" y="connsiteY7162"/>
                </a:cxn>
                <a:cxn ang="0">
                  <a:pos x="connsiteX7163" y="connsiteY7163"/>
                </a:cxn>
                <a:cxn ang="0">
                  <a:pos x="connsiteX7164" y="connsiteY7164"/>
                </a:cxn>
                <a:cxn ang="0">
                  <a:pos x="connsiteX7165" y="connsiteY7165"/>
                </a:cxn>
                <a:cxn ang="0">
                  <a:pos x="connsiteX7166" y="connsiteY7166"/>
                </a:cxn>
                <a:cxn ang="0">
                  <a:pos x="connsiteX7167" y="connsiteY7167"/>
                </a:cxn>
                <a:cxn ang="0">
                  <a:pos x="connsiteX7168" y="connsiteY7168"/>
                </a:cxn>
                <a:cxn ang="0">
                  <a:pos x="connsiteX7169" y="connsiteY7169"/>
                </a:cxn>
                <a:cxn ang="0">
                  <a:pos x="connsiteX7170" y="connsiteY7170"/>
                </a:cxn>
                <a:cxn ang="0">
                  <a:pos x="connsiteX7171" y="connsiteY7171"/>
                </a:cxn>
                <a:cxn ang="0">
                  <a:pos x="connsiteX7172" y="connsiteY7172"/>
                </a:cxn>
                <a:cxn ang="0">
                  <a:pos x="connsiteX7173" y="connsiteY7173"/>
                </a:cxn>
                <a:cxn ang="0">
                  <a:pos x="connsiteX7174" y="connsiteY7174"/>
                </a:cxn>
                <a:cxn ang="0">
                  <a:pos x="connsiteX7175" y="connsiteY7175"/>
                </a:cxn>
                <a:cxn ang="0">
                  <a:pos x="connsiteX7176" y="connsiteY7176"/>
                </a:cxn>
                <a:cxn ang="0">
                  <a:pos x="connsiteX7177" y="connsiteY7177"/>
                </a:cxn>
                <a:cxn ang="0">
                  <a:pos x="connsiteX7178" y="connsiteY7178"/>
                </a:cxn>
                <a:cxn ang="0">
                  <a:pos x="connsiteX7179" y="connsiteY7179"/>
                </a:cxn>
                <a:cxn ang="0">
                  <a:pos x="connsiteX7180" y="connsiteY7180"/>
                </a:cxn>
                <a:cxn ang="0">
                  <a:pos x="connsiteX7181" y="connsiteY7181"/>
                </a:cxn>
                <a:cxn ang="0">
                  <a:pos x="connsiteX7182" y="connsiteY7182"/>
                </a:cxn>
                <a:cxn ang="0">
                  <a:pos x="connsiteX7183" y="connsiteY7183"/>
                </a:cxn>
                <a:cxn ang="0">
                  <a:pos x="connsiteX7184" y="connsiteY7184"/>
                </a:cxn>
                <a:cxn ang="0">
                  <a:pos x="connsiteX7185" y="connsiteY7185"/>
                </a:cxn>
                <a:cxn ang="0">
                  <a:pos x="connsiteX7186" y="connsiteY7186"/>
                </a:cxn>
                <a:cxn ang="0">
                  <a:pos x="connsiteX7187" y="connsiteY7187"/>
                </a:cxn>
                <a:cxn ang="0">
                  <a:pos x="connsiteX7188" y="connsiteY7188"/>
                </a:cxn>
                <a:cxn ang="0">
                  <a:pos x="connsiteX7189" y="connsiteY7189"/>
                </a:cxn>
                <a:cxn ang="0">
                  <a:pos x="connsiteX7190" y="connsiteY7190"/>
                </a:cxn>
                <a:cxn ang="0">
                  <a:pos x="connsiteX7191" y="connsiteY7191"/>
                </a:cxn>
                <a:cxn ang="0">
                  <a:pos x="connsiteX7192" y="connsiteY7192"/>
                </a:cxn>
                <a:cxn ang="0">
                  <a:pos x="connsiteX7193" y="connsiteY7193"/>
                </a:cxn>
                <a:cxn ang="0">
                  <a:pos x="connsiteX7194" y="connsiteY7194"/>
                </a:cxn>
                <a:cxn ang="0">
                  <a:pos x="connsiteX7195" y="connsiteY7195"/>
                </a:cxn>
                <a:cxn ang="0">
                  <a:pos x="connsiteX7196" y="connsiteY7196"/>
                </a:cxn>
                <a:cxn ang="0">
                  <a:pos x="connsiteX7197" y="connsiteY7197"/>
                </a:cxn>
                <a:cxn ang="0">
                  <a:pos x="connsiteX7198" y="connsiteY7198"/>
                </a:cxn>
                <a:cxn ang="0">
                  <a:pos x="connsiteX7199" y="connsiteY7199"/>
                </a:cxn>
                <a:cxn ang="0">
                  <a:pos x="connsiteX7200" y="connsiteY7200"/>
                </a:cxn>
                <a:cxn ang="0">
                  <a:pos x="connsiteX7201" y="connsiteY7201"/>
                </a:cxn>
                <a:cxn ang="0">
                  <a:pos x="connsiteX7202" y="connsiteY7202"/>
                </a:cxn>
                <a:cxn ang="0">
                  <a:pos x="connsiteX7203" y="connsiteY7203"/>
                </a:cxn>
                <a:cxn ang="0">
                  <a:pos x="connsiteX7204" y="connsiteY7204"/>
                </a:cxn>
                <a:cxn ang="0">
                  <a:pos x="connsiteX7205" y="connsiteY7205"/>
                </a:cxn>
                <a:cxn ang="0">
                  <a:pos x="connsiteX7206" y="connsiteY7206"/>
                </a:cxn>
                <a:cxn ang="0">
                  <a:pos x="connsiteX7207" y="connsiteY7207"/>
                </a:cxn>
                <a:cxn ang="0">
                  <a:pos x="connsiteX7208" y="connsiteY7208"/>
                </a:cxn>
                <a:cxn ang="0">
                  <a:pos x="connsiteX7209" y="connsiteY7209"/>
                </a:cxn>
                <a:cxn ang="0">
                  <a:pos x="connsiteX7210" y="connsiteY7210"/>
                </a:cxn>
                <a:cxn ang="0">
                  <a:pos x="connsiteX7211" y="connsiteY7211"/>
                </a:cxn>
                <a:cxn ang="0">
                  <a:pos x="connsiteX7212" y="connsiteY7212"/>
                </a:cxn>
                <a:cxn ang="0">
                  <a:pos x="connsiteX7213" y="connsiteY7213"/>
                </a:cxn>
                <a:cxn ang="0">
                  <a:pos x="connsiteX7214" y="connsiteY7214"/>
                </a:cxn>
                <a:cxn ang="0">
                  <a:pos x="connsiteX7215" y="connsiteY7215"/>
                </a:cxn>
                <a:cxn ang="0">
                  <a:pos x="connsiteX7216" y="connsiteY7216"/>
                </a:cxn>
                <a:cxn ang="0">
                  <a:pos x="connsiteX7217" y="connsiteY7217"/>
                </a:cxn>
                <a:cxn ang="0">
                  <a:pos x="connsiteX7218" y="connsiteY7218"/>
                </a:cxn>
                <a:cxn ang="0">
                  <a:pos x="connsiteX7219" y="connsiteY7219"/>
                </a:cxn>
                <a:cxn ang="0">
                  <a:pos x="connsiteX7220" y="connsiteY7220"/>
                </a:cxn>
                <a:cxn ang="0">
                  <a:pos x="connsiteX7221" y="connsiteY7221"/>
                </a:cxn>
                <a:cxn ang="0">
                  <a:pos x="connsiteX7222" y="connsiteY7222"/>
                </a:cxn>
                <a:cxn ang="0">
                  <a:pos x="connsiteX7223" y="connsiteY7223"/>
                </a:cxn>
                <a:cxn ang="0">
                  <a:pos x="connsiteX7224" y="connsiteY7224"/>
                </a:cxn>
                <a:cxn ang="0">
                  <a:pos x="connsiteX7225" y="connsiteY7225"/>
                </a:cxn>
                <a:cxn ang="0">
                  <a:pos x="connsiteX7226" y="connsiteY7226"/>
                </a:cxn>
                <a:cxn ang="0">
                  <a:pos x="connsiteX7227" y="connsiteY7227"/>
                </a:cxn>
                <a:cxn ang="0">
                  <a:pos x="connsiteX7228" y="connsiteY7228"/>
                </a:cxn>
                <a:cxn ang="0">
                  <a:pos x="connsiteX7229" y="connsiteY7229"/>
                </a:cxn>
                <a:cxn ang="0">
                  <a:pos x="connsiteX7230" y="connsiteY7230"/>
                </a:cxn>
                <a:cxn ang="0">
                  <a:pos x="connsiteX7231" y="connsiteY7231"/>
                </a:cxn>
                <a:cxn ang="0">
                  <a:pos x="connsiteX7232" y="connsiteY7232"/>
                </a:cxn>
                <a:cxn ang="0">
                  <a:pos x="connsiteX7233" y="connsiteY7233"/>
                </a:cxn>
                <a:cxn ang="0">
                  <a:pos x="connsiteX7234" y="connsiteY7234"/>
                </a:cxn>
                <a:cxn ang="0">
                  <a:pos x="connsiteX7235" y="connsiteY7235"/>
                </a:cxn>
                <a:cxn ang="0">
                  <a:pos x="connsiteX7236" y="connsiteY7236"/>
                </a:cxn>
                <a:cxn ang="0">
                  <a:pos x="connsiteX7237" y="connsiteY7237"/>
                </a:cxn>
                <a:cxn ang="0">
                  <a:pos x="connsiteX7238" y="connsiteY7238"/>
                </a:cxn>
                <a:cxn ang="0">
                  <a:pos x="connsiteX7239" y="connsiteY7239"/>
                </a:cxn>
                <a:cxn ang="0">
                  <a:pos x="connsiteX7240" y="connsiteY7240"/>
                </a:cxn>
                <a:cxn ang="0">
                  <a:pos x="connsiteX7241" y="connsiteY7241"/>
                </a:cxn>
                <a:cxn ang="0">
                  <a:pos x="connsiteX7242" y="connsiteY7242"/>
                </a:cxn>
                <a:cxn ang="0">
                  <a:pos x="connsiteX7243" y="connsiteY7243"/>
                </a:cxn>
                <a:cxn ang="0">
                  <a:pos x="connsiteX7244" y="connsiteY7244"/>
                </a:cxn>
                <a:cxn ang="0">
                  <a:pos x="connsiteX7245" y="connsiteY7245"/>
                </a:cxn>
                <a:cxn ang="0">
                  <a:pos x="connsiteX7246" y="connsiteY7246"/>
                </a:cxn>
                <a:cxn ang="0">
                  <a:pos x="connsiteX7247" y="connsiteY7247"/>
                </a:cxn>
                <a:cxn ang="0">
                  <a:pos x="connsiteX7248" y="connsiteY7248"/>
                </a:cxn>
                <a:cxn ang="0">
                  <a:pos x="connsiteX7249" y="connsiteY7249"/>
                </a:cxn>
                <a:cxn ang="0">
                  <a:pos x="connsiteX7250" y="connsiteY7250"/>
                </a:cxn>
                <a:cxn ang="0">
                  <a:pos x="connsiteX7251" y="connsiteY7251"/>
                </a:cxn>
                <a:cxn ang="0">
                  <a:pos x="connsiteX7252" y="connsiteY7252"/>
                </a:cxn>
                <a:cxn ang="0">
                  <a:pos x="connsiteX7253" y="connsiteY7253"/>
                </a:cxn>
                <a:cxn ang="0">
                  <a:pos x="connsiteX7254" y="connsiteY7254"/>
                </a:cxn>
                <a:cxn ang="0">
                  <a:pos x="connsiteX7255" y="connsiteY7255"/>
                </a:cxn>
                <a:cxn ang="0">
                  <a:pos x="connsiteX7256" y="connsiteY7256"/>
                </a:cxn>
                <a:cxn ang="0">
                  <a:pos x="connsiteX7257" y="connsiteY7257"/>
                </a:cxn>
                <a:cxn ang="0">
                  <a:pos x="connsiteX7258" y="connsiteY7258"/>
                </a:cxn>
                <a:cxn ang="0">
                  <a:pos x="connsiteX7259" y="connsiteY7259"/>
                </a:cxn>
                <a:cxn ang="0">
                  <a:pos x="connsiteX7260" y="connsiteY7260"/>
                </a:cxn>
                <a:cxn ang="0">
                  <a:pos x="connsiteX7261" y="connsiteY7261"/>
                </a:cxn>
                <a:cxn ang="0">
                  <a:pos x="connsiteX7262" y="connsiteY7262"/>
                </a:cxn>
                <a:cxn ang="0">
                  <a:pos x="connsiteX7263" y="connsiteY7263"/>
                </a:cxn>
                <a:cxn ang="0">
                  <a:pos x="connsiteX7264" y="connsiteY7264"/>
                </a:cxn>
                <a:cxn ang="0">
                  <a:pos x="connsiteX7265" y="connsiteY7265"/>
                </a:cxn>
                <a:cxn ang="0">
                  <a:pos x="connsiteX7266" y="connsiteY7266"/>
                </a:cxn>
                <a:cxn ang="0">
                  <a:pos x="connsiteX7267" y="connsiteY7267"/>
                </a:cxn>
                <a:cxn ang="0">
                  <a:pos x="connsiteX7268" y="connsiteY7268"/>
                </a:cxn>
                <a:cxn ang="0">
                  <a:pos x="connsiteX7269" y="connsiteY7269"/>
                </a:cxn>
                <a:cxn ang="0">
                  <a:pos x="connsiteX7270" y="connsiteY7270"/>
                </a:cxn>
                <a:cxn ang="0">
                  <a:pos x="connsiteX7271" y="connsiteY7271"/>
                </a:cxn>
                <a:cxn ang="0">
                  <a:pos x="connsiteX7272" y="connsiteY7272"/>
                </a:cxn>
                <a:cxn ang="0">
                  <a:pos x="connsiteX7273" y="connsiteY7273"/>
                </a:cxn>
                <a:cxn ang="0">
                  <a:pos x="connsiteX7274" y="connsiteY7274"/>
                </a:cxn>
                <a:cxn ang="0">
                  <a:pos x="connsiteX7275" y="connsiteY7275"/>
                </a:cxn>
                <a:cxn ang="0">
                  <a:pos x="connsiteX7276" y="connsiteY7276"/>
                </a:cxn>
                <a:cxn ang="0">
                  <a:pos x="connsiteX7277" y="connsiteY7277"/>
                </a:cxn>
                <a:cxn ang="0">
                  <a:pos x="connsiteX7278" y="connsiteY7278"/>
                </a:cxn>
                <a:cxn ang="0">
                  <a:pos x="connsiteX7279" y="connsiteY7279"/>
                </a:cxn>
                <a:cxn ang="0">
                  <a:pos x="connsiteX7280" y="connsiteY7280"/>
                </a:cxn>
                <a:cxn ang="0">
                  <a:pos x="connsiteX7281" y="connsiteY7281"/>
                </a:cxn>
                <a:cxn ang="0">
                  <a:pos x="connsiteX7282" y="connsiteY7282"/>
                </a:cxn>
                <a:cxn ang="0">
                  <a:pos x="connsiteX7283" y="connsiteY7283"/>
                </a:cxn>
                <a:cxn ang="0">
                  <a:pos x="connsiteX7284" y="connsiteY7284"/>
                </a:cxn>
                <a:cxn ang="0">
                  <a:pos x="connsiteX7285" y="connsiteY7285"/>
                </a:cxn>
                <a:cxn ang="0">
                  <a:pos x="connsiteX7286" y="connsiteY7286"/>
                </a:cxn>
                <a:cxn ang="0">
                  <a:pos x="connsiteX7287" y="connsiteY7287"/>
                </a:cxn>
                <a:cxn ang="0">
                  <a:pos x="connsiteX7288" y="connsiteY7288"/>
                </a:cxn>
                <a:cxn ang="0">
                  <a:pos x="connsiteX7289" y="connsiteY7289"/>
                </a:cxn>
                <a:cxn ang="0">
                  <a:pos x="connsiteX7290" y="connsiteY7290"/>
                </a:cxn>
                <a:cxn ang="0">
                  <a:pos x="connsiteX7291" y="connsiteY7291"/>
                </a:cxn>
                <a:cxn ang="0">
                  <a:pos x="connsiteX7292" y="connsiteY7292"/>
                </a:cxn>
                <a:cxn ang="0">
                  <a:pos x="connsiteX7293" y="connsiteY7293"/>
                </a:cxn>
                <a:cxn ang="0">
                  <a:pos x="connsiteX7294" y="connsiteY7294"/>
                </a:cxn>
                <a:cxn ang="0">
                  <a:pos x="connsiteX7295" y="connsiteY7295"/>
                </a:cxn>
                <a:cxn ang="0">
                  <a:pos x="connsiteX7296" y="connsiteY7296"/>
                </a:cxn>
                <a:cxn ang="0">
                  <a:pos x="connsiteX7297" y="connsiteY7297"/>
                </a:cxn>
                <a:cxn ang="0">
                  <a:pos x="connsiteX7298" y="connsiteY7298"/>
                </a:cxn>
                <a:cxn ang="0">
                  <a:pos x="connsiteX7299" y="connsiteY7299"/>
                </a:cxn>
                <a:cxn ang="0">
                  <a:pos x="connsiteX7300" y="connsiteY7300"/>
                </a:cxn>
                <a:cxn ang="0">
                  <a:pos x="connsiteX7301" y="connsiteY7301"/>
                </a:cxn>
                <a:cxn ang="0">
                  <a:pos x="connsiteX7302" y="connsiteY7302"/>
                </a:cxn>
                <a:cxn ang="0">
                  <a:pos x="connsiteX7303" y="connsiteY7303"/>
                </a:cxn>
                <a:cxn ang="0">
                  <a:pos x="connsiteX7304" y="connsiteY7304"/>
                </a:cxn>
                <a:cxn ang="0">
                  <a:pos x="connsiteX7305" y="connsiteY7305"/>
                </a:cxn>
                <a:cxn ang="0">
                  <a:pos x="connsiteX7306" y="connsiteY7306"/>
                </a:cxn>
                <a:cxn ang="0">
                  <a:pos x="connsiteX7307" y="connsiteY7307"/>
                </a:cxn>
                <a:cxn ang="0">
                  <a:pos x="connsiteX7308" y="connsiteY7308"/>
                </a:cxn>
                <a:cxn ang="0">
                  <a:pos x="connsiteX7309" y="connsiteY7309"/>
                </a:cxn>
                <a:cxn ang="0">
                  <a:pos x="connsiteX7310" y="connsiteY7310"/>
                </a:cxn>
                <a:cxn ang="0">
                  <a:pos x="connsiteX7311" y="connsiteY7311"/>
                </a:cxn>
                <a:cxn ang="0">
                  <a:pos x="connsiteX7312" y="connsiteY7312"/>
                </a:cxn>
                <a:cxn ang="0">
                  <a:pos x="connsiteX7313" y="connsiteY7313"/>
                </a:cxn>
                <a:cxn ang="0">
                  <a:pos x="connsiteX7314" y="connsiteY7314"/>
                </a:cxn>
                <a:cxn ang="0">
                  <a:pos x="connsiteX7315" y="connsiteY7315"/>
                </a:cxn>
                <a:cxn ang="0">
                  <a:pos x="connsiteX7316" y="connsiteY7316"/>
                </a:cxn>
                <a:cxn ang="0">
                  <a:pos x="connsiteX7317" y="connsiteY7317"/>
                </a:cxn>
                <a:cxn ang="0">
                  <a:pos x="connsiteX7318" y="connsiteY7318"/>
                </a:cxn>
                <a:cxn ang="0">
                  <a:pos x="connsiteX7319" y="connsiteY7319"/>
                </a:cxn>
                <a:cxn ang="0">
                  <a:pos x="connsiteX7320" y="connsiteY7320"/>
                </a:cxn>
                <a:cxn ang="0">
                  <a:pos x="connsiteX7321" y="connsiteY7321"/>
                </a:cxn>
                <a:cxn ang="0">
                  <a:pos x="connsiteX7322" y="connsiteY7322"/>
                </a:cxn>
                <a:cxn ang="0">
                  <a:pos x="connsiteX7323" y="connsiteY7323"/>
                </a:cxn>
                <a:cxn ang="0">
                  <a:pos x="connsiteX7324" y="connsiteY7324"/>
                </a:cxn>
                <a:cxn ang="0">
                  <a:pos x="connsiteX7325" y="connsiteY7325"/>
                </a:cxn>
                <a:cxn ang="0">
                  <a:pos x="connsiteX7326" y="connsiteY7326"/>
                </a:cxn>
                <a:cxn ang="0">
                  <a:pos x="connsiteX7327" y="connsiteY7327"/>
                </a:cxn>
                <a:cxn ang="0">
                  <a:pos x="connsiteX7328" y="connsiteY7328"/>
                </a:cxn>
                <a:cxn ang="0">
                  <a:pos x="connsiteX7329" y="connsiteY7329"/>
                </a:cxn>
                <a:cxn ang="0">
                  <a:pos x="connsiteX7330" y="connsiteY7330"/>
                </a:cxn>
                <a:cxn ang="0">
                  <a:pos x="connsiteX7331" y="connsiteY7331"/>
                </a:cxn>
                <a:cxn ang="0">
                  <a:pos x="connsiteX7332" y="connsiteY7332"/>
                </a:cxn>
                <a:cxn ang="0">
                  <a:pos x="connsiteX7333" y="connsiteY7333"/>
                </a:cxn>
                <a:cxn ang="0">
                  <a:pos x="connsiteX7334" y="connsiteY7334"/>
                </a:cxn>
                <a:cxn ang="0">
                  <a:pos x="connsiteX7335" y="connsiteY7335"/>
                </a:cxn>
                <a:cxn ang="0">
                  <a:pos x="connsiteX7336" y="connsiteY7336"/>
                </a:cxn>
                <a:cxn ang="0">
                  <a:pos x="connsiteX7337" y="connsiteY7337"/>
                </a:cxn>
                <a:cxn ang="0">
                  <a:pos x="connsiteX7338" y="connsiteY7338"/>
                </a:cxn>
                <a:cxn ang="0">
                  <a:pos x="connsiteX7339" y="connsiteY7339"/>
                </a:cxn>
                <a:cxn ang="0">
                  <a:pos x="connsiteX7340" y="connsiteY7340"/>
                </a:cxn>
                <a:cxn ang="0">
                  <a:pos x="connsiteX7341" y="connsiteY7341"/>
                </a:cxn>
                <a:cxn ang="0">
                  <a:pos x="connsiteX7342" y="connsiteY7342"/>
                </a:cxn>
                <a:cxn ang="0">
                  <a:pos x="connsiteX7343" y="connsiteY7343"/>
                </a:cxn>
                <a:cxn ang="0">
                  <a:pos x="connsiteX7344" y="connsiteY7344"/>
                </a:cxn>
                <a:cxn ang="0">
                  <a:pos x="connsiteX7345" y="connsiteY7345"/>
                </a:cxn>
                <a:cxn ang="0">
                  <a:pos x="connsiteX7346" y="connsiteY7346"/>
                </a:cxn>
                <a:cxn ang="0">
                  <a:pos x="connsiteX7347" y="connsiteY7347"/>
                </a:cxn>
                <a:cxn ang="0">
                  <a:pos x="connsiteX7348" y="connsiteY7348"/>
                </a:cxn>
                <a:cxn ang="0">
                  <a:pos x="connsiteX7349" y="connsiteY7349"/>
                </a:cxn>
                <a:cxn ang="0">
                  <a:pos x="connsiteX7350" y="connsiteY7350"/>
                </a:cxn>
                <a:cxn ang="0">
                  <a:pos x="connsiteX7351" y="connsiteY7351"/>
                </a:cxn>
                <a:cxn ang="0">
                  <a:pos x="connsiteX7352" y="connsiteY7352"/>
                </a:cxn>
                <a:cxn ang="0">
                  <a:pos x="connsiteX7353" y="connsiteY7353"/>
                </a:cxn>
                <a:cxn ang="0">
                  <a:pos x="connsiteX7354" y="connsiteY7354"/>
                </a:cxn>
                <a:cxn ang="0">
                  <a:pos x="connsiteX7355" y="connsiteY7355"/>
                </a:cxn>
                <a:cxn ang="0">
                  <a:pos x="connsiteX7356" y="connsiteY7356"/>
                </a:cxn>
                <a:cxn ang="0">
                  <a:pos x="connsiteX7357" y="connsiteY7357"/>
                </a:cxn>
                <a:cxn ang="0">
                  <a:pos x="connsiteX7358" y="connsiteY7358"/>
                </a:cxn>
                <a:cxn ang="0">
                  <a:pos x="connsiteX7359" y="connsiteY7359"/>
                </a:cxn>
                <a:cxn ang="0">
                  <a:pos x="connsiteX7360" y="connsiteY7360"/>
                </a:cxn>
                <a:cxn ang="0">
                  <a:pos x="connsiteX7361" y="connsiteY7361"/>
                </a:cxn>
                <a:cxn ang="0">
                  <a:pos x="connsiteX7362" y="connsiteY7362"/>
                </a:cxn>
                <a:cxn ang="0">
                  <a:pos x="connsiteX7363" y="connsiteY7363"/>
                </a:cxn>
                <a:cxn ang="0">
                  <a:pos x="connsiteX7364" y="connsiteY7364"/>
                </a:cxn>
                <a:cxn ang="0">
                  <a:pos x="connsiteX7365" y="connsiteY7365"/>
                </a:cxn>
                <a:cxn ang="0">
                  <a:pos x="connsiteX7366" y="connsiteY7366"/>
                </a:cxn>
                <a:cxn ang="0">
                  <a:pos x="connsiteX7367" y="connsiteY7367"/>
                </a:cxn>
                <a:cxn ang="0">
                  <a:pos x="connsiteX7368" y="connsiteY7368"/>
                </a:cxn>
                <a:cxn ang="0">
                  <a:pos x="connsiteX7369" y="connsiteY7369"/>
                </a:cxn>
                <a:cxn ang="0">
                  <a:pos x="connsiteX7370" y="connsiteY7370"/>
                </a:cxn>
                <a:cxn ang="0">
                  <a:pos x="connsiteX7371" y="connsiteY7371"/>
                </a:cxn>
                <a:cxn ang="0">
                  <a:pos x="connsiteX7372" y="connsiteY7372"/>
                </a:cxn>
                <a:cxn ang="0">
                  <a:pos x="connsiteX7373" y="connsiteY7373"/>
                </a:cxn>
                <a:cxn ang="0">
                  <a:pos x="connsiteX7374" y="connsiteY7374"/>
                </a:cxn>
                <a:cxn ang="0">
                  <a:pos x="connsiteX7375" y="connsiteY7375"/>
                </a:cxn>
                <a:cxn ang="0">
                  <a:pos x="connsiteX7376" y="connsiteY7376"/>
                </a:cxn>
                <a:cxn ang="0">
                  <a:pos x="connsiteX7377" y="connsiteY7377"/>
                </a:cxn>
                <a:cxn ang="0">
                  <a:pos x="connsiteX7378" y="connsiteY7378"/>
                </a:cxn>
                <a:cxn ang="0">
                  <a:pos x="connsiteX7379" y="connsiteY7379"/>
                </a:cxn>
                <a:cxn ang="0">
                  <a:pos x="connsiteX7380" y="connsiteY7380"/>
                </a:cxn>
                <a:cxn ang="0">
                  <a:pos x="connsiteX7381" y="connsiteY7381"/>
                </a:cxn>
                <a:cxn ang="0">
                  <a:pos x="connsiteX7382" y="connsiteY7382"/>
                </a:cxn>
                <a:cxn ang="0">
                  <a:pos x="connsiteX7383" y="connsiteY7383"/>
                </a:cxn>
                <a:cxn ang="0">
                  <a:pos x="connsiteX7384" y="connsiteY7384"/>
                </a:cxn>
                <a:cxn ang="0">
                  <a:pos x="connsiteX7385" y="connsiteY7385"/>
                </a:cxn>
                <a:cxn ang="0">
                  <a:pos x="connsiteX7386" y="connsiteY7386"/>
                </a:cxn>
                <a:cxn ang="0">
                  <a:pos x="connsiteX7387" y="connsiteY7387"/>
                </a:cxn>
                <a:cxn ang="0">
                  <a:pos x="connsiteX7388" y="connsiteY7388"/>
                </a:cxn>
                <a:cxn ang="0">
                  <a:pos x="connsiteX7389" y="connsiteY7389"/>
                </a:cxn>
                <a:cxn ang="0">
                  <a:pos x="connsiteX7390" y="connsiteY7390"/>
                </a:cxn>
                <a:cxn ang="0">
                  <a:pos x="connsiteX7391" y="connsiteY7391"/>
                </a:cxn>
                <a:cxn ang="0">
                  <a:pos x="connsiteX7392" y="connsiteY7392"/>
                </a:cxn>
                <a:cxn ang="0">
                  <a:pos x="connsiteX7393" y="connsiteY7393"/>
                </a:cxn>
                <a:cxn ang="0">
                  <a:pos x="connsiteX7394" y="connsiteY7394"/>
                </a:cxn>
                <a:cxn ang="0">
                  <a:pos x="connsiteX7395" y="connsiteY7395"/>
                </a:cxn>
                <a:cxn ang="0">
                  <a:pos x="connsiteX7396" y="connsiteY7396"/>
                </a:cxn>
                <a:cxn ang="0">
                  <a:pos x="connsiteX7397" y="connsiteY7397"/>
                </a:cxn>
                <a:cxn ang="0">
                  <a:pos x="connsiteX7398" y="connsiteY7398"/>
                </a:cxn>
                <a:cxn ang="0">
                  <a:pos x="connsiteX7399" y="connsiteY7399"/>
                </a:cxn>
                <a:cxn ang="0">
                  <a:pos x="connsiteX7400" y="connsiteY7400"/>
                </a:cxn>
                <a:cxn ang="0">
                  <a:pos x="connsiteX7401" y="connsiteY7401"/>
                </a:cxn>
                <a:cxn ang="0">
                  <a:pos x="connsiteX7402" y="connsiteY7402"/>
                </a:cxn>
                <a:cxn ang="0">
                  <a:pos x="connsiteX7403" y="connsiteY7403"/>
                </a:cxn>
                <a:cxn ang="0">
                  <a:pos x="connsiteX7404" y="connsiteY7404"/>
                </a:cxn>
                <a:cxn ang="0">
                  <a:pos x="connsiteX7405" y="connsiteY7405"/>
                </a:cxn>
                <a:cxn ang="0">
                  <a:pos x="connsiteX7406" y="connsiteY7406"/>
                </a:cxn>
                <a:cxn ang="0">
                  <a:pos x="connsiteX7407" y="connsiteY7407"/>
                </a:cxn>
                <a:cxn ang="0">
                  <a:pos x="connsiteX7408" y="connsiteY7408"/>
                </a:cxn>
                <a:cxn ang="0">
                  <a:pos x="connsiteX7409" y="connsiteY7409"/>
                </a:cxn>
                <a:cxn ang="0">
                  <a:pos x="connsiteX7410" y="connsiteY7410"/>
                </a:cxn>
                <a:cxn ang="0">
                  <a:pos x="connsiteX7411" y="connsiteY7411"/>
                </a:cxn>
                <a:cxn ang="0">
                  <a:pos x="connsiteX7412" y="connsiteY7412"/>
                </a:cxn>
                <a:cxn ang="0">
                  <a:pos x="connsiteX7413" y="connsiteY7413"/>
                </a:cxn>
                <a:cxn ang="0">
                  <a:pos x="connsiteX7414" y="connsiteY7414"/>
                </a:cxn>
                <a:cxn ang="0">
                  <a:pos x="connsiteX7415" y="connsiteY7415"/>
                </a:cxn>
                <a:cxn ang="0">
                  <a:pos x="connsiteX7416" y="connsiteY7416"/>
                </a:cxn>
                <a:cxn ang="0">
                  <a:pos x="connsiteX7417" y="connsiteY7417"/>
                </a:cxn>
                <a:cxn ang="0">
                  <a:pos x="connsiteX7418" y="connsiteY7418"/>
                </a:cxn>
                <a:cxn ang="0">
                  <a:pos x="connsiteX7419" y="connsiteY7419"/>
                </a:cxn>
                <a:cxn ang="0">
                  <a:pos x="connsiteX7420" y="connsiteY7420"/>
                </a:cxn>
                <a:cxn ang="0">
                  <a:pos x="connsiteX7421" y="connsiteY7421"/>
                </a:cxn>
                <a:cxn ang="0">
                  <a:pos x="connsiteX7422" y="connsiteY7422"/>
                </a:cxn>
                <a:cxn ang="0">
                  <a:pos x="connsiteX7423" y="connsiteY7423"/>
                </a:cxn>
                <a:cxn ang="0">
                  <a:pos x="connsiteX7424" y="connsiteY7424"/>
                </a:cxn>
                <a:cxn ang="0">
                  <a:pos x="connsiteX7425" y="connsiteY7425"/>
                </a:cxn>
                <a:cxn ang="0">
                  <a:pos x="connsiteX7426" y="connsiteY7426"/>
                </a:cxn>
                <a:cxn ang="0">
                  <a:pos x="connsiteX7427" y="connsiteY7427"/>
                </a:cxn>
                <a:cxn ang="0">
                  <a:pos x="connsiteX7428" y="connsiteY7428"/>
                </a:cxn>
                <a:cxn ang="0">
                  <a:pos x="connsiteX7429" y="connsiteY7429"/>
                </a:cxn>
                <a:cxn ang="0">
                  <a:pos x="connsiteX7430" y="connsiteY7430"/>
                </a:cxn>
                <a:cxn ang="0">
                  <a:pos x="connsiteX7431" y="connsiteY7431"/>
                </a:cxn>
                <a:cxn ang="0">
                  <a:pos x="connsiteX7432" y="connsiteY7432"/>
                </a:cxn>
                <a:cxn ang="0">
                  <a:pos x="connsiteX7433" y="connsiteY7433"/>
                </a:cxn>
                <a:cxn ang="0">
                  <a:pos x="connsiteX7434" y="connsiteY7434"/>
                </a:cxn>
                <a:cxn ang="0">
                  <a:pos x="connsiteX7435" y="connsiteY7435"/>
                </a:cxn>
                <a:cxn ang="0">
                  <a:pos x="connsiteX7436" y="connsiteY7436"/>
                </a:cxn>
                <a:cxn ang="0">
                  <a:pos x="connsiteX7437" y="connsiteY7437"/>
                </a:cxn>
                <a:cxn ang="0">
                  <a:pos x="connsiteX7438" y="connsiteY7438"/>
                </a:cxn>
                <a:cxn ang="0">
                  <a:pos x="connsiteX7439" y="connsiteY7439"/>
                </a:cxn>
                <a:cxn ang="0">
                  <a:pos x="connsiteX7440" y="connsiteY7440"/>
                </a:cxn>
                <a:cxn ang="0">
                  <a:pos x="connsiteX7441" y="connsiteY7441"/>
                </a:cxn>
                <a:cxn ang="0">
                  <a:pos x="connsiteX7442" y="connsiteY7442"/>
                </a:cxn>
                <a:cxn ang="0">
                  <a:pos x="connsiteX7443" y="connsiteY7443"/>
                </a:cxn>
                <a:cxn ang="0">
                  <a:pos x="connsiteX7444" y="connsiteY7444"/>
                </a:cxn>
                <a:cxn ang="0">
                  <a:pos x="connsiteX7445" y="connsiteY7445"/>
                </a:cxn>
                <a:cxn ang="0">
                  <a:pos x="connsiteX7446" y="connsiteY7446"/>
                </a:cxn>
                <a:cxn ang="0">
                  <a:pos x="connsiteX7447" y="connsiteY7447"/>
                </a:cxn>
                <a:cxn ang="0">
                  <a:pos x="connsiteX7448" y="connsiteY7448"/>
                </a:cxn>
                <a:cxn ang="0">
                  <a:pos x="connsiteX7449" y="connsiteY7449"/>
                </a:cxn>
                <a:cxn ang="0">
                  <a:pos x="connsiteX7450" y="connsiteY7450"/>
                </a:cxn>
                <a:cxn ang="0">
                  <a:pos x="connsiteX7451" y="connsiteY7451"/>
                </a:cxn>
                <a:cxn ang="0">
                  <a:pos x="connsiteX7452" y="connsiteY7452"/>
                </a:cxn>
                <a:cxn ang="0">
                  <a:pos x="connsiteX7453" y="connsiteY7453"/>
                </a:cxn>
                <a:cxn ang="0">
                  <a:pos x="connsiteX7454" y="connsiteY7454"/>
                </a:cxn>
                <a:cxn ang="0">
                  <a:pos x="connsiteX7455" y="connsiteY7455"/>
                </a:cxn>
                <a:cxn ang="0">
                  <a:pos x="connsiteX7456" y="connsiteY7456"/>
                </a:cxn>
                <a:cxn ang="0">
                  <a:pos x="connsiteX7457" y="connsiteY7457"/>
                </a:cxn>
                <a:cxn ang="0">
                  <a:pos x="connsiteX7458" y="connsiteY7458"/>
                </a:cxn>
                <a:cxn ang="0">
                  <a:pos x="connsiteX7459" y="connsiteY7459"/>
                </a:cxn>
                <a:cxn ang="0">
                  <a:pos x="connsiteX7460" y="connsiteY7460"/>
                </a:cxn>
                <a:cxn ang="0">
                  <a:pos x="connsiteX7461" y="connsiteY7461"/>
                </a:cxn>
                <a:cxn ang="0">
                  <a:pos x="connsiteX7462" y="connsiteY7462"/>
                </a:cxn>
                <a:cxn ang="0">
                  <a:pos x="connsiteX7463" y="connsiteY7463"/>
                </a:cxn>
                <a:cxn ang="0">
                  <a:pos x="connsiteX7464" y="connsiteY7464"/>
                </a:cxn>
                <a:cxn ang="0">
                  <a:pos x="connsiteX7465" y="connsiteY7465"/>
                </a:cxn>
                <a:cxn ang="0">
                  <a:pos x="connsiteX7466" y="connsiteY7466"/>
                </a:cxn>
                <a:cxn ang="0">
                  <a:pos x="connsiteX7467" y="connsiteY7467"/>
                </a:cxn>
                <a:cxn ang="0">
                  <a:pos x="connsiteX7468" y="connsiteY7468"/>
                </a:cxn>
                <a:cxn ang="0">
                  <a:pos x="connsiteX7469" y="connsiteY7469"/>
                </a:cxn>
                <a:cxn ang="0">
                  <a:pos x="connsiteX7470" y="connsiteY7470"/>
                </a:cxn>
                <a:cxn ang="0">
                  <a:pos x="connsiteX7471" y="connsiteY7471"/>
                </a:cxn>
                <a:cxn ang="0">
                  <a:pos x="connsiteX7472" y="connsiteY7472"/>
                </a:cxn>
                <a:cxn ang="0">
                  <a:pos x="connsiteX7473" y="connsiteY7473"/>
                </a:cxn>
                <a:cxn ang="0">
                  <a:pos x="connsiteX7474" y="connsiteY7474"/>
                </a:cxn>
                <a:cxn ang="0">
                  <a:pos x="connsiteX7475" y="connsiteY7475"/>
                </a:cxn>
                <a:cxn ang="0">
                  <a:pos x="connsiteX7476" y="connsiteY7476"/>
                </a:cxn>
                <a:cxn ang="0">
                  <a:pos x="connsiteX7477" y="connsiteY7477"/>
                </a:cxn>
                <a:cxn ang="0">
                  <a:pos x="connsiteX7478" y="connsiteY7478"/>
                </a:cxn>
                <a:cxn ang="0">
                  <a:pos x="connsiteX7479" y="connsiteY7479"/>
                </a:cxn>
                <a:cxn ang="0">
                  <a:pos x="connsiteX7480" y="connsiteY7480"/>
                </a:cxn>
                <a:cxn ang="0">
                  <a:pos x="connsiteX7481" y="connsiteY7481"/>
                </a:cxn>
                <a:cxn ang="0">
                  <a:pos x="connsiteX7482" y="connsiteY7482"/>
                </a:cxn>
                <a:cxn ang="0">
                  <a:pos x="connsiteX7483" y="connsiteY7483"/>
                </a:cxn>
                <a:cxn ang="0">
                  <a:pos x="connsiteX7484" y="connsiteY7484"/>
                </a:cxn>
                <a:cxn ang="0">
                  <a:pos x="connsiteX7485" y="connsiteY7485"/>
                </a:cxn>
                <a:cxn ang="0">
                  <a:pos x="connsiteX7486" y="connsiteY7486"/>
                </a:cxn>
                <a:cxn ang="0">
                  <a:pos x="connsiteX7487" y="connsiteY7487"/>
                </a:cxn>
                <a:cxn ang="0">
                  <a:pos x="connsiteX7488" y="connsiteY7488"/>
                </a:cxn>
                <a:cxn ang="0">
                  <a:pos x="connsiteX7489" y="connsiteY7489"/>
                </a:cxn>
                <a:cxn ang="0">
                  <a:pos x="connsiteX7490" y="connsiteY7490"/>
                </a:cxn>
                <a:cxn ang="0">
                  <a:pos x="connsiteX7491" y="connsiteY7491"/>
                </a:cxn>
                <a:cxn ang="0">
                  <a:pos x="connsiteX7492" y="connsiteY7492"/>
                </a:cxn>
                <a:cxn ang="0">
                  <a:pos x="connsiteX7493" y="connsiteY7493"/>
                </a:cxn>
                <a:cxn ang="0">
                  <a:pos x="connsiteX7494" y="connsiteY7494"/>
                </a:cxn>
                <a:cxn ang="0">
                  <a:pos x="connsiteX7495" y="connsiteY7495"/>
                </a:cxn>
                <a:cxn ang="0">
                  <a:pos x="connsiteX7496" y="connsiteY7496"/>
                </a:cxn>
                <a:cxn ang="0">
                  <a:pos x="connsiteX7497" y="connsiteY7497"/>
                </a:cxn>
                <a:cxn ang="0">
                  <a:pos x="connsiteX7498" y="connsiteY7498"/>
                </a:cxn>
                <a:cxn ang="0">
                  <a:pos x="connsiteX7499" y="connsiteY7499"/>
                </a:cxn>
                <a:cxn ang="0">
                  <a:pos x="connsiteX7500" y="connsiteY7500"/>
                </a:cxn>
                <a:cxn ang="0">
                  <a:pos x="connsiteX7501" y="connsiteY7501"/>
                </a:cxn>
                <a:cxn ang="0">
                  <a:pos x="connsiteX7502" y="connsiteY7502"/>
                </a:cxn>
                <a:cxn ang="0">
                  <a:pos x="connsiteX7503" y="connsiteY7503"/>
                </a:cxn>
                <a:cxn ang="0">
                  <a:pos x="connsiteX7504" y="connsiteY7504"/>
                </a:cxn>
                <a:cxn ang="0">
                  <a:pos x="connsiteX7505" y="connsiteY7505"/>
                </a:cxn>
                <a:cxn ang="0">
                  <a:pos x="connsiteX7506" y="connsiteY7506"/>
                </a:cxn>
                <a:cxn ang="0">
                  <a:pos x="connsiteX7507" y="connsiteY7507"/>
                </a:cxn>
                <a:cxn ang="0">
                  <a:pos x="connsiteX7508" y="connsiteY7508"/>
                </a:cxn>
                <a:cxn ang="0">
                  <a:pos x="connsiteX7509" y="connsiteY7509"/>
                </a:cxn>
                <a:cxn ang="0">
                  <a:pos x="connsiteX7510" y="connsiteY7510"/>
                </a:cxn>
                <a:cxn ang="0">
                  <a:pos x="connsiteX7511" y="connsiteY7511"/>
                </a:cxn>
                <a:cxn ang="0">
                  <a:pos x="connsiteX7512" y="connsiteY7512"/>
                </a:cxn>
                <a:cxn ang="0">
                  <a:pos x="connsiteX7513" y="connsiteY7513"/>
                </a:cxn>
                <a:cxn ang="0">
                  <a:pos x="connsiteX7514" y="connsiteY7514"/>
                </a:cxn>
                <a:cxn ang="0">
                  <a:pos x="connsiteX7515" y="connsiteY7515"/>
                </a:cxn>
                <a:cxn ang="0">
                  <a:pos x="connsiteX7516" y="connsiteY7516"/>
                </a:cxn>
                <a:cxn ang="0">
                  <a:pos x="connsiteX7517" y="connsiteY7517"/>
                </a:cxn>
                <a:cxn ang="0">
                  <a:pos x="connsiteX7518" y="connsiteY7518"/>
                </a:cxn>
                <a:cxn ang="0">
                  <a:pos x="connsiteX7519" y="connsiteY7519"/>
                </a:cxn>
                <a:cxn ang="0">
                  <a:pos x="connsiteX7520" y="connsiteY7520"/>
                </a:cxn>
                <a:cxn ang="0">
                  <a:pos x="connsiteX7521" y="connsiteY7521"/>
                </a:cxn>
                <a:cxn ang="0">
                  <a:pos x="connsiteX7522" y="connsiteY7522"/>
                </a:cxn>
                <a:cxn ang="0">
                  <a:pos x="connsiteX7523" y="connsiteY7523"/>
                </a:cxn>
                <a:cxn ang="0">
                  <a:pos x="connsiteX7524" y="connsiteY7524"/>
                </a:cxn>
                <a:cxn ang="0">
                  <a:pos x="connsiteX7525" y="connsiteY7525"/>
                </a:cxn>
                <a:cxn ang="0">
                  <a:pos x="connsiteX7526" y="connsiteY7526"/>
                </a:cxn>
                <a:cxn ang="0">
                  <a:pos x="connsiteX7527" y="connsiteY7527"/>
                </a:cxn>
                <a:cxn ang="0">
                  <a:pos x="connsiteX7528" y="connsiteY7528"/>
                </a:cxn>
                <a:cxn ang="0">
                  <a:pos x="connsiteX7529" y="connsiteY7529"/>
                </a:cxn>
                <a:cxn ang="0">
                  <a:pos x="connsiteX7530" y="connsiteY7530"/>
                </a:cxn>
                <a:cxn ang="0">
                  <a:pos x="connsiteX7531" y="connsiteY7531"/>
                </a:cxn>
                <a:cxn ang="0">
                  <a:pos x="connsiteX7532" y="connsiteY7532"/>
                </a:cxn>
                <a:cxn ang="0">
                  <a:pos x="connsiteX7533" y="connsiteY7533"/>
                </a:cxn>
                <a:cxn ang="0">
                  <a:pos x="connsiteX7534" y="connsiteY7534"/>
                </a:cxn>
                <a:cxn ang="0">
                  <a:pos x="connsiteX7535" y="connsiteY7535"/>
                </a:cxn>
                <a:cxn ang="0">
                  <a:pos x="connsiteX7536" y="connsiteY7536"/>
                </a:cxn>
                <a:cxn ang="0">
                  <a:pos x="connsiteX7537" y="connsiteY7537"/>
                </a:cxn>
                <a:cxn ang="0">
                  <a:pos x="connsiteX7538" y="connsiteY7538"/>
                </a:cxn>
                <a:cxn ang="0">
                  <a:pos x="connsiteX7539" y="connsiteY7539"/>
                </a:cxn>
                <a:cxn ang="0">
                  <a:pos x="connsiteX7540" y="connsiteY7540"/>
                </a:cxn>
                <a:cxn ang="0">
                  <a:pos x="connsiteX7541" y="connsiteY7541"/>
                </a:cxn>
                <a:cxn ang="0">
                  <a:pos x="connsiteX7542" y="connsiteY7542"/>
                </a:cxn>
                <a:cxn ang="0">
                  <a:pos x="connsiteX7543" y="connsiteY7543"/>
                </a:cxn>
                <a:cxn ang="0">
                  <a:pos x="connsiteX7544" y="connsiteY7544"/>
                </a:cxn>
                <a:cxn ang="0">
                  <a:pos x="connsiteX7545" y="connsiteY7545"/>
                </a:cxn>
                <a:cxn ang="0">
                  <a:pos x="connsiteX7546" y="connsiteY7546"/>
                </a:cxn>
                <a:cxn ang="0">
                  <a:pos x="connsiteX7547" y="connsiteY7547"/>
                </a:cxn>
                <a:cxn ang="0">
                  <a:pos x="connsiteX7548" y="connsiteY7548"/>
                </a:cxn>
                <a:cxn ang="0">
                  <a:pos x="connsiteX7549" y="connsiteY7549"/>
                </a:cxn>
                <a:cxn ang="0">
                  <a:pos x="connsiteX7550" y="connsiteY7550"/>
                </a:cxn>
                <a:cxn ang="0">
                  <a:pos x="connsiteX7551" y="connsiteY7551"/>
                </a:cxn>
                <a:cxn ang="0">
                  <a:pos x="connsiteX7552" y="connsiteY7552"/>
                </a:cxn>
                <a:cxn ang="0">
                  <a:pos x="connsiteX7553" y="connsiteY7553"/>
                </a:cxn>
                <a:cxn ang="0">
                  <a:pos x="connsiteX7554" y="connsiteY7554"/>
                </a:cxn>
                <a:cxn ang="0">
                  <a:pos x="connsiteX7555" y="connsiteY7555"/>
                </a:cxn>
                <a:cxn ang="0">
                  <a:pos x="connsiteX7556" y="connsiteY7556"/>
                </a:cxn>
                <a:cxn ang="0">
                  <a:pos x="connsiteX7557" y="connsiteY7557"/>
                </a:cxn>
                <a:cxn ang="0">
                  <a:pos x="connsiteX7558" y="connsiteY7558"/>
                </a:cxn>
                <a:cxn ang="0">
                  <a:pos x="connsiteX7559" y="connsiteY7559"/>
                </a:cxn>
                <a:cxn ang="0">
                  <a:pos x="connsiteX7560" y="connsiteY7560"/>
                </a:cxn>
                <a:cxn ang="0">
                  <a:pos x="connsiteX7561" y="connsiteY7561"/>
                </a:cxn>
                <a:cxn ang="0">
                  <a:pos x="connsiteX7562" y="connsiteY7562"/>
                </a:cxn>
                <a:cxn ang="0">
                  <a:pos x="connsiteX7563" y="connsiteY7563"/>
                </a:cxn>
                <a:cxn ang="0">
                  <a:pos x="connsiteX7564" y="connsiteY7564"/>
                </a:cxn>
                <a:cxn ang="0">
                  <a:pos x="connsiteX7565" y="connsiteY7565"/>
                </a:cxn>
                <a:cxn ang="0">
                  <a:pos x="connsiteX7566" y="connsiteY7566"/>
                </a:cxn>
                <a:cxn ang="0">
                  <a:pos x="connsiteX7567" y="connsiteY7567"/>
                </a:cxn>
                <a:cxn ang="0">
                  <a:pos x="connsiteX7568" y="connsiteY7568"/>
                </a:cxn>
                <a:cxn ang="0">
                  <a:pos x="connsiteX7569" y="connsiteY7569"/>
                </a:cxn>
                <a:cxn ang="0">
                  <a:pos x="connsiteX7570" y="connsiteY7570"/>
                </a:cxn>
                <a:cxn ang="0">
                  <a:pos x="connsiteX7571" y="connsiteY7571"/>
                </a:cxn>
                <a:cxn ang="0">
                  <a:pos x="connsiteX7572" y="connsiteY7572"/>
                </a:cxn>
                <a:cxn ang="0">
                  <a:pos x="connsiteX7573" y="connsiteY7573"/>
                </a:cxn>
                <a:cxn ang="0">
                  <a:pos x="connsiteX7574" y="connsiteY7574"/>
                </a:cxn>
                <a:cxn ang="0">
                  <a:pos x="connsiteX7575" y="connsiteY7575"/>
                </a:cxn>
                <a:cxn ang="0">
                  <a:pos x="connsiteX7576" y="connsiteY7576"/>
                </a:cxn>
                <a:cxn ang="0">
                  <a:pos x="connsiteX7577" y="connsiteY7577"/>
                </a:cxn>
                <a:cxn ang="0">
                  <a:pos x="connsiteX7578" y="connsiteY7578"/>
                </a:cxn>
                <a:cxn ang="0">
                  <a:pos x="connsiteX7579" y="connsiteY7579"/>
                </a:cxn>
                <a:cxn ang="0">
                  <a:pos x="connsiteX7580" y="connsiteY7580"/>
                </a:cxn>
                <a:cxn ang="0">
                  <a:pos x="connsiteX7581" y="connsiteY7581"/>
                </a:cxn>
                <a:cxn ang="0">
                  <a:pos x="connsiteX7582" y="connsiteY7582"/>
                </a:cxn>
                <a:cxn ang="0">
                  <a:pos x="connsiteX7583" y="connsiteY7583"/>
                </a:cxn>
                <a:cxn ang="0">
                  <a:pos x="connsiteX7584" y="connsiteY7584"/>
                </a:cxn>
                <a:cxn ang="0">
                  <a:pos x="connsiteX7585" y="connsiteY7585"/>
                </a:cxn>
                <a:cxn ang="0">
                  <a:pos x="connsiteX7586" y="connsiteY7586"/>
                </a:cxn>
                <a:cxn ang="0">
                  <a:pos x="connsiteX7587" y="connsiteY7587"/>
                </a:cxn>
                <a:cxn ang="0">
                  <a:pos x="connsiteX7588" y="connsiteY7588"/>
                </a:cxn>
                <a:cxn ang="0">
                  <a:pos x="connsiteX7589" y="connsiteY7589"/>
                </a:cxn>
                <a:cxn ang="0">
                  <a:pos x="connsiteX7590" y="connsiteY7590"/>
                </a:cxn>
                <a:cxn ang="0">
                  <a:pos x="connsiteX7591" y="connsiteY7591"/>
                </a:cxn>
                <a:cxn ang="0">
                  <a:pos x="connsiteX7592" y="connsiteY7592"/>
                </a:cxn>
                <a:cxn ang="0">
                  <a:pos x="connsiteX7593" y="connsiteY7593"/>
                </a:cxn>
                <a:cxn ang="0">
                  <a:pos x="connsiteX7594" y="connsiteY7594"/>
                </a:cxn>
                <a:cxn ang="0">
                  <a:pos x="connsiteX7595" y="connsiteY7595"/>
                </a:cxn>
                <a:cxn ang="0">
                  <a:pos x="connsiteX7596" y="connsiteY7596"/>
                </a:cxn>
                <a:cxn ang="0">
                  <a:pos x="connsiteX7597" y="connsiteY7597"/>
                </a:cxn>
                <a:cxn ang="0">
                  <a:pos x="connsiteX7598" y="connsiteY7598"/>
                </a:cxn>
                <a:cxn ang="0">
                  <a:pos x="connsiteX7599" y="connsiteY7599"/>
                </a:cxn>
                <a:cxn ang="0">
                  <a:pos x="connsiteX7600" y="connsiteY7600"/>
                </a:cxn>
                <a:cxn ang="0">
                  <a:pos x="connsiteX7601" y="connsiteY7601"/>
                </a:cxn>
                <a:cxn ang="0">
                  <a:pos x="connsiteX7602" y="connsiteY7602"/>
                </a:cxn>
                <a:cxn ang="0">
                  <a:pos x="connsiteX7603" y="connsiteY7603"/>
                </a:cxn>
                <a:cxn ang="0">
                  <a:pos x="connsiteX7604" y="connsiteY7604"/>
                </a:cxn>
                <a:cxn ang="0">
                  <a:pos x="connsiteX7605" y="connsiteY7605"/>
                </a:cxn>
                <a:cxn ang="0">
                  <a:pos x="connsiteX7606" y="connsiteY7606"/>
                </a:cxn>
                <a:cxn ang="0">
                  <a:pos x="connsiteX7607" y="connsiteY7607"/>
                </a:cxn>
                <a:cxn ang="0">
                  <a:pos x="connsiteX7608" y="connsiteY7608"/>
                </a:cxn>
                <a:cxn ang="0">
                  <a:pos x="connsiteX7609" y="connsiteY7609"/>
                </a:cxn>
                <a:cxn ang="0">
                  <a:pos x="connsiteX7610" y="connsiteY7610"/>
                </a:cxn>
                <a:cxn ang="0">
                  <a:pos x="connsiteX7611" y="connsiteY7611"/>
                </a:cxn>
                <a:cxn ang="0">
                  <a:pos x="connsiteX7612" y="connsiteY7612"/>
                </a:cxn>
                <a:cxn ang="0">
                  <a:pos x="connsiteX7613" y="connsiteY7613"/>
                </a:cxn>
                <a:cxn ang="0">
                  <a:pos x="connsiteX7614" y="connsiteY7614"/>
                </a:cxn>
                <a:cxn ang="0">
                  <a:pos x="connsiteX7615" y="connsiteY7615"/>
                </a:cxn>
                <a:cxn ang="0">
                  <a:pos x="connsiteX7616" y="connsiteY7616"/>
                </a:cxn>
                <a:cxn ang="0">
                  <a:pos x="connsiteX7617" y="connsiteY7617"/>
                </a:cxn>
                <a:cxn ang="0">
                  <a:pos x="connsiteX7618" y="connsiteY7618"/>
                </a:cxn>
                <a:cxn ang="0">
                  <a:pos x="connsiteX7619" y="connsiteY7619"/>
                </a:cxn>
                <a:cxn ang="0">
                  <a:pos x="connsiteX7620" y="connsiteY7620"/>
                </a:cxn>
                <a:cxn ang="0">
                  <a:pos x="connsiteX7621" y="connsiteY7621"/>
                </a:cxn>
                <a:cxn ang="0">
                  <a:pos x="connsiteX7622" y="connsiteY7622"/>
                </a:cxn>
                <a:cxn ang="0">
                  <a:pos x="connsiteX7623" y="connsiteY7623"/>
                </a:cxn>
                <a:cxn ang="0">
                  <a:pos x="connsiteX7624" y="connsiteY7624"/>
                </a:cxn>
                <a:cxn ang="0">
                  <a:pos x="connsiteX7625" y="connsiteY7625"/>
                </a:cxn>
                <a:cxn ang="0">
                  <a:pos x="connsiteX7626" y="connsiteY7626"/>
                </a:cxn>
                <a:cxn ang="0">
                  <a:pos x="connsiteX7627" y="connsiteY7627"/>
                </a:cxn>
                <a:cxn ang="0">
                  <a:pos x="connsiteX7628" y="connsiteY7628"/>
                </a:cxn>
                <a:cxn ang="0">
                  <a:pos x="connsiteX7629" y="connsiteY7629"/>
                </a:cxn>
                <a:cxn ang="0">
                  <a:pos x="connsiteX7630" y="connsiteY7630"/>
                </a:cxn>
                <a:cxn ang="0">
                  <a:pos x="connsiteX7631" y="connsiteY7631"/>
                </a:cxn>
                <a:cxn ang="0">
                  <a:pos x="connsiteX7632" y="connsiteY7632"/>
                </a:cxn>
                <a:cxn ang="0">
                  <a:pos x="connsiteX7633" y="connsiteY7633"/>
                </a:cxn>
                <a:cxn ang="0">
                  <a:pos x="connsiteX7634" y="connsiteY7634"/>
                </a:cxn>
                <a:cxn ang="0">
                  <a:pos x="connsiteX7635" y="connsiteY7635"/>
                </a:cxn>
                <a:cxn ang="0">
                  <a:pos x="connsiteX7636" y="connsiteY7636"/>
                </a:cxn>
                <a:cxn ang="0">
                  <a:pos x="connsiteX7637" y="connsiteY7637"/>
                </a:cxn>
                <a:cxn ang="0">
                  <a:pos x="connsiteX7638" y="connsiteY7638"/>
                </a:cxn>
                <a:cxn ang="0">
                  <a:pos x="connsiteX7639" y="connsiteY7639"/>
                </a:cxn>
                <a:cxn ang="0">
                  <a:pos x="connsiteX7640" y="connsiteY7640"/>
                </a:cxn>
                <a:cxn ang="0">
                  <a:pos x="connsiteX7641" y="connsiteY7641"/>
                </a:cxn>
                <a:cxn ang="0">
                  <a:pos x="connsiteX7642" y="connsiteY7642"/>
                </a:cxn>
                <a:cxn ang="0">
                  <a:pos x="connsiteX7643" y="connsiteY7643"/>
                </a:cxn>
                <a:cxn ang="0">
                  <a:pos x="connsiteX7644" y="connsiteY7644"/>
                </a:cxn>
                <a:cxn ang="0">
                  <a:pos x="connsiteX7645" y="connsiteY7645"/>
                </a:cxn>
                <a:cxn ang="0">
                  <a:pos x="connsiteX7646" y="connsiteY7646"/>
                </a:cxn>
                <a:cxn ang="0">
                  <a:pos x="connsiteX7647" y="connsiteY7647"/>
                </a:cxn>
                <a:cxn ang="0">
                  <a:pos x="connsiteX7648" y="connsiteY7648"/>
                </a:cxn>
                <a:cxn ang="0">
                  <a:pos x="connsiteX7649" y="connsiteY7649"/>
                </a:cxn>
                <a:cxn ang="0">
                  <a:pos x="connsiteX7650" y="connsiteY7650"/>
                </a:cxn>
                <a:cxn ang="0">
                  <a:pos x="connsiteX7651" y="connsiteY7651"/>
                </a:cxn>
                <a:cxn ang="0">
                  <a:pos x="connsiteX7652" y="connsiteY7652"/>
                </a:cxn>
                <a:cxn ang="0">
                  <a:pos x="connsiteX7653" y="connsiteY7653"/>
                </a:cxn>
                <a:cxn ang="0">
                  <a:pos x="connsiteX7654" y="connsiteY7654"/>
                </a:cxn>
                <a:cxn ang="0">
                  <a:pos x="connsiteX7655" y="connsiteY7655"/>
                </a:cxn>
                <a:cxn ang="0">
                  <a:pos x="connsiteX7656" y="connsiteY7656"/>
                </a:cxn>
                <a:cxn ang="0">
                  <a:pos x="connsiteX7657" y="connsiteY7657"/>
                </a:cxn>
                <a:cxn ang="0">
                  <a:pos x="connsiteX7658" y="connsiteY7658"/>
                </a:cxn>
                <a:cxn ang="0">
                  <a:pos x="connsiteX7659" y="connsiteY7659"/>
                </a:cxn>
                <a:cxn ang="0">
                  <a:pos x="connsiteX7660" y="connsiteY7660"/>
                </a:cxn>
                <a:cxn ang="0">
                  <a:pos x="connsiteX7661" y="connsiteY7661"/>
                </a:cxn>
                <a:cxn ang="0">
                  <a:pos x="connsiteX7662" y="connsiteY7662"/>
                </a:cxn>
                <a:cxn ang="0">
                  <a:pos x="connsiteX7663" y="connsiteY7663"/>
                </a:cxn>
                <a:cxn ang="0">
                  <a:pos x="connsiteX7664" y="connsiteY7664"/>
                </a:cxn>
                <a:cxn ang="0">
                  <a:pos x="connsiteX7665" y="connsiteY7665"/>
                </a:cxn>
                <a:cxn ang="0">
                  <a:pos x="connsiteX7666" y="connsiteY7666"/>
                </a:cxn>
                <a:cxn ang="0">
                  <a:pos x="connsiteX7667" y="connsiteY7667"/>
                </a:cxn>
                <a:cxn ang="0">
                  <a:pos x="connsiteX7668" y="connsiteY7668"/>
                </a:cxn>
                <a:cxn ang="0">
                  <a:pos x="connsiteX7669" y="connsiteY7669"/>
                </a:cxn>
                <a:cxn ang="0">
                  <a:pos x="connsiteX7670" y="connsiteY7670"/>
                </a:cxn>
                <a:cxn ang="0">
                  <a:pos x="connsiteX7671" y="connsiteY7671"/>
                </a:cxn>
                <a:cxn ang="0">
                  <a:pos x="connsiteX7672" y="connsiteY7672"/>
                </a:cxn>
                <a:cxn ang="0">
                  <a:pos x="connsiteX7673" y="connsiteY7673"/>
                </a:cxn>
                <a:cxn ang="0">
                  <a:pos x="connsiteX7674" y="connsiteY7674"/>
                </a:cxn>
                <a:cxn ang="0">
                  <a:pos x="connsiteX7675" y="connsiteY7675"/>
                </a:cxn>
                <a:cxn ang="0">
                  <a:pos x="connsiteX7676" y="connsiteY7676"/>
                </a:cxn>
                <a:cxn ang="0">
                  <a:pos x="connsiteX7677" y="connsiteY7677"/>
                </a:cxn>
                <a:cxn ang="0">
                  <a:pos x="connsiteX7678" y="connsiteY7678"/>
                </a:cxn>
                <a:cxn ang="0">
                  <a:pos x="connsiteX7679" y="connsiteY7679"/>
                </a:cxn>
                <a:cxn ang="0">
                  <a:pos x="connsiteX7680" y="connsiteY7680"/>
                </a:cxn>
                <a:cxn ang="0">
                  <a:pos x="connsiteX7681" y="connsiteY7681"/>
                </a:cxn>
                <a:cxn ang="0">
                  <a:pos x="connsiteX7682" y="connsiteY7682"/>
                </a:cxn>
                <a:cxn ang="0">
                  <a:pos x="connsiteX7683" y="connsiteY7683"/>
                </a:cxn>
                <a:cxn ang="0">
                  <a:pos x="connsiteX7684" y="connsiteY7684"/>
                </a:cxn>
                <a:cxn ang="0">
                  <a:pos x="connsiteX7685" y="connsiteY7685"/>
                </a:cxn>
                <a:cxn ang="0">
                  <a:pos x="connsiteX7686" y="connsiteY7686"/>
                </a:cxn>
                <a:cxn ang="0">
                  <a:pos x="connsiteX7687" y="connsiteY7687"/>
                </a:cxn>
                <a:cxn ang="0">
                  <a:pos x="connsiteX7688" y="connsiteY7688"/>
                </a:cxn>
                <a:cxn ang="0">
                  <a:pos x="connsiteX7689" y="connsiteY7689"/>
                </a:cxn>
                <a:cxn ang="0">
                  <a:pos x="connsiteX7690" y="connsiteY7690"/>
                </a:cxn>
                <a:cxn ang="0">
                  <a:pos x="connsiteX7691" y="connsiteY7691"/>
                </a:cxn>
                <a:cxn ang="0">
                  <a:pos x="connsiteX7692" y="connsiteY7692"/>
                </a:cxn>
                <a:cxn ang="0">
                  <a:pos x="connsiteX7693" y="connsiteY7693"/>
                </a:cxn>
                <a:cxn ang="0">
                  <a:pos x="connsiteX7694" y="connsiteY7694"/>
                </a:cxn>
                <a:cxn ang="0">
                  <a:pos x="connsiteX7695" y="connsiteY7695"/>
                </a:cxn>
                <a:cxn ang="0">
                  <a:pos x="connsiteX7696" y="connsiteY7696"/>
                </a:cxn>
                <a:cxn ang="0">
                  <a:pos x="connsiteX7697" y="connsiteY7697"/>
                </a:cxn>
                <a:cxn ang="0">
                  <a:pos x="connsiteX7698" y="connsiteY7698"/>
                </a:cxn>
                <a:cxn ang="0">
                  <a:pos x="connsiteX7699" y="connsiteY7699"/>
                </a:cxn>
                <a:cxn ang="0">
                  <a:pos x="connsiteX7700" y="connsiteY7700"/>
                </a:cxn>
                <a:cxn ang="0">
                  <a:pos x="connsiteX7701" y="connsiteY7701"/>
                </a:cxn>
                <a:cxn ang="0">
                  <a:pos x="connsiteX7702" y="connsiteY7702"/>
                </a:cxn>
                <a:cxn ang="0">
                  <a:pos x="connsiteX7703" y="connsiteY7703"/>
                </a:cxn>
                <a:cxn ang="0">
                  <a:pos x="connsiteX7704" y="connsiteY7704"/>
                </a:cxn>
                <a:cxn ang="0">
                  <a:pos x="connsiteX7705" y="connsiteY7705"/>
                </a:cxn>
                <a:cxn ang="0">
                  <a:pos x="connsiteX7706" y="connsiteY7706"/>
                </a:cxn>
                <a:cxn ang="0">
                  <a:pos x="connsiteX7707" y="connsiteY7707"/>
                </a:cxn>
                <a:cxn ang="0">
                  <a:pos x="connsiteX7708" y="connsiteY7708"/>
                </a:cxn>
                <a:cxn ang="0">
                  <a:pos x="connsiteX7709" y="connsiteY7709"/>
                </a:cxn>
                <a:cxn ang="0">
                  <a:pos x="connsiteX7710" y="connsiteY7710"/>
                </a:cxn>
                <a:cxn ang="0">
                  <a:pos x="connsiteX7711" y="connsiteY7711"/>
                </a:cxn>
                <a:cxn ang="0">
                  <a:pos x="connsiteX7712" y="connsiteY7712"/>
                </a:cxn>
                <a:cxn ang="0">
                  <a:pos x="connsiteX7713" y="connsiteY7713"/>
                </a:cxn>
                <a:cxn ang="0">
                  <a:pos x="connsiteX7714" y="connsiteY7714"/>
                </a:cxn>
                <a:cxn ang="0">
                  <a:pos x="connsiteX7715" y="connsiteY7715"/>
                </a:cxn>
                <a:cxn ang="0">
                  <a:pos x="connsiteX7716" y="connsiteY7716"/>
                </a:cxn>
                <a:cxn ang="0">
                  <a:pos x="connsiteX7717" y="connsiteY7717"/>
                </a:cxn>
                <a:cxn ang="0">
                  <a:pos x="connsiteX7718" y="connsiteY7718"/>
                </a:cxn>
                <a:cxn ang="0">
                  <a:pos x="connsiteX7719" y="connsiteY7719"/>
                </a:cxn>
                <a:cxn ang="0">
                  <a:pos x="connsiteX7720" y="connsiteY7720"/>
                </a:cxn>
                <a:cxn ang="0">
                  <a:pos x="connsiteX7721" y="connsiteY7721"/>
                </a:cxn>
                <a:cxn ang="0">
                  <a:pos x="connsiteX7722" y="connsiteY7722"/>
                </a:cxn>
                <a:cxn ang="0">
                  <a:pos x="connsiteX7723" y="connsiteY7723"/>
                </a:cxn>
                <a:cxn ang="0">
                  <a:pos x="connsiteX7724" y="connsiteY7724"/>
                </a:cxn>
                <a:cxn ang="0">
                  <a:pos x="connsiteX7725" y="connsiteY7725"/>
                </a:cxn>
                <a:cxn ang="0">
                  <a:pos x="connsiteX7726" y="connsiteY7726"/>
                </a:cxn>
                <a:cxn ang="0">
                  <a:pos x="connsiteX7727" y="connsiteY7727"/>
                </a:cxn>
                <a:cxn ang="0">
                  <a:pos x="connsiteX7728" y="connsiteY7728"/>
                </a:cxn>
                <a:cxn ang="0">
                  <a:pos x="connsiteX7729" y="connsiteY7729"/>
                </a:cxn>
                <a:cxn ang="0">
                  <a:pos x="connsiteX7730" y="connsiteY7730"/>
                </a:cxn>
                <a:cxn ang="0">
                  <a:pos x="connsiteX7731" y="connsiteY7731"/>
                </a:cxn>
                <a:cxn ang="0">
                  <a:pos x="connsiteX7732" y="connsiteY7732"/>
                </a:cxn>
                <a:cxn ang="0">
                  <a:pos x="connsiteX7733" y="connsiteY7733"/>
                </a:cxn>
                <a:cxn ang="0">
                  <a:pos x="connsiteX7734" y="connsiteY7734"/>
                </a:cxn>
                <a:cxn ang="0">
                  <a:pos x="connsiteX7735" y="connsiteY7735"/>
                </a:cxn>
                <a:cxn ang="0">
                  <a:pos x="connsiteX7736" y="connsiteY7736"/>
                </a:cxn>
                <a:cxn ang="0">
                  <a:pos x="connsiteX7737" y="connsiteY7737"/>
                </a:cxn>
                <a:cxn ang="0">
                  <a:pos x="connsiteX7738" y="connsiteY7738"/>
                </a:cxn>
                <a:cxn ang="0">
                  <a:pos x="connsiteX7739" y="connsiteY7739"/>
                </a:cxn>
                <a:cxn ang="0">
                  <a:pos x="connsiteX7740" y="connsiteY7740"/>
                </a:cxn>
                <a:cxn ang="0">
                  <a:pos x="connsiteX7741" y="connsiteY7741"/>
                </a:cxn>
                <a:cxn ang="0">
                  <a:pos x="connsiteX7742" y="connsiteY7742"/>
                </a:cxn>
                <a:cxn ang="0">
                  <a:pos x="connsiteX7743" y="connsiteY7743"/>
                </a:cxn>
                <a:cxn ang="0">
                  <a:pos x="connsiteX7744" y="connsiteY7744"/>
                </a:cxn>
                <a:cxn ang="0">
                  <a:pos x="connsiteX7745" y="connsiteY7745"/>
                </a:cxn>
                <a:cxn ang="0">
                  <a:pos x="connsiteX7746" y="connsiteY7746"/>
                </a:cxn>
                <a:cxn ang="0">
                  <a:pos x="connsiteX7747" y="connsiteY7747"/>
                </a:cxn>
                <a:cxn ang="0">
                  <a:pos x="connsiteX7748" y="connsiteY7748"/>
                </a:cxn>
                <a:cxn ang="0">
                  <a:pos x="connsiteX7749" y="connsiteY7749"/>
                </a:cxn>
                <a:cxn ang="0">
                  <a:pos x="connsiteX7750" y="connsiteY7750"/>
                </a:cxn>
                <a:cxn ang="0">
                  <a:pos x="connsiteX7751" y="connsiteY7751"/>
                </a:cxn>
                <a:cxn ang="0">
                  <a:pos x="connsiteX7752" y="connsiteY7752"/>
                </a:cxn>
                <a:cxn ang="0">
                  <a:pos x="connsiteX7753" y="connsiteY7753"/>
                </a:cxn>
                <a:cxn ang="0">
                  <a:pos x="connsiteX7754" y="connsiteY7754"/>
                </a:cxn>
                <a:cxn ang="0">
                  <a:pos x="connsiteX7755" y="connsiteY7755"/>
                </a:cxn>
                <a:cxn ang="0">
                  <a:pos x="connsiteX7756" y="connsiteY7756"/>
                </a:cxn>
                <a:cxn ang="0">
                  <a:pos x="connsiteX7757" y="connsiteY7757"/>
                </a:cxn>
                <a:cxn ang="0">
                  <a:pos x="connsiteX7758" y="connsiteY7758"/>
                </a:cxn>
                <a:cxn ang="0">
                  <a:pos x="connsiteX7759" y="connsiteY7759"/>
                </a:cxn>
                <a:cxn ang="0">
                  <a:pos x="connsiteX7760" y="connsiteY7760"/>
                </a:cxn>
                <a:cxn ang="0">
                  <a:pos x="connsiteX7761" y="connsiteY7761"/>
                </a:cxn>
                <a:cxn ang="0">
                  <a:pos x="connsiteX7762" y="connsiteY7762"/>
                </a:cxn>
                <a:cxn ang="0">
                  <a:pos x="connsiteX7763" y="connsiteY7763"/>
                </a:cxn>
                <a:cxn ang="0">
                  <a:pos x="connsiteX7764" y="connsiteY7764"/>
                </a:cxn>
                <a:cxn ang="0">
                  <a:pos x="connsiteX7765" y="connsiteY7765"/>
                </a:cxn>
                <a:cxn ang="0">
                  <a:pos x="connsiteX7766" y="connsiteY7766"/>
                </a:cxn>
                <a:cxn ang="0">
                  <a:pos x="connsiteX7767" y="connsiteY7767"/>
                </a:cxn>
                <a:cxn ang="0">
                  <a:pos x="connsiteX7768" y="connsiteY7768"/>
                </a:cxn>
                <a:cxn ang="0">
                  <a:pos x="connsiteX7769" y="connsiteY7769"/>
                </a:cxn>
                <a:cxn ang="0">
                  <a:pos x="connsiteX7770" y="connsiteY7770"/>
                </a:cxn>
                <a:cxn ang="0">
                  <a:pos x="connsiteX7771" y="connsiteY7771"/>
                </a:cxn>
                <a:cxn ang="0">
                  <a:pos x="connsiteX7772" y="connsiteY7772"/>
                </a:cxn>
                <a:cxn ang="0">
                  <a:pos x="connsiteX7773" y="connsiteY7773"/>
                </a:cxn>
                <a:cxn ang="0">
                  <a:pos x="connsiteX7774" y="connsiteY7774"/>
                </a:cxn>
                <a:cxn ang="0">
                  <a:pos x="connsiteX7775" y="connsiteY7775"/>
                </a:cxn>
                <a:cxn ang="0">
                  <a:pos x="connsiteX7776" y="connsiteY7776"/>
                </a:cxn>
                <a:cxn ang="0">
                  <a:pos x="connsiteX7777" y="connsiteY7777"/>
                </a:cxn>
                <a:cxn ang="0">
                  <a:pos x="connsiteX7778" y="connsiteY7778"/>
                </a:cxn>
                <a:cxn ang="0">
                  <a:pos x="connsiteX7779" y="connsiteY7779"/>
                </a:cxn>
                <a:cxn ang="0">
                  <a:pos x="connsiteX7780" y="connsiteY7780"/>
                </a:cxn>
                <a:cxn ang="0">
                  <a:pos x="connsiteX7781" y="connsiteY7781"/>
                </a:cxn>
                <a:cxn ang="0">
                  <a:pos x="connsiteX7782" y="connsiteY7782"/>
                </a:cxn>
                <a:cxn ang="0">
                  <a:pos x="connsiteX7783" y="connsiteY7783"/>
                </a:cxn>
                <a:cxn ang="0">
                  <a:pos x="connsiteX7784" y="connsiteY7784"/>
                </a:cxn>
                <a:cxn ang="0">
                  <a:pos x="connsiteX7785" y="connsiteY7785"/>
                </a:cxn>
                <a:cxn ang="0">
                  <a:pos x="connsiteX7786" y="connsiteY7786"/>
                </a:cxn>
                <a:cxn ang="0">
                  <a:pos x="connsiteX7787" y="connsiteY7787"/>
                </a:cxn>
                <a:cxn ang="0">
                  <a:pos x="connsiteX7788" y="connsiteY7788"/>
                </a:cxn>
                <a:cxn ang="0">
                  <a:pos x="connsiteX7789" y="connsiteY7789"/>
                </a:cxn>
                <a:cxn ang="0">
                  <a:pos x="connsiteX7790" y="connsiteY7790"/>
                </a:cxn>
                <a:cxn ang="0">
                  <a:pos x="connsiteX7791" y="connsiteY7791"/>
                </a:cxn>
                <a:cxn ang="0">
                  <a:pos x="connsiteX7792" y="connsiteY7792"/>
                </a:cxn>
                <a:cxn ang="0">
                  <a:pos x="connsiteX7793" y="connsiteY7793"/>
                </a:cxn>
                <a:cxn ang="0">
                  <a:pos x="connsiteX7794" y="connsiteY7794"/>
                </a:cxn>
                <a:cxn ang="0">
                  <a:pos x="connsiteX7795" y="connsiteY7795"/>
                </a:cxn>
                <a:cxn ang="0">
                  <a:pos x="connsiteX7796" y="connsiteY7796"/>
                </a:cxn>
                <a:cxn ang="0">
                  <a:pos x="connsiteX7797" y="connsiteY7797"/>
                </a:cxn>
                <a:cxn ang="0">
                  <a:pos x="connsiteX7798" y="connsiteY7798"/>
                </a:cxn>
                <a:cxn ang="0">
                  <a:pos x="connsiteX7799" y="connsiteY7799"/>
                </a:cxn>
                <a:cxn ang="0">
                  <a:pos x="connsiteX7800" y="connsiteY7800"/>
                </a:cxn>
                <a:cxn ang="0">
                  <a:pos x="connsiteX7801" y="connsiteY7801"/>
                </a:cxn>
                <a:cxn ang="0">
                  <a:pos x="connsiteX7802" y="connsiteY7802"/>
                </a:cxn>
                <a:cxn ang="0">
                  <a:pos x="connsiteX7803" y="connsiteY7803"/>
                </a:cxn>
                <a:cxn ang="0">
                  <a:pos x="connsiteX7804" y="connsiteY7804"/>
                </a:cxn>
                <a:cxn ang="0">
                  <a:pos x="connsiteX7805" y="connsiteY7805"/>
                </a:cxn>
                <a:cxn ang="0">
                  <a:pos x="connsiteX7806" y="connsiteY7806"/>
                </a:cxn>
                <a:cxn ang="0">
                  <a:pos x="connsiteX7807" y="connsiteY7807"/>
                </a:cxn>
                <a:cxn ang="0">
                  <a:pos x="connsiteX7808" y="connsiteY7808"/>
                </a:cxn>
                <a:cxn ang="0">
                  <a:pos x="connsiteX7809" y="connsiteY7809"/>
                </a:cxn>
                <a:cxn ang="0">
                  <a:pos x="connsiteX7810" y="connsiteY7810"/>
                </a:cxn>
                <a:cxn ang="0">
                  <a:pos x="connsiteX7811" y="connsiteY7811"/>
                </a:cxn>
                <a:cxn ang="0">
                  <a:pos x="connsiteX7812" y="connsiteY7812"/>
                </a:cxn>
                <a:cxn ang="0">
                  <a:pos x="connsiteX7813" y="connsiteY7813"/>
                </a:cxn>
                <a:cxn ang="0">
                  <a:pos x="connsiteX7814" y="connsiteY7814"/>
                </a:cxn>
                <a:cxn ang="0">
                  <a:pos x="connsiteX7815" y="connsiteY7815"/>
                </a:cxn>
                <a:cxn ang="0">
                  <a:pos x="connsiteX7816" y="connsiteY7816"/>
                </a:cxn>
                <a:cxn ang="0">
                  <a:pos x="connsiteX7817" y="connsiteY7817"/>
                </a:cxn>
                <a:cxn ang="0">
                  <a:pos x="connsiteX7818" y="connsiteY7818"/>
                </a:cxn>
                <a:cxn ang="0">
                  <a:pos x="connsiteX7819" y="connsiteY7819"/>
                </a:cxn>
                <a:cxn ang="0">
                  <a:pos x="connsiteX7820" y="connsiteY7820"/>
                </a:cxn>
                <a:cxn ang="0">
                  <a:pos x="connsiteX7821" y="connsiteY7821"/>
                </a:cxn>
                <a:cxn ang="0">
                  <a:pos x="connsiteX7822" y="connsiteY7822"/>
                </a:cxn>
                <a:cxn ang="0">
                  <a:pos x="connsiteX7823" y="connsiteY7823"/>
                </a:cxn>
                <a:cxn ang="0">
                  <a:pos x="connsiteX7824" y="connsiteY7824"/>
                </a:cxn>
                <a:cxn ang="0">
                  <a:pos x="connsiteX7825" y="connsiteY7825"/>
                </a:cxn>
                <a:cxn ang="0">
                  <a:pos x="connsiteX7826" y="connsiteY7826"/>
                </a:cxn>
                <a:cxn ang="0">
                  <a:pos x="connsiteX7827" y="connsiteY7827"/>
                </a:cxn>
                <a:cxn ang="0">
                  <a:pos x="connsiteX7828" y="connsiteY7828"/>
                </a:cxn>
                <a:cxn ang="0">
                  <a:pos x="connsiteX7829" y="connsiteY7829"/>
                </a:cxn>
                <a:cxn ang="0">
                  <a:pos x="connsiteX7830" y="connsiteY7830"/>
                </a:cxn>
                <a:cxn ang="0">
                  <a:pos x="connsiteX7831" y="connsiteY7831"/>
                </a:cxn>
                <a:cxn ang="0">
                  <a:pos x="connsiteX7832" y="connsiteY7832"/>
                </a:cxn>
                <a:cxn ang="0">
                  <a:pos x="connsiteX7833" y="connsiteY7833"/>
                </a:cxn>
                <a:cxn ang="0">
                  <a:pos x="connsiteX7834" y="connsiteY7834"/>
                </a:cxn>
                <a:cxn ang="0">
                  <a:pos x="connsiteX7835" y="connsiteY7835"/>
                </a:cxn>
                <a:cxn ang="0">
                  <a:pos x="connsiteX7836" y="connsiteY7836"/>
                </a:cxn>
                <a:cxn ang="0">
                  <a:pos x="connsiteX7837" y="connsiteY7837"/>
                </a:cxn>
                <a:cxn ang="0">
                  <a:pos x="connsiteX7838" y="connsiteY7838"/>
                </a:cxn>
                <a:cxn ang="0">
                  <a:pos x="connsiteX7839" y="connsiteY7839"/>
                </a:cxn>
                <a:cxn ang="0">
                  <a:pos x="connsiteX7840" y="connsiteY7840"/>
                </a:cxn>
                <a:cxn ang="0">
                  <a:pos x="connsiteX7841" y="connsiteY7841"/>
                </a:cxn>
                <a:cxn ang="0">
                  <a:pos x="connsiteX7842" y="connsiteY7842"/>
                </a:cxn>
                <a:cxn ang="0">
                  <a:pos x="connsiteX7843" y="connsiteY7843"/>
                </a:cxn>
                <a:cxn ang="0">
                  <a:pos x="connsiteX7844" y="connsiteY7844"/>
                </a:cxn>
                <a:cxn ang="0">
                  <a:pos x="connsiteX7845" y="connsiteY7845"/>
                </a:cxn>
                <a:cxn ang="0">
                  <a:pos x="connsiteX7846" y="connsiteY7846"/>
                </a:cxn>
                <a:cxn ang="0">
                  <a:pos x="connsiteX7847" y="connsiteY7847"/>
                </a:cxn>
                <a:cxn ang="0">
                  <a:pos x="connsiteX7848" y="connsiteY7848"/>
                </a:cxn>
                <a:cxn ang="0">
                  <a:pos x="connsiteX7849" y="connsiteY7849"/>
                </a:cxn>
                <a:cxn ang="0">
                  <a:pos x="connsiteX7850" y="connsiteY7850"/>
                </a:cxn>
                <a:cxn ang="0">
                  <a:pos x="connsiteX7851" y="connsiteY7851"/>
                </a:cxn>
                <a:cxn ang="0">
                  <a:pos x="connsiteX7852" y="connsiteY7852"/>
                </a:cxn>
                <a:cxn ang="0">
                  <a:pos x="connsiteX7853" y="connsiteY7853"/>
                </a:cxn>
                <a:cxn ang="0">
                  <a:pos x="connsiteX7854" y="connsiteY7854"/>
                </a:cxn>
                <a:cxn ang="0">
                  <a:pos x="connsiteX7855" y="connsiteY7855"/>
                </a:cxn>
                <a:cxn ang="0">
                  <a:pos x="connsiteX7856" y="connsiteY7856"/>
                </a:cxn>
                <a:cxn ang="0">
                  <a:pos x="connsiteX7857" y="connsiteY7857"/>
                </a:cxn>
                <a:cxn ang="0">
                  <a:pos x="connsiteX7858" y="connsiteY7858"/>
                </a:cxn>
                <a:cxn ang="0">
                  <a:pos x="connsiteX7859" y="connsiteY7859"/>
                </a:cxn>
                <a:cxn ang="0">
                  <a:pos x="connsiteX7860" y="connsiteY7860"/>
                </a:cxn>
                <a:cxn ang="0">
                  <a:pos x="connsiteX7861" y="connsiteY7861"/>
                </a:cxn>
                <a:cxn ang="0">
                  <a:pos x="connsiteX7862" y="connsiteY7862"/>
                </a:cxn>
                <a:cxn ang="0">
                  <a:pos x="connsiteX7863" y="connsiteY7863"/>
                </a:cxn>
                <a:cxn ang="0">
                  <a:pos x="connsiteX7864" y="connsiteY7864"/>
                </a:cxn>
                <a:cxn ang="0">
                  <a:pos x="connsiteX7865" y="connsiteY7865"/>
                </a:cxn>
                <a:cxn ang="0">
                  <a:pos x="connsiteX7866" y="connsiteY7866"/>
                </a:cxn>
                <a:cxn ang="0">
                  <a:pos x="connsiteX7867" y="connsiteY7867"/>
                </a:cxn>
                <a:cxn ang="0">
                  <a:pos x="connsiteX7868" y="connsiteY7868"/>
                </a:cxn>
                <a:cxn ang="0">
                  <a:pos x="connsiteX7869" y="connsiteY7869"/>
                </a:cxn>
                <a:cxn ang="0">
                  <a:pos x="connsiteX7870" y="connsiteY7870"/>
                </a:cxn>
                <a:cxn ang="0">
                  <a:pos x="connsiteX7871" y="connsiteY7871"/>
                </a:cxn>
                <a:cxn ang="0">
                  <a:pos x="connsiteX7872" y="connsiteY7872"/>
                </a:cxn>
                <a:cxn ang="0">
                  <a:pos x="connsiteX7873" y="connsiteY7873"/>
                </a:cxn>
                <a:cxn ang="0">
                  <a:pos x="connsiteX7874" y="connsiteY7874"/>
                </a:cxn>
                <a:cxn ang="0">
                  <a:pos x="connsiteX7875" y="connsiteY7875"/>
                </a:cxn>
                <a:cxn ang="0">
                  <a:pos x="connsiteX7876" y="connsiteY7876"/>
                </a:cxn>
                <a:cxn ang="0">
                  <a:pos x="connsiteX7877" y="connsiteY7877"/>
                </a:cxn>
                <a:cxn ang="0">
                  <a:pos x="connsiteX7878" y="connsiteY7878"/>
                </a:cxn>
                <a:cxn ang="0">
                  <a:pos x="connsiteX7879" y="connsiteY7879"/>
                </a:cxn>
                <a:cxn ang="0">
                  <a:pos x="connsiteX7880" y="connsiteY7880"/>
                </a:cxn>
                <a:cxn ang="0">
                  <a:pos x="connsiteX7881" y="connsiteY7881"/>
                </a:cxn>
                <a:cxn ang="0">
                  <a:pos x="connsiteX7882" y="connsiteY7882"/>
                </a:cxn>
                <a:cxn ang="0">
                  <a:pos x="connsiteX7883" y="connsiteY7883"/>
                </a:cxn>
                <a:cxn ang="0">
                  <a:pos x="connsiteX7884" y="connsiteY7884"/>
                </a:cxn>
                <a:cxn ang="0">
                  <a:pos x="connsiteX7885" y="connsiteY7885"/>
                </a:cxn>
                <a:cxn ang="0">
                  <a:pos x="connsiteX7886" y="connsiteY7886"/>
                </a:cxn>
                <a:cxn ang="0">
                  <a:pos x="connsiteX7887" y="connsiteY7887"/>
                </a:cxn>
                <a:cxn ang="0">
                  <a:pos x="connsiteX7888" y="connsiteY7888"/>
                </a:cxn>
                <a:cxn ang="0">
                  <a:pos x="connsiteX7889" y="connsiteY7889"/>
                </a:cxn>
                <a:cxn ang="0">
                  <a:pos x="connsiteX7890" y="connsiteY7890"/>
                </a:cxn>
                <a:cxn ang="0">
                  <a:pos x="connsiteX7891" y="connsiteY7891"/>
                </a:cxn>
                <a:cxn ang="0">
                  <a:pos x="connsiteX7892" y="connsiteY7892"/>
                </a:cxn>
                <a:cxn ang="0">
                  <a:pos x="connsiteX7893" y="connsiteY7893"/>
                </a:cxn>
                <a:cxn ang="0">
                  <a:pos x="connsiteX7894" y="connsiteY7894"/>
                </a:cxn>
                <a:cxn ang="0">
                  <a:pos x="connsiteX7895" y="connsiteY7895"/>
                </a:cxn>
                <a:cxn ang="0">
                  <a:pos x="connsiteX7896" y="connsiteY7896"/>
                </a:cxn>
                <a:cxn ang="0">
                  <a:pos x="connsiteX7897" y="connsiteY7897"/>
                </a:cxn>
                <a:cxn ang="0">
                  <a:pos x="connsiteX7898" y="connsiteY7898"/>
                </a:cxn>
                <a:cxn ang="0">
                  <a:pos x="connsiteX7899" y="connsiteY7899"/>
                </a:cxn>
                <a:cxn ang="0">
                  <a:pos x="connsiteX7900" y="connsiteY7900"/>
                </a:cxn>
                <a:cxn ang="0">
                  <a:pos x="connsiteX7901" y="connsiteY7901"/>
                </a:cxn>
                <a:cxn ang="0">
                  <a:pos x="connsiteX7902" y="connsiteY7902"/>
                </a:cxn>
                <a:cxn ang="0">
                  <a:pos x="connsiteX7903" y="connsiteY7903"/>
                </a:cxn>
                <a:cxn ang="0">
                  <a:pos x="connsiteX7904" y="connsiteY7904"/>
                </a:cxn>
                <a:cxn ang="0">
                  <a:pos x="connsiteX7905" y="connsiteY7905"/>
                </a:cxn>
                <a:cxn ang="0">
                  <a:pos x="connsiteX7906" y="connsiteY7906"/>
                </a:cxn>
                <a:cxn ang="0">
                  <a:pos x="connsiteX7907" y="connsiteY7907"/>
                </a:cxn>
                <a:cxn ang="0">
                  <a:pos x="connsiteX7908" y="connsiteY7908"/>
                </a:cxn>
                <a:cxn ang="0">
                  <a:pos x="connsiteX7909" y="connsiteY7909"/>
                </a:cxn>
                <a:cxn ang="0">
                  <a:pos x="connsiteX7910" y="connsiteY7910"/>
                </a:cxn>
                <a:cxn ang="0">
                  <a:pos x="connsiteX7911" y="connsiteY7911"/>
                </a:cxn>
                <a:cxn ang="0">
                  <a:pos x="connsiteX7912" y="connsiteY7912"/>
                </a:cxn>
                <a:cxn ang="0">
                  <a:pos x="connsiteX7913" y="connsiteY7913"/>
                </a:cxn>
                <a:cxn ang="0">
                  <a:pos x="connsiteX7914" y="connsiteY7914"/>
                </a:cxn>
                <a:cxn ang="0">
                  <a:pos x="connsiteX7915" y="connsiteY7915"/>
                </a:cxn>
                <a:cxn ang="0">
                  <a:pos x="connsiteX7916" y="connsiteY7916"/>
                </a:cxn>
                <a:cxn ang="0">
                  <a:pos x="connsiteX7917" y="connsiteY7917"/>
                </a:cxn>
                <a:cxn ang="0">
                  <a:pos x="connsiteX7918" y="connsiteY7918"/>
                </a:cxn>
                <a:cxn ang="0">
                  <a:pos x="connsiteX7919" y="connsiteY7919"/>
                </a:cxn>
                <a:cxn ang="0">
                  <a:pos x="connsiteX7920" y="connsiteY7920"/>
                </a:cxn>
                <a:cxn ang="0">
                  <a:pos x="connsiteX7921" y="connsiteY7921"/>
                </a:cxn>
                <a:cxn ang="0">
                  <a:pos x="connsiteX7922" y="connsiteY7922"/>
                </a:cxn>
                <a:cxn ang="0">
                  <a:pos x="connsiteX7923" y="connsiteY7923"/>
                </a:cxn>
                <a:cxn ang="0">
                  <a:pos x="connsiteX7924" y="connsiteY7924"/>
                </a:cxn>
                <a:cxn ang="0">
                  <a:pos x="connsiteX7925" y="connsiteY7925"/>
                </a:cxn>
                <a:cxn ang="0">
                  <a:pos x="connsiteX7926" y="connsiteY7926"/>
                </a:cxn>
                <a:cxn ang="0">
                  <a:pos x="connsiteX7927" y="connsiteY7927"/>
                </a:cxn>
                <a:cxn ang="0">
                  <a:pos x="connsiteX7928" y="connsiteY7928"/>
                </a:cxn>
                <a:cxn ang="0">
                  <a:pos x="connsiteX7929" y="connsiteY7929"/>
                </a:cxn>
                <a:cxn ang="0">
                  <a:pos x="connsiteX7930" y="connsiteY7930"/>
                </a:cxn>
                <a:cxn ang="0">
                  <a:pos x="connsiteX7931" y="connsiteY7931"/>
                </a:cxn>
                <a:cxn ang="0">
                  <a:pos x="connsiteX7932" y="connsiteY7932"/>
                </a:cxn>
                <a:cxn ang="0">
                  <a:pos x="connsiteX7933" y="connsiteY7933"/>
                </a:cxn>
                <a:cxn ang="0">
                  <a:pos x="connsiteX7934" y="connsiteY7934"/>
                </a:cxn>
                <a:cxn ang="0">
                  <a:pos x="connsiteX7935" y="connsiteY7935"/>
                </a:cxn>
                <a:cxn ang="0">
                  <a:pos x="connsiteX7936" y="connsiteY7936"/>
                </a:cxn>
                <a:cxn ang="0">
                  <a:pos x="connsiteX7937" y="connsiteY7937"/>
                </a:cxn>
                <a:cxn ang="0">
                  <a:pos x="connsiteX7938" y="connsiteY7938"/>
                </a:cxn>
                <a:cxn ang="0">
                  <a:pos x="connsiteX7939" y="connsiteY7939"/>
                </a:cxn>
                <a:cxn ang="0">
                  <a:pos x="connsiteX7940" y="connsiteY7940"/>
                </a:cxn>
                <a:cxn ang="0">
                  <a:pos x="connsiteX7941" y="connsiteY7941"/>
                </a:cxn>
                <a:cxn ang="0">
                  <a:pos x="connsiteX7942" y="connsiteY7942"/>
                </a:cxn>
                <a:cxn ang="0">
                  <a:pos x="connsiteX7943" y="connsiteY7943"/>
                </a:cxn>
                <a:cxn ang="0">
                  <a:pos x="connsiteX7944" y="connsiteY7944"/>
                </a:cxn>
                <a:cxn ang="0">
                  <a:pos x="connsiteX7945" y="connsiteY7945"/>
                </a:cxn>
                <a:cxn ang="0">
                  <a:pos x="connsiteX7946" y="connsiteY7946"/>
                </a:cxn>
                <a:cxn ang="0">
                  <a:pos x="connsiteX7947" y="connsiteY7947"/>
                </a:cxn>
                <a:cxn ang="0">
                  <a:pos x="connsiteX7948" y="connsiteY7948"/>
                </a:cxn>
                <a:cxn ang="0">
                  <a:pos x="connsiteX7949" y="connsiteY7949"/>
                </a:cxn>
                <a:cxn ang="0">
                  <a:pos x="connsiteX7950" y="connsiteY7950"/>
                </a:cxn>
                <a:cxn ang="0">
                  <a:pos x="connsiteX7951" y="connsiteY7951"/>
                </a:cxn>
                <a:cxn ang="0">
                  <a:pos x="connsiteX7952" y="connsiteY7952"/>
                </a:cxn>
                <a:cxn ang="0">
                  <a:pos x="connsiteX7953" y="connsiteY7953"/>
                </a:cxn>
                <a:cxn ang="0">
                  <a:pos x="connsiteX7954" y="connsiteY7954"/>
                </a:cxn>
                <a:cxn ang="0">
                  <a:pos x="connsiteX7955" y="connsiteY7955"/>
                </a:cxn>
                <a:cxn ang="0">
                  <a:pos x="connsiteX7956" y="connsiteY7956"/>
                </a:cxn>
                <a:cxn ang="0">
                  <a:pos x="connsiteX7957" y="connsiteY7957"/>
                </a:cxn>
                <a:cxn ang="0">
                  <a:pos x="connsiteX7958" y="connsiteY7958"/>
                </a:cxn>
                <a:cxn ang="0">
                  <a:pos x="connsiteX7959" y="connsiteY7959"/>
                </a:cxn>
                <a:cxn ang="0">
                  <a:pos x="connsiteX7960" y="connsiteY7960"/>
                </a:cxn>
                <a:cxn ang="0">
                  <a:pos x="connsiteX7961" y="connsiteY7961"/>
                </a:cxn>
                <a:cxn ang="0">
                  <a:pos x="connsiteX7962" y="connsiteY7962"/>
                </a:cxn>
                <a:cxn ang="0">
                  <a:pos x="connsiteX7963" y="connsiteY7963"/>
                </a:cxn>
                <a:cxn ang="0">
                  <a:pos x="connsiteX7964" y="connsiteY7964"/>
                </a:cxn>
                <a:cxn ang="0">
                  <a:pos x="connsiteX7965" y="connsiteY7965"/>
                </a:cxn>
                <a:cxn ang="0">
                  <a:pos x="connsiteX7966" y="connsiteY7966"/>
                </a:cxn>
                <a:cxn ang="0">
                  <a:pos x="connsiteX7967" y="connsiteY7967"/>
                </a:cxn>
                <a:cxn ang="0">
                  <a:pos x="connsiteX7968" y="connsiteY7968"/>
                </a:cxn>
                <a:cxn ang="0">
                  <a:pos x="connsiteX7969" y="connsiteY7969"/>
                </a:cxn>
                <a:cxn ang="0">
                  <a:pos x="connsiteX7970" y="connsiteY7970"/>
                </a:cxn>
                <a:cxn ang="0">
                  <a:pos x="connsiteX7971" y="connsiteY7971"/>
                </a:cxn>
                <a:cxn ang="0">
                  <a:pos x="connsiteX7972" y="connsiteY7972"/>
                </a:cxn>
                <a:cxn ang="0">
                  <a:pos x="connsiteX7973" y="connsiteY7973"/>
                </a:cxn>
                <a:cxn ang="0">
                  <a:pos x="connsiteX7974" y="connsiteY7974"/>
                </a:cxn>
                <a:cxn ang="0">
                  <a:pos x="connsiteX7975" y="connsiteY7975"/>
                </a:cxn>
                <a:cxn ang="0">
                  <a:pos x="connsiteX7976" y="connsiteY7976"/>
                </a:cxn>
                <a:cxn ang="0">
                  <a:pos x="connsiteX7977" y="connsiteY7977"/>
                </a:cxn>
                <a:cxn ang="0">
                  <a:pos x="connsiteX7978" y="connsiteY7978"/>
                </a:cxn>
                <a:cxn ang="0">
                  <a:pos x="connsiteX7979" y="connsiteY7979"/>
                </a:cxn>
                <a:cxn ang="0">
                  <a:pos x="connsiteX7980" y="connsiteY7980"/>
                </a:cxn>
                <a:cxn ang="0">
                  <a:pos x="connsiteX7981" y="connsiteY7981"/>
                </a:cxn>
                <a:cxn ang="0">
                  <a:pos x="connsiteX7982" y="connsiteY7982"/>
                </a:cxn>
                <a:cxn ang="0">
                  <a:pos x="connsiteX7983" y="connsiteY7983"/>
                </a:cxn>
                <a:cxn ang="0">
                  <a:pos x="connsiteX7984" y="connsiteY7984"/>
                </a:cxn>
                <a:cxn ang="0">
                  <a:pos x="connsiteX7985" y="connsiteY7985"/>
                </a:cxn>
                <a:cxn ang="0">
                  <a:pos x="connsiteX7986" y="connsiteY7986"/>
                </a:cxn>
                <a:cxn ang="0">
                  <a:pos x="connsiteX7987" y="connsiteY7987"/>
                </a:cxn>
                <a:cxn ang="0">
                  <a:pos x="connsiteX7988" y="connsiteY7988"/>
                </a:cxn>
                <a:cxn ang="0">
                  <a:pos x="connsiteX7989" y="connsiteY7989"/>
                </a:cxn>
                <a:cxn ang="0">
                  <a:pos x="connsiteX7990" y="connsiteY7990"/>
                </a:cxn>
                <a:cxn ang="0">
                  <a:pos x="connsiteX7991" y="connsiteY7991"/>
                </a:cxn>
                <a:cxn ang="0">
                  <a:pos x="connsiteX7992" y="connsiteY7992"/>
                </a:cxn>
                <a:cxn ang="0">
                  <a:pos x="connsiteX7993" y="connsiteY7993"/>
                </a:cxn>
                <a:cxn ang="0">
                  <a:pos x="connsiteX7994" y="connsiteY7994"/>
                </a:cxn>
                <a:cxn ang="0">
                  <a:pos x="connsiteX7995" y="connsiteY7995"/>
                </a:cxn>
                <a:cxn ang="0">
                  <a:pos x="connsiteX7996" y="connsiteY7996"/>
                </a:cxn>
                <a:cxn ang="0">
                  <a:pos x="connsiteX7997" y="connsiteY7997"/>
                </a:cxn>
                <a:cxn ang="0">
                  <a:pos x="connsiteX7998" y="connsiteY7998"/>
                </a:cxn>
                <a:cxn ang="0">
                  <a:pos x="connsiteX7999" y="connsiteY7999"/>
                </a:cxn>
                <a:cxn ang="0">
                  <a:pos x="connsiteX8000" y="connsiteY8000"/>
                </a:cxn>
                <a:cxn ang="0">
                  <a:pos x="connsiteX8001" y="connsiteY8001"/>
                </a:cxn>
                <a:cxn ang="0">
                  <a:pos x="connsiteX8002" y="connsiteY8002"/>
                </a:cxn>
                <a:cxn ang="0">
                  <a:pos x="connsiteX8003" y="connsiteY8003"/>
                </a:cxn>
                <a:cxn ang="0">
                  <a:pos x="connsiteX8004" y="connsiteY8004"/>
                </a:cxn>
                <a:cxn ang="0">
                  <a:pos x="connsiteX8005" y="connsiteY8005"/>
                </a:cxn>
                <a:cxn ang="0">
                  <a:pos x="connsiteX8006" y="connsiteY8006"/>
                </a:cxn>
                <a:cxn ang="0">
                  <a:pos x="connsiteX8007" y="connsiteY8007"/>
                </a:cxn>
                <a:cxn ang="0">
                  <a:pos x="connsiteX8008" y="connsiteY8008"/>
                </a:cxn>
                <a:cxn ang="0">
                  <a:pos x="connsiteX8009" y="connsiteY8009"/>
                </a:cxn>
                <a:cxn ang="0">
                  <a:pos x="connsiteX8010" y="connsiteY8010"/>
                </a:cxn>
                <a:cxn ang="0">
                  <a:pos x="connsiteX8011" y="connsiteY8011"/>
                </a:cxn>
                <a:cxn ang="0">
                  <a:pos x="connsiteX8012" y="connsiteY8012"/>
                </a:cxn>
                <a:cxn ang="0">
                  <a:pos x="connsiteX8013" y="connsiteY8013"/>
                </a:cxn>
                <a:cxn ang="0">
                  <a:pos x="connsiteX8014" y="connsiteY8014"/>
                </a:cxn>
                <a:cxn ang="0">
                  <a:pos x="connsiteX8015" y="connsiteY8015"/>
                </a:cxn>
                <a:cxn ang="0">
                  <a:pos x="connsiteX8016" y="connsiteY8016"/>
                </a:cxn>
                <a:cxn ang="0">
                  <a:pos x="connsiteX8017" y="connsiteY8017"/>
                </a:cxn>
                <a:cxn ang="0">
                  <a:pos x="connsiteX8018" y="connsiteY8018"/>
                </a:cxn>
                <a:cxn ang="0">
                  <a:pos x="connsiteX8019" y="connsiteY8019"/>
                </a:cxn>
                <a:cxn ang="0">
                  <a:pos x="connsiteX8020" y="connsiteY8020"/>
                </a:cxn>
                <a:cxn ang="0">
                  <a:pos x="connsiteX8021" y="connsiteY8021"/>
                </a:cxn>
                <a:cxn ang="0">
                  <a:pos x="connsiteX8022" y="connsiteY8022"/>
                </a:cxn>
                <a:cxn ang="0">
                  <a:pos x="connsiteX8023" y="connsiteY8023"/>
                </a:cxn>
                <a:cxn ang="0">
                  <a:pos x="connsiteX8024" y="connsiteY8024"/>
                </a:cxn>
                <a:cxn ang="0">
                  <a:pos x="connsiteX8025" y="connsiteY8025"/>
                </a:cxn>
                <a:cxn ang="0">
                  <a:pos x="connsiteX8026" y="connsiteY8026"/>
                </a:cxn>
                <a:cxn ang="0">
                  <a:pos x="connsiteX8027" y="connsiteY8027"/>
                </a:cxn>
                <a:cxn ang="0">
                  <a:pos x="connsiteX8028" y="connsiteY8028"/>
                </a:cxn>
                <a:cxn ang="0">
                  <a:pos x="connsiteX8029" y="connsiteY8029"/>
                </a:cxn>
                <a:cxn ang="0">
                  <a:pos x="connsiteX8030" y="connsiteY8030"/>
                </a:cxn>
                <a:cxn ang="0">
                  <a:pos x="connsiteX8031" y="connsiteY8031"/>
                </a:cxn>
                <a:cxn ang="0">
                  <a:pos x="connsiteX8032" y="connsiteY8032"/>
                </a:cxn>
                <a:cxn ang="0">
                  <a:pos x="connsiteX8033" y="connsiteY8033"/>
                </a:cxn>
                <a:cxn ang="0">
                  <a:pos x="connsiteX8034" y="connsiteY8034"/>
                </a:cxn>
                <a:cxn ang="0">
                  <a:pos x="connsiteX8035" y="connsiteY8035"/>
                </a:cxn>
                <a:cxn ang="0">
                  <a:pos x="connsiteX8036" y="connsiteY8036"/>
                </a:cxn>
                <a:cxn ang="0">
                  <a:pos x="connsiteX8037" y="connsiteY8037"/>
                </a:cxn>
                <a:cxn ang="0">
                  <a:pos x="connsiteX8038" y="connsiteY8038"/>
                </a:cxn>
                <a:cxn ang="0">
                  <a:pos x="connsiteX8039" y="connsiteY8039"/>
                </a:cxn>
                <a:cxn ang="0">
                  <a:pos x="connsiteX8040" y="connsiteY8040"/>
                </a:cxn>
                <a:cxn ang="0">
                  <a:pos x="connsiteX8041" y="connsiteY8041"/>
                </a:cxn>
                <a:cxn ang="0">
                  <a:pos x="connsiteX8042" y="connsiteY8042"/>
                </a:cxn>
                <a:cxn ang="0">
                  <a:pos x="connsiteX8043" y="connsiteY8043"/>
                </a:cxn>
                <a:cxn ang="0">
                  <a:pos x="connsiteX8044" y="connsiteY8044"/>
                </a:cxn>
                <a:cxn ang="0">
                  <a:pos x="connsiteX8045" y="connsiteY8045"/>
                </a:cxn>
                <a:cxn ang="0">
                  <a:pos x="connsiteX8046" y="connsiteY8046"/>
                </a:cxn>
                <a:cxn ang="0">
                  <a:pos x="connsiteX8047" y="connsiteY8047"/>
                </a:cxn>
                <a:cxn ang="0">
                  <a:pos x="connsiteX8048" y="connsiteY8048"/>
                </a:cxn>
                <a:cxn ang="0">
                  <a:pos x="connsiteX8049" y="connsiteY8049"/>
                </a:cxn>
                <a:cxn ang="0">
                  <a:pos x="connsiteX8050" y="connsiteY8050"/>
                </a:cxn>
                <a:cxn ang="0">
                  <a:pos x="connsiteX8051" y="connsiteY8051"/>
                </a:cxn>
                <a:cxn ang="0">
                  <a:pos x="connsiteX8052" y="connsiteY8052"/>
                </a:cxn>
                <a:cxn ang="0">
                  <a:pos x="connsiteX8053" y="connsiteY8053"/>
                </a:cxn>
                <a:cxn ang="0">
                  <a:pos x="connsiteX8054" y="connsiteY8054"/>
                </a:cxn>
                <a:cxn ang="0">
                  <a:pos x="connsiteX8055" y="connsiteY8055"/>
                </a:cxn>
                <a:cxn ang="0">
                  <a:pos x="connsiteX8056" y="connsiteY8056"/>
                </a:cxn>
                <a:cxn ang="0">
                  <a:pos x="connsiteX8057" y="connsiteY8057"/>
                </a:cxn>
                <a:cxn ang="0">
                  <a:pos x="connsiteX8058" y="connsiteY8058"/>
                </a:cxn>
                <a:cxn ang="0">
                  <a:pos x="connsiteX8059" y="connsiteY8059"/>
                </a:cxn>
                <a:cxn ang="0">
                  <a:pos x="connsiteX8060" y="connsiteY8060"/>
                </a:cxn>
                <a:cxn ang="0">
                  <a:pos x="connsiteX8061" y="connsiteY8061"/>
                </a:cxn>
                <a:cxn ang="0">
                  <a:pos x="connsiteX8062" y="connsiteY8062"/>
                </a:cxn>
                <a:cxn ang="0">
                  <a:pos x="connsiteX8063" y="connsiteY8063"/>
                </a:cxn>
                <a:cxn ang="0">
                  <a:pos x="connsiteX8064" y="connsiteY8064"/>
                </a:cxn>
                <a:cxn ang="0">
                  <a:pos x="connsiteX8065" y="connsiteY8065"/>
                </a:cxn>
                <a:cxn ang="0">
                  <a:pos x="connsiteX8066" y="connsiteY8066"/>
                </a:cxn>
                <a:cxn ang="0">
                  <a:pos x="connsiteX8067" y="connsiteY8067"/>
                </a:cxn>
                <a:cxn ang="0">
                  <a:pos x="connsiteX8068" y="connsiteY8068"/>
                </a:cxn>
                <a:cxn ang="0">
                  <a:pos x="connsiteX8069" y="connsiteY8069"/>
                </a:cxn>
                <a:cxn ang="0">
                  <a:pos x="connsiteX8070" y="connsiteY8070"/>
                </a:cxn>
                <a:cxn ang="0">
                  <a:pos x="connsiteX8071" y="connsiteY8071"/>
                </a:cxn>
                <a:cxn ang="0">
                  <a:pos x="connsiteX8072" y="connsiteY8072"/>
                </a:cxn>
                <a:cxn ang="0">
                  <a:pos x="connsiteX8073" y="connsiteY8073"/>
                </a:cxn>
                <a:cxn ang="0">
                  <a:pos x="connsiteX8074" y="connsiteY8074"/>
                </a:cxn>
                <a:cxn ang="0">
                  <a:pos x="connsiteX8075" y="connsiteY8075"/>
                </a:cxn>
                <a:cxn ang="0">
                  <a:pos x="connsiteX8076" y="connsiteY8076"/>
                </a:cxn>
                <a:cxn ang="0">
                  <a:pos x="connsiteX8077" y="connsiteY8077"/>
                </a:cxn>
                <a:cxn ang="0">
                  <a:pos x="connsiteX8078" y="connsiteY8078"/>
                </a:cxn>
                <a:cxn ang="0">
                  <a:pos x="connsiteX8079" y="connsiteY8079"/>
                </a:cxn>
                <a:cxn ang="0">
                  <a:pos x="connsiteX8080" y="connsiteY8080"/>
                </a:cxn>
                <a:cxn ang="0">
                  <a:pos x="connsiteX8081" y="connsiteY8081"/>
                </a:cxn>
                <a:cxn ang="0">
                  <a:pos x="connsiteX8082" y="connsiteY8082"/>
                </a:cxn>
                <a:cxn ang="0">
                  <a:pos x="connsiteX8083" y="connsiteY8083"/>
                </a:cxn>
                <a:cxn ang="0">
                  <a:pos x="connsiteX8084" y="connsiteY8084"/>
                </a:cxn>
                <a:cxn ang="0">
                  <a:pos x="connsiteX8085" y="connsiteY8085"/>
                </a:cxn>
                <a:cxn ang="0">
                  <a:pos x="connsiteX8086" y="connsiteY8086"/>
                </a:cxn>
                <a:cxn ang="0">
                  <a:pos x="connsiteX8087" y="connsiteY8087"/>
                </a:cxn>
                <a:cxn ang="0">
                  <a:pos x="connsiteX8088" y="connsiteY8088"/>
                </a:cxn>
                <a:cxn ang="0">
                  <a:pos x="connsiteX8089" y="connsiteY8089"/>
                </a:cxn>
                <a:cxn ang="0">
                  <a:pos x="connsiteX8090" y="connsiteY8090"/>
                </a:cxn>
                <a:cxn ang="0">
                  <a:pos x="connsiteX8091" y="connsiteY8091"/>
                </a:cxn>
                <a:cxn ang="0">
                  <a:pos x="connsiteX8092" y="connsiteY8092"/>
                </a:cxn>
                <a:cxn ang="0">
                  <a:pos x="connsiteX8093" y="connsiteY8093"/>
                </a:cxn>
                <a:cxn ang="0">
                  <a:pos x="connsiteX8094" y="connsiteY8094"/>
                </a:cxn>
                <a:cxn ang="0">
                  <a:pos x="connsiteX8095" y="connsiteY8095"/>
                </a:cxn>
                <a:cxn ang="0">
                  <a:pos x="connsiteX8096" y="connsiteY8096"/>
                </a:cxn>
                <a:cxn ang="0">
                  <a:pos x="connsiteX8097" y="connsiteY8097"/>
                </a:cxn>
                <a:cxn ang="0">
                  <a:pos x="connsiteX8098" y="connsiteY8098"/>
                </a:cxn>
                <a:cxn ang="0">
                  <a:pos x="connsiteX8099" y="connsiteY8099"/>
                </a:cxn>
                <a:cxn ang="0">
                  <a:pos x="connsiteX8100" y="connsiteY8100"/>
                </a:cxn>
                <a:cxn ang="0">
                  <a:pos x="connsiteX8101" y="connsiteY8101"/>
                </a:cxn>
                <a:cxn ang="0">
                  <a:pos x="connsiteX8102" y="connsiteY8102"/>
                </a:cxn>
                <a:cxn ang="0">
                  <a:pos x="connsiteX8103" y="connsiteY8103"/>
                </a:cxn>
                <a:cxn ang="0">
                  <a:pos x="connsiteX8104" y="connsiteY8104"/>
                </a:cxn>
                <a:cxn ang="0">
                  <a:pos x="connsiteX8105" y="connsiteY8105"/>
                </a:cxn>
                <a:cxn ang="0">
                  <a:pos x="connsiteX8106" y="connsiteY8106"/>
                </a:cxn>
                <a:cxn ang="0">
                  <a:pos x="connsiteX8107" y="connsiteY8107"/>
                </a:cxn>
                <a:cxn ang="0">
                  <a:pos x="connsiteX8108" y="connsiteY8108"/>
                </a:cxn>
                <a:cxn ang="0">
                  <a:pos x="connsiteX8109" y="connsiteY8109"/>
                </a:cxn>
                <a:cxn ang="0">
                  <a:pos x="connsiteX8110" y="connsiteY8110"/>
                </a:cxn>
                <a:cxn ang="0">
                  <a:pos x="connsiteX8111" y="connsiteY8111"/>
                </a:cxn>
                <a:cxn ang="0">
                  <a:pos x="connsiteX8112" y="connsiteY8112"/>
                </a:cxn>
                <a:cxn ang="0">
                  <a:pos x="connsiteX8113" y="connsiteY8113"/>
                </a:cxn>
                <a:cxn ang="0">
                  <a:pos x="connsiteX8114" y="connsiteY8114"/>
                </a:cxn>
                <a:cxn ang="0">
                  <a:pos x="connsiteX8115" y="connsiteY8115"/>
                </a:cxn>
                <a:cxn ang="0">
                  <a:pos x="connsiteX8116" y="connsiteY8116"/>
                </a:cxn>
                <a:cxn ang="0">
                  <a:pos x="connsiteX8117" y="connsiteY8117"/>
                </a:cxn>
                <a:cxn ang="0">
                  <a:pos x="connsiteX8118" y="connsiteY8118"/>
                </a:cxn>
                <a:cxn ang="0">
                  <a:pos x="connsiteX8119" y="connsiteY8119"/>
                </a:cxn>
                <a:cxn ang="0">
                  <a:pos x="connsiteX8120" y="connsiteY8120"/>
                </a:cxn>
                <a:cxn ang="0">
                  <a:pos x="connsiteX8121" y="connsiteY8121"/>
                </a:cxn>
                <a:cxn ang="0">
                  <a:pos x="connsiteX8122" y="connsiteY8122"/>
                </a:cxn>
                <a:cxn ang="0">
                  <a:pos x="connsiteX8123" y="connsiteY8123"/>
                </a:cxn>
                <a:cxn ang="0">
                  <a:pos x="connsiteX8124" y="connsiteY8124"/>
                </a:cxn>
                <a:cxn ang="0">
                  <a:pos x="connsiteX8125" y="connsiteY8125"/>
                </a:cxn>
                <a:cxn ang="0">
                  <a:pos x="connsiteX8126" y="connsiteY8126"/>
                </a:cxn>
                <a:cxn ang="0">
                  <a:pos x="connsiteX8127" y="connsiteY8127"/>
                </a:cxn>
                <a:cxn ang="0">
                  <a:pos x="connsiteX8128" y="connsiteY8128"/>
                </a:cxn>
                <a:cxn ang="0">
                  <a:pos x="connsiteX8129" y="connsiteY8129"/>
                </a:cxn>
                <a:cxn ang="0">
                  <a:pos x="connsiteX8130" y="connsiteY8130"/>
                </a:cxn>
                <a:cxn ang="0">
                  <a:pos x="connsiteX8131" y="connsiteY8131"/>
                </a:cxn>
                <a:cxn ang="0">
                  <a:pos x="connsiteX8132" y="connsiteY8132"/>
                </a:cxn>
                <a:cxn ang="0">
                  <a:pos x="connsiteX8133" y="connsiteY8133"/>
                </a:cxn>
                <a:cxn ang="0">
                  <a:pos x="connsiteX8134" y="connsiteY8134"/>
                </a:cxn>
                <a:cxn ang="0">
                  <a:pos x="connsiteX8135" y="connsiteY8135"/>
                </a:cxn>
                <a:cxn ang="0">
                  <a:pos x="connsiteX8136" y="connsiteY8136"/>
                </a:cxn>
                <a:cxn ang="0">
                  <a:pos x="connsiteX8137" y="connsiteY8137"/>
                </a:cxn>
                <a:cxn ang="0">
                  <a:pos x="connsiteX8138" y="connsiteY8138"/>
                </a:cxn>
                <a:cxn ang="0">
                  <a:pos x="connsiteX8139" y="connsiteY8139"/>
                </a:cxn>
                <a:cxn ang="0">
                  <a:pos x="connsiteX8140" y="connsiteY8140"/>
                </a:cxn>
                <a:cxn ang="0">
                  <a:pos x="connsiteX8141" y="connsiteY8141"/>
                </a:cxn>
                <a:cxn ang="0">
                  <a:pos x="connsiteX8142" y="connsiteY8142"/>
                </a:cxn>
                <a:cxn ang="0">
                  <a:pos x="connsiteX8143" y="connsiteY8143"/>
                </a:cxn>
                <a:cxn ang="0">
                  <a:pos x="connsiteX8144" y="connsiteY8144"/>
                </a:cxn>
                <a:cxn ang="0">
                  <a:pos x="connsiteX8145" y="connsiteY8145"/>
                </a:cxn>
                <a:cxn ang="0">
                  <a:pos x="connsiteX8146" y="connsiteY8146"/>
                </a:cxn>
                <a:cxn ang="0">
                  <a:pos x="connsiteX8147" y="connsiteY8147"/>
                </a:cxn>
                <a:cxn ang="0">
                  <a:pos x="connsiteX8148" y="connsiteY8148"/>
                </a:cxn>
                <a:cxn ang="0">
                  <a:pos x="connsiteX8149" y="connsiteY8149"/>
                </a:cxn>
                <a:cxn ang="0">
                  <a:pos x="connsiteX8150" y="connsiteY8150"/>
                </a:cxn>
                <a:cxn ang="0">
                  <a:pos x="connsiteX8151" y="connsiteY8151"/>
                </a:cxn>
                <a:cxn ang="0">
                  <a:pos x="connsiteX8152" y="connsiteY8152"/>
                </a:cxn>
                <a:cxn ang="0">
                  <a:pos x="connsiteX8153" y="connsiteY8153"/>
                </a:cxn>
                <a:cxn ang="0">
                  <a:pos x="connsiteX8154" y="connsiteY8154"/>
                </a:cxn>
                <a:cxn ang="0">
                  <a:pos x="connsiteX8155" y="connsiteY8155"/>
                </a:cxn>
                <a:cxn ang="0">
                  <a:pos x="connsiteX8156" y="connsiteY8156"/>
                </a:cxn>
                <a:cxn ang="0">
                  <a:pos x="connsiteX8157" y="connsiteY8157"/>
                </a:cxn>
                <a:cxn ang="0">
                  <a:pos x="connsiteX8158" y="connsiteY8158"/>
                </a:cxn>
                <a:cxn ang="0">
                  <a:pos x="connsiteX8159" y="connsiteY8159"/>
                </a:cxn>
                <a:cxn ang="0">
                  <a:pos x="connsiteX8160" y="connsiteY8160"/>
                </a:cxn>
                <a:cxn ang="0">
                  <a:pos x="connsiteX8161" y="connsiteY8161"/>
                </a:cxn>
                <a:cxn ang="0">
                  <a:pos x="connsiteX8162" y="connsiteY8162"/>
                </a:cxn>
                <a:cxn ang="0">
                  <a:pos x="connsiteX8163" y="connsiteY8163"/>
                </a:cxn>
                <a:cxn ang="0">
                  <a:pos x="connsiteX8164" y="connsiteY8164"/>
                </a:cxn>
                <a:cxn ang="0">
                  <a:pos x="connsiteX8165" y="connsiteY8165"/>
                </a:cxn>
                <a:cxn ang="0">
                  <a:pos x="connsiteX8166" y="connsiteY8166"/>
                </a:cxn>
                <a:cxn ang="0">
                  <a:pos x="connsiteX8167" y="connsiteY8167"/>
                </a:cxn>
                <a:cxn ang="0">
                  <a:pos x="connsiteX8168" y="connsiteY8168"/>
                </a:cxn>
                <a:cxn ang="0">
                  <a:pos x="connsiteX8169" y="connsiteY8169"/>
                </a:cxn>
                <a:cxn ang="0">
                  <a:pos x="connsiteX8170" y="connsiteY8170"/>
                </a:cxn>
                <a:cxn ang="0">
                  <a:pos x="connsiteX8171" y="connsiteY8171"/>
                </a:cxn>
                <a:cxn ang="0">
                  <a:pos x="connsiteX8172" y="connsiteY8172"/>
                </a:cxn>
                <a:cxn ang="0">
                  <a:pos x="connsiteX8173" y="connsiteY8173"/>
                </a:cxn>
                <a:cxn ang="0">
                  <a:pos x="connsiteX8174" y="connsiteY8174"/>
                </a:cxn>
                <a:cxn ang="0">
                  <a:pos x="connsiteX8175" y="connsiteY8175"/>
                </a:cxn>
                <a:cxn ang="0">
                  <a:pos x="connsiteX8176" y="connsiteY8176"/>
                </a:cxn>
                <a:cxn ang="0">
                  <a:pos x="connsiteX8177" y="connsiteY8177"/>
                </a:cxn>
                <a:cxn ang="0">
                  <a:pos x="connsiteX8178" y="connsiteY8178"/>
                </a:cxn>
                <a:cxn ang="0">
                  <a:pos x="connsiteX8179" y="connsiteY8179"/>
                </a:cxn>
                <a:cxn ang="0">
                  <a:pos x="connsiteX8180" y="connsiteY8180"/>
                </a:cxn>
                <a:cxn ang="0">
                  <a:pos x="connsiteX8181" y="connsiteY8181"/>
                </a:cxn>
                <a:cxn ang="0">
                  <a:pos x="connsiteX8182" y="connsiteY8182"/>
                </a:cxn>
                <a:cxn ang="0">
                  <a:pos x="connsiteX8183" y="connsiteY8183"/>
                </a:cxn>
                <a:cxn ang="0">
                  <a:pos x="connsiteX8184" y="connsiteY8184"/>
                </a:cxn>
                <a:cxn ang="0">
                  <a:pos x="connsiteX8185" y="connsiteY8185"/>
                </a:cxn>
                <a:cxn ang="0">
                  <a:pos x="connsiteX8186" y="connsiteY8186"/>
                </a:cxn>
                <a:cxn ang="0">
                  <a:pos x="connsiteX8187" y="connsiteY8187"/>
                </a:cxn>
                <a:cxn ang="0">
                  <a:pos x="connsiteX8188" y="connsiteY8188"/>
                </a:cxn>
                <a:cxn ang="0">
                  <a:pos x="connsiteX8189" y="connsiteY8189"/>
                </a:cxn>
                <a:cxn ang="0">
                  <a:pos x="connsiteX8190" y="connsiteY8190"/>
                </a:cxn>
                <a:cxn ang="0">
                  <a:pos x="connsiteX8191" y="connsiteY8191"/>
                </a:cxn>
                <a:cxn ang="0">
                  <a:pos x="connsiteX8192" y="connsiteY8192"/>
                </a:cxn>
                <a:cxn ang="0">
                  <a:pos x="connsiteX8193" y="connsiteY8193"/>
                </a:cxn>
                <a:cxn ang="0">
                  <a:pos x="connsiteX8194" y="connsiteY8194"/>
                </a:cxn>
                <a:cxn ang="0">
                  <a:pos x="connsiteX8195" y="connsiteY8195"/>
                </a:cxn>
                <a:cxn ang="0">
                  <a:pos x="connsiteX8196" y="connsiteY8196"/>
                </a:cxn>
                <a:cxn ang="0">
                  <a:pos x="connsiteX8197" y="connsiteY8197"/>
                </a:cxn>
                <a:cxn ang="0">
                  <a:pos x="connsiteX8198" y="connsiteY8198"/>
                </a:cxn>
                <a:cxn ang="0">
                  <a:pos x="connsiteX8199" y="connsiteY8199"/>
                </a:cxn>
                <a:cxn ang="0">
                  <a:pos x="connsiteX8200" y="connsiteY8200"/>
                </a:cxn>
                <a:cxn ang="0">
                  <a:pos x="connsiteX8201" y="connsiteY8201"/>
                </a:cxn>
                <a:cxn ang="0">
                  <a:pos x="connsiteX8202" y="connsiteY8202"/>
                </a:cxn>
                <a:cxn ang="0">
                  <a:pos x="connsiteX8203" y="connsiteY8203"/>
                </a:cxn>
                <a:cxn ang="0">
                  <a:pos x="connsiteX8204" y="connsiteY8204"/>
                </a:cxn>
                <a:cxn ang="0">
                  <a:pos x="connsiteX8205" y="connsiteY8205"/>
                </a:cxn>
                <a:cxn ang="0">
                  <a:pos x="connsiteX8206" y="connsiteY8206"/>
                </a:cxn>
                <a:cxn ang="0">
                  <a:pos x="connsiteX8207" y="connsiteY8207"/>
                </a:cxn>
                <a:cxn ang="0">
                  <a:pos x="connsiteX8208" y="connsiteY8208"/>
                </a:cxn>
                <a:cxn ang="0">
                  <a:pos x="connsiteX8209" y="connsiteY8209"/>
                </a:cxn>
                <a:cxn ang="0">
                  <a:pos x="connsiteX8210" y="connsiteY8210"/>
                </a:cxn>
                <a:cxn ang="0">
                  <a:pos x="connsiteX8211" y="connsiteY8211"/>
                </a:cxn>
                <a:cxn ang="0">
                  <a:pos x="connsiteX8212" y="connsiteY8212"/>
                </a:cxn>
                <a:cxn ang="0">
                  <a:pos x="connsiteX8213" y="connsiteY8213"/>
                </a:cxn>
                <a:cxn ang="0">
                  <a:pos x="connsiteX8214" y="connsiteY8214"/>
                </a:cxn>
                <a:cxn ang="0">
                  <a:pos x="connsiteX8215" y="connsiteY8215"/>
                </a:cxn>
                <a:cxn ang="0">
                  <a:pos x="connsiteX8216" y="connsiteY8216"/>
                </a:cxn>
                <a:cxn ang="0">
                  <a:pos x="connsiteX8217" y="connsiteY8217"/>
                </a:cxn>
                <a:cxn ang="0">
                  <a:pos x="connsiteX8218" y="connsiteY8218"/>
                </a:cxn>
                <a:cxn ang="0">
                  <a:pos x="connsiteX8219" y="connsiteY8219"/>
                </a:cxn>
                <a:cxn ang="0">
                  <a:pos x="connsiteX8220" y="connsiteY8220"/>
                </a:cxn>
                <a:cxn ang="0">
                  <a:pos x="connsiteX8221" y="connsiteY8221"/>
                </a:cxn>
                <a:cxn ang="0">
                  <a:pos x="connsiteX8222" y="connsiteY8222"/>
                </a:cxn>
                <a:cxn ang="0">
                  <a:pos x="connsiteX8223" y="connsiteY8223"/>
                </a:cxn>
                <a:cxn ang="0">
                  <a:pos x="connsiteX8224" y="connsiteY8224"/>
                </a:cxn>
                <a:cxn ang="0">
                  <a:pos x="connsiteX8225" y="connsiteY8225"/>
                </a:cxn>
                <a:cxn ang="0">
                  <a:pos x="connsiteX8226" y="connsiteY8226"/>
                </a:cxn>
                <a:cxn ang="0">
                  <a:pos x="connsiteX8227" y="connsiteY8227"/>
                </a:cxn>
                <a:cxn ang="0">
                  <a:pos x="connsiteX8228" y="connsiteY8228"/>
                </a:cxn>
                <a:cxn ang="0">
                  <a:pos x="connsiteX8229" y="connsiteY8229"/>
                </a:cxn>
                <a:cxn ang="0">
                  <a:pos x="connsiteX8230" y="connsiteY8230"/>
                </a:cxn>
                <a:cxn ang="0">
                  <a:pos x="connsiteX8231" y="connsiteY8231"/>
                </a:cxn>
                <a:cxn ang="0">
                  <a:pos x="connsiteX8232" y="connsiteY8232"/>
                </a:cxn>
                <a:cxn ang="0">
                  <a:pos x="connsiteX8233" y="connsiteY8233"/>
                </a:cxn>
                <a:cxn ang="0">
                  <a:pos x="connsiteX8234" y="connsiteY8234"/>
                </a:cxn>
                <a:cxn ang="0">
                  <a:pos x="connsiteX8235" y="connsiteY8235"/>
                </a:cxn>
                <a:cxn ang="0">
                  <a:pos x="connsiteX8236" y="connsiteY8236"/>
                </a:cxn>
                <a:cxn ang="0">
                  <a:pos x="connsiteX8237" y="connsiteY8237"/>
                </a:cxn>
                <a:cxn ang="0">
                  <a:pos x="connsiteX8238" y="connsiteY8238"/>
                </a:cxn>
                <a:cxn ang="0">
                  <a:pos x="connsiteX8239" y="connsiteY8239"/>
                </a:cxn>
                <a:cxn ang="0">
                  <a:pos x="connsiteX8240" y="connsiteY8240"/>
                </a:cxn>
                <a:cxn ang="0">
                  <a:pos x="connsiteX8241" y="connsiteY8241"/>
                </a:cxn>
                <a:cxn ang="0">
                  <a:pos x="connsiteX8242" y="connsiteY8242"/>
                </a:cxn>
                <a:cxn ang="0">
                  <a:pos x="connsiteX8243" y="connsiteY8243"/>
                </a:cxn>
                <a:cxn ang="0">
                  <a:pos x="connsiteX8244" y="connsiteY8244"/>
                </a:cxn>
                <a:cxn ang="0">
                  <a:pos x="connsiteX8245" y="connsiteY8245"/>
                </a:cxn>
                <a:cxn ang="0">
                  <a:pos x="connsiteX8246" y="connsiteY8246"/>
                </a:cxn>
                <a:cxn ang="0">
                  <a:pos x="connsiteX8247" y="connsiteY8247"/>
                </a:cxn>
                <a:cxn ang="0">
                  <a:pos x="connsiteX8248" y="connsiteY8248"/>
                </a:cxn>
                <a:cxn ang="0">
                  <a:pos x="connsiteX8249" y="connsiteY8249"/>
                </a:cxn>
                <a:cxn ang="0">
                  <a:pos x="connsiteX8250" y="connsiteY8250"/>
                </a:cxn>
                <a:cxn ang="0">
                  <a:pos x="connsiteX8251" y="connsiteY8251"/>
                </a:cxn>
                <a:cxn ang="0">
                  <a:pos x="connsiteX8252" y="connsiteY8252"/>
                </a:cxn>
                <a:cxn ang="0">
                  <a:pos x="connsiteX8253" y="connsiteY8253"/>
                </a:cxn>
                <a:cxn ang="0">
                  <a:pos x="connsiteX8254" y="connsiteY8254"/>
                </a:cxn>
                <a:cxn ang="0">
                  <a:pos x="connsiteX8255" y="connsiteY8255"/>
                </a:cxn>
                <a:cxn ang="0">
                  <a:pos x="connsiteX8256" y="connsiteY8256"/>
                </a:cxn>
                <a:cxn ang="0">
                  <a:pos x="connsiteX8257" y="connsiteY8257"/>
                </a:cxn>
                <a:cxn ang="0">
                  <a:pos x="connsiteX8258" y="connsiteY8258"/>
                </a:cxn>
                <a:cxn ang="0">
                  <a:pos x="connsiteX8259" y="connsiteY8259"/>
                </a:cxn>
                <a:cxn ang="0">
                  <a:pos x="connsiteX8260" y="connsiteY8260"/>
                </a:cxn>
                <a:cxn ang="0">
                  <a:pos x="connsiteX8261" y="connsiteY8261"/>
                </a:cxn>
                <a:cxn ang="0">
                  <a:pos x="connsiteX8262" y="connsiteY8262"/>
                </a:cxn>
                <a:cxn ang="0">
                  <a:pos x="connsiteX8263" y="connsiteY8263"/>
                </a:cxn>
                <a:cxn ang="0">
                  <a:pos x="connsiteX8264" y="connsiteY8264"/>
                </a:cxn>
                <a:cxn ang="0">
                  <a:pos x="connsiteX8265" y="connsiteY8265"/>
                </a:cxn>
                <a:cxn ang="0">
                  <a:pos x="connsiteX8266" y="connsiteY8266"/>
                </a:cxn>
                <a:cxn ang="0">
                  <a:pos x="connsiteX8267" y="connsiteY8267"/>
                </a:cxn>
                <a:cxn ang="0">
                  <a:pos x="connsiteX8268" y="connsiteY8268"/>
                </a:cxn>
                <a:cxn ang="0">
                  <a:pos x="connsiteX8269" y="connsiteY8269"/>
                </a:cxn>
                <a:cxn ang="0">
                  <a:pos x="connsiteX8270" y="connsiteY8270"/>
                </a:cxn>
                <a:cxn ang="0">
                  <a:pos x="connsiteX8271" y="connsiteY8271"/>
                </a:cxn>
                <a:cxn ang="0">
                  <a:pos x="connsiteX8272" y="connsiteY8272"/>
                </a:cxn>
                <a:cxn ang="0">
                  <a:pos x="connsiteX8273" y="connsiteY8273"/>
                </a:cxn>
                <a:cxn ang="0">
                  <a:pos x="connsiteX8274" y="connsiteY8274"/>
                </a:cxn>
                <a:cxn ang="0">
                  <a:pos x="connsiteX8275" y="connsiteY8275"/>
                </a:cxn>
                <a:cxn ang="0">
                  <a:pos x="connsiteX8276" y="connsiteY8276"/>
                </a:cxn>
                <a:cxn ang="0">
                  <a:pos x="connsiteX8277" y="connsiteY8277"/>
                </a:cxn>
                <a:cxn ang="0">
                  <a:pos x="connsiteX8278" y="connsiteY8278"/>
                </a:cxn>
                <a:cxn ang="0">
                  <a:pos x="connsiteX8279" y="connsiteY8279"/>
                </a:cxn>
                <a:cxn ang="0">
                  <a:pos x="connsiteX8280" y="connsiteY8280"/>
                </a:cxn>
                <a:cxn ang="0">
                  <a:pos x="connsiteX8281" y="connsiteY8281"/>
                </a:cxn>
                <a:cxn ang="0">
                  <a:pos x="connsiteX8282" y="connsiteY8282"/>
                </a:cxn>
                <a:cxn ang="0">
                  <a:pos x="connsiteX8283" y="connsiteY8283"/>
                </a:cxn>
                <a:cxn ang="0">
                  <a:pos x="connsiteX8284" y="connsiteY8284"/>
                </a:cxn>
                <a:cxn ang="0">
                  <a:pos x="connsiteX8285" y="connsiteY8285"/>
                </a:cxn>
                <a:cxn ang="0">
                  <a:pos x="connsiteX8286" y="connsiteY8286"/>
                </a:cxn>
                <a:cxn ang="0">
                  <a:pos x="connsiteX8287" y="connsiteY8287"/>
                </a:cxn>
                <a:cxn ang="0">
                  <a:pos x="connsiteX8288" y="connsiteY8288"/>
                </a:cxn>
                <a:cxn ang="0">
                  <a:pos x="connsiteX8289" y="connsiteY8289"/>
                </a:cxn>
                <a:cxn ang="0">
                  <a:pos x="connsiteX8290" y="connsiteY8290"/>
                </a:cxn>
                <a:cxn ang="0">
                  <a:pos x="connsiteX8291" y="connsiteY8291"/>
                </a:cxn>
                <a:cxn ang="0">
                  <a:pos x="connsiteX8292" y="connsiteY8292"/>
                </a:cxn>
                <a:cxn ang="0">
                  <a:pos x="connsiteX8293" y="connsiteY8293"/>
                </a:cxn>
                <a:cxn ang="0">
                  <a:pos x="connsiteX8294" y="connsiteY8294"/>
                </a:cxn>
                <a:cxn ang="0">
                  <a:pos x="connsiteX8295" y="connsiteY8295"/>
                </a:cxn>
                <a:cxn ang="0">
                  <a:pos x="connsiteX8296" y="connsiteY8296"/>
                </a:cxn>
                <a:cxn ang="0">
                  <a:pos x="connsiteX8297" y="connsiteY8297"/>
                </a:cxn>
                <a:cxn ang="0">
                  <a:pos x="connsiteX8298" y="connsiteY8298"/>
                </a:cxn>
                <a:cxn ang="0">
                  <a:pos x="connsiteX8299" y="connsiteY8299"/>
                </a:cxn>
                <a:cxn ang="0">
                  <a:pos x="connsiteX8300" y="connsiteY8300"/>
                </a:cxn>
                <a:cxn ang="0">
                  <a:pos x="connsiteX8301" y="connsiteY8301"/>
                </a:cxn>
                <a:cxn ang="0">
                  <a:pos x="connsiteX8302" y="connsiteY8302"/>
                </a:cxn>
                <a:cxn ang="0">
                  <a:pos x="connsiteX8303" y="connsiteY8303"/>
                </a:cxn>
                <a:cxn ang="0">
                  <a:pos x="connsiteX8304" y="connsiteY8304"/>
                </a:cxn>
                <a:cxn ang="0">
                  <a:pos x="connsiteX8305" y="connsiteY8305"/>
                </a:cxn>
                <a:cxn ang="0">
                  <a:pos x="connsiteX8306" y="connsiteY8306"/>
                </a:cxn>
                <a:cxn ang="0">
                  <a:pos x="connsiteX8307" y="connsiteY8307"/>
                </a:cxn>
                <a:cxn ang="0">
                  <a:pos x="connsiteX8308" y="connsiteY8308"/>
                </a:cxn>
                <a:cxn ang="0">
                  <a:pos x="connsiteX8309" y="connsiteY8309"/>
                </a:cxn>
                <a:cxn ang="0">
                  <a:pos x="connsiteX8310" y="connsiteY8310"/>
                </a:cxn>
                <a:cxn ang="0">
                  <a:pos x="connsiteX8311" y="connsiteY8311"/>
                </a:cxn>
                <a:cxn ang="0">
                  <a:pos x="connsiteX8312" y="connsiteY8312"/>
                </a:cxn>
                <a:cxn ang="0">
                  <a:pos x="connsiteX8313" y="connsiteY8313"/>
                </a:cxn>
                <a:cxn ang="0">
                  <a:pos x="connsiteX8314" y="connsiteY8314"/>
                </a:cxn>
                <a:cxn ang="0">
                  <a:pos x="connsiteX8315" y="connsiteY8315"/>
                </a:cxn>
                <a:cxn ang="0">
                  <a:pos x="connsiteX8316" y="connsiteY8316"/>
                </a:cxn>
                <a:cxn ang="0">
                  <a:pos x="connsiteX8317" y="connsiteY8317"/>
                </a:cxn>
                <a:cxn ang="0">
                  <a:pos x="connsiteX8318" y="connsiteY8318"/>
                </a:cxn>
                <a:cxn ang="0">
                  <a:pos x="connsiteX8319" y="connsiteY8319"/>
                </a:cxn>
                <a:cxn ang="0">
                  <a:pos x="connsiteX8320" y="connsiteY8320"/>
                </a:cxn>
                <a:cxn ang="0">
                  <a:pos x="connsiteX8321" y="connsiteY8321"/>
                </a:cxn>
                <a:cxn ang="0">
                  <a:pos x="connsiteX8322" y="connsiteY8322"/>
                </a:cxn>
                <a:cxn ang="0">
                  <a:pos x="connsiteX8323" y="connsiteY8323"/>
                </a:cxn>
                <a:cxn ang="0">
                  <a:pos x="connsiteX8324" y="connsiteY8324"/>
                </a:cxn>
                <a:cxn ang="0">
                  <a:pos x="connsiteX8325" y="connsiteY8325"/>
                </a:cxn>
                <a:cxn ang="0">
                  <a:pos x="connsiteX8326" y="connsiteY8326"/>
                </a:cxn>
                <a:cxn ang="0">
                  <a:pos x="connsiteX8327" y="connsiteY8327"/>
                </a:cxn>
                <a:cxn ang="0">
                  <a:pos x="connsiteX8328" y="connsiteY8328"/>
                </a:cxn>
                <a:cxn ang="0">
                  <a:pos x="connsiteX8329" y="connsiteY8329"/>
                </a:cxn>
                <a:cxn ang="0">
                  <a:pos x="connsiteX8330" y="connsiteY8330"/>
                </a:cxn>
                <a:cxn ang="0">
                  <a:pos x="connsiteX8331" y="connsiteY8331"/>
                </a:cxn>
                <a:cxn ang="0">
                  <a:pos x="connsiteX8332" y="connsiteY8332"/>
                </a:cxn>
                <a:cxn ang="0">
                  <a:pos x="connsiteX8333" y="connsiteY8333"/>
                </a:cxn>
                <a:cxn ang="0">
                  <a:pos x="connsiteX8334" y="connsiteY8334"/>
                </a:cxn>
                <a:cxn ang="0">
                  <a:pos x="connsiteX8335" y="connsiteY8335"/>
                </a:cxn>
                <a:cxn ang="0">
                  <a:pos x="connsiteX8336" y="connsiteY8336"/>
                </a:cxn>
                <a:cxn ang="0">
                  <a:pos x="connsiteX8337" y="connsiteY8337"/>
                </a:cxn>
                <a:cxn ang="0">
                  <a:pos x="connsiteX8338" y="connsiteY8338"/>
                </a:cxn>
                <a:cxn ang="0">
                  <a:pos x="connsiteX8339" y="connsiteY8339"/>
                </a:cxn>
                <a:cxn ang="0">
                  <a:pos x="connsiteX8340" y="connsiteY8340"/>
                </a:cxn>
                <a:cxn ang="0">
                  <a:pos x="connsiteX8341" y="connsiteY8341"/>
                </a:cxn>
                <a:cxn ang="0">
                  <a:pos x="connsiteX8342" y="connsiteY8342"/>
                </a:cxn>
                <a:cxn ang="0">
                  <a:pos x="connsiteX8343" y="connsiteY8343"/>
                </a:cxn>
                <a:cxn ang="0">
                  <a:pos x="connsiteX8344" y="connsiteY8344"/>
                </a:cxn>
                <a:cxn ang="0">
                  <a:pos x="connsiteX8345" y="connsiteY8345"/>
                </a:cxn>
                <a:cxn ang="0">
                  <a:pos x="connsiteX8346" y="connsiteY8346"/>
                </a:cxn>
                <a:cxn ang="0">
                  <a:pos x="connsiteX8347" y="connsiteY8347"/>
                </a:cxn>
                <a:cxn ang="0">
                  <a:pos x="connsiteX8348" y="connsiteY8348"/>
                </a:cxn>
                <a:cxn ang="0">
                  <a:pos x="connsiteX8349" y="connsiteY8349"/>
                </a:cxn>
                <a:cxn ang="0">
                  <a:pos x="connsiteX8350" y="connsiteY8350"/>
                </a:cxn>
                <a:cxn ang="0">
                  <a:pos x="connsiteX8351" y="connsiteY8351"/>
                </a:cxn>
                <a:cxn ang="0">
                  <a:pos x="connsiteX8352" y="connsiteY8352"/>
                </a:cxn>
                <a:cxn ang="0">
                  <a:pos x="connsiteX8353" y="connsiteY8353"/>
                </a:cxn>
                <a:cxn ang="0">
                  <a:pos x="connsiteX8354" y="connsiteY8354"/>
                </a:cxn>
                <a:cxn ang="0">
                  <a:pos x="connsiteX8355" y="connsiteY8355"/>
                </a:cxn>
                <a:cxn ang="0">
                  <a:pos x="connsiteX8356" y="connsiteY8356"/>
                </a:cxn>
                <a:cxn ang="0">
                  <a:pos x="connsiteX8357" y="connsiteY8357"/>
                </a:cxn>
                <a:cxn ang="0">
                  <a:pos x="connsiteX8358" y="connsiteY8358"/>
                </a:cxn>
                <a:cxn ang="0">
                  <a:pos x="connsiteX8359" y="connsiteY8359"/>
                </a:cxn>
                <a:cxn ang="0">
                  <a:pos x="connsiteX8360" y="connsiteY8360"/>
                </a:cxn>
                <a:cxn ang="0">
                  <a:pos x="connsiteX8361" y="connsiteY8361"/>
                </a:cxn>
                <a:cxn ang="0">
                  <a:pos x="connsiteX8362" y="connsiteY8362"/>
                </a:cxn>
                <a:cxn ang="0">
                  <a:pos x="connsiteX8363" y="connsiteY8363"/>
                </a:cxn>
                <a:cxn ang="0">
                  <a:pos x="connsiteX8364" y="connsiteY8364"/>
                </a:cxn>
                <a:cxn ang="0">
                  <a:pos x="connsiteX8365" y="connsiteY8365"/>
                </a:cxn>
                <a:cxn ang="0">
                  <a:pos x="connsiteX8366" y="connsiteY8366"/>
                </a:cxn>
                <a:cxn ang="0">
                  <a:pos x="connsiteX8367" y="connsiteY8367"/>
                </a:cxn>
                <a:cxn ang="0">
                  <a:pos x="connsiteX8368" y="connsiteY8368"/>
                </a:cxn>
                <a:cxn ang="0">
                  <a:pos x="connsiteX8369" y="connsiteY8369"/>
                </a:cxn>
                <a:cxn ang="0">
                  <a:pos x="connsiteX8370" y="connsiteY8370"/>
                </a:cxn>
                <a:cxn ang="0">
                  <a:pos x="connsiteX8371" y="connsiteY8371"/>
                </a:cxn>
                <a:cxn ang="0">
                  <a:pos x="connsiteX8372" y="connsiteY8372"/>
                </a:cxn>
                <a:cxn ang="0">
                  <a:pos x="connsiteX8373" y="connsiteY8373"/>
                </a:cxn>
                <a:cxn ang="0">
                  <a:pos x="connsiteX8374" y="connsiteY8374"/>
                </a:cxn>
                <a:cxn ang="0">
                  <a:pos x="connsiteX8375" y="connsiteY8375"/>
                </a:cxn>
                <a:cxn ang="0">
                  <a:pos x="connsiteX8376" y="connsiteY8376"/>
                </a:cxn>
                <a:cxn ang="0">
                  <a:pos x="connsiteX8377" y="connsiteY8377"/>
                </a:cxn>
                <a:cxn ang="0">
                  <a:pos x="connsiteX8378" y="connsiteY8378"/>
                </a:cxn>
                <a:cxn ang="0">
                  <a:pos x="connsiteX8379" y="connsiteY8379"/>
                </a:cxn>
                <a:cxn ang="0">
                  <a:pos x="connsiteX8380" y="connsiteY8380"/>
                </a:cxn>
                <a:cxn ang="0">
                  <a:pos x="connsiteX8381" y="connsiteY8381"/>
                </a:cxn>
                <a:cxn ang="0">
                  <a:pos x="connsiteX8382" y="connsiteY8382"/>
                </a:cxn>
                <a:cxn ang="0">
                  <a:pos x="connsiteX8383" y="connsiteY8383"/>
                </a:cxn>
                <a:cxn ang="0">
                  <a:pos x="connsiteX8384" y="connsiteY8384"/>
                </a:cxn>
                <a:cxn ang="0">
                  <a:pos x="connsiteX8385" y="connsiteY8385"/>
                </a:cxn>
                <a:cxn ang="0">
                  <a:pos x="connsiteX8386" y="connsiteY8386"/>
                </a:cxn>
                <a:cxn ang="0">
                  <a:pos x="connsiteX8387" y="connsiteY8387"/>
                </a:cxn>
                <a:cxn ang="0">
                  <a:pos x="connsiteX8388" y="connsiteY8388"/>
                </a:cxn>
                <a:cxn ang="0">
                  <a:pos x="connsiteX8389" y="connsiteY8389"/>
                </a:cxn>
                <a:cxn ang="0">
                  <a:pos x="connsiteX8390" y="connsiteY8390"/>
                </a:cxn>
                <a:cxn ang="0">
                  <a:pos x="connsiteX8391" y="connsiteY8391"/>
                </a:cxn>
                <a:cxn ang="0">
                  <a:pos x="connsiteX8392" y="connsiteY8392"/>
                </a:cxn>
                <a:cxn ang="0">
                  <a:pos x="connsiteX8393" y="connsiteY8393"/>
                </a:cxn>
                <a:cxn ang="0">
                  <a:pos x="connsiteX8394" y="connsiteY8394"/>
                </a:cxn>
                <a:cxn ang="0">
                  <a:pos x="connsiteX8395" y="connsiteY8395"/>
                </a:cxn>
                <a:cxn ang="0">
                  <a:pos x="connsiteX8396" y="connsiteY8396"/>
                </a:cxn>
                <a:cxn ang="0">
                  <a:pos x="connsiteX8397" y="connsiteY8397"/>
                </a:cxn>
                <a:cxn ang="0">
                  <a:pos x="connsiteX8398" y="connsiteY8398"/>
                </a:cxn>
                <a:cxn ang="0">
                  <a:pos x="connsiteX8399" y="connsiteY8399"/>
                </a:cxn>
                <a:cxn ang="0">
                  <a:pos x="connsiteX8400" y="connsiteY8400"/>
                </a:cxn>
                <a:cxn ang="0">
                  <a:pos x="connsiteX8401" y="connsiteY8401"/>
                </a:cxn>
                <a:cxn ang="0">
                  <a:pos x="connsiteX8402" y="connsiteY8402"/>
                </a:cxn>
                <a:cxn ang="0">
                  <a:pos x="connsiteX8403" y="connsiteY8403"/>
                </a:cxn>
                <a:cxn ang="0">
                  <a:pos x="connsiteX8404" y="connsiteY8404"/>
                </a:cxn>
                <a:cxn ang="0">
                  <a:pos x="connsiteX8405" y="connsiteY8405"/>
                </a:cxn>
                <a:cxn ang="0">
                  <a:pos x="connsiteX8406" y="connsiteY8406"/>
                </a:cxn>
                <a:cxn ang="0">
                  <a:pos x="connsiteX8407" y="connsiteY8407"/>
                </a:cxn>
                <a:cxn ang="0">
                  <a:pos x="connsiteX8408" y="connsiteY8408"/>
                </a:cxn>
                <a:cxn ang="0">
                  <a:pos x="connsiteX8409" y="connsiteY8409"/>
                </a:cxn>
                <a:cxn ang="0">
                  <a:pos x="connsiteX8410" y="connsiteY8410"/>
                </a:cxn>
                <a:cxn ang="0">
                  <a:pos x="connsiteX8411" y="connsiteY8411"/>
                </a:cxn>
                <a:cxn ang="0">
                  <a:pos x="connsiteX8412" y="connsiteY8412"/>
                </a:cxn>
                <a:cxn ang="0">
                  <a:pos x="connsiteX8413" y="connsiteY8413"/>
                </a:cxn>
                <a:cxn ang="0">
                  <a:pos x="connsiteX8414" y="connsiteY8414"/>
                </a:cxn>
                <a:cxn ang="0">
                  <a:pos x="connsiteX8415" y="connsiteY8415"/>
                </a:cxn>
                <a:cxn ang="0">
                  <a:pos x="connsiteX8416" y="connsiteY8416"/>
                </a:cxn>
                <a:cxn ang="0">
                  <a:pos x="connsiteX8417" y="connsiteY8417"/>
                </a:cxn>
                <a:cxn ang="0">
                  <a:pos x="connsiteX8418" y="connsiteY8418"/>
                </a:cxn>
                <a:cxn ang="0">
                  <a:pos x="connsiteX8419" y="connsiteY8419"/>
                </a:cxn>
                <a:cxn ang="0">
                  <a:pos x="connsiteX8420" y="connsiteY8420"/>
                </a:cxn>
                <a:cxn ang="0">
                  <a:pos x="connsiteX8421" y="connsiteY8421"/>
                </a:cxn>
                <a:cxn ang="0">
                  <a:pos x="connsiteX8422" y="connsiteY8422"/>
                </a:cxn>
                <a:cxn ang="0">
                  <a:pos x="connsiteX8423" y="connsiteY8423"/>
                </a:cxn>
                <a:cxn ang="0">
                  <a:pos x="connsiteX8424" y="connsiteY8424"/>
                </a:cxn>
                <a:cxn ang="0">
                  <a:pos x="connsiteX8425" y="connsiteY8425"/>
                </a:cxn>
                <a:cxn ang="0">
                  <a:pos x="connsiteX8426" y="connsiteY8426"/>
                </a:cxn>
                <a:cxn ang="0">
                  <a:pos x="connsiteX8427" y="connsiteY8427"/>
                </a:cxn>
                <a:cxn ang="0">
                  <a:pos x="connsiteX8428" y="connsiteY8428"/>
                </a:cxn>
                <a:cxn ang="0">
                  <a:pos x="connsiteX8429" y="connsiteY8429"/>
                </a:cxn>
                <a:cxn ang="0">
                  <a:pos x="connsiteX8430" y="connsiteY8430"/>
                </a:cxn>
                <a:cxn ang="0">
                  <a:pos x="connsiteX8431" y="connsiteY8431"/>
                </a:cxn>
                <a:cxn ang="0">
                  <a:pos x="connsiteX8432" y="connsiteY8432"/>
                </a:cxn>
                <a:cxn ang="0">
                  <a:pos x="connsiteX8433" y="connsiteY8433"/>
                </a:cxn>
                <a:cxn ang="0">
                  <a:pos x="connsiteX8434" y="connsiteY8434"/>
                </a:cxn>
                <a:cxn ang="0">
                  <a:pos x="connsiteX8435" y="connsiteY8435"/>
                </a:cxn>
                <a:cxn ang="0">
                  <a:pos x="connsiteX8436" y="connsiteY8436"/>
                </a:cxn>
                <a:cxn ang="0">
                  <a:pos x="connsiteX8437" y="connsiteY8437"/>
                </a:cxn>
                <a:cxn ang="0">
                  <a:pos x="connsiteX8438" y="connsiteY8438"/>
                </a:cxn>
                <a:cxn ang="0">
                  <a:pos x="connsiteX8439" y="connsiteY8439"/>
                </a:cxn>
                <a:cxn ang="0">
                  <a:pos x="connsiteX8440" y="connsiteY8440"/>
                </a:cxn>
                <a:cxn ang="0">
                  <a:pos x="connsiteX8441" y="connsiteY8441"/>
                </a:cxn>
                <a:cxn ang="0">
                  <a:pos x="connsiteX8442" y="connsiteY8442"/>
                </a:cxn>
                <a:cxn ang="0">
                  <a:pos x="connsiteX8443" y="connsiteY8443"/>
                </a:cxn>
                <a:cxn ang="0">
                  <a:pos x="connsiteX8444" y="connsiteY8444"/>
                </a:cxn>
                <a:cxn ang="0">
                  <a:pos x="connsiteX8445" y="connsiteY8445"/>
                </a:cxn>
                <a:cxn ang="0">
                  <a:pos x="connsiteX8446" y="connsiteY8446"/>
                </a:cxn>
                <a:cxn ang="0">
                  <a:pos x="connsiteX8447" y="connsiteY8447"/>
                </a:cxn>
                <a:cxn ang="0">
                  <a:pos x="connsiteX8448" y="connsiteY8448"/>
                </a:cxn>
                <a:cxn ang="0">
                  <a:pos x="connsiteX8449" y="connsiteY8449"/>
                </a:cxn>
                <a:cxn ang="0">
                  <a:pos x="connsiteX8450" y="connsiteY8450"/>
                </a:cxn>
                <a:cxn ang="0">
                  <a:pos x="connsiteX8451" y="connsiteY8451"/>
                </a:cxn>
                <a:cxn ang="0">
                  <a:pos x="connsiteX8452" y="connsiteY8452"/>
                </a:cxn>
                <a:cxn ang="0">
                  <a:pos x="connsiteX8453" y="connsiteY8453"/>
                </a:cxn>
                <a:cxn ang="0">
                  <a:pos x="connsiteX8454" y="connsiteY8454"/>
                </a:cxn>
                <a:cxn ang="0">
                  <a:pos x="connsiteX8455" y="connsiteY8455"/>
                </a:cxn>
                <a:cxn ang="0">
                  <a:pos x="connsiteX8456" y="connsiteY8456"/>
                </a:cxn>
                <a:cxn ang="0">
                  <a:pos x="connsiteX8457" y="connsiteY8457"/>
                </a:cxn>
                <a:cxn ang="0">
                  <a:pos x="connsiteX8458" y="connsiteY8458"/>
                </a:cxn>
                <a:cxn ang="0">
                  <a:pos x="connsiteX8459" y="connsiteY8459"/>
                </a:cxn>
                <a:cxn ang="0">
                  <a:pos x="connsiteX8460" y="connsiteY8460"/>
                </a:cxn>
                <a:cxn ang="0">
                  <a:pos x="connsiteX8461" y="connsiteY8461"/>
                </a:cxn>
                <a:cxn ang="0">
                  <a:pos x="connsiteX8462" y="connsiteY8462"/>
                </a:cxn>
                <a:cxn ang="0">
                  <a:pos x="connsiteX8463" y="connsiteY8463"/>
                </a:cxn>
                <a:cxn ang="0">
                  <a:pos x="connsiteX8464" y="connsiteY8464"/>
                </a:cxn>
                <a:cxn ang="0">
                  <a:pos x="connsiteX8465" y="connsiteY8465"/>
                </a:cxn>
                <a:cxn ang="0">
                  <a:pos x="connsiteX8466" y="connsiteY8466"/>
                </a:cxn>
                <a:cxn ang="0">
                  <a:pos x="connsiteX8467" y="connsiteY8467"/>
                </a:cxn>
                <a:cxn ang="0">
                  <a:pos x="connsiteX8468" y="connsiteY8468"/>
                </a:cxn>
                <a:cxn ang="0">
                  <a:pos x="connsiteX8469" y="connsiteY8469"/>
                </a:cxn>
                <a:cxn ang="0">
                  <a:pos x="connsiteX8470" y="connsiteY8470"/>
                </a:cxn>
                <a:cxn ang="0">
                  <a:pos x="connsiteX8471" y="connsiteY8471"/>
                </a:cxn>
                <a:cxn ang="0">
                  <a:pos x="connsiteX8472" y="connsiteY8472"/>
                </a:cxn>
                <a:cxn ang="0">
                  <a:pos x="connsiteX8473" y="connsiteY8473"/>
                </a:cxn>
                <a:cxn ang="0">
                  <a:pos x="connsiteX8474" y="connsiteY8474"/>
                </a:cxn>
                <a:cxn ang="0">
                  <a:pos x="connsiteX8475" y="connsiteY8475"/>
                </a:cxn>
                <a:cxn ang="0">
                  <a:pos x="connsiteX8476" y="connsiteY8476"/>
                </a:cxn>
                <a:cxn ang="0">
                  <a:pos x="connsiteX8477" y="connsiteY8477"/>
                </a:cxn>
                <a:cxn ang="0">
                  <a:pos x="connsiteX8478" y="connsiteY8478"/>
                </a:cxn>
                <a:cxn ang="0">
                  <a:pos x="connsiteX8479" y="connsiteY8479"/>
                </a:cxn>
                <a:cxn ang="0">
                  <a:pos x="connsiteX8480" y="connsiteY8480"/>
                </a:cxn>
                <a:cxn ang="0">
                  <a:pos x="connsiteX8481" y="connsiteY8481"/>
                </a:cxn>
                <a:cxn ang="0">
                  <a:pos x="connsiteX8482" y="connsiteY8482"/>
                </a:cxn>
                <a:cxn ang="0">
                  <a:pos x="connsiteX8483" y="connsiteY8483"/>
                </a:cxn>
                <a:cxn ang="0">
                  <a:pos x="connsiteX8484" y="connsiteY8484"/>
                </a:cxn>
                <a:cxn ang="0">
                  <a:pos x="connsiteX8485" y="connsiteY8485"/>
                </a:cxn>
                <a:cxn ang="0">
                  <a:pos x="connsiteX8486" y="connsiteY8486"/>
                </a:cxn>
                <a:cxn ang="0">
                  <a:pos x="connsiteX8487" y="connsiteY8487"/>
                </a:cxn>
                <a:cxn ang="0">
                  <a:pos x="connsiteX8488" y="connsiteY8488"/>
                </a:cxn>
                <a:cxn ang="0">
                  <a:pos x="connsiteX8489" y="connsiteY8489"/>
                </a:cxn>
                <a:cxn ang="0">
                  <a:pos x="connsiteX8490" y="connsiteY8490"/>
                </a:cxn>
                <a:cxn ang="0">
                  <a:pos x="connsiteX8491" y="connsiteY8491"/>
                </a:cxn>
                <a:cxn ang="0">
                  <a:pos x="connsiteX8492" y="connsiteY8492"/>
                </a:cxn>
                <a:cxn ang="0">
                  <a:pos x="connsiteX8493" y="connsiteY8493"/>
                </a:cxn>
                <a:cxn ang="0">
                  <a:pos x="connsiteX8494" y="connsiteY8494"/>
                </a:cxn>
                <a:cxn ang="0">
                  <a:pos x="connsiteX8495" y="connsiteY8495"/>
                </a:cxn>
                <a:cxn ang="0">
                  <a:pos x="connsiteX8496" y="connsiteY8496"/>
                </a:cxn>
                <a:cxn ang="0">
                  <a:pos x="connsiteX8497" y="connsiteY8497"/>
                </a:cxn>
                <a:cxn ang="0">
                  <a:pos x="connsiteX8498" y="connsiteY8498"/>
                </a:cxn>
                <a:cxn ang="0">
                  <a:pos x="connsiteX8499" y="connsiteY8499"/>
                </a:cxn>
                <a:cxn ang="0">
                  <a:pos x="connsiteX8500" y="connsiteY8500"/>
                </a:cxn>
                <a:cxn ang="0">
                  <a:pos x="connsiteX8501" y="connsiteY8501"/>
                </a:cxn>
                <a:cxn ang="0">
                  <a:pos x="connsiteX8502" y="connsiteY8502"/>
                </a:cxn>
                <a:cxn ang="0">
                  <a:pos x="connsiteX8503" y="connsiteY8503"/>
                </a:cxn>
                <a:cxn ang="0">
                  <a:pos x="connsiteX8504" y="connsiteY8504"/>
                </a:cxn>
                <a:cxn ang="0">
                  <a:pos x="connsiteX8505" y="connsiteY8505"/>
                </a:cxn>
                <a:cxn ang="0">
                  <a:pos x="connsiteX8506" y="connsiteY8506"/>
                </a:cxn>
                <a:cxn ang="0">
                  <a:pos x="connsiteX8507" y="connsiteY8507"/>
                </a:cxn>
                <a:cxn ang="0">
                  <a:pos x="connsiteX8508" y="connsiteY8508"/>
                </a:cxn>
                <a:cxn ang="0">
                  <a:pos x="connsiteX8509" y="connsiteY8509"/>
                </a:cxn>
                <a:cxn ang="0">
                  <a:pos x="connsiteX8510" y="connsiteY8510"/>
                </a:cxn>
                <a:cxn ang="0">
                  <a:pos x="connsiteX8511" y="connsiteY8511"/>
                </a:cxn>
                <a:cxn ang="0">
                  <a:pos x="connsiteX8512" y="connsiteY8512"/>
                </a:cxn>
                <a:cxn ang="0">
                  <a:pos x="connsiteX8513" y="connsiteY8513"/>
                </a:cxn>
                <a:cxn ang="0">
                  <a:pos x="connsiteX8514" y="connsiteY8514"/>
                </a:cxn>
                <a:cxn ang="0">
                  <a:pos x="connsiteX8515" y="connsiteY8515"/>
                </a:cxn>
                <a:cxn ang="0">
                  <a:pos x="connsiteX8516" y="connsiteY8516"/>
                </a:cxn>
                <a:cxn ang="0">
                  <a:pos x="connsiteX8517" y="connsiteY8517"/>
                </a:cxn>
                <a:cxn ang="0">
                  <a:pos x="connsiteX8518" y="connsiteY8518"/>
                </a:cxn>
                <a:cxn ang="0">
                  <a:pos x="connsiteX8519" y="connsiteY8519"/>
                </a:cxn>
                <a:cxn ang="0">
                  <a:pos x="connsiteX8520" y="connsiteY8520"/>
                </a:cxn>
                <a:cxn ang="0">
                  <a:pos x="connsiteX8521" y="connsiteY8521"/>
                </a:cxn>
                <a:cxn ang="0">
                  <a:pos x="connsiteX8522" y="connsiteY8522"/>
                </a:cxn>
                <a:cxn ang="0">
                  <a:pos x="connsiteX8523" y="connsiteY8523"/>
                </a:cxn>
                <a:cxn ang="0">
                  <a:pos x="connsiteX8524" y="connsiteY8524"/>
                </a:cxn>
                <a:cxn ang="0">
                  <a:pos x="connsiteX8525" y="connsiteY8525"/>
                </a:cxn>
                <a:cxn ang="0">
                  <a:pos x="connsiteX8526" y="connsiteY8526"/>
                </a:cxn>
                <a:cxn ang="0">
                  <a:pos x="connsiteX8527" y="connsiteY8527"/>
                </a:cxn>
                <a:cxn ang="0">
                  <a:pos x="connsiteX8528" y="connsiteY8528"/>
                </a:cxn>
                <a:cxn ang="0">
                  <a:pos x="connsiteX8529" y="connsiteY8529"/>
                </a:cxn>
                <a:cxn ang="0">
                  <a:pos x="connsiteX8530" y="connsiteY8530"/>
                </a:cxn>
                <a:cxn ang="0">
                  <a:pos x="connsiteX8531" y="connsiteY8531"/>
                </a:cxn>
                <a:cxn ang="0">
                  <a:pos x="connsiteX8532" y="connsiteY8532"/>
                </a:cxn>
                <a:cxn ang="0">
                  <a:pos x="connsiteX8533" y="connsiteY8533"/>
                </a:cxn>
                <a:cxn ang="0">
                  <a:pos x="connsiteX8534" y="connsiteY8534"/>
                </a:cxn>
                <a:cxn ang="0">
                  <a:pos x="connsiteX8535" y="connsiteY8535"/>
                </a:cxn>
                <a:cxn ang="0">
                  <a:pos x="connsiteX8536" y="connsiteY8536"/>
                </a:cxn>
                <a:cxn ang="0">
                  <a:pos x="connsiteX8537" y="connsiteY8537"/>
                </a:cxn>
                <a:cxn ang="0">
                  <a:pos x="connsiteX8538" y="connsiteY8538"/>
                </a:cxn>
                <a:cxn ang="0">
                  <a:pos x="connsiteX8539" y="connsiteY8539"/>
                </a:cxn>
                <a:cxn ang="0">
                  <a:pos x="connsiteX8540" y="connsiteY8540"/>
                </a:cxn>
                <a:cxn ang="0">
                  <a:pos x="connsiteX8541" y="connsiteY8541"/>
                </a:cxn>
                <a:cxn ang="0">
                  <a:pos x="connsiteX8542" y="connsiteY8542"/>
                </a:cxn>
                <a:cxn ang="0">
                  <a:pos x="connsiteX8543" y="connsiteY8543"/>
                </a:cxn>
                <a:cxn ang="0">
                  <a:pos x="connsiteX8544" y="connsiteY8544"/>
                </a:cxn>
                <a:cxn ang="0">
                  <a:pos x="connsiteX8545" y="connsiteY8545"/>
                </a:cxn>
                <a:cxn ang="0">
                  <a:pos x="connsiteX8546" y="connsiteY8546"/>
                </a:cxn>
                <a:cxn ang="0">
                  <a:pos x="connsiteX8547" y="connsiteY8547"/>
                </a:cxn>
                <a:cxn ang="0">
                  <a:pos x="connsiteX8548" y="connsiteY8548"/>
                </a:cxn>
                <a:cxn ang="0">
                  <a:pos x="connsiteX8549" y="connsiteY8549"/>
                </a:cxn>
                <a:cxn ang="0">
                  <a:pos x="connsiteX8550" y="connsiteY8550"/>
                </a:cxn>
                <a:cxn ang="0">
                  <a:pos x="connsiteX8551" y="connsiteY8551"/>
                </a:cxn>
                <a:cxn ang="0">
                  <a:pos x="connsiteX8552" y="connsiteY8552"/>
                </a:cxn>
                <a:cxn ang="0">
                  <a:pos x="connsiteX8553" y="connsiteY8553"/>
                </a:cxn>
                <a:cxn ang="0">
                  <a:pos x="connsiteX8554" y="connsiteY8554"/>
                </a:cxn>
                <a:cxn ang="0">
                  <a:pos x="connsiteX8555" y="connsiteY8555"/>
                </a:cxn>
                <a:cxn ang="0">
                  <a:pos x="connsiteX8556" y="connsiteY8556"/>
                </a:cxn>
                <a:cxn ang="0">
                  <a:pos x="connsiteX8557" y="connsiteY8557"/>
                </a:cxn>
                <a:cxn ang="0">
                  <a:pos x="connsiteX8558" y="connsiteY8558"/>
                </a:cxn>
                <a:cxn ang="0">
                  <a:pos x="connsiteX8559" y="connsiteY8559"/>
                </a:cxn>
                <a:cxn ang="0">
                  <a:pos x="connsiteX8560" y="connsiteY8560"/>
                </a:cxn>
                <a:cxn ang="0">
                  <a:pos x="connsiteX8561" y="connsiteY8561"/>
                </a:cxn>
                <a:cxn ang="0">
                  <a:pos x="connsiteX8562" y="connsiteY8562"/>
                </a:cxn>
                <a:cxn ang="0">
                  <a:pos x="connsiteX8563" y="connsiteY8563"/>
                </a:cxn>
                <a:cxn ang="0">
                  <a:pos x="connsiteX8564" y="connsiteY8564"/>
                </a:cxn>
                <a:cxn ang="0">
                  <a:pos x="connsiteX8565" y="connsiteY8565"/>
                </a:cxn>
                <a:cxn ang="0">
                  <a:pos x="connsiteX8566" y="connsiteY8566"/>
                </a:cxn>
                <a:cxn ang="0">
                  <a:pos x="connsiteX8567" y="connsiteY8567"/>
                </a:cxn>
                <a:cxn ang="0">
                  <a:pos x="connsiteX8568" y="connsiteY8568"/>
                </a:cxn>
                <a:cxn ang="0">
                  <a:pos x="connsiteX8569" y="connsiteY8569"/>
                </a:cxn>
                <a:cxn ang="0">
                  <a:pos x="connsiteX8570" y="connsiteY8570"/>
                </a:cxn>
                <a:cxn ang="0">
                  <a:pos x="connsiteX8571" y="connsiteY8571"/>
                </a:cxn>
                <a:cxn ang="0">
                  <a:pos x="connsiteX8572" y="connsiteY8572"/>
                </a:cxn>
                <a:cxn ang="0">
                  <a:pos x="connsiteX8573" y="connsiteY8573"/>
                </a:cxn>
                <a:cxn ang="0">
                  <a:pos x="connsiteX8574" y="connsiteY8574"/>
                </a:cxn>
                <a:cxn ang="0">
                  <a:pos x="connsiteX8575" y="connsiteY8575"/>
                </a:cxn>
                <a:cxn ang="0">
                  <a:pos x="connsiteX8576" y="connsiteY8576"/>
                </a:cxn>
                <a:cxn ang="0">
                  <a:pos x="connsiteX8577" y="connsiteY8577"/>
                </a:cxn>
                <a:cxn ang="0">
                  <a:pos x="connsiteX8578" y="connsiteY8578"/>
                </a:cxn>
                <a:cxn ang="0">
                  <a:pos x="connsiteX8579" y="connsiteY8579"/>
                </a:cxn>
                <a:cxn ang="0">
                  <a:pos x="connsiteX8580" y="connsiteY8580"/>
                </a:cxn>
                <a:cxn ang="0">
                  <a:pos x="connsiteX8581" y="connsiteY8581"/>
                </a:cxn>
                <a:cxn ang="0">
                  <a:pos x="connsiteX8582" y="connsiteY8582"/>
                </a:cxn>
                <a:cxn ang="0">
                  <a:pos x="connsiteX8583" y="connsiteY8583"/>
                </a:cxn>
                <a:cxn ang="0">
                  <a:pos x="connsiteX8584" y="connsiteY8584"/>
                </a:cxn>
                <a:cxn ang="0">
                  <a:pos x="connsiteX8585" y="connsiteY8585"/>
                </a:cxn>
                <a:cxn ang="0">
                  <a:pos x="connsiteX8586" y="connsiteY8586"/>
                </a:cxn>
                <a:cxn ang="0">
                  <a:pos x="connsiteX8587" y="connsiteY8587"/>
                </a:cxn>
                <a:cxn ang="0">
                  <a:pos x="connsiteX8588" y="connsiteY8588"/>
                </a:cxn>
                <a:cxn ang="0">
                  <a:pos x="connsiteX8589" y="connsiteY8589"/>
                </a:cxn>
                <a:cxn ang="0">
                  <a:pos x="connsiteX8590" y="connsiteY8590"/>
                </a:cxn>
                <a:cxn ang="0">
                  <a:pos x="connsiteX8591" y="connsiteY8591"/>
                </a:cxn>
                <a:cxn ang="0">
                  <a:pos x="connsiteX8592" y="connsiteY8592"/>
                </a:cxn>
                <a:cxn ang="0">
                  <a:pos x="connsiteX8593" y="connsiteY8593"/>
                </a:cxn>
                <a:cxn ang="0">
                  <a:pos x="connsiteX8594" y="connsiteY8594"/>
                </a:cxn>
                <a:cxn ang="0">
                  <a:pos x="connsiteX8595" y="connsiteY8595"/>
                </a:cxn>
                <a:cxn ang="0">
                  <a:pos x="connsiteX8596" y="connsiteY8596"/>
                </a:cxn>
                <a:cxn ang="0">
                  <a:pos x="connsiteX8597" y="connsiteY8597"/>
                </a:cxn>
                <a:cxn ang="0">
                  <a:pos x="connsiteX8598" y="connsiteY8598"/>
                </a:cxn>
                <a:cxn ang="0">
                  <a:pos x="connsiteX8599" y="connsiteY8599"/>
                </a:cxn>
                <a:cxn ang="0">
                  <a:pos x="connsiteX8600" y="connsiteY8600"/>
                </a:cxn>
                <a:cxn ang="0">
                  <a:pos x="connsiteX8601" y="connsiteY8601"/>
                </a:cxn>
                <a:cxn ang="0">
                  <a:pos x="connsiteX8602" y="connsiteY8602"/>
                </a:cxn>
                <a:cxn ang="0">
                  <a:pos x="connsiteX8603" y="connsiteY8603"/>
                </a:cxn>
                <a:cxn ang="0">
                  <a:pos x="connsiteX8604" y="connsiteY8604"/>
                </a:cxn>
                <a:cxn ang="0">
                  <a:pos x="connsiteX8605" y="connsiteY8605"/>
                </a:cxn>
                <a:cxn ang="0">
                  <a:pos x="connsiteX8606" y="connsiteY8606"/>
                </a:cxn>
                <a:cxn ang="0">
                  <a:pos x="connsiteX8607" y="connsiteY8607"/>
                </a:cxn>
                <a:cxn ang="0">
                  <a:pos x="connsiteX8608" y="connsiteY8608"/>
                </a:cxn>
                <a:cxn ang="0">
                  <a:pos x="connsiteX8609" y="connsiteY8609"/>
                </a:cxn>
                <a:cxn ang="0">
                  <a:pos x="connsiteX8610" y="connsiteY8610"/>
                </a:cxn>
                <a:cxn ang="0">
                  <a:pos x="connsiteX8611" y="connsiteY8611"/>
                </a:cxn>
                <a:cxn ang="0">
                  <a:pos x="connsiteX8612" y="connsiteY8612"/>
                </a:cxn>
                <a:cxn ang="0">
                  <a:pos x="connsiteX8613" y="connsiteY8613"/>
                </a:cxn>
                <a:cxn ang="0">
                  <a:pos x="connsiteX8614" y="connsiteY8614"/>
                </a:cxn>
                <a:cxn ang="0">
                  <a:pos x="connsiteX8615" y="connsiteY8615"/>
                </a:cxn>
                <a:cxn ang="0">
                  <a:pos x="connsiteX8616" y="connsiteY8616"/>
                </a:cxn>
                <a:cxn ang="0">
                  <a:pos x="connsiteX8617" y="connsiteY8617"/>
                </a:cxn>
                <a:cxn ang="0">
                  <a:pos x="connsiteX8618" y="connsiteY8618"/>
                </a:cxn>
                <a:cxn ang="0">
                  <a:pos x="connsiteX8619" y="connsiteY8619"/>
                </a:cxn>
                <a:cxn ang="0">
                  <a:pos x="connsiteX8620" y="connsiteY8620"/>
                </a:cxn>
                <a:cxn ang="0">
                  <a:pos x="connsiteX8621" y="connsiteY8621"/>
                </a:cxn>
                <a:cxn ang="0">
                  <a:pos x="connsiteX8622" y="connsiteY8622"/>
                </a:cxn>
                <a:cxn ang="0">
                  <a:pos x="connsiteX8623" y="connsiteY8623"/>
                </a:cxn>
                <a:cxn ang="0">
                  <a:pos x="connsiteX8624" y="connsiteY8624"/>
                </a:cxn>
                <a:cxn ang="0">
                  <a:pos x="connsiteX8625" y="connsiteY8625"/>
                </a:cxn>
                <a:cxn ang="0">
                  <a:pos x="connsiteX8626" y="connsiteY8626"/>
                </a:cxn>
                <a:cxn ang="0">
                  <a:pos x="connsiteX8627" y="connsiteY8627"/>
                </a:cxn>
                <a:cxn ang="0">
                  <a:pos x="connsiteX8628" y="connsiteY8628"/>
                </a:cxn>
                <a:cxn ang="0">
                  <a:pos x="connsiteX8629" y="connsiteY8629"/>
                </a:cxn>
                <a:cxn ang="0">
                  <a:pos x="connsiteX8630" y="connsiteY8630"/>
                </a:cxn>
                <a:cxn ang="0">
                  <a:pos x="connsiteX8631" y="connsiteY8631"/>
                </a:cxn>
                <a:cxn ang="0">
                  <a:pos x="connsiteX8632" y="connsiteY8632"/>
                </a:cxn>
                <a:cxn ang="0">
                  <a:pos x="connsiteX8633" y="connsiteY8633"/>
                </a:cxn>
                <a:cxn ang="0">
                  <a:pos x="connsiteX8634" y="connsiteY8634"/>
                </a:cxn>
                <a:cxn ang="0">
                  <a:pos x="connsiteX8635" y="connsiteY8635"/>
                </a:cxn>
                <a:cxn ang="0">
                  <a:pos x="connsiteX8636" y="connsiteY8636"/>
                </a:cxn>
                <a:cxn ang="0">
                  <a:pos x="connsiteX8637" y="connsiteY8637"/>
                </a:cxn>
                <a:cxn ang="0">
                  <a:pos x="connsiteX8638" y="connsiteY8638"/>
                </a:cxn>
                <a:cxn ang="0">
                  <a:pos x="connsiteX8639" y="connsiteY8639"/>
                </a:cxn>
                <a:cxn ang="0">
                  <a:pos x="connsiteX8640" y="connsiteY8640"/>
                </a:cxn>
                <a:cxn ang="0">
                  <a:pos x="connsiteX8641" y="connsiteY8641"/>
                </a:cxn>
                <a:cxn ang="0">
                  <a:pos x="connsiteX8642" y="connsiteY8642"/>
                </a:cxn>
                <a:cxn ang="0">
                  <a:pos x="connsiteX8643" y="connsiteY8643"/>
                </a:cxn>
                <a:cxn ang="0">
                  <a:pos x="connsiteX8644" y="connsiteY8644"/>
                </a:cxn>
                <a:cxn ang="0">
                  <a:pos x="connsiteX8645" y="connsiteY8645"/>
                </a:cxn>
                <a:cxn ang="0">
                  <a:pos x="connsiteX8646" y="connsiteY8646"/>
                </a:cxn>
                <a:cxn ang="0">
                  <a:pos x="connsiteX8647" y="connsiteY8647"/>
                </a:cxn>
                <a:cxn ang="0">
                  <a:pos x="connsiteX8648" y="connsiteY8648"/>
                </a:cxn>
                <a:cxn ang="0">
                  <a:pos x="connsiteX8649" y="connsiteY8649"/>
                </a:cxn>
                <a:cxn ang="0">
                  <a:pos x="connsiteX8650" y="connsiteY8650"/>
                </a:cxn>
                <a:cxn ang="0">
                  <a:pos x="connsiteX8651" y="connsiteY8651"/>
                </a:cxn>
                <a:cxn ang="0">
                  <a:pos x="connsiteX8652" y="connsiteY8652"/>
                </a:cxn>
                <a:cxn ang="0">
                  <a:pos x="connsiteX8653" y="connsiteY8653"/>
                </a:cxn>
                <a:cxn ang="0">
                  <a:pos x="connsiteX8654" y="connsiteY8654"/>
                </a:cxn>
                <a:cxn ang="0">
                  <a:pos x="connsiteX8655" y="connsiteY8655"/>
                </a:cxn>
                <a:cxn ang="0">
                  <a:pos x="connsiteX8656" y="connsiteY8656"/>
                </a:cxn>
                <a:cxn ang="0">
                  <a:pos x="connsiteX8657" y="connsiteY8657"/>
                </a:cxn>
                <a:cxn ang="0">
                  <a:pos x="connsiteX8658" y="connsiteY8658"/>
                </a:cxn>
                <a:cxn ang="0">
                  <a:pos x="connsiteX8659" y="connsiteY8659"/>
                </a:cxn>
                <a:cxn ang="0">
                  <a:pos x="connsiteX8660" y="connsiteY8660"/>
                </a:cxn>
                <a:cxn ang="0">
                  <a:pos x="connsiteX8661" y="connsiteY8661"/>
                </a:cxn>
                <a:cxn ang="0">
                  <a:pos x="connsiteX8662" y="connsiteY8662"/>
                </a:cxn>
                <a:cxn ang="0">
                  <a:pos x="connsiteX8663" y="connsiteY8663"/>
                </a:cxn>
                <a:cxn ang="0">
                  <a:pos x="connsiteX8664" y="connsiteY8664"/>
                </a:cxn>
                <a:cxn ang="0">
                  <a:pos x="connsiteX8665" y="connsiteY8665"/>
                </a:cxn>
                <a:cxn ang="0">
                  <a:pos x="connsiteX8666" y="connsiteY8666"/>
                </a:cxn>
                <a:cxn ang="0">
                  <a:pos x="connsiteX8667" y="connsiteY8667"/>
                </a:cxn>
                <a:cxn ang="0">
                  <a:pos x="connsiteX8668" y="connsiteY8668"/>
                </a:cxn>
                <a:cxn ang="0">
                  <a:pos x="connsiteX8669" y="connsiteY8669"/>
                </a:cxn>
                <a:cxn ang="0">
                  <a:pos x="connsiteX8670" y="connsiteY8670"/>
                </a:cxn>
                <a:cxn ang="0">
                  <a:pos x="connsiteX8671" y="connsiteY8671"/>
                </a:cxn>
                <a:cxn ang="0">
                  <a:pos x="connsiteX8672" y="connsiteY8672"/>
                </a:cxn>
                <a:cxn ang="0">
                  <a:pos x="connsiteX8673" y="connsiteY8673"/>
                </a:cxn>
                <a:cxn ang="0">
                  <a:pos x="connsiteX8674" y="connsiteY8674"/>
                </a:cxn>
                <a:cxn ang="0">
                  <a:pos x="connsiteX8675" y="connsiteY8675"/>
                </a:cxn>
                <a:cxn ang="0">
                  <a:pos x="connsiteX8676" y="connsiteY8676"/>
                </a:cxn>
                <a:cxn ang="0">
                  <a:pos x="connsiteX8677" y="connsiteY8677"/>
                </a:cxn>
                <a:cxn ang="0">
                  <a:pos x="connsiteX8678" y="connsiteY8678"/>
                </a:cxn>
                <a:cxn ang="0">
                  <a:pos x="connsiteX8679" y="connsiteY8679"/>
                </a:cxn>
                <a:cxn ang="0">
                  <a:pos x="connsiteX8680" y="connsiteY8680"/>
                </a:cxn>
                <a:cxn ang="0">
                  <a:pos x="connsiteX8681" y="connsiteY8681"/>
                </a:cxn>
                <a:cxn ang="0">
                  <a:pos x="connsiteX8682" y="connsiteY8682"/>
                </a:cxn>
                <a:cxn ang="0">
                  <a:pos x="connsiteX8683" y="connsiteY8683"/>
                </a:cxn>
                <a:cxn ang="0">
                  <a:pos x="connsiteX8684" y="connsiteY8684"/>
                </a:cxn>
                <a:cxn ang="0">
                  <a:pos x="connsiteX8685" y="connsiteY8685"/>
                </a:cxn>
                <a:cxn ang="0">
                  <a:pos x="connsiteX8686" y="connsiteY8686"/>
                </a:cxn>
                <a:cxn ang="0">
                  <a:pos x="connsiteX8687" y="connsiteY8687"/>
                </a:cxn>
                <a:cxn ang="0">
                  <a:pos x="connsiteX8688" y="connsiteY8688"/>
                </a:cxn>
                <a:cxn ang="0">
                  <a:pos x="connsiteX8689" y="connsiteY8689"/>
                </a:cxn>
                <a:cxn ang="0">
                  <a:pos x="connsiteX8690" y="connsiteY8690"/>
                </a:cxn>
                <a:cxn ang="0">
                  <a:pos x="connsiteX8691" y="connsiteY8691"/>
                </a:cxn>
                <a:cxn ang="0">
                  <a:pos x="connsiteX8692" y="connsiteY8692"/>
                </a:cxn>
                <a:cxn ang="0">
                  <a:pos x="connsiteX8693" y="connsiteY8693"/>
                </a:cxn>
                <a:cxn ang="0">
                  <a:pos x="connsiteX8694" y="connsiteY8694"/>
                </a:cxn>
                <a:cxn ang="0">
                  <a:pos x="connsiteX8695" y="connsiteY8695"/>
                </a:cxn>
                <a:cxn ang="0">
                  <a:pos x="connsiteX8696" y="connsiteY8696"/>
                </a:cxn>
                <a:cxn ang="0">
                  <a:pos x="connsiteX8697" y="connsiteY8697"/>
                </a:cxn>
                <a:cxn ang="0">
                  <a:pos x="connsiteX8698" y="connsiteY8698"/>
                </a:cxn>
                <a:cxn ang="0">
                  <a:pos x="connsiteX8699" y="connsiteY8699"/>
                </a:cxn>
                <a:cxn ang="0">
                  <a:pos x="connsiteX8700" y="connsiteY8700"/>
                </a:cxn>
                <a:cxn ang="0">
                  <a:pos x="connsiteX8701" y="connsiteY8701"/>
                </a:cxn>
                <a:cxn ang="0">
                  <a:pos x="connsiteX8702" y="connsiteY8702"/>
                </a:cxn>
                <a:cxn ang="0">
                  <a:pos x="connsiteX8703" y="connsiteY8703"/>
                </a:cxn>
                <a:cxn ang="0">
                  <a:pos x="connsiteX8704" y="connsiteY8704"/>
                </a:cxn>
                <a:cxn ang="0">
                  <a:pos x="connsiteX8705" y="connsiteY8705"/>
                </a:cxn>
                <a:cxn ang="0">
                  <a:pos x="connsiteX8706" y="connsiteY8706"/>
                </a:cxn>
                <a:cxn ang="0">
                  <a:pos x="connsiteX8707" y="connsiteY8707"/>
                </a:cxn>
                <a:cxn ang="0">
                  <a:pos x="connsiteX8708" y="connsiteY8708"/>
                </a:cxn>
                <a:cxn ang="0">
                  <a:pos x="connsiteX8709" y="connsiteY8709"/>
                </a:cxn>
                <a:cxn ang="0">
                  <a:pos x="connsiteX8710" y="connsiteY8710"/>
                </a:cxn>
                <a:cxn ang="0">
                  <a:pos x="connsiteX8711" y="connsiteY8711"/>
                </a:cxn>
                <a:cxn ang="0">
                  <a:pos x="connsiteX8712" y="connsiteY8712"/>
                </a:cxn>
                <a:cxn ang="0">
                  <a:pos x="connsiteX8713" y="connsiteY8713"/>
                </a:cxn>
                <a:cxn ang="0">
                  <a:pos x="connsiteX8714" y="connsiteY8714"/>
                </a:cxn>
                <a:cxn ang="0">
                  <a:pos x="connsiteX8715" y="connsiteY8715"/>
                </a:cxn>
                <a:cxn ang="0">
                  <a:pos x="connsiteX8716" y="connsiteY8716"/>
                </a:cxn>
                <a:cxn ang="0">
                  <a:pos x="connsiteX8717" y="connsiteY8717"/>
                </a:cxn>
                <a:cxn ang="0">
                  <a:pos x="connsiteX8718" y="connsiteY8718"/>
                </a:cxn>
                <a:cxn ang="0">
                  <a:pos x="connsiteX8719" y="connsiteY8719"/>
                </a:cxn>
                <a:cxn ang="0">
                  <a:pos x="connsiteX8720" y="connsiteY8720"/>
                </a:cxn>
                <a:cxn ang="0">
                  <a:pos x="connsiteX8721" y="connsiteY8721"/>
                </a:cxn>
                <a:cxn ang="0">
                  <a:pos x="connsiteX8722" y="connsiteY8722"/>
                </a:cxn>
                <a:cxn ang="0">
                  <a:pos x="connsiteX8723" y="connsiteY8723"/>
                </a:cxn>
                <a:cxn ang="0">
                  <a:pos x="connsiteX8724" y="connsiteY8724"/>
                </a:cxn>
                <a:cxn ang="0">
                  <a:pos x="connsiteX8725" y="connsiteY8725"/>
                </a:cxn>
                <a:cxn ang="0">
                  <a:pos x="connsiteX8726" y="connsiteY8726"/>
                </a:cxn>
                <a:cxn ang="0">
                  <a:pos x="connsiteX8727" y="connsiteY8727"/>
                </a:cxn>
                <a:cxn ang="0">
                  <a:pos x="connsiteX8728" y="connsiteY8728"/>
                </a:cxn>
                <a:cxn ang="0">
                  <a:pos x="connsiteX8729" y="connsiteY8729"/>
                </a:cxn>
                <a:cxn ang="0">
                  <a:pos x="connsiteX8730" y="connsiteY8730"/>
                </a:cxn>
                <a:cxn ang="0">
                  <a:pos x="connsiteX8731" y="connsiteY8731"/>
                </a:cxn>
                <a:cxn ang="0">
                  <a:pos x="connsiteX8732" y="connsiteY8732"/>
                </a:cxn>
                <a:cxn ang="0">
                  <a:pos x="connsiteX8733" y="connsiteY8733"/>
                </a:cxn>
                <a:cxn ang="0">
                  <a:pos x="connsiteX8734" y="connsiteY8734"/>
                </a:cxn>
                <a:cxn ang="0">
                  <a:pos x="connsiteX8735" y="connsiteY8735"/>
                </a:cxn>
                <a:cxn ang="0">
                  <a:pos x="connsiteX8736" y="connsiteY8736"/>
                </a:cxn>
                <a:cxn ang="0">
                  <a:pos x="connsiteX8737" y="connsiteY8737"/>
                </a:cxn>
                <a:cxn ang="0">
                  <a:pos x="connsiteX8738" y="connsiteY8738"/>
                </a:cxn>
                <a:cxn ang="0">
                  <a:pos x="connsiteX8739" y="connsiteY8739"/>
                </a:cxn>
                <a:cxn ang="0">
                  <a:pos x="connsiteX8740" y="connsiteY8740"/>
                </a:cxn>
                <a:cxn ang="0">
                  <a:pos x="connsiteX8741" y="connsiteY8741"/>
                </a:cxn>
                <a:cxn ang="0">
                  <a:pos x="connsiteX8742" y="connsiteY8742"/>
                </a:cxn>
                <a:cxn ang="0">
                  <a:pos x="connsiteX8743" y="connsiteY8743"/>
                </a:cxn>
                <a:cxn ang="0">
                  <a:pos x="connsiteX8744" y="connsiteY8744"/>
                </a:cxn>
                <a:cxn ang="0">
                  <a:pos x="connsiteX8745" y="connsiteY8745"/>
                </a:cxn>
                <a:cxn ang="0">
                  <a:pos x="connsiteX8746" y="connsiteY8746"/>
                </a:cxn>
                <a:cxn ang="0">
                  <a:pos x="connsiteX8747" y="connsiteY8747"/>
                </a:cxn>
                <a:cxn ang="0">
                  <a:pos x="connsiteX8748" y="connsiteY8748"/>
                </a:cxn>
                <a:cxn ang="0">
                  <a:pos x="connsiteX8749" y="connsiteY8749"/>
                </a:cxn>
                <a:cxn ang="0">
                  <a:pos x="connsiteX8750" y="connsiteY8750"/>
                </a:cxn>
                <a:cxn ang="0">
                  <a:pos x="connsiteX8751" y="connsiteY8751"/>
                </a:cxn>
                <a:cxn ang="0">
                  <a:pos x="connsiteX8752" y="connsiteY8752"/>
                </a:cxn>
                <a:cxn ang="0">
                  <a:pos x="connsiteX8753" y="connsiteY8753"/>
                </a:cxn>
                <a:cxn ang="0">
                  <a:pos x="connsiteX8754" y="connsiteY8754"/>
                </a:cxn>
                <a:cxn ang="0">
                  <a:pos x="connsiteX8755" y="connsiteY8755"/>
                </a:cxn>
                <a:cxn ang="0">
                  <a:pos x="connsiteX8756" y="connsiteY8756"/>
                </a:cxn>
                <a:cxn ang="0">
                  <a:pos x="connsiteX8757" y="connsiteY8757"/>
                </a:cxn>
                <a:cxn ang="0">
                  <a:pos x="connsiteX8758" y="connsiteY8758"/>
                </a:cxn>
                <a:cxn ang="0">
                  <a:pos x="connsiteX8759" y="connsiteY8759"/>
                </a:cxn>
                <a:cxn ang="0">
                  <a:pos x="connsiteX8760" y="connsiteY8760"/>
                </a:cxn>
                <a:cxn ang="0">
                  <a:pos x="connsiteX8761" y="connsiteY8761"/>
                </a:cxn>
                <a:cxn ang="0">
                  <a:pos x="connsiteX8762" y="connsiteY8762"/>
                </a:cxn>
                <a:cxn ang="0">
                  <a:pos x="connsiteX8763" y="connsiteY8763"/>
                </a:cxn>
                <a:cxn ang="0">
                  <a:pos x="connsiteX8764" y="connsiteY8764"/>
                </a:cxn>
                <a:cxn ang="0">
                  <a:pos x="connsiteX8765" y="connsiteY8765"/>
                </a:cxn>
                <a:cxn ang="0">
                  <a:pos x="connsiteX8766" y="connsiteY8766"/>
                </a:cxn>
                <a:cxn ang="0">
                  <a:pos x="connsiteX8767" y="connsiteY8767"/>
                </a:cxn>
                <a:cxn ang="0">
                  <a:pos x="connsiteX8768" y="connsiteY8768"/>
                </a:cxn>
                <a:cxn ang="0">
                  <a:pos x="connsiteX8769" y="connsiteY8769"/>
                </a:cxn>
                <a:cxn ang="0">
                  <a:pos x="connsiteX8770" y="connsiteY8770"/>
                </a:cxn>
                <a:cxn ang="0">
                  <a:pos x="connsiteX8771" y="connsiteY8771"/>
                </a:cxn>
                <a:cxn ang="0">
                  <a:pos x="connsiteX8772" y="connsiteY8772"/>
                </a:cxn>
                <a:cxn ang="0">
                  <a:pos x="connsiteX8773" y="connsiteY8773"/>
                </a:cxn>
                <a:cxn ang="0">
                  <a:pos x="connsiteX8774" y="connsiteY8774"/>
                </a:cxn>
                <a:cxn ang="0">
                  <a:pos x="connsiteX8775" y="connsiteY8775"/>
                </a:cxn>
                <a:cxn ang="0">
                  <a:pos x="connsiteX8776" y="connsiteY8776"/>
                </a:cxn>
                <a:cxn ang="0">
                  <a:pos x="connsiteX8777" y="connsiteY8777"/>
                </a:cxn>
                <a:cxn ang="0">
                  <a:pos x="connsiteX8778" y="connsiteY8778"/>
                </a:cxn>
                <a:cxn ang="0">
                  <a:pos x="connsiteX8779" y="connsiteY8779"/>
                </a:cxn>
                <a:cxn ang="0">
                  <a:pos x="connsiteX8780" y="connsiteY8780"/>
                </a:cxn>
                <a:cxn ang="0">
                  <a:pos x="connsiteX8781" y="connsiteY8781"/>
                </a:cxn>
                <a:cxn ang="0">
                  <a:pos x="connsiteX8782" y="connsiteY8782"/>
                </a:cxn>
                <a:cxn ang="0">
                  <a:pos x="connsiteX8783" y="connsiteY8783"/>
                </a:cxn>
                <a:cxn ang="0">
                  <a:pos x="connsiteX8784" y="connsiteY8784"/>
                </a:cxn>
                <a:cxn ang="0">
                  <a:pos x="connsiteX8785" y="connsiteY8785"/>
                </a:cxn>
                <a:cxn ang="0">
                  <a:pos x="connsiteX8786" y="connsiteY8786"/>
                </a:cxn>
                <a:cxn ang="0">
                  <a:pos x="connsiteX8787" y="connsiteY8787"/>
                </a:cxn>
                <a:cxn ang="0">
                  <a:pos x="connsiteX8788" y="connsiteY8788"/>
                </a:cxn>
                <a:cxn ang="0">
                  <a:pos x="connsiteX8789" y="connsiteY8789"/>
                </a:cxn>
                <a:cxn ang="0">
                  <a:pos x="connsiteX8790" y="connsiteY8790"/>
                </a:cxn>
                <a:cxn ang="0">
                  <a:pos x="connsiteX8791" y="connsiteY8791"/>
                </a:cxn>
                <a:cxn ang="0">
                  <a:pos x="connsiteX8792" y="connsiteY8792"/>
                </a:cxn>
                <a:cxn ang="0">
                  <a:pos x="connsiteX8793" y="connsiteY8793"/>
                </a:cxn>
                <a:cxn ang="0">
                  <a:pos x="connsiteX8794" y="connsiteY8794"/>
                </a:cxn>
                <a:cxn ang="0">
                  <a:pos x="connsiteX8795" y="connsiteY8795"/>
                </a:cxn>
                <a:cxn ang="0">
                  <a:pos x="connsiteX8796" y="connsiteY8796"/>
                </a:cxn>
                <a:cxn ang="0">
                  <a:pos x="connsiteX8797" y="connsiteY8797"/>
                </a:cxn>
                <a:cxn ang="0">
                  <a:pos x="connsiteX8798" y="connsiteY8798"/>
                </a:cxn>
                <a:cxn ang="0">
                  <a:pos x="connsiteX8799" y="connsiteY8799"/>
                </a:cxn>
                <a:cxn ang="0">
                  <a:pos x="connsiteX8800" y="connsiteY8800"/>
                </a:cxn>
                <a:cxn ang="0">
                  <a:pos x="connsiteX8801" y="connsiteY8801"/>
                </a:cxn>
                <a:cxn ang="0">
                  <a:pos x="connsiteX8802" y="connsiteY8802"/>
                </a:cxn>
                <a:cxn ang="0">
                  <a:pos x="connsiteX8803" y="connsiteY8803"/>
                </a:cxn>
                <a:cxn ang="0">
                  <a:pos x="connsiteX8804" y="connsiteY8804"/>
                </a:cxn>
                <a:cxn ang="0">
                  <a:pos x="connsiteX8805" y="connsiteY8805"/>
                </a:cxn>
                <a:cxn ang="0">
                  <a:pos x="connsiteX8806" y="connsiteY8806"/>
                </a:cxn>
                <a:cxn ang="0">
                  <a:pos x="connsiteX8807" y="connsiteY8807"/>
                </a:cxn>
                <a:cxn ang="0">
                  <a:pos x="connsiteX8808" y="connsiteY8808"/>
                </a:cxn>
                <a:cxn ang="0">
                  <a:pos x="connsiteX8809" y="connsiteY8809"/>
                </a:cxn>
                <a:cxn ang="0">
                  <a:pos x="connsiteX8810" y="connsiteY8810"/>
                </a:cxn>
                <a:cxn ang="0">
                  <a:pos x="connsiteX8811" y="connsiteY8811"/>
                </a:cxn>
                <a:cxn ang="0">
                  <a:pos x="connsiteX8812" y="connsiteY8812"/>
                </a:cxn>
                <a:cxn ang="0">
                  <a:pos x="connsiteX8813" y="connsiteY8813"/>
                </a:cxn>
                <a:cxn ang="0">
                  <a:pos x="connsiteX8814" y="connsiteY8814"/>
                </a:cxn>
                <a:cxn ang="0">
                  <a:pos x="connsiteX8815" y="connsiteY8815"/>
                </a:cxn>
                <a:cxn ang="0">
                  <a:pos x="connsiteX8816" y="connsiteY8816"/>
                </a:cxn>
                <a:cxn ang="0">
                  <a:pos x="connsiteX8817" y="connsiteY8817"/>
                </a:cxn>
                <a:cxn ang="0">
                  <a:pos x="connsiteX8818" y="connsiteY8818"/>
                </a:cxn>
                <a:cxn ang="0">
                  <a:pos x="connsiteX8819" y="connsiteY8819"/>
                </a:cxn>
                <a:cxn ang="0">
                  <a:pos x="connsiteX8820" y="connsiteY8820"/>
                </a:cxn>
                <a:cxn ang="0">
                  <a:pos x="connsiteX8821" y="connsiteY8821"/>
                </a:cxn>
                <a:cxn ang="0">
                  <a:pos x="connsiteX8822" y="connsiteY8822"/>
                </a:cxn>
                <a:cxn ang="0">
                  <a:pos x="connsiteX8823" y="connsiteY8823"/>
                </a:cxn>
                <a:cxn ang="0">
                  <a:pos x="connsiteX8824" y="connsiteY8824"/>
                </a:cxn>
                <a:cxn ang="0">
                  <a:pos x="connsiteX8825" y="connsiteY8825"/>
                </a:cxn>
                <a:cxn ang="0">
                  <a:pos x="connsiteX8826" y="connsiteY8826"/>
                </a:cxn>
                <a:cxn ang="0">
                  <a:pos x="connsiteX8827" y="connsiteY8827"/>
                </a:cxn>
                <a:cxn ang="0">
                  <a:pos x="connsiteX8828" y="connsiteY8828"/>
                </a:cxn>
                <a:cxn ang="0">
                  <a:pos x="connsiteX8829" y="connsiteY8829"/>
                </a:cxn>
                <a:cxn ang="0">
                  <a:pos x="connsiteX8830" y="connsiteY8830"/>
                </a:cxn>
                <a:cxn ang="0">
                  <a:pos x="connsiteX8831" y="connsiteY8831"/>
                </a:cxn>
                <a:cxn ang="0">
                  <a:pos x="connsiteX8832" y="connsiteY8832"/>
                </a:cxn>
                <a:cxn ang="0">
                  <a:pos x="connsiteX8833" y="connsiteY8833"/>
                </a:cxn>
                <a:cxn ang="0">
                  <a:pos x="connsiteX8834" y="connsiteY8834"/>
                </a:cxn>
                <a:cxn ang="0">
                  <a:pos x="connsiteX8835" y="connsiteY8835"/>
                </a:cxn>
                <a:cxn ang="0">
                  <a:pos x="connsiteX8836" y="connsiteY8836"/>
                </a:cxn>
                <a:cxn ang="0">
                  <a:pos x="connsiteX8837" y="connsiteY8837"/>
                </a:cxn>
                <a:cxn ang="0">
                  <a:pos x="connsiteX8838" y="connsiteY8838"/>
                </a:cxn>
                <a:cxn ang="0">
                  <a:pos x="connsiteX8839" y="connsiteY8839"/>
                </a:cxn>
                <a:cxn ang="0">
                  <a:pos x="connsiteX8840" y="connsiteY8840"/>
                </a:cxn>
                <a:cxn ang="0">
                  <a:pos x="connsiteX8841" y="connsiteY8841"/>
                </a:cxn>
                <a:cxn ang="0">
                  <a:pos x="connsiteX8842" y="connsiteY8842"/>
                </a:cxn>
                <a:cxn ang="0">
                  <a:pos x="connsiteX8843" y="connsiteY8843"/>
                </a:cxn>
                <a:cxn ang="0">
                  <a:pos x="connsiteX8844" y="connsiteY8844"/>
                </a:cxn>
                <a:cxn ang="0">
                  <a:pos x="connsiteX8845" y="connsiteY8845"/>
                </a:cxn>
                <a:cxn ang="0">
                  <a:pos x="connsiteX8846" y="connsiteY8846"/>
                </a:cxn>
                <a:cxn ang="0">
                  <a:pos x="connsiteX8847" y="connsiteY8847"/>
                </a:cxn>
                <a:cxn ang="0">
                  <a:pos x="connsiteX8848" y="connsiteY8848"/>
                </a:cxn>
                <a:cxn ang="0">
                  <a:pos x="connsiteX8849" y="connsiteY8849"/>
                </a:cxn>
                <a:cxn ang="0">
                  <a:pos x="connsiteX8850" y="connsiteY8850"/>
                </a:cxn>
                <a:cxn ang="0">
                  <a:pos x="connsiteX8851" y="connsiteY8851"/>
                </a:cxn>
                <a:cxn ang="0">
                  <a:pos x="connsiteX8852" y="connsiteY8852"/>
                </a:cxn>
                <a:cxn ang="0">
                  <a:pos x="connsiteX8853" y="connsiteY8853"/>
                </a:cxn>
                <a:cxn ang="0">
                  <a:pos x="connsiteX8854" y="connsiteY8854"/>
                </a:cxn>
                <a:cxn ang="0">
                  <a:pos x="connsiteX8855" y="connsiteY8855"/>
                </a:cxn>
                <a:cxn ang="0">
                  <a:pos x="connsiteX8856" y="connsiteY8856"/>
                </a:cxn>
                <a:cxn ang="0">
                  <a:pos x="connsiteX8857" y="connsiteY8857"/>
                </a:cxn>
                <a:cxn ang="0">
                  <a:pos x="connsiteX8858" y="connsiteY8858"/>
                </a:cxn>
                <a:cxn ang="0">
                  <a:pos x="connsiteX8859" y="connsiteY8859"/>
                </a:cxn>
                <a:cxn ang="0">
                  <a:pos x="connsiteX8860" y="connsiteY8860"/>
                </a:cxn>
                <a:cxn ang="0">
                  <a:pos x="connsiteX8861" y="connsiteY8861"/>
                </a:cxn>
                <a:cxn ang="0">
                  <a:pos x="connsiteX8862" y="connsiteY8862"/>
                </a:cxn>
                <a:cxn ang="0">
                  <a:pos x="connsiteX8863" y="connsiteY8863"/>
                </a:cxn>
                <a:cxn ang="0">
                  <a:pos x="connsiteX8864" y="connsiteY8864"/>
                </a:cxn>
                <a:cxn ang="0">
                  <a:pos x="connsiteX8865" y="connsiteY8865"/>
                </a:cxn>
                <a:cxn ang="0">
                  <a:pos x="connsiteX8866" y="connsiteY8866"/>
                </a:cxn>
                <a:cxn ang="0">
                  <a:pos x="connsiteX8867" y="connsiteY8867"/>
                </a:cxn>
                <a:cxn ang="0">
                  <a:pos x="connsiteX8868" y="connsiteY8868"/>
                </a:cxn>
                <a:cxn ang="0">
                  <a:pos x="connsiteX8869" y="connsiteY8869"/>
                </a:cxn>
                <a:cxn ang="0">
                  <a:pos x="connsiteX8870" y="connsiteY8870"/>
                </a:cxn>
                <a:cxn ang="0">
                  <a:pos x="connsiteX8871" y="connsiteY8871"/>
                </a:cxn>
                <a:cxn ang="0">
                  <a:pos x="connsiteX8872" y="connsiteY8872"/>
                </a:cxn>
                <a:cxn ang="0">
                  <a:pos x="connsiteX8873" y="connsiteY8873"/>
                </a:cxn>
                <a:cxn ang="0">
                  <a:pos x="connsiteX8874" y="connsiteY8874"/>
                </a:cxn>
                <a:cxn ang="0">
                  <a:pos x="connsiteX8875" y="connsiteY8875"/>
                </a:cxn>
                <a:cxn ang="0">
                  <a:pos x="connsiteX8876" y="connsiteY8876"/>
                </a:cxn>
                <a:cxn ang="0">
                  <a:pos x="connsiteX8877" y="connsiteY8877"/>
                </a:cxn>
                <a:cxn ang="0">
                  <a:pos x="connsiteX8878" y="connsiteY8878"/>
                </a:cxn>
                <a:cxn ang="0">
                  <a:pos x="connsiteX8879" y="connsiteY8879"/>
                </a:cxn>
                <a:cxn ang="0">
                  <a:pos x="connsiteX8880" y="connsiteY8880"/>
                </a:cxn>
                <a:cxn ang="0">
                  <a:pos x="connsiteX8881" y="connsiteY8881"/>
                </a:cxn>
                <a:cxn ang="0">
                  <a:pos x="connsiteX8882" y="connsiteY8882"/>
                </a:cxn>
                <a:cxn ang="0">
                  <a:pos x="connsiteX8883" y="connsiteY8883"/>
                </a:cxn>
                <a:cxn ang="0">
                  <a:pos x="connsiteX8884" y="connsiteY8884"/>
                </a:cxn>
                <a:cxn ang="0">
                  <a:pos x="connsiteX8885" y="connsiteY8885"/>
                </a:cxn>
                <a:cxn ang="0">
                  <a:pos x="connsiteX8886" y="connsiteY8886"/>
                </a:cxn>
                <a:cxn ang="0">
                  <a:pos x="connsiteX8887" y="connsiteY8887"/>
                </a:cxn>
                <a:cxn ang="0">
                  <a:pos x="connsiteX8888" y="connsiteY8888"/>
                </a:cxn>
                <a:cxn ang="0">
                  <a:pos x="connsiteX8889" y="connsiteY8889"/>
                </a:cxn>
                <a:cxn ang="0">
                  <a:pos x="connsiteX8890" y="connsiteY8890"/>
                </a:cxn>
                <a:cxn ang="0">
                  <a:pos x="connsiteX8891" y="connsiteY8891"/>
                </a:cxn>
                <a:cxn ang="0">
                  <a:pos x="connsiteX8892" y="connsiteY8892"/>
                </a:cxn>
                <a:cxn ang="0">
                  <a:pos x="connsiteX8893" y="connsiteY8893"/>
                </a:cxn>
                <a:cxn ang="0">
                  <a:pos x="connsiteX8894" y="connsiteY8894"/>
                </a:cxn>
                <a:cxn ang="0">
                  <a:pos x="connsiteX8895" y="connsiteY8895"/>
                </a:cxn>
                <a:cxn ang="0">
                  <a:pos x="connsiteX8896" y="connsiteY8896"/>
                </a:cxn>
                <a:cxn ang="0">
                  <a:pos x="connsiteX8897" y="connsiteY8897"/>
                </a:cxn>
                <a:cxn ang="0">
                  <a:pos x="connsiteX8898" y="connsiteY8898"/>
                </a:cxn>
                <a:cxn ang="0">
                  <a:pos x="connsiteX8899" y="connsiteY8899"/>
                </a:cxn>
                <a:cxn ang="0">
                  <a:pos x="connsiteX8900" y="connsiteY8900"/>
                </a:cxn>
                <a:cxn ang="0">
                  <a:pos x="connsiteX8901" y="connsiteY8901"/>
                </a:cxn>
                <a:cxn ang="0">
                  <a:pos x="connsiteX8902" y="connsiteY8902"/>
                </a:cxn>
                <a:cxn ang="0">
                  <a:pos x="connsiteX8903" y="connsiteY8903"/>
                </a:cxn>
                <a:cxn ang="0">
                  <a:pos x="connsiteX8904" y="connsiteY8904"/>
                </a:cxn>
                <a:cxn ang="0">
                  <a:pos x="connsiteX8905" y="connsiteY8905"/>
                </a:cxn>
                <a:cxn ang="0">
                  <a:pos x="connsiteX8906" y="connsiteY8906"/>
                </a:cxn>
                <a:cxn ang="0">
                  <a:pos x="connsiteX8907" y="connsiteY8907"/>
                </a:cxn>
                <a:cxn ang="0">
                  <a:pos x="connsiteX8908" y="connsiteY8908"/>
                </a:cxn>
                <a:cxn ang="0">
                  <a:pos x="connsiteX8909" y="connsiteY8909"/>
                </a:cxn>
                <a:cxn ang="0">
                  <a:pos x="connsiteX8910" y="connsiteY8910"/>
                </a:cxn>
                <a:cxn ang="0">
                  <a:pos x="connsiteX8911" y="connsiteY8911"/>
                </a:cxn>
                <a:cxn ang="0">
                  <a:pos x="connsiteX8912" y="connsiteY8912"/>
                </a:cxn>
                <a:cxn ang="0">
                  <a:pos x="connsiteX8913" y="connsiteY8913"/>
                </a:cxn>
                <a:cxn ang="0">
                  <a:pos x="connsiteX8914" y="connsiteY8914"/>
                </a:cxn>
                <a:cxn ang="0">
                  <a:pos x="connsiteX8915" y="connsiteY8915"/>
                </a:cxn>
                <a:cxn ang="0">
                  <a:pos x="connsiteX8916" y="connsiteY8916"/>
                </a:cxn>
                <a:cxn ang="0">
                  <a:pos x="connsiteX8917" y="connsiteY8917"/>
                </a:cxn>
                <a:cxn ang="0">
                  <a:pos x="connsiteX8918" y="connsiteY8918"/>
                </a:cxn>
                <a:cxn ang="0">
                  <a:pos x="connsiteX8919" y="connsiteY8919"/>
                </a:cxn>
                <a:cxn ang="0">
                  <a:pos x="connsiteX8920" y="connsiteY8920"/>
                </a:cxn>
                <a:cxn ang="0">
                  <a:pos x="connsiteX8921" y="connsiteY8921"/>
                </a:cxn>
                <a:cxn ang="0">
                  <a:pos x="connsiteX8922" y="connsiteY8922"/>
                </a:cxn>
                <a:cxn ang="0">
                  <a:pos x="connsiteX8923" y="connsiteY8923"/>
                </a:cxn>
                <a:cxn ang="0">
                  <a:pos x="connsiteX8924" y="connsiteY8924"/>
                </a:cxn>
                <a:cxn ang="0">
                  <a:pos x="connsiteX8925" y="connsiteY8925"/>
                </a:cxn>
                <a:cxn ang="0">
                  <a:pos x="connsiteX8926" y="connsiteY8926"/>
                </a:cxn>
                <a:cxn ang="0">
                  <a:pos x="connsiteX8927" y="connsiteY8927"/>
                </a:cxn>
                <a:cxn ang="0">
                  <a:pos x="connsiteX8928" y="connsiteY8928"/>
                </a:cxn>
                <a:cxn ang="0">
                  <a:pos x="connsiteX8929" y="connsiteY8929"/>
                </a:cxn>
                <a:cxn ang="0">
                  <a:pos x="connsiteX8930" y="connsiteY8930"/>
                </a:cxn>
                <a:cxn ang="0">
                  <a:pos x="connsiteX8931" y="connsiteY8931"/>
                </a:cxn>
                <a:cxn ang="0">
                  <a:pos x="connsiteX8932" y="connsiteY8932"/>
                </a:cxn>
                <a:cxn ang="0">
                  <a:pos x="connsiteX8933" y="connsiteY8933"/>
                </a:cxn>
                <a:cxn ang="0">
                  <a:pos x="connsiteX8934" y="connsiteY8934"/>
                </a:cxn>
                <a:cxn ang="0">
                  <a:pos x="connsiteX8935" y="connsiteY8935"/>
                </a:cxn>
                <a:cxn ang="0">
                  <a:pos x="connsiteX8936" y="connsiteY8936"/>
                </a:cxn>
                <a:cxn ang="0">
                  <a:pos x="connsiteX8937" y="connsiteY8937"/>
                </a:cxn>
                <a:cxn ang="0">
                  <a:pos x="connsiteX8938" y="connsiteY8938"/>
                </a:cxn>
                <a:cxn ang="0">
                  <a:pos x="connsiteX8939" y="connsiteY8939"/>
                </a:cxn>
                <a:cxn ang="0">
                  <a:pos x="connsiteX8940" y="connsiteY8940"/>
                </a:cxn>
                <a:cxn ang="0">
                  <a:pos x="connsiteX8941" y="connsiteY8941"/>
                </a:cxn>
                <a:cxn ang="0">
                  <a:pos x="connsiteX8942" y="connsiteY8942"/>
                </a:cxn>
                <a:cxn ang="0">
                  <a:pos x="connsiteX8943" y="connsiteY8943"/>
                </a:cxn>
                <a:cxn ang="0">
                  <a:pos x="connsiteX8944" y="connsiteY8944"/>
                </a:cxn>
                <a:cxn ang="0">
                  <a:pos x="connsiteX8945" y="connsiteY8945"/>
                </a:cxn>
                <a:cxn ang="0">
                  <a:pos x="connsiteX8946" y="connsiteY8946"/>
                </a:cxn>
                <a:cxn ang="0">
                  <a:pos x="connsiteX8947" y="connsiteY8947"/>
                </a:cxn>
                <a:cxn ang="0">
                  <a:pos x="connsiteX8948" y="connsiteY8948"/>
                </a:cxn>
                <a:cxn ang="0">
                  <a:pos x="connsiteX8949" y="connsiteY8949"/>
                </a:cxn>
                <a:cxn ang="0">
                  <a:pos x="connsiteX8950" y="connsiteY8950"/>
                </a:cxn>
                <a:cxn ang="0">
                  <a:pos x="connsiteX8951" y="connsiteY8951"/>
                </a:cxn>
                <a:cxn ang="0">
                  <a:pos x="connsiteX8952" y="connsiteY8952"/>
                </a:cxn>
                <a:cxn ang="0">
                  <a:pos x="connsiteX8953" y="connsiteY8953"/>
                </a:cxn>
                <a:cxn ang="0">
                  <a:pos x="connsiteX8954" y="connsiteY8954"/>
                </a:cxn>
                <a:cxn ang="0">
                  <a:pos x="connsiteX8955" y="connsiteY8955"/>
                </a:cxn>
                <a:cxn ang="0">
                  <a:pos x="connsiteX8956" y="connsiteY8956"/>
                </a:cxn>
                <a:cxn ang="0">
                  <a:pos x="connsiteX8957" y="connsiteY8957"/>
                </a:cxn>
                <a:cxn ang="0">
                  <a:pos x="connsiteX8958" y="connsiteY8958"/>
                </a:cxn>
                <a:cxn ang="0">
                  <a:pos x="connsiteX8959" y="connsiteY8959"/>
                </a:cxn>
                <a:cxn ang="0">
                  <a:pos x="connsiteX8960" y="connsiteY8960"/>
                </a:cxn>
                <a:cxn ang="0">
                  <a:pos x="connsiteX8961" y="connsiteY8961"/>
                </a:cxn>
                <a:cxn ang="0">
                  <a:pos x="connsiteX8962" y="connsiteY8962"/>
                </a:cxn>
                <a:cxn ang="0">
                  <a:pos x="connsiteX8963" y="connsiteY8963"/>
                </a:cxn>
                <a:cxn ang="0">
                  <a:pos x="connsiteX8964" y="connsiteY8964"/>
                </a:cxn>
                <a:cxn ang="0">
                  <a:pos x="connsiteX8965" y="connsiteY8965"/>
                </a:cxn>
                <a:cxn ang="0">
                  <a:pos x="connsiteX8966" y="connsiteY8966"/>
                </a:cxn>
                <a:cxn ang="0">
                  <a:pos x="connsiteX8967" y="connsiteY8967"/>
                </a:cxn>
                <a:cxn ang="0">
                  <a:pos x="connsiteX8968" y="connsiteY8968"/>
                </a:cxn>
                <a:cxn ang="0">
                  <a:pos x="connsiteX8969" y="connsiteY8969"/>
                </a:cxn>
                <a:cxn ang="0">
                  <a:pos x="connsiteX8970" y="connsiteY8970"/>
                </a:cxn>
                <a:cxn ang="0">
                  <a:pos x="connsiteX8971" y="connsiteY8971"/>
                </a:cxn>
                <a:cxn ang="0">
                  <a:pos x="connsiteX8972" y="connsiteY8972"/>
                </a:cxn>
                <a:cxn ang="0">
                  <a:pos x="connsiteX8973" y="connsiteY8973"/>
                </a:cxn>
                <a:cxn ang="0">
                  <a:pos x="connsiteX8974" y="connsiteY8974"/>
                </a:cxn>
                <a:cxn ang="0">
                  <a:pos x="connsiteX8975" y="connsiteY8975"/>
                </a:cxn>
                <a:cxn ang="0">
                  <a:pos x="connsiteX8976" y="connsiteY8976"/>
                </a:cxn>
                <a:cxn ang="0">
                  <a:pos x="connsiteX8977" y="connsiteY8977"/>
                </a:cxn>
                <a:cxn ang="0">
                  <a:pos x="connsiteX8978" y="connsiteY8978"/>
                </a:cxn>
                <a:cxn ang="0">
                  <a:pos x="connsiteX8979" y="connsiteY8979"/>
                </a:cxn>
                <a:cxn ang="0">
                  <a:pos x="connsiteX8980" y="connsiteY8980"/>
                </a:cxn>
                <a:cxn ang="0">
                  <a:pos x="connsiteX8981" y="connsiteY8981"/>
                </a:cxn>
                <a:cxn ang="0">
                  <a:pos x="connsiteX8982" y="connsiteY8982"/>
                </a:cxn>
                <a:cxn ang="0">
                  <a:pos x="connsiteX8983" y="connsiteY8983"/>
                </a:cxn>
                <a:cxn ang="0">
                  <a:pos x="connsiteX8984" y="connsiteY8984"/>
                </a:cxn>
                <a:cxn ang="0">
                  <a:pos x="connsiteX8985" y="connsiteY8985"/>
                </a:cxn>
                <a:cxn ang="0">
                  <a:pos x="connsiteX8986" y="connsiteY8986"/>
                </a:cxn>
                <a:cxn ang="0">
                  <a:pos x="connsiteX8987" y="connsiteY8987"/>
                </a:cxn>
                <a:cxn ang="0">
                  <a:pos x="connsiteX8988" y="connsiteY8988"/>
                </a:cxn>
                <a:cxn ang="0">
                  <a:pos x="connsiteX8989" y="connsiteY8989"/>
                </a:cxn>
                <a:cxn ang="0">
                  <a:pos x="connsiteX8990" y="connsiteY8990"/>
                </a:cxn>
                <a:cxn ang="0">
                  <a:pos x="connsiteX8991" y="connsiteY8991"/>
                </a:cxn>
                <a:cxn ang="0">
                  <a:pos x="connsiteX8992" y="connsiteY8992"/>
                </a:cxn>
                <a:cxn ang="0">
                  <a:pos x="connsiteX8993" y="connsiteY8993"/>
                </a:cxn>
                <a:cxn ang="0">
                  <a:pos x="connsiteX8994" y="connsiteY8994"/>
                </a:cxn>
                <a:cxn ang="0">
                  <a:pos x="connsiteX8995" y="connsiteY8995"/>
                </a:cxn>
                <a:cxn ang="0">
                  <a:pos x="connsiteX8996" y="connsiteY8996"/>
                </a:cxn>
                <a:cxn ang="0">
                  <a:pos x="connsiteX8997" y="connsiteY8997"/>
                </a:cxn>
                <a:cxn ang="0">
                  <a:pos x="connsiteX8998" y="connsiteY8998"/>
                </a:cxn>
                <a:cxn ang="0">
                  <a:pos x="connsiteX8999" y="connsiteY8999"/>
                </a:cxn>
                <a:cxn ang="0">
                  <a:pos x="connsiteX9000" y="connsiteY9000"/>
                </a:cxn>
                <a:cxn ang="0">
                  <a:pos x="connsiteX9001" y="connsiteY9001"/>
                </a:cxn>
                <a:cxn ang="0">
                  <a:pos x="connsiteX9002" y="connsiteY9002"/>
                </a:cxn>
                <a:cxn ang="0">
                  <a:pos x="connsiteX9003" y="connsiteY9003"/>
                </a:cxn>
                <a:cxn ang="0">
                  <a:pos x="connsiteX9004" y="connsiteY9004"/>
                </a:cxn>
                <a:cxn ang="0">
                  <a:pos x="connsiteX9005" y="connsiteY9005"/>
                </a:cxn>
                <a:cxn ang="0">
                  <a:pos x="connsiteX9006" y="connsiteY9006"/>
                </a:cxn>
                <a:cxn ang="0">
                  <a:pos x="connsiteX9007" y="connsiteY9007"/>
                </a:cxn>
                <a:cxn ang="0">
                  <a:pos x="connsiteX9008" y="connsiteY9008"/>
                </a:cxn>
                <a:cxn ang="0">
                  <a:pos x="connsiteX9009" y="connsiteY9009"/>
                </a:cxn>
                <a:cxn ang="0">
                  <a:pos x="connsiteX9010" y="connsiteY9010"/>
                </a:cxn>
                <a:cxn ang="0">
                  <a:pos x="connsiteX9011" y="connsiteY9011"/>
                </a:cxn>
                <a:cxn ang="0">
                  <a:pos x="connsiteX9012" y="connsiteY9012"/>
                </a:cxn>
                <a:cxn ang="0">
                  <a:pos x="connsiteX9013" y="connsiteY9013"/>
                </a:cxn>
                <a:cxn ang="0">
                  <a:pos x="connsiteX9014" y="connsiteY9014"/>
                </a:cxn>
                <a:cxn ang="0">
                  <a:pos x="connsiteX9015" y="connsiteY9015"/>
                </a:cxn>
                <a:cxn ang="0">
                  <a:pos x="connsiteX9016" y="connsiteY9016"/>
                </a:cxn>
                <a:cxn ang="0">
                  <a:pos x="connsiteX9017" y="connsiteY9017"/>
                </a:cxn>
                <a:cxn ang="0">
                  <a:pos x="connsiteX9018" y="connsiteY9018"/>
                </a:cxn>
                <a:cxn ang="0">
                  <a:pos x="connsiteX9019" y="connsiteY9019"/>
                </a:cxn>
                <a:cxn ang="0">
                  <a:pos x="connsiteX9020" y="connsiteY9020"/>
                </a:cxn>
                <a:cxn ang="0">
                  <a:pos x="connsiteX9021" y="connsiteY9021"/>
                </a:cxn>
                <a:cxn ang="0">
                  <a:pos x="connsiteX9022" y="connsiteY9022"/>
                </a:cxn>
                <a:cxn ang="0">
                  <a:pos x="connsiteX9023" y="connsiteY9023"/>
                </a:cxn>
                <a:cxn ang="0">
                  <a:pos x="connsiteX9024" y="connsiteY9024"/>
                </a:cxn>
                <a:cxn ang="0">
                  <a:pos x="connsiteX9025" y="connsiteY9025"/>
                </a:cxn>
                <a:cxn ang="0">
                  <a:pos x="connsiteX9026" y="connsiteY9026"/>
                </a:cxn>
                <a:cxn ang="0">
                  <a:pos x="connsiteX9027" y="connsiteY9027"/>
                </a:cxn>
                <a:cxn ang="0">
                  <a:pos x="connsiteX9028" y="connsiteY9028"/>
                </a:cxn>
                <a:cxn ang="0">
                  <a:pos x="connsiteX9029" y="connsiteY9029"/>
                </a:cxn>
                <a:cxn ang="0">
                  <a:pos x="connsiteX9030" y="connsiteY9030"/>
                </a:cxn>
                <a:cxn ang="0">
                  <a:pos x="connsiteX9031" y="connsiteY9031"/>
                </a:cxn>
                <a:cxn ang="0">
                  <a:pos x="connsiteX9032" y="connsiteY9032"/>
                </a:cxn>
                <a:cxn ang="0">
                  <a:pos x="connsiteX9033" y="connsiteY9033"/>
                </a:cxn>
                <a:cxn ang="0">
                  <a:pos x="connsiteX9034" y="connsiteY9034"/>
                </a:cxn>
                <a:cxn ang="0">
                  <a:pos x="connsiteX9035" y="connsiteY9035"/>
                </a:cxn>
                <a:cxn ang="0">
                  <a:pos x="connsiteX9036" y="connsiteY9036"/>
                </a:cxn>
                <a:cxn ang="0">
                  <a:pos x="connsiteX9037" y="connsiteY9037"/>
                </a:cxn>
                <a:cxn ang="0">
                  <a:pos x="connsiteX9038" y="connsiteY9038"/>
                </a:cxn>
                <a:cxn ang="0">
                  <a:pos x="connsiteX9039" y="connsiteY9039"/>
                </a:cxn>
                <a:cxn ang="0">
                  <a:pos x="connsiteX9040" y="connsiteY9040"/>
                </a:cxn>
                <a:cxn ang="0">
                  <a:pos x="connsiteX9041" y="connsiteY9041"/>
                </a:cxn>
                <a:cxn ang="0">
                  <a:pos x="connsiteX9042" y="connsiteY9042"/>
                </a:cxn>
                <a:cxn ang="0">
                  <a:pos x="connsiteX9043" y="connsiteY9043"/>
                </a:cxn>
                <a:cxn ang="0">
                  <a:pos x="connsiteX9044" y="connsiteY9044"/>
                </a:cxn>
                <a:cxn ang="0">
                  <a:pos x="connsiteX9045" y="connsiteY9045"/>
                </a:cxn>
                <a:cxn ang="0">
                  <a:pos x="connsiteX9046" y="connsiteY9046"/>
                </a:cxn>
                <a:cxn ang="0">
                  <a:pos x="connsiteX9047" y="connsiteY9047"/>
                </a:cxn>
                <a:cxn ang="0">
                  <a:pos x="connsiteX9048" y="connsiteY9048"/>
                </a:cxn>
                <a:cxn ang="0">
                  <a:pos x="connsiteX9049" y="connsiteY9049"/>
                </a:cxn>
                <a:cxn ang="0">
                  <a:pos x="connsiteX9050" y="connsiteY9050"/>
                </a:cxn>
                <a:cxn ang="0">
                  <a:pos x="connsiteX9051" y="connsiteY9051"/>
                </a:cxn>
                <a:cxn ang="0">
                  <a:pos x="connsiteX9052" y="connsiteY9052"/>
                </a:cxn>
                <a:cxn ang="0">
                  <a:pos x="connsiteX9053" y="connsiteY9053"/>
                </a:cxn>
                <a:cxn ang="0">
                  <a:pos x="connsiteX9054" y="connsiteY9054"/>
                </a:cxn>
                <a:cxn ang="0">
                  <a:pos x="connsiteX9055" y="connsiteY9055"/>
                </a:cxn>
                <a:cxn ang="0">
                  <a:pos x="connsiteX9056" y="connsiteY9056"/>
                </a:cxn>
                <a:cxn ang="0">
                  <a:pos x="connsiteX9057" y="connsiteY9057"/>
                </a:cxn>
                <a:cxn ang="0">
                  <a:pos x="connsiteX9058" y="connsiteY9058"/>
                </a:cxn>
                <a:cxn ang="0">
                  <a:pos x="connsiteX9059" y="connsiteY9059"/>
                </a:cxn>
                <a:cxn ang="0">
                  <a:pos x="connsiteX9060" y="connsiteY9060"/>
                </a:cxn>
                <a:cxn ang="0">
                  <a:pos x="connsiteX9061" y="connsiteY9061"/>
                </a:cxn>
                <a:cxn ang="0">
                  <a:pos x="connsiteX9062" y="connsiteY9062"/>
                </a:cxn>
                <a:cxn ang="0">
                  <a:pos x="connsiteX9063" y="connsiteY9063"/>
                </a:cxn>
                <a:cxn ang="0">
                  <a:pos x="connsiteX9064" y="connsiteY9064"/>
                </a:cxn>
                <a:cxn ang="0">
                  <a:pos x="connsiteX9065" y="connsiteY9065"/>
                </a:cxn>
                <a:cxn ang="0">
                  <a:pos x="connsiteX9066" y="connsiteY9066"/>
                </a:cxn>
                <a:cxn ang="0">
                  <a:pos x="connsiteX9067" y="connsiteY9067"/>
                </a:cxn>
                <a:cxn ang="0">
                  <a:pos x="connsiteX9068" y="connsiteY9068"/>
                </a:cxn>
                <a:cxn ang="0">
                  <a:pos x="connsiteX9069" y="connsiteY9069"/>
                </a:cxn>
                <a:cxn ang="0">
                  <a:pos x="connsiteX9070" y="connsiteY9070"/>
                </a:cxn>
                <a:cxn ang="0">
                  <a:pos x="connsiteX9071" y="connsiteY9071"/>
                </a:cxn>
                <a:cxn ang="0">
                  <a:pos x="connsiteX9072" y="connsiteY9072"/>
                </a:cxn>
                <a:cxn ang="0">
                  <a:pos x="connsiteX9073" y="connsiteY9073"/>
                </a:cxn>
                <a:cxn ang="0">
                  <a:pos x="connsiteX9074" y="connsiteY9074"/>
                </a:cxn>
                <a:cxn ang="0">
                  <a:pos x="connsiteX9075" y="connsiteY9075"/>
                </a:cxn>
                <a:cxn ang="0">
                  <a:pos x="connsiteX9076" y="connsiteY9076"/>
                </a:cxn>
                <a:cxn ang="0">
                  <a:pos x="connsiteX9077" y="connsiteY9077"/>
                </a:cxn>
                <a:cxn ang="0">
                  <a:pos x="connsiteX9078" y="connsiteY9078"/>
                </a:cxn>
                <a:cxn ang="0">
                  <a:pos x="connsiteX9079" y="connsiteY9079"/>
                </a:cxn>
                <a:cxn ang="0">
                  <a:pos x="connsiteX9080" y="connsiteY9080"/>
                </a:cxn>
                <a:cxn ang="0">
                  <a:pos x="connsiteX9081" y="connsiteY9081"/>
                </a:cxn>
                <a:cxn ang="0">
                  <a:pos x="connsiteX9082" y="connsiteY9082"/>
                </a:cxn>
                <a:cxn ang="0">
                  <a:pos x="connsiteX9083" y="connsiteY9083"/>
                </a:cxn>
                <a:cxn ang="0">
                  <a:pos x="connsiteX9084" y="connsiteY9084"/>
                </a:cxn>
                <a:cxn ang="0">
                  <a:pos x="connsiteX9085" y="connsiteY9085"/>
                </a:cxn>
                <a:cxn ang="0">
                  <a:pos x="connsiteX9086" y="connsiteY9086"/>
                </a:cxn>
                <a:cxn ang="0">
                  <a:pos x="connsiteX9087" y="connsiteY9087"/>
                </a:cxn>
                <a:cxn ang="0">
                  <a:pos x="connsiteX9088" y="connsiteY9088"/>
                </a:cxn>
                <a:cxn ang="0">
                  <a:pos x="connsiteX9089" y="connsiteY9089"/>
                </a:cxn>
                <a:cxn ang="0">
                  <a:pos x="connsiteX9090" y="connsiteY9090"/>
                </a:cxn>
                <a:cxn ang="0">
                  <a:pos x="connsiteX9091" y="connsiteY9091"/>
                </a:cxn>
                <a:cxn ang="0">
                  <a:pos x="connsiteX9092" y="connsiteY9092"/>
                </a:cxn>
                <a:cxn ang="0">
                  <a:pos x="connsiteX9093" y="connsiteY9093"/>
                </a:cxn>
                <a:cxn ang="0">
                  <a:pos x="connsiteX9094" y="connsiteY9094"/>
                </a:cxn>
                <a:cxn ang="0">
                  <a:pos x="connsiteX9095" y="connsiteY9095"/>
                </a:cxn>
                <a:cxn ang="0">
                  <a:pos x="connsiteX9096" y="connsiteY9096"/>
                </a:cxn>
                <a:cxn ang="0">
                  <a:pos x="connsiteX9097" y="connsiteY9097"/>
                </a:cxn>
                <a:cxn ang="0">
                  <a:pos x="connsiteX9098" y="connsiteY9098"/>
                </a:cxn>
                <a:cxn ang="0">
                  <a:pos x="connsiteX9099" y="connsiteY9099"/>
                </a:cxn>
                <a:cxn ang="0">
                  <a:pos x="connsiteX9100" y="connsiteY9100"/>
                </a:cxn>
                <a:cxn ang="0">
                  <a:pos x="connsiteX9101" y="connsiteY9101"/>
                </a:cxn>
                <a:cxn ang="0">
                  <a:pos x="connsiteX9102" y="connsiteY9102"/>
                </a:cxn>
                <a:cxn ang="0">
                  <a:pos x="connsiteX9103" y="connsiteY9103"/>
                </a:cxn>
                <a:cxn ang="0">
                  <a:pos x="connsiteX9104" y="connsiteY9104"/>
                </a:cxn>
                <a:cxn ang="0">
                  <a:pos x="connsiteX9105" y="connsiteY9105"/>
                </a:cxn>
                <a:cxn ang="0">
                  <a:pos x="connsiteX9106" y="connsiteY9106"/>
                </a:cxn>
                <a:cxn ang="0">
                  <a:pos x="connsiteX9107" y="connsiteY9107"/>
                </a:cxn>
                <a:cxn ang="0">
                  <a:pos x="connsiteX9108" y="connsiteY9108"/>
                </a:cxn>
                <a:cxn ang="0">
                  <a:pos x="connsiteX9109" y="connsiteY9109"/>
                </a:cxn>
                <a:cxn ang="0">
                  <a:pos x="connsiteX9110" y="connsiteY9110"/>
                </a:cxn>
                <a:cxn ang="0">
                  <a:pos x="connsiteX9111" y="connsiteY9111"/>
                </a:cxn>
                <a:cxn ang="0">
                  <a:pos x="connsiteX9112" y="connsiteY9112"/>
                </a:cxn>
                <a:cxn ang="0">
                  <a:pos x="connsiteX9113" y="connsiteY9113"/>
                </a:cxn>
                <a:cxn ang="0">
                  <a:pos x="connsiteX9114" y="connsiteY9114"/>
                </a:cxn>
                <a:cxn ang="0">
                  <a:pos x="connsiteX9115" y="connsiteY9115"/>
                </a:cxn>
                <a:cxn ang="0">
                  <a:pos x="connsiteX9116" y="connsiteY9116"/>
                </a:cxn>
                <a:cxn ang="0">
                  <a:pos x="connsiteX9117" y="connsiteY9117"/>
                </a:cxn>
                <a:cxn ang="0">
                  <a:pos x="connsiteX9118" y="connsiteY9118"/>
                </a:cxn>
                <a:cxn ang="0">
                  <a:pos x="connsiteX9119" y="connsiteY9119"/>
                </a:cxn>
                <a:cxn ang="0">
                  <a:pos x="connsiteX9120" y="connsiteY9120"/>
                </a:cxn>
                <a:cxn ang="0">
                  <a:pos x="connsiteX9121" y="connsiteY9121"/>
                </a:cxn>
                <a:cxn ang="0">
                  <a:pos x="connsiteX9122" y="connsiteY9122"/>
                </a:cxn>
                <a:cxn ang="0">
                  <a:pos x="connsiteX9123" y="connsiteY9123"/>
                </a:cxn>
                <a:cxn ang="0">
                  <a:pos x="connsiteX9124" y="connsiteY9124"/>
                </a:cxn>
                <a:cxn ang="0">
                  <a:pos x="connsiteX9125" y="connsiteY9125"/>
                </a:cxn>
                <a:cxn ang="0">
                  <a:pos x="connsiteX9126" y="connsiteY9126"/>
                </a:cxn>
                <a:cxn ang="0">
                  <a:pos x="connsiteX9127" y="connsiteY9127"/>
                </a:cxn>
                <a:cxn ang="0">
                  <a:pos x="connsiteX9128" y="connsiteY9128"/>
                </a:cxn>
                <a:cxn ang="0">
                  <a:pos x="connsiteX9129" y="connsiteY9129"/>
                </a:cxn>
                <a:cxn ang="0">
                  <a:pos x="connsiteX9130" y="connsiteY9130"/>
                </a:cxn>
                <a:cxn ang="0">
                  <a:pos x="connsiteX9131" y="connsiteY9131"/>
                </a:cxn>
                <a:cxn ang="0">
                  <a:pos x="connsiteX9132" y="connsiteY9132"/>
                </a:cxn>
                <a:cxn ang="0">
                  <a:pos x="connsiteX9133" y="connsiteY9133"/>
                </a:cxn>
                <a:cxn ang="0">
                  <a:pos x="connsiteX9134" y="connsiteY9134"/>
                </a:cxn>
                <a:cxn ang="0">
                  <a:pos x="connsiteX9135" y="connsiteY9135"/>
                </a:cxn>
                <a:cxn ang="0">
                  <a:pos x="connsiteX9136" y="connsiteY9136"/>
                </a:cxn>
                <a:cxn ang="0">
                  <a:pos x="connsiteX9137" y="connsiteY9137"/>
                </a:cxn>
                <a:cxn ang="0">
                  <a:pos x="connsiteX9138" y="connsiteY9138"/>
                </a:cxn>
                <a:cxn ang="0">
                  <a:pos x="connsiteX9139" y="connsiteY9139"/>
                </a:cxn>
                <a:cxn ang="0">
                  <a:pos x="connsiteX9140" y="connsiteY9140"/>
                </a:cxn>
                <a:cxn ang="0">
                  <a:pos x="connsiteX9141" y="connsiteY9141"/>
                </a:cxn>
                <a:cxn ang="0">
                  <a:pos x="connsiteX9142" y="connsiteY9142"/>
                </a:cxn>
                <a:cxn ang="0">
                  <a:pos x="connsiteX9143" y="connsiteY9143"/>
                </a:cxn>
                <a:cxn ang="0">
                  <a:pos x="connsiteX9144" y="connsiteY9144"/>
                </a:cxn>
                <a:cxn ang="0">
                  <a:pos x="connsiteX9145" y="connsiteY9145"/>
                </a:cxn>
                <a:cxn ang="0">
                  <a:pos x="connsiteX9146" y="connsiteY9146"/>
                </a:cxn>
                <a:cxn ang="0">
                  <a:pos x="connsiteX9147" y="connsiteY9147"/>
                </a:cxn>
                <a:cxn ang="0">
                  <a:pos x="connsiteX9148" y="connsiteY9148"/>
                </a:cxn>
                <a:cxn ang="0">
                  <a:pos x="connsiteX9149" y="connsiteY9149"/>
                </a:cxn>
                <a:cxn ang="0">
                  <a:pos x="connsiteX9150" y="connsiteY9150"/>
                </a:cxn>
                <a:cxn ang="0">
                  <a:pos x="connsiteX9151" y="connsiteY9151"/>
                </a:cxn>
                <a:cxn ang="0">
                  <a:pos x="connsiteX9152" y="connsiteY9152"/>
                </a:cxn>
                <a:cxn ang="0">
                  <a:pos x="connsiteX9153" y="connsiteY9153"/>
                </a:cxn>
                <a:cxn ang="0">
                  <a:pos x="connsiteX9154" y="connsiteY9154"/>
                </a:cxn>
                <a:cxn ang="0">
                  <a:pos x="connsiteX9155" y="connsiteY9155"/>
                </a:cxn>
                <a:cxn ang="0">
                  <a:pos x="connsiteX9156" y="connsiteY9156"/>
                </a:cxn>
                <a:cxn ang="0">
                  <a:pos x="connsiteX9157" y="connsiteY9157"/>
                </a:cxn>
                <a:cxn ang="0">
                  <a:pos x="connsiteX9158" y="connsiteY9158"/>
                </a:cxn>
                <a:cxn ang="0">
                  <a:pos x="connsiteX9159" y="connsiteY9159"/>
                </a:cxn>
                <a:cxn ang="0">
                  <a:pos x="connsiteX9160" y="connsiteY9160"/>
                </a:cxn>
                <a:cxn ang="0">
                  <a:pos x="connsiteX9161" y="connsiteY9161"/>
                </a:cxn>
                <a:cxn ang="0">
                  <a:pos x="connsiteX9162" y="connsiteY9162"/>
                </a:cxn>
                <a:cxn ang="0">
                  <a:pos x="connsiteX9163" y="connsiteY9163"/>
                </a:cxn>
                <a:cxn ang="0">
                  <a:pos x="connsiteX9164" y="connsiteY9164"/>
                </a:cxn>
                <a:cxn ang="0">
                  <a:pos x="connsiteX9165" y="connsiteY9165"/>
                </a:cxn>
                <a:cxn ang="0">
                  <a:pos x="connsiteX9166" y="connsiteY9166"/>
                </a:cxn>
                <a:cxn ang="0">
                  <a:pos x="connsiteX9167" y="connsiteY9167"/>
                </a:cxn>
                <a:cxn ang="0">
                  <a:pos x="connsiteX9168" y="connsiteY9168"/>
                </a:cxn>
                <a:cxn ang="0">
                  <a:pos x="connsiteX9169" y="connsiteY9169"/>
                </a:cxn>
                <a:cxn ang="0">
                  <a:pos x="connsiteX9170" y="connsiteY9170"/>
                </a:cxn>
                <a:cxn ang="0">
                  <a:pos x="connsiteX9171" y="connsiteY9171"/>
                </a:cxn>
                <a:cxn ang="0">
                  <a:pos x="connsiteX9172" y="connsiteY9172"/>
                </a:cxn>
                <a:cxn ang="0">
                  <a:pos x="connsiteX9173" y="connsiteY9173"/>
                </a:cxn>
                <a:cxn ang="0">
                  <a:pos x="connsiteX9174" y="connsiteY9174"/>
                </a:cxn>
                <a:cxn ang="0">
                  <a:pos x="connsiteX9175" y="connsiteY9175"/>
                </a:cxn>
                <a:cxn ang="0">
                  <a:pos x="connsiteX9176" y="connsiteY9176"/>
                </a:cxn>
                <a:cxn ang="0">
                  <a:pos x="connsiteX9177" y="connsiteY9177"/>
                </a:cxn>
                <a:cxn ang="0">
                  <a:pos x="connsiteX9178" y="connsiteY9178"/>
                </a:cxn>
                <a:cxn ang="0">
                  <a:pos x="connsiteX9179" y="connsiteY9179"/>
                </a:cxn>
                <a:cxn ang="0">
                  <a:pos x="connsiteX9180" y="connsiteY9180"/>
                </a:cxn>
                <a:cxn ang="0">
                  <a:pos x="connsiteX9181" y="connsiteY9181"/>
                </a:cxn>
                <a:cxn ang="0">
                  <a:pos x="connsiteX9182" y="connsiteY9182"/>
                </a:cxn>
                <a:cxn ang="0">
                  <a:pos x="connsiteX9183" y="connsiteY9183"/>
                </a:cxn>
                <a:cxn ang="0">
                  <a:pos x="connsiteX9184" y="connsiteY9184"/>
                </a:cxn>
                <a:cxn ang="0">
                  <a:pos x="connsiteX9185" y="connsiteY9185"/>
                </a:cxn>
                <a:cxn ang="0">
                  <a:pos x="connsiteX9186" y="connsiteY9186"/>
                </a:cxn>
                <a:cxn ang="0">
                  <a:pos x="connsiteX9187" y="connsiteY9187"/>
                </a:cxn>
                <a:cxn ang="0">
                  <a:pos x="connsiteX9188" y="connsiteY9188"/>
                </a:cxn>
                <a:cxn ang="0">
                  <a:pos x="connsiteX9189" y="connsiteY9189"/>
                </a:cxn>
                <a:cxn ang="0">
                  <a:pos x="connsiteX9190" y="connsiteY9190"/>
                </a:cxn>
                <a:cxn ang="0">
                  <a:pos x="connsiteX9191" y="connsiteY9191"/>
                </a:cxn>
                <a:cxn ang="0">
                  <a:pos x="connsiteX9192" y="connsiteY9192"/>
                </a:cxn>
                <a:cxn ang="0">
                  <a:pos x="connsiteX9193" y="connsiteY9193"/>
                </a:cxn>
                <a:cxn ang="0">
                  <a:pos x="connsiteX9194" y="connsiteY9194"/>
                </a:cxn>
                <a:cxn ang="0">
                  <a:pos x="connsiteX9195" y="connsiteY9195"/>
                </a:cxn>
                <a:cxn ang="0">
                  <a:pos x="connsiteX9196" y="connsiteY9196"/>
                </a:cxn>
                <a:cxn ang="0">
                  <a:pos x="connsiteX9197" y="connsiteY9197"/>
                </a:cxn>
                <a:cxn ang="0">
                  <a:pos x="connsiteX9198" y="connsiteY9198"/>
                </a:cxn>
                <a:cxn ang="0">
                  <a:pos x="connsiteX9199" y="connsiteY9199"/>
                </a:cxn>
                <a:cxn ang="0">
                  <a:pos x="connsiteX9200" y="connsiteY9200"/>
                </a:cxn>
                <a:cxn ang="0">
                  <a:pos x="connsiteX9201" y="connsiteY9201"/>
                </a:cxn>
                <a:cxn ang="0">
                  <a:pos x="connsiteX9202" y="connsiteY9202"/>
                </a:cxn>
                <a:cxn ang="0">
                  <a:pos x="connsiteX9203" y="connsiteY9203"/>
                </a:cxn>
                <a:cxn ang="0">
                  <a:pos x="connsiteX9204" y="connsiteY9204"/>
                </a:cxn>
                <a:cxn ang="0">
                  <a:pos x="connsiteX9205" y="connsiteY9205"/>
                </a:cxn>
                <a:cxn ang="0">
                  <a:pos x="connsiteX9206" y="connsiteY9206"/>
                </a:cxn>
                <a:cxn ang="0">
                  <a:pos x="connsiteX9207" y="connsiteY9207"/>
                </a:cxn>
                <a:cxn ang="0">
                  <a:pos x="connsiteX9208" y="connsiteY9208"/>
                </a:cxn>
                <a:cxn ang="0">
                  <a:pos x="connsiteX9209" y="connsiteY9209"/>
                </a:cxn>
                <a:cxn ang="0">
                  <a:pos x="connsiteX9210" y="connsiteY9210"/>
                </a:cxn>
                <a:cxn ang="0">
                  <a:pos x="connsiteX9211" y="connsiteY9211"/>
                </a:cxn>
                <a:cxn ang="0">
                  <a:pos x="connsiteX9212" y="connsiteY9212"/>
                </a:cxn>
                <a:cxn ang="0">
                  <a:pos x="connsiteX9213" y="connsiteY9213"/>
                </a:cxn>
                <a:cxn ang="0">
                  <a:pos x="connsiteX9214" y="connsiteY9214"/>
                </a:cxn>
                <a:cxn ang="0">
                  <a:pos x="connsiteX9215" y="connsiteY9215"/>
                </a:cxn>
                <a:cxn ang="0">
                  <a:pos x="connsiteX9216" y="connsiteY9216"/>
                </a:cxn>
                <a:cxn ang="0">
                  <a:pos x="connsiteX9217" y="connsiteY9217"/>
                </a:cxn>
                <a:cxn ang="0">
                  <a:pos x="connsiteX9218" y="connsiteY9218"/>
                </a:cxn>
                <a:cxn ang="0">
                  <a:pos x="connsiteX9219" y="connsiteY9219"/>
                </a:cxn>
                <a:cxn ang="0">
                  <a:pos x="connsiteX9220" y="connsiteY9220"/>
                </a:cxn>
                <a:cxn ang="0">
                  <a:pos x="connsiteX9221" y="connsiteY9221"/>
                </a:cxn>
                <a:cxn ang="0">
                  <a:pos x="connsiteX9222" y="connsiteY9222"/>
                </a:cxn>
                <a:cxn ang="0">
                  <a:pos x="connsiteX9223" y="connsiteY9223"/>
                </a:cxn>
                <a:cxn ang="0">
                  <a:pos x="connsiteX9224" y="connsiteY9224"/>
                </a:cxn>
                <a:cxn ang="0">
                  <a:pos x="connsiteX9225" y="connsiteY9225"/>
                </a:cxn>
                <a:cxn ang="0">
                  <a:pos x="connsiteX9226" y="connsiteY9226"/>
                </a:cxn>
                <a:cxn ang="0">
                  <a:pos x="connsiteX9227" y="connsiteY9227"/>
                </a:cxn>
                <a:cxn ang="0">
                  <a:pos x="connsiteX9228" y="connsiteY9228"/>
                </a:cxn>
                <a:cxn ang="0">
                  <a:pos x="connsiteX9229" y="connsiteY9229"/>
                </a:cxn>
                <a:cxn ang="0">
                  <a:pos x="connsiteX9230" y="connsiteY9230"/>
                </a:cxn>
                <a:cxn ang="0">
                  <a:pos x="connsiteX9231" y="connsiteY9231"/>
                </a:cxn>
                <a:cxn ang="0">
                  <a:pos x="connsiteX9232" y="connsiteY9232"/>
                </a:cxn>
                <a:cxn ang="0">
                  <a:pos x="connsiteX9233" y="connsiteY9233"/>
                </a:cxn>
                <a:cxn ang="0">
                  <a:pos x="connsiteX9234" y="connsiteY9234"/>
                </a:cxn>
                <a:cxn ang="0">
                  <a:pos x="connsiteX9235" y="connsiteY9235"/>
                </a:cxn>
                <a:cxn ang="0">
                  <a:pos x="connsiteX9236" y="connsiteY9236"/>
                </a:cxn>
                <a:cxn ang="0">
                  <a:pos x="connsiteX9237" y="connsiteY9237"/>
                </a:cxn>
                <a:cxn ang="0">
                  <a:pos x="connsiteX9238" y="connsiteY9238"/>
                </a:cxn>
                <a:cxn ang="0">
                  <a:pos x="connsiteX9239" y="connsiteY9239"/>
                </a:cxn>
                <a:cxn ang="0">
                  <a:pos x="connsiteX9240" y="connsiteY9240"/>
                </a:cxn>
                <a:cxn ang="0">
                  <a:pos x="connsiteX9241" y="connsiteY9241"/>
                </a:cxn>
                <a:cxn ang="0">
                  <a:pos x="connsiteX9242" y="connsiteY9242"/>
                </a:cxn>
                <a:cxn ang="0">
                  <a:pos x="connsiteX9243" y="connsiteY9243"/>
                </a:cxn>
                <a:cxn ang="0">
                  <a:pos x="connsiteX9244" y="connsiteY9244"/>
                </a:cxn>
                <a:cxn ang="0">
                  <a:pos x="connsiteX9245" y="connsiteY9245"/>
                </a:cxn>
                <a:cxn ang="0">
                  <a:pos x="connsiteX9246" y="connsiteY9246"/>
                </a:cxn>
                <a:cxn ang="0">
                  <a:pos x="connsiteX9247" y="connsiteY9247"/>
                </a:cxn>
                <a:cxn ang="0">
                  <a:pos x="connsiteX9248" y="connsiteY9248"/>
                </a:cxn>
                <a:cxn ang="0">
                  <a:pos x="connsiteX9249" y="connsiteY9249"/>
                </a:cxn>
                <a:cxn ang="0">
                  <a:pos x="connsiteX9250" y="connsiteY9250"/>
                </a:cxn>
                <a:cxn ang="0">
                  <a:pos x="connsiteX9251" y="connsiteY9251"/>
                </a:cxn>
                <a:cxn ang="0">
                  <a:pos x="connsiteX9252" y="connsiteY9252"/>
                </a:cxn>
                <a:cxn ang="0">
                  <a:pos x="connsiteX9253" y="connsiteY9253"/>
                </a:cxn>
                <a:cxn ang="0">
                  <a:pos x="connsiteX9254" y="connsiteY9254"/>
                </a:cxn>
                <a:cxn ang="0">
                  <a:pos x="connsiteX9255" y="connsiteY9255"/>
                </a:cxn>
                <a:cxn ang="0">
                  <a:pos x="connsiteX9256" y="connsiteY9256"/>
                </a:cxn>
                <a:cxn ang="0">
                  <a:pos x="connsiteX9257" y="connsiteY9257"/>
                </a:cxn>
                <a:cxn ang="0">
                  <a:pos x="connsiteX9258" y="connsiteY9258"/>
                </a:cxn>
                <a:cxn ang="0">
                  <a:pos x="connsiteX9259" y="connsiteY9259"/>
                </a:cxn>
                <a:cxn ang="0">
                  <a:pos x="connsiteX9260" y="connsiteY9260"/>
                </a:cxn>
                <a:cxn ang="0">
                  <a:pos x="connsiteX9261" y="connsiteY9261"/>
                </a:cxn>
                <a:cxn ang="0">
                  <a:pos x="connsiteX9262" y="connsiteY9262"/>
                </a:cxn>
                <a:cxn ang="0">
                  <a:pos x="connsiteX9263" y="connsiteY9263"/>
                </a:cxn>
                <a:cxn ang="0">
                  <a:pos x="connsiteX9264" y="connsiteY9264"/>
                </a:cxn>
                <a:cxn ang="0">
                  <a:pos x="connsiteX9265" y="connsiteY9265"/>
                </a:cxn>
                <a:cxn ang="0">
                  <a:pos x="connsiteX9266" y="connsiteY9266"/>
                </a:cxn>
                <a:cxn ang="0">
                  <a:pos x="connsiteX9267" y="connsiteY9267"/>
                </a:cxn>
                <a:cxn ang="0">
                  <a:pos x="connsiteX9268" y="connsiteY9268"/>
                </a:cxn>
                <a:cxn ang="0">
                  <a:pos x="connsiteX9269" y="connsiteY9269"/>
                </a:cxn>
                <a:cxn ang="0">
                  <a:pos x="connsiteX9270" y="connsiteY9270"/>
                </a:cxn>
                <a:cxn ang="0">
                  <a:pos x="connsiteX9271" y="connsiteY9271"/>
                </a:cxn>
                <a:cxn ang="0">
                  <a:pos x="connsiteX9272" y="connsiteY9272"/>
                </a:cxn>
                <a:cxn ang="0">
                  <a:pos x="connsiteX9273" y="connsiteY9273"/>
                </a:cxn>
                <a:cxn ang="0">
                  <a:pos x="connsiteX9274" y="connsiteY9274"/>
                </a:cxn>
                <a:cxn ang="0">
                  <a:pos x="connsiteX9275" y="connsiteY9275"/>
                </a:cxn>
                <a:cxn ang="0">
                  <a:pos x="connsiteX9276" y="connsiteY9276"/>
                </a:cxn>
                <a:cxn ang="0">
                  <a:pos x="connsiteX9277" y="connsiteY9277"/>
                </a:cxn>
                <a:cxn ang="0">
                  <a:pos x="connsiteX9278" y="connsiteY9278"/>
                </a:cxn>
                <a:cxn ang="0">
                  <a:pos x="connsiteX9279" y="connsiteY9279"/>
                </a:cxn>
                <a:cxn ang="0">
                  <a:pos x="connsiteX9280" y="connsiteY9280"/>
                </a:cxn>
                <a:cxn ang="0">
                  <a:pos x="connsiteX9281" y="connsiteY9281"/>
                </a:cxn>
                <a:cxn ang="0">
                  <a:pos x="connsiteX9282" y="connsiteY9282"/>
                </a:cxn>
                <a:cxn ang="0">
                  <a:pos x="connsiteX9283" y="connsiteY9283"/>
                </a:cxn>
                <a:cxn ang="0">
                  <a:pos x="connsiteX9284" y="connsiteY9284"/>
                </a:cxn>
                <a:cxn ang="0">
                  <a:pos x="connsiteX9285" y="connsiteY9285"/>
                </a:cxn>
                <a:cxn ang="0">
                  <a:pos x="connsiteX9286" y="connsiteY9286"/>
                </a:cxn>
                <a:cxn ang="0">
                  <a:pos x="connsiteX9287" y="connsiteY9287"/>
                </a:cxn>
                <a:cxn ang="0">
                  <a:pos x="connsiteX9288" y="connsiteY9288"/>
                </a:cxn>
                <a:cxn ang="0">
                  <a:pos x="connsiteX9289" y="connsiteY9289"/>
                </a:cxn>
                <a:cxn ang="0">
                  <a:pos x="connsiteX9290" y="connsiteY9290"/>
                </a:cxn>
                <a:cxn ang="0">
                  <a:pos x="connsiteX9291" y="connsiteY9291"/>
                </a:cxn>
                <a:cxn ang="0">
                  <a:pos x="connsiteX9292" y="connsiteY9292"/>
                </a:cxn>
                <a:cxn ang="0">
                  <a:pos x="connsiteX9293" y="connsiteY9293"/>
                </a:cxn>
                <a:cxn ang="0">
                  <a:pos x="connsiteX9294" y="connsiteY9294"/>
                </a:cxn>
                <a:cxn ang="0">
                  <a:pos x="connsiteX9295" y="connsiteY9295"/>
                </a:cxn>
                <a:cxn ang="0">
                  <a:pos x="connsiteX9296" y="connsiteY9296"/>
                </a:cxn>
                <a:cxn ang="0">
                  <a:pos x="connsiteX9297" y="connsiteY9297"/>
                </a:cxn>
                <a:cxn ang="0">
                  <a:pos x="connsiteX9298" y="connsiteY9298"/>
                </a:cxn>
                <a:cxn ang="0">
                  <a:pos x="connsiteX9299" y="connsiteY9299"/>
                </a:cxn>
                <a:cxn ang="0">
                  <a:pos x="connsiteX9300" y="connsiteY9300"/>
                </a:cxn>
                <a:cxn ang="0">
                  <a:pos x="connsiteX9301" y="connsiteY9301"/>
                </a:cxn>
                <a:cxn ang="0">
                  <a:pos x="connsiteX9302" y="connsiteY9302"/>
                </a:cxn>
                <a:cxn ang="0">
                  <a:pos x="connsiteX9303" y="connsiteY9303"/>
                </a:cxn>
                <a:cxn ang="0">
                  <a:pos x="connsiteX9304" y="connsiteY9304"/>
                </a:cxn>
                <a:cxn ang="0">
                  <a:pos x="connsiteX9305" y="connsiteY9305"/>
                </a:cxn>
                <a:cxn ang="0">
                  <a:pos x="connsiteX9306" y="connsiteY9306"/>
                </a:cxn>
                <a:cxn ang="0">
                  <a:pos x="connsiteX9307" y="connsiteY9307"/>
                </a:cxn>
                <a:cxn ang="0">
                  <a:pos x="connsiteX9308" y="connsiteY9308"/>
                </a:cxn>
                <a:cxn ang="0">
                  <a:pos x="connsiteX9309" y="connsiteY9309"/>
                </a:cxn>
                <a:cxn ang="0">
                  <a:pos x="connsiteX9310" y="connsiteY9310"/>
                </a:cxn>
                <a:cxn ang="0">
                  <a:pos x="connsiteX9311" y="connsiteY9311"/>
                </a:cxn>
                <a:cxn ang="0">
                  <a:pos x="connsiteX9312" y="connsiteY9312"/>
                </a:cxn>
                <a:cxn ang="0">
                  <a:pos x="connsiteX9313" y="connsiteY9313"/>
                </a:cxn>
                <a:cxn ang="0">
                  <a:pos x="connsiteX9314" y="connsiteY9314"/>
                </a:cxn>
                <a:cxn ang="0">
                  <a:pos x="connsiteX9315" y="connsiteY9315"/>
                </a:cxn>
                <a:cxn ang="0">
                  <a:pos x="connsiteX9316" y="connsiteY9316"/>
                </a:cxn>
                <a:cxn ang="0">
                  <a:pos x="connsiteX9317" y="connsiteY9317"/>
                </a:cxn>
                <a:cxn ang="0">
                  <a:pos x="connsiteX9318" y="connsiteY9318"/>
                </a:cxn>
                <a:cxn ang="0">
                  <a:pos x="connsiteX9319" y="connsiteY9319"/>
                </a:cxn>
                <a:cxn ang="0">
                  <a:pos x="connsiteX9320" y="connsiteY9320"/>
                </a:cxn>
                <a:cxn ang="0">
                  <a:pos x="connsiteX9321" y="connsiteY9321"/>
                </a:cxn>
                <a:cxn ang="0">
                  <a:pos x="connsiteX9322" y="connsiteY9322"/>
                </a:cxn>
                <a:cxn ang="0">
                  <a:pos x="connsiteX9323" y="connsiteY9323"/>
                </a:cxn>
                <a:cxn ang="0">
                  <a:pos x="connsiteX9324" y="connsiteY9324"/>
                </a:cxn>
                <a:cxn ang="0">
                  <a:pos x="connsiteX9325" y="connsiteY9325"/>
                </a:cxn>
                <a:cxn ang="0">
                  <a:pos x="connsiteX9326" y="connsiteY9326"/>
                </a:cxn>
                <a:cxn ang="0">
                  <a:pos x="connsiteX9327" y="connsiteY9327"/>
                </a:cxn>
                <a:cxn ang="0">
                  <a:pos x="connsiteX9328" y="connsiteY9328"/>
                </a:cxn>
                <a:cxn ang="0">
                  <a:pos x="connsiteX9329" y="connsiteY9329"/>
                </a:cxn>
                <a:cxn ang="0">
                  <a:pos x="connsiteX9330" y="connsiteY9330"/>
                </a:cxn>
                <a:cxn ang="0">
                  <a:pos x="connsiteX9331" y="connsiteY9331"/>
                </a:cxn>
                <a:cxn ang="0">
                  <a:pos x="connsiteX9332" y="connsiteY9332"/>
                </a:cxn>
                <a:cxn ang="0">
                  <a:pos x="connsiteX9333" y="connsiteY9333"/>
                </a:cxn>
                <a:cxn ang="0">
                  <a:pos x="connsiteX9334" y="connsiteY9334"/>
                </a:cxn>
                <a:cxn ang="0">
                  <a:pos x="connsiteX9335" y="connsiteY9335"/>
                </a:cxn>
                <a:cxn ang="0">
                  <a:pos x="connsiteX9336" y="connsiteY9336"/>
                </a:cxn>
                <a:cxn ang="0">
                  <a:pos x="connsiteX9337" y="connsiteY9337"/>
                </a:cxn>
                <a:cxn ang="0">
                  <a:pos x="connsiteX9338" y="connsiteY9338"/>
                </a:cxn>
                <a:cxn ang="0">
                  <a:pos x="connsiteX9339" y="connsiteY9339"/>
                </a:cxn>
                <a:cxn ang="0">
                  <a:pos x="connsiteX9340" y="connsiteY9340"/>
                </a:cxn>
                <a:cxn ang="0">
                  <a:pos x="connsiteX9341" y="connsiteY9341"/>
                </a:cxn>
                <a:cxn ang="0">
                  <a:pos x="connsiteX9342" y="connsiteY9342"/>
                </a:cxn>
                <a:cxn ang="0">
                  <a:pos x="connsiteX9343" y="connsiteY9343"/>
                </a:cxn>
                <a:cxn ang="0">
                  <a:pos x="connsiteX9344" y="connsiteY9344"/>
                </a:cxn>
                <a:cxn ang="0">
                  <a:pos x="connsiteX9345" y="connsiteY9345"/>
                </a:cxn>
                <a:cxn ang="0">
                  <a:pos x="connsiteX9346" y="connsiteY9346"/>
                </a:cxn>
                <a:cxn ang="0">
                  <a:pos x="connsiteX9347" y="connsiteY9347"/>
                </a:cxn>
                <a:cxn ang="0">
                  <a:pos x="connsiteX9348" y="connsiteY9348"/>
                </a:cxn>
                <a:cxn ang="0">
                  <a:pos x="connsiteX9349" y="connsiteY9349"/>
                </a:cxn>
                <a:cxn ang="0">
                  <a:pos x="connsiteX9350" y="connsiteY9350"/>
                </a:cxn>
                <a:cxn ang="0">
                  <a:pos x="connsiteX9351" y="connsiteY9351"/>
                </a:cxn>
                <a:cxn ang="0">
                  <a:pos x="connsiteX9352" y="connsiteY9352"/>
                </a:cxn>
                <a:cxn ang="0">
                  <a:pos x="connsiteX9353" y="connsiteY9353"/>
                </a:cxn>
                <a:cxn ang="0">
                  <a:pos x="connsiteX9354" y="connsiteY9354"/>
                </a:cxn>
                <a:cxn ang="0">
                  <a:pos x="connsiteX9355" y="connsiteY9355"/>
                </a:cxn>
                <a:cxn ang="0">
                  <a:pos x="connsiteX9356" y="connsiteY9356"/>
                </a:cxn>
                <a:cxn ang="0">
                  <a:pos x="connsiteX9357" y="connsiteY9357"/>
                </a:cxn>
                <a:cxn ang="0">
                  <a:pos x="connsiteX9358" y="connsiteY9358"/>
                </a:cxn>
                <a:cxn ang="0">
                  <a:pos x="connsiteX9359" y="connsiteY9359"/>
                </a:cxn>
                <a:cxn ang="0">
                  <a:pos x="connsiteX9360" y="connsiteY9360"/>
                </a:cxn>
                <a:cxn ang="0">
                  <a:pos x="connsiteX9361" y="connsiteY9361"/>
                </a:cxn>
                <a:cxn ang="0">
                  <a:pos x="connsiteX9362" y="connsiteY9362"/>
                </a:cxn>
                <a:cxn ang="0">
                  <a:pos x="connsiteX9363" y="connsiteY9363"/>
                </a:cxn>
                <a:cxn ang="0">
                  <a:pos x="connsiteX9364" y="connsiteY9364"/>
                </a:cxn>
                <a:cxn ang="0">
                  <a:pos x="connsiteX9365" y="connsiteY9365"/>
                </a:cxn>
                <a:cxn ang="0">
                  <a:pos x="connsiteX9366" y="connsiteY9366"/>
                </a:cxn>
                <a:cxn ang="0">
                  <a:pos x="connsiteX9367" y="connsiteY9367"/>
                </a:cxn>
                <a:cxn ang="0">
                  <a:pos x="connsiteX9368" y="connsiteY9368"/>
                </a:cxn>
                <a:cxn ang="0">
                  <a:pos x="connsiteX9369" y="connsiteY9369"/>
                </a:cxn>
                <a:cxn ang="0">
                  <a:pos x="connsiteX9370" y="connsiteY9370"/>
                </a:cxn>
                <a:cxn ang="0">
                  <a:pos x="connsiteX9371" y="connsiteY9371"/>
                </a:cxn>
                <a:cxn ang="0">
                  <a:pos x="connsiteX9372" y="connsiteY9372"/>
                </a:cxn>
                <a:cxn ang="0">
                  <a:pos x="connsiteX9373" y="connsiteY9373"/>
                </a:cxn>
                <a:cxn ang="0">
                  <a:pos x="connsiteX9374" y="connsiteY9374"/>
                </a:cxn>
                <a:cxn ang="0">
                  <a:pos x="connsiteX9375" y="connsiteY9375"/>
                </a:cxn>
                <a:cxn ang="0">
                  <a:pos x="connsiteX9376" y="connsiteY9376"/>
                </a:cxn>
                <a:cxn ang="0">
                  <a:pos x="connsiteX9377" y="connsiteY9377"/>
                </a:cxn>
                <a:cxn ang="0">
                  <a:pos x="connsiteX9378" y="connsiteY9378"/>
                </a:cxn>
                <a:cxn ang="0">
                  <a:pos x="connsiteX9379" y="connsiteY9379"/>
                </a:cxn>
                <a:cxn ang="0">
                  <a:pos x="connsiteX9380" y="connsiteY9380"/>
                </a:cxn>
                <a:cxn ang="0">
                  <a:pos x="connsiteX9381" y="connsiteY9381"/>
                </a:cxn>
                <a:cxn ang="0">
                  <a:pos x="connsiteX9382" y="connsiteY9382"/>
                </a:cxn>
                <a:cxn ang="0">
                  <a:pos x="connsiteX9383" y="connsiteY9383"/>
                </a:cxn>
                <a:cxn ang="0">
                  <a:pos x="connsiteX9384" y="connsiteY9384"/>
                </a:cxn>
                <a:cxn ang="0">
                  <a:pos x="connsiteX9385" y="connsiteY9385"/>
                </a:cxn>
                <a:cxn ang="0">
                  <a:pos x="connsiteX9386" y="connsiteY9386"/>
                </a:cxn>
                <a:cxn ang="0">
                  <a:pos x="connsiteX9387" y="connsiteY9387"/>
                </a:cxn>
                <a:cxn ang="0">
                  <a:pos x="connsiteX9388" y="connsiteY9388"/>
                </a:cxn>
                <a:cxn ang="0">
                  <a:pos x="connsiteX9389" y="connsiteY9389"/>
                </a:cxn>
                <a:cxn ang="0">
                  <a:pos x="connsiteX9390" y="connsiteY9390"/>
                </a:cxn>
                <a:cxn ang="0">
                  <a:pos x="connsiteX9391" y="connsiteY9391"/>
                </a:cxn>
                <a:cxn ang="0">
                  <a:pos x="connsiteX9392" y="connsiteY9392"/>
                </a:cxn>
                <a:cxn ang="0">
                  <a:pos x="connsiteX9393" y="connsiteY9393"/>
                </a:cxn>
                <a:cxn ang="0">
                  <a:pos x="connsiteX9394" y="connsiteY9394"/>
                </a:cxn>
                <a:cxn ang="0">
                  <a:pos x="connsiteX9395" y="connsiteY9395"/>
                </a:cxn>
                <a:cxn ang="0">
                  <a:pos x="connsiteX9396" y="connsiteY9396"/>
                </a:cxn>
                <a:cxn ang="0">
                  <a:pos x="connsiteX9397" y="connsiteY9397"/>
                </a:cxn>
                <a:cxn ang="0">
                  <a:pos x="connsiteX9398" y="connsiteY9398"/>
                </a:cxn>
                <a:cxn ang="0">
                  <a:pos x="connsiteX9399" y="connsiteY9399"/>
                </a:cxn>
                <a:cxn ang="0">
                  <a:pos x="connsiteX9400" y="connsiteY9400"/>
                </a:cxn>
                <a:cxn ang="0">
                  <a:pos x="connsiteX9401" y="connsiteY9401"/>
                </a:cxn>
                <a:cxn ang="0">
                  <a:pos x="connsiteX9402" y="connsiteY9402"/>
                </a:cxn>
                <a:cxn ang="0">
                  <a:pos x="connsiteX9403" y="connsiteY9403"/>
                </a:cxn>
                <a:cxn ang="0">
                  <a:pos x="connsiteX9404" y="connsiteY9404"/>
                </a:cxn>
                <a:cxn ang="0">
                  <a:pos x="connsiteX9405" y="connsiteY9405"/>
                </a:cxn>
                <a:cxn ang="0">
                  <a:pos x="connsiteX9406" y="connsiteY9406"/>
                </a:cxn>
                <a:cxn ang="0">
                  <a:pos x="connsiteX9407" y="connsiteY9407"/>
                </a:cxn>
                <a:cxn ang="0">
                  <a:pos x="connsiteX9408" y="connsiteY9408"/>
                </a:cxn>
                <a:cxn ang="0">
                  <a:pos x="connsiteX9409" y="connsiteY9409"/>
                </a:cxn>
                <a:cxn ang="0">
                  <a:pos x="connsiteX9410" y="connsiteY9410"/>
                </a:cxn>
                <a:cxn ang="0">
                  <a:pos x="connsiteX9411" y="connsiteY9411"/>
                </a:cxn>
                <a:cxn ang="0">
                  <a:pos x="connsiteX9412" y="connsiteY9412"/>
                </a:cxn>
                <a:cxn ang="0">
                  <a:pos x="connsiteX9413" y="connsiteY9413"/>
                </a:cxn>
                <a:cxn ang="0">
                  <a:pos x="connsiteX9414" y="connsiteY9414"/>
                </a:cxn>
                <a:cxn ang="0">
                  <a:pos x="connsiteX9415" y="connsiteY9415"/>
                </a:cxn>
                <a:cxn ang="0">
                  <a:pos x="connsiteX9416" y="connsiteY9416"/>
                </a:cxn>
                <a:cxn ang="0">
                  <a:pos x="connsiteX9417" y="connsiteY9417"/>
                </a:cxn>
                <a:cxn ang="0">
                  <a:pos x="connsiteX9418" y="connsiteY9418"/>
                </a:cxn>
                <a:cxn ang="0">
                  <a:pos x="connsiteX9419" y="connsiteY9419"/>
                </a:cxn>
                <a:cxn ang="0">
                  <a:pos x="connsiteX9420" y="connsiteY9420"/>
                </a:cxn>
                <a:cxn ang="0">
                  <a:pos x="connsiteX9421" y="connsiteY9421"/>
                </a:cxn>
                <a:cxn ang="0">
                  <a:pos x="connsiteX9422" y="connsiteY9422"/>
                </a:cxn>
                <a:cxn ang="0">
                  <a:pos x="connsiteX9423" y="connsiteY9423"/>
                </a:cxn>
                <a:cxn ang="0">
                  <a:pos x="connsiteX9424" y="connsiteY9424"/>
                </a:cxn>
                <a:cxn ang="0">
                  <a:pos x="connsiteX9425" y="connsiteY9425"/>
                </a:cxn>
                <a:cxn ang="0">
                  <a:pos x="connsiteX9426" y="connsiteY9426"/>
                </a:cxn>
                <a:cxn ang="0">
                  <a:pos x="connsiteX9427" y="connsiteY9427"/>
                </a:cxn>
                <a:cxn ang="0">
                  <a:pos x="connsiteX9428" y="connsiteY9428"/>
                </a:cxn>
                <a:cxn ang="0">
                  <a:pos x="connsiteX9429" y="connsiteY9429"/>
                </a:cxn>
                <a:cxn ang="0">
                  <a:pos x="connsiteX9430" y="connsiteY9430"/>
                </a:cxn>
                <a:cxn ang="0">
                  <a:pos x="connsiteX9431" y="connsiteY9431"/>
                </a:cxn>
                <a:cxn ang="0">
                  <a:pos x="connsiteX9432" y="connsiteY9432"/>
                </a:cxn>
                <a:cxn ang="0">
                  <a:pos x="connsiteX9433" y="connsiteY9433"/>
                </a:cxn>
                <a:cxn ang="0">
                  <a:pos x="connsiteX9434" y="connsiteY9434"/>
                </a:cxn>
                <a:cxn ang="0">
                  <a:pos x="connsiteX9435" y="connsiteY9435"/>
                </a:cxn>
                <a:cxn ang="0">
                  <a:pos x="connsiteX9436" y="connsiteY9436"/>
                </a:cxn>
                <a:cxn ang="0">
                  <a:pos x="connsiteX9437" y="connsiteY9437"/>
                </a:cxn>
                <a:cxn ang="0">
                  <a:pos x="connsiteX9438" y="connsiteY9438"/>
                </a:cxn>
                <a:cxn ang="0">
                  <a:pos x="connsiteX9439" y="connsiteY9439"/>
                </a:cxn>
                <a:cxn ang="0">
                  <a:pos x="connsiteX9440" y="connsiteY9440"/>
                </a:cxn>
                <a:cxn ang="0">
                  <a:pos x="connsiteX9441" y="connsiteY9441"/>
                </a:cxn>
                <a:cxn ang="0">
                  <a:pos x="connsiteX9442" y="connsiteY9442"/>
                </a:cxn>
                <a:cxn ang="0">
                  <a:pos x="connsiteX9443" y="connsiteY9443"/>
                </a:cxn>
                <a:cxn ang="0">
                  <a:pos x="connsiteX9444" y="connsiteY9444"/>
                </a:cxn>
                <a:cxn ang="0">
                  <a:pos x="connsiteX9445" y="connsiteY9445"/>
                </a:cxn>
                <a:cxn ang="0">
                  <a:pos x="connsiteX9446" y="connsiteY9446"/>
                </a:cxn>
                <a:cxn ang="0">
                  <a:pos x="connsiteX9447" y="connsiteY9447"/>
                </a:cxn>
                <a:cxn ang="0">
                  <a:pos x="connsiteX9448" y="connsiteY9448"/>
                </a:cxn>
                <a:cxn ang="0">
                  <a:pos x="connsiteX9449" y="connsiteY9449"/>
                </a:cxn>
                <a:cxn ang="0">
                  <a:pos x="connsiteX9450" y="connsiteY9450"/>
                </a:cxn>
                <a:cxn ang="0">
                  <a:pos x="connsiteX9451" y="connsiteY9451"/>
                </a:cxn>
                <a:cxn ang="0">
                  <a:pos x="connsiteX9452" y="connsiteY9452"/>
                </a:cxn>
                <a:cxn ang="0">
                  <a:pos x="connsiteX9453" y="connsiteY9453"/>
                </a:cxn>
                <a:cxn ang="0">
                  <a:pos x="connsiteX9454" y="connsiteY9454"/>
                </a:cxn>
                <a:cxn ang="0">
                  <a:pos x="connsiteX9455" y="connsiteY9455"/>
                </a:cxn>
                <a:cxn ang="0">
                  <a:pos x="connsiteX9456" y="connsiteY9456"/>
                </a:cxn>
                <a:cxn ang="0">
                  <a:pos x="connsiteX9457" y="connsiteY9457"/>
                </a:cxn>
                <a:cxn ang="0">
                  <a:pos x="connsiteX9458" y="connsiteY9458"/>
                </a:cxn>
                <a:cxn ang="0">
                  <a:pos x="connsiteX9459" y="connsiteY9459"/>
                </a:cxn>
                <a:cxn ang="0">
                  <a:pos x="connsiteX9460" y="connsiteY9460"/>
                </a:cxn>
                <a:cxn ang="0">
                  <a:pos x="connsiteX9461" y="connsiteY9461"/>
                </a:cxn>
                <a:cxn ang="0">
                  <a:pos x="connsiteX9462" y="connsiteY9462"/>
                </a:cxn>
                <a:cxn ang="0">
                  <a:pos x="connsiteX9463" y="connsiteY9463"/>
                </a:cxn>
                <a:cxn ang="0">
                  <a:pos x="connsiteX9464" y="connsiteY9464"/>
                </a:cxn>
                <a:cxn ang="0">
                  <a:pos x="connsiteX9465" y="connsiteY9465"/>
                </a:cxn>
                <a:cxn ang="0">
                  <a:pos x="connsiteX9466" y="connsiteY9466"/>
                </a:cxn>
                <a:cxn ang="0">
                  <a:pos x="connsiteX9467" y="connsiteY9467"/>
                </a:cxn>
                <a:cxn ang="0">
                  <a:pos x="connsiteX9468" y="connsiteY9468"/>
                </a:cxn>
                <a:cxn ang="0">
                  <a:pos x="connsiteX9469" y="connsiteY9469"/>
                </a:cxn>
                <a:cxn ang="0">
                  <a:pos x="connsiteX9470" y="connsiteY9470"/>
                </a:cxn>
                <a:cxn ang="0">
                  <a:pos x="connsiteX9471" y="connsiteY9471"/>
                </a:cxn>
                <a:cxn ang="0">
                  <a:pos x="connsiteX9472" y="connsiteY9472"/>
                </a:cxn>
                <a:cxn ang="0">
                  <a:pos x="connsiteX9473" y="connsiteY9473"/>
                </a:cxn>
                <a:cxn ang="0">
                  <a:pos x="connsiteX9474" y="connsiteY9474"/>
                </a:cxn>
                <a:cxn ang="0">
                  <a:pos x="connsiteX9475" y="connsiteY9475"/>
                </a:cxn>
                <a:cxn ang="0">
                  <a:pos x="connsiteX9476" y="connsiteY9476"/>
                </a:cxn>
                <a:cxn ang="0">
                  <a:pos x="connsiteX9477" y="connsiteY9477"/>
                </a:cxn>
                <a:cxn ang="0">
                  <a:pos x="connsiteX9478" y="connsiteY9478"/>
                </a:cxn>
                <a:cxn ang="0">
                  <a:pos x="connsiteX9479" y="connsiteY9479"/>
                </a:cxn>
                <a:cxn ang="0">
                  <a:pos x="connsiteX9480" y="connsiteY9480"/>
                </a:cxn>
                <a:cxn ang="0">
                  <a:pos x="connsiteX9481" y="connsiteY9481"/>
                </a:cxn>
                <a:cxn ang="0">
                  <a:pos x="connsiteX9482" y="connsiteY9482"/>
                </a:cxn>
                <a:cxn ang="0">
                  <a:pos x="connsiteX9483" y="connsiteY9483"/>
                </a:cxn>
                <a:cxn ang="0">
                  <a:pos x="connsiteX9484" y="connsiteY9484"/>
                </a:cxn>
                <a:cxn ang="0">
                  <a:pos x="connsiteX9485" y="connsiteY9485"/>
                </a:cxn>
                <a:cxn ang="0">
                  <a:pos x="connsiteX9486" y="connsiteY9486"/>
                </a:cxn>
                <a:cxn ang="0">
                  <a:pos x="connsiteX9487" y="connsiteY9487"/>
                </a:cxn>
                <a:cxn ang="0">
                  <a:pos x="connsiteX9488" y="connsiteY9488"/>
                </a:cxn>
                <a:cxn ang="0">
                  <a:pos x="connsiteX9489" y="connsiteY9489"/>
                </a:cxn>
                <a:cxn ang="0">
                  <a:pos x="connsiteX9490" y="connsiteY9490"/>
                </a:cxn>
                <a:cxn ang="0">
                  <a:pos x="connsiteX9491" y="connsiteY9491"/>
                </a:cxn>
                <a:cxn ang="0">
                  <a:pos x="connsiteX9492" y="connsiteY9492"/>
                </a:cxn>
                <a:cxn ang="0">
                  <a:pos x="connsiteX9493" y="connsiteY9493"/>
                </a:cxn>
                <a:cxn ang="0">
                  <a:pos x="connsiteX9494" y="connsiteY9494"/>
                </a:cxn>
                <a:cxn ang="0">
                  <a:pos x="connsiteX9495" y="connsiteY9495"/>
                </a:cxn>
                <a:cxn ang="0">
                  <a:pos x="connsiteX9496" y="connsiteY9496"/>
                </a:cxn>
                <a:cxn ang="0">
                  <a:pos x="connsiteX9497" y="connsiteY9497"/>
                </a:cxn>
                <a:cxn ang="0">
                  <a:pos x="connsiteX9498" y="connsiteY9498"/>
                </a:cxn>
                <a:cxn ang="0">
                  <a:pos x="connsiteX9499" y="connsiteY9499"/>
                </a:cxn>
                <a:cxn ang="0">
                  <a:pos x="connsiteX9500" y="connsiteY9500"/>
                </a:cxn>
                <a:cxn ang="0">
                  <a:pos x="connsiteX9501" y="connsiteY9501"/>
                </a:cxn>
                <a:cxn ang="0">
                  <a:pos x="connsiteX9502" y="connsiteY9502"/>
                </a:cxn>
                <a:cxn ang="0">
                  <a:pos x="connsiteX9503" y="connsiteY9503"/>
                </a:cxn>
                <a:cxn ang="0">
                  <a:pos x="connsiteX9504" y="connsiteY9504"/>
                </a:cxn>
                <a:cxn ang="0">
                  <a:pos x="connsiteX9505" y="connsiteY9505"/>
                </a:cxn>
                <a:cxn ang="0">
                  <a:pos x="connsiteX9506" y="connsiteY9506"/>
                </a:cxn>
                <a:cxn ang="0">
                  <a:pos x="connsiteX9507" y="connsiteY9507"/>
                </a:cxn>
                <a:cxn ang="0">
                  <a:pos x="connsiteX9508" y="connsiteY9508"/>
                </a:cxn>
                <a:cxn ang="0">
                  <a:pos x="connsiteX9509" y="connsiteY9509"/>
                </a:cxn>
                <a:cxn ang="0">
                  <a:pos x="connsiteX9510" y="connsiteY9510"/>
                </a:cxn>
                <a:cxn ang="0">
                  <a:pos x="connsiteX9511" y="connsiteY9511"/>
                </a:cxn>
                <a:cxn ang="0">
                  <a:pos x="connsiteX9512" y="connsiteY9512"/>
                </a:cxn>
                <a:cxn ang="0">
                  <a:pos x="connsiteX9513" y="connsiteY9513"/>
                </a:cxn>
                <a:cxn ang="0">
                  <a:pos x="connsiteX9514" y="connsiteY9514"/>
                </a:cxn>
                <a:cxn ang="0">
                  <a:pos x="connsiteX9515" y="connsiteY9515"/>
                </a:cxn>
                <a:cxn ang="0">
                  <a:pos x="connsiteX9516" y="connsiteY9516"/>
                </a:cxn>
                <a:cxn ang="0">
                  <a:pos x="connsiteX9517" y="connsiteY9517"/>
                </a:cxn>
                <a:cxn ang="0">
                  <a:pos x="connsiteX9518" y="connsiteY9518"/>
                </a:cxn>
                <a:cxn ang="0">
                  <a:pos x="connsiteX9519" y="connsiteY9519"/>
                </a:cxn>
                <a:cxn ang="0">
                  <a:pos x="connsiteX9520" y="connsiteY9520"/>
                </a:cxn>
                <a:cxn ang="0">
                  <a:pos x="connsiteX9521" y="connsiteY9521"/>
                </a:cxn>
                <a:cxn ang="0">
                  <a:pos x="connsiteX9522" y="connsiteY9522"/>
                </a:cxn>
                <a:cxn ang="0">
                  <a:pos x="connsiteX9523" y="connsiteY9523"/>
                </a:cxn>
                <a:cxn ang="0">
                  <a:pos x="connsiteX9524" y="connsiteY9524"/>
                </a:cxn>
                <a:cxn ang="0">
                  <a:pos x="connsiteX9525" y="connsiteY9525"/>
                </a:cxn>
                <a:cxn ang="0">
                  <a:pos x="connsiteX9526" y="connsiteY9526"/>
                </a:cxn>
                <a:cxn ang="0">
                  <a:pos x="connsiteX9527" y="connsiteY9527"/>
                </a:cxn>
                <a:cxn ang="0">
                  <a:pos x="connsiteX9528" y="connsiteY9528"/>
                </a:cxn>
                <a:cxn ang="0">
                  <a:pos x="connsiteX9529" y="connsiteY9529"/>
                </a:cxn>
                <a:cxn ang="0">
                  <a:pos x="connsiteX9530" y="connsiteY9530"/>
                </a:cxn>
                <a:cxn ang="0">
                  <a:pos x="connsiteX9531" y="connsiteY9531"/>
                </a:cxn>
                <a:cxn ang="0">
                  <a:pos x="connsiteX9532" y="connsiteY9532"/>
                </a:cxn>
                <a:cxn ang="0">
                  <a:pos x="connsiteX9533" y="connsiteY9533"/>
                </a:cxn>
                <a:cxn ang="0">
                  <a:pos x="connsiteX9534" y="connsiteY9534"/>
                </a:cxn>
                <a:cxn ang="0">
                  <a:pos x="connsiteX9535" y="connsiteY9535"/>
                </a:cxn>
                <a:cxn ang="0">
                  <a:pos x="connsiteX9536" y="connsiteY9536"/>
                </a:cxn>
                <a:cxn ang="0">
                  <a:pos x="connsiteX9537" y="connsiteY9537"/>
                </a:cxn>
                <a:cxn ang="0">
                  <a:pos x="connsiteX9538" y="connsiteY9538"/>
                </a:cxn>
                <a:cxn ang="0">
                  <a:pos x="connsiteX9539" y="connsiteY9539"/>
                </a:cxn>
                <a:cxn ang="0">
                  <a:pos x="connsiteX9540" y="connsiteY9540"/>
                </a:cxn>
                <a:cxn ang="0">
                  <a:pos x="connsiteX9541" y="connsiteY9541"/>
                </a:cxn>
                <a:cxn ang="0">
                  <a:pos x="connsiteX9542" y="connsiteY9542"/>
                </a:cxn>
                <a:cxn ang="0">
                  <a:pos x="connsiteX9543" y="connsiteY9543"/>
                </a:cxn>
                <a:cxn ang="0">
                  <a:pos x="connsiteX9544" y="connsiteY9544"/>
                </a:cxn>
                <a:cxn ang="0">
                  <a:pos x="connsiteX9545" y="connsiteY9545"/>
                </a:cxn>
                <a:cxn ang="0">
                  <a:pos x="connsiteX9546" y="connsiteY9546"/>
                </a:cxn>
                <a:cxn ang="0">
                  <a:pos x="connsiteX9547" y="connsiteY9547"/>
                </a:cxn>
                <a:cxn ang="0">
                  <a:pos x="connsiteX9548" y="connsiteY9548"/>
                </a:cxn>
                <a:cxn ang="0">
                  <a:pos x="connsiteX9549" y="connsiteY9549"/>
                </a:cxn>
                <a:cxn ang="0">
                  <a:pos x="connsiteX9550" y="connsiteY9550"/>
                </a:cxn>
                <a:cxn ang="0">
                  <a:pos x="connsiteX9551" y="connsiteY9551"/>
                </a:cxn>
                <a:cxn ang="0">
                  <a:pos x="connsiteX9552" y="connsiteY9552"/>
                </a:cxn>
                <a:cxn ang="0">
                  <a:pos x="connsiteX9553" y="connsiteY9553"/>
                </a:cxn>
                <a:cxn ang="0">
                  <a:pos x="connsiteX9554" y="connsiteY9554"/>
                </a:cxn>
                <a:cxn ang="0">
                  <a:pos x="connsiteX9555" y="connsiteY9555"/>
                </a:cxn>
                <a:cxn ang="0">
                  <a:pos x="connsiteX9556" y="connsiteY9556"/>
                </a:cxn>
                <a:cxn ang="0">
                  <a:pos x="connsiteX9557" y="connsiteY9557"/>
                </a:cxn>
                <a:cxn ang="0">
                  <a:pos x="connsiteX9558" y="connsiteY9558"/>
                </a:cxn>
                <a:cxn ang="0">
                  <a:pos x="connsiteX9559" y="connsiteY9559"/>
                </a:cxn>
                <a:cxn ang="0">
                  <a:pos x="connsiteX9560" y="connsiteY9560"/>
                </a:cxn>
                <a:cxn ang="0">
                  <a:pos x="connsiteX9561" y="connsiteY9561"/>
                </a:cxn>
                <a:cxn ang="0">
                  <a:pos x="connsiteX9562" y="connsiteY9562"/>
                </a:cxn>
                <a:cxn ang="0">
                  <a:pos x="connsiteX9563" y="connsiteY9563"/>
                </a:cxn>
                <a:cxn ang="0">
                  <a:pos x="connsiteX9564" y="connsiteY9564"/>
                </a:cxn>
                <a:cxn ang="0">
                  <a:pos x="connsiteX9565" y="connsiteY9565"/>
                </a:cxn>
                <a:cxn ang="0">
                  <a:pos x="connsiteX9566" y="connsiteY9566"/>
                </a:cxn>
                <a:cxn ang="0">
                  <a:pos x="connsiteX9567" y="connsiteY9567"/>
                </a:cxn>
                <a:cxn ang="0">
                  <a:pos x="connsiteX9568" y="connsiteY9568"/>
                </a:cxn>
                <a:cxn ang="0">
                  <a:pos x="connsiteX9569" y="connsiteY9569"/>
                </a:cxn>
                <a:cxn ang="0">
                  <a:pos x="connsiteX9570" y="connsiteY9570"/>
                </a:cxn>
                <a:cxn ang="0">
                  <a:pos x="connsiteX9571" y="connsiteY9571"/>
                </a:cxn>
                <a:cxn ang="0">
                  <a:pos x="connsiteX9572" y="connsiteY9572"/>
                </a:cxn>
                <a:cxn ang="0">
                  <a:pos x="connsiteX9573" y="connsiteY9573"/>
                </a:cxn>
                <a:cxn ang="0">
                  <a:pos x="connsiteX9574" y="connsiteY9574"/>
                </a:cxn>
                <a:cxn ang="0">
                  <a:pos x="connsiteX9575" y="connsiteY9575"/>
                </a:cxn>
                <a:cxn ang="0">
                  <a:pos x="connsiteX9576" y="connsiteY9576"/>
                </a:cxn>
                <a:cxn ang="0">
                  <a:pos x="connsiteX9577" y="connsiteY9577"/>
                </a:cxn>
                <a:cxn ang="0">
                  <a:pos x="connsiteX9578" y="connsiteY9578"/>
                </a:cxn>
                <a:cxn ang="0">
                  <a:pos x="connsiteX9579" y="connsiteY9579"/>
                </a:cxn>
                <a:cxn ang="0">
                  <a:pos x="connsiteX9580" y="connsiteY9580"/>
                </a:cxn>
                <a:cxn ang="0">
                  <a:pos x="connsiteX9581" y="connsiteY9581"/>
                </a:cxn>
                <a:cxn ang="0">
                  <a:pos x="connsiteX9582" y="connsiteY9582"/>
                </a:cxn>
                <a:cxn ang="0">
                  <a:pos x="connsiteX9583" y="connsiteY9583"/>
                </a:cxn>
                <a:cxn ang="0">
                  <a:pos x="connsiteX9584" y="connsiteY9584"/>
                </a:cxn>
                <a:cxn ang="0">
                  <a:pos x="connsiteX9585" y="connsiteY9585"/>
                </a:cxn>
                <a:cxn ang="0">
                  <a:pos x="connsiteX9586" y="connsiteY9586"/>
                </a:cxn>
                <a:cxn ang="0">
                  <a:pos x="connsiteX9587" y="connsiteY9587"/>
                </a:cxn>
                <a:cxn ang="0">
                  <a:pos x="connsiteX9588" y="connsiteY9588"/>
                </a:cxn>
                <a:cxn ang="0">
                  <a:pos x="connsiteX9589" y="connsiteY9589"/>
                </a:cxn>
                <a:cxn ang="0">
                  <a:pos x="connsiteX9590" y="connsiteY9590"/>
                </a:cxn>
                <a:cxn ang="0">
                  <a:pos x="connsiteX9591" y="connsiteY9591"/>
                </a:cxn>
                <a:cxn ang="0">
                  <a:pos x="connsiteX9592" y="connsiteY9592"/>
                </a:cxn>
                <a:cxn ang="0">
                  <a:pos x="connsiteX9593" y="connsiteY9593"/>
                </a:cxn>
                <a:cxn ang="0">
                  <a:pos x="connsiteX9594" y="connsiteY9594"/>
                </a:cxn>
                <a:cxn ang="0">
                  <a:pos x="connsiteX9595" y="connsiteY9595"/>
                </a:cxn>
                <a:cxn ang="0">
                  <a:pos x="connsiteX9596" y="connsiteY9596"/>
                </a:cxn>
                <a:cxn ang="0">
                  <a:pos x="connsiteX9597" y="connsiteY9597"/>
                </a:cxn>
                <a:cxn ang="0">
                  <a:pos x="connsiteX9598" y="connsiteY9598"/>
                </a:cxn>
                <a:cxn ang="0">
                  <a:pos x="connsiteX9599" y="connsiteY9599"/>
                </a:cxn>
                <a:cxn ang="0">
                  <a:pos x="connsiteX9600" y="connsiteY9600"/>
                </a:cxn>
                <a:cxn ang="0">
                  <a:pos x="connsiteX9601" y="connsiteY9601"/>
                </a:cxn>
                <a:cxn ang="0">
                  <a:pos x="connsiteX9602" y="connsiteY9602"/>
                </a:cxn>
                <a:cxn ang="0">
                  <a:pos x="connsiteX9603" y="connsiteY9603"/>
                </a:cxn>
                <a:cxn ang="0">
                  <a:pos x="connsiteX9604" y="connsiteY9604"/>
                </a:cxn>
                <a:cxn ang="0">
                  <a:pos x="connsiteX9605" y="connsiteY9605"/>
                </a:cxn>
                <a:cxn ang="0">
                  <a:pos x="connsiteX9606" y="connsiteY9606"/>
                </a:cxn>
                <a:cxn ang="0">
                  <a:pos x="connsiteX9607" y="connsiteY9607"/>
                </a:cxn>
                <a:cxn ang="0">
                  <a:pos x="connsiteX9608" y="connsiteY9608"/>
                </a:cxn>
                <a:cxn ang="0">
                  <a:pos x="connsiteX9609" y="connsiteY9609"/>
                </a:cxn>
                <a:cxn ang="0">
                  <a:pos x="connsiteX9610" y="connsiteY9610"/>
                </a:cxn>
                <a:cxn ang="0">
                  <a:pos x="connsiteX9611" y="connsiteY9611"/>
                </a:cxn>
                <a:cxn ang="0">
                  <a:pos x="connsiteX9612" y="connsiteY9612"/>
                </a:cxn>
                <a:cxn ang="0">
                  <a:pos x="connsiteX9613" y="connsiteY9613"/>
                </a:cxn>
                <a:cxn ang="0">
                  <a:pos x="connsiteX9614" y="connsiteY9614"/>
                </a:cxn>
                <a:cxn ang="0">
                  <a:pos x="connsiteX9615" y="connsiteY9615"/>
                </a:cxn>
                <a:cxn ang="0">
                  <a:pos x="connsiteX9616" y="connsiteY9616"/>
                </a:cxn>
                <a:cxn ang="0">
                  <a:pos x="connsiteX9617" y="connsiteY9617"/>
                </a:cxn>
                <a:cxn ang="0">
                  <a:pos x="connsiteX9618" y="connsiteY9618"/>
                </a:cxn>
                <a:cxn ang="0">
                  <a:pos x="connsiteX9619" y="connsiteY9619"/>
                </a:cxn>
                <a:cxn ang="0">
                  <a:pos x="connsiteX9620" y="connsiteY9620"/>
                </a:cxn>
                <a:cxn ang="0">
                  <a:pos x="connsiteX9621" y="connsiteY9621"/>
                </a:cxn>
                <a:cxn ang="0">
                  <a:pos x="connsiteX9622" y="connsiteY9622"/>
                </a:cxn>
                <a:cxn ang="0">
                  <a:pos x="connsiteX9623" y="connsiteY9623"/>
                </a:cxn>
                <a:cxn ang="0">
                  <a:pos x="connsiteX9624" y="connsiteY9624"/>
                </a:cxn>
                <a:cxn ang="0">
                  <a:pos x="connsiteX9625" y="connsiteY9625"/>
                </a:cxn>
                <a:cxn ang="0">
                  <a:pos x="connsiteX9626" y="connsiteY9626"/>
                </a:cxn>
                <a:cxn ang="0">
                  <a:pos x="connsiteX9627" y="connsiteY9627"/>
                </a:cxn>
                <a:cxn ang="0">
                  <a:pos x="connsiteX9628" y="connsiteY9628"/>
                </a:cxn>
                <a:cxn ang="0">
                  <a:pos x="connsiteX9629" y="connsiteY9629"/>
                </a:cxn>
                <a:cxn ang="0">
                  <a:pos x="connsiteX9630" y="connsiteY9630"/>
                </a:cxn>
                <a:cxn ang="0">
                  <a:pos x="connsiteX9631" y="connsiteY9631"/>
                </a:cxn>
                <a:cxn ang="0">
                  <a:pos x="connsiteX9632" y="connsiteY9632"/>
                </a:cxn>
                <a:cxn ang="0">
                  <a:pos x="connsiteX9633" y="connsiteY9633"/>
                </a:cxn>
                <a:cxn ang="0">
                  <a:pos x="connsiteX9634" y="connsiteY9634"/>
                </a:cxn>
                <a:cxn ang="0">
                  <a:pos x="connsiteX9635" y="connsiteY9635"/>
                </a:cxn>
                <a:cxn ang="0">
                  <a:pos x="connsiteX9636" y="connsiteY9636"/>
                </a:cxn>
                <a:cxn ang="0">
                  <a:pos x="connsiteX9637" y="connsiteY9637"/>
                </a:cxn>
                <a:cxn ang="0">
                  <a:pos x="connsiteX9638" y="connsiteY9638"/>
                </a:cxn>
                <a:cxn ang="0">
                  <a:pos x="connsiteX9639" y="connsiteY9639"/>
                </a:cxn>
                <a:cxn ang="0">
                  <a:pos x="connsiteX9640" y="connsiteY9640"/>
                </a:cxn>
                <a:cxn ang="0">
                  <a:pos x="connsiteX9641" y="connsiteY9641"/>
                </a:cxn>
                <a:cxn ang="0">
                  <a:pos x="connsiteX9642" y="connsiteY9642"/>
                </a:cxn>
                <a:cxn ang="0">
                  <a:pos x="connsiteX9643" y="connsiteY9643"/>
                </a:cxn>
                <a:cxn ang="0">
                  <a:pos x="connsiteX9644" y="connsiteY9644"/>
                </a:cxn>
                <a:cxn ang="0">
                  <a:pos x="connsiteX9645" y="connsiteY9645"/>
                </a:cxn>
                <a:cxn ang="0">
                  <a:pos x="connsiteX9646" y="connsiteY9646"/>
                </a:cxn>
                <a:cxn ang="0">
                  <a:pos x="connsiteX9647" y="connsiteY9647"/>
                </a:cxn>
                <a:cxn ang="0">
                  <a:pos x="connsiteX9648" y="connsiteY9648"/>
                </a:cxn>
                <a:cxn ang="0">
                  <a:pos x="connsiteX9649" y="connsiteY9649"/>
                </a:cxn>
                <a:cxn ang="0">
                  <a:pos x="connsiteX9650" y="connsiteY9650"/>
                </a:cxn>
                <a:cxn ang="0">
                  <a:pos x="connsiteX9651" y="connsiteY9651"/>
                </a:cxn>
                <a:cxn ang="0">
                  <a:pos x="connsiteX9652" y="connsiteY9652"/>
                </a:cxn>
                <a:cxn ang="0">
                  <a:pos x="connsiteX9653" y="connsiteY9653"/>
                </a:cxn>
                <a:cxn ang="0">
                  <a:pos x="connsiteX9654" y="connsiteY9654"/>
                </a:cxn>
                <a:cxn ang="0">
                  <a:pos x="connsiteX9655" y="connsiteY9655"/>
                </a:cxn>
                <a:cxn ang="0">
                  <a:pos x="connsiteX9656" y="connsiteY9656"/>
                </a:cxn>
                <a:cxn ang="0">
                  <a:pos x="connsiteX9657" y="connsiteY9657"/>
                </a:cxn>
                <a:cxn ang="0">
                  <a:pos x="connsiteX9658" y="connsiteY9658"/>
                </a:cxn>
                <a:cxn ang="0">
                  <a:pos x="connsiteX9659" y="connsiteY9659"/>
                </a:cxn>
                <a:cxn ang="0">
                  <a:pos x="connsiteX9660" y="connsiteY9660"/>
                </a:cxn>
                <a:cxn ang="0">
                  <a:pos x="connsiteX9661" y="connsiteY9661"/>
                </a:cxn>
                <a:cxn ang="0">
                  <a:pos x="connsiteX9662" y="connsiteY9662"/>
                </a:cxn>
                <a:cxn ang="0">
                  <a:pos x="connsiteX9663" y="connsiteY9663"/>
                </a:cxn>
                <a:cxn ang="0">
                  <a:pos x="connsiteX9664" y="connsiteY9664"/>
                </a:cxn>
                <a:cxn ang="0">
                  <a:pos x="connsiteX9665" y="connsiteY9665"/>
                </a:cxn>
                <a:cxn ang="0">
                  <a:pos x="connsiteX9666" y="connsiteY9666"/>
                </a:cxn>
                <a:cxn ang="0">
                  <a:pos x="connsiteX9667" y="connsiteY9667"/>
                </a:cxn>
                <a:cxn ang="0">
                  <a:pos x="connsiteX9668" y="connsiteY9668"/>
                </a:cxn>
                <a:cxn ang="0">
                  <a:pos x="connsiteX9669" y="connsiteY9669"/>
                </a:cxn>
                <a:cxn ang="0">
                  <a:pos x="connsiteX9670" y="connsiteY9670"/>
                </a:cxn>
                <a:cxn ang="0">
                  <a:pos x="connsiteX9671" y="connsiteY9671"/>
                </a:cxn>
                <a:cxn ang="0">
                  <a:pos x="connsiteX9672" y="connsiteY9672"/>
                </a:cxn>
                <a:cxn ang="0">
                  <a:pos x="connsiteX9673" y="connsiteY9673"/>
                </a:cxn>
                <a:cxn ang="0">
                  <a:pos x="connsiteX9674" y="connsiteY9674"/>
                </a:cxn>
                <a:cxn ang="0">
                  <a:pos x="connsiteX9675" y="connsiteY9675"/>
                </a:cxn>
                <a:cxn ang="0">
                  <a:pos x="connsiteX9676" y="connsiteY9676"/>
                </a:cxn>
                <a:cxn ang="0">
                  <a:pos x="connsiteX9677" y="connsiteY9677"/>
                </a:cxn>
                <a:cxn ang="0">
                  <a:pos x="connsiteX9678" y="connsiteY9678"/>
                </a:cxn>
                <a:cxn ang="0">
                  <a:pos x="connsiteX9679" y="connsiteY9679"/>
                </a:cxn>
                <a:cxn ang="0">
                  <a:pos x="connsiteX9680" y="connsiteY9680"/>
                </a:cxn>
                <a:cxn ang="0">
                  <a:pos x="connsiteX9681" y="connsiteY9681"/>
                </a:cxn>
                <a:cxn ang="0">
                  <a:pos x="connsiteX9682" y="connsiteY9682"/>
                </a:cxn>
                <a:cxn ang="0">
                  <a:pos x="connsiteX9683" y="connsiteY9683"/>
                </a:cxn>
                <a:cxn ang="0">
                  <a:pos x="connsiteX9684" y="connsiteY9684"/>
                </a:cxn>
                <a:cxn ang="0">
                  <a:pos x="connsiteX9685" y="connsiteY9685"/>
                </a:cxn>
                <a:cxn ang="0">
                  <a:pos x="connsiteX9686" y="connsiteY9686"/>
                </a:cxn>
                <a:cxn ang="0">
                  <a:pos x="connsiteX9687" y="connsiteY9687"/>
                </a:cxn>
                <a:cxn ang="0">
                  <a:pos x="connsiteX9688" y="connsiteY9688"/>
                </a:cxn>
                <a:cxn ang="0">
                  <a:pos x="connsiteX9689" y="connsiteY9689"/>
                </a:cxn>
                <a:cxn ang="0">
                  <a:pos x="connsiteX9690" y="connsiteY9690"/>
                </a:cxn>
                <a:cxn ang="0">
                  <a:pos x="connsiteX9691" y="connsiteY9691"/>
                </a:cxn>
                <a:cxn ang="0">
                  <a:pos x="connsiteX9692" y="connsiteY9692"/>
                </a:cxn>
                <a:cxn ang="0">
                  <a:pos x="connsiteX9693" y="connsiteY9693"/>
                </a:cxn>
                <a:cxn ang="0">
                  <a:pos x="connsiteX9694" y="connsiteY9694"/>
                </a:cxn>
                <a:cxn ang="0">
                  <a:pos x="connsiteX9695" y="connsiteY9695"/>
                </a:cxn>
                <a:cxn ang="0">
                  <a:pos x="connsiteX9696" y="connsiteY9696"/>
                </a:cxn>
                <a:cxn ang="0">
                  <a:pos x="connsiteX9697" y="connsiteY9697"/>
                </a:cxn>
                <a:cxn ang="0">
                  <a:pos x="connsiteX9698" y="connsiteY9698"/>
                </a:cxn>
                <a:cxn ang="0">
                  <a:pos x="connsiteX9699" y="connsiteY9699"/>
                </a:cxn>
                <a:cxn ang="0">
                  <a:pos x="connsiteX9700" y="connsiteY9700"/>
                </a:cxn>
                <a:cxn ang="0">
                  <a:pos x="connsiteX9701" y="connsiteY9701"/>
                </a:cxn>
                <a:cxn ang="0">
                  <a:pos x="connsiteX9702" y="connsiteY9702"/>
                </a:cxn>
                <a:cxn ang="0">
                  <a:pos x="connsiteX9703" y="connsiteY9703"/>
                </a:cxn>
                <a:cxn ang="0">
                  <a:pos x="connsiteX9704" y="connsiteY9704"/>
                </a:cxn>
                <a:cxn ang="0">
                  <a:pos x="connsiteX9705" y="connsiteY9705"/>
                </a:cxn>
                <a:cxn ang="0">
                  <a:pos x="connsiteX9706" y="connsiteY9706"/>
                </a:cxn>
                <a:cxn ang="0">
                  <a:pos x="connsiteX9707" y="connsiteY9707"/>
                </a:cxn>
                <a:cxn ang="0">
                  <a:pos x="connsiteX9708" y="connsiteY9708"/>
                </a:cxn>
                <a:cxn ang="0">
                  <a:pos x="connsiteX9709" y="connsiteY9709"/>
                </a:cxn>
                <a:cxn ang="0">
                  <a:pos x="connsiteX9710" y="connsiteY9710"/>
                </a:cxn>
                <a:cxn ang="0">
                  <a:pos x="connsiteX9711" y="connsiteY9711"/>
                </a:cxn>
                <a:cxn ang="0">
                  <a:pos x="connsiteX9712" y="connsiteY9712"/>
                </a:cxn>
                <a:cxn ang="0">
                  <a:pos x="connsiteX9713" y="connsiteY9713"/>
                </a:cxn>
                <a:cxn ang="0">
                  <a:pos x="connsiteX9714" y="connsiteY9714"/>
                </a:cxn>
                <a:cxn ang="0">
                  <a:pos x="connsiteX9715" y="connsiteY9715"/>
                </a:cxn>
                <a:cxn ang="0">
                  <a:pos x="connsiteX9716" y="connsiteY9716"/>
                </a:cxn>
                <a:cxn ang="0">
                  <a:pos x="connsiteX9717" y="connsiteY9717"/>
                </a:cxn>
                <a:cxn ang="0">
                  <a:pos x="connsiteX9718" y="connsiteY9718"/>
                </a:cxn>
                <a:cxn ang="0">
                  <a:pos x="connsiteX9719" y="connsiteY9719"/>
                </a:cxn>
                <a:cxn ang="0">
                  <a:pos x="connsiteX9720" y="connsiteY9720"/>
                </a:cxn>
                <a:cxn ang="0">
                  <a:pos x="connsiteX9721" y="connsiteY9721"/>
                </a:cxn>
                <a:cxn ang="0">
                  <a:pos x="connsiteX9722" y="connsiteY9722"/>
                </a:cxn>
                <a:cxn ang="0">
                  <a:pos x="connsiteX9723" y="connsiteY9723"/>
                </a:cxn>
                <a:cxn ang="0">
                  <a:pos x="connsiteX9724" y="connsiteY9724"/>
                </a:cxn>
                <a:cxn ang="0">
                  <a:pos x="connsiteX9725" y="connsiteY9725"/>
                </a:cxn>
                <a:cxn ang="0">
                  <a:pos x="connsiteX9726" y="connsiteY9726"/>
                </a:cxn>
                <a:cxn ang="0">
                  <a:pos x="connsiteX9727" y="connsiteY9727"/>
                </a:cxn>
                <a:cxn ang="0">
                  <a:pos x="connsiteX9728" y="connsiteY9728"/>
                </a:cxn>
                <a:cxn ang="0">
                  <a:pos x="connsiteX9729" y="connsiteY9729"/>
                </a:cxn>
                <a:cxn ang="0">
                  <a:pos x="connsiteX9730" y="connsiteY9730"/>
                </a:cxn>
                <a:cxn ang="0">
                  <a:pos x="connsiteX9731" y="connsiteY9731"/>
                </a:cxn>
                <a:cxn ang="0">
                  <a:pos x="connsiteX9732" y="connsiteY9732"/>
                </a:cxn>
                <a:cxn ang="0">
                  <a:pos x="connsiteX9733" y="connsiteY9733"/>
                </a:cxn>
                <a:cxn ang="0">
                  <a:pos x="connsiteX9734" y="connsiteY9734"/>
                </a:cxn>
                <a:cxn ang="0">
                  <a:pos x="connsiteX9735" y="connsiteY9735"/>
                </a:cxn>
                <a:cxn ang="0">
                  <a:pos x="connsiteX9736" y="connsiteY9736"/>
                </a:cxn>
                <a:cxn ang="0">
                  <a:pos x="connsiteX9737" y="connsiteY9737"/>
                </a:cxn>
                <a:cxn ang="0">
                  <a:pos x="connsiteX9738" y="connsiteY9738"/>
                </a:cxn>
                <a:cxn ang="0">
                  <a:pos x="connsiteX9739" y="connsiteY9739"/>
                </a:cxn>
                <a:cxn ang="0">
                  <a:pos x="connsiteX9740" y="connsiteY9740"/>
                </a:cxn>
                <a:cxn ang="0">
                  <a:pos x="connsiteX9741" y="connsiteY9741"/>
                </a:cxn>
                <a:cxn ang="0">
                  <a:pos x="connsiteX9742" y="connsiteY9742"/>
                </a:cxn>
                <a:cxn ang="0">
                  <a:pos x="connsiteX9743" y="connsiteY9743"/>
                </a:cxn>
                <a:cxn ang="0">
                  <a:pos x="connsiteX9744" y="connsiteY9744"/>
                </a:cxn>
                <a:cxn ang="0">
                  <a:pos x="connsiteX9745" y="connsiteY9745"/>
                </a:cxn>
                <a:cxn ang="0">
                  <a:pos x="connsiteX9746" y="connsiteY9746"/>
                </a:cxn>
                <a:cxn ang="0">
                  <a:pos x="connsiteX9747" y="connsiteY9747"/>
                </a:cxn>
                <a:cxn ang="0">
                  <a:pos x="connsiteX9748" y="connsiteY9748"/>
                </a:cxn>
                <a:cxn ang="0">
                  <a:pos x="connsiteX9749" y="connsiteY9749"/>
                </a:cxn>
                <a:cxn ang="0">
                  <a:pos x="connsiteX9750" y="connsiteY9750"/>
                </a:cxn>
                <a:cxn ang="0">
                  <a:pos x="connsiteX9751" y="connsiteY9751"/>
                </a:cxn>
                <a:cxn ang="0">
                  <a:pos x="connsiteX9752" y="connsiteY9752"/>
                </a:cxn>
                <a:cxn ang="0">
                  <a:pos x="connsiteX9753" y="connsiteY9753"/>
                </a:cxn>
                <a:cxn ang="0">
                  <a:pos x="connsiteX9754" y="connsiteY9754"/>
                </a:cxn>
                <a:cxn ang="0">
                  <a:pos x="connsiteX9755" y="connsiteY9755"/>
                </a:cxn>
                <a:cxn ang="0">
                  <a:pos x="connsiteX9756" y="connsiteY9756"/>
                </a:cxn>
                <a:cxn ang="0">
                  <a:pos x="connsiteX9757" y="connsiteY9757"/>
                </a:cxn>
                <a:cxn ang="0">
                  <a:pos x="connsiteX9758" y="connsiteY9758"/>
                </a:cxn>
                <a:cxn ang="0">
                  <a:pos x="connsiteX9759" y="connsiteY9759"/>
                </a:cxn>
                <a:cxn ang="0">
                  <a:pos x="connsiteX9760" y="connsiteY9760"/>
                </a:cxn>
                <a:cxn ang="0">
                  <a:pos x="connsiteX9761" y="connsiteY9761"/>
                </a:cxn>
                <a:cxn ang="0">
                  <a:pos x="connsiteX9762" y="connsiteY9762"/>
                </a:cxn>
                <a:cxn ang="0">
                  <a:pos x="connsiteX9763" y="connsiteY9763"/>
                </a:cxn>
                <a:cxn ang="0">
                  <a:pos x="connsiteX9764" y="connsiteY9764"/>
                </a:cxn>
                <a:cxn ang="0">
                  <a:pos x="connsiteX9765" y="connsiteY9765"/>
                </a:cxn>
                <a:cxn ang="0">
                  <a:pos x="connsiteX9766" y="connsiteY9766"/>
                </a:cxn>
                <a:cxn ang="0">
                  <a:pos x="connsiteX9767" y="connsiteY9767"/>
                </a:cxn>
                <a:cxn ang="0">
                  <a:pos x="connsiteX9768" y="connsiteY9768"/>
                </a:cxn>
                <a:cxn ang="0">
                  <a:pos x="connsiteX9769" y="connsiteY9769"/>
                </a:cxn>
                <a:cxn ang="0">
                  <a:pos x="connsiteX9770" y="connsiteY9770"/>
                </a:cxn>
                <a:cxn ang="0">
                  <a:pos x="connsiteX9771" y="connsiteY9771"/>
                </a:cxn>
                <a:cxn ang="0">
                  <a:pos x="connsiteX9772" y="connsiteY9772"/>
                </a:cxn>
                <a:cxn ang="0">
                  <a:pos x="connsiteX9773" y="connsiteY9773"/>
                </a:cxn>
                <a:cxn ang="0">
                  <a:pos x="connsiteX9774" y="connsiteY9774"/>
                </a:cxn>
                <a:cxn ang="0">
                  <a:pos x="connsiteX9775" y="connsiteY9775"/>
                </a:cxn>
                <a:cxn ang="0">
                  <a:pos x="connsiteX9776" y="connsiteY9776"/>
                </a:cxn>
                <a:cxn ang="0">
                  <a:pos x="connsiteX9777" y="connsiteY9777"/>
                </a:cxn>
                <a:cxn ang="0">
                  <a:pos x="connsiteX9778" y="connsiteY9778"/>
                </a:cxn>
                <a:cxn ang="0">
                  <a:pos x="connsiteX9779" y="connsiteY9779"/>
                </a:cxn>
                <a:cxn ang="0">
                  <a:pos x="connsiteX9780" y="connsiteY9780"/>
                </a:cxn>
                <a:cxn ang="0">
                  <a:pos x="connsiteX9781" y="connsiteY9781"/>
                </a:cxn>
                <a:cxn ang="0">
                  <a:pos x="connsiteX9782" y="connsiteY9782"/>
                </a:cxn>
                <a:cxn ang="0">
                  <a:pos x="connsiteX9783" y="connsiteY9783"/>
                </a:cxn>
                <a:cxn ang="0">
                  <a:pos x="connsiteX9784" y="connsiteY9784"/>
                </a:cxn>
                <a:cxn ang="0">
                  <a:pos x="connsiteX9785" y="connsiteY9785"/>
                </a:cxn>
                <a:cxn ang="0">
                  <a:pos x="connsiteX9786" y="connsiteY9786"/>
                </a:cxn>
                <a:cxn ang="0">
                  <a:pos x="connsiteX9787" y="connsiteY9787"/>
                </a:cxn>
                <a:cxn ang="0">
                  <a:pos x="connsiteX9788" y="connsiteY9788"/>
                </a:cxn>
                <a:cxn ang="0">
                  <a:pos x="connsiteX9789" y="connsiteY9789"/>
                </a:cxn>
                <a:cxn ang="0">
                  <a:pos x="connsiteX9790" y="connsiteY9790"/>
                </a:cxn>
                <a:cxn ang="0">
                  <a:pos x="connsiteX9791" y="connsiteY9791"/>
                </a:cxn>
                <a:cxn ang="0">
                  <a:pos x="connsiteX9792" y="connsiteY9792"/>
                </a:cxn>
                <a:cxn ang="0">
                  <a:pos x="connsiteX9793" y="connsiteY9793"/>
                </a:cxn>
                <a:cxn ang="0">
                  <a:pos x="connsiteX9794" y="connsiteY9794"/>
                </a:cxn>
                <a:cxn ang="0">
                  <a:pos x="connsiteX9795" y="connsiteY9795"/>
                </a:cxn>
                <a:cxn ang="0">
                  <a:pos x="connsiteX9796" y="connsiteY9796"/>
                </a:cxn>
                <a:cxn ang="0">
                  <a:pos x="connsiteX9797" y="connsiteY9797"/>
                </a:cxn>
                <a:cxn ang="0">
                  <a:pos x="connsiteX9798" y="connsiteY9798"/>
                </a:cxn>
                <a:cxn ang="0">
                  <a:pos x="connsiteX9799" y="connsiteY9799"/>
                </a:cxn>
                <a:cxn ang="0">
                  <a:pos x="connsiteX9800" y="connsiteY9800"/>
                </a:cxn>
                <a:cxn ang="0">
                  <a:pos x="connsiteX9801" y="connsiteY9801"/>
                </a:cxn>
                <a:cxn ang="0">
                  <a:pos x="connsiteX9802" y="connsiteY9802"/>
                </a:cxn>
                <a:cxn ang="0">
                  <a:pos x="connsiteX9803" y="connsiteY9803"/>
                </a:cxn>
                <a:cxn ang="0">
                  <a:pos x="connsiteX9804" y="connsiteY9804"/>
                </a:cxn>
                <a:cxn ang="0">
                  <a:pos x="connsiteX9805" y="connsiteY9805"/>
                </a:cxn>
                <a:cxn ang="0">
                  <a:pos x="connsiteX9806" y="connsiteY9806"/>
                </a:cxn>
                <a:cxn ang="0">
                  <a:pos x="connsiteX9807" y="connsiteY9807"/>
                </a:cxn>
                <a:cxn ang="0">
                  <a:pos x="connsiteX9808" y="connsiteY9808"/>
                </a:cxn>
                <a:cxn ang="0">
                  <a:pos x="connsiteX9809" y="connsiteY9809"/>
                </a:cxn>
                <a:cxn ang="0">
                  <a:pos x="connsiteX9810" y="connsiteY9810"/>
                </a:cxn>
                <a:cxn ang="0">
                  <a:pos x="connsiteX9811" y="connsiteY9811"/>
                </a:cxn>
                <a:cxn ang="0">
                  <a:pos x="connsiteX9812" y="connsiteY9812"/>
                </a:cxn>
                <a:cxn ang="0">
                  <a:pos x="connsiteX9813" y="connsiteY9813"/>
                </a:cxn>
                <a:cxn ang="0">
                  <a:pos x="connsiteX9814" y="connsiteY9814"/>
                </a:cxn>
                <a:cxn ang="0">
                  <a:pos x="connsiteX9815" y="connsiteY9815"/>
                </a:cxn>
                <a:cxn ang="0">
                  <a:pos x="connsiteX9816" y="connsiteY9816"/>
                </a:cxn>
                <a:cxn ang="0">
                  <a:pos x="connsiteX9817" y="connsiteY9817"/>
                </a:cxn>
                <a:cxn ang="0">
                  <a:pos x="connsiteX9818" y="connsiteY9818"/>
                </a:cxn>
                <a:cxn ang="0">
                  <a:pos x="connsiteX9819" y="connsiteY9819"/>
                </a:cxn>
                <a:cxn ang="0">
                  <a:pos x="connsiteX9820" y="connsiteY9820"/>
                </a:cxn>
                <a:cxn ang="0">
                  <a:pos x="connsiteX9821" y="connsiteY9821"/>
                </a:cxn>
                <a:cxn ang="0">
                  <a:pos x="connsiteX9822" y="connsiteY9822"/>
                </a:cxn>
                <a:cxn ang="0">
                  <a:pos x="connsiteX9823" y="connsiteY9823"/>
                </a:cxn>
                <a:cxn ang="0">
                  <a:pos x="connsiteX9824" y="connsiteY9824"/>
                </a:cxn>
                <a:cxn ang="0">
                  <a:pos x="connsiteX9825" y="connsiteY9825"/>
                </a:cxn>
                <a:cxn ang="0">
                  <a:pos x="connsiteX9826" y="connsiteY9826"/>
                </a:cxn>
                <a:cxn ang="0">
                  <a:pos x="connsiteX9827" y="connsiteY9827"/>
                </a:cxn>
                <a:cxn ang="0">
                  <a:pos x="connsiteX9828" y="connsiteY9828"/>
                </a:cxn>
                <a:cxn ang="0">
                  <a:pos x="connsiteX9829" y="connsiteY9829"/>
                </a:cxn>
                <a:cxn ang="0">
                  <a:pos x="connsiteX9830" y="connsiteY9830"/>
                </a:cxn>
                <a:cxn ang="0">
                  <a:pos x="connsiteX9831" y="connsiteY9831"/>
                </a:cxn>
                <a:cxn ang="0">
                  <a:pos x="connsiteX9832" y="connsiteY9832"/>
                </a:cxn>
                <a:cxn ang="0">
                  <a:pos x="connsiteX9833" y="connsiteY9833"/>
                </a:cxn>
                <a:cxn ang="0">
                  <a:pos x="connsiteX9834" y="connsiteY9834"/>
                </a:cxn>
                <a:cxn ang="0">
                  <a:pos x="connsiteX9835" y="connsiteY9835"/>
                </a:cxn>
                <a:cxn ang="0">
                  <a:pos x="connsiteX9836" y="connsiteY9836"/>
                </a:cxn>
                <a:cxn ang="0">
                  <a:pos x="connsiteX9837" y="connsiteY9837"/>
                </a:cxn>
                <a:cxn ang="0">
                  <a:pos x="connsiteX9838" y="connsiteY9838"/>
                </a:cxn>
                <a:cxn ang="0">
                  <a:pos x="connsiteX9839" y="connsiteY9839"/>
                </a:cxn>
                <a:cxn ang="0">
                  <a:pos x="connsiteX9840" y="connsiteY9840"/>
                </a:cxn>
                <a:cxn ang="0">
                  <a:pos x="connsiteX9841" y="connsiteY9841"/>
                </a:cxn>
                <a:cxn ang="0">
                  <a:pos x="connsiteX9842" y="connsiteY9842"/>
                </a:cxn>
                <a:cxn ang="0">
                  <a:pos x="connsiteX9843" y="connsiteY9843"/>
                </a:cxn>
                <a:cxn ang="0">
                  <a:pos x="connsiteX9844" y="connsiteY9844"/>
                </a:cxn>
                <a:cxn ang="0">
                  <a:pos x="connsiteX9845" y="connsiteY9845"/>
                </a:cxn>
                <a:cxn ang="0">
                  <a:pos x="connsiteX9846" y="connsiteY9846"/>
                </a:cxn>
                <a:cxn ang="0">
                  <a:pos x="connsiteX9847" y="connsiteY9847"/>
                </a:cxn>
                <a:cxn ang="0">
                  <a:pos x="connsiteX9848" y="connsiteY9848"/>
                </a:cxn>
                <a:cxn ang="0">
                  <a:pos x="connsiteX9849" y="connsiteY9849"/>
                </a:cxn>
                <a:cxn ang="0">
                  <a:pos x="connsiteX9850" y="connsiteY9850"/>
                </a:cxn>
                <a:cxn ang="0">
                  <a:pos x="connsiteX9851" y="connsiteY9851"/>
                </a:cxn>
                <a:cxn ang="0">
                  <a:pos x="connsiteX9852" y="connsiteY9852"/>
                </a:cxn>
                <a:cxn ang="0">
                  <a:pos x="connsiteX9853" y="connsiteY9853"/>
                </a:cxn>
                <a:cxn ang="0">
                  <a:pos x="connsiteX9854" y="connsiteY9854"/>
                </a:cxn>
                <a:cxn ang="0">
                  <a:pos x="connsiteX9855" y="connsiteY9855"/>
                </a:cxn>
                <a:cxn ang="0">
                  <a:pos x="connsiteX9856" y="connsiteY9856"/>
                </a:cxn>
                <a:cxn ang="0">
                  <a:pos x="connsiteX9857" y="connsiteY9857"/>
                </a:cxn>
                <a:cxn ang="0">
                  <a:pos x="connsiteX9858" y="connsiteY9858"/>
                </a:cxn>
                <a:cxn ang="0">
                  <a:pos x="connsiteX9859" y="connsiteY9859"/>
                </a:cxn>
                <a:cxn ang="0">
                  <a:pos x="connsiteX9860" y="connsiteY9860"/>
                </a:cxn>
                <a:cxn ang="0">
                  <a:pos x="connsiteX9861" y="connsiteY9861"/>
                </a:cxn>
                <a:cxn ang="0">
                  <a:pos x="connsiteX9862" y="connsiteY9862"/>
                </a:cxn>
                <a:cxn ang="0">
                  <a:pos x="connsiteX9863" y="connsiteY9863"/>
                </a:cxn>
                <a:cxn ang="0">
                  <a:pos x="connsiteX9864" y="connsiteY9864"/>
                </a:cxn>
                <a:cxn ang="0">
                  <a:pos x="connsiteX9865" y="connsiteY9865"/>
                </a:cxn>
                <a:cxn ang="0">
                  <a:pos x="connsiteX9866" y="connsiteY9866"/>
                </a:cxn>
                <a:cxn ang="0">
                  <a:pos x="connsiteX9867" y="connsiteY9867"/>
                </a:cxn>
                <a:cxn ang="0">
                  <a:pos x="connsiteX9868" y="connsiteY9868"/>
                </a:cxn>
                <a:cxn ang="0">
                  <a:pos x="connsiteX9869" y="connsiteY9869"/>
                </a:cxn>
                <a:cxn ang="0">
                  <a:pos x="connsiteX9870" y="connsiteY9870"/>
                </a:cxn>
                <a:cxn ang="0">
                  <a:pos x="connsiteX9871" y="connsiteY9871"/>
                </a:cxn>
                <a:cxn ang="0">
                  <a:pos x="connsiteX9872" y="connsiteY9872"/>
                </a:cxn>
                <a:cxn ang="0">
                  <a:pos x="connsiteX9873" y="connsiteY9873"/>
                </a:cxn>
                <a:cxn ang="0">
                  <a:pos x="connsiteX9874" y="connsiteY9874"/>
                </a:cxn>
                <a:cxn ang="0">
                  <a:pos x="connsiteX9875" y="connsiteY9875"/>
                </a:cxn>
                <a:cxn ang="0">
                  <a:pos x="connsiteX9876" y="connsiteY9876"/>
                </a:cxn>
                <a:cxn ang="0">
                  <a:pos x="connsiteX9877" y="connsiteY9877"/>
                </a:cxn>
                <a:cxn ang="0">
                  <a:pos x="connsiteX9878" y="connsiteY9878"/>
                </a:cxn>
                <a:cxn ang="0">
                  <a:pos x="connsiteX9879" y="connsiteY9879"/>
                </a:cxn>
                <a:cxn ang="0">
                  <a:pos x="connsiteX9880" y="connsiteY9880"/>
                </a:cxn>
                <a:cxn ang="0">
                  <a:pos x="connsiteX9881" y="connsiteY9881"/>
                </a:cxn>
                <a:cxn ang="0">
                  <a:pos x="connsiteX9882" y="connsiteY9882"/>
                </a:cxn>
                <a:cxn ang="0">
                  <a:pos x="connsiteX9883" y="connsiteY9883"/>
                </a:cxn>
                <a:cxn ang="0">
                  <a:pos x="connsiteX9884" y="connsiteY9884"/>
                </a:cxn>
                <a:cxn ang="0">
                  <a:pos x="connsiteX9885" y="connsiteY9885"/>
                </a:cxn>
                <a:cxn ang="0">
                  <a:pos x="connsiteX9886" y="connsiteY9886"/>
                </a:cxn>
                <a:cxn ang="0">
                  <a:pos x="connsiteX9887" y="connsiteY9887"/>
                </a:cxn>
                <a:cxn ang="0">
                  <a:pos x="connsiteX9888" y="connsiteY9888"/>
                </a:cxn>
                <a:cxn ang="0">
                  <a:pos x="connsiteX9889" y="connsiteY9889"/>
                </a:cxn>
                <a:cxn ang="0">
                  <a:pos x="connsiteX9890" y="connsiteY9890"/>
                </a:cxn>
                <a:cxn ang="0">
                  <a:pos x="connsiteX9891" y="connsiteY9891"/>
                </a:cxn>
                <a:cxn ang="0">
                  <a:pos x="connsiteX9892" y="connsiteY9892"/>
                </a:cxn>
                <a:cxn ang="0">
                  <a:pos x="connsiteX9893" y="connsiteY9893"/>
                </a:cxn>
                <a:cxn ang="0">
                  <a:pos x="connsiteX9894" y="connsiteY9894"/>
                </a:cxn>
                <a:cxn ang="0">
                  <a:pos x="connsiteX9895" y="connsiteY9895"/>
                </a:cxn>
                <a:cxn ang="0">
                  <a:pos x="connsiteX9896" y="connsiteY9896"/>
                </a:cxn>
                <a:cxn ang="0">
                  <a:pos x="connsiteX9897" y="connsiteY9897"/>
                </a:cxn>
                <a:cxn ang="0">
                  <a:pos x="connsiteX9898" y="connsiteY9898"/>
                </a:cxn>
                <a:cxn ang="0">
                  <a:pos x="connsiteX9899" y="connsiteY9899"/>
                </a:cxn>
                <a:cxn ang="0">
                  <a:pos x="connsiteX9900" y="connsiteY9900"/>
                </a:cxn>
                <a:cxn ang="0">
                  <a:pos x="connsiteX9901" y="connsiteY9901"/>
                </a:cxn>
                <a:cxn ang="0">
                  <a:pos x="connsiteX9902" y="connsiteY9902"/>
                </a:cxn>
                <a:cxn ang="0">
                  <a:pos x="connsiteX9903" y="connsiteY9903"/>
                </a:cxn>
                <a:cxn ang="0">
                  <a:pos x="connsiteX9904" y="connsiteY9904"/>
                </a:cxn>
                <a:cxn ang="0">
                  <a:pos x="connsiteX9905" y="connsiteY9905"/>
                </a:cxn>
                <a:cxn ang="0">
                  <a:pos x="connsiteX9906" y="connsiteY9906"/>
                </a:cxn>
                <a:cxn ang="0">
                  <a:pos x="connsiteX9907" y="connsiteY9907"/>
                </a:cxn>
                <a:cxn ang="0">
                  <a:pos x="connsiteX9908" y="connsiteY9908"/>
                </a:cxn>
                <a:cxn ang="0">
                  <a:pos x="connsiteX9909" y="connsiteY9909"/>
                </a:cxn>
                <a:cxn ang="0">
                  <a:pos x="connsiteX9910" y="connsiteY9910"/>
                </a:cxn>
                <a:cxn ang="0">
                  <a:pos x="connsiteX9911" y="connsiteY9911"/>
                </a:cxn>
                <a:cxn ang="0">
                  <a:pos x="connsiteX9912" y="connsiteY9912"/>
                </a:cxn>
                <a:cxn ang="0">
                  <a:pos x="connsiteX9913" y="connsiteY9913"/>
                </a:cxn>
                <a:cxn ang="0">
                  <a:pos x="connsiteX9914" y="connsiteY9914"/>
                </a:cxn>
                <a:cxn ang="0">
                  <a:pos x="connsiteX9915" y="connsiteY9915"/>
                </a:cxn>
                <a:cxn ang="0">
                  <a:pos x="connsiteX9916" y="connsiteY9916"/>
                </a:cxn>
                <a:cxn ang="0">
                  <a:pos x="connsiteX9917" y="connsiteY9917"/>
                </a:cxn>
                <a:cxn ang="0">
                  <a:pos x="connsiteX9918" y="connsiteY9918"/>
                </a:cxn>
                <a:cxn ang="0">
                  <a:pos x="connsiteX9919" y="connsiteY9919"/>
                </a:cxn>
                <a:cxn ang="0">
                  <a:pos x="connsiteX9920" y="connsiteY9920"/>
                </a:cxn>
                <a:cxn ang="0">
                  <a:pos x="connsiteX9921" y="connsiteY9921"/>
                </a:cxn>
                <a:cxn ang="0">
                  <a:pos x="connsiteX9922" y="connsiteY9922"/>
                </a:cxn>
                <a:cxn ang="0">
                  <a:pos x="connsiteX9923" y="connsiteY9923"/>
                </a:cxn>
                <a:cxn ang="0">
                  <a:pos x="connsiteX9924" y="connsiteY9924"/>
                </a:cxn>
                <a:cxn ang="0">
                  <a:pos x="connsiteX9925" y="connsiteY9925"/>
                </a:cxn>
                <a:cxn ang="0">
                  <a:pos x="connsiteX9926" y="connsiteY9926"/>
                </a:cxn>
                <a:cxn ang="0">
                  <a:pos x="connsiteX9927" y="connsiteY9927"/>
                </a:cxn>
                <a:cxn ang="0">
                  <a:pos x="connsiteX9928" y="connsiteY9928"/>
                </a:cxn>
                <a:cxn ang="0">
                  <a:pos x="connsiteX9929" y="connsiteY9929"/>
                </a:cxn>
                <a:cxn ang="0">
                  <a:pos x="connsiteX9930" y="connsiteY9930"/>
                </a:cxn>
                <a:cxn ang="0">
                  <a:pos x="connsiteX9931" y="connsiteY9931"/>
                </a:cxn>
                <a:cxn ang="0">
                  <a:pos x="connsiteX9932" y="connsiteY9932"/>
                </a:cxn>
                <a:cxn ang="0">
                  <a:pos x="connsiteX9933" y="connsiteY9933"/>
                </a:cxn>
                <a:cxn ang="0">
                  <a:pos x="connsiteX9934" y="connsiteY9934"/>
                </a:cxn>
                <a:cxn ang="0">
                  <a:pos x="connsiteX9935" y="connsiteY9935"/>
                </a:cxn>
                <a:cxn ang="0">
                  <a:pos x="connsiteX9936" y="connsiteY9936"/>
                </a:cxn>
                <a:cxn ang="0">
                  <a:pos x="connsiteX9937" y="connsiteY9937"/>
                </a:cxn>
                <a:cxn ang="0">
                  <a:pos x="connsiteX9938" y="connsiteY9938"/>
                </a:cxn>
                <a:cxn ang="0">
                  <a:pos x="connsiteX9939" y="connsiteY9939"/>
                </a:cxn>
                <a:cxn ang="0">
                  <a:pos x="connsiteX9940" y="connsiteY9940"/>
                </a:cxn>
                <a:cxn ang="0">
                  <a:pos x="connsiteX9941" y="connsiteY9941"/>
                </a:cxn>
                <a:cxn ang="0">
                  <a:pos x="connsiteX9942" y="connsiteY9942"/>
                </a:cxn>
                <a:cxn ang="0">
                  <a:pos x="connsiteX9943" y="connsiteY9943"/>
                </a:cxn>
                <a:cxn ang="0">
                  <a:pos x="connsiteX9944" y="connsiteY9944"/>
                </a:cxn>
                <a:cxn ang="0">
                  <a:pos x="connsiteX9945" y="connsiteY9945"/>
                </a:cxn>
                <a:cxn ang="0">
                  <a:pos x="connsiteX9946" y="connsiteY9946"/>
                </a:cxn>
                <a:cxn ang="0">
                  <a:pos x="connsiteX9947" y="connsiteY9947"/>
                </a:cxn>
                <a:cxn ang="0">
                  <a:pos x="connsiteX9948" y="connsiteY9948"/>
                </a:cxn>
                <a:cxn ang="0">
                  <a:pos x="connsiteX9949" y="connsiteY9949"/>
                </a:cxn>
                <a:cxn ang="0">
                  <a:pos x="connsiteX9950" y="connsiteY9950"/>
                </a:cxn>
                <a:cxn ang="0">
                  <a:pos x="connsiteX9951" y="connsiteY9951"/>
                </a:cxn>
                <a:cxn ang="0">
                  <a:pos x="connsiteX9952" y="connsiteY9952"/>
                </a:cxn>
                <a:cxn ang="0">
                  <a:pos x="connsiteX9953" y="connsiteY9953"/>
                </a:cxn>
                <a:cxn ang="0">
                  <a:pos x="connsiteX9954" y="connsiteY9954"/>
                </a:cxn>
                <a:cxn ang="0">
                  <a:pos x="connsiteX9955" y="connsiteY9955"/>
                </a:cxn>
                <a:cxn ang="0">
                  <a:pos x="connsiteX9956" y="connsiteY9956"/>
                </a:cxn>
                <a:cxn ang="0">
                  <a:pos x="connsiteX9957" y="connsiteY9957"/>
                </a:cxn>
                <a:cxn ang="0">
                  <a:pos x="connsiteX9958" y="connsiteY9958"/>
                </a:cxn>
                <a:cxn ang="0">
                  <a:pos x="connsiteX9959" y="connsiteY9959"/>
                </a:cxn>
                <a:cxn ang="0">
                  <a:pos x="connsiteX9960" y="connsiteY9960"/>
                </a:cxn>
                <a:cxn ang="0">
                  <a:pos x="connsiteX9961" y="connsiteY9961"/>
                </a:cxn>
                <a:cxn ang="0">
                  <a:pos x="connsiteX9962" y="connsiteY9962"/>
                </a:cxn>
                <a:cxn ang="0">
                  <a:pos x="connsiteX9963" y="connsiteY9963"/>
                </a:cxn>
                <a:cxn ang="0">
                  <a:pos x="connsiteX9964" y="connsiteY9964"/>
                </a:cxn>
                <a:cxn ang="0">
                  <a:pos x="connsiteX9965" y="connsiteY9965"/>
                </a:cxn>
                <a:cxn ang="0">
                  <a:pos x="connsiteX9966" y="connsiteY9966"/>
                </a:cxn>
                <a:cxn ang="0">
                  <a:pos x="connsiteX9967" y="connsiteY9967"/>
                </a:cxn>
                <a:cxn ang="0">
                  <a:pos x="connsiteX9968" y="connsiteY9968"/>
                </a:cxn>
                <a:cxn ang="0">
                  <a:pos x="connsiteX9969" y="connsiteY9969"/>
                </a:cxn>
                <a:cxn ang="0">
                  <a:pos x="connsiteX9970" y="connsiteY9970"/>
                </a:cxn>
                <a:cxn ang="0">
                  <a:pos x="connsiteX9971" y="connsiteY9971"/>
                </a:cxn>
                <a:cxn ang="0">
                  <a:pos x="connsiteX9972" y="connsiteY9972"/>
                </a:cxn>
                <a:cxn ang="0">
                  <a:pos x="connsiteX9973" y="connsiteY9973"/>
                </a:cxn>
                <a:cxn ang="0">
                  <a:pos x="connsiteX9974" y="connsiteY9974"/>
                </a:cxn>
                <a:cxn ang="0">
                  <a:pos x="connsiteX9975" y="connsiteY9975"/>
                </a:cxn>
                <a:cxn ang="0">
                  <a:pos x="connsiteX9976" y="connsiteY9976"/>
                </a:cxn>
                <a:cxn ang="0">
                  <a:pos x="connsiteX9977" y="connsiteY9977"/>
                </a:cxn>
                <a:cxn ang="0">
                  <a:pos x="connsiteX9978" y="connsiteY9978"/>
                </a:cxn>
                <a:cxn ang="0">
                  <a:pos x="connsiteX9979" y="connsiteY9979"/>
                </a:cxn>
                <a:cxn ang="0">
                  <a:pos x="connsiteX9980" y="connsiteY9980"/>
                </a:cxn>
                <a:cxn ang="0">
                  <a:pos x="connsiteX9981" y="connsiteY9981"/>
                </a:cxn>
                <a:cxn ang="0">
                  <a:pos x="connsiteX9982" y="connsiteY9982"/>
                </a:cxn>
                <a:cxn ang="0">
                  <a:pos x="connsiteX9983" y="connsiteY9983"/>
                </a:cxn>
                <a:cxn ang="0">
                  <a:pos x="connsiteX9984" y="connsiteY9984"/>
                </a:cxn>
                <a:cxn ang="0">
                  <a:pos x="connsiteX9985" y="connsiteY9985"/>
                </a:cxn>
                <a:cxn ang="0">
                  <a:pos x="connsiteX9986" y="connsiteY9986"/>
                </a:cxn>
                <a:cxn ang="0">
                  <a:pos x="connsiteX9987" y="connsiteY9987"/>
                </a:cxn>
                <a:cxn ang="0">
                  <a:pos x="connsiteX9988" y="connsiteY9988"/>
                </a:cxn>
                <a:cxn ang="0">
                  <a:pos x="connsiteX9989" y="connsiteY9989"/>
                </a:cxn>
                <a:cxn ang="0">
                  <a:pos x="connsiteX9990" y="connsiteY9990"/>
                </a:cxn>
                <a:cxn ang="0">
                  <a:pos x="connsiteX9991" y="connsiteY9991"/>
                </a:cxn>
                <a:cxn ang="0">
                  <a:pos x="connsiteX9992" y="connsiteY9992"/>
                </a:cxn>
                <a:cxn ang="0">
                  <a:pos x="connsiteX9993" y="connsiteY9993"/>
                </a:cxn>
                <a:cxn ang="0">
                  <a:pos x="connsiteX9994" y="connsiteY9994"/>
                </a:cxn>
                <a:cxn ang="0">
                  <a:pos x="connsiteX9995" y="connsiteY9995"/>
                </a:cxn>
                <a:cxn ang="0">
                  <a:pos x="connsiteX9996" y="connsiteY9996"/>
                </a:cxn>
                <a:cxn ang="0">
                  <a:pos x="connsiteX9997" y="connsiteY9997"/>
                </a:cxn>
                <a:cxn ang="0">
                  <a:pos x="connsiteX9998" y="connsiteY9998"/>
                </a:cxn>
                <a:cxn ang="0">
                  <a:pos x="connsiteX9999" y="connsiteY9999"/>
                </a:cxn>
                <a:cxn ang="0">
                  <a:pos x="connsiteX10000" y="connsiteY10000"/>
                </a:cxn>
                <a:cxn ang="0">
                  <a:pos x="connsiteX10001" y="connsiteY10001"/>
                </a:cxn>
                <a:cxn ang="0">
                  <a:pos x="connsiteX10002" y="connsiteY10002"/>
                </a:cxn>
                <a:cxn ang="0">
                  <a:pos x="connsiteX10003" y="connsiteY10003"/>
                </a:cxn>
                <a:cxn ang="0">
                  <a:pos x="connsiteX10004" y="connsiteY10004"/>
                </a:cxn>
                <a:cxn ang="0">
                  <a:pos x="connsiteX10005" y="connsiteY10005"/>
                </a:cxn>
                <a:cxn ang="0">
                  <a:pos x="connsiteX10006" y="connsiteY10006"/>
                </a:cxn>
                <a:cxn ang="0">
                  <a:pos x="connsiteX10007" y="connsiteY10007"/>
                </a:cxn>
                <a:cxn ang="0">
                  <a:pos x="connsiteX10008" y="connsiteY10008"/>
                </a:cxn>
                <a:cxn ang="0">
                  <a:pos x="connsiteX10009" y="connsiteY10009"/>
                </a:cxn>
                <a:cxn ang="0">
                  <a:pos x="connsiteX10010" y="connsiteY10010"/>
                </a:cxn>
                <a:cxn ang="0">
                  <a:pos x="connsiteX10011" y="connsiteY10011"/>
                </a:cxn>
                <a:cxn ang="0">
                  <a:pos x="connsiteX10012" y="connsiteY10012"/>
                </a:cxn>
                <a:cxn ang="0">
                  <a:pos x="connsiteX10013" y="connsiteY10013"/>
                </a:cxn>
                <a:cxn ang="0">
                  <a:pos x="connsiteX10014" y="connsiteY10014"/>
                </a:cxn>
                <a:cxn ang="0">
                  <a:pos x="connsiteX10015" y="connsiteY10015"/>
                </a:cxn>
                <a:cxn ang="0">
                  <a:pos x="connsiteX10016" y="connsiteY10016"/>
                </a:cxn>
                <a:cxn ang="0">
                  <a:pos x="connsiteX10017" y="connsiteY10017"/>
                </a:cxn>
                <a:cxn ang="0">
                  <a:pos x="connsiteX10018" y="connsiteY10018"/>
                </a:cxn>
                <a:cxn ang="0">
                  <a:pos x="connsiteX10019" y="connsiteY10019"/>
                </a:cxn>
                <a:cxn ang="0">
                  <a:pos x="connsiteX10020" y="connsiteY10020"/>
                </a:cxn>
                <a:cxn ang="0">
                  <a:pos x="connsiteX10021" y="connsiteY10021"/>
                </a:cxn>
                <a:cxn ang="0">
                  <a:pos x="connsiteX10022" y="connsiteY10022"/>
                </a:cxn>
                <a:cxn ang="0">
                  <a:pos x="connsiteX10023" y="connsiteY10023"/>
                </a:cxn>
                <a:cxn ang="0">
                  <a:pos x="connsiteX10024" y="connsiteY10024"/>
                </a:cxn>
                <a:cxn ang="0">
                  <a:pos x="connsiteX10025" y="connsiteY10025"/>
                </a:cxn>
                <a:cxn ang="0">
                  <a:pos x="connsiteX10026" y="connsiteY10026"/>
                </a:cxn>
                <a:cxn ang="0">
                  <a:pos x="connsiteX10027" y="connsiteY10027"/>
                </a:cxn>
                <a:cxn ang="0">
                  <a:pos x="connsiteX10028" y="connsiteY10028"/>
                </a:cxn>
                <a:cxn ang="0">
                  <a:pos x="connsiteX10029" y="connsiteY10029"/>
                </a:cxn>
                <a:cxn ang="0">
                  <a:pos x="connsiteX10030" y="connsiteY10030"/>
                </a:cxn>
                <a:cxn ang="0">
                  <a:pos x="connsiteX10031" y="connsiteY10031"/>
                </a:cxn>
                <a:cxn ang="0">
                  <a:pos x="connsiteX10032" y="connsiteY10032"/>
                </a:cxn>
                <a:cxn ang="0">
                  <a:pos x="connsiteX10033" y="connsiteY10033"/>
                </a:cxn>
                <a:cxn ang="0">
                  <a:pos x="connsiteX10034" y="connsiteY10034"/>
                </a:cxn>
                <a:cxn ang="0">
                  <a:pos x="connsiteX10035" y="connsiteY10035"/>
                </a:cxn>
                <a:cxn ang="0">
                  <a:pos x="connsiteX10036" y="connsiteY10036"/>
                </a:cxn>
                <a:cxn ang="0">
                  <a:pos x="connsiteX10037" y="connsiteY10037"/>
                </a:cxn>
                <a:cxn ang="0">
                  <a:pos x="connsiteX10038" y="connsiteY10038"/>
                </a:cxn>
                <a:cxn ang="0">
                  <a:pos x="connsiteX10039" y="connsiteY10039"/>
                </a:cxn>
                <a:cxn ang="0">
                  <a:pos x="connsiteX10040" y="connsiteY10040"/>
                </a:cxn>
                <a:cxn ang="0">
                  <a:pos x="connsiteX10041" y="connsiteY10041"/>
                </a:cxn>
                <a:cxn ang="0">
                  <a:pos x="connsiteX10042" y="connsiteY10042"/>
                </a:cxn>
                <a:cxn ang="0">
                  <a:pos x="connsiteX10043" y="connsiteY10043"/>
                </a:cxn>
                <a:cxn ang="0">
                  <a:pos x="connsiteX10044" y="connsiteY10044"/>
                </a:cxn>
                <a:cxn ang="0">
                  <a:pos x="connsiteX10045" y="connsiteY10045"/>
                </a:cxn>
                <a:cxn ang="0">
                  <a:pos x="connsiteX10046" y="connsiteY10046"/>
                </a:cxn>
                <a:cxn ang="0">
                  <a:pos x="connsiteX10047" y="connsiteY10047"/>
                </a:cxn>
                <a:cxn ang="0">
                  <a:pos x="connsiteX10048" y="connsiteY10048"/>
                </a:cxn>
                <a:cxn ang="0">
                  <a:pos x="connsiteX10049" y="connsiteY10049"/>
                </a:cxn>
                <a:cxn ang="0">
                  <a:pos x="connsiteX10050" y="connsiteY10050"/>
                </a:cxn>
                <a:cxn ang="0">
                  <a:pos x="connsiteX10051" y="connsiteY10051"/>
                </a:cxn>
                <a:cxn ang="0">
                  <a:pos x="connsiteX10052" y="connsiteY10052"/>
                </a:cxn>
                <a:cxn ang="0">
                  <a:pos x="connsiteX10053" y="connsiteY10053"/>
                </a:cxn>
                <a:cxn ang="0">
                  <a:pos x="connsiteX10054" y="connsiteY10054"/>
                </a:cxn>
                <a:cxn ang="0">
                  <a:pos x="connsiteX10055" y="connsiteY10055"/>
                </a:cxn>
                <a:cxn ang="0">
                  <a:pos x="connsiteX10056" y="connsiteY10056"/>
                </a:cxn>
                <a:cxn ang="0">
                  <a:pos x="connsiteX10057" y="connsiteY10057"/>
                </a:cxn>
                <a:cxn ang="0">
                  <a:pos x="connsiteX10058" y="connsiteY10058"/>
                </a:cxn>
                <a:cxn ang="0">
                  <a:pos x="connsiteX10059" y="connsiteY10059"/>
                </a:cxn>
                <a:cxn ang="0">
                  <a:pos x="connsiteX10060" y="connsiteY10060"/>
                </a:cxn>
                <a:cxn ang="0">
                  <a:pos x="connsiteX10061" y="connsiteY10061"/>
                </a:cxn>
                <a:cxn ang="0">
                  <a:pos x="connsiteX10062" y="connsiteY10062"/>
                </a:cxn>
                <a:cxn ang="0">
                  <a:pos x="connsiteX10063" y="connsiteY10063"/>
                </a:cxn>
                <a:cxn ang="0">
                  <a:pos x="connsiteX10064" y="connsiteY10064"/>
                </a:cxn>
                <a:cxn ang="0">
                  <a:pos x="connsiteX10065" y="connsiteY10065"/>
                </a:cxn>
                <a:cxn ang="0">
                  <a:pos x="connsiteX10066" y="connsiteY10066"/>
                </a:cxn>
                <a:cxn ang="0">
                  <a:pos x="connsiteX10067" y="connsiteY10067"/>
                </a:cxn>
                <a:cxn ang="0">
                  <a:pos x="connsiteX10068" y="connsiteY10068"/>
                </a:cxn>
                <a:cxn ang="0">
                  <a:pos x="connsiteX10069" y="connsiteY10069"/>
                </a:cxn>
                <a:cxn ang="0">
                  <a:pos x="connsiteX10070" y="connsiteY10070"/>
                </a:cxn>
                <a:cxn ang="0">
                  <a:pos x="connsiteX10071" y="connsiteY10071"/>
                </a:cxn>
                <a:cxn ang="0">
                  <a:pos x="connsiteX10072" y="connsiteY10072"/>
                </a:cxn>
                <a:cxn ang="0">
                  <a:pos x="connsiteX10073" y="connsiteY10073"/>
                </a:cxn>
                <a:cxn ang="0">
                  <a:pos x="connsiteX10074" y="connsiteY10074"/>
                </a:cxn>
                <a:cxn ang="0">
                  <a:pos x="connsiteX10075" y="connsiteY10075"/>
                </a:cxn>
                <a:cxn ang="0">
                  <a:pos x="connsiteX10076" y="connsiteY10076"/>
                </a:cxn>
                <a:cxn ang="0">
                  <a:pos x="connsiteX10077" y="connsiteY10077"/>
                </a:cxn>
                <a:cxn ang="0">
                  <a:pos x="connsiteX10078" y="connsiteY10078"/>
                </a:cxn>
                <a:cxn ang="0">
                  <a:pos x="connsiteX10079" y="connsiteY10079"/>
                </a:cxn>
                <a:cxn ang="0">
                  <a:pos x="connsiteX10080" y="connsiteY10080"/>
                </a:cxn>
                <a:cxn ang="0">
                  <a:pos x="connsiteX10081" y="connsiteY10081"/>
                </a:cxn>
                <a:cxn ang="0">
                  <a:pos x="connsiteX10082" y="connsiteY10082"/>
                </a:cxn>
                <a:cxn ang="0">
                  <a:pos x="connsiteX10083" y="connsiteY10083"/>
                </a:cxn>
                <a:cxn ang="0">
                  <a:pos x="connsiteX10084" y="connsiteY10084"/>
                </a:cxn>
                <a:cxn ang="0">
                  <a:pos x="connsiteX10085" y="connsiteY10085"/>
                </a:cxn>
                <a:cxn ang="0">
                  <a:pos x="connsiteX10086" y="connsiteY10086"/>
                </a:cxn>
                <a:cxn ang="0">
                  <a:pos x="connsiteX10087" y="connsiteY10087"/>
                </a:cxn>
                <a:cxn ang="0">
                  <a:pos x="connsiteX10088" y="connsiteY10088"/>
                </a:cxn>
                <a:cxn ang="0">
                  <a:pos x="connsiteX10089" y="connsiteY10089"/>
                </a:cxn>
                <a:cxn ang="0">
                  <a:pos x="connsiteX10090" y="connsiteY10090"/>
                </a:cxn>
                <a:cxn ang="0">
                  <a:pos x="connsiteX10091" y="connsiteY10091"/>
                </a:cxn>
                <a:cxn ang="0">
                  <a:pos x="connsiteX10092" y="connsiteY10092"/>
                </a:cxn>
                <a:cxn ang="0">
                  <a:pos x="connsiteX10093" y="connsiteY10093"/>
                </a:cxn>
                <a:cxn ang="0">
                  <a:pos x="connsiteX10094" y="connsiteY10094"/>
                </a:cxn>
                <a:cxn ang="0">
                  <a:pos x="connsiteX10095" y="connsiteY10095"/>
                </a:cxn>
                <a:cxn ang="0">
                  <a:pos x="connsiteX10096" y="connsiteY10096"/>
                </a:cxn>
                <a:cxn ang="0">
                  <a:pos x="connsiteX10097" y="connsiteY10097"/>
                </a:cxn>
                <a:cxn ang="0">
                  <a:pos x="connsiteX10098" y="connsiteY10098"/>
                </a:cxn>
                <a:cxn ang="0">
                  <a:pos x="connsiteX10099" y="connsiteY10099"/>
                </a:cxn>
                <a:cxn ang="0">
                  <a:pos x="connsiteX10100" y="connsiteY10100"/>
                </a:cxn>
                <a:cxn ang="0">
                  <a:pos x="connsiteX10101" y="connsiteY10101"/>
                </a:cxn>
                <a:cxn ang="0">
                  <a:pos x="connsiteX10102" y="connsiteY10102"/>
                </a:cxn>
                <a:cxn ang="0">
                  <a:pos x="connsiteX10103" y="connsiteY10103"/>
                </a:cxn>
                <a:cxn ang="0">
                  <a:pos x="connsiteX10104" y="connsiteY10104"/>
                </a:cxn>
                <a:cxn ang="0">
                  <a:pos x="connsiteX10105" y="connsiteY10105"/>
                </a:cxn>
                <a:cxn ang="0">
                  <a:pos x="connsiteX10106" y="connsiteY10106"/>
                </a:cxn>
                <a:cxn ang="0">
                  <a:pos x="connsiteX10107" y="connsiteY10107"/>
                </a:cxn>
                <a:cxn ang="0">
                  <a:pos x="connsiteX10108" y="connsiteY10108"/>
                </a:cxn>
                <a:cxn ang="0">
                  <a:pos x="connsiteX10109" y="connsiteY10109"/>
                </a:cxn>
                <a:cxn ang="0">
                  <a:pos x="connsiteX10110" y="connsiteY10110"/>
                </a:cxn>
                <a:cxn ang="0">
                  <a:pos x="connsiteX10111" y="connsiteY10111"/>
                </a:cxn>
                <a:cxn ang="0">
                  <a:pos x="connsiteX10112" y="connsiteY10112"/>
                </a:cxn>
                <a:cxn ang="0">
                  <a:pos x="connsiteX10113" y="connsiteY10113"/>
                </a:cxn>
                <a:cxn ang="0">
                  <a:pos x="connsiteX10114" y="connsiteY10114"/>
                </a:cxn>
                <a:cxn ang="0">
                  <a:pos x="connsiteX10115" y="connsiteY10115"/>
                </a:cxn>
                <a:cxn ang="0">
                  <a:pos x="connsiteX10116" y="connsiteY10116"/>
                </a:cxn>
                <a:cxn ang="0">
                  <a:pos x="connsiteX10117" y="connsiteY10117"/>
                </a:cxn>
                <a:cxn ang="0">
                  <a:pos x="connsiteX10118" y="connsiteY10118"/>
                </a:cxn>
                <a:cxn ang="0">
                  <a:pos x="connsiteX10119" y="connsiteY10119"/>
                </a:cxn>
                <a:cxn ang="0">
                  <a:pos x="connsiteX10120" y="connsiteY10120"/>
                </a:cxn>
                <a:cxn ang="0">
                  <a:pos x="connsiteX10121" y="connsiteY10121"/>
                </a:cxn>
                <a:cxn ang="0">
                  <a:pos x="connsiteX10122" y="connsiteY10122"/>
                </a:cxn>
                <a:cxn ang="0">
                  <a:pos x="connsiteX10123" y="connsiteY10123"/>
                </a:cxn>
                <a:cxn ang="0">
                  <a:pos x="connsiteX10124" y="connsiteY10124"/>
                </a:cxn>
                <a:cxn ang="0">
                  <a:pos x="connsiteX10125" y="connsiteY10125"/>
                </a:cxn>
                <a:cxn ang="0">
                  <a:pos x="connsiteX10126" y="connsiteY10126"/>
                </a:cxn>
                <a:cxn ang="0">
                  <a:pos x="connsiteX10127" y="connsiteY10127"/>
                </a:cxn>
                <a:cxn ang="0">
                  <a:pos x="connsiteX10128" y="connsiteY10128"/>
                </a:cxn>
                <a:cxn ang="0">
                  <a:pos x="connsiteX10129" y="connsiteY10129"/>
                </a:cxn>
                <a:cxn ang="0">
                  <a:pos x="connsiteX10130" y="connsiteY10130"/>
                </a:cxn>
                <a:cxn ang="0">
                  <a:pos x="connsiteX10131" y="connsiteY10131"/>
                </a:cxn>
                <a:cxn ang="0">
                  <a:pos x="connsiteX10132" y="connsiteY10132"/>
                </a:cxn>
                <a:cxn ang="0">
                  <a:pos x="connsiteX10133" y="connsiteY10133"/>
                </a:cxn>
                <a:cxn ang="0">
                  <a:pos x="connsiteX10134" y="connsiteY10134"/>
                </a:cxn>
                <a:cxn ang="0">
                  <a:pos x="connsiteX10135" y="connsiteY10135"/>
                </a:cxn>
                <a:cxn ang="0">
                  <a:pos x="connsiteX10136" y="connsiteY10136"/>
                </a:cxn>
                <a:cxn ang="0">
                  <a:pos x="connsiteX10137" y="connsiteY10137"/>
                </a:cxn>
                <a:cxn ang="0">
                  <a:pos x="connsiteX10138" y="connsiteY10138"/>
                </a:cxn>
                <a:cxn ang="0">
                  <a:pos x="connsiteX10139" y="connsiteY10139"/>
                </a:cxn>
                <a:cxn ang="0">
                  <a:pos x="connsiteX10140" y="connsiteY10140"/>
                </a:cxn>
                <a:cxn ang="0">
                  <a:pos x="connsiteX10141" y="connsiteY10141"/>
                </a:cxn>
                <a:cxn ang="0">
                  <a:pos x="connsiteX10142" y="connsiteY10142"/>
                </a:cxn>
                <a:cxn ang="0">
                  <a:pos x="connsiteX10143" y="connsiteY10143"/>
                </a:cxn>
                <a:cxn ang="0">
                  <a:pos x="connsiteX10144" y="connsiteY10144"/>
                </a:cxn>
                <a:cxn ang="0">
                  <a:pos x="connsiteX10145" y="connsiteY10145"/>
                </a:cxn>
                <a:cxn ang="0">
                  <a:pos x="connsiteX10146" y="connsiteY10146"/>
                </a:cxn>
                <a:cxn ang="0">
                  <a:pos x="connsiteX10147" y="connsiteY10147"/>
                </a:cxn>
                <a:cxn ang="0">
                  <a:pos x="connsiteX10148" y="connsiteY10148"/>
                </a:cxn>
                <a:cxn ang="0">
                  <a:pos x="connsiteX10149" y="connsiteY10149"/>
                </a:cxn>
                <a:cxn ang="0">
                  <a:pos x="connsiteX10150" y="connsiteY10150"/>
                </a:cxn>
                <a:cxn ang="0">
                  <a:pos x="connsiteX10151" y="connsiteY10151"/>
                </a:cxn>
                <a:cxn ang="0">
                  <a:pos x="connsiteX10152" y="connsiteY10152"/>
                </a:cxn>
                <a:cxn ang="0">
                  <a:pos x="connsiteX10153" y="connsiteY10153"/>
                </a:cxn>
                <a:cxn ang="0">
                  <a:pos x="connsiteX10154" y="connsiteY10154"/>
                </a:cxn>
                <a:cxn ang="0">
                  <a:pos x="connsiteX10155" y="connsiteY10155"/>
                </a:cxn>
                <a:cxn ang="0">
                  <a:pos x="connsiteX10156" y="connsiteY10156"/>
                </a:cxn>
                <a:cxn ang="0">
                  <a:pos x="connsiteX10157" y="connsiteY10157"/>
                </a:cxn>
                <a:cxn ang="0">
                  <a:pos x="connsiteX10158" y="connsiteY10158"/>
                </a:cxn>
                <a:cxn ang="0">
                  <a:pos x="connsiteX10159" y="connsiteY10159"/>
                </a:cxn>
                <a:cxn ang="0">
                  <a:pos x="connsiteX10160" y="connsiteY10160"/>
                </a:cxn>
                <a:cxn ang="0">
                  <a:pos x="connsiteX10161" y="connsiteY10161"/>
                </a:cxn>
                <a:cxn ang="0">
                  <a:pos x="connsiteX10162" y="connsiteY10162"/>
                </a:cxn>
                <a:cxn ang="0">
                  <a:pos x="connsiteX10163" y="connsiteY10163"/>
                </a:cxn>
                <a:cxn ang="0">
                  <a:pos x="connsiteX10164" y="connsiteY10164"/>
                </a:cxn>
                <a:cxn ang="0">
                  <a:pos x="connsiteX10165" y="connsiteY10165"/>
                </a:cxn>
                <a:cxn ang="0">
                  <a:pos x="connsiteX10166" y="connsiteY10166"/>
                </a:cxn>
                <a:cxn ang="0">
                  <a:pos x="connsiteX10167" y="connsiteY10167"/>
                </a:cxn>
                <a:cxn ang="0">
                  <a:pos x="connsiteX10168" y="connsiteY10168"/>
                </a:cxn>
                <a:cxn ang="0">
                  <a:pos x="connsiteX10169" y="connsiteY10169"/>
                </a:cxn>
                <a:cxn ang="0">
                  <a:pos x="connsiteX10170" y="connsiteY10170"/>
                </a:cxn>
                <a:cxn ang="0">
                  <a:pos x="connsiteX10171" y="connsiteY10171"/>
                </a:cxn>
                <a:cxn ang="0">
                  <a:pos x="connsiteX10172" y="connsiteY10172"/>
                </a:cxn>
                <a:cxn ang="0">
                  <a:pos x="connsiteX10173" y="connsiteY10173"/>
                </a:cxn>
                <a:cxn ang="0">
                  <a:pos x="connsiteX10174" y="connsiteY10174"/>
                </a:cxn>
                <a:cxn ang="0">
                  <a:pos x="connsiteX10175" y="connsiteY10175"/>
                </a:cxn>
                <a:cxn ang="0">
                  <a:pos x="connsiteX10176" y="connsiteY10176"/>
                </a:cxn>
                <a:cxn ang="0">
                  <a:pos x="connsiteX10177" y="connsiteY10177"/>
                </a:cxn>
                <a:cxn ang="0">
                  <a:pos x="connsiteX10178" y="connsiteY10178"/>
                </a:cxn>
                <a:cxn ang="0">
                  <a:pos x="connsiteX10179" y="connsiteY10179"/>
                </a:cxn>
                <a:cxn ang="0">
                  <a:pos x="connsiteX10180" y="connsiteY10180"/>
                </a:cxn>
                <a:cxn ang="0">
                  <a:pos x="connsiteX10181" y="connsiteY10181"/>
                </a:cxn>
                <a:cxn ang="0">
                  <a:pos x="connsiteX10182" y="connsiteY10182"/>
                </a:cxn>
                <a:cxn ang="0">
                  <a:pos x="connsiteX10183" y="connsiteY10183"/>
                </a:cxn>
                <a:cxn ang="0">
                  <a:pos x="connsiteX10184" y="connsiteY10184"/>
                </a:cxn>
                <a:cxn ang="0">
                  <a:pos x="connsiteX10185" y="connsiteY10185"/>
                </a:cxn>
                <a:cxn ang="0">
                  <a:pos x="connsiteX10186" y="connsiteY10186"/>
                </a:cxn>
                <a:cxn ang="0">
                  <a:pos x="connsiteX10187" y="connsiteY10187"/>
                </a:cxn>
                <a:cxn ang="0">
                  <a:pos x="connsiteX10188" y="connsiteY10188"/>
                </a:cxn>
                <a:cxn ang="0">
                  <a:pos x="connsiteX10189" y="connsiteY10189"/>
                </a:cxn>
                <a:cxn ang="0">
                  <a:pos x="connsiteX10190" y="connsiteY10190"/>
                </a:cxn>
                <a:cxn ang="0">
                  <a:pos x="connsiteX10191" y="connsiteY10191"/>
                </a:cxn>
                <a:cxn ang="0">
                  <a:pos x="connsiteX10192" y="connsiteY10192"/>
                </a:cxn>
                <a:cxn ang="0">
                  <a:pos x="connsiteX10193" y="connsiteY10193"/>
                </a:cxn>
                <a:cxn ang="0">
                  <a:pos x="connsiteX10194" y="connsiteY10194"/>
                </a:cxn>
                <a:cxn ang="0">
                  <a:pos x="connsiteX10195" y="connsiteY10195"/>
                </a:cxn>
                <a:cxn ang="0">
                  <a:pos x="connsiteX10196" y="connsiteY10196"/>
                </a:cxn>
                <a:cxn ang="0">
                  <a:pos x="connsiteX10197" y="connsiteY10197"/>
                </a:cxn>
                <a:cxn ang="0">
                  <a:pos x="connsiteX10198" y="connsiteY10198"/>
                </a:cxn>
                <a:cxn ang="0">
                  <a:pos x="connsiteX10199" y="connsiteY10199"/>
                </a:cxn>
                <a:cxn ang="0">
                  <a:pos x="connsiteX10200" y="connsiteY10200"/>
                </a:cxn>
                <a:cxn ang="0">
                  <a:pos x="connsiteX10201" y="connsiteY10201"/>
                </a:cxn>
                <a:cxn ang="0">
                  <a:pos x="connsiteX10202" y="connsiteY10202"/>
                </a:cxn>
                <a:cxn ang="0">
                  <a:pos x="connsiteX10203" y="connsiteY10203"/>
                </a:cxn>
                <a:cxn ang="0">
                  <a:pos x="connsiteX10204" y="connsiteY10204"/>
                </a:cxn>
                <a:cxn ang="0">
                  <a:pos x="connsiteX10205" y="connsiteY10205"/>
                </a:cxn>
                <a:cxn ang="0">
                  <a:pos x="connsiteX10206" y="connsiteY10206"/>
                </a:cxn>
                <a:cxn ang="0">
                  <a:pos x="connsiteX10207" y="connsiteY10207"/>
                </a:cxn>
                <a:cxn ang="0">
                  <a:pos x="connsiteX10208" y="connsiteY10208"/>
                </a:cxn>
                <a:cxn ang="0">
                  <a:pos x="connsiteX10209" y="connsiteY10209"/>
                </a:cxn>
                <a:cxn ang="0">
                  <a:pos x="connsiteX10210" y="connsiteY10210"/>
                </a:cxn>
                <a:cxn ang="0">
                  <a:pos x="connsiteX10211" y="connsiteY10211"/>
                </a:cxn>
                <a:cxn ang="0">
                  <a:pos x="connsiteX10212" y="connsiteY10212"/>
                </a:cxn>
                <a:cxn ang="0">
                  <a:pos x="connsiteX10213" y="connsiteY10213"/>
                </a:cxn>
                <a:cxn ang="0">
                  <a:pos x="connsiteX10214" y="connsiteY10214"/>
                </a:cxn>
                <a:cxn ang="0">
                  <a:pos x="connsiteX10215" y="connsiteY10215"/>
                </a:cxn>
                <a:cxn ang="0">
                  <a:pos x="connsiteX10216" y="connsiteY10216"/>
                </a:cxn>
                <a:cxn ang="0">
                  <a:pos x="connsiteX10217" y="connsiteY10217"/>
                </a:cxn>
                <a:cxn ang="0">
                  <a:pos x="connsiteX10218" y="connsiteY10218"/>
                </a:cxn>
                <a:cxn ang="0">
                  <a:pos x="connsiteX10219" y="connsiteY10219"/>
                </a:cxn>
                <a:cxn ang="0">
                  <a:pos x="connsiteX10220" y="connsiteY10220"/>
                </a:cxn>
                <a:cxn ang="0">
                  <a:pos x="connsiteX10221" y="connsiteY10221"/>
                </a:cxn>
                <a:cxn ang="0">
                  <a:pos x="connsiteX10222" y="connsiteY10222"/>
                </a:cxn>
                <a:cxn ang="0">
                  <a:pos x="connsiteX10223" y="connsiteY10223"/>
                </a:cxn>
                <a:cxn ang="0">
                  <a:pos x="connsiteX10224" y="connsiteY10224"/>
                </a:cxn>
                <a:cxn ang="0">
                  <a:pos x="connsiteX10225" y="connsiteY10225"/>
                </a:cxn>
                <a:cxn ang="0">
                  <a:pos x="connsiteX10226" y="connsiteY10226"/>
                </a:cxn>
                <a:cxn ang="0">
                  <a:pos x="connsiteX10227" y="connsiteY10227"/>
                </a:cxn>
                <a:cxn ang="0">
                  <a:pos x="connsiteX10228" y="connsiteY10228"/>
                </a:cxn>
                <a:cxn ang="0">
                  <a:pos x="connsiteX10229" y="connsiteY10229"/>
                </a:cxn>
                <a:cxn ang="0">
                  <a:pos x="connsiteX10230" y="connsiteY10230"/>
                </a:cxn>
                <a:cxn ang="0">
                  <a:pos x="connsiteX10231" y="connsiteY10231"/>
                </a:cxn>
                <a:cxn ang="0">
                  <a:pos x="connsiteX10232" y="connsiteY10232"/>
                </a:cxn>
                <a:cxn ang="0">
                  <a:pos x="connsiteX10233" y="connsiteY10233"/>
                </a:cxn>
                <a:cxn ang="0">
                  <a:pos x="connsiteX10234" y="connsiteY10234"/>
                </a:cxn>
                <a:cxn ang="0">
                  <a:pos x="connsiteX10235" y="connsiteY10235"/>
                </a:cxn>
                <a:cxn ang="0">
                  <a:pos x="connsiteX10236" y="connsiteY10236"/>
                </a:cxn>
                <a:cxn ang="0">
                  <a:pos x="connsiteX10237" y="connsiteY10237"/>
                </a:cxn>
                <a:cxn ang="0">
                  <a:pos x="connsiteX10238" y="connsiteY10238"/>
                </a:cxn>
                <a:cxn ang="0">
                  <a:pos x="connsiteX10239" y="connsiteY10239"/>
                </a:cxn>
                <a:cxn ang="0">
                  <a:pos x="connsiteX10240" y="connsiteY10240"/>
                </a:cxn>
                <a:cxn ang="0">
                  <a:pos x="connsiteX10241" y="connsiteY10241"/>
                </a:cxn>
                <a:cxn ang="0">
                  <a:pos x="connsiteX10242" y="connsiteY10242"/>
                </a:cxn>
                <a:cxn ang="0">
                  <a:pos x="connsiteX10243" y="connsiteY10243"/>
                </a:cxn>
                <a:cxn ang="0">
                  <a:pos x="connsiteX10244" y="connsiteY10244"/>
                </a:cxn>
                <a:cxn ang="0">
                  <a:pos x="connsiteX10245" y="connsiteY10245"/>
                </a:cxn>
                <a:cxn ang="0">
                  <a:pos x="connsiteX10246" y="connsiteY10246"/>
                </a:cxn>
                <a:cxn ang="0">
                  <a:pos x="connsiteX10247" y="connsiteY10247"/>
                </a:cxn>
                <a:cxn ang="0">
                  <a:pos x="connsiteX10248" y="connsiteY10248"/>
                </a:cxn>
                <a:cxn ang="0">
                  <a:pos x="connsiteX10249" y="connsiteY10249"/>
                </a:cxn>
                <a:cxn ang="0">
                  <a:pos x="connsiteX10250" y="connsiteY10250"/>
                </a:cxn>
                <a:cxn ang="0">
                  <a:pos x="connsiteX10251" y="connsiteY10251"/>
                </a:cxn>
                <a:cxn ang="0">
                  <a:pos x="connsiteX10252" y="connsiteY10252"/>
                </a:cxn>
                <a:cxn ang="0">
                  <a:pos x="connsiteX10253" y="connsiteY10253"/>
                </a:cxn>
                <a:cxn ang="0">
                  <a:pos x="connsiteX10254" y="connsiteY10254"/>
                </a:cxn>
                <a:cxn ang="0">
                  <a:pos x="connsiteX10255" y="connsiteY10255"/>
                </a:cxn>
                <a:cxn ang="0">
                  <a:pos x="connsiteX10256" y="connsiteY10256"/>
                </a:cxn>
                <a:cxn ang="0">
                  <a:pos x="connsiteX10257" y="connsiteY10257"/>
                </a:cxn>
                <a:cxn ang="0">
                  <a:pos x="connsiteX10258" y="connsiteY10258"/>
                </a:cxn>
                <a:cxn ang="0">
                  <a:pos x="connsiteX10259" y="connsiteY10259"/>
                </a:cxn>
                <a:cxn ang="0">
                  <a:pos x="connsiteX10260" y="connsiteY10260"/>
                </a:cxn>
                <a:cxn ang="0">
                  <a:pos x="connsiteX10261" y="connsiteY10261"/>
                </a:cxn>
                <a:cxn ang="0">
                  <a:pos x="connsiteX10262" y="connsiteY10262"/>
                </a:cxn>
                <a:cxn ang="0">
                  <a:pos x="connsiteX10263" y="connsiteY10263"/>
                </a:cxn>
                <a:cxn ang="0">
                  <a:pos x="connsiteX10264" y="connsiteY10264"/>
                </a:cxn>
                <a:cxn ang="0">
                  <a:pos x="connsiteX10265" y="connsiteY10265"/>
                </a:cxn>
                <a:cxn ang="0">
                  <a:pos x="connsiteX10266" y="connsiteY10266"/>
                </a:cxn>
                <a:cxn ang="0">
                  <a:pos x="connsiteX10267" y="connsiteY10267"/>
                </a:cxn>
                <a:cxn ang="0">
                  <a:pos x="connsiteX10268" y="connsiteY10268"/>
                </a:cxn>
                <a:cxn ang="0">
                  <a:pos x="connsiteX10269" y="connsiteY10269"/>
                </a:cxn>
                <a:cxn ang="0">
                  <a:pos x="connsiteX10270" y="connsiteY10270"/>
                </a:cxn>
                <a:cxn ang="0">
                  <a:pos x="connsiteX10271" y="connsiteY10271"/>
                </a:cxn>
                <a:cxn ang="0">
                  <a:pos x="connsiteX10272" y="connsiteY10272"/>
                </a:cxn>
                <a:cxn ang="0">
                  <a:pos x="connsiteX10273" y="connsiteY10273"/>
                </a:cxn>
                <a:cxn ang="0">
                  <a:pos x="connsiteX10274" y="connsiteY10274"/>
                </a:cxn>
                <a:cxn ang="0">
                  <a:pos x="connsiteX10275" y="connsiteY10275"/>
                </a:cxn>
                <a:cxn ang="0">
                  <a:pos x="connsiteX10276" y="connsiteY10276"/>
                </a:cxn>
                <a:cxn ang="0">
                  <a:pos x="connsiteX10277" y="connsiteY10277"/>
                </a:cxn>
                <a:cxn ang="0">
                  <a:pos x="connsiteX10278" y="connsiteY10278"/>
                </a:cxn>
                <a:cxn ang="0">
                  <a:pos x="connsiteX10279" y="connsiteY10279"/>
                </a:cxn>
                <a:cxn ang="0">
                  <a:pos x="connsiteX10280" y="connsiteY10280"/>
                </a:cxn>
                <a:cxn ang="0">
                  <a:pos x="connsiteX10281" y="connsiteY10281"/>
                </a:cxn>
                <a:cxn ang="0">
                  <a:pos x="connsiteX10282" y="connsiteY10282"/>
                </a:cxn>
                <a:cxn ang="0">
                  <a:pos x="connsiteX10283" y="connsiteY10283"/>
                </a:cxn>
                <a:cxn ang="0">
                  <a:pos x="connsiteX10284" y="connsiteY10284"/>
                </a:cxn>
                <a:cxn ang="0">
                  <a:pos x="connsiteX10285" y="connsiteY10285"/>
                </a:cxn>
                <a:cxn ang="0">
                  <a:pos x="connsiteX10286" y="connsiteY10286"/>
                </a:cxn>
                <a:cxn ang="0">
                  <a:pos x="connsiteX10287" y="connsiteY10287"/>
                </a:cxn>
                <a:cxn ang="0">
                  <a:pos x="connsiteX10288" y="connsiteY10288"/>
                </a:cxn>
                <a:cxn ang="0">
                  <a:pos x="connsiteX10289" y="connsiteY10289"/>
                </a:cxn>
                <a:cxn ang="0">
                  <a:pos x="connsiteX10290" y="connsiteY10290"/>
                </a:cxn>
                <a:cxn ang="0">
                  <a:pos x="connsiteX10291" y="connsiteY10291"/>
                </a:cxn>
                <a:cxn ang="0">
                  <a:pos x="connsiteX10292" y="connsiteY10292"/>
                </a:cxn>
                <a:cxn ang="0">
                  <a:pos x="connsiteX10293" y="connsiteY10293"/>
                </a:cxn>
                <a:cxn ang="0">
                  <a:pos x="connsiteX10294" y="connsiteY10294"/>
                </a:cxn>
                <a:cxn ang="0">
                  <a:pos x="connsiteX10295" y="connsiteY10295"/>
                </a:cxn>
                <a:cxn ang="0">
                  <a:pos x="connsiteX10296" y="connsiteY10296"/>
                </a:cxn>
                <a:cxn ang="0">
                  <a:pos x="connsiteX10297" y="connsiteY10297"/>
                </a:cxn>
                <a:cxn ang="0">
                  <a:pos x="connsiteX10298" y="connsiteY10298"/>
                </a:cxn>
                <a:cxn ang="0">
                  <a:pos x="connsiteX10299" y="connsiteY10299"/>
                </a:cxn>
                <a:cxn ang="0">
                  <a:pos x="connsiteX10300" y="connsiteY10300"/>
                </a:cxn>
                <a:cxn ang="0">
                  <a:pos x="connsiteX10301" y="connsiteY10301"/>
                </a:cxn>
                <a:cxn ang="0">
                  <a:pos x="connsiteX10302" y="connsiteY10302"/>
                </a:cxn>
                <a:cxn ang="0">
                  <a:pos x="connsiteX10303" y="connsiteY10303"/>
                </a:cxn>
                <a:cxn ang="0">
                  <a:pos x="connsiteX10304" y="connsiteY10304"/>
                </a:cxn>
                <a:cxn ang="0">
                  <a:pos x="connsiteX10305" y="connsiteY10305"/>
                </a:cxn>
                <a:cxn ang="0">
                  <a:pos x="connsiteX10306" y="connsiteY10306"/>
                </a:cxn>
                <a:cxn ang="0">
                  <a:pos x="connsiteX10307" y="connsiteY10307"/>
                </a:cxn>
                <a:cxn ang="0">
                  <a:pos x="connsiteX10308" y="connsiteY10308"/>
                </a:cxn>
                <a:cxn ang="0">
                  <a:pos x="connsiteX10309" y="connsiteY10309"/>
                </a:cxn>
                <a:cxn ang="0">
                  <a:pos x="connsiteX10310" y="connsiteY10310"/>
                </a:cxn>
                <a:cxn ang="0">
                  <a:pos x="connsiteX10311" y="connsiteY10311"/>
                </a:cxn>
                <a:cxn ang="0">
                  <a:pos x="connsiteX10312" y="connsiteY10312"/>
                </a:cxn>
                <a:cxn ang="0">
                  <a:pos x="connsiteX10313" y="connsiteY10313"/>
                </a:cxn>
                <a:cxn ang="0">
                  <a:pos x="connsiteX10314" y="connsiteY10314"/>
                </a:cxn>
                <a:cxn ang="0">
                  <a:pos x="connsiteX10315" y="connsiteY10315"/>
                </a:cxn>
                <a:cxn ang="0">
                  <a:pos x="connsiteX10316" y="connsiteY10316"/>
                </a:cxn>
                <a:cxn ang="0">
                  <a:pos x="connsiteX10317" y="connsiteY10317"/>
                </a:cxn>
                <a:cxn ang="0">
                  <a:pos x="connsiteX10318" y="connsiteY10318"/>
                </a:cxn>
                <a:cxn ang="0">
                  <a:pos x="connsiteX10319" y="connsiteY10319"/>
                </a:cxn>
                <a:cxn ang="0">
                  <a:pos x="connsiteX10320" y="connsiteY10320"/>
                </a:cxn>
                <a:cxn ang="0">
                  <a:pos x="connsiteX10321" y="connsiteY10321"/>
                </a:cxn>
                <a:cxn ang="0">
                  <a:pos x="connsiteX10322" y="connsiteY10322"/>
                </a:cxn>
                <a:cxn ang="0">
                  <a:pos x="connsiteX10323" y="connsiteY10323"/>
                </a:cxn>
                <a:cxn ang="0">
                  <a:pos x="connsiteX10324" y="connsiteY10324"/>
                </a:cxn>
                <a:cxn ang="0">
                  <a:pos x="connsiteX10325" y="connsiteY10325"/>
                </a:cxn>
                <a:cxn ang="0">
                  <a:pos x="connsiteX10326" y="connsiteY10326"/>
                </a:cxn>
                <a:cxn ang="0">
                  <a:pos x="connsiteX10327" y="connsiteY10327"/>
                </a:cxn>
                <a:cxn ang="0">
                  <a:pos x="connsiteX10328" y="connsiteY10328"/>
                </a:cxn>
                <a:cxn ang="0">
                  <a:pos x="connsiteX10329" y="connsiteY10329"/>
                </a:cxn>
                <a:cxn ang="0">
                  <a:pos x="connsiteX10330" y="connsiteY10330"/>
                </a:cxn>
                <a:cxn ang="0">
                  <a:pos x="connsiteX10331" y="connsiteY10331"/>
                </a:cxn>
                <a:cxn ang="0">
                  <a:pos x="connsiteX10332" y="connsiteY10332"/>
                </a:cxn>
                <a:cxn ang="0">
                  <a:pos x="connsiteX10333" y="connsiteY10333"/>
                </a:cxn>
                <a:cxn ang="0">
                  <a:pos x="connsiteX10334" y="connsiteY10334"/>
                </a:cxn>
                <a:cxn ang="0">
                  <a:pos x="connsiteX10335" y="connsiteY10335"/>
                </a:cxn>
                <a:cxn ang="0">
                  <a:pos x="connsiteX10336" y="connsiteY10336"/>
                </a:cxn>
                <a:cxn ang="0">
                  <a:pos x="connsiteX10337" y="connsiteY10337"/>
                </a:cxn>
                <a:cxn ang="0">
                  <a:pos x="connsiteX10338" y="connsiteY10338"/>
                </a:cxn>
                <a:cxn ang="0">
                  <a:pos x="connsiteX10339" y="connsiteY10339"/>
                </a:cxn>
                <a:cxn ang="0">
                  <a:pos x="connsiteX10340" y="connsiteY10340"/>
                </a:cxn>
                <a:cxn ang="0">
                  <a:pos x="connsiteX10341" y="connsiteY10341"/>
                </a:cxn>
                <a:cxn ang="0">
                  <a:pos x="connsiteX10342" y="connsiteY10342"/>
                </a:cxn>
                <a:cxn ang="0">
                  <a:pos x="connsiteX10343" y="connsiteY10343"/>
                </a:cxn>
                <a:cxn ang="0">
                  <a:pos x="connsiteX10344" y="connsiteY10344"/>
                </a:cxn>
                <a:cxn ang="0">
                  <a:pos x="connsiteX10345" y="connsiteY10345"/>
                </a:cxn>
                <a:cxn ang="0">
                  <a:pos x="connsiteX10346" y="connsiteY10346"/>
                </a:cxn>
                <a:cxn ang="0">
                  <a:pos x="connsiteX10347" y="connsiteY10347"/>
                </a:cxn>
                <a:cxn ang="0">
                  <a:pos x="connsiteX10348" y="connsiteY10348"/>
                </a:cxn>
                <a:cxn ang="0">
                  <a:pos x="connsiteX10349" y="connsiteY10349"/>
                </a:cxn>
                <a:cxn ang="0">
                  <a:pos x="connsiteX10350" y="connsiteY10350"/>
                </a:cxn>
                <a:cxn ang="0">
                  <a:pos x="connsiteX10351" y="connsiteY10351"/>
                </a:cxn>
                <a:cxn ang="0">
                  <a:pos x="connsiteX10352" y="connsiteY10352"/>
                </a:cxn>
                <a:cxn ang="0">
                  <a:pos x="connsiteX10353" y="connsiteY10353"/>
                </a:cxn>
                <a:cxn ang="0">
                  <a:pos x="connsiteX10354" y="connsiteY10354"/>
                </a:cxn>
                <a:cxn ang="0">
                  <a:pos x="connsiteX10355" y="connsiteY10355"/>
                </a:cxn>
                <a:cxn ang="0">
                  <a:pos x="connsiteX10356" y="connsiteY10356"/>
                </a:cxn>
                <a:cxn ang="0">
                  <a:pos x="connsiteX10357" y="connsiteY10357"/>
                </a:cxn>
                <a:cxn ang="0">
                  <a:pos x="connsiteX10358" y="connsiteY10358"/>
                </a:cxn>
                <a:cxn ang="0">
                  <a:pos x="connsiteX10359" y="connsiteY10359"/>
                </a:cxn>
                <a:cxn ang="0">
                  <a:pos x="connsiteX10360" y="connsiteY10360"/>
                </a:cxn>
                <a:cxn ang="0">
                  <a:pos x="connsiteX10361" y="connsiteY10361"/>
                </a:cxn>
                <a:cxn ang="0">
                  <a:pos x="connsiteX10362" y="connsiteY10362"/>
                </a:cxn>
                <a:cxn ang="0">
                  <a:pos x="connsiteX10363" y="connsiteY10363"/>
                </a:cxn>
                <a:cxn ang="0">
                  <a:pos x="connsiteX10364" y="connsiteY10364"/>
                </a:cxn>
                <a:cxn ang="0">
                  <a:pos x="connsiteX10365" y="connsiteY10365"/>
                </a:cxn>
                <a:cxn ang="0">
                  <a:pos x="connsiteX10366" y="connsiteY10366"/>
                </a:cxn>
                <a:cxn ang="0">
                  <a:pos x="connsiteX10367" y="connsiteY10367"/>
                </a:cxn>
                <a:cxn ang="0">
                  <a:pos x="connsiteX10368" y="connsiteY10368"/>
                </a:cxn>
                <a:cxn ang="0">
                  <a:pos x="connsiteX10369" y="connsiteY10369"/>
                </a:cxn>
                <a:cxn ang="0">
                  <a:pos x="connsiteX10370" y="connsiteY10370"/>
                </a:cxn>
                <a:cxn ang="0">
                  <a:pos x="connsiteX10371" y="connsiteY10371"/>
                </a:cxn>
                <a:cxn ang="0">
                  <a:pos x="connsiteX10372" y="connsiteY10372"/>
                </a:cxn>
              </a:cxnLst>
              <a:rect l="l" t="t" r="r" b="b"/>
              <a:pathLst>
                <a:path w="3009712" h="4178187">
                  <a:moveTo>
                    <a:pt x="3011680" y="2612351"/>
                  </a:moveTo>
                  <a:lnTo>
                    <a:pt x="3011680" y="2609597"/>
                  </a:lnTo>
                  <a:lnTo>
                    <a:pt x="3010106" y="2612351"/>
                  </a:lnTo>
                  <a:lnTo>
                    <a:pt x="3008926" y="2613925"/>
                  </a:lnTo>
                  <a:lnTo>
                    <a:pt x="3010106" y="2610777"/>
                  </a:lnTo>
                  <a:lnTo>
                    <a:pt x="3010106" y="2608023"/>
                  </a:lnTo>
                  <a:lnTo>
                    <a:pt x="3008532" y="2604876"/>
                  </a:lnTo>
                  <a:lnTo>
                    <a:pt x="3007745" y="2601728"/>
                  </a:lnTo>
                  <a:lnTo>
                    <a:pt x="3007352" y="2598581"/>
                  </a:lnTo>
                  <a:lnTo>
                    <a:pt x="3006958" y="2592680"/>
                  </a:lnTo>
                  <a:lnTo>
                    <a:pt x="3006171" y="2589926"/>
                  </a:lnTo>
                  <a:lnTo>
                    <a:pt x="3005778" y="2589139"/>
                  </a:lnTo>
                  <a:lnTo>
                    <a:pt x="3004204" y="2584418"/>
                  </a:lnTo>
                  <a:lnTo>
                    <a:pt x="3004204" y="2584024"/>
                  </a:lnTo>
                  <a:lnTo>
                    <a:pt x="3004204" y="2584024"/>
                  </a:lnTo>
                  <a:lnTo>
                    <a:pt x="3001844" y="2576549"/>
                  </a:lnTo>
                  <a:lnTo>
                    <a:pt x="3001844" y="2574582"/>
                  </a:lnTo>
                  <a:lnTo>
                    <a:pt x="3000664" y="2571828"/>
                  </a:lnTo>
                  <a:lnTo>
                    <a:pt x="2999877" y="2568681"/>
                  </a:lnTo>
                  <a:lnTo>
                    <a:pt x="2999090" y="2567894"/>
                  </a:lnTo>
                  <a:lnTo>
                    <a:pt x="2998697" y="2564746"/>
                  </a:lnTo>
                  <a:lnTo>
                    <a:pt x="2998303" y="2561992"/>
                  </a:lnTo>
                  <a:lnTo>
                    <a:pt x="2997123" y="2558845"/>
                  </a:lnTo>
                  <a:lnTo>
                    <a:pt x="2995549" y="2555697"/>
                  </a:lnTo>
                  <a:lnTo>
                    <a:pt x="2993975" y="2552944"/>
                  </a:lnTo>
                  <a:lnTo>
                    <a:pt x="2992795" y="2550190"/>
                  </a:lnTo>
                  <a:lnTo>
                    <a:pt x="2990041" y="2547436"/>
                  </a:lnTo>
                  <a:lnTo>
                    <a:pt x="2986894" y="2545862"/>
                  </a:lnTo>
                  <a:lnTo>
                    <a:pt x="2984140" y="2545468"/>
                  </a:lnTo>
                  <a:lnTo>
                    <a:pt x="2980992" y="2544682"/>
                  </a:lnTo>
                  <a:lnTo>
                    <a:pt x="2978238" y="2544288"/>
                  </a:lnTo>
                  <a:lnTo>
                    <a:pt x="2975484" y="2543501"/>
                  </a:lnTo>
                  <a:lnTo>
                    <a:pt x="2972337" y="2544288"/>
                  </a:lnTo>
                  <a:lnTo>
                    <a:pt x="2969583" y="2545075"/>
                  </a:lnTo>
                  <a:lnTo>
                    <a:pt x="2963681" y="2545075"/>
                  </a:lnTo>
                  <a:lnTo>
                    <a:pt x="2960927" y="2544682"/>
                  </a:lnTo>
                  <a:lnTo>
                    <a:pt x="2957780" y="2545075"/>
                  </a:lnTo>
                  <a:lnTo>
                    <a:pt x="2955026" y="2545468"/>
                  </a:lnTo>
                  <a:lnTo>
                    <a:pt x="2954239" y="2545468"/>
                  </a:lnTo>
                  <a:lnTo>
                    <a:pt x="2951485" y="2543895"/>
                  </a:lnTo>
                  <a:lnTo>
                    <a:pt x="2949125" y="2541141"/>
                  </a:lnTo>
                  <a:lnTo>
                    <a:pt x="2946371" y="2539567"/>
                  </a:lnTo>
                  <a:lnTo>
                    <a:pt x="2943617" y="2539960"/>
                  </a:lnTo>
                  <a:lnTo>
                    <a:pt x="2940863" y="2539567"/>
                  </a:lnTo>
                  <a:lnTo>
                    <a:pt x="2937322" y="2536026"/>
                  </a:lnTo>
                  <a:lnTo>
                    <a:pt x="2936535" y="2533272"/>
                  </a:lnTo>
                  <a:lnTo>
                    <a:pt x="2933781" y="2530912"/>
                  </a:lnTo>
                  <a:lnTo>
                    <a:pt x="2930634" y="2529731"/>
                  </a:lnTo>
                  <a:lnTo>
                    <a:pt x="2930634" y="2529731"/>
                  </a:lnTo>
                  <a:lnTo>
                    <a:pt x="2921585" y="2521470"/>
                  </a:lnTo>
                  <a:lnTo>
                    <a:pt x="2912143" y="2513994"/>
                  </a:lnTo>
                  <a:lnTo>
                    <a:pt x="2910569" y="2512421"/>
                  </a:lnTo>
                  <a:lnTo>
                    <a:pt x="2908995" y="2509667"/>
                  </a:lnTo>
                  <a:lnTo>
                    <a:pt x="2906635" y="2506913"/>
                  </a:lnTo>
                  <a:lnTo>
                    <a:pt x="2903881" y="2504552"/>
                  </a:lnTo>
                  <a:lnTo>
                    <a:pt x="2902307" y="2501798"/>
                  </a:lnTo>
                  <a:lnTo>
                    <a:pt x="2900733" y="2499044"/>
                  </a:lnTo>
                  <a:lnTo>
                    <a:pt x="2897979" y="2498257"/>
                  </a:lnTo>
                  <a:lnTo>
                    <a:pt x="2895225" y="2497470"/>
                  </a:lnTo>
                  <a:lnTo>
                    <a:pt x="2892471" y="2494716"/>
                  </a:lnTo>
                  <a:lnTo>
                    <a:pt x="2889324" y="2492356"/>
                  </a:lnTo>
                  <a:lnTo>
                    <a:pt x="2883816" y="2486848"/>
                  </a:lnTo>
                  <a:lnTo>
                    <a:pt x="2881062" y="2485274"/>
                  </a:lnTo>
                  <a:lnTo>
                    <a:pt x="2877915" y="2483700"/>
                  </a:lnTo>
                  <a:lnTo>
                    <a:pt x="2875161" y="2481340"/>
                  </a:lnTo>
                  <a:lnTo>
                    <a:pt x="2872407" y="2480160"/>
                  </a:lnTo>
                  <a:lnTo>
                    <a:pt x="2869653" y="2478586"/>
                  </a:lnTo>
                  <a:lnTo>
                    <a:pt x="2866505" y="2476225"/>
                  </a:lnTo>
                  <a:lnTo>
                    <a:pt x="2863751" y="2474258"/>
                  </a:lnTo>
                  <a:lnTo>
                    <a:pt x="2860997" y="2473078"/>
                  </a:lnTo>
                  <a:lnTo>
                    <a:pt x="2857850" y="2470324"/>
                  </a:lnTo>
                  <a:lnTo>
                    <a:pt x="2855096" y="2468750"/>
                  </a:lnTo>
                  <a:lnTo>
                    <a:pt x="2854702" y="2468357"/>
                  </a:lnTo>
                  <a:lnTo>
                    <a:pt x="2851949" y="2467963"/>
                  </a:lnTo>
                  <a:lnTo>
                    <a:pt x="2850768" y="2468357"/>
                  </a:lnTo>
                  <a:lnTo>
                    <a:pt x="2848014" y="2467176"/>
                  </a:lnTo>
                  <a:lnTo>
                    <a:pt x="2844867" y="2466783"/>
                  </a:lnTo>
                  <a:lnTo>
                    <a:pt x="2839359" y="2466783"/>
                  </a:lnTo>
                  <a:lnTo>
                    <a:pt x="2836605" y="2467963"/>
                  </a:lnTo>
                  <a:lnTo>
                    <a:pt x="2833457" y="2467963"/>
                  </a:lnTo>
                  <a:lnTo>
                    <a:pt x="2831490" y="2468357"/>
                  </a:lnTo>
                  <a:lnTo>
                    <a:pt x="2829523" y="2468357"/>
                  </a:lnTo>
                  <a:lnTo>
                    <a:pt x="2826376" y="2468750"/>
                  </a:lnTo>
                  <a:lnTo>
                    <a:pt x="2823622" y="2469144"/>
                  </a:lnTo>
                  <a:lnTo>
                    <a:pt x="2817720" y="2469144"/>
                  </a:lnTo>
                  <a:lnTo>
                    <a:pt x="2817720" y="2471898"/>
                  </a:lnTo>
                  <a:lnTo>
                    <a:pt x="2817327" y="2473865"/>
                  </a:lnTo>
                  <a:lnTo>
                    <a:pt x="2814573" y="2471504"/>
                  </a:lnTo>
                  <a:lnTo>
                    <a:pt x="2811819" y="2469931"/>
                  </a:lnTo>
                  <a:lnTo>
                    <a:pt x="2809065" y="2469537"/>
                  </a:lnTo>
                  <a:lnTo>
                    <a:pt x="2806311" y="2468750"/>
                  </a:lnTo>
                  <a:lnTo>
                    <a:pt x="2804737" y="2468357"/>
                  </a:lnTo>
                  <a:lnTo>
                    <a:pt x="2802377" y="2465603"/>
                  </a:lnTo>
                  <a:lnTo>
                    <a:pt x="2800016" y="2464816"/>
                  </a:lnTo>
                  <a:lnTo>
                    <a:pt x="2796869" y="2464029"/>
                  </a:lnTo>
                  <a:lnTo>
                    <a:pt x="2796869" y="2466783"/>
                  </a:lnTo>
                  <a:lnTo>
                    <a:pt x="2796475" y="2467570"/>
                  </a:lnTo>
                  <a:lnTo>
                    <a:pt x="2787033" y="2464029"/>
                  </a:lnTo>
                  <a:lnTo>
                    <a:pt x="2778771" y="2462062"/>
                  </a:lnTo>
                  <a:lnTo>
                    <a:pt x="2777984" y="2461669"/>
                  </a:lnTo>
                  <a:lnTo>
                    <a:pt x="2775230" y="2459702"/>
                  </a:lnTo>
                  <a:lnTo>
                    <a:pt x="2772083" y="2457734"/>
                  </a:lnTo>
                  <a:lnTo>
                    <a:pt x="2769329" y="2456161"/>
                  </a:lnTo>
                  <a:lnTo>
                    <a:pt x="2766575" y="2454587"/>
                  </a:lnTo>
                  <a:lnTo>
                    <a:pt x="2763821" y="2454193"/>
                  </a:lnTo>
                  <a:lnTo>
                    <a:pt x="2761067" y="2453013"/>
                  </a:lnTo>
                  <a:lnTo>
                    <a:pt x="2758313" y="2452226"/>
                  </a:lnTo>
                  <a:lnTo>
                    <a:pt x="2755165" y="2451439"/>
                  </a:lnTo>
                  <a:lnTo>
                    <a:pt x="2752411" y="2451833"/>
                  </a:lnTo>
                  <a:lnTo>
                    <a:pt x="2751625" y="2454587"/>
                  </a:lnTo>
                  <a:lnTo>
                    <a:pt x="2751625" y="2455374"/>
                  </a:lnTo>
                  <a:lnTo>
                    <a:pt x="2748871" y="2454587"/>
                  </a:lnTo>
                  <a:lnTo>
                    <a:pt x="2745723" y="2456161"/>
                  </a:lnTo>
                  <a:lnTo>
                    <a:pt x="2742969" y="2456554"/>
                  </a:lnTo>
                  <a:lnTo>
                    <a:pt x="2740215" y="2457734"/>
                  </a:lnTo>
                  <a:lnTo>
                    <a:pt x="2739428" y="2460488"/>
                  </a:lnTo>
                  <a:lnTo>
                    <a:pt x="2737855" y="2457734"/>
                  </a:lnTo>
                  <a:lnTo>
                    <a:pt x="2735494" y="2460488"/>
                  </a:lnTo>
                  <a:lnTo>
                    <a:pt x="2733921" y="2463242"/>
                  </a:lnTo>
                  <a:lnTo>
                    <a:pt x="2733921" y="2465996"/>
                  </a:lnTo>
                  <a:lnTo>
                    <a:pt x="2731167" y="2467176"/>
                  </a:lnTo>
                  <a:lnTo>
                    <a:pt x="2729986" y="2468357"/>
                  </a:lnTo>
                  <a:lnTo>
                    <a:pt x="2729986" y="2465603"/>
                  </a:lnTo>
                  <a:lnTo>
                    <a:pt x="2729199" y="2465996"/>
                  </a:lnTo>
                  <a:lnTo>
                    <a:pt x="2728413" y="2463636"/>
                  </a:lnTo>
                  <a:lnTo>
                    <a:pt x="2730773" y="2462456"/>
                  </a:lnTo>
                  <a:lnTo>
                    <a:pt x="2732347" y="2459702"/>
                  </a:lnTo>
                  <a:lnTo>
                    <a:pt x="2734707" y="2456554"/>
                  </a:lnTo>
                  <a:lnTo>
                    <a:pt x="2734707" y="2453800"/>
                  </a:lnTo>
                  <a:lnTo>
                    <a:pt x="2731953" y="2453800"/>
                  </a:lnTo>
                  <a:lnTo>
                    <a:pt x="2728806" y="2455374"/>
                  </a:lnTo>
                  <a:lnTo>
                    <a:pt x="2726839" y="2456947"/>
                  </a:lnTo>
                  <a:lnTo>
                    <a:pt x="2725265" y="2457734"/>
                  </a:lnTo>
                  <a:lnTo>
                    <a:pt x="2721724" y="2465996"/>
                  </a:lnTo>
                  <a:lnTo>
                    <a:pt x="2721724" y="2464029"/>
                  </a:lnTo>
                  <a:lnTo>
                    <a:pt x="2718577" y="2466390"/>
                  </a:lnTo>
                  <a:lnTo>
                    <a:pt x="2718970" y="2469537"/>
                  </a:lnTo>
                  <a:lnTo>
                    <a:pt x="2718970" y="2471898"/>
                  </a:lnTo>
                  <a:lnTo>
                    <a:pt x="2715429" y="2479373"/>
                  </a:lnTo>
                  <a:lnTo>
                    <a:pt x="2714249" y="2480160"/>
                  </a:lnTo>
                  <a:lnTo>
                    <a:pt x="2713856" y="2482914"/>
                  </a:lnTo>
                  <a:lnTo>
                    <a:pt x="2713462" y="2483700"/>
                  </a:lnTo>
                  <a:lnTo>
                    <a:pt x="2712675" y="2483307"/>
                  </a:lnTo>
                  <a:lnTo>
                    <a:pt x="2713462" y="2479766"/>
                  </a:lnTo>
                  <a:lnTo>
                    <a:pt x="2715429" y="2477799"/>
                  </a:lnTo>
                  <a:lnTo>
                    <a:pt x="2717397" y="2475045"/>
                  </a:lnTo>
                  <a:lnTo>
                    <a:pt x="2715429" y="2471898"/>
                  </a:lnTo>
                  <a:lnTo>
                    <a:pt x="2716216" y="2469144"/>
                  </a:lnTo>
                  <a:lnTo>
                    <a:pt x="2716216" y="2467963"/>
                  </a:lnTo>
                  <a:lnTo>
                    <a:pt x="2717397" y="2462456"/>
                  </a:lnTo>
                  <a:lnTo>
                    <a:pt x="2718184" y="2460488"/>
                  </a:lnTo>
                  <a:lnTo>
                    <a:pt x="2718184" y="2458128"/>
                  </a:lnTo>
                  <a:lnTo>
                    <a:pt x="2718577" y="2456947"/>
                  </a:lnTo>
                  <a:lnTo>
                    <a:pt x="2720151" y="2454193"/>
                  </a:lnTo>
                  <a:lnTo>
                    <a:pt x="2722904" y="2453407"/>
                  </a:lnTo>
                  <a:lnTo>
                    <a:pt x="2724478" y="2450259"/>
                  </a:lnTo>
                  <a:lnTo>
                    <a:pt x="2723691" y="2447505"/>
                  </a:lnTo>
                  <a:lnTo>
                    <a:pt x="2722118" y="2444751"/>
                  </a:lnTo>
                  <a:lnTo>
                    <a:pt x="2719364" y="2445932"/>
                  </a:lnTo>
                  <a:lnTo>
                    <a:pt x="2716610" y="2449079"/>
                  </a:lnTo>
                  <a:lnTo>
                    <a:pt x="2716216" y="2451046"/>
                  </a:lnTo>
                  <a:lnTo>
                    <a:pt x="2715036" y="2447899"/>
                  </a:lnTo>
                  <a:lnTo>
                    <a:pt x="2717397" y="2446325"/>
                  </a:lnTo>
                  <a:lnTo>
                    <a:pt x="2718970" y="2443571"/>
                  </a:lnTo>
                  <a:lnTo>
                    <a:pt x="2718577" y="2440817"/>
                  </a:lnTo>
                  <a:lnTo>
                    <a:pt x="2720544" y="2437670"/>
                  </a:lnTo>
                  <a:lnTo>
                    <a:pt x="2720151" y="2434916"/>
                  </a:lnTo>
                  <a:lnTo>
                    <a:pt x="2717003" y="2434129"/>
                  </a:lnTo>
                  <a:lnTo>
                    <a:pt x="2717397" y="2431375"/>
                  </a:lnTo>
                  <a:lnTo>
                    <a:pt x="2714643" y="2433735"/>
                  </a:lnTo>
                  <a:lnTo>
                    <a:pt x="2711889" y="2433342"/>
                  </a:lnTo>
                  <a:lnTo>
                    <a:pt x="2714643" y="2430588"/>
                  </a:lnTo>
                  <a:lnTo>
                    <a:pt x="2711495" y="2431768"/>
                  </a:lnTo>
                  <a:lnTo>
                    <a:pt x="2711889" y="2429014"/>
                  </a:lnTo>
                  <a:lnTo>
                    <a:pt x="2711102" y="2426260"/>
                  </a:lnTo>
                  <a:lnTo>
                    <a:pt x="2708348" y="2427047"/>
                  </a:lnTo>
                  <a:lnTo>
                    <a:pt x="2708741" y="2423900"/>
                  </a:lnTo>
                  <a:lnTo>
                    <a:pt x="2709921" y="2421146"/>
                  </a:lnTo>
                  <a:lnTo>
                    <a:pt x="2707167" y="2423113"/>
                  </a:lnTo>
                  <a:lnTo>
                    <a:pt x="2706774" y="2425867"/>
                  </a:lnTo>
                  <a:lnTo>
                    <a:pt x="2706774" y="2426260"/>
                  </a:lnTo>
                  <a:lnTo>
                    <a:pt x="2705987" y="2425867"/>
                  </a:lnTo>
                  <a:lnTo>
                    <a:pt x="2705987" y="2425473"/>
                  </a:lnTo>
                  <a:lnTo>
                    <a:pt x="2705987" y="2423506"/>
                  </a:lnTo>
                  <a:lnTo>
                    <a:pt x="2705987" y="2423113"/>
                  </a:lnTo>
                  <a:lnTo>
                    <a:pt x="2705987" y="2421932"/>
                  </a:lnTo>
                  <a:lnTo>
                    <a:pt x="2702840" y="2421539"/>
                  </a:lnTo>
                  <a:lnTo>
                    <a:pt x="2700086" y="2422719"/>
                  </a:lnTo>
                  <a:lnTo>
                    <a:pt x="2698512" y="2425473"/>
                  </a:lnTo>
                  <a:lnTo>
                    <a:pt x="2699299" y="2428227"/>
                  </a:lnTo>
                  <a:lnTo>
                    <a:pt x="2698119" y="2429801"/>
                  </a:lnTo>
                  <a:lnTo>
                    <a:pt x="2695758" y="2426654"/>
                  </a:lnTo>
                  <a:lnTo>
                    <a:pt x="2695758" y="2423900"/>
                  </a:lnTo>
                  <a:lnTo>
                    <a:pt x="2695365" y="2421146"/>
                  </a:lnTo>
                  <a:lnTo>
                    <a:pt x="2697332" y="2418392"/>
                  </a:lnTo>
                  <a:lnTo>
                    <a:pt x="2694578" y="2419572"/>
                  </a:lnTo>
                  <a:lnTo>
                    <a:pt x="2693004" y="2422719"/>
                  </a:lnTo>
                  <a:lnTo>
                    <a:pt x="2691824" y="2419572"/>
                  </a:lnTo>
                  <a:lnTo>
                    <a:pt x="2694184" y="2416818"/>
                  </a:lnTo>
                  <a:lnTo>
                    <a:pt x="2691430" y="2418392"/>
                  </a:lnTo>
                  <a:lnTo>
                    <a:pt x="2689857" y="2415244"/>
                  </a:lnTo>
                  <a:lnTo>
                    <a:pt x="2687103" y="2417605"/>
                  </a:lnTo>
                  <a:lnTo>
                    <a:pt x="2685529" y="2414851"/>
                  </a:lnTo>
                  <a:lnTo>
                    <a:pt x="2685136" y="2412097"/>
                  </a:lnTo>
                  <a:lnTo>
                    <a:pt x="2682382" y="2414851"/>
                  </a:lnTo>
                  <a:lnTo>
                    <a:pt x="2680808" y="2411703"/>
                  </a:lnTo>
                  <a:lnTo>
                    <a:pt x="2678054" y="2412097"/>
                  </a:lnTo>
                  <a:lnTo>
                    <a:pt x="2677660" y="2409343"/>
                  </a:lnTo>
                  <a:lnTo>
                    <a:pt x="2675693" y="2412490"/>
                  </a:lnTo>
                  <a:lnTo>
                    <a:pt x="2674120" y="2412490"/>
                  </a:lnTo>
                  <a:lnTo>
                    <a:pt x="2674513" y="2409736"/>
                  </a:lnTo>
                  <a:lnTo>
                    <a:pt x="2671759" y="2410523"/>
                  </a:lnTo>
                  <a:lnTo>
                    <a:pt x="2670579" y="2407376"/>
                  </a:lnTo>
                  <a:lnTo>
                    <a:pt x="2670972" y="2404622"/>
                  </a:lnTo>
                  <a:lnTo>
                    <a:pt x="2669005" y="2407376"/>
                  </a:lnTo>
                  <a:lnTo>
                    <a:pt x="2661530" y="2407769"/>
                  </a:lnTo>
                  <a:lnTo>
                    <a:pt x="2661923" y="2405015"/>
                  </a:lnTo>
                  <a:lnTo>
                    <a:pt x="2659170" y="2406589"/>
                  </a:lnTo>
                  <a:lnTo>
                    <a:pt x="2657596" y="2405802"/>
                  </a:lnTo>
                  <a:lnTo>
                    <a:pt x="2658383" y="2405802"/>
                  </a:lnTo>
                  <a:lnTo>
                    <a:pt x="2659170" y="2403048"/>
                  </a:lnTo>
                  <a:lnTo>
                    <a:pt x="2656416" y="2403442"/>
                  </a:lnTo>
                  <a:lnTo>
                    <a:pt x="2656809" y="2405802"/>
                  </a:lnTo>
                  <a:lnTo>
                    <a:pt x="2653661" y="2404228"/>
                  </a:lnTo>
                  <a:lnTo>
                    <a:pt x="2654448" y="2401081"/>
                  </a:lnTo>
                  <a:lnTo>
                    <a:pt x="2651694" y="2400688"/>
                  </a:lnTo>
                  <a:lnTo>
                    <a:pt x="2650907" y="2402261"/>
                  </a:lnTo>
                  <a:lnTo>
                    <a:pt x="2650514" y="2401868"/>
                  </a:lnTo>
                  <a:lnTo>
                    <a:pt x="2650514" y="2400688"/>
                  </a:lnTo>
                  <a:lnTo>
                    <a:pt x="2647760" y="2398720"/>
                  </a:lnTo>
                  <a:lnTo>
                    <a:pt x="2648153" y="2395573"/>
                  </a:lnTo>
                  <a:lnTo>
                    <a:pt x="2647367" y="2398720"/>
                  </a:lnTo>
                  <a:lnTo>
                    <a:pt x="2646186" y="2399507"/>
                  </a:lnTo>
                  <a:lnTo>
                    <a:pt x="2644219" y="2398327"/>
                  </a:lnTo>
                  <a:lnTo>
                    <a:pt x="2644219" y="2397934"/>
                  </a:lnTo>
                  <a:lnTo>
                    <a:pt x="2643826" y="2398327"/>
                  </a:lnTo>
                  <a:lnTo>
                    <a:pt x="2640285" y="2396360"/>
                  </a:lnTo>
                  <a:lnTo>
                    <a:pt x="2640285" y="2396360"/>
                  </a:lnTo>
                  <a:lnTo>
                    <a:pt x="2640285" y="2396360"/>
                  </a:lnTo>
                  <a:lnTo>
                    <a:pt x="2637924" y="2395180"/>
                  </a:lnTo>
                  <a:lnTo>
                    <a:pt x="2637924" y="2395180"/>
                  </a:lnTo>
                  <a:lnTo>
                    <a:pt x="2635564" y="2393999"/>
                  </a:lnTo>
                  <a:lnTo>
                    <a:pt x="2632810" y="2392425"/>
                  </a:lnTo>
                  <a:lnTo>
                    <a:pt x="2629663" y="2391245"/>
                  </a:lnTo>
                  <a:lnTo>
                    <a:pt x="2629269" y="2393212"/>
                  </a:lnTo>
                  <a:lnTo>
                    <a:pt x="2623368" y="2394786"/>
                  </a:lnTo>
                  <a:lnTo>
                    <a:pt x="2621794" y="2391639"/>
                  </a:lnTo>
                  <a:lnTo>
                    <a:pt x="2621794" y="2394786"/>
                  </a:lnTo>
                  <a:lnTo>
                    <a:pt x="2621794" y="2395180"/>
                  </a:lnTo>
                  <a:lnTo>
                    <a:pt x="2621400" y="2395180"/>
                  </a:lnTo>
                  <a:lnTo>
                    <a:pt x="2618646" y="2394393"/>
                  </a:lnTo>
                  <a:lnTo>
                    <a:pt x="2617073" y="2395180"/>
                  </a:lnTo>
                  <a:lnTo>
                    <a:pt x="2613926" y="2397934"/>
                  </a:lnTo>
                  <a:lnTo>
                    <a:pt x="2611171" y="2395573"/>
                  </a:lnTo>
                  <a:lnTo>
                    <a:pt x="2608417" y="2398720"/>
                  </a:lnTo>
                  <a:lnTo>
                    <a:pt x="2605663" y="2401474"/>
                  </a:lnTo>
                  <a:lnTo>
                    <a:pt x="2604090" y="2404228"/>
                  </a:lnTo>
                  <a:lnTo>
                    <a:pt x="2604483" y="2406982"/>
                  </a:lnTo>
                  <a:lnTo>
                    <a:pt x="2605270" y="2410130"/>
                  </a:lnTo>
                  <a:lnTo>
                    <a:pt x="2604483" y="2412490"/>
                  </a:lnTo>
                  <a:lnTo>
                    <a:pt x="2604090" y="2415244"/>
                  </a:lnTo>
                  <a:lnTo>
                    <a:pt x="2601336" y="2415244"/>
                  </a:lnTo>
                  <a:lnTo>
                    <a:pt x="2599369" y="2418392"/>
                  </a:lnTo>
                  <a:lnTo>
                    <a:pt x="2599369" y="2421539"/>
                  </a:lnTo>
                  <a:lnTo>
                    <a:pt x="2602516" y="2421146"/>
                  </a:lnTo>
                  <a:lnTo>
                    <a:pt x="2605663" y="2420752"/>
                  </a:lnTo>
                  <a:lnTo>
                    <a:pt x="2608417" y="2421146"/>
                  </a:lnTo>
                  <a:lnTo>
                    <a:pt x="2608811" y="2421539"/>
                  </a:lnTo>
                  <a:lnTo>
                    <a:pt x="2605663" y="2421932"/>
                  </a:lnTo>
                  <a:lnTo>
                    <a:pt x="2602909" y="2422326"/>
                  </a:lnTo>
                  <a:lnTo>
                    <a:pt x="2600156" y="2422719"/>
                  </a:lnTo>
                  <a:lnTo>
                    <a:pt x="2601336" y="2425473"/>
                  </a:lnTo>
                  <a:lnTo>
                    <a:pt x="2601729" y="2427834"/>
                  </a:lnTo>
                  <a:lnTo>
                    <a:pt x="2596221" y="2421146"/>
                  </a:lnTo>
                  <a:lnTo>
                    <a:pt x="2593467" y="2421539"/>
                  </a:lnTo>
                  <a:lnTo>
                    <a:pt x="2591500" y="2424293"/>
                  </a:lnTo>
                  <a:lnTo>
                    <a:pt x="2586779" y="2427441"/>
                  </a:lnTo>
                  <a:lnTo>
                    <a:pt x="2585205" y="2430588"/>
                  </a:lnTo>
                  <a:lnTo>
                    <a:pt x="2583632" y="2433342"/>
                  </a:lnTo>
                  <a:lnTo>
                    <a:pt x="2580878" y="2434129"/>
                  </a:lnTo>
                  <a:lnTo>
                    <a:pt x="2578517" y="2434522"/>
                  </a:lnTo>
                  <a:lnTo>
                    <a:pt x="2577730" y="2434916"/>
                  </a:lnTo>
                  <a:lnTo>
                    <a:pt x="2575370" y="2438063"/>
                  </a:lnTo>
                  <a:lnTo>
                    <a:pt x="2573796" y="2441210"/>
                  </a:lnTo>
                  <a:lnTo>
                    <a:pt x="2573009" y="2443964"/>
                  </a:lnTo>
                  <a:lnTo>
                    <a:pt x="2571829" y="2447112"/>
                  </a:lnTo>
                  <a:lnTo>
                    <a:pt x="2570649" y="2449866"/>
                  </a:lnTo>
                  <a:lnTo>
                    <a:pt x="2569075" y="2453013"/>
                  </a:lnTo>
                  <a:lnTo>
                    <a:pt x="2569075" y="2455767"/>
                  </a:lnTo>
                  <a:lnTo>
                    <a:pt x="2567501" y="2458128"/>
                  </a:lnTo>
                  <a:lnTo>
                    <a:pt x="2567108" y="2457734"/>
                  </a:lnTo>
                  <a:lnTo>
                    <a:pt x="2566714" y="2457341"/>
                  </a:lnTo>
                  <a:lnTo>
                    <a:pt x="2567895" y="2453800"/>
                  </a:lnTo>
                  <a:lnTo>
                    <a:pt x="2567501" y="2451046"/>
                  </a:lnTo>
                  <a:lnTo>
                    <a:pt x="2566714" y="2447899"/>
                  </a:lnTo>
                  <a:lnTo>
                    <a:pt x="2568681" y="2444751"/>
                  </a:lnTo>
                  <a:lnTo>
                    <a:pt x="2569075" y="2441604"/>
                  </a:lnTo>
                  <a:lnTo>
                    <a:pt x="2570649" y="2438850"/>
                  </a:lnTo>
                  <a:lnTo>
                    <a:pt x="2571042" y="2435702"/>
                  </a:lnTo>
                  <a:lnTo>
                    <a:pt x="2572616" y="2432949"/>
                  </a:lnTo>
                  <a:lnTo>
                    <a:pt x="2573796" y="2429801"/>
                  </a:lnTo>
                  <a:lnTo>
                    <a:pt x="2571042" y="2430195"/>
                  </a:lnTo>
                  <a:lnTo>
                    <a:pt x="2567895" y="2430588"/>
                  </a:lnTo>
                  <a:lnTo>
                    <a:pt x="2566321" y="2433735"/>
                  </a:lnTo>
                  <a:lnTo>
                    <a:pt x="2563173" y="2434522"/>
                  </a:lnTo>
                  <a:lnTo>
                    <a:pt x="2560419" y="2434916"/>
                  </a:lnTo>
                  <a:lnTo>
                    <a:pt x="2557665" y="2436883"/>
                  </a:lnTo>
                  <a:lnTo>
                    <a:pt x="2557272" y="2439637"/>
                  </a:lnTo>
                  <a:lnTo>
                    <a:pt x="2556879" y="2436883"/>
                  </a:lnTo>
                  <a:lnTo>
                    <a:pt x="2554912" y="2433735"/>
                  </a:lnTo>
                  <a:lnTo>
                    <a:pt x="2552158" y="2432555"/>
                  </a:lnTo>
                  <a:lnTo>
                    <a:pt x="2542715" y="2432555"/>
                  </a:lnTo>
                  <a:lnTo>
                    <a:pt x="2543109" y="2432555"/>
                  </a:lnTo>
                  <a:lnTo>
                    <a:pt x="2541142" y="2431375"/>
                  </a:lnTo>
                  <a:lnTo>
                    <a:pt x="2546256" y="2431375"/>
                  </a:lnTo>
                  <a:lnTo>
                    <a:pt x="2547043" y="2430981"/>
                  </a:lnTo>
                  <a:lnTo>
                    <a:pt x="2551764" y="2430588"/>
                  </a:lnTo>
                  <a:lnTo>
                    <a:pt x="2553338" y="2430195"/>
                  </a:lnTo>
                  <a:lnTo>
                    <a:pt x="2556092" y="2431768"/>
                  </a:lnTo>
                  <a:lnTo>
                    <a:pt x="2559239" y="2431375"/>
                  </a:lnTo>
                  <a:lnTo>
                    <a:pt x="2559632" y="2428227"/>
                  </a:lnTo>
                  <a:lnTo>
                    <a:pt x="2561600" y="2431375"/>
                  </a:lnTo>
                  <a:lnTo>
                    <a:pt x="2564354" y="2429014"/>
                  </a:lnTo>
                  <a:lnTo>
                    <a:pt x="2566714" y="2426260"/>
                  </a:lnTo>
                  <a:lnTo>
                    <a:pt x="2567108" y="2423113"/>
                  </a:lnTo>
                  <a:lnTo>
                    <a:pt x="2569075" y="2426260"/>
                  </a:lnTo>
                  <a:lnTo>
                    <a:pt x="2571829" y="2425473"/>
                  </a:lnTo>
                  <a:lnTo>
                    <a:pt x="2574583" y="2425867"/>
                  </a:lnTo>
                  <a:lnTo>
                    <a:pt x="2577337" y="2424293"/>
                  </a:lnTo>
                  <a:lnTo>
                    <a:pt x="2580484" y="2423506"/>
                  </a:lnTo>
                  <a:lnTo>
                    <a:pt x="2583238" y="2421932"/>
                  </a:lnTo>
                  <a:lnTo>
                    <a:pt x="2585992" y="2419965"/>
                  </a:lnTo>
                  <a:lnTo>
                    <a:pt x="2587172" y="2417212"/>
                  </a:lnTo>
                  <a:lnTo>
                    <a:pt x="2587566" y="2414064"/>
                  </a:lnTo>
                  <a:lnTo>
                    <a:pt x="2587566" y="2411310"/>
                  </a:lnTo>
                  <a:lnTo>
                    <a:pt x="2587959" y="2410917"/>
                  </a:lnTo>
                  <a:lnTo>
                    <a:pt x="2591107" y="2408163"/>
                  </a:lnTo>
                  <a:lnTo>
                    <a:pt x="2592680" y="2405015"/>
                  </a:lnTo>
                  <a:lnTo>
                    <a:pt x="2592680" y="2402261"/>
                  </a:lnTo>
                  <a:lnTo>
                    <a:pt x="2595828" y="2399901"/>
                  </a:lnTo>
                  <a:lnTo>
                    <a:pt x="2595828" y="2396753"/>
                  </a:lnTo>
                  <a:lnTo>
                    <a:pt x="2597008" y="2393999"/>
                  </a:lnTo>
                  <a:lnTo>
                    <a:pt x="2597402" y="2391245"/>
                  </a:lnTo>
                  <a:lnTo>
                    <a:pt x="2597795" y="2388098"/>
                  </a:lnTo>
                  <a:lnTo>
                    <a:pt x="2598975" y="2385344"/>
                  </a:lnTo>
                  <a:lnTo>
                    <a:pt x="2600549" y="2382196"/>
                  </a:lnTo>
                  <a:lnTo>
                    <a:pt x="2598582" y="2379049"/>
                  </a:lnTo>
                  <a:lnTo>
                    <a:pt x="2595828" y="2378656"/>
                  </a:lnTo>
                  <a:lnTo>
                    <a:pt x="2592680" y="2377869"/>
                  </a:lnTo>
                  <a:lnTo>
                    <a:pt x="2589926" y="2378262"/>
                  </a:lnTo>
                  <a:lnTo>
                    <a:pt x="2586779" y="2377475"/>
                  </a:lnTo>
                  <a:lnTo>
                    <a:pt x="2583632" y="2377082"/>
                  </a:lnTo>
                  <a:lnTo>
                    <a:pt x="2580484" y="2375902"/>
                  </a:lnTo>
                  <a:lnTo>
                    <a:pt x="2577337" y="2375115"/>
                  </a:lnTo>
                  <a:lnTo>
                    <a:pt x="2576943" y="2374328"/>
                  </a:lnTo>
                  <a:lnTo>
                    <a:pt x="2574583" y="2375115"/>
                  </a:lnTo>
                  <a:lnTo>
                    <a:pt x="2551371" y="2375508"/>
                  </a:lnTo>
                  <a:lnTo>
                    <a:pt x="2548617" y="2374721"/>
                  </a:lnTo>
                  <a:lnTo>
                    <a:pt x="2545863" y="2374328"/>
                  </a:lnTo>
                  <a:lnTo>
                    <a:pt x="2542322" y="2373935"/>
                  </a:lnTo>
                  <a:lnTo>
                    <a:pt x="2539568" y="2373541"/>
                  </a:lnTo>
                  <a:lnTo>
                    <a:pt x="2536420" y="2374721"/>
                  </a:lnTo>
                  <a:lnTo>
                    <a:pt x="2533666" y="2377082"/>
                  </a:lnTo>
                  <a:lnTo>
                    <a:pt x="2531306" y="2379836"/>
                  </a:lnTo>
                  <a:lnTo>
                    <a:pt x="2530125" y="2382983"/>
                  </a:lnTo>
                  <a:lnTo>
                    <a:pt x="2529732" y="2386131"/>
                  </a:lnTo>
                  <a:lnTo>
                    <a:pt x="2530125" y="2388885"/>
                  </a:lnTo>
                  <a:lnTo>
                    <a:pt x="2532093" y="2392032"/>
                  </a:lnTo>
                  <a:lnTo>
                    <a:pt x="2534847" y="2393606"/>
                  </a:lnTo>
                  <a:lnTo>
                    <a:pt x="2530519" y="2392425"/>
                  </a:lnTo>
                  <a:lnTo>
                    <a:pt x="2527765" y="2391639"/>
                  </a:lnTo>
                  <a:lnTo>
                    <a:pt x="2527372" y="2394393"/>
                  </a:lnTo>
                  <a:lnTo>
                    <a:pt x="2526978" y="2395180"/>
                  </a:lnTo>
                  <a:lnTo>
                    <a:pt x="2528552" y="2397934"/>
                  </a:lnTo>
                  <a:lnTo>
                    <a:pt x="2527372" y="2398327"/>
                  </a:lnTo>
                  <a:lnTo>
                    <a:pt x="2526585" y="2401081"/>
                  </a:lnTo>
                  <a:lnTo>
                    <a:pt x="2526978" y="2404228"/>
                  </a:lnTo>
                  <a:lnTo>
                    <a:pt x="2528552" y="2406982"/>
                  </a:lnTo>
                  <a:lnTo>
                    <a:pt x="2528945" y="2407376"/>
                  </a:lnTo>
                  <a:lnTo>
                    <a:pt x="2532093" y="2406589"/>
                  </a:lnTo>
                  <a:lnTo>
                    <a:pt x="2534453" y="2405015"/>
                  </a:lnTo>
                  <a:lnTo>
                    <a:pt x="2536027" y="2405409"/>
                  </a:lnTo>
                  <a:lnTo>
                    <a:pt x="2534453" y="2406982"/>
                  </a:lnTo>
                  <a:lnTo>
                    <a:pt x="2533666" y="2410130"/>
                  </a:lnTo>
                  <a:lnTo>
                    <a:pt x="2532093" y="2409736"/>
                  </a:lnTo>
                  <a:lnTo>
                    <a:pt x="2529339" y="2408556"/>
                  </a:lnTo>
                  <a:lnTo>
                    <a:pt x="2527765" y="2408556"/>
                  </a:lnTo>
                  <a:lnTo>
                    <a:pt x="2528552" y="2411703"/>
                  </a:lnTo>
                  <a:lnTo>
                    <a:pt x="2527765" y="2414458"/>
                  </a:lnTo>
                  <a:lnTo>
                    <a:pt x="2528552" y="2417605"/>
                  </a:lnTo>
                  <a:lnTo>
                    <a:pt x="2528552" y="2420359"/>
                  </a:lnTo>
                  <a:lnTo>
                    <a:pt x="2530519" y="2423506"/>
                  </a:lnTo>
                  <a:lnTo>
                    <a:pt x="2532880" y="2426654"/>
                  </a:lnTo>
                  <a:lnTo>
                    <a:pt x="2534847" y="2431768"/>
                  </a:lnTo>
                  <a:lnTo>
                    <a:pt x="2536420" y="2432162"/>
                  </a:lnTo>
                  <a:lnTo>
                    <a:pt x="2531699" y="2432162"/>
                  </a:lnTo>
                  <a:lnTo>
                    <a:pt x="2530912" y="2431375"/>
                  </a:lnTo>
                  <a:lnTo>
                    <a:pt x="2532093" y="2428621"/>
                  </a:lnTo>
                  <a:lnTo>
                    <a:pt x="2531699" y="2425473"/>
                  </a:lnTo>
                  <a:lnTo>
                    <a:pt x="2528945" y="2422326"/>
                  </a:lnTo>
                  <a:lnTo>
                    <a:pt x="2527765" y="2419572"/>
                  </a:lnTo>
                  <a:lnTo>
                    <a:pt x="2527372" y="2416818"/>
                  </a:lnTo>
                  <a:lnTo>
                    <a:pt x="2527765" y="2413671"/>
                  </a:lnTo>
                  <a:lnTo>
                    <a:pt x="2528158" y="2410917"/>
                  </a:lnTo>
                  <a:lnTo>
                    <a:pt x="2527372" y="2408163"/>
                  </a:lnTo>
                  <a:lnTo>
                    <a:pt x="2527372" y="2405015"/>
                  </a:lnTo>
                  <a:lnTo>
                    <a:pt x="2524618" y="2402261"/>
                  </a:lnTo>
                  <a:lnTo>
                    <a:pt x="2522257" y="2405409"/>
                  </a:lnTo>
                  <a:lnTo>
                    <a:pt x="2519503" y="2407769"/>
                  </a:lnTo>
                  <a:lnTo>
                    <a:pt x="2516749" y="2409343"/>
                  </a:lnTo>
                  <a:lnTo>
                    <a:pt x="2514782" y="2412490"/>
                  </a:lnTo>
                  <a:lnTo>
                    <a:pt x="2512028" y="2414064"/>
                  </a:lnTo>
                  <a:lnTo>
                    <a:pt x="2509274" y="2416425"/>
                  </a:lnTo>
                  <a:lnTo>
                    <a:pt x="2506127" y="2417998"/>
                  </a:lnTo>
                  <a:lnTo>
                    <a:pt x="2503373" y="2418785"/>
                  </a:lnTo>
                  <a:lnTo>
                    <a:pt x="2502586" y="2419179"/>
                  </a:lnTo>
                  <a:lnTo>
                    <a:pt x="2500225" y="2419572"/>
                  </a:lnTo>
                  <a:lnTo>
                    <a:pt x="2502192" y="2418392"/>
                  </a:lnTo>
                  <a:lnTo>
                    <a:pt x="2505340" y="2415638"/>
                  </a:lnTo>
                  <a:lnTo>
                    <a:pt x="2508094" y="2413277"/>
                  </a:lnTo>
                  <a:lnTo>
                    <a:pt x="2510454" y="2410130"/>
                  </a:lnTo>
                  <a:lnTo>
                    <a:pt x="2512028" y="2407376"/>
                  </a:lnTo>
                  <a:lnTo>
                    <a:pt x="2514782" y="2404228"/>
                  </a:lnTo>
                  <a:lnTo>
                    <a:pt x="2515175" y="2401474"/>
                  </a:lnTo>
                  <a:lnTo>
                    <a:pt x="2515962" y="2398327"/>
                  </a:lnTo>
                  <a:lnTo>
                    <a:pt x="2517536" y="2395573"/>
                  </a:lnTo>
                  <a:lnTo>
                    <a:pt x="2517142" y="2392425"/>
                  </a:lnTo>
                  <a:lnTo>
                    <a:pt x="2514388" y="2389672"/>
                  </a:lnTo>
                  <a:lnTo>
                    <a:pt x="2511241" y="2389672"/>
                  </a:lnTo>
                  <a:lnTo>
                    <a:pt x="2508487" y="2391245"/>
                  </a:lnTo>
                  <a:lnTo>
                    <a:pt x="2505733" y="2393999"/>
                  </a:lnTo>
                  <a:lnTo>
                    <a:pt x="2503373" y="2397147"/>
                  </a:lnTo>
                  <a:lnTo>
                    <a:pt x="2502979" y="2400294"/>
                  </a:lnTo>
                  <a:lnTo>
                    <a:pt x="2502586" y="2403048"/>
                  </a:lnTo>
                  <a:lnTo>
                    <a:pt x="2502979" y="2406195"/>
                  </a:lnTo>
                  <a:lnTo>
                    <a:pt x="2501799" y="2409343"/>
                  </a:lnTo>
                  <a:lnTo>
                    <a:pt x="2498651" y="2410917"/>
                  </a:lnTo>
                  <a:lnTo>
                    <a:pt x="2495898" y="2412490"/>
                  </a:lnTo>
                  <a:lnTo>
                    <a:pt x="2496291" y="2415638"/>
                  </a:lnTo>
                  <a:lnTo>
                    <a:pt x="2495111" y="2418785"/>
                  </a:lnTo>
                  <a:lnTo>
                    <a:pt x="2495504" y="2420752"/>
                  </a:lnTo>
                  <a:lnTo>
                    <a:pt x="2493144" y="2421146"/>
                  </a:lnTo>
                  <a:lnTo>
                    <a:pt x="2492357" y="2420359"/>
                  </a:lnTo>
                  <a:lnTo>
                    <a:pt x="2489996" y="2421539"/>
                  </a:lnTo>
                  <a:lnTo>
                    <a:pt x="2471112" y="2425473"/>
                  </a:lnTo>
                  <a:lnTo>
                    <a:pt x="2471112" y="2425080"/>
                  </a:lnTo>
                  <a:lnTo>
                    <a:pt x="2471505" y="2424293"/>
                  </a:lnTo>
                  <a:lnTo>
                    <a:pt x="2473866" y="2423506"/>
                  </a:lnTo>
                  <a:lnTo>
                    <a:pt x="2477013" y="2422326"/>
                  </a:lnTo>
                  <a:lnTo>
                    <a:pt x="2479767" y="2419965"/>
                  </a:lnTo>
                  <a:lnTo>
                    <a:pt x="2482914" y="2418785"/>
                  </a:lnTo>
                  <a:lnTo>
                    <a:pt x="2486062" y="2416818"/>
                  </a:lnTo>
                  <a:lnTo>
                    <a:pt x="2489209" y="2419179"/>
                  </a:lnTo>
                  <a:lnTo>
                    <a:pt x="2491963" y="2419179"/>
                  </a:lnTo>
                  <a:lnTo>
                    <a:pt x="2494717" y="2416425"/>
                  </a:lnTo>
                  <a:lnTo>
                    <a:pt x="2495111" y="2413277"/>
                  </a:lnTo>
                  <a:lnTo>
                    <a:pt x="2495504" y="2410523"/>
                  </a:lnTo>
                  <a:lnTo>
                    <a:pt x="2495504" y="2410130"/>
                  </a:lnTo>
                  <a:lnTo>
                    <a:pt x="2498651" y="2408556"/>
                  </a:lnTo>
                  <a:lnTo>
                    <a:pt x="2501405" y="2405802"/>
                  </a:lnTo>
                  <a:lnTo>
                    <a:pt x="2501012" y="2402655"/>
                  </a:lnTo>
                  <a:lnTo>
                    <a:pt x="2501012" y="2400294"/>
                  </a:lnTo>
                  <a:lnTo>
                    <a:pt x="2507307" y="2389278"/>
                  </a:lnTo>
                  <a:lnTo>
                    <a:pt x="2508487" y="2388098"/>
                  </a:lnTo>
                  <a:lnTo>
                    <a:pt x="2510061" y="2384951"/>
                  </a:lnTo>
                  <a:lnTo>
                    <a:pt x="2511241" y="2382196"/>
                  </a:lnTo>
                  <a:lnTo>
                    <a:pt x="2515569" y="2374721"/>
                  </a:lnTo>
                  <a:lnTo>
                    <a:pt x="2518323" y="2373541"/>
                  </a:lnTo>
                  <a:lnTo>
                    <a:pt x="2519503" y="2372754"/>
                  </a:lnTo>
                  <a:lnTo>
                    <a:pt x="2520683" y="2370787"/>
                  </a:lnTo>
                  <a:lnTo>
                    <a:pt x="2525011" y="2365673"/>
                  </a:lnTo>
                  <a:lnTo>
                    <a:pt x="2525405" y="2365279"/>
                  </a:lnTo>
                  <a:lnTo>
                    <a:pt x="2528158" y="2365279"/>
                  </a:lnTo>
                  <a:lnTo>
                    <a:pt x="2530519" y="2362132"/>
                  </a:lnTo>
                  <a:lnTo>
                    <a:pt x="2532880" y="2359378"/>
                  </a:lnTo>
                  <a:lnTo>
                    <a:pt x="2534847" y="2356624"/>
                  </a:lnTo>
                  <a:lnTo>
                    <a:pt x="2536420" y="2353476"/>
                  </a:lnTo>
                  <a:lnTo>
                    <a:pt x="2537207" y="2351509"/>
                  </a:lnTo>
                  <a:lnTo>
                    <a:pt x="2543109" y="2344821"/>
                  </a:lnTo>
                  <a:lnTo>
                    <a:pt x="2543109" y="2344821"/>
                  </a:lnTo>
                  <a:lnTo>
                    <a:pt x="2543109" y="2344821"/>
                  </a:lnTo>
                  <a:lnTo>
                    <a:pt x="2544682" y="2342854"/>
                  </a:lnTo>
                  <a:lnTo>
                    <a:pt x="2544682" y="2345608"/>
                  </a:lnTo>
                  <a:lnTo>
                    <a:pt x="2547043" y="2345214"/>
                  </a:lnTo>
                  <a:lnTo>
                    <a:pt x="2549797" y="2344034"/>
                  </a:lnTo>
                  <a:lnTo>
                    <a:pt x="2550190" y="2340887"/>
                  </a:lnTo>
                  <a:lnTo>
                    <a:pt x="2547436" y="2340493"/>
                  </a:lnTo>
                  <a:lnTo>
                    <a:pt x="2544682" y="2342067"/>
                  </a:lnTo>
                  <a:lnTo>
                    <a:pt x="2551764" y="2333805"/>
                  </a:lnTo>
                  <a:lnTo>
                    <a:pt x="2554518" y="2331051"/>
                  </a:lnTo>
                  <a:lnTo>
                    <a:pt x="2551764" y="2329477"/>
                  </a:lnTo>
                  <a:lnTo>
                    <a:pt x="2548223" y="2329871"/>
                  </a:lnTo>
                  <a:lnTo>
                    <a:pt x="2551764" y="2328297"/>
                  </a:lnTo>
                  <a:lnTo>
                    <a:pt x="2554518" y="2326723"/>
                  </a:lnTo>
                  <a:lnTo>
                    <a:pt x="2555305" y="2323576"/>
                  </a:lnTo>
                  <a:lnTo>
                    <a:pt x="2555698" y="2320822"/>
                  </a:lnTo>
                  <a:lnTo>
                    <a:pt x="2555305" y="2318068"/>
                  </a:lnTo>
                  <a:lnTo>
                    <a:pt x="2554518" y="2315314"/>
                  </a:lnTo>
                  <a:lnTo>
                    <a:pt x="2552158" y="2312167"/>
                  </a:lnTo>
                  <a:lnTo>
                    <a:pt x="2551371" y="2311773"/>
                  </a:lnTo>
                  <a:lnTo>
                    <a:pt x="2541142" y="2305872"/>
                  </a:lnTo>
                  <a:lnTo>
                    <a:pt x="2542715" y="2304691"/>
                  </a:lnTo>
                  <a:lnTo>
                    <a:pt x="2541535" y="2301937"/>
                  </a:lnTo>
                  <a:lnTo>
                    <a:pt x="2539568" y="2298790"/>
                  </a:lnTo>
                  <a:lnTo>
                    <a:pt x="2536814" y="2301151"/>
                  </a:lnTo>
                  <a:lnTo>
                    <a:pt x="2537601" y="2303905"/>
                  </a:lnTo>
                  <a:lnTo>
                    <a:pt x="2537601" y="2303905"/>
                  </a:lnTo>
                  <a:lnTo>
                    <a:pt x="2534453" y="2301937"/>
                  </a:lnTo>
                  <a:lnTo>
                    <a:pt x="2534060" y="2300757"/>
                  </a:lnTo>
                  <a:lnTo>
                    <a:pt x="2530912" y="2298790"/>
                  </a:lnTo>
                  <a:lnTo>
                    <a:pt x="2529339" y="2299184"/>
                  </a:lnTo>
                  <a:lnTo>
                    <a:pt x="2531306" y="2296430"/>
                  </a:lnTo>
                  <a:lnTo>
                    <a:pt x="2530519" y="2293282"/>
                  </a:lnTo>
                  <a:lnTo>
                    <a:pt x="2529339" y="2290528"/>
                  </a:lnTo>
                  <a:lnTo>
                    <a:pt x="2528945" y="2287774"/>
                  </a:lnTo>
                  <a:lnTo>
                    <a:pt x="2527372" y="2284233"/>
                  </a:lnTo>
                  <a:lnTo>
                    <a:pt x="2527372" y="2281479"/>
                  </a:lnTo>
                  <a:lnTo>
                    <a:pt x="2526585" y="2278332"/>
                  </a:lnTo>
                  <a:lnTo>
                    <a:pt x="2524224" y="2275184"/>
                  </a:lnTo>
                  <a:lnTo>
                    <a:pt x="2524224" y="2272430"/>
                  </a:lnTo>
                  <a:lnTo>
                    <a:pt x="2523437" y="2269283"/>
                  </a:lnTo>
                  <a:lnTo>
                    <a:pt x="2522257" y="2266136"/>
                  </a:lnTo>
                  <a:lnTo>
                    <a:pt x="2521864" y="2262988"/>
                  </a:lnTo>
                  <a:lnTo>
                    <a:pt x="2521077" y="2260234"/>
                  </a:lnTo>
                  <a:lnTo>
                    <a:pt x="2520683" y="2257480"/>
                  </a:lnTo>
                  <a:lnTo>
                    <a:pt x="2520290" y="2254333"/>
                  </a:lnTo>
                  <a:lnTo>
                    <a:pt x="2520290" y="2248038"/>
                  </a:lnTo>
                  <a:lnTo>
                    <a:pt x="2520683" y="2244891"/>
                  </a:lnTo>
                  <a:lnTo>
                    <a:pt x="2520290" y="2241743"/>
                  </a:lnTo>
                  <a:lnTo>
                    <a:pt x="2520290" y="2238989"/>
                  </a:lnTo>
                  <a:lnTo>
                    <a:pt x="2517929" y="2241743"/>
                  </a:lnTo>
                  <a:lnTo>
                    <a:pt x="2517536" y="2244891"/>
                  </a:lnTo>
                  <a:lnTo>
                    <a:pt x="2516749" y="2246464"/>
                  </a:lnTo>
                  <a:lnTo>
                    <a:pt x="2517142" y="2243710"/>
                  </a:lnTo>
                  <a:lnTo>
                    <a:pt x="2517536" y="2240563"/>
                  </a:lnTo>
                  <a:lnTo>
                    <a:pt x="2517536" y="2234662"/>
                  </a:lnTo>
                  <a:lnTo>
                    <a:pt x="2515962" y="2231514"/>
                  </a:lnTo>
                  <a:lnTo>
                    <a:pt x="2513995" y="2228760"/>
                  </a:lnTo>
                  <a:lnTo>
                    <a:pt x="2511241" y="2225613"/>
                  </a:lnTo>
                  <a:lnTo>
                    <a:pt x="2508094" y="2223252"/>
                  </a:lnTo>
                  <a:lnTo>
                    <a:pt x="2506520" y="2226400"/>
                  </a:lnTo>
                  <a:lnTo>
                    <a:pt x="2506913" y="2229154"/>
                  </a:lnTo>
                  <a:lnTo>
                    <a:pt x="2508094" y="2231908"/>
                  </a:lnTo>
                  <a:lnTo>
                    <a:pt x="2509274" y="2235055"/>
                  </a:lnTo>
                  <a:lnTo>
                    <a:pt x="2507307" y="2232301"/>
                  </a:lnTo>
                  <a:lnTo>
                    <a:pt x="2506520" y="2229154"/>
                  </a:lnTo>
                  <a:lnTo>
                    <a:pt x="2503766" y="2231908"/>
                  </a:lnTo>
                  <a:lnTo>
                    <a:pt x="2501799" y="2233481"/>
                  </a:lnTo>
                  <a:lnTo>
                    <a:pt x="2502979" y="2230334"/>
                  </a:lnTo>
                  <a:lnTo>
                    <a:pt x="2503373" y="2227580"/>
                  </a:lnTo>
                  <a:lnTo>
                    <a:pt x="2501799" y="2224826"/>
                  </a:lnTo>
                  <a:lnTo>
                    <a:pt x="2502586" y="2221679"/>
                  </a:lnTo>
                  <a:lnTo>
                    <a:pt x="2500619" y="2218925"/>
                  </a:lnTo>
                  <a:lnTo>
                    <a:pt x="2500225" y="2215777"/>
                  </a:lnTo>
                  <a:lnTo>
                    <a:pt x="2498258" y="2213023"/>
                  </a:lnTo>
                  <a:lnTo>
                    <a:pt x="2495504" y="2215384"/>
                  </a:lnTo>
                  <a:lnTo>
                    <a:pt x="2495504" y="2220892"/>
                  </a:lnTo>
                  <a:lnTo>
                    <a:pt x="2492357" y="2223252"/>
                  </a:lnTo>
                  <a:lnTo>
                    <a:pt x="2494717" y="2220498"/>
                  </a:lnTo>
                  <a:lnTo>
                    <a:pt x="2494717" y="2217351"/>
                  </a:lnTo>
                  <a:lnTo>
                    <a:pt x="2494324" y="2214597"/>
                  </a:lnTo>
                  <a:lnTo>
                    <a:pt x="2493144" y="2211843"/>
                  </a:lnTo>
                  <a:lnTo>
                    <a:pt x="2490783" y="2209089"/>
                  </a:lnTo>
                  <a:lnTo>
                    <a:pt x="2488029" y="2205942"/>
                  </a:lnTo>
                  <a:lnTo>
                    <a:pt x="2485275" y="2206728"/>
                  </a:lnTo>
                  <a:lnTo>
                    <a:pt x="2484095" y="2209089"/>
                  </a:lnTo>
                  <a:lnTo>
                    <a:pt x="2483308" y="2210269"/>
                  </a:lnTo>
                  <a:lnTo>
                    <a:pt x="2484095" y="2207515"/>
                  </a:lnTo>
                  <a:lnTo>
                    <a:pt x="2485668" y="2204368"/>
                  </a:lnTo>
                  <a:lnTo>
                    <a:pt x="2482914" y="2203974"/>
                  </a:lnTo>
                  <a:lnTo>
                    <a:pt x="2482521" y="2203581"/>
                  </a:lnTo>
                  <a:lnTo>
                    <a:pt x="2481341" y="2200827"/>
                  </a:lnTo>
                  <a:lnTo>
                    <a:pt x="2478587" y="2199253"/>
                  </a:lnTo>
                  <a:lnTo>
                    <a:pt x="2475439" y="2196499"/>
                  </a:lnTo>
                  <a:lnTo>
                    <a:pt x="2473472" y="2193352"/>
                  </a:lnTo>
                  <a:lnTo>
                    <a:pt x="2470718" y="2190598"/>
                  </a:lnTo>
                  <a:lnTo>
                    <a:pt x="2468358" y="2187450"/>
                  </a:lnTo>
                  <a:lnTo>
                    <a:pt x="2465604" y="2185090"/>
                  </a:lnTo>
                  <a:lnTo>
                    <a:pt x="2464030" y="2185483"/>
                  </a:lnTo>
                  <a:lnTo>
                    <a:pt x="2461276" y="2183910"/>
                  </a:lnTo>
                  <a:lnTo>
                    <a:pt x="2460096" y="2183516"/>
                  </a:lnTo>
                  <a:lnTo>
                    <a:pt x="2449473" y="2180762"/>
                  </a:lnTo>
                  <a:lnTo>
                    <a:pt x="2446326" y="2178402"/>
                  </a:lnTo>
                  <a:lnTo>
                    <a:pt x="2443572" y="2176435"/>
                  </a:lnTo>
                  <a:lnTo>
                    <a:pt x="2440818" y="2174861"/>
                  </a:lnTo>
                  <a:lnTo>
                    <a:pt x="2438064" y="2174467"/>
                  </a:lnTo>
                  <a:lnTo>
                    <a:pt x="2434916" y="2176435"/>
                  </a:lnTo>
                  <a:lnTo>
                    <a:pt x="2434130" y="2179189"/>
                  </a:lnTo>
                  <a:lnTo>
                    <a:pt x="2433736" y="2182336"/>
                  </a:lnTo>
                  <a:lnTo>
                    <a:pt x="2432162" y="2185090"/>
                  </a:lnTo>
                  <a:lnTo>
                    <a:pt x="2431769" y="2185877"/>
                  </a:lnTo>
                  <a:lnTo>
                    <a:pt x="2429015" y="2188237"/>
                  </a:lnTo>
                  <a:lnTo>
                    <a:pt x="2430589" y="2185483"/>
                  </a:lnTo>
                  <a:lnTo>
                    <a:pt x="2432949" y="2182336"/>
                  </a:lnTo>
                  <a:lnTo>
                    <a:pt x="2433343" y="2179582"/>
                  </a:lnTo>
                  <a:lnTo>
                    <a:pt x="2433736" y="2176828"/>
                  </a:lnTo>
                  <a:lnTo>
                    <a:pt x="2432162" y="2179975"/>
                  </a:lnTo>
                  <a:lnTo>
                    <a:pt x="2432162" y="2179582"/>
                  </a:lnTo>
                  <a:lnTo>
                    <a:pt x="2432949" y="2176828"/>
                  </a:lnTo>
                  <a:lnTo>
                    <a:pt x="2433343" y="2173681"/>
                  </a:lnTo>
                  <a:lnTo>
                    <a:pt x="2430589" y="2171713"/>
                  </a:lnTo>
                  <a:lnTo>
                    <a:pt x="2427835" y="2170140"/>
                  </a:lnTo>
                  <a:lnTo>
                    <a:pt x="2424687" y="2169353"/>
                  </a:lnTo>
                  <a:lnTo>
                    <a:pt x="2421933" y="2168959"/>
                  </a:lnTo>
                  <a:lnTo>
                    <a:pt x="2419179" y="2168566"/>
                  </a:lnTo>
                  <a:lnTo>
                    <a:pt x="2416425" y="2167779"/>
                  </a:lnTo>
                  <a:lnTo>
                    <a:pt x="2413278" y="2167386"/>
                  </a:lnTo>
                  <a:lnTo>
                    <a:pt x="2412884" y="2167386"/>
                  </a:lnTo>
                  <a:lnTo>
                    <a:pt x="2409737" y="2166599"/>
                  </a:lnTo>
                  <a:lnTo>
                    <a:pt x="2406983" y="2166205"/>
                  </a:lnTo>
                  <a:lnTo>
                    <a:pt x="2404229" y="2166205"/>
                  </a:lnTo>
                  <a:lnTo>
                    <a:pt x="2401082" y="2166205"/>
                  </a:lnTo>
                  <a:lnTo>
                    <a:pt x="2400688" y="2168959"/>
                  </a:lnTo>
                  <a:lnTo>
                    <a:pt x="2403836" y="2170533"/>
                  </a:lnTo>
                  <a:lnTo>
                    <a:pt x="2407770" y="2170927"/>
                  </a:lnTo>
                  <a:lnTo>
                    <a:pt x="2403836" y="2170927"/>
                  </a:lnTo>
                  <a:lnTo>
                    <a:pt x="2401082" y="2170533"/>
                  </a:lnTo>
                  <a:lnTo>
                    <a:pt x="2399901" y="2172107"/>
                  </a:lnTo>
                  <a:lnTo>
                    <a:pt x="2399115" y="2169353"/>
                  </a:lnTo>
                  <a:lnTo>
                    <a:pt x="2397147" y="2169746"/>
                  </a:lnTo>
                  <a:lnTo>
                    <a:pt x="2396361" y="2169353"/>
                  </a:lnTo>
                  <a:lnTo>
                    <a:pt x="2394000" y="2168172"/>
                  </a:lnTo>
                  <a:lnTo>
                    <a:pt x="2391246" y="2167386"/>
                  </a:lnTo>
                  <a:lnTo>
                    <a:pt x="2382591" y="2167386"/>
                  </a:lnTo>
                  <a:lnTo>
                    <a:pt x="2379443" y="2167779"/>
                  </a:lnTo>
                  <a:lnTo>
                    <a:pt x="2376689" y="2169746"/>
                  </a:lnTo>
                  <a:lnTo>
                    <a:pt x="2377083" y="2172107"/>
                  </a:lnTo>
                  <a:lnTo>
                    <a:pt x="2376689" y="2173681"/>
                  </a:lnTo>
                  <a:lnTo>
                    <a:pt x="2376689" y="2174861"/>
                  </a:lnTo>
                  <a:lnTo>
                    <a:pt x="2373935" y="2173287"/>
                  </a:lnTo>
                  <a:lnTo>
                    <a:pt x="2371181" y="2172500"/>
                  </a:lnTo>
                  <a:lnTo>
                    <a:pt x="2368427" y="2171320"/>
                  </a:lnTo>
                  <a:lnTo>
                    <a:pt x="2365673" y="2170140"/>
                  </a:lnTo>
                  <a:lnTo>
                    <a:pt x="2362526" y="2169746"/>
                  </a:lnTo>
                  <a:lnTo>
                    <a:pt x="2359772" y="2168566"/>
                  </a:lnTo>
                  <a:lnTo>
                    <a:pt x="2357018" y="2168566"/>
                  </a:lnTo>
                  <a:lnTo>
                    <a:pt x="2356231" y="2168959"/>
                  </a:lnTo>
                  <a:lnTo>
                    <a:pt x="2353477" y="2168172"/>
                  </a:lnTo>
                  <a:lnTo>
                    <a:pt x="2350723" y="2167386"/>
                  </a:lnTo>
                  <a:lnTo>
                    <a:pt x="2347576" y="2166992"/>
                  </a:lnTo>
                  <a:lnTo>
                    <a:pt x="2344822" y="2166992"/>
                  </a:lnTo>
                  <a:lnTo>
                    <a:pt x="2344035" y="2167779"/>
                  </a:lnTo>
                  <a:lnTo>
                    <a:pt x="2342855" y="2168172"/>
                  </a:lnTo>
                  <a:lnTo>
                    <a:pt x="2342461" y="2170140"/>
                  </a:lnTo>
                  <a:lnTo>
                    <a:pt x="2340887" y="2172894"/>
                  </a:lnTo>
                  <a:lnTo>
                    <a:pt x="2340887" y="2174074"/>
                  </a:lnTo>
                  <a:lnTo>
                    <a:pt x="2339314" y="2178008"/>
                  </a:lnTo>
                  <a:lnTo>
                    <a:pt x="2338920" y="2175254"/>
                  </a:lnTo>
                  <a:lnTo>
                    <a:pt x="2340101" y="2172500"/>
                  </a:lnTo>
                  <a:lnTo>
                    <a:pt x="2340494" y="2169353"/>
                  </a:lnTo>
                  <a:lnTo>
                    <a:pt x="2340101" y="2166599"/>
                  </a:lnTo>
                  <a:lnTo>
                    <a:pt x="2340101" y="2166205"/>
                  </a:lnTo>
                  <a:lnTo>
                    <a:pt x="2339707" y="2163058"/>
                  </a:lnTo>
                  <a:lnTo>
                    <a:pt x="2338133" y="2160304"/>
                  </a:lnTo>
                  <a:lnTo>
                    <a:pt x="2335379" y="2157550"/>
                  </a:lnTo>
                  <a:lnTo>
                    <a:pt x="2332626" y="2155976"/>
                  </a:lnTo>
                  <a:lnTo>
                    <a:pt x="2329872" y="2157550"/>
                  </a:lnTo>
                  <a:lnTo>
                    <a:pt x="2329478" y="2155976"/>
                  </a:lnTo>
                  <a:lnTo>
                    <a:pt x="2326724" y="2150468"/>
                  </a:lnTo>
                  <a:lnTo>
                    <a:pt x="2323577" y="2148108"/>
                  </a:lnTo>
                  <a:lnTo>
                    <a:pt x="2321216" y="2145354"/>
                  </a:lnTo>
                  <a:lnTo>
                    <a:pt x="2318462" y="2142600"/>
                  </a:lnTo>
                  <a:lnTo>
                    <a:pt x="2316495" y="2139846"/>
                  </a:lnTo>
                  <a:lnTo>
                    <a:pt x="2313741" y="2138666"/>
                  </a:lnTo>
                  <a:lnTo>
                    <a:pt x="2310987" y="2139059"/>
                  </a:lnTo>
                  <a:lnTo>
                    <a:pt x="2307840" y="2136698"/>
                  </a:lnTo>
                  <a:lnTo>
                    <a:pt x="2305086" y="2136305"/>
                  </a:lnTo>
                  <a:lnTo>
                    <a:pt x="2301938" y="2139059"/>
                  </a:lnTo>
                  <a:lnTo>
                    <a:pt x="2299184" y="2144567"/>
                  </a:lnTo>
                  <a:lnTo>
                    <a:pt x="2298791" y="2147321"/>
                  </a:lnTo>
                  <a:lnTo>
                    <a:pt x="2298397" y="2150468"/>
                  </a:lnTo>
                  <a:lnTo>
                    <a:pt x="2298004" y="2152042"/>
                  </a:lnTo>
                  <a:lnTo>
                    <a:pt x="2295643" y="2153222"/>
                  </a:lnTo>
                  <a:lnTo>
                    <a:pt x="2295643" y="2152435"/>
                  </a:lnTo>
                  <a:lnTo>
                    <a:pt x="2296037" y="2152042"/>
                  </a:lnTo>
                  <a:lnTo>
                    <a:pt x="2297611" y="2149288"/>
                  </a:lnTo>
                  <a:lnTo>
                    <a:pt x="2301545" y="2132371"/>
                  </a:lnTo>
                  <a:lnTo>
                    <a:pt x="2302332" y="2130010"/>
                  </a:lnTo>
                  <a:lnTo>
                    <a:pt x="2302725" y="2127256"/>
                  </a:lnTo>
                  <a:lnTo>
                    <a:pt x="2302332" y="2124896"/>
                  </a:lnTo>
                  <a:lnTo>
                    <a:pt x="2302725" y="2121748"/>
                  </a:lnTo>
                  <a:lnTo>
                    <a:pt x="2302332" y="2118994"/>
                  </a:lnTo>
                  <a:lnTo>
                    <a:pt x="2299971" y="2115847"/>
                  </a:lnTo>
                  <a:lnTo>
                    <a:pt x="2298397" y="2113093"/>
                  </a:lnTo>
                  <a:lnTo>
                    <a:pt x="2295643" y="2112699"/>
                  </a:lnTo>
                  <a:lnTo>
                    <a:pt x="2294463" y="2109945"/>
                  </a:lnTo>
                  <a:lnTo>
                    <a:pt x="2292889" y="2107585"/>
                  </a:lnTo>
                  <a:lnTo>
                    <a:pt x="2290922" y="2105618"/>
                  </a:lnTo>
                  <a:lnTo>
                    <a:pt x="2287775" y="2101684"/>
                  </a:lnTo>
                  <a:lnTo>
                    <a:pt x="2285414" y="2099716"/>
                  </a:lnTo>
                  <a:lnTo>
                    <a:pt x="2282660" y="2096962"/>
                  </a:lnTo>
                  <a:lnTo>
                    <a:pt x="2279906" y="2094995"/>
                  </a:lnTo>
                  <a:lnTo>
                    <a:pt x="2277152" y="2093028"/>
                  </a:lnTo>
                  <a:lnTo>
                    <a:pt x="2274005" y="2090668"/>
                  </a:lnTo>
                  <a:lnTo>
                    <a:pt x="2271251" y="2089094"/>
                  </a:lnTo>
                  <a:lnTo>
                    <a:pt x="2268497" y="2086733"/>
                  </a:lnTo>
                  <a:lnTo>
                    <a:pt x="2265350" y="2085160"/>
                  </a:lnTo>
                  <a:lnTo>
                    <a:pt x="2266923" y="2087914"/>
                  </a:lnTo>
                  <a:lnTo>
                    <a:pt x="2269677" y="2090274"/>
                  </a:lnTo>
                  <a:lnTo>
                    <a:pt x="2272431" y="2091848"/>
                  </a:lnTo>
                  <a:lnTo>
                    <a:pt x="2274792" y="2094602"/>
                  </a:lnTo>
                  <a:lnTo>
                    <a:pt x="2273218" y="2093028"/>
                  </a:lnTo>
                  <a:lnTo>
                    <a:pt x="2270464" y="2091061"/>
                  </a:lnTo>
                  <a:lnTo>
                    <a:pt x="2267710" y="2089487"/>
                  </a:lnTo>
                  <a:lnTo>
                    <a:pt x="2264563" y="2087520"/>
                  </a:lnTo>
                  <a:lnTo>
                    <a:pt x="2259055" y="2080832"/>
                  </a:lnTo>
                  <a:lnTo>
                    <a:pt x="2258661" y="2080438"/>
                  </a:lnTo>
                  <a:lnTo>
                    <a:pt x="2257088" y="2080045"/>
                  </a:lnTo>
                  <a:lnTo>
                    <a:pt x="2254334" y="2078471"/>
                  </a:lnTo>
                  <a:lnTo>
                    <a:pt x="2251580" y="2077684"/>
                  </a:lnTo>
                  <a:lnTo>
                    <a:pt x="2248826" y="2077291"/>
                  </a:lnTo>
                  <a:lnTo>
                    <a:pt x="2246072" y="2079258"/>
                  </a:lnTo>
                  <a:lnTo>
                    <a:pt x="2244498" y="2080832"/>
                  </a:lnTo>
                  <a:lnTo>
                    <a:pt x="2244105" y="2080438"/>
                  </a:lnTo>
                  <a:lnTo>
                    <a:pt x="2240957" y="2079651"/>
                  </a:lnTo>
                  <a:lnTo>
                    <a:pt x="2238203" y="2078078"/>
                  </a:lnTo>
                  <a:lnTo>
                    <a:pt x="2235449" y="2078471"/>
                  </a:lnTo>
                  <a:lnTo>
                    <a:pt x="2232302" y="2078471"/>
                  </a:lnTo>
                  <a:lnTo>
                    <a:pt x="2228761" y="2078471"/>
                  </a:lnTo>
                  <a:lnTo>
                    <a:pt x="2229154" y="2077684"/>
                  </a:lnTo>
                  <a:lnTo>
                    <a:pt x="2226400" y="2078471"/>
                  </a:lnTo>
                  <a:lnTo>
                    <a:pt x="2209483" y="2078078"/>
                  </a:lnTo>
                  <a:lnTo>
                    <a:pt x="2209877" y="2076898"/>
                  </a:lnTo>
                  <a:lnTo>
                    <a:pt x="2211450" y="2076898"/>
                  </a:lnTo>
                  <a:lnTo>
                    <a:pt x="2214204" y="2078078"/>
                  </a:lnTo>
                  <a:lnTo>
                    <a:pt x="2216958" y="2077684"/>
                  </a:lnTo>
                  <a:lnTo>
                    <a:pt x="2219712" y="2078078"/>
                  </a:lnTo>
                  <a:lnTo>
                    <a:pt x="2222860" y="2078078"/>
                  </a:lnTo>
                  <a:lnTo>
                    <a:pt x="2223253" y="2075324"/>
                  </a:lnTo>
                  <a:lnTo>
                    <a:pt x="2224040" y="2072570"/>
                  </a:lnTo>
                  <a:lnTo>
                    <a:pt x="2226007" y="2069423"/>
                  </a:lnTo>
                  <a:lnTo>
                    <a:pt x="2225614" y="2068242"/>
                  </a:lnTo>
                  <a:lnTo>
                    <a:pt x="2226007" y="2066275"/>
                  </a:lnTo>
                  <a:lnTo>
                    <a:pt x="2226400" y="2065882"/>
                  </a:lnTo>
                  <a:lnTo>
                    <a:pt x="2229154" y="2062734"/>
                  </a:lnTo>
                  <a:lnTo>
                    <a:pt x="2229154" y="2059980"/>
                  </a:lnTo>
                  <a:lnTo>
                    <a:pt x="2227581" y="2061554"/>
                  </a:lnTo>
                  <a:lnTo>
                    <a:pt x="2227974" y="2059587"/>
                  </a:lnTo>
                  <a:lnTo>
                    <a:pt x="2230335" y="2057620"/>
                  </a:lnTo>
                  <a:lnTo>
                    <a:pt x="2233089" y="2056046"/>
                  </a:lnTo>
                  <a:lnTo>
                    <a:pt x="2235843" y="2054079"/>
                  </a:lnTo>
                  <a:lnTo>
                    <a:pt x="2235056" y="2050931"/>
                  </a:lnTo>
                  <a:lnTo>
                    <a:pt x="2232302" y="2048177"/>
                  </a:lnTo>
                  <a:lnTo>
                    <a:pt x="2229548" y="2045424"/>
                  </a:lnTo>
                  <a:lnTo>
                    <a:pt x="2226400" y="2045030"/>
                  </a:lnTo>
                  <a:lnTo>
                    <a:pt x="2223253" y="2045030"/>
                  </a:lnTo>
                  <a:lnTo>
                    <a:pt x="2220106" y="2042670"/>
                  </a:lnTo>
                  <a:lnTo>
                    <a:pt x="2218138" y="2041096"/>
                  </a:lnTo>
                  <a:lnTo>
                    <a:pt x="2216565" y="2037948"/>
                  </a:lnTo>
                  <a:lnTo>
                    <a:pt x="2213811" y="2035194"/>
                  </a:lnTo>
                  <a:lnTo>
                    <a:pt x="2210663" y="2034801"/>
                  </a:lnTo>
                  <a:lnTo>
                    <a:pt x="2212237" y="2037555"/>
                  </a:lnTo>
                  <a:lnTo>
                    <a:pt x="2211450" y="2037948"/>
                  </a:lnTo>
                  <a:lnTo>
                    <a:pt x="2208696" y="2037162"/>
                  </a:lnTo>
                  <a:lnTo>
                    <a:pt x="2205942" y="2038342"/>
                  </a:lnTo>
                  <a:lnTo>
                    <a:pt x="2206729" y="2039916"/>
                  </a:lnTo>
                  <a:lnTo>
                    <a:pt x="2205549" y="2039522"/>
                  </a:lnTo>
                  <a:lnTo>
                    <a:pt x="2203975" y="2042670"/>
                  </a:lnTo>
                  <a:lnTo>
                    <a:pt x="2204368" y="2041883"/>
                  </a:lnTo>
                  <a:lnTo>
                    <a:pt x="2204762" y="2039129"/>
                  </a:lnTo>
                  <a:lnTo>
                    <a:pt x="2204368" y="2037555"/>
                  </a:lnTo>
                  <a:lnTo>
                    <a:pt x="2202008" y="2034801"/>
                  </a:lnTo>
                  <a:lnTo>
                    <a:pt x="2198861" y="2032047"/>
                  </a:lnTo>
                  <a:lnTo>
                    <a:pt x="2196107" y="2030867"/>
                  </a:lnTo>
                  <a:lnTo>
                    <a:pt x="2193353" y="2030867"/>
                  </a:lnTo>
                  <a:lnTo>
                    <a:pt x="2192959" y="2032440"/>
                  </a:lnTo>
                  <a:lnTo>
                    <a:pt x="2196107" y="2033227"/>
                  </a:lnTo>
                  <a:lnTo>
                    <a:pt x="2198861" y="2035588"/>
                  </a:lnTo>
                  <a:lnTo>
                    <a:pt x="2197287" y="2034801"/>
                  </a:lnTo>
                  <a:lnTo>
                    <a:pt x="2194533" y="2034014"/>
                  </a:lnTo>
                  <a:lnTo>
                    <a:pt x="2194926" y="2036768"/>
                  </a:lnTo>
                  <a:lnTo>
                    <a:pt x="2195320" y="2039916"/>
                  </a:lnTo>
                  <a:lnTo>
                    <a:pt x="2194533" y="2042670"/>
                  </a:lnTo>
                  <a:lnTo>
                    <a:pt x="2193353" y="2043063"/>
                  </a:lnTo>
                  <a:lnTo>
                    <a:pt x="2194926" y="2040702"/>
                  </a:lnTo>
                  <a:lnTo>
                    <a:pt x="2194926" y="2037948"/>
                  </a:lnTo>
                  <a:lnTo>
                    <a:pt x="2194533" y="2034801"/>
                  </a:lnTo>
                  <a:lnTo>
                    <a:pt x="2192566" y="2032047"/>
                  </a:lnTo>
                  <a:lnTo>
                    <a:pt x="2192959" y="2034801"/>
                  </a:lnTo>
                  <a:lnTo>
                    <a:pt x="2192172" y="2037948"/>
                  </a:lnTo>
                  <a:lnTo>
                    <a:pt x="2190205" y="2040702"/>
                  </a:lnTo>
                  <a:lnTo>
                    <a:pt x="2189812" y="2040309"/>
                  </a:lnTo>
                  <a:lnTo>
                    <a:pt x="2189812" y="2039916"/>
                  </a:lnTo>
                  <a:lnTo>
                    <a:pt x="2189812" y="2039522"/>
                  </a:lnTo>
                  <a:lnTo>
                    <a:pt x="2190599" y="2038735"/>
                  </a:lnTo>
                  <a:lnTo>
                    <a:pt x="2189418" y="2035588"/>
                  </a:lnTo>
                  <a:lnTo>
                    <a:pt x="2187058" y="2032834"/>
                  </a:lnTo>
                  <a:lnTo>
                    <a:pt x="2187451" y="2030473"/>
                  </a:lnTo>
                  <a:lnTo>
                    <a:pt x="2187451" y="2030080"/>
                  </a:lnTo>
                  <a:lnTo>
                    <a:pt x="2186664" y="2027326"/>
                  </a:lnTo>
                  <a:lnTo>
                    <a:pt x="2185484" y="2024178"/>
                  </a:lnTo>
                  <a:lnTo>
                    <a:pt x="2182730" y="2022998"/>
                  </a:lnTo>
                  <a:lnTo>
                    <a:pt x="2182730" y="2025752"/>
                  </a:lnTo>
                  <a:lnTo>
                    <a:pt x="2180370" y="2028900"/>
                  </a:lnTo>
                  <a:lnTo>
                    <a:pt x="2177222" y="2030473"/>
                  </a:lnTo>
                  <a:lnTo>
                    <a:pt x="2176829" y="2030473"/>
                  </a:lnTo>
                  <a:lnTo>
                    <a:pt x="2176435" y="2029293"/>
                  </a:lnTo>
                  <a:lnTo>
                    <a:pt x="2173681" y="2030473"/>
                  </a:lnTo>
                  <a:lnTo>
                    <a:pt x="2173288" y="2030473"/>
                  </a:lnTo>
                  <a:lnTo>
                    <a:pt x="2170927" y="2026933"/>
                  </a:lnTo>
                  <a:lnTo>
                    <a:pt x="2173288" y="2027326"/>
                  </a:lnTo>
                  <a:lnTo>
                    <a:pt x="2176435" y="2028900"/>
                  </a:lnTo>
                  <a:lnTo>
                    <a:pt x="2179189" y="2028113"/>
                  </a:lnTo>
                  <a:lnTo>
                    <a:pt x="2181943" y="2025359"/>
                  </a:lnTo>
                  <a:lnTo>
                    <a:pt x="2181156" y="2022605"/>
                  </a:lnTo>
                  <a:lnTo>
                    <a:pt x="2180763" y="2019851"/>
                  </a:lnTo>
                  <a:lnTo>
                    <a:pt x="2178009" y="2017097"/>
                  </a:lnTo>
                  <a:lnTo>
                    <a:pt x="2175255" y="2017884"/>
                  </a:lnTo>
                  <a:lnTo>
                    <a:pt x="2172501" y="2019457"/>
                  </a:lnTo>
                  <a:lnTo>
                    <a:pt x="2174075" y="2016310"/>
                  </a:lnTo>
                  <a:lnTo>
                    <a:pt x="2177222" y="2015917"/>
                  </a:lnTo>
                  <a:lnTo>
                    <a:pt x="2175648" y="2013163"/>
                  </a:lnTo>
                  <a:lnTo>
                    <a:pt x="2172501" y="2014736"/>
                  </a:lnTo>
                  <a:lnTo>
                    <a:pt x="2175648" y="2012769"/>
                  </a:lnTo>
                  <a:lnTo>
                    <a:pt x="2178402" y="2011982"/>
                  </a:lnTo>
                  <a:lnTo>
                    <a:pt x="2181156" y="2011589"/>
                  </a:lnTo>
                  <a:lnTo>
                    <a:pt x="2183910" y="2011589"/>
                  </a:lnTo>
                  <a:lnTo>
                    <a:pt x="2187058" y="2012376"/>
                  </a:lnTo>
                  <a:lnTo>
                    <a:pt x="2190205" y="2012376"/>
                  </a:lnTo>
                  <a:lnTo>
                    <a:pt x="2192959" y="2011982"/>
                  </a:lnTo>
                  <a:lnTo>
                    <a:pt x="2195320" y="2009228"/>
                  </a:lnTo>
                  <a:lnTo>
                    <a:pt x="2198074" y="2008835"/>
                  </a:lnTo>
                  <a:lnTo>
                    <a:pt x="2200828" y="2009228"/>
                  </a:lnTo>
                  <a:lnTo>
                    <a:pt x="2203975" y="2008441"/>
                  </a:lnTo>
                  <a:lnTo>
                    <a:pt x="2206336" y="2005687"/>
                  </a:lnTo>
                  <a:lnTo>
                    <a:pt x="2203582" y="2006081"/>
                  </a:lnTo>
                  <a:lnTo>
                    <a:pt x="2200828" y="2006868"/>
                  </a:lnTo>
                  <a:lnTo>
                    <a:pt x="2197680" y="2007655"/>
                  </a:lnTo>
                  <a:lnTo>
                    <a:pt x="2194926" y="2007261"/>
                  </a:lnTo>
                  <a:lnTo>
                    <a:pt x="2192172" y="2006868"/>
                  </a:lnTo>
                  <a:lnTo>
                    <a:pt x="2189025" y="2006081"/>
                  </a:lnTo>
                  <a:lnTo>
                    <a:pt x="2186271" y="2005687"/>
                  </a:lnTo>
                  <a:lnTo>
                    <a:pt x="2180370" y="2005687"/>
                  </a:lnTo>
                  <a:lnTo>
                    <a:pt x="2177615" y="2006474"/>
                  </a:lnTo>
                  <a:lnTo>
                    <a:pt x="2174861" y="2007261"/>
                  </a:lnTo>
                  <a:lnTo>
                    <a:pt x="2172107" y="2006474"/>
                  </a:lnTo>
                  <a:lnTo>
                    <a:pt x="2168960" y="2007261"/>
                  </a:lnTo>
                  <a:lnTo>
                    <a:pt x="2166206" y="2007655"/>
                  </a:lnTo>
                  <a:lnTo>
                    <a:pt x="2163059" y="2008048"/>
                  </a:lnTo>
                  <a:lnTo>
                    <a:pt x="2160305" y="2008441"/>
                  </a:lnTo>
                  <a:lnTo>
                    <a:pt x="2157551" y="2010015"/>
                  </a:lnTo>
                  <a:lnTo>
                    <a:pt x="2154797" y="2009622"/>
                  </a:lnTo>
                  <a:lnTo>
                    <a:pt x="2151649" y="2009228"/>
                  </a:lnTo>
                  <a:lnTo>
                    <a:pt x="2148895" y="2007655"/>
                  </a:lnTo>
                  <a:lnTo>
                    <a:pt x="2146141" y="2010015"/>
                  </a:lnTo>
                  <a:lnTo>
                    <a:pt x="2134339" y="2010015"/>
                  </a:lnTo>
                  <a:lnTo>
                    <a:pt x="2136699" y="2012769"/>
                  </a:lnTo>
                  <a:lnTo>
                    <a:pt x="2139453" y="2012376"/>
                  </a:lnTo>
                  <a:lnTo>
                    <a:pt x="2142600" y="2011982"/>
                  </a:lnTo>
                  <a:lnTo>
                    <a:pt x="2145354" y="2012769"/>
                  </a:lnTo>
                  <a:lnTo>
                    <a:pt x="2148109" y="2013163"/>
                  </a:lnTo>
                  <a:lnTo>
                    <a:pt x="2151256" y="2015523"/>
                  </a:lnTo>
                  <a:lnTo>
                    <a:pt x="2148109" y="2016703"/>
                  </a:lnTo>
                  <a:lnTo>
                    <a:pt x="2145354" y="2016310"/>
                  </a:lnTo>
                  <a:lnTo>
                    <a:pt x="2142600" y="2016703"/>
                  </a:lnTo>
                  <a:lnTo>
                    <a:pt x="2139847" y="2015917"/>
                  </a:lnTo>
                  <a:lnTo>
                    <a:pt x="2137093" y="2015917"/>
                  </a:lnTo>
                  <a:lnTo>
                    <a:pt x="2134339" y="2017884"/>
                  </a:lnTo>
                  <a:lnTo>
                    <a:pt x="2130404" y="2018277"/>
                  </a:lnTo>
                  <a:lnTo>
                    <a:pt x="2128831" y="2021424"/>
                  </a:lnTo>
                  <a:lnTo>
                    <a:pt x="2125683" y="2022211"/>
                  </a:lnTo>
                  <a:lnTo>
                    <a:pt x="2123323" y="2022211"/>
                  </a:lnTo>
                  <a:lnTo>
                    <a:pt x="2120569" y="2024572"/>
                  </a:lnTo>
                  <a:lnTo>
                    <a:pt x="2107586" y="2027719"/>
                  </a:lnTo>
                  <a:lnTo>
                    <a:pt x="2105225" y="2026933"/>
                  </a:lnTo>
                  <a:lnTo>
                    <a:pt x="2102471" y="2026539"/>
                  </a:lnTo>
                  <a:lnTo>
                    <a:pt x="2099324" y="2025752"/>
                  </a:lnTo>
                  <a:lnTo>
                    <a:pt x="2080439" y="2014736"/>
                  </a:lnTo>
                  <a:lnTo>
                    <a:pt x="2079652" y="2013163"/>
                  </a:lnTo>
                  <a:lnTo>
                    <a:pt x="2080046" y="2010409"/>
                  </a:lnTo>
                  <a:lnTo>
                    <a:pt x="2077292" y="2008835"/>
                  </a:lnTo>
                  <a:lnTo>
                    <a:pt x="2074538" y="2009228"/>
                  </a:lnTo>
                  <a:lnTo>
                    <a:pt x="2072177" y="2009622"/>
                  </a:lnTo>
                  <a:lnTo>
                    <a:pt x="2070997" y="2009228"/>
                  </a:lnTo>
                  <a:lnTo>
                    <a:pt x="2067849" y="2008835"/>
                  </a:lnTo>
                  <a:lnTo>
                    <a:pt x="2065096" y="2009228"/>
                  </a:lnTo>
                  <a:lnTo>
                    <a:pt x="2062342" y="2009228"/>
                  </a:lnTo>
                  <a:lnTo>
                    <a:pt x="2059588" y="2009622"/>
                  </a:lnTo>
                  <a:lnTo>
                    <a:pt x="2056440" y="2010015"/>
                  </a:lnTo>
                  <a:lnTo>
                    <a:pt x="2053686" y="2009622"/>
                  </a:lnTo>
                  <a:lnTo>
                    <a:pt x="2050932" y="2010802"/>
                  </a:lnTo>
                  <a:lnTo>
                    <a:pt x="2047785" y="2011589"/>
                  </a:lnTo>
                  <a:lnTo>
                    <a:pt x="2045031" y="2011982"/>
                  </a:lnTo>
                  <a:lnTo>
                    <a:pt x="2042277" y="2012376"/>
                  </a:lnTo>
                  <a:lnTo>
                    <a:pt x="2041883" y="2012376"/>
                  </a:lnTo>
                  <a:lnTo>
                    <a:pt x="2039129" y="2012769"/>
                  </a:lnTo>
                  <a:lnTo>
                    <a:pt x="2035982" y="2013163"/>
                  </a:lnTo>
                  <a:lnTo>
                    <a:pt x="2032835" y="2013949"/>
                  </a:lnTo>
                  <a:lnTo>
                    <a:pt x="2030867" y="2013949"/>
                  </a:lnTo>
                  <a:lnTo>
                    <a:pt x="2028113" y="2014736"/>
                  </a:lnTo>
                  <a:lnTo>
                    <a:pt x="2027720" y="2014343"/>
                  </a:lnTo>
                  <a:lnTo>
                    <a:pt x="2027326" y="2014343"/>
                  </a:lnTo>
                  <a:lnTo>
                    <a:pt x="2016704" y="2010015"/>
                  </a:lnTo>
                  <a:lnTo>
                    <a:pt x="2016704" y="2009622"/>
                  </a:lnTo>
                  <a:lnTo>
                    <a:pt x="2015524" y="2006868"/>
                  </a:lnTo>
                  <a:lnTo>
                    <a:pt x="2015130" y="2001360"/>
                  </a:lnTo>
                  <a:lnTo>
                    <a:pt x="2015917" y="1999393"/>
                  </a:lnTo>
                  <a:lnTo>
                    <a:pt x="2015524" y="1996639"/>
                  </a:lnTo>
                  <a:lnTo>
                    <a:pt x="2014737" y="1993885"/>
                  </a:lnTo>
                  <a:lnTo>
                    <a:pt x="2014343" y="1993098"/>
                  </a:lnTo>
                  <a:lnTo>
                    <a:pt x="2012770" y="1989950"/>
                  </a:lnTo>
                  <a:lnTo>
                    <a:pt x="2010016" y="1987196"/>
                  </a:lnTo>
                  <a:lnTo>
                    <a:pt x="2006868" y="1984836"/>
                  </a:lnTo>
                  <a:lnTo>
                    <a:pt x="2004508" y="1984049"/>
                  </a:lnTo>
                  <a:lnTo>
                    <a:pt x="2001360" y="1980902"/>
                  </a:lnTo>
                  <a:lnTo>
                    <a:pt x="1997426" y="1980902"/>
                  </a:lnTo>
                  <a:lnTo>
                    <a:pt x="1971460" y="1958083"/>
                  </a:lnTo>
                  <a:lnTo>
                    <a:pt x="1971460" y="1957689"/>
                  </a:lnTo>
                  <a:lnTo>
                    <a:pt x="1968706" y="1955329"/>
                  </a:lnTo>
                  <a:lnTo>
                    <a:pt x="1967919" y="1955329"/>
                  </a:lnTo>
                  <a:lnTo>
                    <a:pt x="1965952" y="1956509"/>
                  </a:lnTo>
                  <a:lnTo>
                    <a:pt x="1962018" y="1958476"/>
                  </a:lnTo>
                  <a:lnTo>
                    <a:pt x="1961231" y="1961230"/>
                  </a:lnTo>
                  <a:lnTo>
                    <a:pt x="1959657" y="1964378"/>
                  </a:lnTo>
                  <a:lnTo>
                    <a:pt x="1959264" y="1967132"/>
                  </a:lnTo>
                  <a:lnTo>
                    <a:pt x="1960838" y="1969886"/>
                  </a:lnTo>
                  <a:lnTo>
                    <a:pt x="1961231" y="1970673"/>
                  </a:lnTo>
                  <a:lnTo>
                    <a:pt x="1960838" y="1972246"/>
                  </a:lnTo>
                  <a:lnTo>
                    <a:pt x="1960444" y="1975394"/>
                  </a:lnTo>
                  <a:lnTo>
                    <a:pt x="1961624" y="1975394"/>
                  </a:lnTo>
                  <a:lnTo>
                    <a:pt x="1962411" y="1975000"/>
                  </a:lnTo>
                  <a:lnTo>
                    <a:pt x="1964378" y="1974213"/>
                  </a:lnTo>
                  <a:lnTo>
                    <a:pt x="1966739" y="1973426"/>
                  </a:lnTo>
                  <a:lnTo>
                    <a:pt x="1968706" y="1980115"/>
                  </a:lnTo>
                  <a:lnTo>
                    <a:pt x="1967526" y="1979721"/>
                  </a:lnTo>
                  <a:lnTo>
                    <a:pt x="1966345" y="1978541"/>
                  </a:lnTo>
                  <a:lnTo>
                    <a:pt x="1962411" y="1976574"/>
                  </a:lnTo>
                  <a:lnTo>
                    <a:pt x="1961624" y="1980115"/>
                  </a:lnTo>
                  <a:lnTo>
                    <a:pt x="1961624" y="1980115"/>
                  </a:lnTo>
                  <a:lnTo>
                    <a:pt x="1961231" y="1982869"/>
                  </a:lnTo>
                  <a:lnTo>
                    <a:pt x="1956510" y="1984836"/>
                  </a:lnTo>
                  <a:lnTo>
                    <a:pt x="1956116" y="1984836"/>
                  </a:lnTo>
                  <a:lnTo>
                    <a:pt x="1955723" y="1984836"/>
                  </a:lnTo>
                  <a:lnTo>
                    <a:pt x="1948641" y="1987590"/>
                  </a:lnTo>
                  <a:lnTo>
                    <a:pt x="1947461" y="1987590"/>
                  </a:lnTo>
                  <a:lnTo>
                    <a:pt x="1944314" y="1987590"/>
                  </a:lnTo>
                  <a:lnTo>
                    <a:pt x="1941560" y="1988377"/>
                  </a:lnTo>
                  <a:lnTo>
                    <a:pt x="1938412" y="1989557"/>
                  </a:lnTo>
                  <a:lnTo>
                    <a:pt x="1935658" y="1991524"/>
                  </a:lnTo>
                  <a:lnTo>
                    <a:pt x="1932904" y="1993098"/>
                  </a:lnTo>
                  <a:lnTo>
                    <a:pt x="1927396" y="1995852"/>
                  </a:lnTo>
                  <a:lnTo>
                    <a:pt x="1925823" y="1996245"/>
                  </a:lnTo>
                  <a:lnTo>
                    <a:pt x="1923068" y="1998999"/>
                  </a:lnTo>
                  <a:lnTo>
                    <a:pt x="1922282" y="1999393"/>
                  </a:lnTo>
                  <a:lnTo>
                    <a:pt x="1922282" y="1999393"/>
                  </a:lnTo>
                  <a:lnTo>
                    <a:pt x="1917954" y="2002540"/>
                  </a:lnTo>
                  <a:lnTo>
                    <a:pt x="1918347" y="2003327"/>
                  </a:lnTo>
                  <a:lnTo>
                    <a:pt x="1918741" y="2003327"/>
                  </a:lnTo>
                  <a:lnTo>
                    <a:pt x="1918347" y="2010015"/>
                  </a:lnTo>
                  <a:lnTo>
                    <a:pt x="1920314" y="2014736"/>
                  </a:lnTo>
                  <a:lnTo>
                    <a:pt x="1920314" y="2016310"/>
                  </a:lnTo>
                  <a:lnTo>
                    <a:pt x="1921888" y="2019064"/>
                  </a:lnTo>
                  <a:lnTo>
                    <a:pt x="1922675" y="2020638"/>
                  </a:lnTo>
                  <a:lnTo>
                    <a:pt x="1923855" y="2022998"/>
                  </a:lnTo>
                  <a:lnTo>
                    <a:pt x="1924249" y="2023392"/>
                  </a:lnTo>
                  <a:lnTo>
                    <a:pt x="1924642" y="2023785"/>
                  </a:lnTo>
                  <a:lnTo>
                    <a:pt x="1927003" y="2030473"/>
                  </a:lnTo>
                  <a:lnTo>
                    <a:pt x="1930544" y="2034407"/>
                  </a:lnTo>
                  <a:lnTo>
                    <a:pt x="1930937" y="2035194"/>
                  </a:lnTo>
                  <a:lnTo>
                    <a:pt x="1930937" y="2037948"/>
                  </a:lnTo>
                  <a:lnTo>
                    <a:pt x="1930937" y="2043850"/>
                  </a:lnTo>
                  <a:lnTo>
                    <a:pt x="1930150" y="2046210"/>
                  </a:lnTo>
                  <a:lnTo>
                    <a:pt x="1930544" y="2048964"/>
                  </a:lnTo>
                  <a:lnTo>
                    <a:pt x="1930544" y="2049751"/>
                  </a:lnTo>
                  <a:lnTo>
                    <a:pt x="1930937" y="2052505"/>
                  </a:lnTo>
                  <a:lnTo>
                    <a:pt x="1926216" y="2057620"/>
                  </a:lnTo>
                  <a:lnTo>
                    <a:pt x="1925823" y="2058800"/>
                  </a:lnTo>
                  <a:lnTo>
                    <a:pt x="1923855" y="2060374"/>
                  </a:lnTo>
                  <a:lnTo>
                    <a:pt x="1914413" y="2063128"/>
                  </a:lnTo>
                  <a:lnTo>
                    <a:pt x="1909692" y="2056833"/>
                  </a:lnTo>
                  <a:lnTo>
                    <a:pt x="1910872" y="2054472"/>
                  </a:lnTo>
                  <a:lnTo>
                    <a:pt x="1911266" y="2051718"/>
                  </a:lnTo>
                  <a:lnTo>
                    <a:pt x="1909299" y="2050931"/>
                  </a:lnTo>
                  <a:lnTo>
                    <a:pt x="1903397" y="2041489"/>
                  </a:lnTo>
                  <a:lnTo>
                    <a:pt x="1904184" y="2030080"/>
                  </a:lnTo>
                  <a:lnTo>
                    <a:pt x="1908905" y="2023785"/>
                  </a:lnTo>
                  <a:lnTo>
                    <a:pt x="1909299" y="2023392"/>
                  </a:lnTo>
                  <a:lnTo>
                    <a:pt x="1916380" y="2014736"/>
                  </a:lnTo>
                  <a:lnTo>
                    <a:pt x="1916774" y="2013163"/>
                  </a:lnTo>
                  <a:lnTo>
                    <a:pt x="1917561" y="2010409"/>
                  </a:lnTo>
                  <a:lnTo>
                    <a:pt x="1917561" y="2010015"/>
                  </a:lnTo>
                  <a:lnTo>
                    <a:pt x="1918347" y="2007261"/>
                  </a:lnTo>
                  <a:lnTo>
                    <a:pt x="1917167" y="2004114"/>
                  </a:lnTo>
                  <a:lnTo>
                    <a:pt x="1916774" y="2004114"/>
                  </a:lnTo>
                  <a:lnTo>
                    <a:pt x="1916380" y="2003720"/>
                  </a:lnTo>
                  <a:lnTo>
                    <a:pt x="1915200" y="2001360"/>
                  </a:lnTo>
                  <a:lnTo>
                    <a:pt x="1914807" y="1998606"/>
                  </a:lnTo>
                  <a:lnTo>
                    <a:pt x="1913626" y="1995458"/>
                  </a:lnTo>
                  <a:lnTo>
                    <a:pt x="1914020" y="1995065"/>
                  </a:lnTo>
                  <a:lnTo>
                    <a:pt x="1916774" y="1994672"/>
                  </a:lnTo>
                  <a:lnTo>
                    <a:pt x="1914807" y="1993491"/>
                  </a:lnTo>
                  <a:lnTo>
                    <a:pt x="1928577" y="1967132"/>
                  </a:lnTo>
                  <a:lnTo>
                    <a:pt x="1929757" y="1965165"/>
                  </a:lnTo>
                  <a:lnTo>
                    <a:pt x="1932511" y="1963197"/>
                  </a:lnTo>
                  <a:lnTo>
                    <a:pt x="1935265" y="1960443"/>
                  </a:lnTo>
                  <a:lnTo>
                    <a:pt x="1934871" y="1957689"/>
                  </a:lnTo>
                  <a:lnTo>
                    <a:pt x="1933691" y="1954542"/>
                  </a:lnTo>
                  <a:lnTo>
                    <a:pt x="1932511" y="1951788"/>
                  </a:lnTo>
                  <a:lnTo>
                    <a:pt x="1930937" y="1950214"/>
                  </a:lnTo>
                  <a:lnTo>
                    <a:pt x="1928183" y="1949034"/>
                  </a:lnTo>
                  <a:lnTo>
                    <a:pt x="1925429" y="1947460"/>
                  </a:lnTo>
                  <a:lnTo>
                    <a:pt x="1922675" y="1946280"/>
                  </a:lnTo>
                  <a:lnTo>
                    <a:pt x="1919528" y="1947854"/>
                  </a:lnTo>
                  <a:lnTo>
                    <a:pt x="1916774" y="1949821"/>
                  </a:lnTo>
                  <a:lnTo>
                    <a:pt x="1914020" y="1949427"/>
                  </a:lnTo>
                  <a:lnTo>
                    <a:pt x="1910872" y="1952182"/>
                  </a:lnTo>
                  <a:lnTo>
                    <a:pt x="1911659" y="1953362"/>
                  </a:lnTo>
                  <a:lnTo>
                    <a:pt x="1910872" y="1953362"/>
                  </a:lnTo>
                  <a:lnTo>
                    <a:pt x="1910479" y="1952575"/>
                  </a:lnTo>
                  <a:lnTo>
                    <a:pt x="1907725" y="1953362"/>
                  </a:lnTo>
                  <a:lnTo>
                    <a:pt x="1904577" y="1954149"/>
                  </a:lnTo>
                  <a:lnTo>
                    <a:pt x="1905364" y="1956903"/>
                  </a:lnTo>
                  <a:lnTo>
                    <a:pt x="1902217" y="1959263"/>
                  </a:lnTo>
                  <a:lnTo>
                    <a:pt x="1886480" y="1972246"/>
                  </a:lnTo>
                  <a:lnTo>
                    <a:pt x="1884119" y="1972640"/>
                  </a:lnTo>
                  <a:lnTo>
                    <a:pt x="1883726" y="1972640"/>
                  </a:lnTo>
                  <a:lnTo>
                    <a:pt x="1880972" y="1975000"/>
                  </a:lnTo>
                  <a:lnTo>
                    <a:pt x="1878611" y="1977361"/>
                  </a:lnTo>
                  <a:lnTo>
                    <a:pt x="1858940" y="1987590"/>
                  </a:lnTo>
                  <a:lnTo>
                    <a:pt x="1853039" y="1987590"/>
                  </a:lnTo>
                  <a:lnTo>
                    <a:pt x="1850285" y="1987196"/>
                  </a:lnTo>
                  <a:lnTo>
                    <a:pt x="1847531" y="1986016"/>
                  </a:lnTo>
                  <a:lnTo>
                    <a:pt x="1844383" y="1984443"/>
                  </a:lnTo>
                  <a:lnTo>
                    <a:pt x="1841629" y="1985229"/>
                  </a:lnTo>
                  <a:lnTo>
                    <a:pt x="1838875" y="1987590"/>
                  </a:lnTo>
                  <a:lnTo>
                    <a:pt x="1838482" y="1990344"/>
                  </a:lnTo>
                  <a:lnTo>
                    <a:pt x="1838482" y="1993098"/>
                  </a:lnTo>
                  <a:lnTo>
                    <a:pt x="1836908" y="1996245"/>
                  </a:lnTo>
                  <a:lnTo>
                    <a:pt x="1836515" y="1996639"/>
                  </a:lnTo>
                  <a:lnTo>
                    <a:pt x="1835728" y="1998999"/>
                  </a:lnTo>
                  <a:lnTo>
                    <a:pt x="1834941" y="1999786"/>
                  </a:lnTo>
                  <a:lnTo>
                    <a:pt x="1834548" y="2000180"/>
                  </a:lnTo>
                  <a:lnTo>
                    <a:pt x="1830613" y="2004900"/>
                  </a:lnTo>
                  <a:lnTo>
                    <a:pt x="1829433" y="1997032"/>
                  </a:lnTo>
                  <a:lnTo>
                    <a:pt x="1832974" y="1997032"/>
                  </a:lnTo>
                  <a:lnTo>
                    <a:pt x="1835728" y="1996245"/>
                  </a:lnTo>
                  <a:lnTo>
                    <a:pt x="1835728" y="1995852"/>
                  </a:lnTo>
                  <a:lnTo>
                    <a:pt x="1819204" y="1991917"/>
                  </a:lnTo>
                  <a:lnTo>
                    <a:pt x="1816843" y="1993885"/>
                  </a:lnTo>
                  <a:lnTo>
                    <a:pt x="1816450" y="1994278"/>
                  </a:lnTo>
                  <a:lnTo>
                    <a:pt x="1807008" y="2002933"/>
                  </a:lnTo>
                  <a:lnTo>
                    <a:pt x="1806614" y="2004507"/>
                  </a:lnTo>
                  <a:lnTo>
                    <a:pt x="1806614" y="2006081"/>
                  </a:lnTo>
                  <a:lnTo>
                    <a:pt x="1804254" y="2006474"/>
                  </a:lnTo>
                  <a:lnTo>
                    <a:pt x="1801500" y="2008441"/>
                  </a:lnTo>
                  <a:lnTo>
                    <a:pt x="1798746" y="2011195"/>
                  </a:lnTo>
                  <a:lnTo>
                    <a:pt x="1798746" y="2013949"/>
                  </a:lnTo>
                  <a:lnTo>
                    <a:pt x="1798352" y="2016703"/>
                  </a:lnTo>
                  <a:lnTo>
                    <a:pt x="1797566" y="2019851"/>
                  </a:lnTo>
                  <a:lnTo>
                    <a:pt x="1795598" y="2021031"/>
                  </a:lnTo>
                  <a:lnTo>
                    <a:pt x="1794418" y="2023785"/>
                  </a:lnTo>
                  <a:lnTo>
                    <a:pt x="1796385" y="2024178"/>
                  </a:lnTo>
                  <a:lnTo>
                    <a:pt x="1795598" y="2026933"/>
                  </a:lnTo>
                  <a:lnTo>
                    <a:pt x="1795205" y="2030080"/>
                  </a:lnTo>
                  <a:lnTo>
                    <a:pt x="1794812" y="2032047"/>
                  </a:lnTo>
                  <a:lnTo>
                    <a:pt x="1793631" y="2034407"/>
                  </a:lnTo>
                  <a:lnTo>
                    <a:pt x="1792058" y="2037948"/>
                  </a:lnTo>
                  <a:lnTo>
                    <a:pt x="1790484" y="2040702"/>
                  </a:lnTo>
                  <a:lnTo>
                    <a:pt x="1791664" y="2041489"/>
                  </a:lnTo>
                  <a:lnTo>
                    <a:pt x="1789303" y="2050145"/>
                  </a:lnTo>
                  <a:lnTo>
                    <a:pt x="1786549" y="2049751"/>
                  </a:lnTo>
                  <a:lnTo>
                    <a:pt x="1783796" y="2050145"/>
                  </a:lnTo>
                  <a:lnTo>
                    <a:pt x="1780648" y="2052505"/>
                  </a:lnTo>
                  <a:lnTo>
                    <a:pt x="1777894" y="2055259"/>
                  </a:lnTo>
                  <a:lnTo>
                    <a:pt x="1775534" y="2058013"/>
                  </a:lnTo>
                  <a:lnTo>
                    <a:pt x="1774747" y="2059980"/>
                  </a:lnTo>
                  <a:lnTo>
                    <a:pt x="1767665" y="2067455"/>
                  </a:lnTo>
                  <a:lnTo>
                    <a:pt x="1766878" y="2069423"/>
                  </a:lnTo>
                  <a:lnTo>
                    <a:pt x="1764124" y="2071783"/>
                  </a:lnTo>
                  <a:lnTo>
                    <a:pt x="1761370" y="2072963"/>
                  </a:lnTo>
                  <a:lnTo>
                    <a:pt x="1758616" y="2075717"/>
                  </a:lnTo>
                  <a:lnTo>
                    <a:pt x="1755862" y="2076504"/>
                  </a:lnTo>
                  <a:lnTo>
                    <a:pt x="1753108" y="2078078"/>
                  </a:lnTo>
                  <a:lnTo>
                    <a:pt x="1754289" y="2080832"/>
                  </a:lnTo>
                  <a:lnTo>
                    <a:pt x="1755862" y="2083586"/>
                  </a:lnTo>
                  <a:lnTo>
                    <a:pt x="1756649" y="2086340"/>
                  </a:lnTo>
                  <a:lnTo>
                    <a:pt x="1756256" y="2089094"/>
                  </a:lnTo>
                  <a:lnTo>
                    <a:pt x="1756649" y="2091848"/>
                  </a:lnTo>
                  <a:lnTo>
                    <a:pt x="1757042" y="2094602"/>
                  </a:lnTo>
                  <a:lnTo>
                    <a:pt x="1754289" y="2093028"/>
                  </a:lnTo>
                  <a:lnTo>
                    <a:pt x="1749961" y="2089094"/>
                  </a:lnTo>
                  <a:lnTo>
                    <a:pt x="1746420" y="2085160"/>
                  </a:lnTo>
                  <a:lnTo>
                    <a:pt x="1744846" y="2082799"/>
                  </a:lnTo>
                  <a:lnTo>
                    <a:pt x="1742092" y="2080438"/>
                  </a:lnTo>
                  <a:lnTo>
                    <a:pt x="1741699" y="2079651"/>
                  </a:lnTo>
                  <a:lnTo>
                    <a:pt x="1741305" y="2077291"/>
                  </a:lnTo>
                  <a:lnTo>
                    <a:pt x="1739732" y="2074537"/>
                  </a:lnTo>
                  <a:lnTo>
                    <a:pt x="1720847" y="2055653"/>
                  </a:lnTo>
                  <a:lnTo>
                    <a:pt x="1711012" y="2051718"/>
                  </a:lnTo>
                  <a:lnTo>
                    <a:pt x="1710225" y="2051325"/>
                  </a:lnTo>
                  <a:lnTo>
                    <a:pt x="1707471" y="2049358"/>
                  </a:lnTo>
                  <a:lnTo>
                    <a:pt x="1704717" y="2048964"/>
                  </a:lnTo>
                  <a:lnTo>
                    <a:pt x="1692127" y="2045424"/>
                  </a:lnTo>
                  <a:lnTo>
                    <a:pt x="1692914" y="2044637"/>
                  </a:lnTo>
                  <a:lnTo>
                    <a:pt x="1690160" y="2045030"/>
                  </a:lnTo>
                  <a:lnTo>
                    <a:pt x="1683472" y="2044637"/>
                  </a:lnTo>
                  <a:lnTo>
                    <a:pt x="1681111" y="2044243"/>
                  </a:lnTo>
                  <a:lnTo>
                    <a:pt x="1678357" y="2043850"/>
                  </a:lnTo>
                  <a:lnTo>
                    <a:pt x="1675603" y="2043063"/>
                  </a:lnTo>
                  <a:lnTo>
                    <a:pt x="1672849" y="2045424"/>
                  </a:lnTo>
                  <a:lnTo>
                    <a:pt x="1670489" y="2048177"/>
                  </a:lnTo>
                  <a:lnTo>
                    <a:pt x="1667735" y="2050538"/>
                  </a:lnTo>
                  <a:lnTo>
                    <a:pt x="1667341" y="2050538"/>
                  </a:lnTo>
                  <a:lnTo>
                    <a:pt x="1665768" y="2051718"/>
                  </a:lnTo>
                  <a:lnTo>
                    <a:pt x="1665768" y="2051325"/>
                  </a:lnTo>
                  <a:lnTo>
                    <a:pt x="1665374" y="2050931"/>
                  </a:lnTo>
                  <a:lnTo>
                    <a:pt x="1664981" y="2051325"/>
                  </a:lnTo>
                  <a:lnTo>
                    <a:pt x="1664587" y="2052505"/>
                  </a:lnTo>
                  <a:lnTo>
                    <a:pt x="1661833" y="2052505"/>
                  </a:lnTo>
                  <a:lnTo>
                    <a:pt x="1656325" y="2056833"/>
                  </a:lnTo>
                  <a:lnTo>
                    <a:pt x="1655932" y="2056833"/>
                  </a:lnTo>
                  <a:lnTo>
                    <a:pt x="1654752" y="2057226"/>
                  </a:lnTo>
                  <a:lnTo>
                    <a:pt x="1652391" y="2058013"/>
                  </a:lnTo>
                  <a:lnTo>
                    <a:pt x="1650424" y="2058407"/>
                  </a:lnTo>
                  <a:lnTo>
                    <a:pt x="1647277" y="2059194"/>
                  </a:lnTo>
                  <a:lnTo>
                    <a:pt x="1644523" y="2060767"/>
                  </a:lnTo>
                  <a:lnTo>
                    <a:pt x="1644129" y="2061161"/>
                  </a:lnTo>
                  <a:lnTo>
                    <a:pt x="1641375" y="2062734"/>
                  </a:lnTo>
                  <a:lnTo>
                    <a:pt x="1638228" y="2065095"/>
                  </a:lnTo>
                  <a:lnTo>
                    <a:pt x="1635474" y="2067455"/>
                  </a:lnTo>
                  <a:lnTo>
                    <a:pt x="1633507" y="2067849"/>
                  </a:lnTo>
                  <a:lnTo>
                    <a:pt x="1633507" y="2067849"/>
                  </a:lnTo>
                  <a:lnTo>
                    <a:pt x="1625245" y="2070209"/>
                  </a:lnTo>
                  <a:lnTo>
                    <a:pt x="1614622" y="2068636"/>
                  </a:lnTo>
                  <a:lnTo>
                    <a:pt x="1613048" y="2065882"/>
                  </a:lnTo>
                  <a:lnTo>
                    <a:pt x="1611081" y="2063128"/>
                  </a:lnTo>
                  <a:lnTo>
                    <a:pt x="1608327" y="2060767"/>
                  </a:lnTo>
                  <a:lnTo>
                    <a:pt x="1607934" y="2058800"/>
                  </a:lnTo>
                  <a:lnTo>
                    <a:pt x="1605180" y="2059194"/>
                  </a:lnTo>
                  <a:lnTo>
                    <a:pt x="1607147" y="2061947"/>
                  </a:lnTo>
                  <a:lnTo>
                    <a:pt x="1603213" y="2065095"/>
                  </a:lnTo>
                  <a:lnTo>
                    <a:pt x="1602819" y="2065095"/>
                  </a:lnTo>
                  <a:lnTo>
                    <a:pt x="1600065" y="2065488"/>
                  </a:lnTo>
                  <a:lnTo>
                    <a:pt x="1596918" y="2063128"/>
                  </a:lnTo>
                  <a:lnTo>
                    <a:pt x="1594951" y="2058013"/>
                  </a:lnTo>
                  <a:lnTo>
                    <a:pt x="1594951" y="2056833"/>
                  </a:lnTo>
                  <a:lnTo>
                    <a:pt x="1594164" y="2056439"/>
                  </a:lnTo>
                  <a:lnTo>
                    <a:pt x="1592590" y="2052505"/>
                  </a:lnTo>
                  <a:lnTo>
                    <a:pt x="1592590" y="2050145"/>
                  </a:lnTo>
                  <a:lnTo>
                    <a:pt x="1590230" y="2047391"/>
                  </a:lnTo>
                  <a:lnTo>
                    <a:pt x="1589836" y="2046604"/>
                  </a:lnTo>
                  <a:lnTo>
                    <a:pt x="1587082" y="2043850"/>
                  </a:lnTo>
                  <a:lnTo>
                    <a:pt x="1577640" y="2035981"/>
                  </a:lnTo>
                  <a:lnTo>
                    <a:pt x="1574099" y="2029293"/>
                  </a:lnTo>
                  <a:lnTo>
                    <a:pt x="1572919" y="2029293"/>
                  </a:lnTo>
                  <a:lnTo>
                    <a:pt x="1572132" y="2029293"/>
                  </a:lnTo>
                  <a:lnTo>
                    <a:pt x="1569378" y="2025359"/>
                  </a:lnTo>
                  <a:lnTo>
                    <a:pt x="1569378" y="2024965"/>
                  </a:lnTo>
                  <a:lnTo>
                    <a:pt x="1567804" y="2022211"/>
                  </a:lnTo>
                  <a:lnTo>
                    <a:pt x="1565837" y="2019457"/>
                  </a:lnTo>
                  <a:lnTo>
                    <a:pt x="1561510" y="2010409"/>
                  </a:lnTo>
                  <a:lnTo>
                    <a:pt x="1561116" y="2009622"/>
                  </a:lnTo>
                  <a:lnTo>
                    <a:pt x="1560723" y="2007655"/>
                  </a:lnTo>
                  <a:lnTo>
                    <a:pt x="1557969" y="2004900"/>
                  </a:lnTo>
                  <a:lnTo>
                    <a:pt x="1559149" y="2003720"/>
                  </a:lnTo>
                  <a:lnTo>
                    <a:pt x="1559543" y="2000966"/>
                  </a:lnTo>
                  <a:lnTo>
                    <a:pt x="1558362" y="1998212"/>
                  </a:lnTo>
                  <a:lnTo>
                    <a:pt x="1556002" y="1997426"/>
                  </a:lnTo>
                  <a:lnTo>
                    <a:pt x="1556002" y="1997032"/>
                  </a:lnTo>
                  <a:lnTo>
                    <a:pt x="1554428" y="1994278"/>
                  </a:lnTo>
                  <a:lnTo>
                    <a:pt x="1556395" y="1978148"/>
                  </a:lnTo>
                  <a:lnTo>
                    <a:pt x="1559936" y="1973033"/>
                  </a:lnTo>
                  <a:lnTo>
                    <a:pt x="1559543" y="1967525"/>
                  </a:lnTo>
                  <a:lnTo>
                    <a:pt x="1557969" y="1967525"/>
                  </a:lnTo>
                  <a:lnTo>
                    <a:pt x="1559149" y="1959263"/>
                  </a:lnTo>
                  <a:lnTo>
                    <a:pt x="1559543" y="1958083"/>
                  </a:lnTo>
                  <a:lnTo>
                    <a:pt x="1559543" y="1959263"/>
                  </a:lnTo>
                  <a:lnTo>
                    <a:pt x="1560723" y="1962017"/>
                  </a:lnTo>
                  <a:lnTo>
                    <a:pt x="1560723" y="1959263"/>
                  </a:lnTo>
                  <a:lnTo>
                    <a:pt x="1561116" y="1956509"/>
                  </a:lnTo>
                  <a:lnTo>
                    <a:pt x="1561510" y="1953755"/>
                  </a:lnTo>
                  <a:lnTo>
                    <a:pt x="1562296" y="1951001"/>
                  </a:lnTo>
                  <a:lnTo>
                    <a:pt x="1563083" y="1941952"/>
                  </a:lnTo>
                  <a:lnTo>
                    <a:pt x="1564657" y="1940772"/>
                  </a:lnTo>
                  <a:lnTo>
                    <a:pt x="1565050" y="1942346"/>
                  </a:lnTo>
                  <a:lnTo>
                    <a:pt x="1563477" y="1943133"/>
                  </a:lnTo>
                  <a:lnTo>
                    <a:pt x="1563870" y="1945887"/>
                  </a:lnTo>
                  <a:lnTo>
                    <a:pt x="1563870" y="1948641"/>
                  </a:lnTo>
                  <a:lnTo>
                    <a:pt x="1564657" y="1948247"/>
                  </a:lnTo>
                  <a:lnTo>
                    <a:pt x="1567804" y="1947854"/>
                  </a:lnTo>
                  <a:lnTo>
                    <a:pt x="1567411" y="1945100"/>
                  </a:lnTo>
                  <a:lnTo>
                    <a:pt x="1566624" y="1942346"/>
                  </a:lnTo>
                  <a:lnTo>
                    <a:pt x="1566624" y="1939592"/>
                  </a:lnTo>
                  <a:lnTo>
                    <a:pt x="1567411" y="1935264"/>
                  </a:lnTo>
                  <a:lnTo>
                    <a:pt x="1568591" y="1930936"/>
                  </a:lnTo>
                  <a:lnTo>
                    <a:pt x="1568591" y="1914019"/>
                  </a:lnTo>
                  <a:lnTo>
                    <a:pt x="1570165" y="1908511"/>
                  </a:lnTo>
                  <a:lnTo>
                    <a:pt x="1578820" y="1888446"/>
                  </a:lnTo>
                  <a:lnTo>
                    <a:pt x="1579214" y="1888053"/>
                  </a:lnTo>
                  <a:lnTo>
                    <a:pt x="1581181" y="1885299"/>
                  </a:lnTo>
                  <a:lnTo>
                    <a:pt x="1582361" y="1882152"/>
                  </a:lnTo>
                  <a:lnTo>
                    <a:pt x="1581968" y="1879398"/>
                  </a:lnTo>
                  <a:lnTo>
                    <a:pt x="1581968" y="1877824"/>
                  </a:lnTo>
                  <a:lnTo>
                    <a:pt x="1580394" y="1871136"/>
                  </a:lnTo>
                  <a:lnTo>
                    <a:pt x="1579214" y="1868382"/>
                  </a:lnTo>
                  <a:lnTo>
                    <a:pt x="1585902" y="1859726"/>
                  </a:lnTo>
                  <a:lnTo>
                    <a:pt x="1580787" y="1855398"/>
                  </a:lnTo>
                  <a:lnTo>
                    <a:pt x="1580394" y="1854218"/>
                  </a:lnTo>
                  <a:lnTo>
                    <a:pt x="1579607" y="1851464"/>
                  </a:lnTo>
                  <a:lnTo>
                    <a:pt x="1576853" y="1849497"/>
                  </a:lnTo>
                  <a:lnTo>
                    <a:pt x="1574099" y="1848317"/>
                  </a:lnTo>
                  <a:lnTo>
                    <a:pt x="1571345" y="1847530"/>
                  </a:lnTo>
                  <a:lnTo>
                    <a:pt x="1574099" y="1849104"/>
                  </a:lnTo>
                  <a:lnTo>
                    <a:pt x="1574099" y="1850284"/>
                  </a:lnTo>
                  <a:lnTo>
                    <a:pt x="1574099" y="1849891"/>
                  </a:lnTo>
                  <a:lnTo>
                    <a:pt x="1570952" y="1851071"/>
                  </a:lnTo>
                  <a:lnTo>
                    <a:pt x="1569772" y="1851071"/>
                  </a:lnTo>
                  <a:lnTo>
                    <a:pt x="1563083" y="1845563"/>
                  </a:lnTo>
                  <a:lnTo>
                    <a:pt x="1561510" y="1846743"/>
                  </a:lnTo>
                  <a:lnTo>
                    <a:pt x="1559149" y="1842415"/>
                  </a:lnTo>
                  <a:lnTo>
                    <a:pt x="1569378" y="1846350"/>
                  </a:lnTo>
                  <a:lnTo>
                    <a:pt x="1568985" y="1845170"/>
                  </a:lnTo>
                  <a:lnTo>
                    <a:pt x="1567411" y="1844383"/>
                  </a:lnTo>
                  <a:lnTo>
                    <a:pt x="1558756" y="1835334"/>
                  </a:lnTo>
                  <a:lnTo>
                    <a:pt x="1555608" y="1831793"/>
                  </a:lnTo>
                  <a:lnTo>
                    <a:pt x="1554035" y="1831006"/>
                  </a:lnTo>
                  <a:lnTo>
                    <a:pt x="1550887" y="1831006"/>
                  </a:lnTo>
                  <a:lnTo>
                    <a:pt x="1548133" y="1832580"/>
                  </a:lnTo>
                  <a:lnTo>
                    <a:pt x="1544199" y="1830219"/>
                  </a:lnTo>
                  <a:lnTo>
                    <a:pt x="1544199" y="1829432"/>
                  </a:lnTo>
                  <a:lnTo>
                    <a:pt x="1541445" y="1828252"/>
                  </a:lnTo>
                  <a:lnTo>
                    <a:pt x="1538691" y="1827072"/>
                  </a:lnTo>
                  <a:lnTo>
                    <a:pt x="1537117" y="1826285"/>
                  </a:lnTo>
                  <a:lnTo>
                    <a:pt x="1534363" y="1825498"/>
                  </a:lnTo>
                  <a:lnTo>
                    <a:pt x="1533970" y="1825498"/>
                  </a:lnTo>
                  <a:lnTo>
                    <a:pt x="1513905" y="1827072"/>
                  </a:lnTo>
                  <a:lnTo>
                    <a:pt x="1512725" y="1826285"/>
                  </a:lnTo>
                  <a:lnTo>
                    <a:pt x="1509971" y="1825105"/>
                  </a:lnTo>
                  <a:lnTo>
                    <a:pt x="1507217" y="1824711"/>
                  </a:lnTo>
                  <a:lnTo>
                    <a:pt x="1504463" y="1824711"/>
                  </a:lnTo>
                  <a:lnTo>
                    <a:pt x="1507217" y="1826285"/>
                  </a:lnTo>
                  <a:lnTo>
                    <a:pt x="1501709" y="1829039"/>
                  </a:lnTo>
                  <a:lnTo>
                    <a:pt x="1501315" y="1829039"/>
                  </a:lnTo>
                  <a:lnTo>
                    <a:pt x="1498168" y="1829432"/>
                  </a:lnTo>
                  <a:lnTo>
                    <a:pt x="1495807" y="1831793"/>
                  </a:lnTo>
                  <a:lnTo>
                    <a:pt x="1492660" y="1833367"/>
                  </a:lnTo>
                  <a:lnTo>
                    <a:pt x="1492267" y="1833760"/>
                  </a:lnTo>
                  <a:lnTo>
                    <a:pt x="1491480" y="1833367"/>
                  </a:lnTo>
                  <a:lnTo>
                    <a:pt x="1489906" y="1832186"/>
                  </a:lnTo>
                  <a:lnTo>
                    <a:pt x="1487152" y="1832580"/>
                  </a:lnTo>
                  <a:lnTo>
                    <a:pt x="1484398" y="1832580"/>
                  </a:lnTo>
                  <a:lnTo>
                    <a:pt x="1481644" y="1832186"/>
                  </a:lnTo>
                  <a:lnTo>
                    <a:pt x="1481251" y="1832186"/>
                  </a:lnTo>
                  <a:lnTo>
                    <a:pt x="1467087" y="1831400"/>
                  </a:lnTo>
                  <a:lnTo>
                    <a:pt x="1465120" y="1831006"/>
                  </a:lnTo>
                  <a:lnTo>
                    <a:pt x="1462366" y="1831793"/>
                  </a:lnTo>
                  <a:lnTo>
                    <a:pt x="1459219" y="1832186"/>
                  </a:lnTo>
                  <a:lnTo>
                    <a:pt x="1456465" y="1829432"/>
                  </a:lnTo>
                  <a:lnTo>
                    <a:pt x="1453711" y="1828252"/>
                  </a:lnTo>
                  <a:lnTo>
                    <a:pt x="1452137" y="1829039"/>
                  </a:lnTo>
                  <a:lnTo>
                    <a:pt x="1449383" y="1829432"/>
                  </a:lnTo>
                  <a:lnTo>
                    <a:pt x="1447809" y="1831006"/>
                  </a:lnTo>
                  <a:lnTo>
                    <a:pt x="1438367" y="1834941"/>
                  </a:lnTo>
                  <a:lnTo>
                    <a:pt x="1436793" y="1834547"/>
                  </a:lnTo>
                  <a:lnTo>
                    <a:pt x="1436400" y="1833760"/>
                  </a:lnTo>
                  <a:lnTo>
                    <a:pt x="1433646" y="1831400"/>
                  </a:lnTo>
                  <a:lnTo>
                    <a:pt x="1431285" y="1829826"/>
                  </a:lnTo>
                  <a:lnTo>
                    <a:pt x="1428138" y="1828252"/>
                  </a:lnTo>
                  <a:lnTo>
                    <a:pt x="1430499" y="1831006"/>
                  </a:lnTo>
                  <a:lnTo>
                    <a:pt x="1428925" y="1831400"/>
                  </a:lnTo>
                  <a:lnTo>
                    <a:pt x="1427745" y="1834154"/>
                  </a:lnTo>
                  <a:lnTo>
                    <a:pt x="1427351" y="1834547"/>
                  </a:lnTo>
                  <a:lnTo>
                    <a:pt x="1426564" y="1836121"/>
                  </a:lnTo>
                  <a:lnTo>
                    <a:pt x="1426171" y="1834547"/>
                  </a:lnTo>
                  <a:lnTo>
                    <a:pt x="1425778" y="1834154"/>
                  </a:lnTo>
                  <a:lnTo>
                    <a:pt x="1423024" y="1832186"/>
                  </a:lnTo>
                  <a:lnTo>
                    <a:pt x="1421843" y="1830613"/>
                  </a:lnTo>
                  <a:lnTo>
                    <a:pt x="1419089" y="1830219"/>
                  </a:lnTo>
                  <a:lnTo>
                    <a:pt x="1418696" y="1829432"/>
                  </a:lnTo>
                  <a:lnTo>
                    <a:pt x="1424991" y="1819990"/>
                  </a:lnTo>
                  <a:lnTo>
                    <a:pt x="1428138" y="1816843"/>
                  </a:lnTo>
                  <a:lnTo>
                    <a:pt x="1428925" y="1816449"/>
                  </a:lnTo>
                  <a:lnTo>
                    <a:pt x="1431679" y="1816056"/>
                  </a:lnTo>
                  <a:lnTo>
                    <a:pt x="1433646" y="1813302"/>
                  </a:lnTo>
                  <a:lnTo>
                    <a:pt x="1436007" y="1810548"/>
                  </a:lnTo>
                  <a:lnTo>
                    <a:pt x="1436793" y="1807794"/>
                  </a:lnTo>
                  <a:lnTo>
                    <a:pt x="1438761" y="1805040"/>
                  </a:lnTo>
                  <a:lnTo>
                    <a:pt x="1438367" y="1808187"/>
                  </a:lnTo>
                  <a:lnTo>
                    <a:pt x="1439548" y="1805040"/>
                  </a:lnTo>
                  <a:lnTo>
                    <a:pt x="1440728" y="1802286"/>
                  </a:lnTo>
                  <a:lnTo>
                    <a:pt x="1441121" y="1799532"/>
                  </a:lnTo>
                  <a:lnTo>
                    <a:pt x="1442301" y="1797565"/>
                  </a:lnTo>
                  <a:lnTo>
                    <a:pt x="1442695" y="1794811"/>
                  </a:lnTo>
                  <a:lnTo>
                    <a:pt x="1443875" y="1792057"/>
                  </a:lnTo>
                  <a:lnTo>
                    <a:pt x="1442695" y="1789303"/>
                  </a:lnTo>
                  <a:lnTo>
                    <a:pt x="1446236" y="1775140"/>
                  </a:lnTo>
                  <a:lnTo>
                    <a:pt x="1446629" y="1774746"/>
                  </a:lnTo>
                  <a:lnTo>
                    <a:pt x="1446629" y="1774746"/>
                  </a:lnTo>
                  <a:lnTo>
                    <a:pt x="1450170" y="1760583"/>
                  </a:lnTo>
                  <a:lnTo>
                    <a:pt x="1448990" y="1763337"/>
                  </a:lnTo>
                  <a:lnTo>
                    <a:pt x="1450170" y="1760583"/>
                  </a:lnTo>
                  <a:lnTo>
                    <a:pt x="1450170" y="1760583"/>
                  </a:lnTo>
                  <a:lnTo>
                    <a:pt x="1450563" y="1759009"/>
                  </a:lnTo>
                  <a:lnTo>
                    <a:pt x="1452137" y="1756255"/>
                  </a:lnTo>
                  <a:lnTo>
                    <a:pt x="1453317" y="1753501"/>
                  </a:lnTo>
                  <a:lnTo>
                    <a:pt x="1453711" y="1749960"/>
                  </a:lnTo>
                  <a:lnTo>
                    <a:pt x="1452137" y="1747206"/>
                  </a:lnTo>
                  <a:lnTo>
                    <a:pt x="1445842" y="1747206"/>
                  </a:lnTo>
                  <a:lnTo>
                    <a:pt x="1445449" y="1747206"/>
                  </a:lnTo>
                  <a:lnTo>
                    <a:pt x="1445055" y="1742485"/>
                  </a:lnTo>
                  <a:lnTo>
                    <a:pt x="1450957" y="1747206"/>
                  </a:lnTo>
                  <a:lnTo>
                    <a:pt x="1451350" y="1753108"/>
                  </a:lnTo>
                  <a:lnTo>
                    <a:pt x="1454498" y="1753108"/>
                  </a:lnTo>
                  <a:lnTo>
                    <a:pt x="1457252" y="1752714"/>
                  </a:lnTo>
                  <a:lnTo>
                    <a:pt x="1458038" y="1752714"/>
                  </a:lnTo>
                  <a:lnTo>
                    <a:pt x="1460006" y="1753108"/>
                  </a:lnTo>
                  <a:lnTo>
                    <a:pt x="1457645" y="1750747"/>
                  </a:lnTo>
                  <a:lnTo>
                    <a:pt x="1460399" y="1744452"/>
                  </a:lnTo>
                  <a:lnTo>
                    <a:pt x="1461186" y="1742879"/>
                  </a:lnTo>
                  <a:lnTo>
                    <a:pt x="1461579" y="1741305"/>
                  </a:lnTo>
                  <a:lnTo>
                    <a:pt x="1473382" y="1713765"/>
                  </a:lnTo>
                  <a:lnTo>
                    <a:pt x="1470628" y="1714159"/>
                  </a:lnTo>
                  <a:lnTo>
                    <a:pt x="1468268" y="1717306"/>
                  </a:lnTo>
                  <a:lnTo>
                    <a:pt x="1470235" y="1710618"/>
                  </a:lnTo>
                  <a:lnTo>
                    <a:pt x="1472202" y="1710618"/>
                  </a:lnTo>
                  <a:lnTo>
                    <a:pt x="1474956" y="1708257"/>
                  </a:lnTo>
                  <a:lnTo>
                    <a:pt x="1474562" y="1705503"/>
                  </a:lnTo>
                  <a:lnTo>
                    <a:pt x="1471808" y="1705503"/>
                  </a:lnTo>
                  <a:lnTo>
                    <a:pt x="1471808" y="1705503"/>
                  </a:lnTo>
                  <a:lnTo>
                    <a:pt x="1474956" y="1696061"/>
                  </a:lnTo>
                  <a:lnTo>
                    <a:pt x="1475743" y="1695668"/>
                  </a:lnTo>
                  <a:lnTo>
                    <a:pt x="1475349" y="1698422"/>
                  </a:lnTo>
                  <a:lnTo>
                    <a:pt x="1476923" y="1695668"/>
                  </a:lnTo>
                  <a:lnTo>
                    <a:pt x="1476923" y="1695274"/>
                  </a:lnTo>
                  <a:lnTo>
                    <a:pt x="1477316" y="1694094"/>
                  </a:lnTo>
                  <a:lnTo>
                    <a:pt x="1476923" y="1690946"/>
                  </a:lnTo>
                  <a:lnTo>
                    <a:pt x="1491873" y="1670095"/>
                  </a:lnTo>
                  <a:lnTo>
                    <a:pt x="1498561" y="1662226"/>
                  </a:lnTo>
                  <a:lnTo>
                    <a:pt x="1499742" y="1659866"/>
                  </a:lnTo>
                  <a:lnTo>
                    <a:pt x="1500922" y="1656718"/>
                  </a:lnTo>
                  <a:lnTo>
                    <a:pt x="1502496" y="1654358"/>
                  </a:lnTo>
                  <a:lnTo>
                    <a:pt x="1501709" y="1651210"/>
                  </a:lnTo>
                  <a:lnTo>
                    <a:pt x="1502496" y="1648456"/>
                  </a:lnTo>
                  <a:lnTo>
                    <a:pt x="1502889" y="1645702"/>
                  </a:lnTo>
                  <a:lnTo>
                    <a:pt x="1502496" y="1642555"/>
                  </a:lnTo>
                  <a:lnTo>
                    <a:pt x="1499742" y="1640194"/>
                  </a:lnTo>
                  <a:lnTo>
                    <a:pt x="1496988" y="1637047"/>
                  </a:lnTo>
                  <a:lnTo>
                    <a:pt x="1494234" y="1637440"/>
                  </a:lnTo>
                  <a:lnTo>
                    <a:pt x="1491086" y="1639014"/>
                  </a:lnTo>
                  <a:lnTo>
                    <a:pt x="1487939" y="1638621"/>
                  </a:lnTo>
                  <a:lnTo>
                    <a:pt x="1485185" y="1641375"/>
                  </a:lnTo>
                  <a:lnTo>
                    <a:pt x="1488332" y="1642948"/>
                  </a:lnTo>
                  <a:lnTo>
                    <a:pt x="1482431" y="1640981"/>
                  </a:lnTo>
                  <a:lnTo>
                    <a:pt x="1478103" y="1639801"/>
                  </a:lnTo>
                  <a:lnTo>
                    <a:pt x="1477710" y="1639801"/>
                  </a:lnTo>
                  <a:lnTo>
                    <a:pt x="1474956" y="1640194"/>
                  </a:lnTo>
                  <a:lnTo>
                    <a:pt x="1477710" y="1640588"/>
                  </a:lnTo>
                  <a:lnTo>
                    <a:pt x="1477316" y="1640981"/>
                  </a:lnTo>
                  <a:lnTo>
                    <a:pt x="1474562" y="1640588"/>
                  </a:lnTo>
                  <a:lnTo>
                    <a:pt x="1471808" y="1638621"/>
                  </a:lnTo>
                  <a:lnTo>
                    <a:pt x="1469055" y="1638621"/>
                  </a:lnTo>
                  <a:lnTo>
                    <a:pt x="1466300" y="1637440"/>
                  </a:lnTo>
                  <a:lnTo>
                    <a:pt x="1462760" y="1637834"/>
                  </a:lnTo>
                  <a:lnTo>
                    <a:pt x="1459612" y="1638227"/>
                  </a:lnTo>
                  <a:lnTo>
                    <a:pt x="1458038" y="1637834"/>
                  </a:lnTo>
                  <a:lnTo>
                    <a:pt x="1454891" y="1638227"/>
                  </a:lnTo>
                  <a:lnTo>
                    <a:pt x="1452137" y="1638621"/>
                  </a:lnTo>
                  <a:lnTo>
                    <a:pt x="1449383" y="1640588"/>
                  </a:lnTo>
                  <a:lnTo>
                    <a:pt x="1428138" y="1645702"/>
                  </a:lnTo>
                  <a:lnTo>
                    <a:pt x="1426171" y="1645702"/>
                  </a:lnTo>
                  <a:lnTo>
                    <a:pt x="1423417" y="1646096"/>
                  </a:lnTo>
                  <a:lnTo>
                    <a:pt x="1420270" y="1646489"/>
                  </a:lnTo>
                  <a:lnTo>
                    <a:pt x="1417515" y="1646883"/>
                  </a:lnTo>
                  <a:lnTo>
                    <a:pt x="1414761" y="1647276"/>
                  </a:lnTo>
                  <a:lnTo>
                    <a:pt x="1411614" y="1648456"/>
                  </a:lnTo>
                  <a:lnTo>
                    <a:pt x="1408860" y="1650030"/>
                  </a:lnTo>
                  <a:lnTo>
                    <a:pt x="1407680" y="1650423"/>
                  </a:lnTo>
                  <a:lnTo>
                    <a:pt x="1404926" y="1651997"/>
                  </a:lnTo>
                  <a:lnTo>
                    <a:pt x="1402172" y="1653571"/>
                  </a:lnTo>
                  <a:lnTo>
                    <a:pt x="1399418" y="1655538"/>
                  </a:lnTo>
                  <a:lnTo>
                    <a:pt x="1397057" y="1658292"/>
                  </a:lnTo>
                  <a:lnTo>
                    <a:pt x="1395877" y="1661046"/>
                  </a:lnTo>
                  <a:lnTo>
                    <a:pt x="1395484" y="1661439"/>
                  </a:lnTo>
                  <a:lnTo>
                    <a:pt x="1395877" y="1661439"/>
                  </a:lnTo>
                  <a:lnTo>
                    <a:pt x="1396271" y="1661046"/>
                  </a:lnTo>
                  <a:lnTo>
                    <a:pt x="1396664" y="1661439"/>
                  </a:lnTo>
                  <a:lnTo>
                    <a:pt x="1396271" y="1661833"/>
                  </a:lnTo>
                  <a:lnTo>
                    <a:pt x="1395877" y="1663013"/>
                  </a:lnTo>
                  <a:lnTo>
                    <a:pt x="1393517" y="1666161"/>
                  </a:lnTo>
                  <a:lnTo>
                    <a:pt x="1393123" y="1668915"/>
                  </a:lnTo>
                  <a:lnTo>
                    <a:pt x="1391943" y="1671668"/>
                  </a:lnTo>
                  <a:lnTo>
                    <a:pt x="1391549" y="1672062"/>
                  </a:lnTo>
                  <a:lnTo>
                    <a:pt x="1391549" y="1673242"/>
                  </a:lnTo>
                  <a:lnTo>
                    <a:pt x="1389976" y="1681111"/>
                  </a:lnTo>
                  <a:lnTo>
                    <a:pt x="1389976" y="1681111"/>
                  </a:lnTo>
                  <a:lnTo>
                    <a:pt x="1389582" y="1684258"/>
                  </a:lnTo>
                  <a:lnTo>
                    <a:pt x="1389189" y="1684652"/>
                  </a:lnTo>
                  <a:lnTo>
                    <a:pt x="1388795" y="1687799"/>
                  </a:lnTo>
                  <a:lnTo>
                    <a:pt x="1389189" y="1690553"/>
                  </a:lnTo>
                  <a:lnTo>
                    <a:pt x="1387615" y="1693307"/>
                  </a:lnTo>
                  <a:lnTo>
                    <a:pt x="1386041" y="1694881"/>
                  </a:lnTo>
                  <a:lnTo>
                    <a:pt x="1383287" y="1696848"/>
                  </a:lnTo>
                  <a:lnTo>
                    <a:pt x="1381320" y="1699602"/>
                  </a:lnTo>
                  <a:lnTo>
                    <a:pt x="1380534" y="1702356"/>
                  </a:lnTo>
                  <a:lnTo>
                    <a:pt x="1379747" y="1705503"/>
                  </a:lnTo>
                  <a:lnTo>
                    <a:pt x="1379353" y="1708257"/>
                  </a:lnTo>
                  <a:lnTo>
                    <a:pt x="1378566" y="1711405"/>
                  </a:lnTo>
                  <a:lnTo>
                    <a:pt x="1373452" y="1716519"/>
                  </a:lnTo>
                  <a:lnTo>
                    <a:pt x="1362042" y="1724388"/>
                  </a:lnTo>
                  <a:lnTo>
                    <a:pt x="1360862" y="1724781"/>
                  </a:lnTo>
                  <a:lnTo>
                    <a:pt x="1358108" y="1726355"/>
                  </a:lnTo>
                  <a:lnTo>
                    <a:pt x="1355354" y="1727929"/>
                  </a:lnTo>
                  <a:lnTo>
                    <a:pt x="1352994" y="1730682"/>
                  </a:lnTo>
                  <a:lnTo>
                    <a:pt x="1358895" y="1737371"/>
                  </a:lnTo>
                  <a:lnTo>
                    <a:pt x="1357715" y="1737371"/>
                  </a:lnTo>
                  <a:lnTo>
                    <a:pt x="1354961" y="1739338"/>
                  </a:lnTo>
                  <a:lnTo>
                    <a:pt x="1352207" y="1740518"/>
                  </a:lnTo>
                  <a:lnTo>
                    <a:pt x="1351420" y="1743272"/>
                  </a:lnTo>
                  <a:lnTo>
                    <a:pt x="1349846" y="1742879"/>
                  </a:lnTo>
                  <a:lnTo>
                    <a:pt x="1347092" y="1742485"/>
                  </a:lnTo>
                  <a:lnTo>
                    <a:pt x="1343945" y="1742092"/>
                  </a:lnTo>
                  <a:lnTo>
                    <a:pt x="1341191" y="1743666"/>
                  </a:lnTo>
                  <a:lnTo>
                    <a:pt x="1340797" y="1743272"/>
                  </a:lnTo>
                  <a:lnTo>
                    <a:pt x="1341191" y="1740912"/>
                  </a:lnTo>
                  <a:lnTo>
                    <a:pt x="1338437" y="1737764"/>
                  </a:lnTo>
                  <a:lnTo>
                    <a:pt x="1338437" y="1737371"/>
                  </a:lnTo>
                  <a:lnTo>
                    <a:pt x="1338830" y="1736977"/>
                  </a:lnTo>
                  <a:lnTo>
                    <a:pt x="1341584" y="1736977"/>
                  </a:lnTo>
                  <a:lnTo>
                    <a:pt x="1341191" y="1736584"/>
                  </a:lnTo>
                  <a:lnTo>
                    <a:pt x="1339617" y="1733830"/>
                  </a:lnTo>
                  <a:lnTo>
                    <a:pt x="1336863" y="1734223"/>
                  </a:lnTo>
                  <a:lnTo>
                    <a:pt x="1327421" y="1735797"/>
                  </a:lnTo>
                  <a:lnTo>
                    <a:pt x="1326634" y="1735797"/>
                  </a:lnTo>
                  <a:lnTo>
                    <a:pt x="1323487" y="1736190"/>
                  </a:lnTo>
                  <a:lnTo>
                    <a:pt x="1319946" y="1737764"/>
                  </a:lnTo>
                  <a:lnTo>
                    <a:pt x="1316798" y="1738944"/>
                  </a:lnTo>
                  <a:lnTo>
                    <a:pt x="1317192" y="1742092"/>
                  </a:lnTo>
                  <a:lnTo>
                    <a:pt x="1316798" y="1743272"/>
                  </a:lnTo>
                  <a:lnTo>
                    <a:pt x="1316798" y="1742092"/>
                  </a:lnTo>
                  <a:lnTo>
                    <a:pt x="1314831" y="1740518"/>
                  </a:lnTo>
                  <a:lnTo>
                    <a:pt x="1311684" y="1742092"/>
                  </a:lnTo>
                  <a:lnTo>
                    <a:pt x="1308536" y="1742879"/>
                  </a:lnTo>
                  <a:lnTo>
                    <a:pt x="1305389" y="1743272"/>
                  </a:lnTo>
                  <a:lnTo>
                    <a:pt x="1302635" y="1743666"/>
                  </a:lnTo>
                  <a:lnTo>
                    <a:pt x="1301848" y="1744059"/>
                  </a:lnTo>
                  <a:lnTo>
                    <a:pt x="1300668" y="1743272"/>
                  </a:lnTo>
                  <a:lnTo>
                    <a:pt x="1297914" y="1743666"/>
                  </a:lnTo>
                  <a:lnTo>
                    <a:pt x="1295160" y="1743272"/>
                  </a:lnTo>
                  <a:lnTo>
                    <a:pt x="1292013" y="1743666"/>
                  </a:lnTo>
                  <a:lnTo>
                    <a:pt x="1289259" y="1744452"/>
                  </a:lnTo>
                  <a:lnTo>
                    <a:pt x="1286505" y="1745633"/>
                  </a:lnTo>
                  <a:lnTo>
                    <a:pt x="1283357" y="1747206"/>
                  </a:lnTo>
                  <a:lnTo>
                    <a:pt x="1281390" y="1748387"/>
                  </a:lnTo>
                  <a:lnTo>
                    <a:pt x="1286505" y="1746420"/>
                  </a:lnTo>
                  <a:lnTo>
                    <a:pt x="1287291" y="1746026"/>
                  </a:lnTo>
                  <a:lnTo>
                    <a:pt x="1289259" y="1745239"/>
                  </a:lnTo>
                  <a:lnTo>
                    <a:pt x="1290045" y="1745239"/>
                  </a:lnTo>
                  <a:lnTo>
                    <a:pt x="1284537" y="1747206"/>
                  </a:lnTo>
                  <a:lnTo>
                    <a:pt x="1284144" y="1747206"/>
                  </a:lnTo>
                  <a:lnTo>
                    <a:pt x="1284144" y="1747206"/>
                  </a:lnTo>
                  <a:lnTo>
                    <a:pt x="1280210" y="1748780"/>
                  </a:lnTo>
                  <a:lnTo>
                    <a:pt x="1277062" y="1749567"/>
                  </a:lnTo>
                  <a:lnTo>
                    <a:pt x="1275095" y="1750354"/>
                  </a:lnTo>
                  <a:lnTo>
                    <a:pt x="1272341" y="1751141"/>
                  </a:lnTo>
                  <a:lnTo>
                    <a:pt x="1264866" y="1753108"/>
                  </a:lnTo>
                  <a:lnTo>
                    <a:pt x="1264473" y="1753108"/>
                  </a:lnTo>
                  <a:lnTo>
                    <a:pt x="1263292" y="1753501"/>
                  </a:lnTo>
                  <a:lnTo>
                    <a:pt x="1259752" y="1752321"/>
                  </a:lnTo>
                  <a:lnTo>
                    <a:pt x="1258965" y="1750747"/>
                  </a:lnTo>
                  <a:lnTo>
                    <a:pt x="1258571" y="1749173"/>
                  </a:lnTo>
                  <a:lnTo>
                    <a:pt x="1256604" y="1746026"/>
                  </a:lnTo>
                  <a:lnTo>
                    <a:pt x="1255030" y="1743272"/>
                  </a:lnTo>
                  <a:lnTo>
                    <a:pt x="1254244" y="1740518"/>
                  </a:lnTo>
                  <a:lnTo>
                    <a:pt x="1251489" y="1740125"/>
                  </a:lnTo>
                  <a:lnTo>
                    <a:pt x="1248736" y="1739731"/>
                  </a:lnTo>
                  <a:lnTo>
                    <a:pt x="1247162" y="1737371"/>
                  </a:lnTo>
                  <a:lnTo>
                    <a:pt x="1244408" y="1734617"/>
                  </a:lnTo>
                  <a:lnTo>
                    <a:pt x="1241260" y="1734223"/>
                  </a:lnTo>
                  <a:lnTo>
                    <a:pt x="1238506" y="1734617"/>
                  </a:lnTo>
                  <a:lnTo>
                    <a:pt x="1235752" y="1734223"/>
                  </a:lnTo>
                  <a:lnTo>
                    <a:pt x="1231032" y="1733830"/>
                  </a:lnTo>
                  <a:lnTo>
                    <a:pt x="1230638" y="1733436"/>
                  </a:lnTo>
                  <a:lnTo>
                    <a:pt x="1227491" y="1731863"/>
                  </a:lnTo>
                  <a:lnTo>
                    <a:pt x="1224737" y="1734223"/>
                  </a:lnTo>
                  <a:lnTo>
                    <a:pt x="1221589" y="1734223"/>
                  </a:lnTo>
                  <a:lnTo>
                    <a:pt x="1221983" y="1733436"/>
                  </a:lnTo>
                  <a:lnTo>
                    <a:pt x="1221589" y="1734223"/>
                  </a:lnTo>
                  <a:lnTo>
                    <a:pt x="1221589" y="1734223"/>
                  </a:lnTo>
                  <a:lnTo>
                    <a:pt x="1221983" y="1733436"/>
                  </a:lnTo>
                  <a:lnTo>
                    <a:pt x="1222376" y="1731863"/>
                  </a:lnTo>
                  <a:lnTo>
                    <a:pt x="1219622" y="1730289"/>
                  </a:lnTo>
                  <a:lnTo>
                    <a:pt x="1223163" y="1731469"/>
                  </a:lnTo>
                  <a:lnTo>
                    <a:pt x="1225130" y="1731863"/>
                  </a:lnTo>
                  <a:lnTo>
                    <a:pt x="1218835" y="1722420"/>
                  </a:lnTo>
                  <a:lnTo>
                    <a:pt x="1217262" y="1720453"/>
                  </a:lnTo>
                  <a:lnTo>
                    <a:pt x="1217655" y="1719667"/>
                  </a:lnTo>
                  <a:lnTo>
                    <a:pt x="1215688" y="1716519"/>
                  </a:lnTo>
                  <a:lnTo>
                    <a:pt x="1213327" y="1713765"/>
                  </a:lnTo>
                  <a:lnTo>
                    <a:pt x="1212934" y="1710618"/>
                  </a:lnTo>
                  <a:lnTo>
                    <a:pt x="1213327" y="1708257"/>
                  </a:lnTo>
                  <a:lnTo>
                    <a:pt x="1212147" y="1705503"/>
                  </a:lnTo>
                  <a:lnTo>
                    <a:pt x="1211754" y="1702356"/>
                  </a:lnTo>
                  <a:lnTo>
                    <a:pt x="1212147" y="1699602"/>
                  </a:lnTo>
                  <a:lnTo>
                    <a:pt x="1211754" y="1696848"/>
                  </a:lnTo>
                  <a:lnTo>
                    <a:pt x="1210180" y="1693700"/>
                  </a:lnTo>
                  <a:lnTo>
                    <a:pt x="1208606" y="1690946"/>
                  </a:lnTo>
                  <a:lnTo>
                    <a:pt x="1208606" y="1690553"/>
                  </a:lnTo>
                  <a:lnTo>
                    <a:pt x="1207819" y="1688979"/>
                  </a:lnTo>
                  <a:lnTo>
                    <a:pt x="1205852" y="1685438"/>
                  </a:lnTo>
                  <a:lnTo>
                    <a:pt x="1205459" y="1684652"/>
                  </a:lnTo>
                  <a:lnTo>
                    <a:pt x="1203885" y="1681898"/>
                  </a:lnTo>
                  <a:lnTo>
                    <a:pt x="1201525" y="1678357"/>
                  </a:lnTo>
                  <a:lnTo>
                    <a:pt x="1200738" y="1676783"/>
                  </a:lnTo>
                  <a:lnTo>
                    <a:pt x="1198770" y="1674029"/>
                  </a:lnTo>
                  <a:lnTo>
                    <a:pt x="1196016" y="1669308"/>
                  </a:lnTo>
                  <a:lnTo>
                    <a:pt x="1194836" y="1664587"/>
                  </a:lnTo>
                  <a:lnTo>
                    <a:pt x="1194836" y="1663013"/>
                  </a:lnTo>
                  <a:lnTo>
                    <a:pt x="1193656" y="1659866"/>
                  </a:lnTo>
                  <a:lnTo>
                    <a:pt x="1192869" y="1657505"/>
                  </a:lnTo>
                  <a:lnTo>
                    <a:pt x="1192869" y="1657112"/>
                  </a:lnTo>
                  <a:lnTo>
                    <a:pt x="1190902" y="1645702"/>
                  </a:lnTo>
                  <a:lnTo>
                    <a:pt x="1191689" y="1644129"/>
                  </a:lnTo>
                  <a:lnTo>
                    <a:pt x="1193656" y="1640981"/>
                  </a:lnTo>
                  <a:lnTo>
                    <a:pt x="1195230" y="1638227"/>
                  </a:lnTo>
                  <a:lnTo>
                    <a:pt x="1195623" y="1636260"/>
                  </a:lnTo>
                  <a:lnTo>
                    <a:pt x="1193262" y="1633506"/>
                  </a:lnTo>
                  <a:lnTo>
                    <a:pt x="1193262" y="1633506"/>
                  </a:lnTo>
                  <a:lnTo>
                    <a:pt x="1185787" y="1616195"/>
                  </a:lnTo>
                  <a:lnTo>
                    <a:pt x="1186181" y="1612655"/>
                  </a:lnTo>
                  <a:lnTo>
                    <a:pt x="1186574" y="1596917"/>
                  </a:lnTo>
                  <a:lnTo>
                    <a:pt x="1188935" y="1594164"/>
                  </a:lnTo>
                  <a:lnTo>
                    <a:pt x="1190115" y="1591016"/>
                  </a:lnTo>
                  <a:lnTo>
                    <a:pt x="1191689" y="1588262"/>
                  </a:lnTo>
                  <a:lnTo>
                    <a:pt x="1192082" y="1585115"/>
                  </a:lnTo>
                  <a:lnTo>
                    <a:pt x="1192082" y="1584721"/>
                  </a:lnTo>
                  <a:lnTo>
                    <a:pt x="1194049" y="1572918"/>
                  </a:lnTo>
                  <a:lnTo>
                    <a:pt x="1194049" y="1572132"/>
                  </a:lnTo>
                  <a:lnTo>
                    <a:pt x="1195623" y="1566624"/>
                  </a:lnTo>
                  <a:lnTo>
                    <a:pt x="1195623" y="1563870"/>
                  </a:lnTo>
                  <a:lnTo>
                    <a:pt x="1194049" y="1560722"/>
                  </a:lnTo>
                  <a:lnTo>
                    <a:pt x="1196803" y="1560329"/>
                  </a:lnTo>
                  <a:lnTo>
                    <a:pt x="1197197" y="1557575"/>
                  </a:lnTo>
                  <a:lnTo>
                    <a:pt x="1197590" y="1555214"/>
                  </a:lnTo>
                  <a:lnTo>
                    <a:pt x="1208213" y="1524527"/>
                  </a:lnTo>
                  <a:lnTo>
                    <a:pt x="1210180" y="1519413"/>
                  </a:lnTo>
                  <a:lnTo>
                    <a:pt x="1214114" y="1512331"/>
                  </a:lnTo>
                  <a:lnTo>
                    <a:pt x="1215688" y="1509970"/>
                  </a:lnTo>
                  <a:lnTo>
                    <a:pt x="1218048" y="1506823"/>
                  </a:lnTo>
                  <a:lnTo>
                    <a:pt x="1220409" y="1504069"/>
                  </a:lnTo>
                  <a:lnTo>
                    <a:pt x="1221983" y="1501315"/>
                  </a:lnTo>
                  <a:lnTo>
                    <a:pt x="1223556" y="1498167"/>
                  </a:lnTo>
                  <a:lnTo>
                    <a:pt x="1225130" y="1495414"/>
                  </a:lnTo>
                  <a:lnTo>
                    <a:pt x="1226310" y="1492266"/>
                  </a:lnTo>
                  <a:lnTo>
                    <a:pt x="1227097" y="1489512"/>
                  </a:lnTo>
                  <a:lnTo>
                    <a:pt x="1228277" y="1486365"/>
                  </a:lnTo>
                  <a:lnTo>
                    <a:pt x="1228277" y="1483611"/>
                  </a:lnTo>
                  <a:lnTo>
                    <a:pt x="1227884" y="1484004"/>
                  </a:lnTo>
                  <a:lnTo>
                    <a:pt x="1224343" y="1463939"/>
                  </a:lnTo>
                  <a:lnTo>
                    <a:pt x="1231032" y="1440334"/>
                  </a:lnTo>
                  <a:lnTo>
                    <a:pt x="1232605" y="1437580"/>
                  </a:lnTo>
                  <a:lnTo>
                    <a:pt x="1234572" y="1434432"/>
                  </a:lnTo>
                  <a:lnTo>
                    <a:pt x="1238113" y="1428925"/>
                  </a:lnTo>
                  <a:lnTo>
                    <a:pt x="1235752" y="1425777"/>
                  </a:lnTo>
                  <a:lnTo>
                    <a:pt x="1236146" y="1423023"/>
                  </a:lnTo>
                  <a:lnTo>
                    <a:pt x="1235752" y="1423023"/>
                  </a:lnTo>
                  <a:lnTo>
                    <a:pt x="1232605" y="1422630"/>
                  </a:lnTo>
                  <a:lnTo>
                    <a:pt x="1236933" y="1421843"/>
                  </a:lnTo>
                  <a:lnTo>
                    <a:pt x="1243228" y="1421843"/>
                  </a:lnTo>
                  <a:lnTo>
                    <a:pt x="1245588" y="1419089"/>
                  </a:lnTo>
                  <a:lnTo>
                    <a:pt x="1248342" y="1415941"/>
                  </a:lnTo>
                  <a:lnTo>
                    <a:pt x="1248736" y="1413581"/>
                  </a:lnTo>
                  <a:lnTo>
                    <a:pt x="1249129" y="1413187"/>
                  </a:lnTo>
                  <a:lnTo>
                    <a:pt x="1251489" y="1410433"/>
                  </a:lnTo>
                  <a:lnTo>
                    <a:pt x="1251096" y="1413187"/>
                  </a:lnTo>
                  <a:lnTo>
                    <a:pt x="1253850" y="1411614"/>
                  </a:lnTo>
                  <a:lnTo>
                    <a:pt x="1256604" y="1408860"/>
                  </a:lnTo>
                  <a:lnTo>
                    <a:pt x="1258178" y="1403352"/>
                  </a:lnTo>
                  <a:lnTo>
                    <a:pt x="1257784" y="1401778"/>
                  </a:lnTo>
                  <a:lnTo>
                    <a:pt x="1259752" y="1404532"/>
                  </a:lnTo>
                  <a:lnTo>
                    <a:pt x="1262506" y="1406106"/>
                  </a:lnTo>
                  <a:lnTo>
                    <a:pt x="1265653" y="1404532"/>
                  </a:lnTo>
                  <a:lnTo>
                    <a:pt x="1268407" y="1402958"/>
                  </a:lnTo>
                  <a:lnTo>
                    <a:pt x="1268800" y="1402171"/>
                  </a:lnTo>
                  <a:lnTo>
                    <a:pt x="1264473" y="1395483"/>
                  </a:lnTo>
                  <a:lnTo>
                    <a:pt x="1266046" y="1394696"/>
                  </a:lnTo>
                  <a:lnTo>
                    <a:pt x="1268407" y="1397450"/>
                  </a:lnTo>
                  <a:lnTo>
                    <a:pt x="1269981" y="1394696"/>
                  </a:lnTo>
                  <a:lnTo>
                    <a:pt x="1269587" y="1392336"/>
                  </a:lnTo>
                  <a:lnTo>
                    <a:pt x="1269981" y="1392336"/>
                  </a:lnTo>
                  <a:lnTo>
                    <a:pt x="1271161" y="1395090"/>
                  </a:lnTo>
                  <a:lnTo>
                    <a:pt x="1273915" y="1394303"/>
                  </a:lnTo>
                  <a:lnTo>
                    <a:pt x="1276669" y="1395877"/>
                  </a:lnTo>
                  <a:lnTo>
                    <a:pt x="1277062" y="1395877"/>
                  </a:lnTo>
                  <a:lnTo>
                    <a:pt x="1275882" y="1396663"/>
                  </a:lnTo>
                  <a:lnTo>
                    <a:pt x="1275489" y="1397057"/>
                  </a:lnTo>
                  <a:lnTo>
                    <a:pt x="1273915" y="1400598"/>
                  </a:lnTo>
                  <a:lnTo>
                    <a:pt x="1276669" y="1399418"/>
                  </a:lnTo>
                  <a:lnTo>
                    <a:pt x="1278636" y="1398237"/>
                  </a:lnTo>
                  <a:lnTo>
                    <a:pt x="1280603" y="1397450"/>
                  </a:lnTo>
                  <a:lnTo>
                    <a:pt x="1282570" y="1396663"/>
                  </a:lnTo>
                  <a:lnTo>
                    <a:pt x="1285718" y="1395483"/>
                  </a:lnTo>
                  <a:lnTo>
                    <a:pt x="1288472" y="1393909"/>
                  </a:lnTo>
                  <a:lnTo>
                    <a:pt x="1285718" y="1394696"/>
                  </a:lnTo>
                  <a:lnTo>
                    <a:pt x="1290832" y="1392336"/>
                  </a:lnTo>
                  <a:lnTo>
                    <a:pt x="1291226" y="1392336"/>
                  </a:lnTo>
                  <a:lnTo>
                    <a:pt x="1293980" y="1390762"/>
                  </a:lnTo>
                  <a:lnTo>
                    <a:pt x="1296340" y="1389582"/>
                  </a:lnTo>
                  <a:lnTo>
                    <a:pt x="1301061" y="1387221"/>
                  </a:lnTo>
                  <a:lnTo>
                    <a:pt x="1303815" y="1385648"/>
                  </a:lnTo>
                  <a:lnTo>
                    <a:pt x="1306569" y="1383287"/>
                  </a:lnTo>
                  <a:lnTo>
                    <a:pt x="1309323" y="1381713"/>
                  </a:lnTo>
                  <a:lnTo>
                    <a:pt x="1309717" y="1378566"/>
                  </a:lnTo>
                  <a:lnTo>
                    <a:pt x="1312471" y="1376992"/>
                  </a:lnTo>
                  <a:lnTo>
                    <a:pt x="1317979" y="1373058"/>
                  </a:lnTo>
                  <a:lnTo>
                    <a:pt x="1318372" y="1372664"/>
                  </a:lnTo>
                  <a:lnTo>
                    <a:pt x="1320733" y="1370697"/>
                  </a:lnTo>
                  <a:lnTo>
                    <a:pt x="1317979" y="1369124"/>
                  </a:lnTo>
                  <a:lnTo>
                    <a:pt x="1317585" y="1364796"/>
                  </a:lnTo>
                  <a:lnTo>
                    <a:pt x="1318372" y="1363222"/>
                  </a:lnTo>
                  <a:lnTo>
                    <a:pt x="1317585" y="1360468"/>
                  </a:lnTo>
                  <a:lnTo>
                    <a:pt x="1318766" y="1359288"/>
                  </a:lnTo>
                  <a:lnTo>
                    <a:pt x="1319159" y="1359681"/>
                  </a:lnTo>
                  <a:lnTo>
                    <a:pt x="1321913" y="1361255"/>
                  </a:lnTo>
                  <a:lnTo>
                    <a:pt x="1322306" y="1360862"/>
                  </a:lnTo>
                  <a:lnTo>
                    <a:pt x="1326241" y="1362435"/>
                  </a:lnTo>
                  <a:lnTo>
                    <a:pt x="1325847" y="1363222"/>
                  </a:lnTo>
                  <a:lnTo>
                    <a:pt x="1323880" y="1365976"/>
                  </a:lnTo>
                  <a:lnTo>
                    <a:pt x="1327027" y="1365189"/>
                  </a:lnTo>
                  <a:lnTo>
                    <a:pt x="1329781" y="1364796"/>
                  </a:lnTo>
                  <a:lnTo>
                    <a:pt x="1332535" y="1365189"/>
                  </a:lnTo>
                  <a:lnTo>
                    <a:pt x="1329781" y="1366370"/>
                  </a:lnTo>
                  <a:lnTo>
                    <a:pt x="1327814" y="1367943"/>
                  </a:lnTo>
                  <a:lnTo>
                    <a:pt x="1325060" y="1369517"/>
                  </a:lnTo>
                  <a:lnTo>
                    <a:pt x="1322306" y="1372271"/>
                  </a:lnTo>
                  <a:lnTo>
                    <a:pt x="1322700" y="1372271"/>
                  </a:lnTo>
                  <a:lnTo>
                    <a:pt x="1323093" y="1371878"/>
                  </a:lnTo>
                  <a:lnTo>
                    <a:pt x="1338437" y="1364796"/>
                  </a:lnTo>
                  <a:lnTo>
                    <a:pt x="1340797" y="1364009"/>
                  </a:lnTo>
                  <a:lnTo>
                    <a:pt x="1343551" y="1362435"/>
                  </a:lnTo>
                  <a:lnTo>
                    <a:pt x="1346699" y="1361649"/>
                  </a:lnTo>
                  <a:lnTo>
                    <a:pt x="1349453" y="1361649"/>
                  </a:lnTo>
                  <a:lnTo>
                    <a:pt x="1352207" y="1361255"/>
                  </a:lnTo>
                  <a:lnTo>
                    <a:pt x="1351027" y="1358895"/>
                  </a:lnTo>
                  <a:lnTo>
                    <a:pt x="1350633" y="1356927"/>
                  </a:lnTo>
                  <a:lnTo>
                    <a:pt x="1356928" y="1351026"/>
                  </a:lnTo>
                  <a:lnTo>
                    <a:pt x="1352207" y="1358895"/>
                  </a:lnTo>
                  <a:lnTo>
                    <a:pt x="1355354" y="1359681"/>
                  </a:lnTo>
                  <a:lnTo>
                    <a:pt x="1358108" y="1358895"/>
                  </a:lnTo>
                  <a:lnTo>
                    <a:pt x="1360862" y="1358501"/>
                  </a:lnTo>
                  <a:lnTo>
                    <a:pt x="1366370" y="1358501"/>
                  </a:lnTo>
                  <a:lnTo>
                    <a:pt x="1367550" y="1356927"/>
                  </a:lnTo>
                  <a:lnTo>
                    <a:pt x="1369911" y="1350239"/>
                  </a:lnTo>
                  <a:lnTo>
                    <a:pt x="1371878" y="1350239"/>
                  </a:lnTo>
                  <a:lnTo>
                    <a:pt x="1368337" y="1356927"/>
                  </a:lnTo>
                  <a:lnTo>
                    <a:pt x="1371091" y="1357714"/>
                  </a:lnTo>
                  <a:lnTo>
                    <a:pt x="1374239" y="1358501"/>
                  </a:lnTo>
                  <a:lnTo>
                    <a:pt x="1376993" y="1359681"/>
                  </a:lnTo>
                  <a:lnTo>
                    <a:pt x="1379747" y="1360862"/>
                  </a:lnTo>
                  <a:lnTo>
                    <a:pt x="1382501" y="1362829"/>
                  </a:lnTo>
                  <a:lnTo>
                    <a:pt x="1385254" y="1364402"/>
                  </a:lnTo>
                  <a:lnTo>
                    <a:pt x="1388402" y="1364796"/>
                  </a:lnTo>
                  <a:lnTo>
                    <a:pt x="1391156" y="1365189"/>
                  </a:lnTo>
                  <a:lnTo>
                    <a:pt x="1394303" y="1365976"/>
                  </a:lnTo>
                  <a:lnTo>
                    <a:pt x="1397057" y="1365976"/>
                  </a:lnTo>
                  <a:lnTo>
                    <a:pt x="1399811" y="1364402"/>
                  </a:lnTo>
                  <a:lnTo>
                    <a:pt x="1402959" y="1364402"/>
                  </a:lnTo>
                  <a:lnTo>
                    <a:pt x="1402172" y="1363222"/>
                  </a:lnTo>
                  <a:lnTo>
                    <a:pt x="1406500" y="1363222"/>
                  </a:lnTo>
                  <a:lnTo>
                    <a:pt x="1403352" y="1364796"/>
                  </a:lnTo>
                  <a:lnTo>
                    <a:pt x="1406106" y="1366370"/>
                  </a:lnTo>
                  <a:lnTo>
                    <a:pt x="1409254" y="1367550"/>
                  </a:lnTo>
                  <a:lnTo>
                    <a:pt x="1412008" y="1365189"/>
                  </a:lnTo>
                  <a:lnTo>
                    <a:pt x="1412008" y="1364796"/>
                  </a:lnTo>
                  <a:lnTo>
                    <a:pt x="1409647" y="1363616"/>
                  </a:lnTo>
                  <a:lnTo>
                    <a:pt x="1416335" y="1363616"/>
                  </a:lnTo>
                  <a:lnTo>
                    <a:pt x="1417122" y="1364796"/>
                  </a:lnTo>
                  <a:lnTo>
                    <a:pt x="1419876" y="1365583"/>
                  </a:lnTo>
                  <a:lnTo>
                    <a:pt x="1422630" y="1367550"/>
                  </a:lnTo>
                  <a:lnTo>
                    <a:pt x="1425384" y="1364796"/>
                  </a:lnTo>
                  <a:lnTo>
                    <a:pt x="1424991" y="1366370"/>
                  </a:lnTo>
                  <a:lnTo>
                    <a:pt x="1424204" y="1369124"/>
                  </a:lnTo>
                  <a:lnTo>
                    <a:pt x="1426171" y="1371878"/>
                  </a:lnTo>
                  <a:lnTo>
                    <a:pt x="1426564" y="1375025"/>
                  </a:lnTo>
                  <a:lnTo>
                    <a:pt x="1426958" y="1377779"/>
                  </a:lnTo>
                  <a:lnTo>
                    <a:pt x="1429712" y="1377386"/>
                  </a:lnTo>
                  <a:lnTo>
                    <a:pt x="1432072" y="1380140"/>
                  </a:lnTo>
                  <a:lnTo>
                    <a:pt x="1434826" y="1379353"/>
                  </a:lnTo>
                  <a:lnTo>
                    <a:pt x="1437580" y="1380140"/>
                  </a:lnTo>
                  <a:lnTo>
                    <a:pt x="1439154" y="1379746"/>
                  </a:lnTo>
                  <a:lnTo>
                    <a:pt x="1439941" y="1376992"/>
                  </a:lnTo>
                  <a:lnTo>
                    <a:pt x="1450563" y="1380140"/>
                  </a:lnTo>
                  <a:lnTo>
                    <a:pt x="1450563" y="1381320"/>
                  </a:lnTo>
                  <a:lnTo>
                    <a:pt x="1452531" y="1380926"/>
                  </a:lnTo>
                  <a:lnTo>
                    <a:pt x="1455285" y="1378959"/>
                  </a:lnTo>
                  <a:lnTo>
                    <a:pt x="1456858" y="1377386"/>
                  </a:lnTo>
                  <a:lnTo>
                    <a:pt x="1456858" y="1374632"/>
                  </a:lnTo>
                  <a:lnTo>
                    <a:pt x="1458825" y="1371484"/>
                  </a:lnTo>
                  <a:lnTo>
                    <a:pt x="1456465" y="1368730"/>
                  </a:lnTo>
                  <a:lnTo>
                    <a:pt x="1456465" y="1368337"/>
                  </a:lnTo>
                  <a:lnTo>
                    <a:pt x="1456465" y="1365189"/>
                  </a:lnTo>
                  <a:lnTo>
                    <a:pt x="1461186" y="1367943"/>
                  </a:lnTo>
                  <a:lnTo>
                    <a:pt x="1473382" y="1386828"/>
                  </a:lnTo>
                  <a:lnTo>
                    <a:pt x="1479677" y="1382894"/>
                  </a:lnTo>
                  <a:lnTo>
                    <a:pt x="1482431" y="1384861"/>
                  </a:lnTo>
                  <a:lnTo>
                    <a:pt x="1482824" y="1382107"/>
                  </a:lnTo>
                  <a:lnTo>
                    <a:pt x="1485972" y="1380533"/>
                  </a:lnTo>
                  <a:lnTo>
                    <a:pt x="1486759" y="1378172"/>
                  </a:lnTo>
                  <a:lnTo>
                    <a:pt x="1483611" y="1373845"/>
                  </a:lnTo>
                  <a:lnTo>
                    <a:pt x="1483611" y="1373058"/>
                  </a:lnTo>
                  <a:lnTo>
                    <a:pt x="1483218" y="1373058"/>
                  </a:lnTo>
                  <a:lnTo>
                    <a:pt x="1472595" y="1367157"/>
                  </a:lnTo>
                  <a:lnTo>
                    <a:pt x="1478103" y="1356927"/>
                  </a:lnTo>
                  <a:lnTo>
                    <a:pt x="1481251" y="1357321"/>
                  </a:lnTo>
                  <a:lnTo>
                    <a:pt x="1482824" y="1354567"/>
                  </a:lnTo>
                  <a:lnTo>
                    <a:pt x="1483218" y="1351813"/>
                  </a:lnTo>
                  <a:lnTo>
                    <a:pt x="1482038" y="1349846"/>
                  </a:lnTo>
                  <a:lnTo>
                    <a:pt x="1479283" y="1349452"/>
                  </a:lnTo>
                  <a:lnTo>
                    <a:pt x="1478103" y="1349846"/>
                  </a:lnTo>
                  <a:lnTo>
                    <a:pt x="1470235" y="1349846"/>
                  </a:lnTo>
                  <a:lnTo>
                    <a:pt x="1472989" y="1348272"/>
                  </a:lnTo>
                  <a:lnTo>
                    <a:pt x="1475743" y="1346305"/>
                  </a:lnTo>
                  <a:lnTo>
                    <a:pt x="1476923" y="1344731"/>
                  </a:lnTo>
                  <a:lnTo>
                    <a:pt x="1471415" y="1344338"/>
                  </a:lnTo>
                  <a:lnTo>
                    <a:pt x="1471022" y="1344338"/>
                  </a:lnTo>
                  <a:lnTo>
                    <a:pt x="1466300" y="1346698"/>
                  </a:lnTo>
                  <a:lnTo>
                    <a:pt x="1465907" y="1346698"/>
                  </a:lnTo>
                  <a:lnTo>
                    <a:pt x="1461973" y="1347092"/>
                  </a:lnTo>
                  <a:lnTo>
                    <a:pt x="1459612" y="1339223"/>
                  </a:lnTo>
                  <a:lnTo>
                    <a:pt x="1466300" y="1336863"/>
                  </a:lnTo>
                  <a:lnTo>
                    <a:pt x="1468661" y="1338436"/>
                  </a:lnTo>
                  <a:lnTo>
                    <a:pt x="1473382" y="1341977"/>
                  </a:lnTo>
                  <a:lnTo>
                    <a:pt x="1474562" y="1341584"/>
                  </a:lnTo>
                  <a:lnTo>
                    <a:pt x="1477316" y="1343551"/>
                  </a:lnTo>
                  <a:lnTo>
                    <a:pt x="1478890" y="1343551"/>
                  </a:lnTo>
                  <a:lnTo>
                    <a:pt x="1478890" y="1343944"/>
                  </a:lnTo>
                  <a:lnTo>
                    <a:pt x="1481644" y="1343157"/>
                  </a:lnTo>
                  <a:lnTo>
                    <a:pt x="1484398" y="1341977"/>
                  </a:lnTo>
                  <a:lnTo>
                    <a:pt x="1487152" y="1339617"/>
                  </a:lnTo>
                  <a:lnTo>
                    <a:pt x="1488726" y="1338043"/>
                  </a:lnTo>
                  <a:lnTo>
                    <a:pt x="1488332" y="1337650"/>
                  </a:lnTo>
                  <a:lnTo>
                    <a:pt x="1489906" y="1337650"/>
                  </a:lnTo>
                  <a:lnTo>
                    <a:pt x="1490299" y="1337650"/>
                  </a:lnTo>
                  <a:lnTo>
                    <a:pt x="1492660" y="1337650"/>
                  </a:lnTo>
                  <a:lnTo>
                    <a:pt x="1495414" y="1336863"/>
                  </a:lnTo>
                  <a:lnTo>
                    <a:pt x="1497381" y="1336469"/>
                  </a:lnTo>
                  <a:lnTo>
                    <a:pt x="1499742" y="1336076"/>
                  </a:lnTo>
                  <a:lnTo>
                    <a:pt x="1501315" y="1336076"/>
                  </a:lnTo>
                  <a:lnTo>
                    <a:pt x="1502102" y="1335682"/>
                  </a:lnTo>
                  <a:lnTo>
                    <a:pt x="1501315" y="1335289"/>
                  </a:lnTo>
                  <a:lnTo>
                    <a:pt x="1501709" y="1334896"/>
                  </a:lnTo>
                  <a:lnTo>
                    <a:pt x="1503282" y="1335289"/>
                  </a:lnTo>
                  <a:lnTo>
                    <a:pt x="1506036" y="1337650"/>
                  </a:lnTo>
                  <a:lnTo>
                    <a:pt x="1509184" y="1337256"/>
                  </a:lnTo>
                  <a:lnTo>
                    <a:pt x="1509577" y="1336469"/>
                  </a:lnTo>
                  <a:lnTo>
                    <a:pt x="1509971" y="1336469"/>
                  </a:lnTo>
                  <a:lnTo>
                    <a:pt x="1512725" y="1338830"/>
                  </a:lnTo>
                  <a:lnTo>
                    <a:pt x="1515085" y="1336469"/>
                  </a:lnTo>
                  <a:lnTo>
                    <a:pt x="1517839" y="1336076"/>
                  </a:lnTo>
                  <a:lnTo>
                    <a:pt x="1520593" y="1336863"/>
                  </a:lnTo>
                  <a:lnTo>
                    <a:pt x="1523741" y="1335682"/>
                  </a:lnTo>
                  <a:lnTo>
                    <a:pt x="1524528" y="1332928"/>
                  </a:lnTo>
                  <a:lnTo>
                    <a:pt x="1525708" y="1330174"/>
                  </a:lnTo>
                  <a:lnTo>
                    <a:pt x="1527282" y="1327420"/>
                  </a:lnTo>
                  <a:lnTo>
                    <a:pt x="1528855" y="1325847"/>
                  </a:lnTo>
                  <a:lnTo>
                    <a:pt x="1529249" y="1324667"/>
                  </a:lnTo>
                  <a:lnTo>
                    <a:pt x="1529249" y="1325847"/>
                  </a:lnTo>
                  <a:lnTo>
                    <a:pt x="1529642" y="1326634"/>
                  </a:lnTo>
                  <a:lnTo>
                    <a:pt x="1530822" y="1327027"/>
                  </a:lnTo>
                  <a:lnTo>
                    <a:pt x="1531216" y="1329781"/>
                  </a:lnTo>
                  <a:lnTo>
                    <a:pt x="1530036" y="1332535"/>
                  </a:lnTo>
                  <a:lnTo>
                    <a:pt x="1529642" y="1335289"/>
                  </a:lnTo>
                  <a:lnTo>
                    <a:pt x="1532003" y="1338043"/>
                  </a:lnTo>
                  <a:lnTo>
                    <a:pt x="1530036" y="1340797"/>
                  </a:lnTo>
                  <a:lnTo>
                    <a:pt x="1527282" y="1340404"/>
                  </a:lnTo>
                  <a:lnTo>
                    <a:pt x="1530036" y="1341190"/>
                  </a:lnTo>
                  <a:lnTo>
                    <a:pt x="1533183" y="1341190"/>
                  </a:lnTo>
                  <a:lnTo>
                    <a:pt x="1535937" y="1340797"/>
                  </a:lnTo>
                  <a:lnTo>
                    <a:pt x="1538691" y="1339223"/>
                  </a:lnTo>
                  <a:lnTo>
                    <a:pt x="1541445" y="1337650"/>
                  </a:lnTo>
                  <a:lnTo>
                    <a:pt x="1543019" y="1335682"/>
                  </a:lnTo>
                  <a:lnTo>
                    <a:pt x="1544199" y="1333322"/>
                  </a:lnTo>
                  <a:lnTo>
                    <a:pt x="1545773" y="1335289"/>
                  </a:lnTo>
                  <a:lnTo>
                    <a:pt x="1543019" y="1338043"/>
                  </a:lnTo>
                  <a:lnTo>
                    <a:pt x="1540265" y="1339223"/>
                  </a:lnTo>
                  <a:lnTo>
                    <a:pt x="1543019" y="1339223"/>
                  </a:lnTo>
                  <a:lnTo>
                    <a:pt x="1546166" y="1338830"/>
                  </a:lnTo>
                  <a:lnTo>
                    <a:pt x="1548526" y="1336076"/>
                  </a:lnTo>
                  <a:lnTo>
                    <a:pt x="1550100" y="1335289"/>
                  </a:lnTo>
                  <a:lnTo>
                    <a:pt x="1552067" y="1332535"/>
                  </a:lnTo>
                  <a:lnTo>
                    <a:pt x="1551674" y="1332142"/>
                  </a:lnTo>
                  <a:lnTo>
                    <a:pt x="1551674" y="1331748"/>
                  </a:lnTo>
                  <a:lnTo>
                    <a:pt x="1553248" y="1330961"/>
                  </a:lnTo>
                  <a:lnTo>
                    <a:pt x="1553248" y="1334502"/>
                  </a:lnTo>
                  <a:lnTo>
                    <a:pt x="1555608" y="1331355"/>
                  </a:lnTo>
                  <a:lnTo>
                    <a:pt x="1556789" y="1329781"/>
                  </a:lnTo>
                  <a:lnTo>
                    <a:pt x="1557182" y="1329388"/>
                  </a:lnTo>
                  <a:lnTo>
                    <a:pt x="1556002" y="1332142"/>
                  </a:lnTo>
                  <a:lnTo>
                    <a:pt x="1556395" y="1332535"/>
                  </a:lnTo>
                  <a:lnTo>
                    <a:pt x="1555608" y="1335682"/>
                  </a:lnTo>
                  <a:lnTo>
                    <a:pt x="1554428" y="1336076"/>
                  </a:lnTo>
                  <a:lnTo>
                    <a:pt x="1551280" y="1336469"/>
                  </a:lnTo>
                  <a:lnTo>
                    <a:pt x="1554035" y="1336469"/>
                  </a:lnTo>
                  <a:lnTo>
                    <a:pt x="1557182" y="1336076"/>
                  </a:lnTo>
                  <a:lnTo>
                    <a:pt x="1558362" y="1335682"/>
                  </a:lnTo>
                  <a:lnTo>
                    <a:pt x="1567018" y="1334896"/>
                  </a:lnTo>
                  <a:lnTo>
                    <a:pt x="1580394" y="1334502"/>
                  </a:lnTo>
                  <a:lnTo>
                    <a:pt x="1578820" y="1336076"/>
                  </a:lnTo>
                  <a:lnTo>
                    <a:pt x="1574099" y="1336076"/>
                  </a:lnTo>
                  <a:lnTo>
                    <a:pt x="1572132" y="1335682"/>
                  </a:lnTo>
                  <a:lnTo>
                    <a:pt x="1571345" y="1335289"/>
                  </a:lnTo>
                  <a:lnTo>
                    <a:pt x="1570165" y="1335289"/>
                  </a:lnTo>
                  <a:lnTo>
                    <a:pt x="1572919" y="1336469"/>
                  </a:lnTo>
                  <a:lnTo>
                    <a:pt x="1573313" y="1336469"/>
                  </a:lnTo>
                  <a:lnTo>
                    <a:pt x="1582755" y="1340010"/>
                  </a:lnTo>
                  <a:lnTo>
                    <a:pt x="1584722" y="1340797"/>
                  </a:lnTo>
                  <a:lnTo>
                    <a:pt x="1587476" y="1342764"/>
                  </a:lnTo>
                  <a:lnTo>
                    <a:pt x="1589836" y="1342371"/>
                  </a:lnTo>
                  <a:lnTo>
                    <a:pt x="1587869" y="1339223"/>
                  </a:lnTo>
                  <a:lnTo>
                    <a:pt x="1590623" y="1339617"/>
                  </a:lnTo>
                  <a:lnTo>
                    <a:pt x="1592984" y="1339223"/>
                  </a:lnTo>
                  <a:lnTo>
                    <a:pt x="1592984" y="1340404"/>
                  </a:lnTo>
                  <a:lnTo>
                    <a:pt x="1591017" y="1342371"/>
                  </a:lnTo>
                  <a:lnTo>
                    <a:pt x="1593377" y="1344731"/>
                  </a:lnTo>
                  <a:lnTo>
                    <a:pt x="1592984" y="1345912"/>
                  </a:lnTo>
                  <a:lnTo>
                    <a:pt x="1594557" y="1348665"/>
                  </a:lnTo>
                  <a:lnTo>
                    <a:pt x="1594951" y="1349059"/>
                  </a:lnTo>
                  <a:lnTo>
                    <a:pt x="1594557" y="1349059"/>
                  </a:lnTo>
                  <a:lnTo>
                    <a:pt x="1594164" y="1349059"/>
                  </a:lnTo>
                  <a:lnTo>
                    <a:pt x="1596918" y="1351026"/>
                  </a:lnTo>
                  <a:lnTo>
                    <a:pt x="1598492" y="1353780"/>
                  </a:lnTo>
                  <a:lnTo>
                    <a:pt x="1598885" y="1356927"/>
                  </a:lnTo>
                  <a:lnTo>
                    <a:pt x="1597311" y="1359681"/>
                  </a:lnTo>
                  <a:lnTo>
                    <a:pt x="1598885" y="1359681"/>
                  </a:lnTo>
                  <a:lnTo>
                    <a:pt x="1601639" y="1359288"/>
                  </a:lnTo>
                  <a:lnTo>
                    <a:pt x="1604787" y="1358895"/>
                  </a:lnTo>
                  <a:lnTo>
                    <a:pt x="1607540" y="1358501"/>
                  </a:lnTo>
                  <a:lnTo>
                    <a:pt x="1607934" y="1358108"/>
                  </a:lnTo>
                  <a:lnTo>
                    <a:pt x="1608327" y="1357714"/>
                  </a:lnTo>
                  <a:lnTo>
                    <a:pt x="1610688" y="1357321"/>
                  </a:lnTo>
                  <a:lnTo>
                    <a:pt x="1613442" y="1356927"/>
                  </a:lnTo>
                  <a:lnTo>
                    <a:pt x="1616196" y="1355354"/>
                  </a:lnTo>
                  <a:lnTo>
                    <a:pt x="1619343" y="1353780"/>
                  </a:lnTo>
                  <a:lnTo>
                    <a:pt x="1622097" y="1352206"/>
                  </a:lnTo>
                  <a:lnTo>
                    <a:pt x="1624851" y="1351813"/>
                  </a:lnTo>
                  <a:lnTo>
                    <a:pt x="1624458" y="1349059"/>
                  </a:lnTo>
                  <a:lnTo>
                    <a:pt x="1624851" y="1349059"/>
                  </a:lnTo>
                  <a:lnTo>
                    <a:pt x="1626425" y="1349059"/>
                  </a:lnTo>
                  <a:lnTo>
                    <a:pt x="1642162" y="1349059"/>
                  </a:lnTo>
                  <a:lnTo>
                    <a:pt x="1651211" y="1364402"/>
                  </a:lnTo>
                  <a:lnTo>
                    <a:pt x="1651211" y="1365189"/>
                  </a:lnTo>
                  <a:lnTo>
                    <a:pt x="1653178" y="1367550"/>
                  </a:lnTo>
                  <a:lnTo>
                    <a:pt x="1656325" y="1372664"/>
                  </a:lnTo>
                  <a:lnTo>
                    <a:pt x="1653965" y="1421843"/>
                  </a:lnTo>
                  <a:lnTo>
                    <a:pt x="1654752" y="1424990"/>
                  </a:lnTo>
                  <a:lnTo>
                    <a:pt x="1655538" y="1427744"/>
                  </a:lnTo>
                  <a:lnTo>
                    <a:pt x="1655145" y="1424990"/>
                  </a:lnTo>
                  <a:lnTo>
                    <a:pt x="1657506" y="1427744"/>
                  </a:lnTo>
                  <a:lnTo>
                    <a:pt x="1659866" y="1424597"/>
                  </a:lnTo>
                  <a:lnTo>
                    <a:pt x="1659866" y="1424203"/>
                  </a:lnTo>
                  <a:lnTo>
                    <a:pt x="1659866" y="1430892"/>
                  </a:lnTo>
                  <a:lnTo>
                    <a:pt x="1658293" y="1433646"/>
                  </a:lnTo>
                  <a:lnTo>
                    <a:pt x="1655538" y="1434432"/>
                  </a:lnTo>
                  <a:lnTo>
                    <a:pt x="1658293" y="1437186"/>
                  </a:lnTo>
                  <a:lnTo>
                    <a:pt x="1658686" y="1439940"/>
                  </a:lnTo>
                  <a:lnTo>
                    <a:pt x="1658686" y="1443088"/>
                  </a:lnTo>
                  <a:lnTo>
                    <a:pt x="1659866" y="1448596"/>
                  </a:lnTo>
                  <a:lnTo>
                    <a:pt x="1660653" y="1451743"/>
                  </a:lnTo>
                  <a:lnTo>
                    <a:pt x="1661047" y="1453710"/>
                  </a:lnTo>
                  <a:lnTo>
                    <a:pt x="1662620" y="1456464"/>
                  </a:lnTo>
                  <a:lnTo>
                    <a:pt x="1665374" y="1457251"/>
                  </a:lnTo>
                  <a:lnTo>
                    <a:pt x="1666161" y="1455677"/>
                  </a:lnTo>
                  <a:lnTo>
                    <a:pt x="1669702" y="1457251"/>
                  </a:lnTo>
                  <a:lnTo>
                    <a:pt x="1669702" y="1457645"/>
                  </a:lnTo>
                  <a:lnTo>
                    <a:pt x="1668128" y="1460792"/>
                  </a:lnTo>
                  <a:lnTo>
                    <a:pt x="1668128" y="1466300"/>
                  </a:lnTo>
                  <a:lnTo>
                    <a:pt x="1670489" y="1466300"/>
                  </a:lnTo>
                  <a:lnTo>
                    <a:pt x="1668915" y="1467087"/>
                  </a:lnTo>
                  <a:lnTo>
                    <a:pt x="1672062" y="1469447"/>
                  </a:lnTo>
                  <a:lnTo>
                    <a:pt x="1672456" y="1472595"/>
                  </a:lnTo>
                  <a:lnTo>
                    <a:pt x="1672062" y="1478103"/>
                  </a:lnTo>
                  <a:lnTo>
                    <a:pt x="1672062" y="1480857"/>
                  </a:lnTo>
                  <a:lnTo>
                    <a:pt x="1673636" y="1483217"/>
                  </a:lnTo>
                  <a:lnTo>
                    <a:pt x="1673243" y="1485578"/>
                  </a:lnTo>
                  <a:lnTo>
                    <a:pt x="1685045" y="1509183"/>
                  </a:lnTo>
                  <a:lnTo>
                    <a:pt x="1685439" y="1511937"/>
                  </a:lnTo>
                  <a:lnTo>
                    <a:pt x="1688193" y="1513511"/>
                  </a:lnTo>
                  <a:lnTo>
                    <a:pt x="1690947" y="1513118"/>
                  </a:lnTo>
                  <a:lnTo>
                    <a:pt x="1694094" y="1511937"/>
                  </a:lnTo>
                  <a:lnTo>
                    <a:pt x="1696848" y="1513118"/>
                  </a:lnTo>
                  <a:lnTo>
                    <a:pt x="1699602" y="1512724"/>
                  </a:lnTo>
                  <a:lnTo>
                    <a:pt x="1702356" y="1509970"/>
                  </a:lnTo>
                  <a:lnTo>
                    <a:pt x="1705110" y="1511544"/>
                  </a:lnTo>
                  <a:lnTo>
                    <a:pt x="1707471" y="1508397"/>
                  </a:lnTo>
                  <a:lnTo>
                    <a:pt x="1710618" y="1505643"/>
                  </a:lnTo>
                  <a:lnTo>
                    <a:pt x="1710225" y="1502889"/>
                  </a:lnTo>
                  <a:lnTo>
                    <a:pt x="1711798" y="1500135"/>
                  </a:lnTo>
                  <a:lnTo>
                    <a:pt x="1716913" y="1492266"/>
                  </a:lnTo>
                  <a:lnTo>
                    <a:pt x="1718093" y="1489119"/>
                  </a:lnTo>
                  <a:lnTo>
                    <a:pt x="1720061" y="1486365"/>
                  </a:lnTo>
                  <a:lnTo>
                    <a:pt x="1720454" y="1483217"/>
                  </a:lnTo>
                  <a:lnTo>
                    <a:pt x="1721241" y="1480463"/>
                  </a:lnTo>
                  <a:lnTo>
                    <a:pt x="1722028" y="1477316"/>
                  </a:lnTo>
                  <a:lnTo>
                    <a:pt x="1723208" y="1474562"/>
                  </a:lnTo>
                  <a:lnTo>
                    <a:pt x="1725568" y="1465907"/>
                  </a:lnTo>
                  <a:lnTo>
                    <a:pt x="1726749" y="1462759"/>
                  </a:lnTo>
                  <a:lnTo>
                    <a:pt x="1727142" y="1460399"/>
                  </a:lnTo>
                  <a:lnTo>
                    <a:pt x="1727535" y="1457645"/>
                  </a:lnTo>
                  <a:lnTo>
                    <a:pt x="1727535" y="1454497"/>
                  </a:lnTo>
                  <a:lnTo>
                    <a:pt x="1727142" y="1452923"/>
                  </a:lnTo>
                  <a:lnTo>
                    <a:pt x="1727142" y="1452530"/>
                  </a:lnTo>
                  <a:lnTo>
                    <a:pt x="1727535" y="1449776"/>
                  </a:lnTo>
                  <a:lnTo>
                    <a:pt x="1726749" y="1446629"/>
                  </a:lnTo>
                  <a:lnTo>
                    <a:pt x="1725175" y="1443875"/>
                  </a:lnTo>
                  <a:lnTo>
                    <a:pt x="1724782" y="1443875"/>
                  </a:lnTo>
                  <a:lnTo>
                    <a:pt x="1723995" y="1444268"/>
                  </a:lnTo>
                  <a:lnTo>
                    <a:pt x="1724388" y="1443875"/>
                  </a:lnTo>
                  <a:lnTo>
                    <a:pt x="1725175" y="1440727"/>
                  </a:lnTo>
                  <a:lnTo>
                    <a:pt x="1724388" y="1437973"/>
                  </a:lnTo>
                  <a:lnTo>
                    <a:pt x="1723995" y="1434826"/>
                  </a:lnTo>
                  <a:lnTo>
                    <a:pt x="1723601" y="1432072"/>
                  </a:lnTo>
                  <a:lnTo>
                    <a:pt x="1723601" y="1429318"/>
                  </a:lnTo>
                  <a:lnTo>
                    <a:pt x="1723208" y="1426564"/>
                  </a:lnTo>
                  <a:lnTo>
                    <a:pt x="1722815" y="1423416"/>
                  </a:lnTo>
                  <a:lnTo>
                    <a:pt x="1722028" y="1420663"/>
                  </a:lnTo>
                  <a:lnTo>
                    <a:pt x="1720847" y="1415155"/>
                  </a:lnTo>
                  <a:lnTo>
                    <a:pt x="1720454" y="1412007"/>
                  </a:lnTo>
                  <a:lnTo>
                    <a:pt x="1719274" y="1406499"/>
                  </a:lnTo>
                  <a:lnTo>
                    <a:pt x="1718880" y="1404925"/>
                  </a:lnTo>
                  <a:lnTo>
                    <a:pt x="1721241" y="1413581"/>
                  </a:lnTo>
                  <a:lnTo>
                    <a:pt x="1721241" y="1415155"/>
                  </a:lnTo>
                  <a:lnTo>
                    <a:pt x="1722815" y="1420663"/>
                  </a:lnTo>
                  <a:lnTo>
                    <a:pt x="1723208" y="1422236"/>
                  </a:lnTo>
                  <a:lnTo>
                    <a:pt x="1721634" y="1408073"/>
                  </a:lnTo>
                  <a:lnTo>
                    <a:pt x="1721634" y="1407679"/>
                  </a:lnTo>
                  <a:lnTo>
                    <a:pt x="1722421" y="1404925"/>
                  </a:lnTo>
                  <a:lnTo>
                    <a:pt x="1724782" y="1401778"/>
                  </a:lnTo>
                  <a:lnTo>
                    <a:pt x="1724388" y="1399024"/>
                  </a:lnTo>
                  <a:lnTo>
                    <a:pt x="1723601" y="1396270"/>
                  </a:lnTo>
                  <a:lnTo>
                    <a:pt x="1722421" y="1393516"/>
                  </a:lnTo>
                  <a:lnTo>
                    <a:pt x="1721241" y="1390369"/>
                  </a:lnTo>
                  <a:lnTo>
                    <a:pt x="1720454" y="1387615"/>
                  </a:lnTo>
                  <a:lnTo>
                    <a:pt x="1719274" y="1384861"/>
                  </a:lnTo>
                  <a:lnTo>
                    <a:pt x="1718880" y="1382894"/>
                  </a:lnTo>
                  <a:lnTo>
                    <a:pt x="1714159" y="1349846"/>
                  </a:lnTo>
                  <a:lnTo>
                    <a:pt x="1714552" y="1347092"/>
                  </a:lnTo>
                  <a:lnTo>
                    <a:pt x="1714552" y="1346698"/>
                  </a:lnTo>
                  <a:lnTo>
                    <a:pt x="1715339" y="1336863"/>
                  </a:lnTo>
                  <a:lnTo>
                    <a:pt x="1714946" y="1329388"/>
                  </a:lnTo>
                  <a:lnTo>
                    <a:pt x="1716126" y="1328207"/>
                  </a:lnTo>
                  <a:lnTo>
                    <a:pt x="1714552" y="1325847"/>
                  </a:lnTo>
                  <a:lnTo>
                    <a:pt x="1716520" y="1319158"/>
                  </a:lnTo>
                  <a:lnTo>
                    <a:pt x="1718093" y="1316798"/>
                  </a:lnTo>
                  <a:lnTo>
                    <a:pt x="1718487" y="1314044"/>
                  </a:lnTo>
                  <a:lnTo>
                    <a:pt x="1720061" y="1311290"/>
                  </a:lnTo>
                  <a:lnTo>
                    <a:pt x="1723208" y="1309716"/>
                  </a:lnTo>
                  <a:lnTo>
                    <a:pt x="1725962" y="1307356"/>
                  </a:lnTo>
                  <a:lnTo>
                    <a:pt x="1723601" y="1304602"/>
                  </a:lnTo>
                  <a:lnTo>
                    <a:pt x="1721241" y="1303421"/>
                  </a:lnTo>
                  <a:lnTo>
                    <a:pt x="1723995" y="1303815"/>
                  </a:lnTo>
                  <a:lnTo>
                    <a:pt x="1726749" y="1304208"/>
                  </a:lnTo>
                  <a:lnTo>
                    <a:pt x="1726355" y="1302635"/>
                  </a:lnTo>
                  <a:lnTo>
                    <a:pt x="1727142" y="1302635"/>
                  </a:lnTo>
                  <a:lnTo>
                    <a:pt x="1729503" y="1299881"/>
                  </a:lnTo>
                  <a:lnTo>
                    <a:pt x="1729503" y="1299881"/>
                  </a:lnTo>
                  <a:lnTo>
                    <a:pt x="1740519" y="1285717"/>
                  </a:lnTo>
                  <a:lnTo>
                    <a:pt x="1741305" y="1285717"/>
                  </a:lnTo>
                  <a:lnTo>
                    <a:pt x="1741699" y="1284144"/>
                  </a:lnTo>
                  <a:lnTo>
                    <a:pt x="1742879" y="1282570"/>
                  </a:lnTo>
                  <a:lnTo>
                    <a:pt x="1744846" y="1282176"/>
                  </a:lnTo>
                  <a:lnTo>
                    <a:pt x="1744059" y="1280996"/>
                  </a:lnTo>
                  <a:lnTo>
                    <a:pt x="1746420" y="1278242"/>
                  </a:lnTo>
                  <a:lnTo>
                    <a:pt x="1748387" y="1275488"/>
                  </a:lnTo>
                  <a:lnTo>
                    <a:pt x="1746813" y="1278242"/>
                  </a:lnTo>
                  <a:lnTo>
                    <a:pt x="1749568" y="1276668"/>
                  </a:lnTo>
                  <a:lnTo>
                    <a:pt x="1751928" y="1273914"/>
                  </a:lnTo>
                  <a:lnTo>
                    <a:pt x="1749568" y="1271554"/>
                  </a:lnTo>
                  <a:lnTo>
                    <a:pt x="1751535" y="1270767"/>
                  </a:lnTo>
                  <a:lnTo>
                    <a:pt x="1752322" y="1271947"/>
                  </a:lnTo>
                  <a:lnTo>
                    <a:pt x="1752715" y="1270374"/>
                  </a:lnTo>
                  <a:lnTo>
                    <a:pt x="1753108" y="1269980"/>
                  </a:lnTo>
                  <a:lnTo>
                    <a:pt x="1753108" y="1271947"/>
                  </a:lnTo>
                  <a:lnTo>
                    <a:pt x="1755862" y="1272341"/>
                  </a:lnTo>
                  <a:lnTo>
                    <a:pt x="1759010" y="1269980"/>
                  </a:lnTo>
                  <a:lnTo>
                    <a:pt x="1756256" y="1270374"/>
                  </a:lnTo>
                  <a:lnTo>
                    <a:pt x="1759010" y="1268406"/>
                  </a:lnTo>
                  <a:lnTo>
                    <a:pt x="1758223" y="1268013"/>
                  </a:lnTo>
                  <a:lnTo>
                    <a:pt x="1774353" y="1261325"/>
                  </a:lnTo>
                  <a:lnTo>
                    <a:pt x="1774747" y="1260538"/>
                  </a:lnTo>
                  <a:lnTo>
                    <a:pt x="1774747" y="1260145"/>
                  </a:lnTo>
                  <a:lnTo>
                    <a:pt x="1777501" y="1259358"/>
                  </a:lnTo>
                  <a:lnTo>
                    <a:pt x="1778681" y="1256604"/>
                  </a:lnTo>
                  <a:lnTo>
                    <a:pt x="1778288" y="1253850"/>
                  </a:lnTo>
                  <a:lnTo>
                    <a:pt x="1778681" y="1253456"/>
                  </a:lnTo>
                  <a:lnTo>
                    <a:pt x="1780255" y="1256210"/>
                  </a:lnTo>
                  <a:lnTo>
                    <a:pt x="1783009" y="1255423"/>
                  </a:lnTo>
                  <a:lnTo>
                    <a:pt x="1786156" y="1253063"/>
                  </a:lnTo>
                  <a:lnTo>
                    <a:pt x="1788910" y="1251489"/>
                  </a:lnTo>
                  <a:lnTo>
                    <a:pt x="1789697" y="1248735"/>
                  </a:lnTo>
                  <a:lnTo>
                    <a:pt x="1792451" y="1247161"/>
                  </a:lnTo>
                  <a:lnTo>
                    <a:pt x="1795205" y="1247948"/>
                  </a:lnTo>
                  <a:lnTo>
                    <a:pt x="1798352" y="1245194"/>
                  </a:lnTo>
                  <a:lnTo>
                    <a:pt x="1798746" y="1243227"/>
                  </a:lnTo>
                  <a:lnTo>
                    <a:pt x="1801500" y="1242834"/>
                  </a:lnTo>
                  <a:lnTo>
                    <a:pt x="1802287" y="1240473"/>
                  </a:lnTo>
                  <a:lnTo>
                    <a:pt x="1803467" y="1239686"/>
                  </a:lnTo>
                  <a:lnTo>
                    <a:pt x="1803860" y="1240080"/>
                  </a:lnTo>
                  <a:lnTo>
                    <a:pt x="1805041" y="1238113"/>
                  </a:lnTo>
                  <a:lnTo>
                    <a:pt x="1825892" y="1220015"/>
                  </a:lnTo>
                  <a:lnTo>
                    <a:pt x="1827073" y="1219622"/>
                  </a:lnTo>
                  <a:lnTo>
                    <a:pt x="1827466" y="1218441"/>
                  </a:lnTo>
                  <a:lnTo>
                    <a:pt x="1827859" y="1218835"/>
                  </a:lnTo>
                  <a:lnTo>
                    <a:pt x="1831007" y="1218048"/>
                  </a:lnTo>
                  <a:lnTo>
                    <a:pt x="1833761" y="1217655"/>
                  </a:lnTo>
                  <a:lnTo>
                    <a:pt x="1836515" y="1217261"/>
                  </a:lnTo>
                  <a:lnTo>
                    <a:pt x="1839269" y="1217261"/>
                  </a:lnTo>
                  <a:lnTo>
                    <a:pt x="1842416" y="1218048"/>
                  </a:lnTo>
                  <a:lnTo>
                    <a:pt x="1845170" y="1215294"/>
                  </a:lnTo>
                  <a:lnTo>
                    <a:pt x="1846744" y="1212540"/>
                  </a:lnTo>
                  <a:lnTo>
                    <a:pt x="1847531" y="1210573"/>
                  </a:lnTo>
                  <a:lnTo>
                    <a:pt x="1847924" y="1210573"/>
                  </a:lnTo>
                  <a:lnTo>
                    <a:pt x="1847924" y="1212933"/>
                  </a:lnTo>
                  <a:lnTo>
                    <a:pt x="1847531" y="1215687"/>
                  </a:lnTo>
                  <a:lnTo>
                    <a:pt x="1849104" y="1212540"/>
                  </a:lnTo>
                  <a:lnTo>
                    <a:pt x="1850285" y="1209786"/>
                  </a:lnTo>
                  <a:lnTo>
                    <a:pt x="1884119" y="1191295"/>
                  </a:lnTo>
                  <a:lnTo>
                    <a:pt x="1885693" y="1191295"/>
                  </a:lnTo>
                  <a:lnTo>
                    <a:pt x="1888447" y="1191295"/>
                  </a:lnTo>
                  <a:lnTo>
                    <a:pt x="1888447" y="1190902"/>
                  </a:lnTo>
                  <a:lnTo>
                    <a:pt x="1885693" y="1190902"/>
                  </a:lnTo>
                  <a:lnTo>
                    <a:pt x="1884513" y="1190902"/>
                  </a:lnTo>
                  <a:lnTo>
                    <a:pt x="1886087" y="1190115"/>
                  </a:lnTo>
                  <a:lnTo>
                    <a:pt x="1888054" y="1190508"/>
                  </a:lnTo>
                  <a:lnTo>
                    <a:pt x="1894348" y="1188148"/>
                  </a:lnTo>
                  <a:lnTo>
                    <a:pt x="1897496" y="1187361"/>
                  </a:lnTo>
                  <a:lnTo>
                    <a:pt x="1900250" y="1188934"/>
                  </a:lnTo>
                  <a:lnTo>
                    <a:pt x="1903004" y="1186967"/>
                  </a:lnTo>
                  <a:lnTo>
                    <a:pt x="1905364" y="1183820"/>
                  </a:lnTo>
                  <a:lnTo>
                    <a:pt x="1908118" y="1181853"/>
                  </a:lnTo>
                  <a:lnTo>
                    <a:pt x="1909692" y="1179886"/>
                  </a:lnTo>
                  <a:lnTo>
                    <a:pt x="1908905" y="1179886"/>
                  </a:lnTo>
                  <a:lnTo>
                    <a:pt x="1906545" y="1179886"/>
                  </a:lnTo>
                  <a:lnTo>
                    <a:pt x="1904971" y="1179886"/>
                  </a:lnTo>
                  <a:lnTo>
                    <a:pt x="1903791" y="1179886"/>
                  </a:lnTo>
                  <a:lnTo>
                    <a:pt x="1903397" y="1179886"/>
                  </a:lnTo>
                  <a:lnTo>
                    <a:pt x="1897889" y="1179886"/>
                  </a:lnTo>
                  <a:lnTo>
                    <a:pt x="1917561" y="1168083"/>
                  </a:lnTo>
                  <a:lnTo>
                    <a:pt x="1920708" y="1166509"/>
                  </a:lnTo>
                  <a:lnTo>
                    <a:pt x="1923068" y="1163755"/>
                  </a:lnTo>
                  <a:lnTo>
                    <a:pt x="1925823" y="1161395"/>
                  </a:lnTo>
                  <a:lnTo>
                    <a:pt x="1927790" y="1158247"/>
                  </a:lnTo>
                  <a:lnTo>
                    <a:pt x="1930937" y="1159427"/>
                  </a:lnTo>
                  <a:lnTo>
                    <a:pt x="1931724" y="1156280"/>
                  </a:lnTo>
                  <a:lnTo>
                    <a:pt x="1933691" y="1153526"/>
                  </a:lnTo>
                  <a:lnTo>
                    <a:pt x="1934084" y="1150772"/>
                  </a:lnTo>
                  <a:lnTo>
                    <a:pt x="1933298" y="1148018"/>
                  </a:lnTo>
                  <a:lnTo>
                    <a:pt x="1930544" y="1149985"/>
                  </a:lnTo>
                  <a:lnTo>
                    <a:pt x="1927790" y="1149985"/>
                  </a:lnTo>
                  <a:lnTo>
                    <a:pt x="1927003" y="1153133"/>
                  </a:lnTo>
                  <a:lnTo>
                    <a:pt x="1925823" y="1155887"/>
                  </a:lnTo>
                  <a:lnTo>
                    <a:pt x="1923068" y="1157460"/>
                  </a:lnTo>
                  <a:lnTo>
                    <a:pt x="1925036" y="1154313"/>
                  </a:lnTo>
                  <a:lnTo>
                    <a:pt x="1925429" y="1151559"/>
                  </a:lnTo>
                  <a:lnTo>
                    <a:pt x="1927396" y="1148411"/>
                  </a:lnTo>
                  <a:lnTo>
                    <a:pt x="1924642" y="1146051"/>
                  </a:lnTo>
                  <a:lnTo>
                    <a:pt x="1921888" y="1146444"/>
                  </a:lnTo>
                  <a:lnTo>
                    <a:pt x="1919134" y="1148018"/>
                  </a:lnTo>
                  <a:lnTo>
                    <a:pt x="1915987" y="1146838"/>
                  </a:lnTo>
                  <a:lnTo>
                    <a:pt x="1912839" y="1148018"/>
                  </a:lnTo>
                  <a:lnTo>
                    <a:pt x="1910085" y="1148411"/>
                  </a:lnTo>
                  <a:lnTo>
                    <a:pt x="1908905" y="1148018"/>
                  </a:lnTo>
                  <a:lnTo>
                    <a:pt x="1914413" y="1145658"/>
                  </a:lnTo>
                  <a:lnTo>
                    <a:pt x="1915200" y="1145658"/>
                  </a:lnTo>
                  <a:lnTo>
                    <a:pt x="1917167" y="1144477"/>
                  </a:lnTo>
                  <a:lnTo>
                    <a:pt x="1920708" y="1142904"/>
                  </a:lnTo>
                  <a:lnTo>
                    <a:pt x="1921888" y="1141723"/>
                  </a:lnTo>
                  <a:lnTo>
                    <a:pt x="1924249" y="1142510"/>
                  </a:lnTo>
                  <a:lnTo>
                    <a:pt x="1923462" y="1139756"/>
                  </a:lnTo>
                  <a:lnTo>
                    <a:pt x="1923462" y="1139756"/>
                  </a:lnTo>
                  <a:lnTo>
                    <a:pt x="1926609" y="1141723"/>
                  </a:lnTo>
                  <a:lnTo>
                    <a:pt x="1929363" y="1140543"/>
                  </a:lnTo>
                  <a:lnTo>
                    <a:pt x="1927790" y="1137396"/>
                  </a:lnTo>
                  <a:lnTo>
                    <a:pt x="1930937" y="1139756"/>
                  </a:lnTo>
                  <a:lnTo>
                    <a:pt x="1933298" y="1136609"/>
                  </a:lnTo>
                  <a:lnTo>
                    <a:pt x="1934871" y="1139756"/>
                  </a:lnTo>
                  <a:lnTo>
                    <a:pt x="1934871" y="1142510"/>
                  </a:lnTo>
                  <a:lnTo>
                    <a:pt x="1936052" y="1139363"/>
                  </a:lnTo>
                  <a:lnTo>
                    <a:pt x="1936052" y="1136609"/>
                  </a:lnTo>
                  <a:lnTo>
                    <a:pt x="1935265" y="1133855"/>
                  </a:lnTo>
                  <a:lnTo>
                    <a:pt x="1934084" y="1131101"/>
                  </a:lnTo>
                  <a:lnTo>
                    <a:pt x="1934084" y="1127953"/>
                  </a:lnTo>
                  <a:lnTo>
                    <a:pt x="1934478" y="1127560"/>
                  </a:lnTo>
                  <a:lnTo>
                    <a:pt x="1934084" y="1125986"/>
                  </a:lnTo>
                  <a:lnTo>
                    <a:pt x="1934478" y="1127560"/>
                  </a:lnTo>
                  <a:lnTo>
                    <a:pt x="1935658" y="1127560"/>
                  </a:lnTo>
                  <a:lnTo>
                    <a:pt x="1936445" y="1127560"/>
                  </a:lnTo>
                  <a:lnTo>
                    <a:pt x="1937232" y="1127560"/>
                  </a:lnTo>
                  <a:lnTo>
                    <a:pt x="1938019" y="1127560"/>
                  </a:lnTo>
                  <a:lnTo>
                    <a:pt x="1937625" y="1130314"/>
                  </a:lnTo>
                  <a:lnTo>
                    <a:pt x="1937625" y="1133068"/>
                  </a:lnTo>
                  <a:lnTo>
                    <a:pt x="1937232" y="1136215"/>
                  </a:lnTo>
                  <a:lnTo>
                    <a:pt x="1938019" y="1138969"/>
                  </a:lnTo>
                  <a:lnTo>
                    <a:pt x="1937625" y="1141723"/>
                  </a:lnTo>
                  <a:lnTo>
                    <a:pt x="1938019" y="1144871"/>
                  </a:lnTo>
                  <a:lnTo>
                    <a:pt x="1938412" y="1147625"/>
                  </a:lnTo>
                  <a:lnTo>
                    <a:pt x="1938806" y="1150379"/>
                  </a:lnTo>
                  <a:lnTo>
                    <a:pt x="1939199" y="1147625"/>
                  </a:lnTo>
                  <a:lnTo>
                    <a:pt x="1938806" y="1144871"/>
                  </a:lnTo>
                  <a:lnTo>
                    <a:pt x="1938019" y="1142117"/>
                  </a:lnTo>
                  <a:lnTo>
                    <a:pt x="1938019" y="1139363"/>
                  </a:lnTo>
                  <a:lnTo>
                    <a:pt x="1937625" y="1136609"/>
                  </a:lnTo>
                  <a:lnTo>
                    <a:pt x="1938019" y="1133461"/>
                  </a:lnTo>
                  <a:lnTo>
                    <a:pt x="1938412" y="1127953"/>
                  </a:lnTo>
                  <a:lnTo>
                    <a:pt x="1938412" y="1127560"/>
                  </a:lnTo>
                  <a:lnTo>
                    <a:pt x="1938412" y="1124412"/>
                  </a:lnTo>
                  <a:lnTo>
                    <a:pt x="1938019" y="1121659"/>
                  </a:lnTo>
                  <a:lnTo>
                    <a:pt x="1938412" y="1118511"/>
                  </a:lnTo>
                  <a:lnTo>
                    <a:pt x="1938412" y="1115757"/>
                  </a:lnTo>
                  <a:lnTo>
                    <a:pt x="1935658" y="1115364"/>
                  </a:lnTo>
                  <a:lnTo>
                    <a:pt x="1932904" y="1114970"/>
                  </a:lnTo>
                  <a:lnTo>
                    <a:pt x="1929757" y="1113397"/>
                  </a:lnTo>
                  <a:lnTo>
                    <a:pt x="1928970" y="1115364"/>
                  </a:lnTo>
                  <a:lnTo>
                    <a:pt x="1928970" y="1116937"/>
                  </a:lnTo>
                  <a:lnTo>
                    <a:pt x="1926216" y="1114970"/>
                  </a:lnTo>
                  <a:lnTo>
                    <a:pt x="1924642" y="1113790"/>
                  </a:lnTo>
                  <a:lnTo>
                    <a:pt x="1923068" y="1110643"/>
                  </a:lnTo>
                  <a:lnTo>
                    <a:pt x="1921888" y="1107889"/>
                  </a:lnTo>
                  <a:lnTo>
                    <a:pt x="1919134" y="1105528"/>
                  </a:lnTo>
                  <a:lnTo>
                    <a:pt x="1915987" y="1104741"/>
                  </a:lnTo>
                  <a:lnTo>
                    <a:pt x="1914020" y="1101987"/>
                  </a:lnTo>
                  <a:lnTo>
                    <a:pt x="1911266" y="1101987"/>
                  </a:lnTo>
                  <a:lnTo>
                    <a:pt x="1909692" y="1101987"/>
                  </a:lnTo>
                  <a:lnTo>
                    <a:pt x="1907725" y="1100414"/>
                  </a:lnTo>
                  <a:lnTo>
                    <a:pt x="1910479" y="1101200"/>
                  </a:lnTo>
                  <a:lnTo>
                    <a:pt x="1911266" y="1101200"/>
                  </a:lnTo>
                  <a:lnTo>
                    <a:pt x="1914413" y="1101987"/>
                  </a:lnTo>
                  <a:lnTo>
                    <a:pt x="1916774" y="1103561"/>
                  </a:lnTo>
                  <a:lnTo>
                    <a:pt x="1919528" y="1103954"/>
                  </a:lnTo>
                  <a:lnTo>
                    <a:pt x="1922282" y="1104348"/>
                  </a:lnTo>
                  <a:lnTo>
                    <a:pt x="1923068" y="1104348"/>
                  </a:lnTo>
                  <a:lnTo>
                    <a:pt x="1923462" y="1107102"/>
                  </a:lnTo>
                  <a:lnTo>
                    <a:pt x="1925823" y="1109856"/>
                  </a:lnTo>
                  <a:lnTo>
                    <a:pt x="1927396" y="1113003"/>
                  </a:lnTo>
                  <a:lnTo>
                    <a:pt x="1930150" y="1111429"/>
                  </a:lnTo>
                  <a:lnTo>
                    <a:pt x="1932511" y="1108675"/>
                  </a:lnTo>
                  <a:lnTo>
                    <a:pt x="1931724" y="1105921"/>
                  </a:lnTo>
                  <a:lnTo>
                    <a:pt x="1928970" y="1104348"/>
                  </a:lnTo>
                  <a:lnTo>
                    <a:pt x="1925823" y="1101987"/>
                  </a:lnTo>
                  <a:lnTo>
                    <a:pt x="1925429" y="1101200"/>
                  </a:lnTo>
                  <a:lnTo>
                    <a:pt x="1926216" y="1100414"/>
                  </a:lnTo>
                  <a:lnTo>
                    <a:pt x="1929363" y="1102774"/>
                  </a:lnTo>
                  <a:lnTo>
                    <a:pt x="1932117" y="1101987"/>
                  </a:lnTo>
                  <a:lnTo>
                    <a:pt x="1930937" y="1098840"/>
                  </a:lnTo>
                  <a:lnTo>
                    <a:pt x="1930937" y="1098840"/>
                  </a:lnTo>
                  <a:lnTo>
                    <a:pt x="1933691" y="1099233"/>
                  </a:lnTo>
                  <a:lnTo>
                    <a:pt x="1936445" y="1098840"/>
                  </a:lnTo>
                  <a:lnTo>
                    <a:pt x="1936838" y="1097266"/>
                  </a:lnTo>
                  <a:lnTo>
                    <a:pt x="1937232" y="1094512"/>
                  </a:lnTo>
                  <a:lnTo>
                    <a:pt x="1935265" y="1094512"/>
                  </a:lnTo>
                  <a:lnTo>
                    <a:pt x="1934084" y="1092152"/>
                  </a:lnTo>
                  <a:lnTo>
                    <a:pt x="1934084" y="1091365"/>
                  </a:lnTo>
                  <a:lnTo>
                    <a:pt x="1933691" y="1091365"/>
                  </a:lnTo>
                  <a:lnTo>
                    <a:pt x="1932511" y="1089004"/>
                  </a:lnTo>
                  <a:lnTo>
                    <a:pt x="1934871" y="1090578"/>
                  </a:lnTo>
                  <a:lnTo>
                    <a:pt x="1937625" y="1088611"/>
                  </a:lnTo>
                  <a:lnTo>
                    <a:pt x="1939199" y="1085857"/>
                  </a:lnTo>
                  <a:lnTo>
                    <a:pt x="1941953" y="1082709"/>
                  </a:lnTo>
                  <a:lnTo>
                    <a:pt x="1941953" y="1081922"/>
                  </a:lnTo>
                  <a:lnTo>
                    <a:pt x="1937232" y="1078382"/>
                  </a:lnTo>
                  <a:lnTo>
                    <a:pt x="1936052" y="1076808"/>
                  </a:lnTo>
                  <a:lnTo>
                    <a:pt x="1934871" y="1073660"/>
                  </a:lnTo>
                  <a:lnTo>
                    <a:pt x="1930150" y="1073267"/>
                  </a:lnTo>
                  <a:lnTo>
                    <a:pt x="1926609" y="1072480"/>
                  </a:lnTo>
                  <a:lnTo>
                    <a:pt x="1926216" y="1070907"/>
                  </a:lnTo>
                  <a:lnTo>
                    <a:pt x="1924642" y="1068153"/>
                  </a:lnTo>
                  <a:lnTo>
                    <a:pt x="1921495" y="1067366"/>
                  </a:lnTo>
                  <a:lnTo>
                    <a:pt x="1919134" y="1067759"/>
                  </a:lnTo>
                  <a:lnTo>
                    <a:pt x="1918347" y="1065398"/>
                  </a:lnTo>
                  <a:lnTo>
                    <a:pt x="1920708" y="1061071"/>
                  </a:lnTo>
                  <a:lnTo>
                    <a:pt x="1924249" y="1057923"/>
                  </a:lnTo>
                  <a:lnTo>
                    <a:pt x="1924642" y="1057923"/>
                  </a:lnTo>
                  <a:lnTo>
                    <a:pt x="1925823" y="1057137"/>
                  </a:lnTo>
                  <a:lnTo>
                    <a:pt x="1926216" y="1055956"/>
                  </a:lnTo>
                  <a:lnTo>
                    <a:pt x="1928970" y="1054383"/>
                  </a:lnTo>
                  <a:lnTo>
                    <a:pt x="1929757" y="1052022"/>
                  </a:lnTo>
                  <a:lnTo>
                    <a:pt x="1930150" y="1050448"/>
                  </a:lnTo>
                  <a:lnTo>
                    <a:pt x="1930150" y="1048088"/>
                  </a:lnTo>
                  <a:lnTo>
                    <a:pt x="1930937" y="1049268"/>
                  </a:lnTo>
                  <a:lnTo>
                    <a:pt x="1930150" y="1051629"/>
                  </a:lnTo>
                  <a:lnTo>
                    <a:pt x="1929363" y="1054383"/>
                  </a:lnTo>
                  <a:lnTo>
                    <a:pt x="1926609" y="1055956"/>
                  </a:lnTo>
                  <a:lnTo>
                    <a:pt x="1923855" y="1057923"/>
                  </a:lnTo>
                  <a:lnTo>
                    <a:pt x="1920708" y="1061071"/>
                  </a:lnTo>
                  <a:lnTo>
                    <a:pt x="1919921" y="1063825"/>
                  </a:lnTo>
                  <a:lnTo>
                    <a:pt x="1922675" y="1065398"/>
                  </a:lnTo>
                  <a:lnTo>
                    <a:pt x="1925429" y="1063825"/>
                  </a:lnTo>
                  <a:lnTo>
                    <a:pt x="1927003" y="1066579"/>
                  </a:lnTo>
                  <a:lnTo>
                    <a:pt x="1929757" y="1068939"/>
                  </a:lnTo>
                  <a:lnTo>
                    <a:pt x="1930150" y="1066185"/>
                  </a:lnTo>
                  <a:lnTo>
                    <a:pt x="1930937" y="1066185"/>
                  </a:lnTo>
                  <a:lnTo>
                    <a:pt x="1930544" y="1068939"/>
                  </a:lnTo>
                  <a:lnTo>
                    <a:pt x="1933298" y="1070513"/>
                  </a:lnTo>
                  <a:lnTo>
                    <a:pt x="1936052" y="1071693"/>
                  </a:lnTo>
                  <a:lnTo>
                    <a:pt x="1938806" y="1073267"/>
                  </a:lnTo>
                  <a:lnTo>
                    <a:pt x="1940379" y="1076021"/>
                  </a:lnTo>
                  <a:lnTo>
                    <a:pt x="1942346" y="1073267"/>
                  </a:lnTo>
                  <a:lnTo>
                    <a:pt x="1941560" y="1070120"/>
                  </a:lnTo>
                  <a:lnTo>
                    <a:pt x="1939592" y="1067366"/>
                  </a:lnTo>
                  <a:lnTo>
                    <a:pt x="1937232" y="1064218"/>
                  </a:lnTo>
                  <a:lnTo>
                    <a:pt x="1936838" y="1061464"/>
                  </a:lnTo>
                  <a:lnTo>
                    <a:pt x="1937625" y="1058710"/>
                  </a:lnTo>
                  <a:lnTo>
                    <a:pt x="1938412" y="1056350"/>
                  </a:lnTo>
                  <a:lnTo>
                    <a:pt x="1937625" y="1059497"/>
                  </a:lnTo>
                  <a:lnTo>
                    <a:pt x="1937232" y="1062251"/>
                  </a:lnTo>
                  <a:lnTo>
                    <a:pt x="1938806" y="1065005"/>
                  </a:lnTo>
                  <a:lnTo>
                    <a:pt x="1941953" y="1067759"/>
                  </a:lnTo>
                  <a:lnTo>
                    <a:pt x="1943527" y="1064612"/>
                  </a:lnTo>
                  <a:lnTo>
                    <a:pt x="1941953" y="1061858"/>
                  </a:lnTo>
                  <a:lnTo>
                    <a:pt x="1942346" y="1059104"/>
                  </a:lnTo>
                  <a:lnTo>
                    <a:pt x="1943133" y="1056350"/>
                  </a:lnTo>
                  <a:lnTo>
                    <a:pt x="1943133" y="1053202"/>
                  </a:lnTo>
                  <a:lnTo>
                    <a:pt x="1944707" y="1050448"/>
                  </a:lnTo>
                  <a:lnTo>
                    <a:pt x="1945101" y="1047301"/>
                  </a:lnTo>
                  <a:lnTo>
                    <a:pt x="1946281" y="1044940"/>
                  </a:lnTo>
                  <a:lnTo>
                    <a:pt x="1946674" y="1044547"/>
                  </a:lnTo>
                  <a:lnTo>
                    <a:pt x="1949821" y="1045334"/>
                  </a:lnTo>
                  <a:lnTo>
                    <a:pt x="1947854" y="1042580"/>
                  </a:lnTo>
                  <a:lnTo>
                    <a:pt x="1948248" y="1042186"/>
                  </a:lnTo>
                  <a:lnTo>
                    <a:pt x="1950608" y="1041793"/>
                  </a:lnTo>
                  <a:lnTo>
                    <a:pt x="1949428" y="1040219"/>
                  </a:lnTo>
                  <a:lnTo>
                    <a:pt x="1953362" y="1034711"/>
                  </a:lnTo>
                  <a:lnTo>
                    <a:pt x="1953756" y="1034711"/>
                  </a:lnTo>
                  <a:lnTo>
                    <a:pt x="1954543" y="1032744"/>
                  </a:lnTo>
                  <a:lnTo>
                    <a:pt x="1956116" y="1031564"/>
                  </a:lnTo>
                  <a:lnTo>
                    <a:pt x="1956510" y="1034318"/>
                  </a:lnTo>
                  <a:lnTo>
                    <a:pt x="1958084" y="1031564"/>
                  </a:lnTo>
                  <a:lnTo>
                    <a:pt x="1958477" y="1030777"/>
                  </a:lnTo>
                  <a:lnTo>
                    <a:pt x="1960051" y="1029990"/>
                  </a:lnTo>
                  <a:lnTo>
                    <a:pt x="1958870" y="1032744"/>
                  </a:lnTo>
                  <a:lnTo>
                    <a:pt x="1961624" y="1031564"/>
                  </a:lnTo>
                  <a:lnTo>
                    <a:pt x="1963198" y="1028810"/>
                  </a:lnTo>
                  <a:lnTo>
                    <a:pt x="1965165" y="1026449"/>
                  </a:lnTo>
                  <a:lnTo>
                    <a:pt x="1967919" y="1026449"/>
                  </a:lnTo>
                  <a:lnTo>
                    <a:pt x="1968706" y="1026056"/>
                  </a:lnTo>
                  <a:lnTo>
                    <a:pt x="1966345" y="1029203"/>
                  </a:lnTo>
                  <a:lnTo>
                    <a:pt x="1967132" y="1028810"/>
                  </a:lnTo>
                  <a:lnTo>
                    <a:pt x="1964378" y="1033138"/>
                  </a:lnTo>
                  <a:lnTo>
                    <a:pt x="1963591" y="1033138"/>
                  </a:lnTo>
                  <a:lnTo>
                    <a:pt x="1960838" y="1034711"/>
                  </a:lnTo>
                  <a:lnTo>
                    <a:pt x="1957690" y="1037465"/>
                  </a:lnTo>
                  <a:lnTo>
                    <a:pt x="1955329" y="1040613"/>
                  </a:lnTo>
                  <a:lnTo>
                    <a:pt x="1955723" y="1043367"/>
                  </a:lnTo>
                  <a:lnTo>
                    <a:pt x="1958477" y="1041006"/>
                  </a:lnTo>
                  <a:lnTo>
                    <a:pt x="1956903" y="1043760"/>
                  </a:lnTo>
                  <a:lnTo>
                    <a:pt x="1956903" y="1044940"/>
                  </a:lnTo>
                  <a:lnTo>
                    <a:pt x="1954149" y="1046121"/>
                  </a:lnTo>
                  <a:lnTo>
                    <a:pt x="1951395" y="1046514"/>
                  </a:lnTo>
                  <a:lnTo>
                    <a:pt x="1949821" y="1049268"/>
                  </a:lnTo>
                  <a:lnTo>
                    <a:pt x="1952575" y="1048088"/>
                  </a:lnTo>
                  <a:lnTo>
                    <a:pt x="1953362" y="1047694"/>
                  </a:lnTo>
                  <a:lnTo>
                    <a:pt x="1954149" y="1052415"/>
                  </a:lnTo>
                  <a:lnTo>
                    <a:pt x="1953756" y="1052809"/>
                  </a:lnTo>
                  <a:lnTo>
                    <a:pt x="1951002" y="1051629"/>
                  </a:lnTo>
                  <a:lnTo>
                    <a:pt x="1948641" y="1054776"/>
                  </a:lnTo>
                  <a:lnTo>
                    <a:pt x="1951395" y="1053989"/>
                  </a:lnTo>
                  <a:lnTo>
                    <a:pt x="1952575" y="1056743"/>
                  </a:lnTo>
                  <a:lnTo>
                    <a:pt x="1954936" y="1058710"/>
                  </a:lnTo>
                  <a:lnTo>
                    <a:pt x="1954936" y="1059891"/>
                  </a:lnTo>
                  <a:lnTo>
                    <a:pt x="1952182" y="1058710"/>
                  </a:lnTo>
                  <a:lnTo>
                    <a:pt x="1949428" y="1058317"/>
                  </a:lnTo>
                  <a:lnTo>
                    <a:pt x="1950608" y="1061071"/>
                  </a:lnTo>
                  <a:lnTo>
                    <a:pt x="1947461" y="1063431"/>
                  </a:lnTo>
                  <a:lnTo>
                    <a:pt x="1946674" y="1066185"/>
                  </a:lnTo>
                  <a:lnTo>
                    <a:pt x="1949428" y="1068153"/>
                  </a:lnTo>
                  <a:lnTo>
                    <a:pt x="1951002" y="1071300"/>
                  </a:lnTo>
                  <a:lnTo>
                    <a:pt x="1952182" y="1068153"/>
                  </a:lnTo>
                  <a:lnTo>
                    <a:pt x="1953756" y="1069726"/>
                  </a:lnTo>
                  <a:lnTo>
                    <a:pt x="1954543" y="1071300"/>
                  </a:lnTo>
                  <a:lnTo>
                    <a:pt x="1953362" y="1072874"/>
                  </a:lnTo>
                  <a:lnTo>
                    <a:pt x="1955723" y="1073660"/>
                  </a:lnTo>
                  <a:lnTo>
                    <a:pt x="1956903" y="1075628"/>
                  </a:lnTo>
                  <a:lnTo>
                    <a:pt x="1956903" y="1076808"/>
                  </a:lnTo>
                  <a:lnTo>
                    <a:pt x="1954149" y="1078382"/>
                  </a:lnTo>
                  <a:lnTo>
                    <a:pt x="1952575" y="1081136"/>
                  </a:lnTo>
                  <a:lnTo>
                    <a:pt x="1955723" y="1079562"/>
                  </a:lnTo>
                  <a:lnTo>
                    <a:pt x="1958477" y="1079562"/>
                  </a:lnTo>
                  <a:lnTo>
                    <a:pt x="1958870" y="1079955"/>
                  </a:lnTo>
                  <a:lnTo>
                    <a:pt x="1956116" y="1081529"/>
                  </a:lnTo>
                  <a:lnTo>
                    <a:pt x="1956116" y="1084283"/>
                  </a:lnTo>
                  <a:lnTo>
                    <a:pt x="1953362" y="1085463"/>
                  </a:lnTo>
                  <a:lnTo>
                    <a:pt x="1952575" y="1088217"/>
                  </a:lnTo>
                  <a:lnTo>
                    <a:pt x="1949821" y="1089791"/>
                  </a:lnTo>
                  <a:lnTo>
                    <a:pt x="1947068" y="1092938"/>
                  </a:lnTo>
                  <a:lnTo>
                    <a:pt x="1945494" y="1095692"/>
                  </a:lnTo>
                  <a:lnTo>
                    <a:pt x="1944314" y="1098840"/>
                  </a:lnTo>
                  <a:lnTo>
                    <a:pt x="1942346" y="1101594"/>
                  </a:lnTo>
                  <a:lnTo>
                    <a:pt x="1941560" y="1104348"/>
                  </a:lnTo>
                  <a:lnTo>
                    <a:pt x="1941953" y="1106708"/>
                  </a:lnTo>
                  <a:lnTo>
                    <a:pt x="1944707" y="1106315"/>
                  </a:lnTo>
                  <a:lnTo>
                    <a:pt x="1945887" y="1103561"/>
                  </a:lnTo>
                  <a:lnTo>
                    <a:pt x="1947068" y="1101200"/>
                  </a:lnTo>
                  <a:lnTo>
                    <a:pt x="1951395" y="1096086"/>
                  </a:lnTo>
                  <a:lnTo>
                    <a:pt x="1952182" y="1095692"/>
                  </a:lnTo>
                  <a:lnTo>
                    <a:pt x="1954936" y="1094905"/>
                  </a:lnTo>
                  <a:lnTo>
                    <a:pt x="1956903" y="1091758"/>
                  </a:lnTo>
                  <a:lnTo>
                    <a:pt x="1958870" y="1089004"/>
                  </a:lnTo>
                  <a:lnTo>
                    <a:pt x="1961231" y="1085857"/>
                  </a:lnTo>
                  <a:lnTo>
                    <a:pt x="1963985" y="1083103"/>
                  </a:lnTo>
                  <a:lnTo>
                    <a:pt x="1965558" y="1080349"/>
                  </a:lnTo>
                  <a:lnTo>
                    <a:pt x="1967919" y="1077595"/>
                  </a:lnTo>
                  <a:lnTo>
                    <a:pt x="1971853" y="1073267"/>
                  </a:lnTo>
                  <a:lnTo>
                    <a:pt x="1973034" y="1072480"/>
                  </a:lnTo>
                  <a:lnTo>
                    <a:pt x="1975788" y="1069726"/>
                  </a:lnTo>
                  <a:lnTo>
                    <a:pt x="1978542" y="1068153"/>
                  </a:lnTo>
                  <a:lnTo>
                    <a:pt x="1978935" y="1065398"/>
                  </a:lnTo>
                  <a:lnTo>
                    <a:pt x="1980509" y="1063431"/>
                  </a:lnTo>
                  <a:lnTo>
                    <a:pt x="1980902" y="1063431"/>
                  </a:lnTo>
                  <a:lnTo>
                    <a:pt x="1979722" y="1066185"/>
                  </a:lnTo>
                  <a:lnTo>
                    <a:pt x="1981296" y="1063431"/>
                  </a:lnTo>
                  <a:lnTo>
                    <a:pt x="1981689" y="1060677"/>
                  </a:lnTo>
                  <a:lnTo>
                    <a:pt x="1980902" y="1060284"/>
                  </a:lnTo>
                  <a:lnTo>
                    <a:pt x="1980902" y="1057923"/>
                  </a:lnTo>
                  <a:lnTo>
                    <a:pt x="1982082" y="1057137"/>
                  </a:lnTo>
                  <a:lnTo>
                    <a:pt x="1980902" y="1056743"/>
                  </a:lnTo>
                  <a:lnTo>
                    <a:pt x="1983656" y="1053989"/>
                  </a:lnTo>
                  <a:lnTo>
                    <a:pt x="1981689" y="1051235"/>
                  </a:lnTo>
                  <a:lnTo>
                    <a:pt x="1981689" y="1051235"/>
                  </a:lnTo>
                  <a:lnTo>
                    <a:pt x="1984050" y="1034711"/>
                  </a:lnTo>
                  <a:lnTo>
                    <a:pt x="1985623" y="1036285"/>
                  </a:lnTo>
                  <a:lnTo>
                    <a:pt x="1986410" y="1036678"/>
                  </a:lnTo>
                  <a:lnTo>
                    <a:pt x="1991525" y="1043367"/>
                  </a:lnTo>
                  <a:lnTo>
                    <a:pt x="1990345" y="1044547"/>
                  </a:lnTo>
                  <a:lnTo>
                    <a:pt x="1988771" y="1047301"/>
                  </a:lnTo>
                  <a:lnTo>
                    <a:pt x="1991525" y="1046907"/>
                  </a:lnTo>
                  <a:lnTo>
                    <a:pt x="1993098" y="1046121"/>
                  </a:lnTo>
                  <a:lnTo>
                    <a:pt x="1995852" y="1043760"/>
                  </a:lnTo>
                  <a:lnTo>
                    <a:pt x="1997033" y="1042186"/>
                  </a:lnTo>
                  <a:lnTo>
                    <a:pt x="2004901" y="1034711"/>
                  </a:lnTo>
                  <a:lnTo>
                    <a:pt x="2007262" y="1033924"/>
                  </a:lnTo>
                  <a:lnTo>
                    <a:pt x="2008049" y="1031564"/>
                  </a:lnTo>
                  <a:lnTo>
                    <a:pt x="2011983" y="1028023"/>
                  </a:lnTo>
                  <a:lnTo>
                    <a:pt x="2013557" y="1028023"/>
                  </a:lnTo>
                  <a:lnTo>
                    <a:pt x="2014737" y="1025269"/>
                  </a:lnTo>
                  <a:lnTo>
                    <a:pt x="2015130" y="1024876"/>
                  </a:lnTo>
                  <a:lnTo>
                    <a:pt x="2017884" y="1023302"/>
                  </a:lnTo>
                  <a:lnTo>
                    <a:pt x="2019458" y="1020548"/>
                  </a:lnTo>
                  <a:lnTo>
                    <a:pt x="2021032" y="1017401"/>
                  </a:lnTo>
                  <a:lnTo>
                    <a:pt x="2023392" y="1014646"/>
                  </a:lnTo>
                  <a:lnTo>
                    <a:pt x="2023786" y="1013466"/>
                  </a:lnTo>
                  <a:lnTo>
                    <a:pt x="2024966" y="1011893"/>
                  </a:lnTo>
                  <a:lnTo>
                    <a:pt x="2026146" y="1011893"/>
                  </a:lnTo>
                  <a:lnTo>
                    <a:pt x="2023392" y="1017401"/>
                  </a:lnTo>
                  <a:lnTo>
                    <a:pt x="2026933" y="1011893"/>
                  </a:lnTo>
                  <a:lnTo>
                    <a:pt x="2027720" y="1009139"/>
                  </a:lnTo>
                  <a:lnTo>
                    <a:pt x="2029687" y="1005991"/>
                  </a:lnTo>
                  <a:lnTo>
                    <a:pt x="2031261" y="1003237"/>
                  </a:lnTo>
                  <a:lnTo>
                    <a:pt x="2032835" y="1000483"/>
                  </a:lnTo>
                  <a:lnTo>
                    <a:pt x="2033621" y="997729"/>
                  </a:lnTo>
                  <a:lnTo>
                    <a:pt x="2030867" y="997336"/>
                  </a:lnTo>
                  <a:lnTo>
                    <a:pt x="2027720" y="996942"/>
                  </a:lnTo>
                  <a:lnTo>
                    <a:pt x="2026540" y="994582"/>
                  </a:lnTo>
                  <a:lnTo>
                    <a:pt x="2032048" y="987894"/>
                  </a:lnTo>
                  <a:lnTo>
                    <a:pt x="2032441" y="988287"/>
                  </a:lnTo>
                  <a:lnTo>
                    <a:pt x="2035195" y="987107"/>
                  </a:lnTo>
                  <a:lnTo>
                    <a:pt x="2035982" y="985533"/>
                  </a:lnTo>
                  <a:lnTo>
                    <a:pt x="2036769" y="984746"/>
                  </a:lnTo>
                  <a:lnTo>
                    <a:pt x="2036375" y="985926"/>
                  </a:lnTo>
                  <a:lnTo>
                    <a:pt x="2039523" y="984353"/>
                  </a:lnTo>
                  <a:lnTo>
                    <a:pt x="2042277" y="983959"/>
                  </a:lnTo>
                  <a:lnTo>
                    <a:pt x="2044637" y="980812"/>
                  </a:lnTo>
                  <a:lnTo>
                    <a:pt x="2047785" y="979238"/>
                  </a:lnTo>
                  <a:lnTo>
                    <a:pt x="2049359" y="977664"/>
                  </a:lnTo>
                  <a:lnTo>
                    <a:pt x="2084373" y="968616"/>
                  </a:lnTo>
                  <a:lnTo>
                    <a:pt x="2084767" y="968616"/>
                  </a:lnTo>
                  <a:lnTo>
                    <a:pt x="2087521" y="968616"/>
                  </a:lnTo>
                  <a:lnTo>
                    <a:pt x="2088701" y="967435"/>
                  </a:lnTo>
                  <a:lnTo>
                    <a:pt x="2089094" y="965468"/>
                  </a:lnTo>
                  <a:lnTo>
                    <a:pt x="2089094" y="967435"/>
                  </a:lnTo>
                  <a:lnTo>
                    <a:pt x="2091849" y="967435"/>
                  </a:lnTo>
                  <a:lnTo>
                    <a:pt x="2093816" y="967435"/>
                  </a:lnTo>
                  <a:lnTo>
                    <a:pt x="2102864" y="967042"/>
                  </a:lnTo>
                  <a:lnTo>
                    <a:pt x="2105619" y="966649"/>
                  </a:lnTo>
                  <a:lnTo>
                    <a:pt x="2108373" y="966255"/>
                  </a:lnTo>
                  <a:lnTo>
                    <a:pt x="2111520" y="965468"/>
                  </a:lnTo>
                  <a:lnTo>
                    <a:pt x="2114274" y="964681"/>
                  </a:lnTo>
                  <a:lnTo>
                    <a:pt x="2116634" y="961534"/>
                  </a:lnTo>
                  <a:lnTo>
                    <a:pt x="2117028" y="958780"/>
                  </a:lnTo>
                  <a:lnTo>
                    <a:pt x="2124110" y="954452"/>
                  </a:lnTo>
                  <a:lnTo>
                    <a:pt x="2124503" y="955633"/>
                  </a:lnTo>
                  <a:lnTo>
                    <a:pt x="2123323" y="958780"/>
                  </a:lnTo>
                  <a:lnTo>
                    <a:pt x="2122142" y="961534"/>
                  </a:lnTo>
                  <a:lnTo>
                    <a:pt x="2124503" y="961140"/>
                  </a:lnTo>
                  <a:lnTo>
                    <a:pt x="2127257" y="961140"/>
                  </a:lnTo>
                  <a:lnTo>
                    <a:pt x="2130011" y="959960"/>
                  </a:lnTo>
                  <a:lnTo>
                    <a:pt x="2131585" y="957993"/>
                  </a:lnTo>
                  <a:lnTo>
                    <a:pt x="2133552" y="957206"/>
                  </a:lnTo>
                  <a:lnTo>
                    <a:pt x="2134732" y="957206"/>
                  </a:lnTo>
                  <a:lnTo>
                    <a:pt x="2137486" y="955633"/>
                  </a:lnTo>
                  <a:lnTo>
                    <a:pt x="2140633" y="954059"/>
                  </a:lnTo>
                  <a:lnTo>
                    <a:pt x="2139060" y="956813"/>
                  </a:lnTo>
                  <a:lnTo>
                    <a:pt x="2137486" y="959960"/>
                  </a:lnTo>
                  <a:lnTo>
                    <a:pt x="2140240" y="959960"/>
                  </a:lnTo>
                  <a:lnTo>
                    <a:pt x="2143387" y="958780"/>
                  </a:lnTo>
                  <a:lnTo>
                    <a:pt x="2146141" y="957206"/>
                  </a:lnTo>
                  <a:lnTo>
                    <a:pt x="2149289" y="956813"/>
                  </a:lnTo>
                  <a:lnTo>
                    <a:pt x="2152043" y="956419"/>
                  </a:lnTo>
                  <a:lnTo>
                    <a:pt x="2155190" y="956026"/>
                  </a:lnTo>
                  <a:lnTo>
                    <a:pt x="2156764" y="956026"/>
                  </a:lnTo>
                  <a:lnTo>
                    <a:pt x="2159518" y="953665"/>
                  </a:lnTo>
                  <a:lnTo>
                    <a:pt x="2159124" y="950911"/>
                  </a:lnTo>
                  <a:lnTo>
                    <a:pt x="2160698" y="948157"/>
                  </a:lnTo>
                  <a:lnTo>
                    <a:pt x="2160305" y="945797"/>
                  </a:lnTo>
                  <a:lnTo>
                    <a:pt x="2158731" y="943043"/>
                  </a:lnTo>
                  <a:lnTo>
                    <a:pt x="2155977" y="942650"/>
                  </a:lnTo>
                  <a:lnTo>
                    <a:pt x="2158731" y="945403"/>
                  </a:lnTo>
                  <a:lnTo>
                    <a:pt x="2157944" y="948157"/>
                  </a:lnTo>
                  <a:lnTo>
                    <a:pt x="2159911" y="948157"/>
                  </a:lnTo>
                  <a:lnTo>
                    <a:pt x="2158731" y="951698"/>
                  </a:lnTo>
                  <a:lnTo>
                    <a:pt x="2144961" y="952485"/>
                  </a:lnTo>
                  <a:lnTo>
                    <a:pt x="2145354" y="949338"/>
                  </a:lnTo>
                  <a:lnTo>
                    <a:pt x="2143781" y="946977"/>
                  </a:lnTo>
                  <a:lnTo>
                    <a:pt x="2143387" y="945797"/>
                  </a:lnTo>
                  <a:lnTo>
                    <a:pt x="2143387" y="943830"/>
                  </a:lnTo>
                  <a:lnTo>
                    <a:pt x="2143781" y="941076"/>
                  </a:lnTo>
                  <a:lnTo>
                    <a:pt x="2143387" y="938322"/>
                  </a:lnTo>
                  <a:lnTo>
                    <a:pt x="2141027" y="936355"/>
                  </a:lnTo>
                  <a:lnTo>
                    <a:pt x="2144174" y="927699"/>
                  </a:lnTo>
                  <a:lnTo>
                    <a:pt x="2144568" y="927306"/>
                  </a:lnTo>
                  <a:lnTo>
                    <a:pt x="2147322" y="926519"/>
                  </a:lnTo>
                  <a:lnTo>
                    <a:pt x="2150076" y="924945"/>
                  </a:lnTo>
                  <a:lnTo>
                    <a:pt x="2147715" y="922191"/>
                  </a:lnTo>
                  <a:lnTo>
                    <a:pt x="2148502" y="919437"/>
                  </a:lnTo>
                  <a:lnTo>
                    <a:pt x="2147322" y="917864"/>
                  </a:lnTo>
                  <a:lnTo>
                    <a:pt x="2148895" y="916290"/>
                  </a:lnTo>
                  <a:lnTo>
                    <a:pt x="2154010" y="910782"/>
                  </a:lnTo>
                  <a:lnTo>
                    <a:pt x="2153617" y="909602"/>
                  </a:lnTo>
                  <a:lnTo>
                    <a:pt x="2156370" y="908421"/>
                  </a:lnTo>
                  <a:lnTo>
                    <a:pt x="2158731" y="905274"/>
                  </a:lnTo>
                  <a:lnTo>
                    <a:pt x="2159518" y="904094"/>
                  </a:lnTo>
                  <a:lnTo>
                    <a:pt x="2165026" y="899373"/>
                  </a:lnTo>
                  <a:lnTo>
                    <a:pt x="2166206" y="898586"/>
                  </a:lnTo>
                  <a:lnTo>
                    <a:pt x="2168960" y="896619"/>
                  </a:lnTo>
                  <a:lnTo>
                    <a:pt x="2169354" y="895045"/>
                  </a:lnTo>
                  <a:lnTo>
                    <a:pt x="2171714" y="893078"/>
                  </a:lnTo>
                  <a:lnTo>
                    <a:pt x="2172894" y="892684"/>
                  </a:lnTo>
                  <a:lnTo>
                    <a:pt x="2172894" y="891898"/>
                  </a:lnTo>
                  <a:lnTo>
                    <a:pt x="2183517" y="882455"/>
                  </a:lnTo>
                  <a:lnTo>
                    <a:pt x="2183124" y="883242"/>
                  </a:lnTo>
                  <a:lnTo>
                    <a:pt x="2182730" y="883636"/>
                  </a:lnTo>
                  <a:lnTo>
                    <a:pt x="2182337" y="885209"/>
                  </a:lnTo>
                  <a:lnTo>
                    <a:pt x="2181943" y="886389"/>
                  </a:lnTo>
                  <a:lnTo>
                    <a:pt x="2185877" y="887963"/>
                  </a:lnTo>
                  <a:lnTo>
                    <a:pt x="2188238" y="885209"/>
                  </a:lnTo>
                  <a:lnTo>
                    <a:pt x="2189025" y="882455"/>
                  </a:lnTo>
                  <a:lnTo>
                    <a:pt x="2189418" y="879308"/>
                  </a:lnTo>
                  <a:lnTo>
                    <a:pt x="2188238" y="879701"/>
                  </a:lnTo>
                  <a:lnTo>
                    <a:pt x="2192172" y="876160"/>
                  </a:lnTo>
                  <a:lnTo>
                    <a:pt x="2189812" y="878914"/>
                  </a:lnTo>
                  <a:lnTo>
                    <a:pt x="2189418" y="881668"/>
                  </a:lnTo>
                  <a:lnTo>
                    <a:pt x="2189025" y="884422"/>
                  </a:lnTo>
                  <a:lnTo>
                    <a:pt x="2190205" y="881668"/>
                  </a:lnTo>
                  <a:lnTo>
                    <a:pt x="2192566" y="879308"/>
                  </a:lnTo>
                  <a:lnTo>
                    <a:pt x="2192959" y="878914"/>
                  </a:lnTo>
                  <a:lnTo>
                    <a:pt x="2192566" y="882062"/>
                  </a:lnTo>
                  <a:lnTo>
                    <a:pt x="2194139" y="880882"/>
                  </a:lnTo>
                  <a:lnTo>
                    <a:pt x="2194926" y="882062"/>
                  </a:lnTo>
                  <a:lnTo>
                    <a:pt x="2194926" y="882849"/>
                  </a:lnTo>
                  <a:lnTo>
                    <a:pt x="2196107" y="884029"/>
                  </a:lnTo>
                  <a:lnTo>
                    <a:pt x="2202401" y="878521"/>
                  </a:lnTo>
                  <a:lnTo>
                    <a:pt x="2204368" y="879308"/>
                  </a:lnTo>
                  <a:lnTo>
                    <a:pt x="2207122" y="878914"/>
                  </a:lnTo>
                  <a:lnTo>
                    <a:pt x="2209877" y="877341"/>
                  </a:lnTo>
                  <a:lnTo>
                    <a:pt x="2211450" y="874587"/>
                  </a:lnTo>
                  <a:lnTo>
                    <a:pt x="2213811" y="871439"/>
                  </a:lnTo>
                  <a:lnTo>
                    <a:pt x="2216565" y="869079"/>
                  </a:lnTo>
                  <a:lnTo>
                    <a:pt x="2217351" y="866325"/>
                  </a:lnTo>
                  <a:lnTo>
                    <a:pt x="2218532" y="865144"/>
                  </a:lnTo>
                  <a:lnTo>
                    <a:pt x="2220499" y="863571"/>
                  </a:lnTo>
                  <a:lnTo>
                    <a:pt x="2223253" y="861997"/>
                  </a:lnTo>
                  <a:lnTo>
                    <a:pt x="2224433" y="859637"/>
                  </a:lnTo>
                  <a:lnTo>
                    <a:pt x="2224040" y="862784"/>
                  </a:lnTo>
                  <a:lnTo>
                    <a:pt x="2223253" y="865538"/>
                  </a:lnTo>
                  <a:lnTo>
                    <a:pt x="2224040" y="868292"/>
                  </a:lnTo>
                  <a:lnTo>
                    <a:pt x="2226794" y="869866"/>
                  </a:lnTo>
                  <a:lnTo>
                    <a:pt x="2227581" y="871046"/>
                  </a:lnTo>
                  <a:lnTo>
                    <a:pt x="2231515" y="869079"/>
                  </a:lnTo>
                  <a:lnTo>
                    <a:pt x="2232695" y="871439"/>
                  </a:lnTo>
                  <a:lnTo>
                    <a:pt x="2235449" y="869079"/>
                  </a:lnTo>
                  <a:lnTo>
                    <a:pt x="2238597" y="867505"/>
                  </a:lnTo>
                  <a:lnTo>
                    <a:pt x="2238203" y="866325"/>
                  </a:lnTo>
                  <a:lnTo>
                    <a:pt x="2241351" y="864751"/>
                  </a:lnTo>
                  <a:lnTo>
                    <a:pt x="2241351" y="867899"/>
                  </a:lnTo>
                  <a:lnTo>
                    <a:pt x="2244105" y="866325"/>
                  </a:lnTo>
                  <a:lnTo>
                    <a:pt x="2244105" y="864358"/>
                  </a:lnTo>
                  <a:lnTo>
                    <a:pt x="2252760" y="862391"/>
                  </a:lnTo>
                  <a:lnTo>
                    <a:pt x="2255514" y="861604"/>
                  </a:lnTo>
                  <a:lnTo>
                    <a:pt x="2257481" y="859243"/>
                  </a:lnTo>
                  <a:lnTo>
                    <a:pt x="2258268" y="858456"/>
                  </a:lnTo>
                  <a:lnTo>
                    <a:pt x="2261022" y="858850"/>
                  </a:lnTo>
                  <a:lnTo>
                    <a:pt x="2263776" y="857276"/>
                  </a:lnTo>
                  <a:lnTo>
                    <a:pt x="2266530" y="857276"/>
                  </a:lnTo>
                  <a:lnTo>
                    <a:pt x="2269677" y="856883"/>
                  </a:lnTo>
                  <a:lnTo>
                    <a:pt x="2272431" y="854522"/>
                  </a:lnTo>
                  <a:lnTo>
                    <a:pt x="2275579" y="852948"/>
                  </a:lnTo>
                  <a:lnTo>
                    <a:pt x="2275579" y="850194"/>
                  </a:lnTo>
                  <a:lnTo>
                    <a:pt x="2272825" y="851375"/>
                  </a:lnTo>
                  <a:lnTo>
                    <a:pt x="2274005" y="848621"/>
                  </a:lnTo>
                  <a:lnTo>
                    <a:pt x="2276365" y="847047"/>
                  </a:lnTo>
                  <a:lnTo>
                    <a:pt x="2276365" y="846260"/>
                  </a:lnTo>
                  <a:lnTo>
                    <a:pt x="2276759" y="847047"/>
                  </a:lnTo>
                  <a:lnTo>
                    <a:pt x="2276759" y="846654"/>
                  </a:lnTo>
                  <a:lnTo>
                    <a:pt x="2276365" y="843506"/>
                  </a:lnTo>
                  <a:lnTo>
                    <a:pt x="2275972" y="843113"/>
                  </a:lnTo>
                  <a:lnTo>
                    <a:pt x="2275972" y="843113"/>
                  </a:lnTo>
                  <a:lnTo>
                    <a:pt x="2275185" y="841145"/>
                  </a:lnTo>
                  <a:lnTo>
                    <a:pt x="2274398" y="840752"/>
                  </a:lnTo>
                  <a:lnTo>
                    <a:pt x="2276759" y="840752"/>
                  </a:lnTo>
                  <a:lnTo>
                    <a:pt x="2276759" y="842326"/>
                  </a:lnTo>
                  <a:lnTo>
                    <a:pt x="2279513" y="841145"/>
                  </a:lnTo>
                  <a:lnTo>
                    <a:pt x="2282267" y="841932"/>
                  </a:lnTo>
                  <a:lnTo>
                    <a:pt x="2283841" y="844686"/>
                  </a:lnTo>
                  <a:lnTo>
                    <a:pt x="2286595" y="844293"/>
                  </a:lnTo>
                  <a:lnTo>
                    <a:pt x="2289742" y="843113"/>
                  </a:lnTo>
                  <a:lnTo>
                    <a:pt x="2292496" y="841932"/>
                  </a:lnTo>
                  <a:lnTo>
                    <a:pt x="2295250" y="843113"/>
                  </a:lnTo>
                  <a:lnTo>
                    <a:pt x="2298004" y="841539"/>
                  </a:lnTo>
                  <a:lnTo>
                    <a:pt x="2299184" y="839965"/>
                  </a:lnTo>
                  <a:lnTo>
                    <a:pt x="2301938" y="840359"/>
                  </a:lnTo>
                  <a:lnTo>
                    <a:pt x="2304692" y="838392"/>
                  </a:lnTo>
                  <a:lnTo>
                    <a:pt x="2303119" y="835244"/>
                  </a:lnTo>
                  <a:lnTo>
                    <a:pt x="2305872" y="836818"/>
                  </a:lnTo>
                  <a:lnTo>
                    <a:pt x="2306659" y="836818"/>
                  </a:lnTo>
                  <a:lnTo>
                    <a:pt x="2309413" y="839178"/>
                  </a:lnTo>
                  <a:lnTo>
                    <a:pt x="2312167" y="837605"/>
                  </a:lnTo>
                  <a:lnTo>
                    <a:pt x="2315315" y="836818"/>
                  </a:lnTo>
                  <a:lnTo>
                    <a:pt x="2318069" y="835638"/>
                  </a:lnTo>
                  <a:lnTo>
                    <a:pt x="2320823" y="834851"/>
                  </a:lnTo>
                  <a:lnTo>
                    <a:pt x="2323577" y="833277"/>
                  </a:lnTo>
                  <a:lnTo>
                    <a:pt x="2326724" y="831703"/>
                  </a:lnTo>
                  <a:lnTo>
                    <a:pt x="2329478" y="830523"/>
                  </a:lnTo>
                  <a:lnTo>
                    <a:pt x="2332232" y="829343"/>
                  </a:lnTo>
                  <a:lnTo>
                    <a:pt x="2335379" y="828556"/>
                  </a:lnTo>
                  <a:lnTo>
                    <a:pt x="2338133" y="827376"/>
                  </a:lnTo>
                  <a:lnTo>
                    <a:pt x="2340887" y="825408"/>
                  </a:lnTo>
                  <a:lnTo>
                    <a:pt x="2344035" y="825802"/>
                  </a:lnTo>
                  <a:lnTo>
                    <a:pt x="2346789" y="823441"/>
                  </a:lnTo>
                  <a:lnTo>
                    <a:pt x="2347576" y="822654"/>
                  </a:lnTo>
                  <a:lnTo>
                    <a:pt x="2354657" y="820294"/>
                  </a:lnTo>
                  <a:lnTo>
                    <a:pt x="2354657" y="820687"/>
                  </a:lnTo>
                  <a:lnTo>
                    <a:pt x="2355838" y="819900"/>
                  </a:lnTo>
                  <a:lnTo>
                    <a:pt x="2360559" y="818327"/>
                  </a:lnTo>
                  <a:lnTo>
                    <a:pt x="2358985" y="818720"/>
                  </a:lnTo>
                  <a:lnTo>
                    <a:pt x="2356231" y="821081"/>
                  </a:lnTo>
                  <a:lnTo>
                    <a:pt x="2353084" y="823441"/>
                  </a:lnTo>
                  <a:lnTo>
                    <a:pt x="2350330" y="825015"/>
                  </a:lnTo>
                  <a:lnTo>
                    <a:pt x="2347576" y="826589"/>
                  </a:lnTo>
                  <a:lnTo>
                    <a:pt x="2342068" y="830523"/>
                  </a:lnTo>
                  <a:lnTo>
                    <a:pt x="2339314" y="831703"/>
                  </a:lnTo>
                  <a:lnTo>
                    <a:pt x="2338133" y="834457"/>
                  </a:lnTo>
                  <a:lnTo>
                    <a:pt x="2341281" y="836031"/>
                  </a:lnTo>
                  <a:lnTo>
                    <a:pt x="2379443" y="833670"/>
                  </a:lnTo>
                  <a:lnTo>
                    <a:pt x="2378263" y="834457"/>
                  </a:lnTo>
                  <a:lnTo>
                    <a:pt x="2376296" y="835244"/>
                  </a:lnTo>
                  <a:lnTo>
                    <a:pt x="2374329" y="835244"/>
                  </a:lnTo>
                  <a:lnTo>
                    <a:pt x="2371575" y="835638"/>
                  </a:lnTo>
                  <a:lnTo>
                    <a:pt x="2368427" y="836818"/>
                  </a:lnTo>
                  <a:lnTo>
                    <a:pt x="2365673" y="837998"/>
                  </a:lnTo>
                  <a:lnTo>
                    <a:pt x="2362919" y="838785"/>
                  </a:lnTo>
                  <a:lnTo>
                    <a:pt x="2359772" y="840359"/>
                  </a:lnTo>
                  <a:lnTo>
                    <a:pt x="2358985" y="843113"/>
                  </a:lnTo>
                  <a:lnTo>
                    <a:pt x="2359379" y="846260"/>
                  </a:lnTo>
                  <a:lnTo>
                    <a:pt x="2358198" y="846260"/>
                  </a:lnTo>
                  <a:lnTo>
                    <a:pt x="2358985" y="844686"/>
                  </a:lnTo>
                  <a:lnTo>
                    <a:pt x="2356625" y="841539"/>
                  </a:lnTo>
                  <a:lnTo>
                    <a:pt x="2353870" y="842719"/>
                  </a:lnTo>
                  <a:lnTo>
                    <a:pt x="2355444" y="839965"/>
                  </a:lnTo>
                  <a:lnTo>
                    <a:pt x="2355051" y="836818"/>
                  </a:lnTo>
                  <a:lnTo>
                    <a:pt x="2352297" y="838392"/>
                  </a:lnTo>
                  <a:lnTo>
                    <a:pt x="2349543" y="839178"/>
                  </a:lnTo>
                  <a:lnTo>
                    <a:pt x="2346396" y="839965"/>
                  </a:lnTo>
                  <a:lnTo>
                    <a:pt x="2343642" y="840359"/>
                  </a:lnTo>
                  <a:lnTo>
                    <a:pt x="2340887" y="841932"/>
                  </a:lnTo>
                  <a:lnTo>
                    <a:pt x="2337740" y="843506"/>
                  </a:lnTo>
                  <a:lnTo>
                    <a:pt x="2334593" y="845080"/>
                  </a:lnTo>
                  <a:lnTo>
                    <a:pt x="2331839" y="846260"/>
                  </a:lnTo>
                  <a:lnTo>
                    <a:pt x="2326331" y="849014"/>
                  </a:lnTo>
                  <a:lnTo>
                    <a:pt x="2323183" y="850588"/>
                  </a:lnTo>
                  <a:lnTo>
                    <a:pt x="2320429" y="852161"/>
                  </a:lnTo>
                  <a:lnTo>
                    <a:pt x="2317282" y="853735"/>
                  </a:lnTo>
                  <a:lnTo>
                    <a:pt x="2314528" y="856489"/>
                  </a:lnTo>
                  <a:lnTo>
                    <a:pt x="2317282" y="855702"/>
                  </a:lnTo>
                  <a:lnTo>
                    <a:pt x="2311380" y="859243"/>
                  </a:lnTo>
                  <a:lnTo>
                    <a:pt x="2310987" y="856883"/>
                  </a:lnTo>
                  <a:lnTo>
                    <a:pt x="2308233" y="858456"/>
                  </a:lnTo>
                  <a:lnTo>
                    <a:pt x="2305086" y="860030"/>
                  </a:lnTo>
                  <a:lnTo>
                    <a:pt x="2299578" y="863964"/>
                  </a:lnTo>
                  <a:lnTo>
                    <a:pt x="2296824" y="866718"/>
                  </a:lnTo>
                  <a:lnTo>
                    <a:pt x="2299971" y="864751"/>
                  </a:lnTo>
                  <a:lnTo>
                    <a:pt x="2302725" y="862391"/>
                  </a:lnTo>
                  <a:lnTo>
                    <a:pt x="2305479" y="860817"/>
                  </a:lnTo>
                  <a:lnTo>
                    <a:pt x="2308626" y="860817"/>
                  </a:lnTo>
                  <a:lnTo>
                    <a:pt x="2305872" y="862784"/>
                  </a:lnTo>
                  <a:lnTo>
                    <a:pt x="2303119" y="864358"/>
                  </a:lnTo>
                  <a:lnTo>
                    <a:pt x="2299971" y="866718"/>
                  </a:lnTo>
                  <a:lnTo>
                    <a:pt x="2297611" y="869472"/>
                  </a:lnTo>
                  <a:lnTo>
                    <a:pt x="2296037" y="872226"/>
                  </a:lnTo>
                  <a:lnTo>
                    <a:pt x="2293676" y="875374"/>
                  </a:lnTo>
                  <a:lnTo>
                    <a:pt x="2293283" y="878128"/>
                  </a:lnTo>
                  <a:lnTo>
                    <a:pt x="2292496" y="880882"/>
                  </a:lnTo>
                  <a:lnTo>
                    <a:pt x="2291316" y="883636"/>
                  </a:lnTo>
                  <a:lnTo>
                    <a:pt x="2291316" y="886389"/>
                  </a:lnTo>
                  <a:lnTo>
                    <a:pt x="2292889" y="889537"/>
                  </a:lnTo>
                  <a:lnTo>
                    <a:pt x="2298791" y="889537"/>
                  </a:lnTo>
                  <a:lnTo>
                    <a:pt x="2299184" y="891111"/>
                  </a:lnTo>
                  <a:lnTo>
                    <a:pt x="2298397" y="893865"/>
                  </a:lnTo>
                  <a:lnTo>
                    <a:pt x="2301151" y="895045"/>
                  </a:lnTo>
                  <a:lnTo>
                    <a:pt x="2303905" y="893865"/>
                  </a:lnTo>
                  <a:lnTo>
                    <a:pt x="2305086" y="896619"/>
                  </a:lnTo>
                  <a:lnTo>
                    <a:pt x="2306659" y="893471"/>
                  </a:lnTo>
                  <a:lnTo>
                    <a:pt x="2309413" y="893471"/>
                  </a:lnTo>
                  <a:lnTo>
                    <a:pt x="2310594" y="890717"/>
                  </a:lnTo>
                  <a:lnTo>
                    <a:pt x="2310594" y="889144"/>
                  </a:lnTo>
                  <a:lnTo>
                    <a:pt x="2313348" y="889144"/>
                  </a:lnTo>
                  <a:lnTo>
                    <a:pt x="2313741" y="889537"/>
                  </a:lnTo>
                  <a:lnTo>
                    <a:pt x="2313741" y="889144"/>
                  </a:lnTo>
                  <a:lnTo>
                    <a:pt x="2316889" y="889144"/>
                  </a:lnTo>
                  <a:lnTo>
                    <a:pt x="2318462" y="889144"/>
                  </a:lnTo>
                  <a:lnTo>
                    <a:pt x="2321216" y="887176"/>
                  </a:lnTo>
                  <a:lnTo>
                    <a:pt x="2323970" y="885603"/>
                  </a:lnTo>
                  <a:lnTo>
                    <a:pt x="2326724" y="883636"/>
                  </a:lnTo>
                  <a:lnTo>
                    <a:pt x="2327904" y="880488"/>
                  </a:lnTo>
                  <a:lnTo>
                    <a:pt x="2331052" y="880095"/>
                  </a:lnTo>
                  <a:lnTo>
                    <a:pt x="2333806" y="877341"/>
                  </a:lnTo>
                  <a:lnTo>
                    <a:pt x="2335773" y="874587"/>
                  </a:lnTo>
                  <a:lnTo>
                    <a:pt x="2336953" y="874193"/>
                  </a:lnTo>
                  <a:lnTo>
                    <a:pt x="2340101" y="873406"/>
                  </a:lnTo>
                  <a:lnTo>
                    <a:pt x="2342855" y="871046"/>
                  </a:lnTo>
                  <a:lnTo>
                    <a:pt x="2343248" y="869079"/>
                  </a:lnTo>
                  <a:lnTo>
                    <a:pt x="2344035" y="868292"/>
                  </a:lnTo>
                  <a:lnTo>
                    <a:pt x="2346396" y="869079"/>
                  </a:lnTo>
                  <a:lnTo>
                    <a:pt x="2346789" y="866325"/>
                  </a:lnTo>
                  <a:lnTo>
                    <a:pt x="2353477" y="863177"/>
                  </a:lnTo>
                  <a:lnTo>
                    <a:pt x="2353477" y="863177"/>
                  </a:lnTo>
                  <a:lnTo>
                    <a:pt x="2356231" y="861997"/>
                  </a:lnTo>
                  <a:lnTo>
                    <a:pt x="2356231" y="861604"/>
                  </a:lnTo>
                  <a:lnTo>
                    <a:pt x="2359772" y="860030"/>
                  </a:lnTo>
                  <a:lnTo>
                    <a:pt x="2360559" y="861997"/>
                  </a:lnTo>
                  <a:lnTo>
                    <a:pt x="2363313" y="863571"/>
                  </a:lnTo>
                  <a:lnTo>
                    <a:pt x="2366460" y="863177"/>
                  </a:lnTo>
                  <a:lnTo>
                    <a:pt x="2369214" y="861210"/>
                  </a:lnTo>
                  <a:lnTo>
                    <a:pt x="2369608" y="858456"/>
                  </a:lnTo>
                  <a:lnTo>
                    <a:pt x="2369214" y="855309"/>
                  </a:lnTo>
                  <a:lnTo>
                    <a:pt x="2370394" y="856489"/>
                  </a:lnTo>
                  <a:lnTo>
                    <a:pt x="2371575" y="858063"/>
                  </a:lnTo>
                  <a:lnTo>
                    <a:pt x="2374722" y="857276"/>
                  </a:lnTo>
                  <a:lnTo>
                    <a:pt x="2377476" y="857669"/>
                  </a:lnTo>
                  <a:lnTo>
                    <a:pt x="2386525" y="854915"/>
                  </a:lnTo>
                  <a:lnTo>
                    <a:pt x="2386918" y="854915"/>
                  </a:lnTo>
                  <a:lnTo>
                    <a:pt x="2389672" y="854522"/>
                  </a:lnTo>
                  <a:lnTo>
                    <a:pt x="2392033" y="853342"/>
                  </a:lnTo>
                  <a:lnTo>
                    <a:pt x="2416425" y="845473"/>
                  </a:lnTo>
                  <a:lnTo>
                    <a:pt x="2420360" y="843899"/>
                  </a:lnTo>
                  <a:lnTo>
                    <a:pt x="2422720" y="842719"/>
                  </a:lnTo>
                  <a:lnTo>
                    <a:pt x="2425081" y="841932"/>
                  </a:lnTo>
                  <a:lnTo>
                    <a:pt x="2427835" y="840359"/>
                  </a:lnTo>
                  <a:lnTo>
                    <a:pt x="2430982" y="840359"/>
                  </a:lnTo>
                  <a:lnTo>
                    <a:pt x="2433736" y="839965"/>
                  </a:lnTo>
                  <a:lnTo>
                    <a:pt x="2436490" y="837998"/>
                  </a:lnTo>
                  <a:lnTo>
                    <a:pt x="2439244" y="837605"/>
                  </a:lnTo>
                  <a:lnTo>
                    <a:pt x="2441998" y="838392"/>
                  </a:lnTo>
                  <a:lnTo>
                    <a:pt x="2444752" y="836818"/>
                  </a:lnTo>
                  <a:lnTo>
                    <a:pt x="2446326" y="834064"/>
                  </a:lnTo>
                  <a:lnTo>
                    <a:pt x="2443572" y="833670"/>
                  </a:lnTo>
                  <a:lnTo>
                    <a:pt x="2440424" y="834064"/>
                  </a:lnTo>
                  <a:lnTo>
                    <a:pt x="2440424" y="830523"/>
                  </a:lnTo>
                  <a:lnTo>
                    <a:pt x="2441998" y="828162"/>
                  </a:lnTo>
                  <a:lnTo>
                    <a:pt x="2440424" y="825408"/>
                  </a:lnTo>
                  <a:lnTo>
                    <a:pt x="2440031" y="824228"/>
                  </a:lnTo>
                  <a:lnTo>
                    <a:pt x="2437277" y="822654"/>
                  </a:lnTo>
                  <a:lnTo>
                    <a:pt x="2434523" y="825015"/>
                  </a:lnTo>
                  <a:lnTo>
                    <a:pt x="2431769" y="824622"/>
                  </a:lnTo>
                  <a:lnTo>
                    <a:pt x="2428622" y="823048"/>
                  </a:lnTo>
                  <a:lnTo>
                    <a:pt x="2428228" y="819900"/>
                  </a:lnTo>
                  <a:lnTo>
                    <a:pt x="2427048" y="817147"/>
                  </a:lnTo>
                  <a:lnTo>
                    <a:pt x="2424294" y="819114"/>
                  </a:lnTo>
                  <a:lnTo>
                    <a:pt x="2421147" y="820687"/>
                  </a:lnTo>
                  <a:lnTo>
                    <a:pt x="2418393" y="822261"/>
                  </a:lnTo>
                  <a:lnTo>
                    <a:pt x="2415638" y="823048"/>
                  </a:lnTo>
                  <a:lnTo>
                    <a:pt x="2412884" y="824622"/>
                  </a:lnTo>
                  <a:lnTo>
                    <a:pt x="2410130" y="823441"/>
                  </a:lnTo>
                  <a:lnTo>
                    <a:pt x="2407377" y="825015"/>
                  </a:lnTo>
                  <a:lnTo>
                    <a:pt x="2404229" y="825408"/>
                  </a:lnTo>
                  <a:lnTo>
                    <a:pt x="2405803" y="823441"/>
                  </a:lnTo>
                  <a:lnTo>
                    <a:pt x="2408557" y="822261"/>
                  </a:lnTo>
                  <a:lnTo>
                    <a:pt x="2405803" y="820687"/>
                  </a:lnTo>
                  <a:lnTo>
                    <a:pt x="2402655" y="820294"/>
                  </a:lnTo>
                  <a:lnTo>
                    <a:pt x="2399901" y="819900"/>
                  </a:lnTo>
                  <a:lnTo>
                    <a:pt x="2397147" y="821081"/>
                  </a:lnTo>
                  <a:lnTo>
                    <a:pt x="2394000" y="821081"/>
                  </a:lnTo>
                  <a:lnTo>
                    <a:pt x="2391246" y="819507"/>
                  </a:lnTo>
                  <a:lnTo>
                    <a:pt x="2388492" y="817147"/>
                  </a:lnTo>
                  <a:lnTo>
                    <a:pt x="2385345" y="817147"/>
                  </a:lnTo>
                  <a:lnTo>
                    <a:pt x="2384558" y="817540"/>
                  </a:lnTo>
                  <a:lnTo>
                    <a:pt x="2378656" y="815179"/>
                  </a:lnTo>
                  <a:lnTo>
                    <a:pt x="2377476" y="813606"/>
                  </a:lnTo>
                  <a:lnTo>
                    <a:pt x="2374722" y="813606"/>
                  </a:lnTo>
                  <a:lnTo>
                    <a:pt x="2378656" y="811245"/>
                  </a:lnTo>
                  <a:lnTo>
                    <a:pt x="2379837" y="811245"/>
                  </a:lnTo>
                  <a:lnTo>
                    <a:pt x="2382984" y="808885"/>
                  </a:lnTo>
                  <a:lnTo>
                    <a:pt x="2362526" y="785279"/>
                  </a:lnTo>
                  <a:lnTo>
                    <a:pt x="2364100" y="782525"/>
                  </a:lnTo>
                  <a:lnTo>
                    <a:pt x="2366854" y="780164"/>
                  </a:lnTo>
                  <a:lnTo>
                    <a:pt x="2365280" y="777410"/>
                  </a:lnTo>
                  <a:lnTo>
                    <a:pt x="2362526" y="777410"/>
                  </a:lnTo>
                  <a:lnTo>
                    <a:pt x="2359379" y="777804"/>
                  </a:lnTo>
                  <a:lnTo>
                    <a:pt x="2356625" y="778591"/>
                  </a:lnTo>
                  <a:lnTo>
                    <a:pt x="2355838" y="777017"/>
                  </a:lnTo>
                  <a:lnTo>
                    <a:pt x="2353084" y="777017"/>
                  </a:lnTo>
                  <a:lnTo>
                    <a:pt x="2355838" y="775837"/>
                  </a:lnTo>
                  <a:lnTo>
                    <a:pt x="2358592" y="774263"/>
                  </a:lnTo>
                  <a:lnTo>
                    <a:pt x="2361346" y="772689"/>
                  </a:lnTo>
                  <a:lnTo>
                    <a:pt x="2364100" y="770722"/>
                  </a:lnTo>
                  <a:lnTo>
                    <a:pt x="2366854" y="768362"/>
                  </a:lnTo>
                  <a:lnTo>
                    <a:pt x="2369608" y="766001"/>
                  </a:lnTo>
                  <a:lnTo>
                    <a:pt x="2371181" y="762854"/>
                  </a:lnTo>
                  <a:lnTo>
                    <a:pt x="2373148" y="760100"/>
                  </a:lnTo>
                  <a:lnTo>
                    <a:pt x="2375903" y="757739"/>
                  </a:lnTo>
                  <a:lnTo>
                    <a:pt x="2379050" y="755379"/>
                  </a:lnTo>
                  <a:lnTo>
                    <a:pt x="2375903" y="755772"/>
                  </a:lnTo>
                  <a:lnTo>
                    <a:pt x="2375509" y="753018"/>
                  </a:lnTo>
                  <a:lnTo>
                    <a:pt x="2372755" y="753411"/>
                  </a:lnTo>
                  <a:lnTo>
                    <a:pt x="2370001" y="752231"/>
                  </a:lnTo>
                  <a:lnTo>
                    <a:pt x="2366854" y="752625"/>
                  </a:lnTo>
                  <a:lnTo>
                    <a:pt x="2364100" y="753805"/>
                  </a:lnTo>
                  <a:lnTo>
                    <a:pt x="2361346" y="755379"/>
                  </a:lnTo>
                  <a:lnTo>
                    <a:pt x="2358592" y="756952"/>
                  </a:lnTo>
                  <a:lnTo>
                    <a:pt x="2355444" y="757739"/>
                  </a:lnTo>
                  <a:lnTo>
                    <a:pt x="2352690" y="759313"/>
                  </a:lnTo>
                  <a:lnTo>
                    <a:pt x="2350723" y="759313"/>
                  </a:lnTo>
                  <a:lnTo>
                    <a:pt x="2350723" y="756952"/>
                  </a:lnTo>
                  <a:lnTo>
                    <a:pt x="2351116" y="754198"/>
                  </a:lnTo>
                  <a:lnTo>
                    <a:pt x="2350723" y="751051"/>
                  </a:lnTo>
                  <a:lnTo>
                    <a:pt x="2347969" y="749477"/>
                  </a:lnTo>
                  <a:lnTo>
                    <a:pt x="2344822" y="749084"/>
                  </a:lnTo>
                  <a:lnTo>
                    <a:pt x="2342068" y="747510"/>
                  </a:lnTo>
                  <a:lnTo>
                    <a:pt x="2338920" y="746330"/>
                  </a:lnTo>
                  <a:lnTo>
                    <a:pt x="2336166" y="744363"/>
                  </a:lnTo>
                  <a:lnTo>
                    <a:pt x="2345609" y="742789"/>
                  </a:lnTo>
                  <a:lnTo>
                    <a:pt x="2346396" y="742789"/>
                  </a:lnTo>
                  <a:lnTo>
                    <a:pt x="2346789" y="742396"/>
                  </a:lnTo>
                  <a:lnTo>
                    <a:pt x="2352297" y="741609"/>
                  </a:lnTo>
                  <a:lnTo>
                    <a:pt x="2352690" y="742396"/>
                  </a:lnTo>
                  <a:lnTo>
                    <a:pt x="2355838" y="743182"/>
                  </a:lnTo>
                  <a:lnTo>
                    <a:pt x="2358592" y="744363"/>
                  </a:lnTo>
                  <a:lnTo>
                    <a:pt x="2361739" y="746330"/>
                  </a:lnTo>
                  <a:lnTo>
                    <a:pt x="2364493" y="745936"/>
                  </a:lnTo>
                  <a:lnTo>
                    <a:pt x="2367640" y="745149"/>
                  </a:lnTo>
                  <a:lnTo>
                    <a:pt x="2370394" y="743576"/>
                  </a:lnTo>
                  <a:lnTo>
                    <a:pt x="2373148" y="742396"/>
                  </a:lnTo>
                  <a:lnTo>
                    <a:pt x="2376296" y="740035"/>
                  </a:lnTo>
                  <a:lnTo>
                    <a:pt x="2379050" y="739642"/>
                  </a:lnTo>
                  <a:lnTo>
                    <a:pt x="2381804" y="738068"/>
                  </a:lnTo>
                  <a:lnTo>
                    <a:pt x="2384558" y="735314"/>
                  </a:lnTo>
                  <a:lnTo>
                    <a:pt x="2384951" y="734920"/>
                  </a:lnTo>
                  <a:lnTo>
                    <a:pt x="2388099" y="734134"/>
                  </a:lnTo>
                  <a:lnTo>
                    <a:pt x="2391246" y="733347"/>
                  </a:lnTo>
                  <a:lnTo>
                    <a:pt x="2394000" y="732953"/>
                  </a:lnTo>
                  <a:lnTo>
                    <a:pt x="2397147" y="730986"/>
                  </a:lnTo>
                  <a:lnTo>
                    <a:pt x="2399901" y="729412"/>
                  </a:lnTo>
                  <a:lnTo>
                    <a:pt x="2399508" y="726658"/>
                  </a:lnTo>
                  <a:lnTo>
                    <a:pt x="2401475" y="723511"/>
                  </a:lnTo>
                  <a:lnTo>
                    <a:pt x="2398721" y="720757"/>
                  </a:lnTo>
                  <a:lnTo>
                    <a:pt x="2397541" y="720757"/>
                  </a:lnTo>
                  <a:lnTo>
                    <a:pt x="2399115" y="720364"/>
                  </a:lnTo>
                  <a:lnTo>
                    <a:pt x="2397541" y="719183"/>
                  </a:lnTo>
                  <a:lnTo>
                    <a:pt x="2397147" y="718790"/>
                  </a:lnTo>
                  <a:lnTo>
                    <a:pt x="2398721" y="718003"/>
                  </a:lnTo>
                  <a:lnTo>
                    <a:pt x="2401475" y="718790"/>
                  </a:lnTo>
                  <a:lnTo>
                    <a:pt x="2404623" y="719577"/>
                  </a:lnTo>
                  <a:lnTo>
                    <a:pt x="2405016" y="716823"/>
                  </a:lnTo>
                  <a:lnTo>
                    <a:pt x="2402655" y="713675"/>
                  </a:lnTo>
                  <a:lnTo>
                    <a:pt x="2399901" y="710921"/>
                  </a:lnTo>
                  <a:lnTo>
                    <a:pt x="2397147" y="709348"/>
                  </a:lnTo>
                  <a:lnTo>
                    <a:pt x="2394000" y="707774"/>
                  </a:lnTo>
                  <a:lnTo>
                    <a:pt x="2391246" y="706200"/>
                  </a:lnTo>
                  <a:lnTo>
                    <a:pt x="2388099" y="705807"/>
                  </a:lnTo>
                  <a:lnTo>
                    <a:pt x="2385345" y="705413"/>
                  </a:lnTo>
                  <a:lnTo>
                    <a:pt x="2382591" y="705020"/>
                  </a:lnTo>
                  <a:lnTo>
                    <a:pt x="2379443" y="704627"/>
                  </a:lnTo>
                  <a:lnTo>
                    <a:pt x="2376689" y="704233"/>
                  </a:lnTo>
                  <a:lnTo>
                    <a:pt x="2373542" y="704627"/>
                  </a:lnTo>
                  <a:lnTo>
                    <a:pt x="2373148" y="704627"/>
                  </a:lnTo>
                  <a:lnTo>
                    <a:pt x="2371575" y="705020"/>
                  </a:lnTo>
                  <a:lnTo>
                    <a:pt x="2370001" y="705413"/>
                  </a:lnTo>
                  <a:lnTo>
                    <a:pt x="2367247" y="705413"/>
                  </a:lnTo>
                  <a:lnTo>
                    <a:pt x="2364100" y="705807"/>
                  </a:lnTo>
                  <a:lnTo>
                    <a:pt x="2361346" y="705807"/>
                  </a:lnTo>
                  <a:lnTo>
                    <a:pt x="2358592" y="706200"/>
                  </a:lnTo>
                  <a:lnTo>
                    <a:pt x="2355444" y="706594"/>
                  </a:lnTo>
                  <a:lnTo>
                    <a:pt x="2352690" y="707381"/>
                  </a:lnTo>
                  <a:lnTo>
                    <a:pt x="2349936" y="708167"/>
                  </a:lnTo>
                  <a:lnTo>
                    <a:pt x="2346789" y="708561"/>
                  </a:lnTo>
                  <a:lnTo>
                    <a:pt x="2344035" y="709348"/>
                  </a:lnTo>
                  <a:lnTo>
                    <a:pt x="2341281" y="710135"/>
                  </a:lnTo>
                  <a:lnTo>
                    <a:pt x="2338527" y="710921"/>
                  </a:lnTo>
                  <a:lnTo>
                    <a:pt x="2335773" y="712102"/>
                  </a:lnTo>
                  <a:lnTo>
                    <a:pt x="2332626" y="713675"/>
                  </a:lnTo>
                  <a:lnTo>
                    <a:pt x="2329872" y="714462"/>
                  </a:lnTo>
                  <a:lnTo>
                    <a:pt x="2327118" y="714856"/>
                  </a:lnTo>
                  <a:lnTo>
                    <a:pt x="2324364" y="715249"/>
                  </a:lnTo>
                  <a:lnTo>
                    <a:pt x="2323183" y="715642"/>
                  </a:lnTo>
                  <a:lnTo>
                    <a:pt x="2318069" y="716823"/>
                  </a:lnTo>
                  <a:lnTo>
                    <a:pt x="2312954" y="719183"/>
                  </a:lnTo>
                  <a:lnTo>
                    <a:pt x="2310200" y="720364"/>
                  </a:lnTo>
                  <a:lnTo>
                    <a:pt x="2307053" y="721544"/>
                  </a:lnTo>
                  <a:lnTo>
                    <a:pt x="2304299" y="722724"/>
                  </a:lnTo>
                  <a:lnTo>
                    <a:pt x="2301545" y="723118"/>
                  </a:lnTo>
                  <a:lnTo>
                    <a:pt x="2298397" y="723904"/>
                  </a:lnTo>
                  <a:lnTo>
                    <a:pt x="2295643" y="725478"/>
                  </a:lnTo>
                  <a:lnTo>
                    <a:pt x="2292496" y="727445"/>
                  </a:lnTo>
                  <a:lnTo>
                    <a:pt x="2289742" y="727839"/>
                  </a:lnTo>
                  <a:lnTo>
                    <a:pt x="2286595" y="730199"/>
                  </a:lnTo>
                  <a:lnTo>
                    <a:pt x="2284628" y="730593"/>
                  </a:lnTo>
                  <a:lnTo>
                    <a:pt x="2281874" y="732166"/>
                  </a:lnTo>
                  <a:lnTo>
                    <a:pt x="2278726" y="733347"/>
                  </a:lnTo>
                  <a:lnTo>
                    <a:pt x="2275972" y="734920"/>
                  </a:lnTo>
                  <a:lnTo>
                    <a:pt x="2273218" y="736494"/>
                  </a:lnTo>
                  <a:lnTo>
                    <a:pt x="2270071" y="738068"/>
                  </a:lnTo>
                  <a:lnTo>
                    <a:pt x="2267317" y="740428"/>
                  </a:lnTo>
                  <a:lnTo>
                    <a:pt x="2258661" y="745543"/>
                  </a:lnTo>
                  <a:lnTo>
                    <a:pt x="2255514" y="747117"/>
                  </a:lnTo>
                  <a:lnTo>
                    <a:pt x="2252760" y="749477"/>
                  </a:lnTo>
                  <a:lnTo>
                    <a:pt x="2250006" y="752625"/>
                  </a:lnTo>
                  <a:lnTo>
                    <a:pt x="2246858" y="754985"/>
                  </a:lnTo>
                  <a:lnTo>
                    <a:pt x="2244105" y="756952"/>
                  </a:lnTo>
                  <a:lnTo>
                    <a:pt x="2242138" y="758526"/>
                  </a:lnTo>
                  <a:lnTo>
                    <a:pt x="2235056" y="762854"/>
                  </a:lnTo>
                  <a:lnTo>
                    <a:pt x="2227974" y="768362"/>
                  </a:lnTo>
                  <a:lnTo>
                    <a:pt x="2226794" y="768755"/>
                  </a:lnTo>
                  <a:lnTo>
                    <a:pt x="2224827" y="770722"/>
                  </a:lnTo>
                  <a:lnTo>
                    <a:pt x="2220892" y="774263"/>
                  </a:lnTo>
                  <a:lnTo>
                    <a:pt x="2215384" y="776624"/>
                  </a:lnTo>
                  <a:lnTo>
                    <a:pt x="2217745" y="774656"/>
                  </a:lnTo>
                  <a:lnTo>
                    <a:pt x="2216565" y="774656"/>
                  </a:lnTo>
                  <a:lnTo>
                    <a:pt x="2214991" y="777017"/>
                  </a:lnTo>
                  <a:lnTo>
                    <a:pt x="2197680" y="784492"/>
                  </a:lnTo>
                  <a:lnTo>
                    <a:pt x="2195713" y="784492"/>
                  </a:lnTo>
                  <a:lnTo>
                    <a:pt x="2192566" y="786459"/>
                  </a:lnTo>
                  <a:lnTo>
                    <a:pt x="2189812" y="788033"/>
                  </a:lnTo>
                  <a:lnTo>
                    <a:pt x="2189418" y="788033"/>
                  </a:lnTo>
                  <a:lnTo>
                    <a:pt x="2189418" y="787640"/>
                  </a:lnTo>
                  <a:lnTo>
                    <a:pt x="2189812" y="787640"/>
                  </a:lnTo>
                  <a:lnTo>
                    <a:pt x="2192959" y="785672"/>
                  </a:lnTo>
                  <a:lnTo>
                    <a:pt x="2193353" y="785672"/>
                  </a:lnTo>
                  <a:lnTo>
                    <a:pt x="2204762" y="778197"/>
                  </a:lnTo>
                  <a:lnTo>
                    <a:pt x="2207122" y="777804"/>
                  </a:lnTo>
                  <a:lnTo>
                    <a:pt x="2209877" y="776624"/>
                  </a:lnTo>
                  <a:lnTo>
                    <a:pt x="2213024" y="773870"/>
                  </a:lnTo>
                  <a:lnTo>
                    <a:pt x="2215778" y="771509"/>
                  </a:lnTo>
                  <a:lnTo>
                    <a:pt x="2216565" y="770329"/>
                  </a:lnTo>
                  <a:lnTo>
                    <a:pt x="2225220" y="764427"/>
                  </a:lnTo>
                  <a:lnTo>
                    <a:pt x="2226794" y="764034"/>
                  </a:lnTo>
                  <a:lnTo>
                    <a:pt x="2229548" y="762460"/>
                  </a:lnTo>
                  <a:lnTo>
                    <a:pt x="2230728" y="760493"/>
                  </a:lnTo>
                  <a:lnTo>
                    <a:pt x="2237416" y="755772"/>
                  </a:lnTo>
                  <a:lnTo>
                    <a:pt x="2240170" y="754198"/>
                  </a:lnTo>
                  <a:lnTo>
                    <a:pt x="2242531" y="751444"/>
                  </a:lnTo>
                  <a:lnTo>
                    <a:pt x="2245285" y="748690"/>
                  </a:lnTo>
                  <a:lnTo>
                    <a:pt x="2248039" y="745936"/>
                  </a:lnTo>
                  <a:lnTo>
                    <a:pt x="2250399" y="742789"/>
                  </a:lnTo>
                  <a:lnTo>
                    <a:pt x="2247645" y="741609"/>
                  </a:lnTo>
                  <a:lnTo>
                    <a:pt x="2245285" y="738855"/>
                  </a:lnTo>
                  <a:lnTo>
                    <a:pt x="2238597" y="736887"/>
                  </a:lnTo>
                  <a:lnTo>
                    <a:pt x="2238203" y="736887"/>
                  </a:lnTo>
                  <a:lnTo>
                    <a:pt x="2235449" y="735707"/>
                  </a:lnTo>
                  <a:lnTo>
                    <a:pt x="2240957" y="736887"/>
                  </a:lnTo>
                  <a:lnTo>
                    <a:pt x="2242924" y="738068"/>
                  </a:lnTo>
                  <a:lnTo>
                    <a:pt x="2245678" y="737674"/>
                  </a:lnTo>
                  <a:lnTo>
                    <a:pt x="2247252" y="738855"/>
                  </a:lnTo>
                  <a:lnTo>
                    <a:pt x="2248826" y="741609"/>
                  </a:lnTo>
                  <a:lnTo>
                    <a:pt x="2251580" y="742002"/>
                  </a:lnTo>
                  <a:lnTo>
                    <a:pt x="2254727" y="740035"/>
                  </a:lnTo>
                  <a:lnTo>
                    <a:pt x="2260235" y="736494"/>
                  </a:lnTo>
                  <a:lnTo>
                    <a:pt x="2263382" y="734134"/>
                  </a:lnTo>
                  <a:lnTo>
                    <a:pt x="2266136" y="731773"/>
                  </a:lnTo>
                  <a:lnTo>
                    <a:pt x="2268104" y="728626"/>
                  </a:lnTo>
                  <a:lnTo>
                    <a:pt x="2270858" y="727052"/>
                  </a:lnTo>
                  <a:lnTo>
                    <a:pt x="2274005" y="725085"/>
                  </a:lnTo>
                  <a:lnTo>
                    <a:pt x="2276365" y="721937"/>
                  </a:lnTo>
                  <a:lnTo>
                    <a:pt x="2279513" y="719970"/>
                  </a:lnTo>
                  <a:lnTo>
                    <a:pt x="2280300" y="719577"/>
                  </a:lnTo>
                  <a:lnTo>
                    <a:pt x="2283447" y="718003"/>
                  </a:lnTo>
                  <a:lnTo>
                    <a:pt x="2286201" y="716429"/>
                  </a:lnTo>
                  <a:lnTo>
                    <a:pt x="2289349" y="714856"/>
                  </a:lnTo>
                  <a:lnTo>
                    <a:pt x="2292102" y="712495"/>
                  </a:lnTo>
                  <a:lnTo>
                    <a:pt x="2295250" y="710921"/>
                  </a:lnTo>
                  <a:lnTo>
                    <a:pt x="2298004" y="709741"/>
                  </a:lnTo>
                  <a:lnTo>
                    <a:pt x="2299184" y="706594"/>
                  </a:lnTo>
                  <a:lnTo>
                    <a:pt x="2299971" y="708167"/>
                  </a:lnTo>
                  <a:lnTo>
                    <a:pt x="2298004" y="710921"/>
                  </a:lnTo>
                  <a:lnTo>
                    <a:pt x="2301151" y="709348"/>
                  </a:lnTo>
                  <a:lnTo>
                    <a:pt x="2303905" y="709348"/>
                  </a:lnTo>
                  <a:lnTo>
                    <a:pt x="2302725" y="706594"/>
                  </a:lnTo>
                  <a:lnTo>
                    <a:pt x="2304692" y="706594"/>
                  </a:lnTo>
                  <a:lnTo>
                    <a:pt x="2307840" y="704627"/>
                  </a:lnTo>
                  <a:lnTo>
                    <a:pt x="2310594" y="703053"/>
                  </a:lnTo>
                  <a:lnTo>
                    <a:pt x="2313348" y="703053"/>
                  </a:lnTo>
                  <a:lnTo>
                    <a:pt x="2316495" y="703446"/>
                  </a:lnTo>
                  <a:lnTo>
                    <a:pt x="2319249" y="702266"/>
                  </a:lnTo>
                  <a:lnTo>
                    <a:pt x="2322396" y="701873"/>
                  </a:lnTo>
                  <a:lnTo>
                    <a:pt x="2325544" y="701479"/>
                  </a:lnTo>
                  <a:lnTo>
                    <a:pt x="2328298" y="701479"/>
                  </a:lnTo>
                  <a:lnTo>
                    <a:pt x="2331445" y="699119"/>
                  </a:lnTo>
                  <a:lnTo>
                    <a:pt x="2334199" y="696758"/>
                  </a:lnTo>
                  <a:lnTo>
                    <a:pt x="2335379" y="694004"/>
                  </a:lnTo>
                  <a:lnTo>
                    <a:pt x="2339314" y="688496"/>
                  </a:lnTo>
                  <a:lnTo>
                    <a:pt x="2341281" y="685742"/>
                  </a:lnTo>
                  <a:lnTo>
                    <a:pt x="2344428" y="685349"/>
                  </a:lnTo>
                  <a:lnTo>
                    <a:pt x="2347182" y="682595"/>
                  </a:lnTo>
                  <a:lnTo>
                    <a:pt x="2349936" y="679447"/>
                  </a:lnTo>
                  <a:lnTo>
                    <a:pt x="2350723" y="679054"/>
                  </a:lnTo>
                  <a:lnTo>
                    <a:pt x="2353870" y="678660"/>
                  </a:lnTo>
                  <a:lnTo>
                    <a:pt x="2356625" y="676300"/>
                  </a:lnTo>
                  <a:lnTo>
                    <a:pt x="2359772" y="673546"/>
                  </a:lnTo>
                  <a:lnTo>
                    <a:pt x="2360559" y="674333"/>
                  </a:lnTo>
                  <a:lnTo>
                    <a:pt x="2363706" y="675120"/>
                  </a:lnTo>
                  <a:lnTo>
                    <a:pt x="2363313" y="673152"/>
                  </a:lnTo>
                  <a:lnTo>
                    <a:pt x="2370394" y="672759"/>
                  </a:lnTo>
                  <a:lnTo>
                    <a:pt x="2371968" y="672759"/>
                  </a:lnTo>
                  <a:lnTo>
                    <a:pt x="2373935" y="672366"/>
                  </a:lnTo>
                  <a:lnTo>
                    <a:pt x="2404229" y="670398"/>
                  </a:lnTo>
                  <a:lnTo>
                    <a:pt x="2406590" y="670792"/>
                  </a:lnTo>
                  <a:lnTo>
                    <a:pt x="2409344" y="670398"/>
                  </a:lnTo>
                  <a:lnTo>
                    <a:pt x="2412098" y="670398"/>
                  </a:lnTo>
                  <a:lnTo>
                    <a:pt x="2415245" y="670005"/>
                  </a:lnTo>
                  <a:lnTo>
                    <a:pt x="2417999" y="668825"/>
                  </a:lnTo>
                  <a:lnTo>
                    <a:pt x="2419573" y="669612"/>
                  </a:lnTo>
                  <a:lnTo>
                    <a:pt x="2422327" y="670398"/>
                  </a:lnTo>
                  <a:lnTo>
                    <a:pt x="2425081" y="670398"/>
                  </a:lnTo>
                  <a:lnTo>
                    <a:pt x="2428228" y="669612"/>
                  </a:lnTo>
                  <a:lnTo>
                    <a:pt x="2429802" y="669612"/>
                  </a:lnTo>
                  <a:lnTo>
                    <a:pt x="2435310" y="670005"/>
                  </a:lnTo>
                  <a:lnTo>
                    <a:pt x="2436884" y="670792"/>
                  </a:lnTo>
                  <a:lnTo>
                    <a:pt x="2440031" y="671185"/>
                  </a:lnTo>
                  <a:lnTo>
                    <a:pt x="2442785" y="672759"/>
                  </a:lnTo>
                  <a:lnTo>
                    <a:pt x="2445539" y="671972"/>
                  </a:lnTo>
                  <a:lnTo>
                    <a:pt x="2448293" y="671972"/>
                  </a:lnTo>
                  <a:lnTo>
                    <a:pt x="2449867" y="671185"/>
                  </a:lnTo>
                  <a:lnTo>
                    <a:pt x="2483701" y="673152"/>
                  </a:lnTo>
                  <a:lnTo>
                    <a:pt x="2484488" y="675513"/>
                  </a:lnTo>
                  <a:lnTo>
                    <a:pt x="2487242" y="674726"/>
                  </a:lnTo>
                  <a:lnTo>
                    <a:pt x="2490390" y="673939"/>
                  </a:lnTo>
                  <a:lnTo>
                    <a:pt x="2488029" y="675513"/>
                  </a:lnTo>
                  <a:lnTo>
                    <a:pt x="2484881" y="677087"/>
                  </a:lnTo>
                  <a:lnTo>
                    <a:pt x="2488029" y="676693"/>
                  </a:lnTo>
                  <a:lnTo>
                    <a:pt x="2490783" y="675513"/>
                  </a:lnTo>
                  <a:lnTo>
                    <a:pt x="2493537" y="674726"/>
                  </a:lnTo>
                  <a:lnTo>
                    <a:pt x="2496291" y="674333"/>
                  </a:lnTo>
                  <a:lnTo>
                    <a:pt x="2497471" y="674333"/>
                  </a:lnTo>
                  <a:lnTo>
                    <a:pt x="2499832" y="674333"/>
                  </a:lnTo>
                  <a:lnTo>
                    <a:pt x="2502586" y="674726"/>
                  </a:lnTo>
                  <a:lnTo>
                    <a:pt x="2503766" y="674333"/>
                  </a:lnTo>
                  <a:lnTo>
                    <a:pt x="2509668" y="673939"/>
                  </a:lnTo>
                  <a:lnTo>
                    <a:pt x="2511635" y="673939"/>
                  </a:lnTo>
                  <a:lnTo>
                    <a:pt x="2514388" y="673546"/>
                  </a:lnTo>
                  <a:lnTo>
                    <a:pt x="2517536" y="673546"/>
                  </a:lnTo>
                  <a:lnTo>
                    <a:pt x="2518716" y="673152"/>
                  </a:lnTo>
                  <a:lnTo>
                    <a:pt x="2526978" y="672759"/>
                  </a:lnTo>
                  <a:lnTo>
                    <a:pt x="2529732" y="673152"/>
                  </a:lnTo>
                  <a:lnTo>
                    <a:pt x="2532880" y="672366"/>
                  </a:lnTo>
                  <a:lnTo>
                    <a:pt x="2534453" y="671579"/>
                  </a:lnTo>
                  <a:lnTo>
                    <a:pt x="2536420" y="670792"/>
                  </a:lnTo>
                  <a:lnTo>
                    <a:pt x="2536814" y="670398"/>
                  </a:lnTo>
                  <a:lnTo>
                    <a:pt x="2547043" y="664891"/>
                  </a:lnTo>
                  <a:lnTo>
                    <a:pt x="2554125" y="660169"/>
                  </a:lnTo>
                  <a:lnTo>
                    <a:pt x="2554518" y="662530"/>
                  </a:lnTo>
                  <a:lnTo>
                    <a:pt x="2554912" y="659776"/>
                  </a:lnTo>
                  <a:lnTo>
                    <a:pt x="2554518" y="659776"/>
                  </a:lnTo>
                  <a:lnTo>
                    <a:pt x="2558846" y="656629"/>
                  </a:lnTo>
                  <a:lnTo>
                    <a:pt x="2559239" y="656629"/>
                  </a:lnTo>
                  <a:lnTo>
                    <a:pt x="2561993" y="654661"/>
                  </a:lnTo>
                  <a:lnTo>
                    <a:pt x="2562387" y="654268"/>
                  </a:lnTo>
                  <a:lnTo>
                    <a:pt x="2564747" y="652694"/>
                  </a:lnTo>
                  <a:lnTo>
                    <a:pt x="2564354" y="655055"/>
                  </a:lnTo>
                  <a:lnTo>
                    <a:pt x="2567108" y="653481"/>
                  </a:lnTo>
                  <a:lnTo>
                    <a:pt x="2567895" y="650334"/>
                  </a:lnTo>
                  <a:lnTo>
                    <a:pt x="2571042" y="647580"/>
                  </a:lnTo>
                  <a:lnTo>
                    <a:pt x="2571435" y="647580"/>
                  </a:lnTo>
                  <a:lnTo>
                    <a:pt x="2574583" y="645219"/>
                  </a:lnTo>
                  <a:lnTo>
                    <a:pt x="2577337" y="644039"/>
                  </a:lnTo>
                  <a:lnTo>
                    <a:pt x="2580484" y="642465"/>
                  </a:lnTo>
                  <a:lnTo>
                    <a:pt x="2579697" y="639711"/>
                  </a:lnTo>
                  <a:lnTo>
                    <a:pt x="2586386" y="638924"/>
                  </a:lnTo>
                  <a:lnTo>
                    <a:pt x="2583632" y="640498"/>
                  </a:lnTo>
                  <a:lnTo>
                    <a:pt x="2586386" y="638924"/>
                  </a:lnTo>
                  <a:lnTo>
                    <a:pt x="2586386" y="638531"/>
                  </a:lnTo>
                  <a:lnTo>
                    <a:pt x="2589139" y="638138"/>
                  </a:lnTo>
                  <a:lnTo>
                    <a:pt x="2589139" y="638138"/>
                  </a:lnTo>
                  <a:lnTo>
                    <a:pt x="2592287" y="638531"/>
                  </a:lnTo>
                  <a:lnTo>
                    <a:pt x="2595041" y="637744"/>
                  </a:lnTo>
                  <a:lnTo>
                    <a:pt x="2596221" y="637351"/>
                  </a:lnTo>
                  <a:lnTo>
                    <a:pt x="2621400" y="634203"/>
                  </a:lnTo>
                  <a:lnTo>
                    <a:pt x="2622974" y="633810"/>
                  </a:lnTo>
                  <a:lnTo>
                    <a:pt x="2625728" y="633023"/>
                  </a:lnTo>
                  <a:lnTo>
                    <a:pt x="2628482" y="632236"/>
                  </a:lnTo>
                  <a:lnTo>
                    <a:pt x="2631630" y="629876"/>
                  </a:lnTo>
                  <a:lnTo>
                    <a:pt x="2634384" y="627515"/>
                  </a:lnTo>
                  <a:lnTo>
                    <a:pt x="2637138" y="626728"/>
                  </a:lnTo>
                  <a:lnTo>
                    <a:pt x="2639892" y="625154"/>
                  </a:lnTo>
                  <a:lnTo>
                    <a:pt x="2643039" y="623581"/>
                  </a:lnTo>
                  <a:lnTo>
                    <a:pt x="2645793" y="622007"/>
                  </a:lnTo>
                  <a:lnTo>
                    <a:pt x="2648940" y="621614"/>
                  </a:lnTo>
                  <a:lnTo>
                    <a:pt x="2651694" y="619646"/>
                  </a:lnTo>
                  <a:lnTo>
                    <a:pt x="2654448" y="618073"/>
                  </a:lnTo>
                  <a:lnTo>
                    <a:pt x="2657596" y="617286"/>
                  </a:lnTo>
                  <a:lnTo>
                    <a:pt x="2660350" y="614532"/>
                  </a:lnTo>
                  <a:lnTo>
                    <a:pt x="2663104" y="612171"/>
                  </a:lnTo>
                  <a:lnTo>
                    <a:pt x="2666251" y="611385"/>
                  </a:lnTo>
                  <a:lnTo>
                    <a:pt x="2665464" y="608631"/>
                  </a:lnTo>
                  <a:lnTo>
                    <a:pt x="2667038" y="605877"/>
                  </a:lnTo>
                  <a:lnTo>
                    <a:pt x="2663890" y="604303"/>
                  </a:lnTo>
                  <a:lnTo>
                    <a:pt x="2661923" y="603123"/>
                  </a:lnTo>
                  <a:lnTo>
                    <a:pt x="2662710" y="602729"/>
                  </a:lnTo>
                  <a:lnTo>
                    <a:pt x="2664284" y="603516"/>
                  </a:lnTo>
                  <a:lnTo>
                    <a:pt x="2667038" y="603123"/>
                  </a:lnTo>
                  <a:lnTo>
                    <a:pt x="2670185" y="603909"/>
                  </a:lnTo>
                  <a:lnTo>
                    <a:pt x="2670185" y="601155"/>
                  </a:lnTo>
                  <a:lnTo>
                    <a:pt x="2669399" y="594074"/>
                  </a:lnTo>
                  <a:lnTo>
                    <a:pt x="2668218" y="593680"/>
                  </a:lnTo>
                  <a:lnTo>
                    <a:pt x="2667825" y="593680"/>
                  </a:lnTo>
                  <a:lnTo>
                    <a:pt x="2663890" y="592893"/>
                  </a:lnTo>
                  <a:lnTo>
                    <a:pt x="2662317" y="592500"/>
                  </a:lnTo>
                  <a:lnTo>
                    <a:pt x="2661530" y="592500"/>
                  </a:lnTo>
                  <a:lnTo>
                    <a:pt x="2660743" y="592500"/>
                  </a:lnTo>
                  <a:lnTo>
                    <a:pt x="2663497" y="591713"/>
                  </a:lnTo>
                  <a:lnTo>
                    <a:pt x="2666251" y="592107"/>
                  </a:lnTo>
                  <a:lnTo>
                    <a:pt x="2665858" y="589353"/>
                  </a:lnTo>
                  <a:lnTo>
                    <a:pt x="2669005" y="590140"/>
                  </a:lnTo>
                  <a:lnTo>
                    <a:pt x="2671759" y="591320"/>
                  </a:lnTo>
                  <a:lnTo>
                    <a:pt x="2673333" y="588172"/>
                  </a:lnTo>
                  <a:lnTo>
                    <a:pt x="2670579" y="588172"/>
                  </a:lnTo>
                  <a:lnTo>
                    <a:pt x="2667825" y="587386"/>
                  </a:lnTo>
                  <a:lnTo>
                    <a:pt x="2666645" y="584632"/>
                  </a:lnTo>
                  <a:lnTo>
                    <a:pt x="2669399" y="584632"/>
                  </a:lnTo>
                  <a:lnTo>
                    <a:pt x="2672546" y="584238"/>
                  </a:lnTo>
                  <a:lnTo>
                    <a:pt x="2675300" y="582271"/>
                  </a:lnTo>
                  <a:lnTo>
                    <a:pt x="2674513" y="579517"/>
                  </a:lnTo>
                  <a:lnTo>
                    <a:pt x="2671366" y="578337"/>
                  </a:lnTo>
                  <a:lnTo>
                    <a:pt x="2669399" y="577550"/>
                  </a:lnTo>
                  <a:lnTo>
                    <a:pt x="2669792" y="577156"/>
                  </a:lnTo>
                  <a:lnTo>
                    <a:pt x="2671759" y="577156"/>
                  </a:lnTo>
                  <a:lnTo>
                    <a:pt x="2674513" y="577550"/>
                  </a:lnTo>
                  <a:lnTo>
                    <a:pt x="2677660" y="575189"/>
                  </a:lnTo>
                  <a:lnTo>
                    <a:pt x="2680414" y="572829"/>
                  </a:lnTo>
                  <a:lnTo>
                    <a:pt x="2680021" y="570075"/>
                  </a:lnTo>
                  <a:lnTo>
                    <a:pt x="2680808" y="567321"/>
                  </a:lnTo>
                  <a:lnTo>
                    <a:pt x="2679234" y="565747"/>
                  </a:lnTo>
                  <a:lnTo>
                    <a:pt x="2676087" y="566140"/>
                  </a:lnTo>
                  <a:lnTo>
                    <a:pt x="2676480" y="563387"/>
                  </a:lnTo>
                  <a:lnTo>
                    <a:pt x="2674120" y="560633"/>
                  </a:lnTo>
                  <a:lnTo>
                    <a:pt x="2676874" y="559846"/>
                  </a:lnTo>
                  <a:lnTo>
                    <a:pt x="2674120" y="559846"/>
                  </a:lnTo>
                  <a:lnTo>
                    <a:pt x="2671366" y="558272"/>
                  </a:lnTo>
                  <a:lnTo>
                    <a:pt x="2668612" y="558665"/>
                  </a:lnTo>
                  <a:lnTo>
                    <a:pt x="2665464" y="558272"/>
                  </a:lnTo>
                  <a:lnTo>
                    <a:pt x="2662710" y="556698"/>
                  </a:lnTo>
                  <a:lnTo>
                    <a:pt x="2665858" y="557092"/>
                  </a:lnTo>
                  <a:lnTo>
                    <a:pt x="2668218" y="554338"/>
                  </a:lnTo>
                  <a:lnTo>
                    <a:pt x="2665464" y="555911"/>
                  </a:lnTo>
                  <a:lnTo>
                    <a:pt x="2662317" y="555518"/>
                  </a:lnTo>
                  <a:lnTo>
                    <a:pt x="2656809" y="555518"/>
                  </a:lnTo>
                  <a:lnTo>
                    <a:pt x="2654055" y="557092"/>
                  </a:lnTo>
                  <a:lnTo>
                    <a:pt x="2651301" y="559846"/>
                  </a:lnTo>
                  <a:lnTo>
                    <a:pt x="2650121" y="561026"/>
                  </a:lnTo>
                  <a:lnTo>
                    <a:pt x="2646186" y="560239"/>
                  </a:lnTo>
                  <a:lnTo>
                    <a:pt x="2646186" y="559846"/>
                  </a:lnTo>
                  <a:lnTo>
                    <a:pt x="2643433" y="559452"/>
                  </a:lnTo>
                  <a:lnTo>
                    <a:pt x="2644613" y="557485"/>
                  </a:lnTo>
                  <a:lnTo>
                    <a:pt x="2646973" y="557092"/>
                  </a:lnTo>
                  <a:lnTo>
                    <a:pt x="2649727" y="555911"/>
                  </a:lnTo>
                  <a:lnTo>
                    <a:pt x="2652481" y="553944"/>
                  </a:lnTo>
                  <a:lnTo>
                    <a:pt x="2655629" y="551977"/>
                  </a:lnTo>
                  <a:lnTo>
                    <a:pt x="2653268" y="549223"/>
                  </a:lnTo>
                  <a:lnTo>
                    <a:pt x="2652875" y="546469"/>
                  </a:lnTo>
                  <a:lnTo>
                    <a:pt x="2652481" y="543322"/>
                  </a:lnTo>
                  <a:lnTo>
                    <a:pt x="2652088" y="540568"/>
                  </a:lnTo>
                  <a:lnTo>
                    <a:pt x="2649334" y="540961"/>
                  </a:lnTo>
                  <a:lnTo>
                    <a:pt x="2646186" y="540174"/>
                  </a:lnTo>
                  <a:lnTo>
                    <a:pt x="2643433" y="540568"/>
                  </a:lnTo>
                  <a:lnTo>
                    <a:pt x="2640678" y="540174"/>
                  </a:lnTo>
                  <a:lnTo>
                    <a:pt x="2637924" y="539388"/>
                  </a:lnTo>
                  <a:lnTo>
                    <a:pt x="2633990" y="539388"/>
                  </a:lnTo>
                  <a:lnTo>
                    <a:pt x="2631236" y="540174"/>
                  </a:lnTo>
                  <a:lnTo>
                    <a:pt x="2628482" y="540174"/>
                  </a:lnTo>
                  <a:lnTo>
                    <a:pt x="2627302" y="543322"/>
                  </a:lnTo>
                  <a:lnTo>
                    <a:pt x="2630056" y="542928"/>
                  </a:lnTo>
                  <a:lnTo>
                    <a:pt x="2633203" y="542535"/>
                  </a:lnTo>
                  <a:lnTo>
                    <a:pt x="2635957" y="542928"/>
                  </a:lnTo>
                  <a:lnTo>
                    <a:pt x="2638711" y="543715"/>
                  </a:lnTo>
                  <a:lnTo>
                    <a:pt x="2635957" y="544502"/>
                  </a:lnTo>
                  <a:lnTo>
                    <a:pt x="2633203" y="544109"/>
                  </a:lnTo>
                  <a:lnTo>
                    <a:pt x="2630056" y="542928"/>
                  </a:lnTo>
                  <a:lnTo>
                    <a:pt x="2627302" y="543322"/>
                  </a:lnTo>
                  <a:lnTo>
                    <a:pt x="2624155" y="544502"/>
                  </a:lnTo>
                  <a:lnTo>
                    <a:pt x="2621400" y="544895"/>
                  </a:lnTo>
                  <a:lnTo>
                    <a:pt x="2618646" y="546076"/>
                  </a:lnTo>
                  <a:lnTo>
                    <a:pt x="2615893" y="546863"/>
                  </a:lnTo>
                  <a:lnTo>
                    <a:pt x="2612745" y="547256"/>
                  </a:lnTo>
                  <a:lnTo>
                    <a:pt x="2609598" y="549617"/>
                  </a:lnTo>
                  <a:lnTo>
                    <a:pt x="2606844" y="551190"/>
                  </a:lnTo>
                  <a:lnTo>
                    <a:pt x="2605270" y="554338"/>
                  </a:lnTo>
                  <a:lnTo>
                    <a:pt x="2602516" y="555911"/>
                  </a:lnTo>
                  <a:lnTo>
                    <a:pt x="2599369" y="555518"/>
                  </a:lnTo>
                  <a:lnTo>
                    <a:pt x="2596615" y="556305"/>
                  </a:lnTo>
                  <a:lnTo>
                    <a:pt x="2593861" y="557879"/>
                  </a:lnTo>
                  <a:lnTo>
                    <a:pt x="2590713" y="559452"/>
                  </a:lnTo>
                  <a:lnTo>
                    <a:pt x="2587566" y="560633"/>
                  </a:lnTo>
                  <a:lnTo>
                    <a:pt x="2584812" y="561026"/>
                  </a:lnTo>
                  <a:lnTo>
                    <a:pt x="2582058" y="560633"/>
                  </a:lnTo>
                  <a:lnTo>
                    <a:pt x="2579697" y="563387"/>
                  </a:lnTo>
                  <a:lnTo>
                    <a:pt x="2579304" y="563387"/>
                  </a:lnTo>
                  <a:lnTo>
                    <a:pt x="2576550" y="564960"/>
                  </a:lnTo>
                  <a:lnTo>
                    <a:pt x="2575370" y="565354"/>
                  </a:lnTo>
                  <a:lnTo>
                    <a:pt x="2568288" y="567321"/>
                  </a:lnTo>
                  <a:lnTo>
                    <a:pt x="2565927" y="566534"/>
                  </a:lnTo>
                  <a:lnTo>
                    <a:pt x="2568681" y="564567"/>
                  </a:lnTo>
                  <a:lnTo>
                    <a:pt x="2571435" y="562993"/>
                  </a:lnTo>
                  <a:lnTo>
                    <a:pt x="2574583" y="562600"/>
                  </a:lnTo>
                  <a:lnTo>
                    <a:pt x="2573009" y="559846"/>
                  </a:lnTo>
                  <a:lnTo>
                    <a:pt x="2570255" y="559059"/>
                  </a:lnTo>
                  <a:lnTo>
                    <a:pt x="2567501" y="556305"/>
                  </a:lnTo>
                  <a:lnTo>
                    <a:pt x="2564747" y="555125"/>
                  </a:lnTo>
                  <a:lnTo>
                    <a:pt x="2561600" y="554731"/>
                  </a:lnTo>
                  <a:lnTo>
                    <a:pt x="2560813" y="554731"/>
                  </a:lnTo>
                  <a:lnTo>
                    <a:pt x="2560026" y="550797"/>
                  </a:lnTo>
                  <a:lnTo>
                    <a:pt x="2562387" y="553551"/>
                  </a:lnTo>
                  <a:lnTo>
                    <a:pt x="2565141" y="553944"/>
                  </a:lnTo>
                  <a:lnTo>
                    <a:pt x="2567895" y="555518"/>
                  </a:lnTo>
                  <a:lnTo>
                    <a:pt x="2571042" y="557879"/>
                  </a:lnTo>
                  <a:lnTo>
                    <a:pt x="2573796" y="559452"/>
                  </a:lnTo>
                  <a:lnTo>
                    <a:pt x="2576156" y="556305"/>
                  </a:lnTo>
                  <a:lnTo>
                    <a:pt x="2578910" y="554338"/>
                  </a:lnTo>
                  <a:lnTo>
                    <a:pt x="2580484" y="551977"/>
                  </a:lnTo>
                  <a:lnTo>
                    <a:pt x="2583238" y="551584"/>
                  </a:lnTo>
                  <a:lnTo>
                    <a:pt x="2585992" y="550010"/>
                  </a:lnTo>
                  <a:lnTo>
                    <a:pt x="2589139" y="550403"/>
                  </a:lnTo>
                  <a:lnTo>
                    <a:pt x="2591893" y="550797"/>
                  </a:lnTo>
                  <a:lnTo>
                    <a:pt x="2594648" y="550403"/>
                  </a:lnTo>
                  <a:lnTo>
                    <a:pt x="2597795" y="548830"/>
                  </a:lnTo>
                  <a:lnTo>
                    <a:pt x="2600549" y="547649"/>
                  </a:lnTo>
                  <a:lnTo>
                    <a:pt x="2603696" y="546863"/>
                  </a:lnTo>
                  <a:lnTo>
                    <a:pt x="2606450" y="546469"/>
                  </a:lnTo>
                  <a:lnTo>
                    <a:pt x="2609204" y="545682"/>
                  </a:lnTo>
                  <a:lnTo>
                    <a:pt x="2612352" y="543322"/>
                  </a:lnTo>
                  <a:lnTo>
                    <a:pt x="2615106" y="543715"/>
                  </a:lnTo>
                  <a:lnTo>
                    <a:pt x="2617860" y="543715"/>
                  </a:lnTo>
                  <a:lnTo>
                    <a:pt x="2621007" y="541748"/>
                  </a:lnTo>
                  <a:lnTo>
                    <a:pt x="2623761" y="540174"/>
                  </a:lnTo>
                  <a:lnTo>
                    <a:pt x="2626909" y="537814"/>
                  </a:lnTo>
                  <a:lnTo>
                    <a:pt x="2623761" y="538601"/>
                  </a:lnTo>
                  <a:lnTo>
                    <a:pt x="2621007" y="539388"/>
                  </a:lnTo>
                  <a:lnTo>
                    <a:pt x="2618253" y="540568"/>
                  </a:lnTo>
                  <a:lnTo>
                    <a:pt x="2615106" y="540961"/>
                  </a:lnTo>
                  <a:lnTo>
                    <a:pt x="2612352" y="541355"/>
                  </a:lnTo>
                  <a:lnTo>
                    <a:pt x="2610385" y="542928"/>
                  </a:lnTo>
                  <a:lnTo>
                    <a:pt x="2607631" y="543322"/>
                  </a:lnTo>
                  <a:lnTo>
                    <a:pt x="2604877" y="544109"/>
                  </a:lnTo>
                  <a:lnTo>
                    <a:pt x="2601729" y="544502"/>
                  </a:lnTo>
                  <a:lnTo>
                    <a:pt x="2598582" y="544502"/>
                  </a:lnTo>
                  <a:lnTo>
                    <a:pt x="2597008" y="544895"/>
                  </a:lnTo>
                  <a:lnTo>
                    <a:pt x="2596221" y="544895"/>
                  </a:lnTo>
                  <a:lnTo>
                    <a:pt x="2609204" y="541355"/>
                  </a:lnTo>
                  <a:lnTo>
                    <a:pt x="2613532" y="540568"/>
                  </a:lnTo>
                  <a:lnTo>
                    <a:pt x="2616679" y="540568"/>
                  </a:lnTo>
                  <a:lnTo>
                    <a:pt x="2619433" y="540174"/>
                  </a:lnTo>
                  <a:lnTo>
                    <a:pt x="2622581" y="538994"/>
                  </a:lnTo>
                  <a:lnTo>
                    <a:pt x="2625335" y="537814"/>
                  </a:lnTo>
                  <a:lnTo>
                    <a:pt x="2628482" y="537420"/>
                  </a:lnTo>
                  <a:lnTo>
                    <a:pt x="2631236" y="537027"/>
                  </a:lnTo>
                  <a:lnTo>
                    <a:pt x="2633990" y="534666"/>
                  </a:lnTo>
                  <a:lnTo>
                    <a:pt x="2639892" y="533093"/>
                  </a:lnTo>
                  <a:lnTo>
                    <a:pt x="2648547" y="533093"/>
                  </a:lnTo>
                  <a:lnTo>
                    <a:pt x="2651694" y="531912"/>
                  </a:lnTo>
                  <a:lnTo>
                    <a:pt x="2654448" y="530339"/>
                  </a:lnTo>
                  <a:lnTo>
                    <a:pt x="2651694" y="530339"/>
                  </a:lnTo>
                  <a:lnTo>
                    <a:pt x="2648940" y="530732"/>
                  </a:lnTo>
                  <a:lnTo>
                    <a:pt x="2650907" y="529945"/>
                  </a:lnTo>
                  <a:lnTo>
                    <a:pt x="2653661" y="529945"/>
                  </a:lnTo>
                  <a:lnTo>
                    <a:pt x="2656809" y="529552"/>
                  </a:lnTo>
                  <a:lnTo>
                    <a:pt x="2659170" y="526404"/>
                  </a:lnTo>
                  <a:lnTo>
                    <a:pt x="2656416" y="524437"/>
                  </a:lnTo>
                  <a:lnTo>
                    <a:pt x="2653268" y="524831"/>
                  </a:lnTo>
                  <a:lnTo>
                    <a:pt x="2650514" y="523257"/>
                  </a:lnTo>
                  <a:lnTo>
                    <a:pt x="2647760" y="521290"/>
                  </a:lnTo>
                  <a:lnTo>
                    <a:pt x="2645006" y="521683"/>
                  </a:lnTo>
                  <a:lnTo>
                    <a:pt x="2642252" y="521290"/>
                  </a:lnTo>
                  <a:lnTo>
                    <a:pt x="2639105" y="519716"/>
                  </a:lnTo>
                  <a:lnTo>
                    <a:pt x="2636351" y="520110"/>
                  </a:lnTo>
                  <a:lnTo>
                    <a:pt x="2633203" y="519716"/>
                  </a:lnTo>
                  <a:lnTo>
                    <a:pt x="2630449" y="519323"/>
                  </a:lnTo>
                  <a:lnTo>
                    <a:pt x="2627695" y="518929"/>
                  </a:lnTo>
                  <a:lnTo>
                    <a:pt x="2625728" y="516175"/>
                  </a:lnTo>
                  <a:lnTo>
                    <a:pt x="2622974" y="516569"/>
                  </a:lnTo>
                  <a:lnTo>
                    <a:pt x="2625728" y="515388"/>
                  </a:lnTo>
                  <a:lnTo>
                    <a:pt x="2624548" y="512635"/>
                  </a:lnTo>
                  <a:lnTo>
                    <a:pt x="2626122" y="509881"/>
                  </a:lnTo>
                  <a:lnTo>
                    <a:pt x="2623368" y="510274"/>
                  </a:lnTo>
                  <a:lnTo>
                    <a:pt x="2620614" y="511061"/>
                  </a:lnTo>
                  <a:lnTo>
                    <a:pt x="2617466" y="513028"/>
                  </a:lnTo>
                  <a:lnTo>
                    <a:pt x="2616286" y="513421"/>
                  </a:lnTo>
                  <a:lnTo>
                    <a:pt x="2615893" y="513028"/>
                  </a:lnTo>
                  <a:lnTo>
                    <a:pt x="2617466" y="512241"/>
                  </a:lnTo>
                  <a:lnTo>
                    <a:pt x="2620614" y="509881"/>
                  </a:lnTo>
                  <a:lnTo>
                    <a:pt x="2622974" y="507127"/>
                  </a:lnTo>
                  <a:lnTo>
                    <a:pt x="2620220" y="507520"/>
                  </a:lnTo>
                  <a:lnTo>
                    <a:pt x="2617073" y="510274"/>
                  </a:lnTo>
                  <a:lnTo>
                    <a:pt x="2613926" y="511848"/>
                  </a:lnTo>
                  <a:lnTo>
                    <a:pt x="2613532" y="512241"/>
                  </a:lnTo>
                  <a:lnTo>
                    <a:pt x="2612745" y="511848"/>
                  </a:lnTo>
                  <a:lnTo>
                    <a:pt x="2615106" y="510274"/>
                  </a:lnTo>
                  <a:lnTo>
                    <a:pt x="2614712" y="507127"/>
                  </a:lnTo>
                  <a:lnTo>
                    <a:pt x="2611565" y="509094"/>
                  </a:lnTo>
                  <a:lnTo>
                    <a:pt x="2608811" y="509487"/>
                  </a:lnTo>
                  <a:lnTo>
                    <a:pt x="2608417" y="509487"/>
                  </a:lnTo>
                  <a:lnTo>
                    <a:pt x="2606450" y="508307"/>
                  </a:lnTo>
                  <a:lnTo>
                    <a:pt x="2608811" y="506733"/>
                  </a:lnTo>
                  <a:lnTo>
                    <a:pt x="2608417" y="503586"/>
                  </a:lnTo>
                  <a:lnTo>
                    <a:pt x="2605270" y="505159"/>
                  </a:lnTo>
                  <a:lnTo>
                    <a:pt x="2602516" y="505946"/>
                  </a:lnTo>
                  <a:lnTo>
                    <a:pt x="2600942" y="507127"/>
                  </a:lnTo>
                  <a:lnTo>
                    <a:pt x="2600942" y="507127"/>
                  </a:lnTo>
                  <a:lnTo>
                    <a:pt x="2592287" y="513028"/>
                  </a:lnTo>
                  <a:lnTo>
                    <a:pt x="2595041" y="510667"/>
                  </a:lnTo>
                  <a:lnTo>
                    <a:pt x="2597795" y="509094"/>
                  </a:lnTo>
                  <a:lnTo>
                    <a:pt x="2600156" y="505946"/>
                  </a:lnTo>
                  <a:lnTo>
                    <a:pt x="2597402" y="505553"/>
                  </a:lnTo>
                  <a:lnTo>
                    <a:pt x="2594254" y="507127"/>
                  </a:lnTo>
                  <a:lnTo>
                    <a:pt x="2591107" y="508700"/>
                  </a:lnTo>
                  <a:lnTo>
                    <a:pt x="2588353" y="510667"/>
                  </a:lnTo>
                  <a:lnTo>
                    <a:pt x="2585205" y="512241"/>
                  </a:lnTo>
                  <a:lnTo>
                    <a:pt x="2582451" y="514208"/>
                  </a:lnTo>
                  <a:lnTo>
                    <a:pt x="2582058" y="514208"/>
                  </a:lnTo>
                  <a:lnTo>
                    <a:pt x="2583238" y="512635"/>
                  </a:lnTo>
                  <a:lnTo>
                    <a:pt x="2584812" y="511454"/>
                  </a:lnTo>
                  <a:lnTo>
                    <a:pt x="2587959" y="509881"/>
                  </a:lnTo>
                  <a:lnTo>
                    <a:pt x="2591107" y="507520"/>
                  </a:lnTo>
                  <a:lnTo>
                    <a:pt x="2593861" y="505553"/>
                  </a:lnTo>
                  <a:lnTo>
                    <a:pt x="2591107" y="506340"/>
                  </a:lnTo>
                  <a:lnTo>
                    <a:pt x="2587959" y="507913"/>
                  </a:lnTo>
                  <a:lnTo>
                    <a:pt x="2590713" y="505553"/>
                  </a:lnTo>
                  <a:lnTo>
                    <a:pt x="2593467" y="504766"/>
                  </a:lnTo>
                  <a:lnTo>
                    <a:pt x="2595828" y="501619"/>
                  </a:lnTo>
                  <a:lnTo>
                    <a:pt x="2598975" y="501225"/>
                  </a:lnTo>
                  <a:lnTo>
                    <a:pt x="2600156" y="498471"/>
                  </a:lnTo>
                  <a:lnTo>
                    <a:pt x="2597402" y="499258"/>
                  </a:lnTo>
                  <a:lnTo>
                    <a:pt x="2594254" y="500832"/>
                  </a:lnTo>
                  <a:lnTo>
                    <a:pt x="2597008" y="498865"/>
                  </a:lnTo>
                  <a:lnTo>
                    <a:pt x="2597795" y="496111"/>
                  </a:lnTo>
                  <a:lnTo>
                    <a:pt x="2597008" y="492963"/>
                  </a:lnTo>
                  <a:lnTo>
                    <a:pt x="2599762" y="492176"/>
                  </a:lnTo>
                  <a:lnTo>
                    <a:pt x="2600942" y="489029"/>
                  </a:lnTo>
                  <a:lnTo>
                    <a:pt x="2598188" y="489029"/>
                  </a:lnTo>
                  <a:lnTo>
                    <a:pt x="2595828" y="491783"/>
                  </a:lnTo>
                  <a:lnTo>
                    <a:pt x="2592680" y="493750"/>
                  </a:lnTo>
                  <a:lnTo>
                    <a:pt x="2595041" y="490603"/>
                  </a:lnTo>
                  <a:lnTo>
                    <a:pt x="2595434" y="487849"/>
                  </a:lnTo>
                  <a:lnTo>
                    <a:pt x="2592680" y="490209"/>
                  </a:lnTo>
                  <a:lnTo>
                    <a:pt x="2589926" y="490603"/>
                  </a:lnTo>
                  <a:lnTo>
                    <a:pt x="2588353" y="490209"/>
                  </a:lnTo>
                  <a:lnTo>
                    <a:pt x="2591107" y="489816"/>
                  </a:lnTo>
                  <a:lnTo>
                    <a:pt x="2591500" y="487062"/>
                  </a:lnTo>
                  <a:lnTo>
                    <a:pt x="2588746" y="486668"/>
                  </a:lnTo>
                  <a:lnTo>
                    <a:pt x="2585599" y="487062"/>
                  </a:lnTo>
                  <a:lnTo>
                    <a:pt x="2584025" y="486275"/>
                  </a:lnTo>
                  <a:lnTo>
                    <a:pt x="2583238" y="485095"/>
                  </a:lnTo>
                  <a:lnTo>
                    <a:pt x="2585599" y="483128"/>
                  </a:lnTo>
                  <a:lnTo>
                    <a:pt x="2582845" y="483128"/>
                  </a:lnTo>
                  <a:lnTo>
                    <a:pt x="2580484" y="481947"/>
                  </a:lnTo>
                  <a:lnTo>
                    <a:pt x="2578910" y="479980"/>
                  </a:lnTo>
                  <a:lnTo>
                    <a:pt x="2581665" y="478800"/>
                  </a:lnTo>
                  <a:lnTo>
                    <a:pt x="2578517" y="479587"/>
                  </a:lnTo>
                  <a:lnTo>
                    <a:pt x="2580091" y="476833"/>
                  </a:lnTo>
                  <a:lnTo>
                    <a:pt x="2582451" y="473685"/>
                  </a:lnTo>
                  <a:lnTo>
                    <a:pt x="2579697" y="474079"/>
                  </a:lnTo>
                  <a:lnTo>
                    <a:pt x="2576943" y="473685"/>
                  </a:lnTo>
                  <a:lnTo>
                    <a:pt x="2574189" y="474079"/>
                  </a:lnTo>
                  <a:lnTo>
                    <a:pt x="2573009" y="474472"/>
                  </a:lnTo>
                  <a:lnTo>
                    <a:pt x="2573009" y="473685"/>
                  </a:lnTo>
                  <a:lnTo>
                    <a:pt x="2572616" y="473685"/>
                  </a:lnTo>
                  <a:lnTo>
                    <a:pt x="2572222" y="472505"/>
                  </a:lnTo>
                  <a:lnTo>
                    <a:pt x="2573009" y="472898"/>
                  </a:lnTo>
                  <a:lnTo>
                    <a:pt x="2575763" y="472112"/>
                  </a:lnTo>
                  <a:lnTo>
                    <a:pt x="2573009" y="471325"/>
                  </a:lnTo>
                  <a:lnTo>
                    <a:pt x="2576156" y="470931"/>
                  </a:lnTo>
                  <a:lnTo>
                    <a:pt x="2573402" y="468177"/>
                  </a:lnTo>
                  <a:lnTo>
                    <a:pt x="2570255" y="467784"/>
                  </a:lnTo>
                  <a:lnTo>
                    <a:pt x="2570255" y="467784"/>
                  </a:lnTo>
                  <a:lnTo>
                    <a:pt x="2569468" y="465423"/>
                  </a:lnTo>
                  <a:lnTo>
                    <a:pt x="2570649" y="465030"/>
                  </a:lnTo>
                  <a:lnTo>
                    <a:pt x="2573402" y="464637"/>
                  </a:lnTo>
                  <a:lnTo>
                    <a:pt x="2576550" y="465423"/>
                  </a:lnTo>
                  <a:lnTo>
                    <a:pt x="2579304" y="462669"/>
                  </a:lnTo>
                  <a:lnTo>
                    <a:pt x="2576550" y="462276"/>
                  </a:lnTo>
                  <a:lnTo>
                    <a:pt x="2573796" y="462669"/>
                  </a:lnTo>
                  <a:lnTo>
                    <a:pt x="2570649" y="462276"/>
                  </a:lnTo>
                  <a:lnTo>
                    <a:pt x="2567895" y="461882"/>
                  </a:lnTo>
                  <a:lnTo>
                    <a:pt x="2568681" y="461489"/>
                  </a:lnTo>
                  <a:lnTo>
                    <a:pt x="2571829" y="461882"/>
                  </a:lnTo>
                  <a:lnTo>
                    <a:pt x="2574583" y="461489"/>
                  </a:lnTo>
                  <a:lnTo>
                    <a:pt x="2571829" y="460702"/>
                  </a:lnTo>
                  <a:lnTo>
                    <a:pt x="2571435" y="460702"/>
                  </a:lnTo>
                  <a:lnTo>
                    <a:pt x="2573402" y="459915"/>
                  </a:lnTo>
                  <a:lnTo>
                    <a:pt x="2575370" y="460702"/>
                  </a:lnTo>
                  <a:lnTo>
                    <a:pt x="2578124" y="461489"/>
                  </a:lnTo>
                  <a:lnTo>
                    <a:pt x="2581271" y="460702"/>
                  </a:lnTo>
                  <a:lnTo>
                    <a:pt x="2580878" y="457555"/>
                  </a:lnTo>
                  <a:lnTo>
                    <a:pt x="2578124" y="459522"/>
                  </a:lnTo>
                  <a:lnTo>
                    <a:pt x="2580091" y="457555"/>
                  </a:lnTo>
                  <a:lnTo>
                    <a:pt x="2582845" y="456375"/>
                  </a:lnTo>
                  <a:lnTo>
                    <a:pt x="2584025" y="456375"/>
                  </a:lnTo>
                  <a:lnTo>
                    <a:pt x="2584812" y="455981"/>
                  </a:lnTo>
                  <a:lnTo>
                    <a:pt x="2587959" y="454801"/>
                  </a:lnTo>
                  <a:lnTo>
                    <a:pt x="2586386" y="456768"/>
                  </a:lnTo>
                  <a:lnTo>
                    <a:pt x="2585599" y="459522"/>
                  </a:lnTo>
                  <a:lnTo>
                    <a:pt x="2587959" y="462669"/>
                  </a:lnTo>
                  <a:lnTo>
                    <a:pt x="2591107" y="460309"/>
                  </a:lnTo>
                  <a:lnTo>
                    <a:pt x="2591893" y="457555"/>
                  </a:lnTo>
                  <a:lnTo>
                    <a:pt x="2589139" y="457161"/>
                  </a:lnTo>
                  <a:lnTo>
                    <a:pt x="2591893" y="456375"/>
                  </a:lnTo>
                  <a:lnTo>
                    <a:pt x="2594648" y="453621"/>
                  </a:lnTo>
                  <a:lnTo>
                    <a:pt x="2594254" y="453227"/>
                  </a:lnTo>
                  <a:lnTo>
                    <a:pt x="2593467" y="453227"/>
                  </a:lnTo>
                  <a:lnTo>
                    <a:pt x="2595434" y="452440"/>
                  </a:lnTo>
                  <a:lnTo>
                    <a:pt x="2595828" y="452047"/>
                  </a:lnTo>
                  <a:lnTo>
                    <a:pt x="2596615" y="449293"/>
                  </a:lnTo>
                  <a:lnTo>
                    <a:pt x="2594254" y="446145"/>
                  </a:lnTo>
                  <a:lnTo>
                    <a:pt x="2592287" y="444965"/>
                  </a:lnTo>
                  <a:lnTo>
                    <a:pt x="2589139" y="436703"/>
                  </a:lnTo>
                  <a:lnTo>
                    <a:pt x="2591107" y="436310"/>
                  </a:lnTo>
                  <a:lnTo>
                    <a:pt x="2593861" y="433949"/>
                  </a:lnTo>
                  <a:lnTo>
                    <a:pt x="2591107" y="433556"/>
                  </a:lnTo>
                  <a:lnTo>
                    <a:pt x="2588353" y="434343"/>
                  </a:lnTo>
                  <a:lnTo>
                    <a:pt x="2588353" y="435130"/>
                  </a:lnTo>
                  <a:lnTo>
                    <a:pt x="2587566" y="433162"/>
                  </a:lnTo>
                  <a:lnTo>
                    <a:pt x="2587959" y="432769"/>
                  </a:lnTo>
                  <a:lnTo>
                    <a:pt x="2590713" y="432376"/>
                  </a:lnTo>
                  <a:lnTo>
                    <a:pt x="2592287" y="429622"/>
                  </a:lnTo>
                  <a:lnTo>
                    <a:pt x="2589533" y="426868"/>
                  </a:lnTo>
                  <a:lnTo>
                    <a:pt x="2592287" y="423720"/>
                  </a:lnTo>
                  <a:lnTo>
                    <a:pt x="2591893" y="420966"/>
                  </a:lnTo>
                  <a:lnTo>
                    <a:pt x="2589139" y="422146"/>
                  </a:lnTo>
                  <a:lnTo>
                    <a:pt x="2586386" y="421753"/>
                  </a:lnTo>
                  <a:lnTo>
                    <a:pt x="2584419" y="424114"/>
                  </a:lnTo>
                  <a:lnTo>
                    <a:pt x="2584419" y="423720"/>
                  </a:lnTo>
                  <a:lnTo>
                    <a:pt x="2585205" y="421753"/>
                  </a:lnTo>
                  <a:lnTo>
                    <a:pt x="2583632" y="421753"/>
                  </a:lnTo>
                  <a:lnTo>
                    <a:pt x="2583238" y="420573"/>
                  </a:lnTo>
                  <a:lnTo>
                    <a:pt x="2585599" y="420179"/>
                  </a:lnTo>
                  <a:lnTo>
                    <a:pt x="2588746" y="419786"/>
                  </a:lnTo>
                  <a:lnTo>
                    <a:pt x="2588353" y="417032"/>
                  </a:lnTo>
                  <a:lnTo>
                    <a:pt x="2585599" y="417819"/>
                  </a:lnTo>
                  <a:lnTo>
                    <a:pt x="2587959" y="415065"/>
                  </a:lnTo>
                  <a:lnTo>
                    <a:pt x="2585205" y="415458"/>
                  </a:lnTo>
                  <a:lnTo>
                    <a:pt x="2582058" y="416245"/>
                  </a:lnTo>
                  <a:lnTo>
                    <a:pt x="2579697" y="416638"/>
                  </a:lnTo>
                  <a:lnTo>
                    <a:pt x="2574976" y="413098"/>
                  </a:lnTo>
                  <a:lnTo>
                    <a:pt x="2573009" y="414278"/>
                  </a:lnTo>
                  <a:lnTo>
                    <a:pt x="2567895" y="415065"/>
                  </a:lnTo>
                  <a:lnTo>
                    <a:pt x="2570255" y="414278"/>
                  </a:lnTo>
                  <a:lnTo>
                    <a:pt x="2573009" y="412704"/>
                  </a:lnTo>
                  <a:lnTo>
                    <a:pt x="2575763" y="412311"/>
                  </a:lnTo>
                  <a:lnTo>
                    <a:pt x="2578517" y="411917"/>
                  </a:lnTo>
                  <a:lnTo>
                    <a:pt x="2581665" y="409950"/>
                  </a:lnTo>
                  <a:lnTo>
                    <a:pt x="2578910" y="409163"/>
                  </a:lnTo>
                  <a:lnTo>
                    <a:pt x="2581665" y="409163"/>
                  </a:lnTo>
                  <a:lnTo>
                    <a:pt x="2584812" y="407590"/>
                  </a:lnTo>
                  <a:lnTo>
                    <a:pt x="2585599" y="404836"/>
                  </a:lnTo>
                  <a:lnTo>
                    <a:pt x="2587172" y="402082"/>
                  </a:lnTo>
                  <a:lnTo>
                    <a:pt x="2584419" y="402475"/>
                  </a:lnTo>
                  <a:lnTo>
                    <a:pt x="2581665" y="402869"/>
                  </a:lnTo>
                  <a:lnTo>
                    <a:pt x="2578517" y="403262"/>
                  </a:lnTo>
                  <a:lnTo>
                    <a:pt x="2575763" y="403655"/>
                  </a:lnTo>
                  <a:lnTo>
                    <a:pt x="2573009" y="405229"/>
                  </a:lnTo>
                  <a:lnTo>
                    <a:pt x="2575763" y="402869"/>
                  </a:lnTo>
                  <a:lnTo>
                    <a:pt x="2573009" y="402475"/>
                  </a:lnTo>
                  <a:lnTo>
                    <a:pt x="2569862" y="403655"/>
                  </a:lnTo>
                  <a:lnTo>
                    <a:pt x="2570255" y="401688"/>
                  </a:lnTo>
                  <a:lnTo>
                    <a:pt x="2572222" y="401688"/>
                  </a:lnTo>
                  <a:lnTo>
                    <a:pt x="2574976" y="401295"/>
                  </a:lnTo>
                  <a:lnTo>
                    <a:pt x="2577730" y="399721"/>
                  </a:lnTo>
                  <a:lnTo>
                    <a:pt x="2580484" y="399328"/>
                  </a:lnTo>
                  <a:lnTo>
                    <a:pt x="2583238" y="397361"/>
                  </a:lnTo>
                  <a:lnTo>
                    <a:pt x="2582845" y="394607"/>
                  </a:lnTo>
                  <a:lnTo>
                    <a:pt x="2585205" y="391853"/>
                  </a:lnTo>
                  <a:lnTo>
                    <a:pt x="2582451" y="389492"/>
                  </a:lnTo>
                  <a:lnTo>
                    <a:pt x="2579304" y="391066"/>
                  </a:lnTo>
                  <a:lnTo>
                    <a:pt x="2576156" y="390672"/>
                  </a:lnTo>
                  <a:lnTo>
                    <a:pt x="2579304" y="389886"/>
                  </a:lnTo>
                  <a:lnTo>
                    <a:pt x="2581271" y="386738"/>
                  </a:lnTo>
                  <a:lnTo>
                    <a:pt x="2578124" y="387918"/>
                  </a:lnTo>
                  <a:lnTo>
                    <a:pt x="2581271" y="385558"/>
                  </a:lnTo>
                  <a:lnTo>
                    <a:pt x="2584025" y="384378"/>
                  </a:lnTo>
                  <a:lnTo>
                    <a:pt x="2581271" y="383984"/>
                  </a:lnTo>
                  <a:lnTo>
                    <a:pt x="2578517" y="383591"/>
                  </a:lnTo>
                  <a:lnTo>
                    <a:pt x="2575370" y="384378"/>
                  </a:lnTo>
                  <a:lnTo>
                    <a:pt x="2574976" y="383197"/>
                  </a:lnTo>
                  <a:lnTo>
                    <a:pt x="2575370" y="382804"/>
                  </a:lnTo>
                  <a:lnTo>
                    <a:pt x="2578124" y="380050"/>
                  </a:lnTo>
                  <a:lnTo>
                    <a:pt x="2580484" y="377296"/>
                  </a:lnTo>
                  <a:lnTo>
                    <a:pt x="2577337" y="378870"/>
                  </a:lnTo>
                  <a:lnTo>
                    <a:pt x="2574583" y="379263"/>
                  </a:lnTo>
                  <a:lnTo>
                    <a:pt x="2577337" y="378083"/>
                  </a:lnTo>
                  <a:lnTo>
                    <a:pt x="2578124" y="374935"/>
                  </a:lnTo>
                  <a:lnTo>
                    <a:pt x="2574976" y="375329"/>
                  </a:lnTo>
                  <a:lnTo>
                    <a:pt x="2573402" y="376509"/>
                  </a:lnTo>
                  <a:lnTo>
                    <a:pt x="2573009" y="374148"/>
                  </a:lnTo>
                  <a:lnTo>
                    <a:pt x="2573402" y="372181"/>
                  </a:lnTo>
                  <a:lnTo>
                    <a:pt x="2574976" y="372181"/>
                  </a:lnTo>
                  <a:lnTo>
                    <a:pt x="2577730" y="369427"/>
                  </a:lnTo>
                  <a:lnTo>
                    <a:pt x="2574976" y="367854"/>
                  </a:lnTo>
                  <a:lnTo>
                    <a:pt x="2573796" y="368247"/>
                  </a:lnTo>
                  <a:lnTo>
                    <a:pt x="2574583" y="362346"/>
                  </a:lnTo>
                  <a:lnTo>
                    <a:pt x="2576156" y="361952"/>
                  </a:lnTo>
                  <a:lnTo>
                    <a:pt x="2575763" y="359198"/>
                  </a:lnTo>
                  <a:lnTo>
                    <a:pt x="2575370" y="359198"/>
                  </a:lnTo>
                  <a:lnTo>
                    <a:pt x="2575763" y="354084"/>
                  </a:lnTo>
                  <a:lnTo>
                    <a:pt x="2574189" y="354084"/>
                  </a:lnTo>
                  <a:lnTo>
                    <a:pt x="2568288" y="354084"/>
                  </a:lnTo>
                  <a:lnTo>
                    <a:pt x="2567108" y="354084"/>
                  </a:lnTo>
                  <a:lnTo>
                    <a:pt x="2570255" y="351723"/>
                  </a:lnTo>
                  <a:lnTo>
                    <a:pt x="2567501" y="352510"/>
                  </a:lnTo>
                  <a:lnTo>
                    <a:pt x="2564354" y="352903"/>
                  </a:lnTo>
                  <a:lnTo>
                    <a:pt x="2561206" y="354084"/>
                  </a:lnTo>
                  <a:lnTo>
                    <a:pt x="2559632" y="354084"/>
                  </a:lnTo>
                  <a:lnTo>
                    <a:pt x="2560026" y="353690"/>
                  </a:lnTo>
                  <a:lnTo>
                    <a:pt x="2563173" y="352903"/>
                  </a:lnTo>
                  <a:lnTo>
                    <a:pt x="2565927" y="351723"/>
                  </a:lnTo>
                  <a:lnTo>
                    <a:pt x="2569075" y="350936"/>
                  </a:lnTo>
                  <a:lnTo>
                    <a:pt x="2571435" y="348182"/>
                  </a:lnTo>
                  <a:lnTo>
                    <a:pt x="2568681" y="348576"/>
                  </a:lnTo>
                  <a:lnTo>
                    <a:pt x="2571435" y="346609"/>
                  </a:lnTo>
                  <a:lnTo>
                    <a:pt x="2569468" y="346215"/>
                  </a:lnTo>
                  <a:lnTo>
                    <a:pt x="2571435" y="344641"/>
                  </a:lnTo>
                  <a:lnTo>
                    <a:pt x="2568681" y="345822"/>
                  </a:lnTo>
                  <a:lnTo>
                    <a:pt x="2568288" y="345822"/>
                  </a:lnTo>
                  <a:lnTo>
                    <a:pt x="2565534" y="346215"/>
                  </a:lnTo>
                  <a:lnTo>
                    <a:pt x="2568681" y="345035"/>
                  </a:lnTo>
                  <a:lnTo>
                    <a:pt x="2571435" y="344641"/>
                  </a:lnTo>
                  <a:lnTo>
                    <a:pt x="2569075" y="343068"/>
                  </a:lnTo>
                  <a:lnTo>
                    <a:pt x="2565927" y="342674"/>
                  </a:lnTo>
                  <a:lnTo>
                    <a:pt x="2563173" y="344641"/>
                  </a:lnTo>
                  <a:lnTo>
                    <a:pt x="2561600" y="347395"/>
                  </a:lnTo>
                  <a:lnTo>
                    <a:pt x="2558452" y="348969"/>
                  </a:lnTo>
                  <a:lnTo>
                    <a:pt x="2555698" y="351330"/>
                  </a:lnTo>
                  <a:lnTo>
                    <a:pt x="2552944" y="353297"/>
                  </a:lnTo>
                  <a:lnTo>
                    <a:pt x="2550977" y="355657"/>
                  </a:lnTo>
                  <a:lnTo>
                    <a:pt x="2547830" y="357231"/>
                  </a:lnTo>
                  <a:lnTo>
                    <a:pt x="2548617" y="359985"/>
                  </a:lnTo>
                  <a:lnTo>
                    <a:pt x="2549403" y="360379"/>
                  </a:lnTo>
                  <a:lnTo>
                    <a:pt x="2549403" y="360772"/>
                  </a:lnTo>
                  <a:lnTo>
                    <a:pt x="2548223" y="360772"/>
                  </a:lnTo>
                  <a:lnTo>
                    <a:pt x="2545469" y="359198"/>
                  </a:lnTo>
                  <a:lnTo>
                    <a:pt x="2542715" y="360379"/>
                  </a:lnTo>
                  <a:lnTo>
                    <a:pt x="2539961" y="360772"/>
                  </a:lnTo>
                  <a:lnTo>
                    <a:pt x="2537601" y="363526"/>
                  </a:lnTo>
                  <a:lnTo>
                    <a:pt x="2537207" y="366280"/>
                  </a:lnTo>
                  <a:lnTo>
                    <a:pt x="2539568" y="369427"/>
                  </a:lnTo>
                  <a:lnTo>
                    <a:pt x="2542322" y="370608"/>
                  </a:lnTo>
                  <a:lnTo>
                    <a:pt x="2543895" y="373362"/>
                  </a:lnTo>
                  <a:lnTo>
                    <a:pt x="2541928" y="371788"/>
                  </a:lnTo>
                  <a:lnTo>
                    <a:pt x="2539174" y="370214"/>
                  </a:lnTo>
                  <a:lnTo>
                    <a:pt x="2536420" y="370608"/>
                  </a:lnTo>
                  <a:lnTo>
                    <a:pt x="2533666" y="370214"/>
                  </a:lnTo>
                  <a:lnTo>
                    <a:pt x="2534847" y="372968"/>
                  </a:lnTo>
                  <a:lnTo>
                    <a:pt x="2533666" y="375722"/>
                  </a:lnTo>
                  <a:lnTo>
                    <a:pt x="2530912" y="374542"/>
                  </a:lnTo>
                  <a:lnTo>
                    <a:pt x="2530912" y="377296"/>
                  </a:lnTo>
                  <a:lnTo>
                    <a:pt x="2528158" y="378870"/>
                  </a:lnTo>
                  <a:lnTo>
                    <a:pt x="2525405" y="377296"/>
                  </a:lnTo>
                  <a:lnTo>
                    <a:pt x="2524224" y="380050"/>
                  </a:lnTo>
                  <a:lnTo>
                    <a:pt x="2525798" y="382804"/>
                  </a:lnTo>
                  <a:lnTo>
                    <a:pt x="2528552" y="382410"/>
                  </a:lnTo>
                  <a:lnTo>
                    <a:pt x="2528945" y="382410"/>
                  </a:lnTo>
                  <a:lnTo>
                    <a:pt x="2525011" y="384771"/>
                  </a:lnTo>
                  <a:lnTo>
                    <a:pt x="2522651" y="383591"/>
                  </a:lnTo>
                  <a:lnTo>
                    <a:pt x="2519897" y="385951"/>
                  </a:lnTo>
                  <a:lnTo>
                    <a:pt x="2517142" y="387131"/>
                  </a:lnTo>
                  <a:lnTo>
                    <a:pt x="2513995" y="389099"/>
                  </a:lnTo>
                  <a:lnTo>
                    <a:pt x="2517142" y="389886"/>
                  </a:lnTo>
                  <a:lnTo>
                    <a:pt x="2515569" y="390279"/>
                  </a:lnTo>
                  <a:lnTo>
                    <a:pt x="2512028" y="390279"/>
                  </a:lnTo>
                  <a:lnTo>
                    <a:pt x="2509274" y="390672"/>
                  </a:lnTo>
                  <a:lnTo>
                    <a:pt x="2508487" y="393820"/>
                  </a:lnTo>
                  <a:lnTo>
                    <a:pt x="2510454" y="396574"/>
                  </a:lnTo>
                  <a:lnTo>
                    <a:pt x="2504553" y="402869"/>
                  </a:lnTo>
                  <a:lnTo>
                    <a:pt x="2504946" y="400901"/>
                  </a:lnTo>
                  <a:lnTo>
                    <a:pt x="2507700" y="398541"/>
                  </a:lnTo>
                  <a:lnTo>
                    <a:pt x="2506127" y="395787"/>
                  </a:lnTo>
                  <a:lnTo>
                    <a:pt x="2504553" y="393033"/>
                  </a:lnTo>
                  <a:lnTo>
                    <a:pt x="2502192" y="390279"/>
                  </a:lnTo>
                  <a:lnTo>
                    <a:pt x="2499045" y="391459"/>
                  </a:lnTo>
                  <a:lnTo>
                    <a:pt x="2496291" y="394213"/>
                  </a:lnTo>
                  <a:lnTo>
                    <a:pt x="2493537" y="395787"/>
                  </a:lnTo>
                  <a:lnTo>
                    <a:pt x="2491176" y="398541"/>
                  </a:lnTo>
                  <a:lnTo>
                    <a:pt x="2489603" y="401688"/>
                  </a:lnTo>
                  <a:lnTo>
                    <a:pt x="2486849" y="401295"/>
                  </a:lnTo>
                  <a:lnTo>
                    <a:pt x="2484095" y="402869"/>
                  </a:lnTo>
                  <a:lnTo>
                    <a:pt x="2481734" y="401688"/>
                  </a:lnTo>
                  <a:lnTo>
                    <a:pt x="2478980" y="404049"/>
                  </a:lnTo>
                  <a:lnTo>
                    <a:pt x="2475833" y="405623"/>
                  </a:lnTo>
                  <a:lnTo>
                    <a:pt x="2473079" y="406803"/>
                  </a:lnTo>
                  <a:lnTo>
                    <a:pt x="2470325" y="407196"/>
                  </a:lnTo>
                  <a:lnTo>
                    <a:pt x="2467177" y="407983"/>
                  </a:lnTo>
                  <a:lnTo>
                    <a:pt x="2464423" y="409557"/>
                  </a:lnTo>
                  <a:lnTo>
                    <a:pt x="2461276" y="411131"/>
                  </a:lnTo>
                  <a:lnTo>
                    <a:pt x="2458522" y="413491"/>
                  </a:lnTo>
                  <a:lnTo>
                    <a:pt x="2456555" y="416245"/>
                  </a:lnTo>
                  <a:lnTo>
                    <a:pt x="2454194" y="419392"/>
                  </a:lnTo>
                  <a:lnTo>
                    <a:pt x="2455374" y="417032"/>
                  </a:lnTo>
                  <a:lnTo>
                    <a:pt x="2457735" y="414278"/>
                  </a:lnTo>
                  <a:lnTo>
                    <a:pt x="2458915" y="411131"/>
                  </a:lnTo>
                  <a:lnTo>
                    <a:pt x="2461276" y="408377"/>
                  </a:lnTo>
                  <a:lnTo>
                    <a:pt x="2462063" y="405623"/>
                  </a:lnTo>
                  <a:lnTo>
                    <a:pt x="2461669" y="402869"/>
                  </a:lnTo>
                  <a:lnTo>
                    <a:pt x="2458915" y="405623"/>
                  </a:lnTo>
                  <a:lnTo>
                    <a:pt x="2456555" y="408377"/>
                  </a:lnTo>
                  <a:lnTo>
                    <a:pt x="2453801" y="409950"/>
                  </a:lnTo>
                  <a:lnTo>
                    <a:pt x="2451047" y="412311"/>
                  </a:lnTo>
                  <a:lnTo>
                    <a:pt x="2448293" y="413098"/>
                  </a:lnTo>
                  <a:lnTo>
                    <a:pt x="2451047" y="411131"/>
                  </a:lnTo>
                  <a:lnTo>
                    <a:pt x="2453801" y="409557"/>
                  </a:lnTo>
                  <a:lnTo>
                    <a:pt x="2456555" y="407196"/>
                  </a:lnTo>
                  <a:lnTo>
                    <a:pt x="2456948" y="404442"/>
                  </a:lnTo>
                  <a:lnTo>
                    <a:pt x="2458915" y="401688"/>
                  </a:lnTo>
                  <a:lnTo>
                    <a:pt x="2457735" y="398934"/>
                  </a:lnTo>
                  <a:lnTo>
                    <a:pt x="2454588" y="400508"/>
                  </a:lnTo>
                  <a:lnTo>
                    <a:pt x="2451834" y="402869"/>
                  </a:lnTo>
                  <a:lnTo>
                    <a:pt x="2449867" y="405623"/>
                  </a:lnTo>
                  <a:lnTo>
                    <a:pt x="2447113" y="408770"/>
                  </a:lnTo>
                  <a:lnTo>
                    <a:pt x="2444359" y="410737"/>
                  </a:lnTo>
                  <a:lnTo>
                    <a:pt x="2442785" y="413491"/>
                  </a:lnTo>
                  <a:lnTo>
                    <a:pt x="2440031" y="415065"/>
                  </a:lnTo>
                  <a:lnTo>
                    <a:pt x="2437277" y="416245"/>
                  </a:lnTo>
                  <a:lnTo>
                    <a:pt x="2434523" y="416638"/>
                  </a:lnTo>
                  <a:lnTo>
                    <a:pt x="2431376" y="417032"/>
                  </a:lnTo>
                  <a:lnTo>
                    <a:pt x="2428622" y="417819"/>
                  </a:lnTo>
                  <a:lnTo>
                    <a:pt x="2425867" y="418212"/>
                  </a:lnTo>
                  <a:lnTo>
                    <a:pt x="2422720" y="418999"/>
                  </a:lnTo>
                  <a:lnTo>
                    <a:pt x="2419966" y="420179"/>
                  </a:lnTo>
                  <a:lnTo>
                    <a:pt x="2417212" y="421753"/>
                  </a:lnTo>
                  <a:lnTo>
                    <a:pt x="2414458" y="422933"/>
                  </a:lnTo>
                  <a:lnTo>
                    <a:pt x="2412098" y="423720"/>
                  </a:lnTo>
                  <a:lnTo>
                    <a:pt x="2414458" y="422146"/>
                  </a:lnTo>
                  <a:lnTo>
                    <a:pt x="2417606" y="420573"/>
                  </a:lnTo>
                  <a:lnTo>
                    <a:pt x="2420360" y="419392"/>
                  </a:lnTo>
                  <a:lnTo>
                    <a:pt x="2423507" y="418212"/>
                  </a:lnTo>
                  <a:lnTo>
                    <a:pt x="2426261" y="417425"/>
                  </a:lnTo>
                  <a:lnTo>
                    <a:pt x="2429015" y="417032"/>
                  </a:lnTo>
                  <a:lnTo>
                    <a:pt x="2431769" y="416245"/>
                  </a:lnTo>
                  <a:lnTo>
                    <a:pt x="2434523" y="415852"/>
                  </a:lnTo>
                  <a:lnTo>
                    <a:pt x="2437277" y="415458"/>
                  </a:lnTo>
                  <a:lnTo>
                    <a:pt x="2440424" y="413884"/>
                  </a:lnTo>
                  <a:lnTo>
                    <a:pt x="2443178" y="411524"/>
                  </a:lnTo>
                  <a:lnTo>
                    <a:pt x="2445932" y="408377"/>
                  </a:lnTo>
                  <a:lnTo>
                    <a:pt x="2448686" y="405623"/>
                  </a:lnTo>
                  <a:lnTo>
                    <a:pt x="2451047" y="402869"/>
                  </a:lnTo>
                  <a:lnTo>
                    <a:pt x="2450654" y="400115"/>
                  </a:lnTo>
                  <a:lnTo>
                    <a:pt x="2451047" y="397361"/>
                  </a:lnTo>
                  <a:lnTo>
                    <a:pt x="2451834" y="394607"/>
                  </a:lnTo>
                  <a:lnTo>
                    <a:pt x="2451834" y="391459"/>
                  </a:lnTo>
                  <a:lnTo>
                    <a:pt x="2449080" y="389099"/>
                  </a:lnTo>
                  <a:lnTo>
                    <a:pt x="2445932" y="388312"/>
                  </a:lnTo>
                  <a:lnTo>
                    <a:pt x="2443178" y="389492"/>
                  </a:lnTo>
                  <a:lnTo>
                    <a:pt x="2440424" y="389099"/>
                  </a:lnTo>
                  <a:lnTo>
                    <a:pt x="2437277" y="389099"/>
                  </a:lnTo>
                  <a:lnTo>
                    <a:pt x="2434523" y="389492"/>
                  </a:lnTo>
                  <a:lnTo>
                    <a:pt x="2431769" y="389886"/>
                  </a:lnTo>
                  <a:lnTo>
                    <a:pt x="2429015" y="391459"/>
                  </a:lnTo>
                  <a:lnTo>
                    <a:pt x="2425867" y="393033"/>
                  </a:lnTo>
                  <a:lnTo>
                    <a:pt x="2423114" y="393426"/>
                  </a:lnTo>
                  <a:lnTo>
                    <a:pt x="2420360" y="395000"/>
                  </a:lnTo>
                  <a:lnTo>
                    <a:pt x="2417212" y="396967"/>
                  </a:lnTo>
                  <a:lnTo>
                    <a:pt x="2414458" y="397361"/>
                  </a:lnTo>
                  <a:lnTo>
                    <a:pt x="2417212" y="394607"/>
                  </a:lnTo>
                  <a:lnTo>
                    <a:pt x="2414458" y="395000"/>
                  </a:lnTo>
                  <a:lnTo>
                    <a:pt x="2413671" y="393426"/>
                  </a:lnTo>
                  <a:lnTo>
                    <a:pt x="2414852" y="391459"/>
                  </a:lnTo>
                  <a:lnTo>
                    <a:pt x="2417606" y="391066"/>
                  </a:lnTo>
                  <a:lnTo>
                    <a:pt x="2420753" y="390672"/>
                  </a:lnTo>
                  <a:lnTo>
                    <a:pt x="2422327" y="387918"/>
                  </a:lnTo>
                  <a:lnTo>
                    <a:pt x="2422327" y="385164"/>
                  </a:lnTo>
                  <a:lnTo>
                    <a:pt x="2425081" y="386738"/>
                  </a:lnTo>
                  <a:lnTo>
                    <a:pt x="2424294" y="389492"/>
                  </a:lnTo>
                  <a:lnTo>
                    <a:pt x="2424687" y="392246"/>
                  </a:lnTo>
                  <a:lnTo>
                    <a:pt x="2427441" y="390279"/>
                  </a:lnTo>
                  <a:lnTo>
                    <a:pt x="2430589" y="387918"/>
                  </a:lnTo>
                  <a:lnTo>
                    <a:pt x="2435703" y="382410"/>
                  </a:lnTo>
                  <a:lnTo>
                    <a:pt x="2432949" y="380837"/>
                  </a:lnTo>
                  <a:lnTo>
                    <a:pt x="2435703" y="379263"/>
                  </a:lnTo>
                  <a:lnTo>
                    <a:pt x="2438457" y="378476"/>
                  </a:lnTo>
                  <a:lnTo>
                    <a:pt x="2441211" y="378870"/>
                  </a:lnTo>
                  <a:lnTo>
                    <a:pt x="2440818" y="375722"/>
                  </a:lnTo>
                  <a:lnTo>
                    <a:pt x="2438064" y="374935"/>
                  </a:lnTo>
                  <a:lnTo>
                    <a:pt x="2434916" y="375329"/>
                  </a:lnTo>
                  <a:lnTo>
                    <a:pt x="2431769" y="374935"/>
                  </a:lnTo>
                  <a:lnTo>
                    <a:pt x="2434916" y="372575"/>
                  </a:lnTo>
                  <a:lnTo>
                    <a:pt x="2434523" y="369821"/>
                  </a:lnTo>
                  <a:lnTo>
                    <a:pt x="2437277" y="368247"/>
                  </a:lnTo>
                  <a:lnTo>
                    <a:pt x="2440424" y="367067"/>
                  </a:lnTo>
                  <a:lnTo>
                    <a:pt x="2439637" y="364313"/>
                  </a:lnTo>
                  <a:lnTo>
                    <a:pt x="2442391" y="361559"/>
                  </a:lnTo>
                  <a:lnTo>
                    <a:pt x="2442785" y="358805"/>
                  </a:lnTo>
                  <a:lnTo>
                    <a:pt x="2441998" y="356051"/>
                  </a:lnTo>
                  <a:lnTo>
                    <a:pt x="2439244" y="356444"/>
                  </a:lnTo>
                  <a:lnTo>
                    <a:pt x="2436490" y="356444"/>
                  </a:lnTo>
                  <a:lnTo>
                    <a:pt x="2419966" y="354871"/>
                  </a:lnTo>
                  <a:lnTo>
                    <a:pt x="2419179" y="354477"/>
                  </a:lnTo>
                  <a:lnTo>
                    <a:pt x="2416032" y="353690"/>
                  </a:lnTo>
                  <a:lnTo>
                    <a:pt x="2413278" y="353297"/>
                  </a:lnTo>
                  <a:lnTo>
                    <a:pt x="2422327" y="354871"/>
                  </a:lnTo>
                  <a:lnTo>
                    <a:pt x="2423900" y="355264"/>
                  </a:lnTo>
                  <a:lnTo>
                    <a:pt x="2426654" y="354871"/>
                  </a:lnTo>
                  <a:lnTo>
                    <a:pt x="2428228" y="354871"/>
                  </a:lnTo>
                  <a:lnTo>
                    <a:pt x="2434523" y="354871"/>
                  </a:lnTo>
                  <a:lnTo>
                    <a:pt x="2437277" y="354871"/>
                  </a:lnTo>
                  <a:lnTo>
                    <a:pt x="2440031" y="354871"/>
                  </a:lnTo>
                  <a:lnTo>
                    <a:pt x="2442785" y="354871"/>
                  </a:lnTo>
                  <a:lnTo>
                    <a:pt x="2443178" y="353690"/>
                  </a:lnTo>
                  <a:lnTo>
                    <a:pt x="2444752" y="353690"/>
                  </a:lnTo>
                  <a:lnTo>
                    <a:pt x="2447506" y="352903"/>
                  </a:lnTo>
                  <a:lnTo>
                    <a:pt x="2449867" y="350149"/>
                  </a:lnTo>
                  <a:lnTo>
                    <a:pt x="2449867" y="347002"/>
                  </a:lnTo>
                  <a:lnTo>
                    <a:pt x="2450260" y="344248"/>
                  </a:lnTo>
                  <a:lnTo>
                    <a:pt x="2451047" y="341494"/>
                  </a:lnTo>
                  <a:lnTo>
                    <a:pt x="2452621" y="338740"/>
                  </a:lnTo>
                  <a:lnTo>
                    <a:pt x="2455768" y="336773"/>
                  </a:lnTo>
                  <a:lnTo>
                    <a:pt x="2457342" y="334019"/>
                  </a:lnTo>
                  <a:lnTo>
                    <a:pt x="2460489" y="332445"/>
                  </a:lnTo>
                  <a:lnTo>
                    <a:pt x="2463243" y="331658"/>
                  </a:lnTo>
                  <a:lnTo>
                    <a:pt x="2466391" y="330872"/>
                  </a:lnTo>
                  <a:lnTo>
                    <a:pt x="2468358" y="328118"/>
                  </a:lnTo>
                  <a:lnTo>
                    <a:pt x="2468358" y="325364"/>
                  </a:lnTo>
                  <a:lnTo>
                    <a:pt x="2465997" y="322610"/>
                  </a:lnTo>
                  <a:lnTo>
                    <a:pt x="2462850" y="325364"/>
                  </a:lnTo>
                  <a:lnTo>
                    <a:pt x="2462063" y="328118"/>
                  </a:lnTo>
                  <a:lnTo>
                    <a:pt x="2459309" y="327331"/>
                  </a:lnTo>
                  <a:lnTo>
                    <a:pt x="2456555" y="329691"/>
                  </a:lnTo>
                  <a:lnTo>
                    <a:pt x="2453407" y="329298"/>
                  </a:lnTo>
                  <a:lnTo>
                    <a:pt x="2450654" y="328118"/>
                  </a:lnTo>
                  <a:lnTo>
                    <a:pt x="2453014" y="324970"/>
                  </a:lnTo>
                  <a:lnTo>
                    <a:pt x="2452227" y="322216"/>
                  </a:lnTo>
                  <a:lnTo>
                    <a:pt x="2449473" y="321823"/>
                  </a:lnTo>
                  <a:lnTo>
                    <a:pt x="2446719" y="323396"/>
                  </a:lnTo>
                  <a:lnTo>
                    <a:pt x="2443965" y="323790"/>
                  </a:lnTo>
                  <a:lnTo>
                    <a:pt x="2440818" y="322216"/>
                  </a:lnTo>
                  <a:lnTo>
                    <a:pt x="2438064" y="322216"/>
                  </a:lnTo>
                  <a:lnTo>
                    <a:pt x="2437670" y="321823"/>
                  </a:lnTo>
                  <a:lnTo>
                    <a:pt x="2437670" y="321823"/>
                  </a:lnTo>
                  <a:lnTo>
                    <a:pt x="2425867" y="311594"/>
                  </a:lnTo>
                  <a:lnTo>
                    <a:pt x="2426261" y="311594"/>
                  </a:lnTo>
                  <a:lnTo>
                    <a:pt x="2425867" y="311594"/>
                  </a:lnTo>
                  <a:lnTo>
                    <a:pt x="2423114" y="309233"/>
                  </a:lnTo>
                  <a:lnTo>
                    <a:pt x="2424687" y="307659"/>
                  </a:lnTo>
                  <a:lnTo>
                    <a:pt x="2427441" y="307266"/>
                  </a:lnTo>
                  <a:lnTo>
                    <a:pt x="2430589" y="306479"/>
                  </a:lnTo>
                  <a:lnTo>
                    <a:pt x="2425474" y="302938"/>
                  </a:lnTo>
                  <a:lnTo>
                    <a:pt x="2422327" y="302151"/>
                  </a:lnTo>
                  <a:lnTo>
                    <a:pt x="2419573" y="301758"/>
                  </a:lnTo>
                  <a:lnTo>
                    <a:pt x="2417212" y="304905"/>
                  </a:lnTo>
                  <a:lnTo>
                    <a:pt x="2414852" y="305299"/>
                  </a:lnTo>
                  <a:lnTo>
                    <a:pt x="2414458" y="304905"/>
                  </a:lnTo>
                  <a:lnTo>
                    <a:pt x="2417606" y="303332"/>
                  </a:lnTo>
                  <a:lnTo>
                    <a:pt x="2417999" y="300578"/>
                  </a:lnTo>
                  <a:lnTo>
                    <a:pt x="2415245" y="299791"/>
                  </a:lnTo>
                  <a:lnTo>
                    <a:pt x="2417606" y="297037"/>
                  </a:lnTo>
                  <a:lnTo>
                    <a:pt x="2414458" y="296643"/>
                  </a:lnTo>
                  <a:lnTo>
                    <a:pt x="2411704" y="295463"/>
                  </a:lnTo>
                  <a:lnTo>
                    <a:pt x="2408950" y="295070"/>
                  </a:lnTo>
                  <a:lnTo>
                    <a:pt x="2406196" y="296643"/>
                  </a:lnTo>
                  <a:lnTo>
                    <a:pt x="2403442" y="297824"/>
                  </a:lnTo>
                  <a:lnTo>
                    <a:pt x="2405410" y="296643"/>
                  </a:lnTo>
                  <a:lnTo>
                    <a:pt x="2408557" y="294283"/>
                  </a:lnTo>
                  <a:lnTo>
                    <a:pt x="2411311" y="291922"/>
                  </a:lnTo>
                  <a:lnTo>
                    <a:pt x="2411704" y="289168"/>
                  </a:lnTo>
                  <a:lnTo>
                    <a:pt x="2408557" y="289562"/>
                  </a:lnTo>
                  <a:lnTo>
                    <a:pt x="2405803" y="287595"/>
                  </a:lnTo>
                  <a:lnTo>
                    <a:pt x="2403049" y="285628"/>
                  </a:lnTo>
                  <a:lnTo>
                    <a:pt x="2401869" y="282874"/>
                  </a:lnTo>
                  <a:lnTo>
                    <a:pt x="2398721" y="281693"/>
                  </a:lnTo>
                  <a:lnTo>
                    <a:pt x="2395967" y="281300"/>
                  </a:lnTo>
                  <a:lnTo>
                    <a:pt x="2393607" y="278546"/>
                  </a:lnTo>
                  <a:lnTo>
                    <a:pt x="2390853" y="278939"/>
                  </a:lnTo>
                  <a:lnTo>
                    <a:pt x="2388099" y="280513"/>
                  </a:lnTo>
                  <a:lnTo>
                    <a:pt x="2384951" y="282480"/>
                  </a:lnTo>
                  <a:lnTo>
                    <a:pt x="2382197" y="282874"/>
                  </a:lnTo>
                  <a:lnTo>
                    <a:pt x="2379050" y="283267"/>
                  </a:lnTo>
                  <a:lnTo>
                    <a:pt x="2376296" y="284841"/>
                  </a:lnTo>
                  <a:lnTo>
                    <a:pt x="2373148" y="285628"/>
                  </a:lnTo>
                  <a:lnTo>
                    <a:pt x="2367640" y="285628"/>
                  </a:lnTo>
                  <a:lnTo>
                    <a:pt x="2365280" y="286808"/>
                  </a:lnTo>
                  <a:lnTo>
                    <a:pt x="2360559" y="285234"/>
                  </a:lnTo>
                  <a:lnTo>
                    <a:pt x="2359772" y="284841"/>
                  </a:lnTo>
                  <a:lnTo>
                    <a:pt x="2357018" y="284054"/>
                  </a:lnTo>
                  <a:lnTo>
                    <a:pt x="2353870" y="283660"/>
                  </a:lnTo>
                  <a:lnTo>
                    <a:pt x="2350723" y="284054"/>
                  </a:lnTo>
                  <a:lnTo>
                    <a:pt x="2347969" y="284841"/>
                  </a:lnTo>
                  <a:lnTo>
                    <a:pt x="2344822" y="286414"/>
                  </a:lnTo>
                  <a:lnTo>
                    <a:pt x="2342068" y="287201"/>
                  </a:lnTo>
                  <a:lnTo>
                    <a:pt x="2339314" y="288382"/>
                  </a:lnTo>
                  <a:lnTo>
                    <a:pt x="2340101" y="287201"/>
                  </a:lnTo>
                  <a:lnTo>
                    <a:pt x="2342855" y="286021"/>
                  </a:lnTo>
                  <a:lnTo>
                    <a:pt x="2345609" y="284054"/>
                  </a:lnTo>
                  <a:lnTo>
                    <a:pt x="2342855" y="283660"/>
                  </a:lnTo>
                  <a:lnTo>
                    <a:pt x="2339707" y="282087"/>
                  </a:lnTo>
                  <a:lnTo>
                    <a:pt x="2336953" y="282480"/>
                  </a:lnTo>
                  <a:lnTo>
                    <a:pt x="2333806" y="280906"/>
                  </a:lnTo>
                  <a:lnTo>
                    <a:pt x="2331052" y="280120"/>
                  </a:lnTo>
                  <a:lnTo>
                    <a:pt x="2328298" y="278939"/>
                  </a:lnTo>
                  <a:lnTo>
                    <a:pt x="2325150" y="278152"/>
                  </a:lnTo>
                  <a:lnTo>
                    <a:pt x="2322396" y="277366"/>
                  </a:lnTo>
                  <a:lnTo>
                    <a:pt x="2319642" y="276972"/>
                  </a:lnTo>
                  <a:lnTo>
                    <a:pt x="2316495" y="277366"/>
                  </a:lnTo>
                  <a:lnTo>
                    <a:pt x="2313741" y="276579"/>
                  </a:lnTo>
                  <a:lnTo>
                    <a:pt x="2310594" y="275398"/>
                  </a:lnTo>
                  <a:lnTo>
                    <a:pt x="2307840" y="276579"/>
                  </a:lnTo>
                  <a:lnTo>
                    <a:pt x="2304692" y="277366"/>
                  </a:lnTo>
                  <a:lnTo>
                    <a:pt x="2301938" y="278939"/>
                  </a:lnTo>
                  <a:lnTo>
                    <a:pt x="2299184" y="279333"/>
                  </a:lnTo>
                  <a:lnTo>
                    <a:pt x="2296037" y="280513"/>
                  </a:lnTo>
                  <a:lnTo>
                    <a:pt x="2293283" y="281300"/>
                  </a:lnTo>
                  <a:lnTo>
                    <a:pt x="2290529" y="282480"/>
                  </a:lnTo>
                  <a:lnTo>
                    <a:pt x="2287382" y="284841"/>
                  </a:lnTo>
                  <a:lnTo>
                    <a:pt x="2285021" y="287988"/>
                  </a:lnTo>
                  <a:lnTo>
                    <a:pt x="2283447" y="291135"/>
                  </a:lnTo>
                  <a:lnTo>
                    <a:pt x="2282267" y="293889"/>
                  </a:lnTo>
                  <a:lnTo>
                    <a:pt x="2280693" y="296643"/>
                  </a:lnTo>
                  <a:lnTo>
                    <a:pt x="2280300" y="297037"/>
                  </a:lnTo>
                  <a:lnTo>
                    <a:pt x="2280300" y="297430"/>
                  </a:lnTo>
                  <a:lnTo>
                    <a:pt x="2266923" y="323790"/>
                  </a:lnTo>
                  <a:lnTo>
                    <a:pt x="2266136" y="324183"/>
                  </a:lnTo>
                  <a:lnTo>
                    <a:pt x="2263382" y="325757"/>
                  </a:lnTo>
                  <a:lnTo>
                    <a:pt x="2260235" y="327331"/>
                  </a:lnTo>
                  <a:lnTo>
                    <a:pt x="2258268" y="330478"/>
                  </a:lnTo>
                  <a:lnTo>
                    <a:pt x="2261022" y="330085"/>
                  </a:lnTo>
                  <a:lnTo>
                    <a:pt x="2263776" y="329691"/>
                  </a:lnTo>
                  <a:lnTo>
                    <a:pt x="2261022" y="330872"/>
                  </a:lnTo>
                  <a:lnTo>
                    <a:pt x="2263382" y="331265"/>
                  </a:lnTo>
                  <a:lnTo>
                    <a:pt x="2263382" y="335199"/>
                  </a:lnTo>
                  <a:lnTo>
                    <a:pt x="2261809" y="337166"/>
                  </a:lnTo>
                  <a:lnTo>
                    <a:pt x="2263382" y="337560"/>
                  </a:lnTo>
                  <a:lnTo>
                    <a:pt x="2263382" y="340314"/>
                  </a:lnTo>
                  <a:lnTo>
                    <a:pt x="2261809" y="340707"/>
                  </a:lnTo>
                  <a:lnTo>
                    <a:pt x="2258661" y="343068"/>
                  </a:lnTo>
                  <a:lnTo>
                    <a:pt x="2260628" y="345822"/>
                  </a:lnTo>
                  <a:lnTo>
                    <a:pt x="2261415" y="348576"/>
                  </a:lnTo>
                  <a:lnTo>
                    <a:pt x="2259842" y="351330"/>
                  </a:lnTo>
                  <a:lnTo>
                    <a:pt x="2257088" y="354084"/>
                  </a:lnTo>
                  <a:lnTo>
                    <a:pt x="2259842" y="353690"/>
                  </a:lnTo>
                  <a:lnTo>
                    <a:pt x="2262989" y="355264"/>
                  </a:lnTo>
                  <a:lnTo>
                    <a:pt x="2260628" y="356444"/>
                  </a:lnTo>
                  <a:lnTo>
                    <a:pt x="2256301" y="358018"/>
                  </a:lnTo>
                  <a:lnTo>
                    <a:pt x="2251973" y="361559"/>
                  </a:lnTo>
                  <a:lnTo>
                    <a:pt x="2251580" y="361559"/>
                  </a:lnTo>
                  <a:lnTo>
                    <a:pt x="2248826" y="362739"/>
                  </a:lnTo>
                  <a:lnTo>
                    <a:pt x="2248432" y="364313"/>
                  </a:lnTo>
                  <a:lnTo>
                    <a:pt x="2246858" y="365493"/>
                  </a:lnTo>
                  <a:lnTo>
                    <a:pt x="2245285" y="364706"/>
                  </a:lnTo>
                  <a:lnTo>
                    <a:pt x="2242531" y="363919"/>
                  </a:lnTo>
                  <a:lnTo>
                    <a:pt x="2242138" y="366673"/>
                  </a:lnTo>
                  <a:lnTo>
                    <a:pt x="2239383" y="369034"/>
                  </a:lnTo>
                  <a:lnTo>
                    <a:pt x="2236236" y="369821"/>
                  </a:lnTo>
                  <a:lnTo>
                    <a:pt x="2234662" y="372575"/>
                  </a:lnTo>
                  <a:lnTo>
                    <a:pt x="2236236" y="372968"/>
                  </a:lnTo>
                  <a:lnTo>
                    <a:pt x="2234662" y="374148"/>
                  </a:lnTo>
                  <a:lnTo>
                    <a:pt x="2233089" y="375722"/>
                  </a:lnTo>
                  <a:lnTo>
                    <a:pt x="2230335" y="377296"/>
                  </a:lnTo>
                  <a:lnTo>
                    <a:pt x="2227187" y="378476"/>
                  </a:lnTo>
                  <a:lnTo>
                    <a:pt x="2224433" y="379263"/>
                  </a:lnTo>
                  <a:lnTo>
                    <a:pt x="2221679" y="382017"/>
                  </a:lnTo>
                  <a:lnTo>
                    <a:pt x="2218925" y="383591"/>
                  </a:lnTo>
                  <a:lnTo>
                    <a:pt x="2216171" y="385951"/>
                  </a:lnTo>
                  <a:lnTo>
                    <a:pt x="2213417" y="386738"/>
                  </a:lnTo>
                  <a:lnTo>
                    <a:pt x="2210270" y="387525"/>
                  </a:lnTo>
                  <a:lnTo>
                    <a:pt x="2207516" y="388312"/>
                  </a:lnTo>
                  <a:lnTo>
                    <a:pt x="2207122" y="391459"/>
                  </a:lnTo>
                  <a:lnTo>
                    <a:pt x="2205549" y="394213"/>
                  </a:lnTo>
                  <a:lnTo>
                    <a:pt x="2203188" y="397361"/>
                  </a:lnTo>
                  <a:lnTo>
                    <a:pt x="2206336" y="397754"/>
                  </a:lnTo>
                  <a:lnTo>
                    <a:pt x="2207122" y="400508"/>
                  </a:lnTo>
                  <a:lnTo>
                    <a:pt x="2209877" y="402082"/>
                  </a:lnTo>
                  <a:lnTo>
                    <a:pt x="2210270" y="401688"/>
                  </a:lnTo>
                  <a:lnTo>
                    <a:pt x="2210270" y="402082"/>
                  </a:lnTo>
                  <a:lnTo>
                    <a:pt x="2210663" y="402869"/>
                  </a:lnTo>
                  <a:lnTo>
                    <a:pt x="2211450" y="406016"/>
                  </a:lnTo>
                  <a:lnTo>
                    <a:pt x="2211450" y="406409"/>
                  </a:lnTo>
                  <a:lnTo>
                    <a:pt x="2211450" y="406409"/>
                  </a:lnTo>
                  <a:lnTo>
                    <a:pt x="2221679" y="444572"/>
                  </a:lnTo>
                  <a:lnTo>
                    <a:pt x="2219319" y="447326"/>
                  </a:lnTo>
                  <a:lnTo>
                    <a:pt x="2218138" y="450080"/>
                  </a:lnTo>
                  <a:lnTo>
                    <a:pt x="2155977" y="502799"/>
                  </a:lnTo>
                  <a:lnTo>
                    <a:pt x="2153223" y="503979"/>
                  </a:lnTo>
                  <a:lnTo>
                    <a:pt x="2152830" y="503979"/>
                  </a:lnTo>
                  <a:lnTo>
                    <a:pt x="2149682" y="505159"/>
                  </a:lnTo>
                  <a:lnTo>
                    <a:pt x="2147322" y="505946"/>
                  </a:lnTo>
                  <a:lnTo>
                    <a:pt x="2132371" y="511454"/>
                  </a:lnTo>
                  <a:lnTo>
                    <a:pt x="2131585" y="511848"/>
                  </a:lnTo>
                  <a:lnTo>
                    <a:pt x="2128831" y="512635"/>
                  </a:lnTo>
                  <a:lnTo>
                    <a:pt x="2125683" y="513815"/>
                  </a:lnTo>
                  <a:lnTo>
                    <a:pt x="2122536" y="514208"/>
                  </a:lnTo>
                  <a:lnTo>
                    <a:pt x="2119782" y="515782"/>
                  </a:lnTo>
                  <a:lnTo>
                    <a:pt x="2117028" y="516962"/>
                  </a:lnTo>
                  <a:lnTo>
                    <a:pt x="2114274" y="517356"/>
                  </a:lnTo>
                  <a:lnTo>
                    <a:pt x="2111126" y="517749"/>
                  </a:lnTo>
                  <a:lnTo>
                    <a:pt x="2107979" y="518929"/>
                  </a:lnTo>
                  <a:lnTo>
                    <a:pt x="2105225" y="519323"/>
                  </a:lnTo>
                  <a:lnTo>
                    <a:pt x="2102471" y="520110"/>
                  </a:lnTo>
                  <a:lnTo>
                    <a:pt x="2099324" y="520896"/>
                  </a:lnTo>
                  <a:lnTo>
                    <a:pt x="2096570" y="523257"/>
                  </a:lnTo>
                  <a:lnTo>
                    <a:pt x="2099324" y="524831"/>
                  </a:lnTo>
                  <a:lnTo>
                    <a:pt x="2098143" y="527978"/>
                  </a:lnTo>
                  <a:lnTo>
                    <a:pt x="2096963" y="530732"/>
                  </a:lnTo>
                  <a:lnTo>
                    <a:pt x="2096176" y="533486"/>
                  </a:lnTo>
                  <a:lnTo>
                    <a:pt x="2098930" y="535453"/>
                  </a:lnTo>
                  <a:lnTo>
                    <a:pt x="2096176" y="537027"/>
                  </a:lnTo>
                  <a:lnTo>
                    <a:pt x="2098930" y="538207"/>
                  </a:lnTo>
                  <a:lnTo>
                    <a:pt x="2102078" y="539388"/>
                  </a:lnTo>
                  <a:lnTo>
                    <a:pt x="2098930" y="540961"/>
                  </a:lnTo>
                  <a:lnTo>
                    <a:pt x="2101684" y="543322"/>
                  </a:lnTo>
                  <a:lnTo>
                    <a:pt x="2098930" y="545289"/>
                  </a:lnTo>
                  <a:lnTo>
                    <a:pt x="2098143" y="548043"/>
                  </a:lnTo>
                  <a:lnTo>
                    <a:pt x="2100897" y="549617"/>
                  </a:lnTo>
                  <a:lnTo>
                    <a:pt x="2098930" y="550797"/>
                  </a:lnTo>
                  <a:lnTo>
                    <a:pt x="2096963" y="553551"/>
                  </a:lnTo>
                  <a:lnTo>
                    <a:pt x="2094209" y="554338"/>
                  </a:lnTo>
                  <a:lnTo>
                    <a:pt x="2096963" y="555125"/>
                  </a:lnTo>
                  <a:lnTo>
                    <a:pt x="2093816" y="557879"/>
                  </a:lnTo>
                  <a:lnTo>
                    <a:pt x="2096963" y="557879"/>
                  </a:lnTo>
                  <a:lnTo>
                    <a:pt x="2094603" y="560633"/>
                  </a:lnTo>
                  <a:lnTo>
                    <a:pt x="2091849" y="562206"/>
                  </a:lnTo>
                  <a:lnTo>
                    <a:pt x="2093029" y="564960"/>
                  </a:lnTo>
                  <a:lnTo>
                    <a:pt x="2091062" y="567714"/>
                  </a:lnTo>
                  <a:lnTo>
                    <a:pt x="2090275" y="570468"/>
                  </a:lnTo>
                  <a:lnTo>
                    <a:pt x="2087914" y="573222"/>
                  </a:lnTo>
                  <a:lnTo>
                    <a:pt x="2085947" y="575976"/>
                  </a:lnTo>
                  <a:lnTo>
                    <a:pt x="2088701" y="577550"/>
                  </a:lnTo>
                  <a:lnTo>
                    <a:pt x="2087521" y="577943"/>
                  </a:lnTo>
                  <a:lnTo>
                    <a:pt x="2087127" y="580697"/>
                  </a:lnTo>
                  <a:lnTo>
                    <a:pt x="2087914" y="580697"/>
                  </a:lnTo>
                  <a:lnTo>
                    <a:pt x="2087127" y="583845"/>
                  </a:lnTo>
                  <a:lnTo>
                    <a:pt x="2084767" y="584238"/>
                  </a:lnTo>
                  <a:lnTo>
                    <a:pt x="2085554" y="586992"/>
                  </a:lnTo>
                  <a:lnTo>
                    <a:pt x="2085554" y="589746"/>
                  </a:lnTo>
                  <a:lnTo>
                    <a:pt x="2084373" y="591320"/>
                  </a:lnTo>
                  <a:lnTo>
                    <a:pt x="2085554" y="591320"/>
                  </a:lnTo>
                  <a:lnTo>
                    <a:pt x="2086340" y="597615"/>
                  </a:lnTo>
                  <a:lnTo>
                    <a:pt x="2083586" y="600369"/>
                  </a:lnTo>
                  <a:lnTo>
                    <a:pt x="2085554" y="600762"/>
                  </a:lnTo>
                  <a:lnTo>
                    <a:pt x="2082406" y="601942"/>
                  </a:lnTo>
                  <a:lnTo>
                    <a:pt x="2080439" y="604696"/>
                  </a:lnTo>
                  <a:lnTo>
                    <a:pt x="2077292" y="607057"/>
                  </a:lnTo>
                  <a:lnTo>
                    <a:pt x="2071784" y="610598"/>
                  </a:lnTo>
                  <a:lnTo>
                    <a:pt x="2068636" y="611385"/>
                  </a:lnTo>
                  <a:lnTo>
                    <a:pt x="2068636" y="614139"/>
                  </a:lnTo>
                  <a:lnTo>
                    <a:pt x="2066276" y="615712"/>
                  </a:lnTo>
                  <a:lnTo>
                    <a:pt x="2065489" y="616106"/>
                  </a:lnTo>
                  <a:lnTo>
                    <a:pt x="2062342" y="618466"/>
                  </a:lnTo>
                  <a:lnTo>
                    <a:pt x="2064702" y="623187"/>
                  </a:lnTo>
                  <a:lnTo>
                    <a:pt x="2063522" y="625548"/>
                  </a:lnTo>
                  <a:lnTo>
                    <a:pt x="2066276" y="626335"/>
                  </a:lnTo>
                  <a:lnTo>
                    <a:pt x="2064702" y="626335"/>
                  </a:lnTo>
                  <a:lnTo>
                    <a:pt x="2061555" y="627908"/>
                  </a:lnTo>
                  <a:lnTo>
                    <a:pt x="2060374" y="630662"/>
                  </a:lnTo>
                  <a:lnTo>
                    <a:pt x="2059194" y="631056"/>
                  </a:lnTo>
                  <a:lnTo>
                    <a:pt x="2056047" y="633810"/>
                  </a:lnTo>
                  <a:lnTo>
                    <a:pt x="2056440" y="636564"/>
                  </a:lnTo>
                  <a:lnTo>
                    <a:pt x="2055653" y="635777"/>
                  </a:lnTo>
                  <a:lnTo>
                    <a:pt x="2055260" y="633416"/>
                  </a:lnTo>
                  <a:lnTo>
                    <a:pt x="2056440" y="630662"/>
                  </a:lnTo>
                  <a:lnTo>
                    <a:pt x="2056833" y="627908"/>
                  </a:lnTo>
                  <a:lnTo>
                    <a:pt x="2054473" y="624761"/>
                  </a:lnTo>
                  <a:lnTo>
                    <a:pt x="2051719" y="624368"/>
                  </a:lnTo>
                  <a:lnTo>
                    <a:pt x="2053293" y="621614"/>
                  </a:lnTo>
                  <a:lnTo>
                    <a:pt x="2050539" y="621614"/>
                  </a:lnTo>
                  <a:lnTo>
                    <a:pt x="2047785" y="623187"/>
                  </a:lnTo>
                  <a:lnTo>
                    <a:pt x="2044637" y="624368"/>
                  </a:lnTo>
                  <a:lnTo>
                    <a:pt x="2043064" y="627122"/>
                  </a:lnTo>
                  <a:lnTo>
                    <a:pt x="2040703" y="628695"/>
                  </a:lnTo>
                  <a:lnTo>
                    <a:pt x="2037556" y="631056"/>
                  </a:lnTo>
                  <a:lnTo>
                    <a:pt x="2035195" y="634203"/>
                  </a:lnTo>
                  <a:lnTo>
                    <a:pt x="2032835" y="636957"/>
                  </a:lnTo>
                  <a:lnTo>
                    <a:pt x="2032441" y="639711"/>
                  </a:lnTo>
                  <a:lnTo>
                    <a:pt x="2034802" y="642465"/>
                  </a:lnTo>
                  <a:lnTo>
                    <a:pt x="2035195" y="646006"/>
                  </a:lnTo>
                  <a:lnTo>
                    <a:pt x="2034408" y="644039"/>
                  </a:lnTo>
                  <a:lnTo>
                    <a:pt x="2034408" y="643252"/>
                  </a:lnTo>
                  <a:lnTo>
                    <a:pt x="2032441" y="640891"/>
                  </a:lnTo>
                  <a:lnTo>
                    <a:pt x="2032048" y="639318"/>
                  </a:lnTo>
                  <a:lnTo>
                    <a:pt x="2029687" y="636564"/>
                  </a:lnTo>
                  <a:lnTo>
                    <a:pt x="2027720" y="633810"/>
                  </a:lnTo>
                  <a:lnTo>
                    <a:pt x="2026540" y="633416"/>
                  </a:lnTo>
                  <a:lnTo>
                    <a:pt x="2023786" y="632236"/>
                  </a:lnTo>
                  <a:lnTo>
                    <a:pt x="2020638" y="631449"/>
                  </a:lnTo>
                  <a:lnTo>
                    <a:pt x="2017884" y="631449"/>
                  </a:lnTo>
                  <a:lnTo>
                    <a:pt x="2014737" y="632630"/>
                  </a:lnTo>
                  <a:lnTo>
                    <a:pt x="2011983" y="634597"/>
                  </a:lnTo>
                  <a:lnTo>
                    <a:pt x="2008835" y="636170"/>
                  </a:lnTo>
                  <a:lnTo>
                    <a:pt x="2006082" y="637744"/>
                  </a:lnTo>
                  <a:lnTo>
                    <a:pt x="2003328" y="638138"/>
                  </a:lnTo>
                  <a:lnTo>
                    <a:pt x="2000967" y="640105"/>
                  </a:lnTo>
                  <a:lnTo>
                    <a:pt x="1997426" y="640891"/>
                  </a:lnTo>
                  <a:lnTo>
                    <a:pt x="1999393" y="639711"/>
                  </a:lnTo>
                  <a:lnTo>
                    <a:pt x="2001360" y="638924"/>
                  </a:lnTo>
                  <a:lnTo>
                    <a:pt x="2004508" y="636564"/>
                  </a:lnTo>
                  <a:lnTo>
                    <a:pt x="2005688" y="636170"/>
                  </a:lnTo>
                  <a:lnTo>
                    <a:pt x="2008835" y="634203"/>
                  </a:lnTo>
                  <a:lnTo>
                    <a:pt x="2011589" y="632630"/>
                  </a:lnTo>
                  <a:lnTo>
                    <a:pt x="2013163" y="631843"/>
                  </a:lnTo>
                  <a:lnTo>
                    <a:pt x="2015917" y="631056"/>
                  </a:lnTo>
                  <a:lnTo>
                    <a:pt x="2019065" y="628302"/>
                  </a:lnTo>
                  <a:lnTo>
                    <a:pt x="2019065" y="625548"/>
                  </a:lnTo>
                  <a:lnTo>
                    <a:pt x="2019458" y="622794"/>
                  </a:lnTo>
                  <a:lnTo>
                    <a:pt x="2019852" y="619646"/>
                  </a:lnTo>
                  <a:lnTo>
                    <a:pt x="2019458" y="616499"/>
                  </a:lnTo>
                  <a:lnTo>
                    <a:pt x="2015524" y="610991"/>
                  </a:lnTo>
                  <a:lnTo>
                    <a:pt x="2013163" y="608237"/>
                  </a:lnTo>
                  <a:lnTo>
                    <a:pt x="2010016" y="607057"/>
                  </a:lnTo>
                  <a:lnTo>
                    <a:pt x="2007262" y="604696"/>
                  </a:lnTo>
                  <a:lnTo>
                    <a:pt x="2004901" y="601942"/>
                  </a:lnTo>
                  <a:lnTo>
                    <a:pt x="2001754" y="601942"/>
                  </a:lnTo>
                  <a:lnTo>
                    <a:pt x="1999000" y="602336"/>
                  </a:lnTo>
                  <a:lnTo>
                    <a:pt x="1996246" y="603123"/>
                  </a:lnTo>
                  <a:lnTo>
                    <a:pt x="1997820" y="601549"/>
                  </a:lnTo>
                  <a:lnTo>
                    <a:pt x="1999393" y="601155"/>
                  </a:lnTo>
                  <a:lnTo>
                    <a:pt x="2002147" y="600369"/>
                  </a:lnTo>
                  <a:lnTo>
                    <a:pt x="2005295" y="599582"/>
                  </a:lnTo>
                  <a:lnTo>
                    <a:pt x="2008049" y="599188"/>
                  </a:lnTo>
                  <a:lnTo>
                    <a:pt x="2008442" y="596434"/>
                  </a:lnTo>
                  <a:lnTo>
                    <a:pt x="2008049" y="593287"/>
                  </a:lnTo>
                  <a:lnTo>
                    <a:pt x="2006868" y="590533"/>
                  </a:lnTo>
                  <a:lnTo>
                    <a:pt x="2004508" y="587779"/>
                  </a:lnTo>
                  <a:lnTo>
                    <a:pt x="2004114" y="585025"/>
                  </a:lnTo>
                  <a:lnTo>
                    <a:pt x="2004114" y="582271"/>
                  </a:lnTo>
                  <a:lnTo>
                    <a:pt x="2000967" y="579910"/>
                  </a:lnTo>
                  <a:lnTo>
                    <a:pt x="2000574" y="579517"/>
                  </a:lnTo>
                  <a:lnTo>
                    <a:pt x="2000180" y="578337"/>
                  </a:lnTo>
                  <a:lnTo>
                    <a:pt x="2000967" y="577943"/>
                  </a:lnTo>
                  <a:lnTo>
                    <a:pt x="2006082" y="570468"/>
                  </a:lnTo>
                  <a:lnTo>
                    <a:pt x="2009229" y="569288"/>
                  </a:lnTo>
                  <a:lnTo>
                    <a:pt x="2011589" y="566140"/>
                  </a:lnTo>
                  <a:lnTo>
                    <a:pt x="2012376" y="563387"/>
                  </a:lnTo>
                  <a:lnTo>
                    <a:pt x="2012770" y="560239"/>
                  </a:lnTo>
                  <a:lnTo>
                    <a:pt x="2014343" y="557485"/>
                  </a:lnTo>
                  <a:lnTo>
                    <a:pt x="2016704" y="554731"/>
                  </a:lnTo>
                  <a:lnTo>
                    <a:pt x="2019458" y="551977"/>
                  </a:lnTo>
                  <a:lnTo>
                    <a:pt x="2020638" y="549223"/>
                  </a:lnTo>
                  <a:lnTo>
                    <a:pt x="2021032" y="546076"/>
                  </a:lnTo>
                  <a:lnTo>
                    <a:pt x="2021425" y="543322"/>
                  </a:lnTo>
                  <a:lnTo>
                    <a:pt x="2021425" y="543322"/>
                  </a:lnTo>
                  <a:lnTo>
                    <a:pt x="2033621" y="522470"/>
                  </a:lnTo>
                  <a:lnTo>
                    <a:pt x="2035982" y="519716"/>
                  </a:lnTo>
                  <a:lnTo>
                    <a:pt x="2038342" y="516962"/>
                  </a:lnTo>
                  <a:lnTo>
                    <a:pt x="2038736" y="514208"/>
                  </a:lnTo>
                  <a:lnTo>
                    <a:pt x="2039129" y="513028"/>
                  </a:lnTo>
                  <a:lnTo>
                    <a:pt x="2041490" y="509881"/>
                  </a:lnTo>
                  <a:lnTo>
                    <a:pt x="2038736" y="510274"/>
                  </a:lnTo>
                  <a:lnTo>
                    <a:pt x="2035982" y="507520"/>
                  </a:lnTo>
                  <a:lnTo>
                    <a:pt x="2033228" y="507127"/>
                  </a:lnTo>
                  <a:lnTo>
                    <a:pt x="2030474" y="507913"/>
                  </a:lnTo>
                  <a:lnTo>
                    <a:pt x="2027326" y="507520"/>
                  </a:lnTo>
                  <a:lnTo>
                    <a:pt x="2024966" y="509094"/>
                  </a:lnTo>
                  <a:lnTo>
                    <a:pt x="2027720" y="506340"/>
                  </a:lnTo>
                  <a:lnTo>
                    <a:pt x="2024572" y="505159"/>
                  </a:lnTo>
                  <a:lnTo>
                    <a:pt x="2021819" y="506340"/>
                  </a:lnTo>
                  <a:lnTo>
                    <a:pt x="2018671" y="505946"/>
                  </a:lnTo>
                  <a:lnTo>
                    <a:pt x="2015917" y="505553"/>
                  </a:lnTo>
                  <a:lnTo>
                    <a:pt x="2013163" y="505159"/>
                  </a:lnTo>
                  <a:lnTo>
                    <a:pt x="2010409" y="504373"/>
                  </a:lnTo>
                  <a:lnTo>
                    <a:pt x="2011196" y="507127"/>
                  </a:lnTo>
                  <a:lnTo>
                    <a:pt x="2008442" y="505946"/>
                  </a:lnTo>
                  <a:lnTo>
                    <a:pt x="2005688" y="503192"/>
                  </a:lnTo>
                  <a:lnTo>
                    <a:pt x="2005295" y="503192"/>
                  </a:lnTo>
                  <a:cubicBezTo>
                    <a:pt x="2005295" y="503192"/>
                    <a:pt x="2005295" y="503192"/>
                    <a:pt x="2005295" y="503192"/>
                  </a:cubicBezTo>
                  <a:lnTo>
                    <a:pt x="2005295" y="503192"/>
                  </a:lnTo>
                  <a:lnTo>
                    <a:pt x="2002934" y="503586"/>
                  </a:lnTo>
                  <a:lnTo>
                    <a:pt x="2000574" y="504373"/>
                  </a:lnTo>
                  <a:lnTo>
                    <a:pt x="1999787" y="504373"/>
                  </a:lnTo>
                  <a:lnTo>
                    <a:pt x="1997033" y="503586"/>
                  </a:lnTo>
                  <a:lnTo>
                    <a:pt x="1993885" y="503979"/>
                  </a:lnTo>
                  <a:lnTo>
                    <a:pt x="1991131" y="504373"/>
                  </a:lnTo>
                  <a:lnTo>
                    <a:pt x="1989558" y="504766"/>
                  </a:lnTo>
                  <a:cubicBezTo>
                    <a:pt x="1987591" y="504766"/>
                    <a:pt x="1985623" y="504766"/>
                    <a:pt x="1983656" y="504766"/>
                  </a:cubicBezTo>
                  <a:lnTo>
                    <a:pt x="1982476" y="504373"/>
                  </a:lnTo>
                  <a:lnTo>
                    <a:pt x="1979328" y="503979"/>
                  </a:lnTo>
                  <a:lnTo>
                    <a:pt x="1976575" y="503979"/>
                  </a:lnTo>
                  <a:lnTo>
                    <a:pt x="1973427" y="504373"/>
                  </a:lnTo>
                  <a:lnTo>
                    <a:pt x="1970673" y="505946"/>
                  </a:lnTo>
                  <a:lnTo>
                    <a:pt x="1967919" y="507913"/>
                  </a:lnTo>
                  <a:lnTo>
                    <a:pt x="1965165" y="510274"/>
                  </a:lnTo>
                  <a:lnTo>
                    <a:pt x="1962411" y="513028"/>
                  </a:lnTo>
                  <a:lnTo>
                    <a:pt x="1961624" y="513421"/>
                  </a:lnTo>
                  <a:lnTo>
                    <a:pt x="1961624" y="513028"/>
                  </a:lnTo>
                  <a:lnTo>
                    <a:pt x="1963985" y="510667"/>
                  </a:lnTo>
                  <a:lnTo>
                    <a:pt x="1969493" y="505946"/>
                  </a:lnTo>
                  <a:lnTo>
                    <a:pt x="1972640" y="503979"/>
                  </a:lnTo>
                  <a:lnTo>
                    <a:pt x="1974607" y="501225"/>
                  </a:lnTo>
                  <a:lnTo>
                    <a:pt x="1971853" y="500438"/>
                  </a:lnTo>
                  <a:lnTo>
                    <a:pt x="1969099" y="498078"/>
                  </a:lnTo>
                  <a:lnTo>
                    <a:pt x="1968706" y="494930"/>
                  </a:lnTo>
                  <a:lnTo>
                    <a:pt x="1965952" y="492963"/>
                  </a:lnTo>
                  <a:lnTo>
                    <a:pt x="1963198" y="490996"/>
                  </a:lnTo>
                  <a:lnTo>
                    <a:pt x="1960444" y="490996"/>
                  </a:lnTo>
                  <a:lnTo>
                    <a:pt x="1957297" y="490603"/>
                  </a:lnTo>
                  <a:lnTo>
                    <a:pt x="1954543" y="489029"/>
                  </a:lnTo>
                  <a:lnTo>
                    <a:pt x="1951395" y="487455"/>
                  </a:lnTo>
                  <a:lnTo>
                    <a:pt x="1948641" y="486275"/>
                  </a:lnTo>
                  <a:lnTo>
                    <a:pt x="1945887" y="485095"/>
                  </a:lnTo>
                  <a:lnTo>
                    <a:pt x="1943133" y="484308"/>
                  </a:lnTo>
                  <a:lnTo>
                    <a:pt x="1939986" y="483914"/>
                  </a:lnTo>
                  <a:lnTo>
                    <a:pt x="1937232" y="483521"/>
                  </a:lnTo>
                  <a:lnTo>
                    <a:pt x="1934084" y="481947"/>
                  </a:lnTo>
                  <a:lnTo>
                    <a:pt x="1931331" y="481160"/>
                  </a:lnTo>
                  <a:lnTo>
                    <a:pt x="1930937" y="480767"/>
                  </a:lnTo>
                  <a:lnTo>
                    <a:pt x="1928183" y="481554"/>
                  </a:lnTo>
                  <a:lnTo>
                    <a:pt x="1927790" y="481947"/>
                  </a:lnTo>
                  <a:lnTo>
                    <a:pt x="1927790" y="481554"/>
                  </a:lnTo>
                  <a:lnTo>
                    <a:pt x="1929363" y="478800"/>
                  </a:lnTo>
                  <a:lnTo>
                    <a:pt x="1928970" y="476046"/>
                  </a:lnTo>
                  <a:lnTo>
                    <a:pt x="1928577" y="472898"/>
                  </a:lnTo>
                  <a:lnTo>
                    <a:pt x="1927396" y="470144"/>
                  </a:lnTo>
                  <a:lnTo>
                    <a:pt x="1925823" y="467390"/>
                  </a:lnTo>
                  <a:lnTo>
                    <a:pt x="1922675" y="465817"/>
                  </a:lnTo>
                  <a:lnTo>
                    <a:pt x="1919921" y="463456"/>
                  </a:lnTo>
                  <a:lnTo>
                    <a:pt x="1917167" y="460702"/>
                  </a:lnTo>
                  <a:lnTo>
                    <a:pt x="1915594" y="457948"/>
                  </a:lnTo>
                  <a:lnTo>
                    <a:pt x="1914413" y="455194"/>
                  </a:lnTo>
                  <a:lnTo>
                    <a:pt x="1911266" y="455588"/>
                  </a:lnTo>
                  <a:lnTo>
                    <a:pt x="1910479" y="455194"/>
                  </a:lnTo>
                  <a:lnTo>
                    <a:pt x="1909692" y="455194"/>
                  </a:lnTo>
                  <a:lnTo>
                    <a:pt x="1906151" y="454407"/>
                  </a:lnTo>
                  <a:lnTo>
                    <a:pt x="1904577" y="453621"/>
                  </a:lnTo>
                  <a:lnTo>
                    <a:pt x="1902217" y="453227"/>
                  </a:lnTo>
                  <a:lnTo>
                    <a:pt x="1890414" y="450080"/>
                  </a:lnTo>
                  <a:lnTo>
                    <a:pt x="1887660" y="447719"/>
                  </a:lnTo>
                  <a:lnTo>
                    <a:pt x="1884513" y="446145"/>
                  </a:lnTo>
                  <a:lnTo>
                    <a:pt x="1881759" y="444178"/>
                  </a:lnTo>
                  <a:lnTo>
                    <a:pt x="1879005" y="443785"/>
                  </a:lnTo>
                  <a:lnTo>
                    <a:pt x="1875857" y="442998"/>
                  </a:lnTo>
                  <a:lnTo>
                    <a:pt x="1870743" y="440637"/>
                  </a:lnTo>
                  <a:lnTo>
                    <a:pt x="1867989" y="440637"/>
                  </a:lnTo>
                  <a:lnTo>
                    <a:pt x="1865235" y="441031"/>
                  </a:lnTo>
                  <a:lnTo>
                    <a:pt x="1862087" y="441424"/>
                  </a:lnTo>
                  <a:lnTo>
                    <a:pt x="1859333" y="442211"/>
                  </a:lnTo>
                  <a:lnTo>
                    <a:pt x="1856186" y="442605"/>
                  </a:lnTo>
                  <a:lnTo>
                    <a:pt x="1853432" y="443391"/>
                  </a:lnTo>
                  <a:lnTo>
                    <a:pt x="1850285" y="443785"/>
                  </a:lnTo>
                  <a:lnTo>
                    <a:pt x="1847531" y="444572"/>
                  </a:lnTo>
                  <a:lnTo>
                    <a:pt x="1844383" y="445359"/>
                  </a:lnTo>
                  <a:lnTo>
                    <a:pt x="1841629" y="445752"/>
                  </a:lnTo>
                  <a:lnTo>
                    <a:pt x="1838875" y="446145"/>
                  </a:lnTo>
                  <a:lnTo>
                    <a:pt x="1835728" y="446539"/>
                  </a:lnTo>
                  <a:lnTo>
                    <a:pt x="1832580" y="447719"/>
                  </a:lnTo>
                  <a:lnTo>
                    <a:pt x="1829826" y="448899"/>
                  </a:lnTo>
                  <a:lnTo>
                    <a:pt x="1827073" y="449686"/>
                  </a:lnTo>
                  <a:lnTo>
                    <a:pt x="1826286" y="449686"/>
                  </a:lnTo>
                  <a:lnTo>
                    <a:pt x="1829040" y="448899"/>
                  </a:lnTo>
                  <a:lnTo>
                    <a:pt x="1832187" y="447326"/>
                  </a:lnTo>
                  <a:lnTo>
                    <a:pt x="1835334" y="445752"/>
                  </a:lnTo>
                  <a:lnTo>
                    <a:pt x="1832187" y="445752"/>
                  </a:lnTo>
                  <a:lnTo>
                    <a:pt x="1829040" y="446145"/>
                  </a:lnTo>
                  <a:lnTo>
                    <a:pt x="1826286" y="447326"/>
                  </a:lnTo>
                  <a:lnTo>
                    <a:pt x="1823138" y="448506"/>
                  </a:lnTo>
                  <a:lnTo>
                    <a:pt x="1820384" y="450080"/>
                  </a:lnTo>
                  <a:lnTo>
                    <a:pt x="1818810" y="450473"/>
                  </a:lnTo>
                  <a:lnTo>
                    <a:pt x="1815663" y="450867"/>
                  </a:lnTo>
                  <a:lnTo>
                    <a:pt x="1818810" y="450080"/>
                  </a:lnTo>
                  <a:lnTo>
                    <a:pt x="1821565" y="449293"/>
                  </a:lnTo>
                  <a:lnTo>
                    <a:pt x="1824319" y="447326"/>
                  </a:lnTo>
                  <a:lnTo>
                    <a:pt x="1827073" y="445752"/>
                  </a:lnTo>
                  <a:lnTo>
                    <a:pt x="1830220" y="443391"/>
                  </a:lnTo>
                  <a:lnTo>
                    <a:pt x="1832974" y="441424"/>
                  </a:lnTo>
                  <a:lnTo>
                    <a:pt x="1835728" y="438277"/>
                  </a:lnTo>
                  <a:lnTo>
                    <a:pt x="1837302" y="435523"/>
                  </a:lnTo>
                  <a:lnTo>
                    <a:pt x="1838482" y="430015"/>
                  </a:lnTo>
                  <a:lnTo>
                    <a:pt x="1838875" y="426868"/>
                  </a:lnTo>
                  <a:lnTo>
                    <a:pt x="1839269" y="424114"/>
                  </a:lnTo>
                  <a:lnTo>
                    <a:pt x="1840056" y="421360"/>
                  </a:lnTo>
                  <a:lnTo>
                    <a:pt x="1841236" y="418606"/>
                  </a:lnTo>
                  <a:lnTo>
                    <a:pt x="1842810" y="415458"/>
                  </a:lnTo>
                  <a:lnTo>
                    <a:pt x="1843203" y="412704"/>
                  </a:lnTo>
                  <a:lnTo>
                    <a:pt x="1843596" y="409950"/>
                  </a:lnTo>
                  <a:lnTo>
                    <a:pt x="1844383" y="407196"/>
                  </a:lnTo>
                  <a:lnTo>
                    <a:pt x="1845170" y="404049"/>
                  </a:lnTo>
                  <a:lnTo>
                    <a:pt x="1845563" y="401295"/>
                  </a:lnTo>
                  <a:lnTo>
                    <a:pt x="1847137" y="398541"/>
                  </a:lnTo>
                  <a:lnTo>
                    <a:pt x="1849104" y="395787"/>
                  </a:lnTo>
                  <a:lnTo>
                    <a:pt x="1845957" y="393820"/>
                  </a:lnTo>
                  <a:lnTo>
                    <a:pt x="1843203" y="395393"/>
                  </a:lnTo>
                  <a:lnTo>
                    <a:pt x="1840056" y="393426"/>
                  </a:lnTo>
                  <a:lnTo>
                    <a:pt x="1837302" y="393033"/>
                  </a:lnTo>
                  <a:lnTo>
                    <a:pt x="1834154" y="393426"/>
                  </a:lnTo>
                  <a:lnTo>
                    <a:pt x="1831400" y="393820"/>
                  </a:lnTo>
                  <a:lnTo>
                    <a:pt x="1826679" y="393820"/>
                  </a:lnTo>
                  <a:lnTo>
                    <a:pt x="1823532" y="396967"/>
                  </a:lnTo>
                  <a:lnTo>
                    <a:pt x="1820778" y="398541"/>
                  </a:lnTo>
                  <a:lnTo>
                    <a:pt x="1818810" y="401295"/>
                  </a:lnTo>
                  <a:lnTo>
                    <a:pt x="1808581" y="411131"/>
                  </a:lnTo>
                  <a:lnTo>
                    <a:pt x="1811336" y="408377"/>
                  </a:lnTo>
                  <a:lnTo>
                    <a:pt x="1813696" y="405623"/>
                  </a:lnTo>
                  <a:lnTo>
                    <a:pt x="1816450" y="402869"/>
                  </a:lnTo>
                  <a:lnTo>
                    <a:pt x="1818417" y="399721"/>
                  </a:lnTo>
                  <a:lnTo>
                    <a:pt x="1821565" y="397361"/>
                  </a:lnTo>
                  <a:lnTo>
                    <a:pt x="1823925" y="394607"/>
                  </a:lnTo>
                  <a:lnTo>
                    <a:pt x="1821171" y="395393"/>
                  </a:lnTo>
                  <a:lnTo>
                    <a:pt x="1819597" y="392639"/>
                  </a:lnTo>
                  <a:lnTo>
                    <a:pt x="1816450" y="390279"/>
                  </a:lnTo>
                  <a:lnTo>
                    <a:pt x="1814876" y="391459"/>
                  </a:lnTo>
                  <a:lnTo>
                    <a:pt x="1814876" y="391066"/>
                  </a:lnTo>
                  <a:lnTo>
                    <a:pt x="1816450" y="389886"/>
                  </a:lnTo>
                  <a:lnTo>
                    <a:pt x="1818024" y="387131"/>
                  </a:lnTo>
                  <a:lnTo>
                    <a:pt x="1816450" y="386738"/>
                  </a:lnTo>
                  <a:lnTo>
                    <a:pt x="1813303" y="385558"/>
                  </a:lnTo>
                  <a:lnTo>
                    <a:pt x="1812909" y="385558"/>
                  </a:lnTo>
                  <a:lnTo>
                    <a:pt x="1815663" y="384771"/>
                  </a:lnTo>
                  <a:lnTo>
                    <a:pt x="1818810" y="384378"/>
                  </a:lnTo>
                  <a:lnTo>
                    <a:pt x="1820778" y="381624"/>
                  </a:lnTo>
                  <a:lnTo>
                    <a:pt x="1823532" y="378476"/>
                  </a:lnTo>
                  <a:lnTo>
                    <a:pt x="1826679" y="376902"/>
                  </a:lnTo>
                  <a:lnTo>
                    <a:pt x="1827859" y="374148"/>
                  </a:lnTo>
                  <a:lnTo>
                    <a:pt x="1828646" y="371001"/>
                  </a:lnTo>
                  <a:lnTo>
                    <a:pt x="1830613" y="368247"/>
                  </a:lnTo>
                  <a:lnTo>
                    <a:pt x="1832974" y="365493"/>
                  </a:lnTo>
                  <a:lnTo>
                    <a:pt x="1835728" y="362739"/>
                  </a:lnTo>
                  <a:lnTo>
                    <a:pt x="1837302" y="359985"/>
                  </a:lnTo>
                  <a:lnTo>
                    <a:pt x="1839662" y="357231"/>
                  </a:lnTo>
                  <a:lnTo>
                    <a:pt x="1840056" y="356444"/>
                  </a:lnTo>
                  <a:lnTo>
                    <a:pt x="1843203" y="354477"/>
                  </a:lnTo>
                  <a:lnTo>
                    <a:pt x="1845957" y="352117"/>
                  </a:lnTo>
                  <a:lnTo>
                    <a:pt x="1848317" y="348969"/>
                  </a:lnTo>
                  <a:lnTo>
                    <a:pt x="1851071" y="347002"/>
                  </a:lnTo>
                  <a:lnTo>
                    <a:pt x="1853826" y="344641"/>
                  </a:lnTo>
                  <a:lnTo>
                    <a:pt x="1852645" y="342281"/>
                  </a:lnTo>
                  <a:lnTo>
                    <a:pt x="1853039" y="341494"/>
                  </a:lnTo>
                  <a:lnTo>
                    <a:pt x="1855006" y="341494"/>
                  </a:lnTo>
                  <a:lnTo>
                    <a:pt x="1854612" y="339920"/>
                  </a:lnTo>
                  <a:lnTo>
                    <a:pt x="1857366" y="340314"/>
                  </a:lnTo>
                  <a:lnTo>
                    <a:pt x="1860120" y="339527"/>
                  </a:lnTo>
                  <a:lnTo>
                    <a:pt x="1862874" y="336380"/>
                  </a:lnTo>
                  <a:lnTo>
                    <a:pt x="1866022" y="334806"/>
                  </a:lnTo>
                  <a:lnTo>
                    <a:pt x="1869563" y="331265"/>
                  </a:lnTo>
                  <a:lnTo>
                    <a:pt x="1872710" y="329691"/>
                  </a:lnTo>
                  <a:lnTo>
                    <a:pt x="1875464" y="328118"/>
                  </a:lnTo>
                  <a:lnTo>
                    <a:pt x="1878218" y="326150"/>
                  </a:lnTo>
                  <a:lnTo>
                    <a:pt x="1880972" y="323790"/>
                  </a:lnTo>
                  <a:lnTo>
                    <a:pt x="1884119" y="323003"/>
                  </a:lnTo>
                  <a:lnTo>
                    <a:pt x="1884906" y="320249"/>
                  </a:lnTo>
                  <a:lnTo>
                    <a:pt x="1888054" y="318675"/>
                  </a:lnTo>
                  <a:lnTo>
                    <a:pt x="1887660" y="315921"/>
                  </a:lnTo>
                  <a:lnTo>
                    <a:pt x="1888054" y="315528"/>
                  </a:lnTo>
                  <a:lnTo>
                    <a:pt x="1890807" y="316315"/>
                  </a:lnTo>
                  <a:lnTo>
                    <a:pt x="1893561" y="315921"/>
                  </a:lnTo>
                  <a:lnTo>
                    <a:pt x="1893168" y="313561"/>
                  </a:lnTo>
                  <a:lnTo>
                    <a:pt x="1908512" y="305299"/>
                  </a:lnTo>
                  <a:lnTo>
                    <a:pt x="1910872" y="304512"/>
                  </a:lnTo>
                  <a:lnTo>
                    <a:pt x="1914020" y="303725"/>
                  </a:lnTo>
                  <a:lnTo>
                    <a:pt x="1916774" y="302151"/>
                  </a:lnTo>
                  <a:lnTo>
                    <a:pt x="1917561" y="300184"/>
                  </a:lnTo>
                  <a:lnTo>
                    <a:pt x="1919921" y="297824"/>
                  </a:lnTo>
                  <a:lnTo>
                    <a:pt x="1920314" y="298217"/>
                  </a:lnTo>
                  <a:lnTo>
                    <a:pt x="1923068" y="296250"/>
                  </a:lnTo>
                  <a:lnTo>
                    <a:pt x="1923462" y="294283"/>
                  </a:lnTo>
                  <a:lnTo>
                    <a:pt x="1924249" y="293496"/>
                  </a:lnTo>
                  <a:lnTo>
                    <a:pt x="1926609" y="294283"/>
                  </a:lnTo>
                  <a:lnTo>
                    <a:pt x="1929363" y="293103"/>
                  </a:lnTo>
                  <a:lnTo>
                    <a:pt x="1932511" y="291922"/>
                  </a:lnTo>
                  <a:lnTo>
                    <a:pt x="1932511" y="287201"/>
                  </a:lnTo>
                  <a:lnTo>
                    <a:pt x="1935265" y="286808"/>
                  </a:lnTo>
                  <a:lnTo>
                    <a:pt x="1938019" y="287201"/>
                  </a:lnTo>
                  <a:lnTo>
                    <a:pt x="1938412" y="284447"/>
                  </a:lnTo>
                  <a:lnTo>
                    <a:pt x="1935265" y="282480"/>
                  </a:lnTo>
                  <a:lnTo>
                    <a:pt x="1936445" y="282480"/>
                  </a:lnTo>
                  <a:lnTo>
                    <a:pt x="1939592" y="282874"/>
                  </a:lnTo>
                  <a:lnTo>
                    <a:pt x="1942346" y="283660"/>
                  </a:lnTo>
                  <a:lnTo>
                    <a:pt x="1943133" y="286414"/>
                  </a:lnTo>
                  <a:lnTo>
                    <a:pt x="1946281" y="283660"/>
                  </a:lnTo>
                  <a:lnTo>
                    <a:pt x="1943133" y="282087"/>
                  </a:lnTo>
                  <a:lnTo>
                    <a:pt x="1946281" y="281300"/>
                  </a:lnTo>
                  <a:lnTo>
                    <a:pt x="1949035" y="278546"/>
                  </a:lnTo>
                  <a:lnTo>
                    <a:pt x="1952182" y="278152"/>
                  </a:lnTo>
                  <a:lnTo>
                    <a:pt x="1953756" y="275398"/>
                  </a:lnTo>
                  <a:lnTo>
                    <a:pt x="1956903" y="276972"/>
                  </a:lnTo>
                  <a:lnTo>
                    <a:pt x="1959657" y="275792"/>
                  </a:lnTo>
                  <a:lnTo>
                    <a:pt x="1962411" y="275005"/>
                  </a:lnTo>
                  <a:lnTo>
                    <a:pt x="1964772" y="276972"/>
                  </a:lnTo>
                  <a:lnTo>
                    <a:pt x="1967526" y="276185"/>
                  </a:lnTo>
                  <a:lnTo>
                    <a:pt x="1970280" y="274612"/>
                  </a:lnTo>
                  <a:lnTo>
                    <a:pt x="1967526" y="273038"/>
                  </a:lnTo>
                  <a:lnTo>
                    <a:pt x="1964772" y="272644"/>
                  </a:lnTo>
                  <a:lnTo>
                    <a:pt x="1962411" y="269890"/>
                  </a:lnTo>
                  <a:lnTo>
                    <a:pt x="1965558" y="267136"/>
                  </a:lnTo>
                  <a:lnTo>
                    <a:pt x="1968313" y="267923"/>
                  </a:lnTo>
                  <a:lnTo>
                    <a:pt x="1971067" y="266350"/>
                  </a:lnTo>
                  <a:lnTo>
                    <a:pt x="1974214" y="267136"/>
                  </a:lnTo>
                  <a:lnTo>
                    <a:pt x="1976968" y="267530"/>
                  </a:lnTo>
                  <a:lnTo>
                    <a:pt x="1980115" y="267923"/>
                  </a:lnTo>
                  <a:lnTo>
                    <a:pt x="1982869" y="268317"/>
                  </a:lnTo>
                  <a:lnTo>
                    <a:pt x="1986017" y="268710"/>
                  </a:lnTo>
                  <a:lnTo>
                    <a:pt x="1989164" y="267530"/>
                  </a:lnTo>
                  <a:lnTo>
                    <a:pt x="1991918" y="266743"/>
                  </a:lnTo>
                  <a:lnTo>
                    <a:pt x="1995065" y="265169"/>
                  </a:lnTo>
                  <a:lnTo>
                    <a:pt x="1998213" y="263989"/>
                  </a:lnTo>
                  <a:lnTo>
                    <a:pt x="2000967" y="263989"/>
                  </a:lnTo>
                  <a:lnTo>
                    <a:pt x="2004114" y="264382"/>
                  </a:lnTo>
                  <a:lnTo>
                    <a:pt x="2007262" y="262415"/>
                  </a:lnTo>
                  <a:lnTo>
                    <a:pt x="2010016" y="260842"/>
                  </a:lnTo>
                  <a:lnTo>
                    <a:pt x="2011589" y="258088"/>
                  </a:lnTo>
                  <a:lnTo>
                    <a:pt x="2012770" y="254940"/>
                  </a:lnTo>
                  <a:lnTo>
                    <a:pt x="2013163" y="253367"/>
                  </a:lnTo>
                  <a:lnTo>
                    <a:pt x="2011196" y="250613"/>
                  </a:lnTo>
                  <a:lnTo>
                    <a:pt x="2013950" y="250613"/>
                  </a:lnTo>
                  <a:lnTo>
                    <a:pt x="2010803" y="248252"/>
                  </a:lnTo>
                  <a:lnTo>
                    <a:pt x="2010016" y="248252"/>
                  </a:lnTo>
                  <a:lnTo>
                    <a:pt x="2008835" y="247859"/>
                  </a:lnTo>
                  <a:cubicBezTo>
                    <a:pt x="2009229" y="247859"/>
                    <a:pt x="2009622" y="248252"/>
                    <a:pt x="2010016" y="248252"/>
                  </a:cubicBezTo>
                  <a:lnTo>
                    <a:pt x="2008442" y="247859"/>
                  </a:lnTo>
                  <a:lnTo>
                    <a:pt x="2005295" y="247859"/>
                  </a:lnTo>
                  <a:lnTo>
                    <a:pt x="2002541" y="245891"/>
                  </a:lnTo>
                  <a:lnTo>
                    <a:pt x="2002541" y="245498"/>
                  </a:lnTo>
                  <a:lnTo>
                    <a:pt x="2009229" y="247859"/>
                  </a:lnTo>
                  <a:cubicBezTo>
                    <a:pt x="2007262" y="247072"/>
                    <a:pt x="2004901" y="246285"/>
                    <a:pt x="2002541" y="245105"/>
                  </a:cubicBezTo>
                  <a:lnTo>
                    <a:pt x="2001754" y="242744"/>
                  </a:lnTo>
                  <a:lnTo>
                    <a:pt x="1999000" y="240384"/>
                  </a:lnTo>
                  <a:lnTo>
                    <a:pt x="1996246" y="241170"/>
                  </a:lnTo>
                  <a:lnTo>
                    <a:pt x="1993492" y="241957"/>
                  </a:lnTo>
                  <a:lnTo>
                    <a:pt x="1993492" y="241957"/>
                  </a:lnTo>
                  <a:lnTo>
                    <a:pt x="1989951" y="240777"/>
                  </a:lnTo>
                  <a:cubicBezTo>
                    <a:pt x="1990345" y="240777"/>
                    <a:pt x="1990345" y="241170"/>
                    <a:pt x="1990738" y="241170"/>
                  </a:cubicBezTo>
                  <a:lnTo>
                    <a:pt x="1989558" y="240777"/>
                  </a:lnTo>
                  <a:lnTo>
                    <a:pt x="1989951" y="240777"/>
                  </a:lnTo>
                  <a:cubicBezTo>
                    <a:pt x="1988771" y="239990"/>
                    <a:pt x="1987591" y="239203"/>
                    <a:pt x="1986017" y="238810"/>
                  </a:cubicBezTo>
                  <a:lnTo>
                    <a:pt x="1984443" y="237629"/>
                  </a:lnTo>
                  <a:lnTo>
                    <a:pt x="1983263" y="237629"/>
                  </a:lnTo>
                  <a:cubicBezTo>
                    <a:pt x="1979328" y="236449"/>
                    <a:pt x="1975001" y="235269"/>
                    <a:pt x="1971460" y="234482"/>
                  </a:cubicBezTo>
                  <a:lnTo>
                    <a:pt x="1968706" y="232515"/>
                  </a:lnTo>
                  <a:lnTo>
                    <a:pt x="1968313" y="234089"/>
                  </a:lnTo>
                  <a:lnTo>
                    <a:pt x="1960444" y="232908"/>
                  </a:lnTo>
                  <a:lnTo>
                    <a:pt x="1961624" y="232122"/>
                  </a:lnTo>
                  <a:lnTo>
                    <a:pt x="1964378" y="232122"/>
                  </a:lnTo>
                  <a:lnTo>
                    <a:pt x="1967132" y="230941"/>
                  </a:lnTo>
                  <a:lnTo>
                    <a:pt x="1966739" y="228187"/>
                  </a:lnTo>
                  <a:lnTo>
                    <a:pt x="1966345" y="225827"/>
                  </a:lnTo>
                  <a:lnTo>
                    <a:pt x="1967526" y="228974"/>
                  </a:lnTo>
                  <a:lnTo>
                    <a:pt x="1970673" y="231335"/>
                  </a:lnTo>
                  <a:lnTo>
                    <a:pt x="1973427" y="232122"/>
                  </a:lnTo>
                  <a:lnTo>
                    <a:pt x="1976575" y="233695"/>
                  </a:lnTo>
                  <a:lnTo>
                    <a:pt x="1979328" y="234876"/>
                  </a:lnTo>
                  <a:lnTo>
                    <a:pt x="1982082" y="235269"/>
                  </a:lnTo>
                  <a:lnTo>
                    <a:pt x="1985230" y="236843"/>
                  </a:lnTo>
                  <a:lnTo>
                    <a:pt x="1987984" y="238416"/>
                  </a:lnTo>
                  <a:lnTo>
                    <a:pt x="1991131" y="238416"/>
                  </a:lnTo>
                  <a:lnTo>
                    <a:pt x="1993885" y="239203"/>
                  </a:lnTo>
                  <a:lnTo>
                    <a:pt x="1997033" y="238023"/>
                  </a:lnTo>
                  <a:lnTo>
                    <a:pt x="1999787" y="237629"/>
                  </a:lnTo>
                  <a:lnTo>
                    <a:pt x="2002541" y="239203"/>
                  </a:lnTo>
                  <a:lnTo>
                    <a:pt x="2005688" y="239990"/>
                  </a:lnTo>
                  <a:lnTo>
                    <a:pt x="2008049" y="240384"/>
                  </a:lnTo>
                  <a:lnTo>
                    <a:pt x="2010803" y="242744"/>
                  </a:lnTo>
                  <a:lnTo>
                    <a:pt x="2013950" y="243137"/>
                  </a:lnTo>
                  <a:lnTo>
                    <a:pt x="2016704" y="244711"/>
                  </a:lnTo>
                  <a:lnTo>
                    <a:pt x="2019852" y="244318"/>
                  </a:lnTo>
                  <a:lnTo>
                    <a:pt x="2022999" y="243924"/>
                  </a:lnTo>
                  <a:lnTo>
                    <a:pt x="2025753" y="243531"/>
                  </a:lnTo>
                  <a:lnTo>
                    <a:pt x="2026146" y="240777"/>
                  </a:lnTo>
                  <a:lnTo>
                    <a:pt x="2028900" y="241170"/>
                  </a:lnTo>
                  <a:lnTo>
                    <a:pt x="2032048" y="242744"/>
                  </a:lnTo>
                  <a:lnTo>
                    <a:pt x="2034802" y="242744"/>
                  </a:lnTo>
                  <a:lnTo>
                    <a:pt x="2037949" y="240384"/>
                  </a:lnTo>
                  <a:lnTo>
                    <a:pt x="2040703" y="238810"/>
                  </a:lnTo>
                  <a:lnTo>
                    <a:pt x="2042670" y="238023"/>
                  </a:lnTo>
                  <a:lnTo>
                    <a:pt x="2044244" y="236056"/>
                  </a:lnTo>
                  <a:lnTo>
                    <a:pt x="2047785" y="231728"/>
                  </a:lnTo>
                  <a:lnTo>
                    <a:pt x="2050932" y="233302"/>
                  </a:lnTo>
                  <a:lnTo>
                    <a:pt x="2052112" y="230548"/>
                  </a:lnTo>
                  <a:lnTo>
                    <a:pt x="2051719" y="227794"/>
                  </a:lnTo>
                  <a:lnTo>
                    <a:pt x="2051326" y="227794"/>
                  </a:lnTo>
                  <a:lnTo>
                    <a:pt x="2052506" y="226614"/>
                  </a:lnTo>
                  <a:lnTo>
                    <a:pt x="2059194" y="233302"/>
                  </a:lnTo>
                  <a:lnTo>
                    <a:pt x="2064702" y="231335"/>
                  </a:lnTo>
                  <a:lnTo>
                    <a:pt x="2065882" y="231728"/>
                  </a:lnTo>
                  <a:lnTo>
                    <a:pt x="2069030" y="232908"/>
                  </a:lnTo>
                  <a:lnTo>
                    <a:pt x="2068636" y="230154"/>
                  </a:lnTo>
                  <a:lnTo>
                    <a:pt x="2069816" y="229761"/>
                  </a:lnTo>
                  <a:lnTo>
                    <a:pt x="2069816" y="230154"/>
                  </a:lnTo>
                  <a:lnTo>
                    <a:pt x="2072571" y="231728"/>
                  </a:lnTo>
                  <a:lnTo>
                    <a:pt x="2075718" y="232122"/>
                  </a:lnTo>
                  <a:lnTo>
                    <a:pt x="2078865" y="232122"/>
                  </a:lnTo>
                  <a:lnTo>
                    <a:pt x="2081619" y="231335"/>
                  </a:lnTo>
                  <a:lnTo>
                    <a:pt x="2084373" y="230154"/>
                  </a:lnTo>
                  <a:lnTo>
                    <a:pt x="2087127" y="229368"/>
                  </a:lnTo>
                  <a:lnTo>
                    <a:pt x="2090275" y="228581"/>
                  </a:lnTo>
                  <a:lnTo>
                    <a:pt x="2093029" y="227400"/>
                  </a:lnTo>
                  <a:lnTo>
                    <a:pt x="2096176" y="227007"/>
                  </a:lnTo>
                  <a:lnTo>
                    <a:pt x="2098930" y="225827"/>
                  </a:lnTo>
                  <a:lnTo>
                    <a:pt x="2101291" y="223073"/>
                  </a:lnTo>
                  <a:lnTo>
                    <a:pt x="2104045" y="221892"/>
                  </a:lnTo>
                  <a:lnTo>
                    <a:pt x="2107192" y="219532"/>
                  </a:lnTo>
                  <a:lnTo>
                    <a:pt x="2109946" y="217171"/>
                  </a:lnTo>
                  <a:lnTo>
                    <a:pt x="2112700" y="215598"/>
                  </a:lnTo>
                  <a:lnTo>
                    <a:pt x="2115847" y="214811"/>
                  </a:lnTo>
                  <a:lnTo>
                    <a:pt x="2118995" y="213237"/>
                  </a:lnTo>
                  <a:lnTo>
                    <a:pt x="2119782" y="212844"/>
                  </a:lnTo>
                  <a:lnTo>
                    <a:pt x="2122536" y="209696"/>
                  </a:lnTo>
                  <a:lnTo>
                    <a:pt x="2125290" y="209696"/>
                  </a:lnTo>
                  <a:lnTo>
                    <a:pt x="2128044" y="208516"/>
                  </a:lnTo>
                  <a:lnTo>
                    <a:pt x="2131191" y="206155"/>
                  </a:lnTo>
                  <a:lnTo>
                    <a:pt x="2133945" y="204188"/>
                  </a:lnTo>
                  <a:lnTo>
                    <a:pt x="2137093" y="203008"/>
                  </a:lnTo>
                  <a:lnTo>
                    <a:pt x="2140240" y="200647"/>
                  </a:lnTo>
                  <a:lnTo>
                    <a:pt x="2142994" y="198287"/>
                  </a:lnTo>
                  <a:lnTo>
                    <a:pt x="2144174" y="195533"/>
                  </a:lnTo>
                  <a:lnTo>
                    <a:pt x="2141420" y="193959"/>
                  </a:lnTo>
                  <a:lnTo>
                    <a:pt x="2138666" y="193566"/>
                  </a:lnTo>
                  <a:lnTo>
                    <a:pt x="2135519" y="193566"/>
                  </a:lnTo>
                  <a:lnTo>
                    <a:pt x="2132765" y="193172"/>
                  </a:lnTo>
                  <a:lnTo>
                    <a:pt x="2129617" y="193566"/>
                  </a:lnTo>
                  <a:lnTo>
                    <a:pt x="2126863" y="193172"/>
                  </a:lnTo>
                  <a:lnTo>
                    <a:pt x="2123716" y="193566"/>
                  </a:lnTo>
                  <a:lnTo>
                    <a:pt x="2120962" y="193172"/>
                  </a:lnTo>
                  <a:lnTo>
                    <a:pt x="2114667" y="193172"/>
                  </a:lnTo>
                  <a:lnTo>
                    <a:pt x="2111520" y="192779"/>
                  </a:lnTo>
                  <a:lnTo>
                    <a:pt x="2108766" y="192385"/>
                  </a:lnTo>
                  <a:lnTo>
                    <a:pt x="2106012" y="191992"/>
                  </a:lnTo>
                  <a:lnTo>
                    <a:pt x="2102864" y="191599"/>
                  </a:lnTo>
                  <a:lnTo>
                    <a:pt x="2101291" y="188451"/>
                  </a:lnTo>
                  <a:lnTo>
                    <a:pt x="2098930" y="186878"/>
                  </a:lnTo>
                  <a:lnTo>
                    <a:pt x="2098537" y="186484"/>
                  </a:lnTo>
                  <a:lnTo>
                    <a:pt x="2098930" y="183730"/>
                  </a:lnTo>
                  <a:lnTo>
                    <a:pt x="2096570" y="180976"/>
                  </a:lnTo>
                  <a:lnTo>
                    <a:pt x="2093422" y="178616"/>
                  </a:lnTo>
                  <a:lnTo>
                    <a:pt x="2091455" y="177435"/>
                  </a:lnTo>
                  <a:lnTo>
                    <a:pt x="2093422" y="175075"/>
                  </a:lnTo>
                  <a:lnTo>
                    <a:pt x="2096176" y="176648"/>
                  </a:lnTo>
                  <a:lnTo>
                    <a:pt x="2098930" y="175468"/>
                  </a:lnTo>
                  <a:lnTo>
                    <a:pt x="2096176" y="173501"/>
                  </a:lnTo>
                  <a:lnTo>
                    <a:pt x="2108373" y="177435"/>
                  </a:lnTo>
                  <a:lnTo>
                    <a:pt x="2109159" y="178222"/>
                  </a:lnTo>
                  <a:lnTo>
                    <a:pt x="2112307" y="180583"/>
                  </a:lnTo>
                  <a:lnTo>
                    <a:pt x="2115061" y="180189"/>
                  </a:lnTo>
                  <a:lnTo>
                    <a:pt x="2117815" y="181370"/>
                  </a:lnTo>
                  <a:lnTo>
                    <a:pt x="2120962" y="181763"/>
                  </a:lnTo>
                  <a:lnTo>
                    <a:pt x="2122929" y="182156"/>
                  </a:lnTo>
                  <a:lnTo>
                    <a:pt x="2117028" y="182156"/>
                  </a:lnTo>
                  <a:lnTo>
                    <a:pt x="2114274" y="181763"/>
                  </a:lnTo>
                  <a:lnTo>
                    <a:pt x="2117028" y="183337"/>
                  </a:lnTo>
                  <a:lnTo>
                    <a:pt x="2119782" y="184910"/>
                  </a:lnTo>
                  <a:lnTo>
                    <a:pt x="2121356" y="187664"/>
                  </a:lnTo>
                  <a:lnTo>
                    <a:pt x="2124110" y="190418"/>
                  </a:lnTo>
                  <a:lnTo>
                    <a:pt x="2126863" y="191205"/>
                  </a:lnTo>
                  <a:lnTo>
                    <a:pt x="2132765" y="191205"/>
                  </a:lnTo>
                  <a:lnTo>
                    <a:pt x="2135519" y="191599"/>
                  </a:lnTo>
                  <a:lnTo>
                    <a:pt x="2138666" y="191599"/>
                  </a:lnTo>
                  <a:lnTo>
                    <a:pt x="2141420" y="190812"/>
                  </a:lnTo>
                  <a:lnTo>
                    <a:pt x="2144568" y="190025"/>
                  </a:lnTo>
                  <a:lnTo>
                    <a:pt x="2147322" y="189631"/>
                  </a:lnTo>
                  <a:lnTo>
                    <a:pt x="2150469" y="187271"/>
                  </a:lnTo>
                  <a:lnTo>
                    <a:pt x="2153223" y="185697"/>
                  </a:lnTo>
                  <a:lnTo>
                    <a:pt x="2156370" y="185304"/>
                  </a:lnTo>
                  <a:lnTo>
                    <a:pt x="2159124" y="184124"/>
                  </a:lnTo>
                  <a:lnTo>
                    <a:pt x="2161878" y="182550"/>
                  </a:lnTo>
                  <a:lnTo>
                    <a:pt x="2165026" y="181763"/>
                  </a:lnTo>
                  <a:lnTo>
                    <a:pt x="2168173" y="180189"/>
                  </a:lnTo>
                  <a:lnTo>
                    <a:pt x="2170927" y="177042"/>
                  </a:lnTo>
                  <a:lnTo>
                    <a:pt x="2173288" y="175075"/>
                  </a:lnTo>
                  <a:lnTo>
                    <a:pt x="2176042" y="174681"/>
                  </a:lnTo>
                  <a:lnTo>
                    <a:pt x="2223646" y="166026"/>
                  </a:lnTo>
                  <a:lnTo>
                    <a:pt x="2226400" y="166419"/>
                  </a:lnTo>
                  <a:lnTo>
                    <a:pt x="2226007" y="165239"/>
                  </a:lnTo>
                  <a:lnTo>
                    <a:pt x="2234269" y="163665"/>
                  </a:lnTo>
                  <a:lnTo>
                    <a:pt x="2234662" y="164059"/>
                  </a:lnTo>
                  <a:lnTo>
                    <a:pt x="2237416" y="165632"/>
                  </a:lnTo>
                  <a:lnTo>
                    <a:pt x="2240170" y="165239"/>
                  </a:lnTo>
                  <a:lnTo>
                    <a:pt x="2242531" y="162879"/>
                  </a:lnTo>
                  <a:lnTo>
                    <a:pt x="2242531" y="160125"/>
                  </a:lnTo>
                  <a:lnTo>
                    <a:pt x="2241744" y="157764"/>
                  </a:lnTo>
                  <a:lnTo>
                    <a:pt x="2241351" y="153043"/>
                  </a:lnTo>
                  <a:lnTo>
                    <a:pt x="2242138" y="152649"/>
                  </a:lnTo>
                  <a:lnTo>
                    <a:pt x="2240957" y="152256"/>
                  </a:lnTo>
                  <a:lnTo>
                    <a:pt x="2240564" y="149895"/>
                  </a:lnTo>
                  <a:lnTo>
                    <a:pt x="2243318" y="150682"/>
                  </a:lnTo>
                  <a:lnTo>
                    <a:pt x="2246072" y="149109"/>
                  </a:lnTo>
                  <a:lnTo>
                    <a:pt x="2249219" y="147928"/>
                  </a:lnTo>
                  <a:lnTo>
                    <a:pt x="2251973" y="145961"/>
                  </a:lnTo>
                  <a:lnTo>
                    <a:pt x="2250006" y="148715"/>
                  </a:lnTo>
                  <a:lnTo>
                    <a:pt x="2248826" y="151469"/>
                  </a:lnTo>
                  <a:lnTo>
                    <a:pt x="2245678" y="151076"/>
                  </a:lnTo>
                  <a:lnTo>
                    <a:pt x="2244105" y="153830"/>
                  </a:lnTo>
                  <a:lnTo>
                    <a:pt x="2246858" y="155403"/>
                  </a:lnTo>
                  <a:lnTo>
                    <a:pt x="2249219" y="158157"/>
                  </a:lnTo>
                  <a:lnTo>
                    <a:pt x="2247252" y="160911"/>
                  </a:lnTo>
                  <a:lnTo>
                    <a:pt x="2250399" y="160911"/>
                  </a:lnTo>
                  <a:lnTo>
                    <a:pt x="2253153" y="160518"/>
                  </a:lnTo>
                  <a:lnTo>
                    <a:pt x="2256301" y="159338"/>
                  </a:lnTo>
                  <a:lnTo>
                    <a:pt x="2259055" y="157764"/>
                  </a:lnTo>
                  <a:lnTo>
                    <a:pt x="2262202" y="156977"/>
                  </a:lnTo>
                  <a:lnTo>
                    <a:pt x="2264956" y="154617"/>
                  </a:lnTo>
                  <a:lnTo>
                    <a:pt x="2268104" y="154223"/>
                  </a:lnTo>
                  <a:lnTo>
                    <a:pt x="2274005" y="154223"/>
                  </a:lnTo>
                  <a:lnTo>
                    <a:pt x="2276759" y="152256"/>
                  </a:lnTo>
                  <a:lnTo>
                    <a:pt x="2279906" y="150682"/>
                  </a:lnTo>
                  <a:lnTo>
                    <a:pt x="2283054" y="149109"/>
                  </a:lnTo>
                  <a:lnTo>
                    <a:pt x="2284234" y="149109"/>
                  </a:lnTo>
                  <a:lnTo>
                    <a:pt x="2287775" y="149502"/>
                  </a:lnTo>
                  <a:lnTo>
                    <a:pt x="2290135" y="146355"/>
                  </a:lnTo>
                  <a:lnTo>
                    <a:pt x="2293283" y="144387"/>
                  </a:lnTo>
                  <a:lnTo>
                    <a:pt x="2296430" y="142814"/>
                  </a:lnTo>
                  <a:lnTo>
                    <a:pt x="2299184" y="141240"/>
                  </a:lnTo>
                  <a:lnTo>
                    <a:pt x="2302332" y="140847"/>
                  </a:lnTo>
                  <a:lnTo>
                    <a:pt x="2305086" y="141240"/>
                  </a:lnTo>
                  <a:lnTo>
                    <a:pt x="2308233" y="140847"/>
                  </a:lnTo>
                  <a:lnTo>
                    <a:pt x="2311380" y="138880"/>
                  </a:lnTo>
                  <a:lnTo>
                    <a:pt x="2314528" y="136126"/>
                  </a:lnTo>
                  <a:lnTo>
                    <a:pt x="2320036" y="131011"/>
                  </a:lnTo>
                  <a:lnTo>
                    <a:pt x="2323183" y="128650"/>
                  </a:lnTo>
                  <a:lnTo>
                    <a:pt x="2324757" y="125503"/>
                  </a:lnTo>
                  <a:lnTo>
                    <a:pt x="2324364" y="122749"/>
                  </a:lnTo>
                  <a:lnTo>
                    <a:pt x="2321216" y="120782"/>
                  </a:lnTo>
                  <a:lnTo>
                    <a:pt x="2319249" y="118028"/>
                  </a:lnTo>
                  <a:lnTo>
                    <a:pt x="2316495" y="115274"/>
                  </a:lnTo>
                  <a:lnTo>
                    <a:pt x="2316889" y="112127"/>
                  </a:lnTo>
                  <a:lnTo>
                    <a:pt x="2319642" y="109766"/>
                  </a:lnTo>
                  <a:lnTo>
                    <a:pt x="2322790" y="108192"/>
                  </a:lnTo>
                  <a:lnTo>
                    <a:pt x="2319642" y="108586"/>
                  </a:lnTo>
                  <a:lnTo>
                    <a:pt x="2316889" y="107799"/>
                  </a:lnTo>
                  <a:lnTo>
                    <a:pt x="2319642" y="105438"/>
                  </a:lnTo>
                  <a:lnTo>
                    <a:pt x="2316889" y="103865"/>
                  </a:lnTo>
                  <a:lnTo>
                    <a:pt x="2320036" y="102684"/>
                  </a:lnTo>
                  <a:lnTo>
                    <a:pt x="2316889" y="100324"/>
                  </a:lnTo>
                  <a:lnTo>
                    <a:pt x="2316889" y="100324"/>
                  </a:lnTo>
                  <a:lnTo>
                    <a:pt x="2330658" y="99930"/>
                  </a:lnTo>
                  <a:lnTo>
                    <a:pt x="2333412" y="99143"/>
                  </a:lnTo>
                  <a:lnTo>
                    <a:pt x="2336166" y="97176"/>
                  </a:lnTo>
                  <a:lnTo>
                    <a:pt x="2339314" y="97570"/>
                  </a:lnTo>
                  <a:lnTo>
                    <a:pt x="2342068" y="96389"/>
                  </a:lnTo>
                  <a:lnTo>
                    <a:pt x="2345215" y="95209"/>
                  </a:lnTo>
                  <a:lnTo>
                    <a:pt x="2348363" y="94422"/>
                  </a:lnTo>
                  <a:lnTo>
                    <a:pt x="2351116" y="93635"/>
                  </a:lnTo>
                  <a:lnTo>
                    <a:pt x="2353084" y="90488"/>
                  </a:lnTo>
                  <a:lnTo>
                    <a:pt x="2353870" y="87734"/>
                  </a:lnTo>
                  <a:lnTo>
                    <a:pt x="2350723" y="87341"/>
                  </a:lnTo>
                  <a:lnTo>
                    <a:pt x="2347576" y="86160"/>
                  </a:lnTo>
                  <a:lnTo>
                    <a:pt x="2346789" y="86554"/>
                  </a:lnTo>
                  <a:lnTo>
                    <a:pt x="2343642" y="86947"/>
                  </a:lnTo>
                  <a:lnTo>
                    <a:pt x="2340887" y="87341"/>
                  </a:lnTo>
                  <a:lnTo>
                    <a:pt x="2344035" y="86554"/>
                  </a:lnTo>
                  <a:lnTo>
                    <a:pt x="2346789" y="86554"/>
                  </a:lnTo>
                  <a:lnTo>
                    <a:pt x="2349936" y="85767"/>
                  </a:lnTo>
                  <a:lnTo>
                    <a:pt x="2353084" y="84980"/>
                  </a:lnTo>
                  <a:lnTo>
                    <a:pt x="2356231" y="83800"/>
                  </a:lnTo>
                  <a:lnTo>
                    <a:pt x="2358985" y="82226"/>
                  </a:lnTo>
                  <a:lnTo>
                    <a:pt x="2362133" y="81833"/>
                  </a:lnTo>
                  <a:lnTo>
                    <a:pt x="2363706" y="79079"/>
                  </a:lnTo>
                  <a:lnTo>
                    <a:pt x="2360952" y="78685"/>
                  </a:lnTo>
                  <a:lnTo>
                    <a:pt x="2358198" y="76718"/>
                  </a:lnTo>
                  <a:lnTo>
                    <a:pt x="2354657" y="76718"/>
                  </a:lnTo>
                  <a:lnTo>
                    <a:pt x="2351510" y="76325"/>
                  </a:lnTo>
                  <a:lnTo>
                    <a:pt x="2348756" y="77505"/>
                  </a:lnTo>
                  <a:lnTo>
                    <a:pt x="2345609" y="77898"/>
                  </a:lnTo>
                  <a:lnTo>
                    <a:pt x="2348363" y="76325"/>
                  </a:lnTo>
                  <a:lnTo>
                    <a:pt x="2346002" y="73571"/>
                  </a:lnTo>
                  <a:lnTo>
                    <a:pt x="2349149" y="73177"/>
                  </a:lnTo>
                  <a:lnTo>
                    <a:pt x="2346002" y="71997"/>
                  </a:lnTo>
                  <a:lnTo>
                    <a:pt x="2342855" y="71604"/>
                  </a:lnTo>
                  <a:lnTo>
                    <a:pt x="2342855" y="70817"/>
                  </a:lnTo>
                  <a:lnTo>
                    <a:pt x="2339314" y="70030"/>
                  </a:lnTo>
                  <a:lnTo>
                    <a:pt x="2336953" y="69636"/>
                  </a:lnTo>
                  <a:lnTo>
                    <a:pt x="2336560" y="69636"/>
                  </a:lnTo>
                  <a:lnTo>
                    <a:pt x="2332232" y="68850"/>
                  </a:lnTo>
                  <a:lnTo>
                    <a:pt x="2334199" y="68850"/>
                  </a:lnTo>
                  <a:lnTo>
                    <a:pt x="2337347" y="69243"/>
                  </a:lnTo>
                  <a:lnTo>
                    <a:pt x="2343248" y="69243"/>
                  </a:lnTo>
                  <a:lnTo>
                    <a:pt x="2346002" y="67276"/>
                  </a:lnTo>
                  <a:lnTo>
                    <a:pt x="2348756" y="65702"/>
                  </a:lnTo>
                  <a:lnTo>
                    <a:pt x="2351903" y="66096"/>
                  </a:lnTo>
                  <a:lnTo>
                    <a:pt x="2349149" y="65309"/>
                  </a:lnTo>
                  <a:lnTo>
                    <a:pt x="2346002" y="63735"/>
                  </a:lnTo>
                  <a:lnTo>
                    <a:pt x="2343248" y="64129"/>
                  </a:lnTo>
                  <a:lnTo>
                    <a:pt x="2340101" y="64129"/>
                  </a:lnTo>
                  <a:lnTo>
                    <a:pt x="2336953" y="64522"/>
                  </a:lnTo>
                  <a:lnTo>
                    <a:pt x="2333806" y="64129"/>
                  </a:lnTo>
                  <a:lnTo>
                    <a:pt x="2331052" y="64915"/>
                  </a:lnTo>
                  <a:lnTo>
                    <a:pt x="2327904" y="64522"/>
                  </a:lnTo>
                  <a:lnTo>
                    <a:pt x="2325150" y="64129"/>
                  </a:lnTo>
                  <a:lnTo>
                    <a:pt x="2322396" y="63342"/>
                  </a:lnTo>
                  <a:lnTo>
                    <a:pt x="2319249" y="62948"/>
                  </a:lnTo>
                  <a:lnTo>
                    <a:pt x="2316102" y="60588"/>
                  </a:lnTo>
                  <a:lnTo>
                    <a:pt x="2313348" y="59801"/>
                  </a:lnTo>
                  <a:lnTo>
                    <a:pt x="2310594" y="59801"/>
                  </a:lnTo>
                  <a:lnTo>
                    <a:pt x="2307446" y="60194"/>
                  </a:lnTo>
                  <a:lnTo>
                    <a:pt x="2304692" y="60588"/>
                  </a:lnTo>
                  <a:lnTo>
                    <a:pt x="2301545" y="60981"/>
                  </a:lnTo>
                  <a:lnTo>
                    <a:pt x="2298397" y="61375"/>
                  </a:lnTo>
                  <a:lnTo>
                    <a:pt x="2295643" y="61768"/>
                  </a:lnTo>
                  <a:lnTo>
                    <a:pt x="2292496" y="60194"/>
                  </a:lnTo>
                  <a:lnTo>
                    <a:pt x="2289742" y="59801"/>
                  </a:lnTo>
                  <a:lnTo>
                    <a:pt x="2286988" y="60194"/>
                  </a:lnTo>
                  <a:lnTo>
                    <a:pt x="2286595" y="60194"/>
                  </a:lnTo>
                  <a:lnTo>
                    <a:pt x="2289349" y="60588"/>
                  </a:lnTo>
                  <a:lnTo>
                    <a:pt x="2288955" y="60588"/>
                  </a:lnTo>
                  <a:lnTo>
                    <a:pt x="2286595" y="60194"/>
                  </a:lnTo>
                  <a:lnTo>
                    <a:pt x="2285808" y="62948"/>
                  </a:lnTo>
                  <a:lnTo>
                    <a:pt x="2283841" y="64915"/>
                  </a:lnTo>
                  <a:lnTo>
                    <a:pt x="2284628" y="67276"/>
                  </a:lnTo>
                  <a:lnTo>
                    <a:pt x="2284628" y="67669"/>
                  </a:lnTo>
                  <a:lnTo>
                    <a:pt x="2281874" y="68063"/>
                  </a:lnTo>
                  <a:lnTo>
                    <a:pt x="2279513" y="71210"/>
                  </a:lnTo>
                  <a:lnTo>
                    <a:pt x="2282267" y="70423"/>
                  </a:lnTo>
                  <a:lnTo>
                    <a:pt x="2279119" y="71997"/>
                  </a:lnTo>
                  <a:lnTo>
                    <a:pt x="2279906" y="74751"/>
                  </a:lnTo>
                  <a:lnTo>
                    <a:pt x="2276759" y="74358"/>
                  </a:lnTo>
                  <a:lnTo>
                    <a:pt x="2277152" y="77505"/>
                  </a:lnTo>
                  <a:lnTo>
                    <a:pt x="2279906" y="79079"/>
                  </a:lnTo>
                  <a:lnTo>
                    <a:pt x="2281480" y="79079"/>
                  </a:lnTo>
                  <a:lnTo>
                    <a:pt x="2281480" y="79472"/>
                  </a:lnTo>
                  <a:lnTo>
                    <a:pt x="2279906" y="80259"/>
                  </a:lnTo>
                  <a:lnTo>
                    <a:pt x="2281087" y="80259"/>
                  </a:lnTo>
                  <a:lnTo>
                    <a:pt x="2279906" y="84193"/>
                  </a:lnTo>
                  <a:lnTo>
                    <a:pt x="2277546" y="85374"/>
                  </a:lnTo>
                  <a:lnTo>
                    <a:pt x="2276759" y="84980"/>
                  </a:lnTo>
                  <a:lnTo>
                    <a:pt x="2276365" y="85767"/>
                  </a:lnTo>
                  <a:lnTo>
                    <a:pt x="2273612" y="87341"/>
                  </a:lnTo>
                  <a:lnTo>
                    <a:pt x="2272825" y="87341"/>
                  </a:lnTo>
                  <a:lnTo>
                    <a:pt x="2273218" y="87734"/>
                  </a:lnTo>
                  <a:lnTo>
                    <a:pt x="2266923" y="91275"/>
                  </a:lnTo>
                  <a:lnTo>
                    <a:pt x="2266136" y="91668"/>
                  </a:lnTo>
                  <a:lnTo>
                    <a:pt x="2263382" y="90095"/>
                  </a:lnTo>
                  <a:lnTo>
                    <a:pt x="2260235" y="91668"/>
                  </a:lnTo>
                  <a:lnTo>
                    <a:pt x="2257481" y="93242"/>
                  </a:lnTo>
                  <a:lnTo>
                    <a:pt x="2254334" y="95209"/>
                  </a:lnTo>
                  <a:lnTo>
                    <a:pt x="2252760" y="97963"/>
                  </a:lnTo>
                  <a:lnTo>
                    <a:pt x="2250006" y="100717"/>
                  </a:lnTo>
                  <a:lnTo>
                    <a:pt x="2247252" y="103078"/>
                  </a:lnTo>
                  <a:lnTo>
                    <a:pt x="2244105" y="105438"/>
                  </a:lnTo>
                  <a:lnTo>
                    <a:pt x="2243711" y="105832"/>
                  </a:lnTo>
                  <a:lnTo>
                    <a:pt x="2224433" y="117241"/>
                  </a:lnTo>
                  <a:lnTo>
                    <a:pt x="2223253" y="118028"/>
                  </a:lnTo>
                  <a:lnTo>
                    <a:pt x="2222073" y="118815"/>
                  </a:lnTo>
                  <a:lnTo>
                    <a:pt x="2218925" y="120388"/>
                  </a:lnTo>
                  <a:lnTo>
                    <a:pt x="2218138" y="120782"/>
                  </a:lnTo>
                  <a:lnTo>
                    <a:pt x="2198467" y="131798"/>
                  </a:lnTo>
                  <a:lnTo>
                    <a:pt x="2197287" y="132585"/>
                  </a:lnTo>
                  <a:lnTo>
                    <a:pt x="2197287" y="132585"/>
                  </a:lnTo>
                  <a:lnTo>
                    <a:pt x="2190992" y="136126"/>
                  </a:lnTo>
                  <a:lnTo>
                    <a:pt x="2189025" y="135732"/>
                  </a:lnTo>
                  <a:lnTo>
                    <a:pt x="2186271" y="138093"/>
                  </a:lnTo>
                  <a:lnTo>
                    <a:pt x="2184697" y="139666"/>
                  </a:lnTo>
                  <a:lnTo>
                    <a:pt x="2200828" y="105438"/>
                  </a:lnTo>
                  <a:lnTo>
                    <a:pt x="2203582" y="102684"/>
                  </a:lnTo>
                  <a:lnTo>
                    <a:pt x="2205549" y="99930"/>
                  </a:lnTo>
                  <a:lnTo>
                    <a:pt x="2205942" y="97176"/>
                  </a:lnTo>
                  <a:lnTo>
                    <a:pt x="2208303" y="94422"/>
                  </a:lnTo>
                  <a:lnTo>
                    <a:pt x="2209877" y="91668"/>
                  </a:lnTo>
                  <a:lnTo>
                    <a:pt x="2209090" y="88521"/>
                  </a:lnTo>
                  <a:lnTo>
                    <a:pt x="2206729" y="85767"/>
                  </a:lnTo>
                  <a:lnTo>
                    <a:pt x="2203975" y="84193"/>
                  </a:lnTo>
                  <a:lnTo>
                    <a:pt x="2201221" y="81833"/>
                  </a:lnTo>
                  <a:lnTo>
                    <a:pt x="2200041" y="79079"/>
                  </a:lnTo>
                  <a:lnTo>
                    <a:pt x="2196893" y="76718"/>
                  </a:lnTo>
                  <a:lnTo>
                    <a:pt x="2193746" y="77112"/>
                  </a:lnTo>
                  <a:lnTo>
                    <a:pt x="2190992" y="78292"/>
                  </a:lnTo>
                  <a:lnTo>
                    <a:pt x="2187844" y="79866"/>
                  </a:lnTo>
                  <a:lnTo>
                    <a:pt x="2185091" y="81439"/>
                  </a:lnTo>
                  <a:lnTo>
                    <a:pt x="2181943" y="82620"/>
                  </a:lnTo>
                  <a:lnTo>
                    <a:pt x="2178796" y="83800"/>
                  </a:lnTo>
                  <a:lnTo>
                    <a:pt x="2176042" y="85767"/>
                  </a:lnTo>
                  <a:lnTo>
                    <a:pt x="2174468" y="88914"/>
                  </a:lnTo>
                  <a:lnTo>
                    <a:pt x="2172107" y="91668"/>
                  </a:lnTo>
                  <a:lnTo>
                    <a:pt x="2169354" y="94422"/>
                  </a:lnTo>
                  <a:lnTo>
                    <a:pt x="2166600" y="94029"/>
                  </a:lnTo>
                  <a:lnTo>
                    <a:pt x="2163452" y="95603"/>
                  </a:lnTo>
                  <a:lnTo>
                    <a:pt x="2165026" y="97570"/>
                  </a:lnTo>
                  <a:lnTo>
                    <a:pt x="2157944" y="100717"/>
                  </a:lnTo>
                  <a:lnTo>
                    <a:pt x="2157157" y="101111"/>
                  </a:lnTo>
                  <a:lnTo>
                    <a:pt x="2156764" y="101504"/>
                  </a:lnTo>
                  <a:lnTo>
                    <a:pt x="2156370" y="102291"/>
                  </a:lnTo>
                  <a:lnTo>
                    <a:pt x="2153223" y="103471"/>
                  </a:lnTo>
                  <a:lnTo>
                    <a:pt x="2156370" y="90488"/>
                  </a:lnTo>
                  <a:lnTo>
                    <a:pt x="2157157" y="89701"/>
                  </a:lnTo>
                  <a:lnTo>
                    <a:pt x="2156764" y="89701"/>
                  </a:lnTo>
                  <a:lnTo>
                    <a:pt x="2157157" y="88914"/>
                  </a:lnTo>
                  <a:lnTo>
                    <a:pt x="2157944" y="86160"/>
                  </a:lnTo>
                  <a:lnTo>
                    <a:pt x="2157944" y="83013"/>
                  </a:lnTo>
                  <a:lnTo>
                    <a:pt x="2157551" y="80259"/>
                  </a:lnTo>
                  <a:lnTo>
                    <a:pt x="2155977" y="79079"/>
                  </a:lnTo>
                  <a:lnTo>
                    <a:pt x="2155584" y="76718"/>
                  </a:lnTo>
                  <a:lnTo>
                    <a:pt x="2154797" y="75931"/>
                  </a:lnTo>
                  <a:lnTo>
                    <a:pt x="2157551" y="75144"/>
                  </a:lnTo>
                  <a:lnTo>
                    <a:pt x="2155584" y="76718"/>
                  </a:lnTo>
                  <a:lnTo>
                    <a:pt x="2158731" y="75931"/>
                  </a:lnTo>
                  <a:lnTo>
                    <a:pt x="2161485" y="76325"/>
                  </a:lnTo>
                  <a:lnTo>
                    <a:pt x="2164632" y="73964"/>
                  </a:lnTo>
                  <a:lnTo>
                    <a:pt x="2167387" y="73177"/>
                  </a:lnTo>
                  <a:lnTo>
                    <a:pt x="2170534" y="72390"/>
                  </a:lnTo>
                  <a:lnTo>
                    <a:pt x="2173681" y="71604"/>
                  </a:lnTo>
                  <a:lnTo>
                    <a:pt x="2176435" y="71997"/>
                  </a:lnTo>
                  <a:lnTo>
                    <a:pt x="2173681" y="70423"/>
                  </a:lnTo>
                  <a:lnTo>
                    <a:pt x="2170534" y="69636"/>
                  </a:lnTo>
                  <a:lnTo>
                    <a:pt x="2167780" y="71210"/>
                  </a:lnTo>
                  <a:lnTo>
                    <a:pt x="2165026" y="70030"/>
                  </a:lnTo>
                  <a:lnTo>
                    <a:pt x="2161485" y="70423"/>
                  </a:lnTo>
                  <a:lnTo>
                    <a:pt x="2158338" y="69636"/>
                  </a:lnTo>
                  <a:lnTo>
                    <a:pt x="2155584" y="70030"/>
                  </a:lnTo>
                  <a:lnTo>
                    <a:pt x="2152830" y="70030"/>
                  </a:lnTo>
                  <a:lnTo>
                    <a:pt x="2155977" y="69636"/>
                  </a:lnTo>
                  <a:lnTo>
                    <a:pt x="2158731" y="68850"/>
                  </a:lnTo>
                  <a:lnTo>
                    <a:pt x="2161485" y="67669"/>
                  </a:lnTo>
                  <a:lnTo>
                    <a:pt x="2158338" y="66096"/>
                  </a:lnTo>
                  <a:lnTo>
                    <a:pt x="2155584" y="66489"/>
                  </a:lnTo>
                  <a:lnTo>
                    <a:pt x="2152830" y="67669"/>
                  </a:lnTo>
                  <a:lnTo>
                    <a:pt x="2149682" y="68850"/>
                  </a:lnTo>
                  <a:lnTo>
                    <a:pt x="2154403" y="56260"/>
                  </a:lnTo>
                  <a:lnTo>
                    <a:pt x="2155190" y="51145"/>
                  </a:lnTo>
                  <a:lnTo>
                    <a:pt x="2156764" y="51539"/>
                  </a:lnTo>
                  <a:lnTo>
                    <a:pt x="2159911" y="52719"/>
                  </a:lnTo>
                  <a:lnTo>
                    <a:pt x="2163059" y="52326"/>
                  </a:lnTo>
                  <a:lnTo>
                    <a:pt x="2166206" y="51932"/>
                  </a:lnTo>
                  <a:lnTo>
                    <a:pt x="2168960" y="51539"/>
                  </a:lnTo>
                  <a:lnTo>
                    <a:pt x="2167780" y="48785"/>
                  </a:lnTo>
                  <a:lnTo>
                    <a:pt x="2169747" y="46031"/>
                  </a:lnTo>
                  <a:lnTo>
                    <a:pt x="2166993" y="45637"/>
                  </a:lnTo>
                  <a:lnTo>
                    <a:pt x="2161878" y="47211"/>
                  </a:lnTo>
                  <a:lnTo>
                    <a:pt x="2158731" y="47211"/>
                  </a:lnTo>
                  <a:lnTo>
                    <a:pt x="2161485" y="45637"/>
                  </a:lnTo>
                  <a:lnTo>
                    <a:pt x="2161878" y="42490"/>
                  </a:lnTo>
                  <a:lnTo>
                    <a:pt x="2158731" y="41703"/>
                  </a:lnTo>
                  <a:lnTo>
                    <a:pt x="2161878" y="39343"/>
                  </a:lnTo>
                  <a:lnTo>
                    <a:pt x="2159124" y="36589"/>
                  </a:lnTo>
                  <a:lnTo>
                    <a:pt x="2155977" y="36195"/>
                  </a:lnTo>
                  <a:lnTo>
                    <a:pt x="2157551" y="33441"/>
                  </a:lnTo>
                  <a:lnTo>
                    <a:pt x="2155977" y="33048"/>
                  </a:lnTo>
                  <a:lnTo>
                    <a:pt x="2155584" y="31868"/>
                  </a:lnTo>
                  <a:lnTo>
                    <a:pt x="2155977" y="31868"/>
                  </a:lnTo>
                  <a:lnTo>
                    <a:pt x="2158338" y="29114"/>
                  </a:lnTo>
                  <a:lnTo>
                    <a:pt x="2161092" y="26753"/>
                  </a:lnTo>
                  <a:lnTo>
                    <a:pt x="2163846" y="23999"/>
                  </a:lnTo>
                  <a:lnTo>
                    <a:pt x="2165419" y="21245"/>
                  </a:lnTo>
                  <a:lnTo>
                    <a:pt x="2166993" y="18491"/>
                  </a:lnTo>
                  <a:lnTo>
                    <a:pt x="2165026" y="15344"/>
                  </a:lnTo>
                  <a:lnTo>
                    <a:pt x="2161878" y="12983"/>
                  </a:lnTo>
                  <a:lnTo>
                    <a:pt x="2158731" y="11016"/>
                  </a:lnTo>
                  <a:lnTo>
                    <a:pt x="2161878" y="8262"/>
                  </a:lnTo>
                  <a:lnTo>
                    <a:pt x="2158731" y="7475"/>
                  </a:lnTo>
                  <a:lnTo>
                    <a:pt x="2155977" y="6688"/>
                  </a:lnTo>
                  <a:lnTo>
                    <a:pt x="2152436" y="6688"/>
                  </a:lnTo>
                  <a:lnTo>
                    <a:pt x="2150076" y="7869"/>
                  </a:lnTo>
                  <a:lnTo>
                    <a:pt x="2149289" y="4328"/>
                  </a:lnTo>
                  <a:lnTo>
                    <a:pt x="2152043" y="2754"/>
                  </a:lnTo>
                  <a:lnTo>
                    <a:pt x="2149289" y="393"/>
                  </a:lnTo>
                  <a:lnTo>
                    <a:pt x="2148895" y="393"/>
                  </a:lnTo>
                  <a:lnTo>
                    <a:pt x="2146141" y="0"/>
                  </a:lnTo>
                  <a:lnTo>
                    <a:pt x="2143387" y="0"/>
                  </a:lnTo>
                  <a:lnTo>
                    <a:pt x="2140633" y="393"/>
                  </a:lnTo>
                  <a:lnTo>
                    <a:pt x="2137486" y="787"/>
                  </a:lnTo>
                  <a:lnTo>
                    <a:pt x="2134732" y="2361"/>
                  </a:lnTo>
                  <a:lnTo>
                    <a:pt x="2137880" y="3934"/>
                  </a:lnTo>
                  <a:lnTo>
                    <a:pt x="2138666" y="3934"/>
                  </a:lnTo>
                  <a:lnTo>
                    <a:pt x="2137880" y="4328"/>
                  </a:lnTo>
                  <a:lnTo>
                    <a:pt x="2137880" y="4328"/>
                  </a:lnTo>
                  <a:lnTo>
                    <a:pt x="2134732" y="4721"/>
                  </a:lnTo>
                  <a:lnTo>
                    <a:pt x="2131978" y="5901"/>
                  </a:lnTo>
                  <a:lnTo>
                    <a:pt x="2129617" y="7869"/>
                  </a:lnTo>
                  <a:lnTo>
                    <a:pt x="2129224" y="7869"/>
                  </a:lnTo>
                  <a:lnTo>
                    <a:pt x="2126470" y="7869"/>
                  </a:lnTo>
                  <a:lnTo>
                    <a:pt x="2123716" y="8262"/>
                  </a:lnTo>
                  <a:lnTo>
                    <a:pt x="2120569" y="8655"/>
                  </a:lnTo>
                  <a:lnTo>
                    <a:pt x="2117421" y="10229"/>
                  </a:lnTo>
                  <a:lnTo>
                    <a:pt x="2114667" y="10622"/>
                  </a:lnTo>
                  <a:lnTo>
                    <a:pt x="2110733" y="11803"/>
                  </a:lnTo>
                  <a:lnTo>
                    <a:pt x="2113093" y="12983"/>
                  </a:lnTo>
                  <a:lnTo>
                    <a:pt x="2105225" y="15737"/>
                  </a:lnTo>
                  <a:lnTo>
                    <a:pt x="2102864" y="15737"/>
                  </a:lnTo>
                  <a:lnTo>
                    <a:pt x="2099717" y="16524"/>
                  </a:lnTo>
                  <a:lnTo>
                    <a:pt x="2096963" y="18098"/>
                  </a:lnTo>
                  <a:lnTo>
                    <a:pt x="2093816" y="18491"/>
                  </a:lnTo>
                  <a:lnTo>
                    <a:pt x="2091062" y="18884"/>
                  </a:lnTo>
                  <a:lnTo>
                    <a:pt x="2089881" y="21638"/>
                  </a:lnTo>
                  <a:lnTo>
                    <a:pt x="2086734" y="22425"/>
                  </a:lnTo>
                  <a:lnTo>
                    <a:pt x="2085160" y="25179"/>
                  </a:lnTo>
                  <a:lnTo>
                    <a:pt x="2082406" y="27146"/>
                  </a:lnTo>
                  <a:lnTo>
                    <a:pt x="2079259" y="29114"/>
                  </a:lnTo>
                  <a:lnTo>
                    <a:pt x="2076505" y="30687"/>
                  </a:lnTo>
                  <a:lnTo>
                    <a:pt x="2077292" y="33835"/>
                  </a:lnTo>
                  <a:lnTo>
                    <a:pt x="2078865" y="36589"/>
                  </a:lnTo>
                  <a:lnTo>
                    <a:pt x="2080833" y="36195"/>
                  </a:lnTo>
                  <a:lnTo>
                    <a:pt x="2078079" y="38556"/>
                  </a:lnTo>
                  <a:lnTo>
                    <a:pt x="2076111" y="38949"/>
                  </a:lnTo>
                  <a:lnTo>
                    <a:pt x="2073357" y="40523"/>
                  </a:lnTo>
                  <a:lnTo>
                    <a:pt x="2070210" y="42883"/>
                  </a:lnTo>
                  <a:lnTo>
                    <a:pt x="2067456" y="43277"/>
                  </a:lnTo>
                  <a:lnTo>
                    <a:pt x="2064702" y="44851"/>
                  </a:lnTo>
                  <a:lnTo>
                    <a:pt x="2061555" y="47211"/>
                  </a:lnTo>
                  <a:lnTo>
                    <a:pt x="2059194" y="49965"/>
                  </a:lnTo>
                  <a:lnTo>
                    <a:pt x="2058801" y="52719"/>
                  </a:lnTo>
                  <a:lnTo>
                    <a:pt x="2059194" y="54293"/>
                  </a:lnTo>
                  <a:lnTo>
                    <a:pt x="2061948" y="55473"/>
                  </a:lnTo>
                  <a:lnTo>
                    <a:pt x="2059194" y="57834"/>
                  </a:lnTo>
                  <a:lnTo>
                    <a:pt x="2061948" y="60194"/>
                  </a:lnTo>
                  <a:lnTo>
                    <a:pt x="2067849" y="60194"/>
                  </a:lnTo>
                  <a:lnTo>
                    <a:pt x="2070210" y="63342"/>
                  </a:lnTo>
                  <a:lnTo>
                    <a:pt x="2072964" y="64129"/>
                  </a:lnTo>
                  <a:lnTo>
                    <a:pt x="2076111" y="65309"/>
                  </a:lnTo>
                  <a:lnTo>
                    <a:pt x="2078865" y="66489"/>
                  </a:lnTo>
                  <a:lnTo>
                    <a:pt x="2082013" y="66096"/>
                  </a:lnTo>
                  <a:lnTo>
                    <a:pt x="2084767" y="63735"/>
                  </a:lnTo>
                  <a:lnTo>
                    <a:pt x="2085554" y="64129"/>
                  </a:lnTo>
                  <a:lnTo>
                    <a:pt x="2086734" y="66489"/>
                  </a:lnTo>
                  <a:lnTo>
                    <a:pt x="2087127" y="69243"/>
                  </a:lnTo>
                  <a:lnTo>
                    <a:pt x="2090275" y="70423"/>
                  </a:lnTo>
                  <a:lnTo>
                    <a:pt x="2096176" y="70423"/>
                  </a:lnTo>
                  <a:lnTo>
                    <a:pt x="2098143" y="69243"/>
                  </a:lnTo>
                  <a:lnTo>
                    <a:pt x="2103651" y="71210"/>
                  </a:lnTo>
                  <a:lnTo>
                    <a:pt x="2101684" y="71997"/>
                  </a:lnTo>
                  <a:lnTo>
                    <a:pt x="2104832" y="72390"/>
                  </a:lnTo>
                  <a:lnTo>
                    <a:pt x="2106405" y="71997"/>
                  </a:lnTo>
                  <a:lnTo>
                    <a:pt x="2102864" y="74751"/>
                  </a:lnTo>
                  <a:lnTo>
                    <a:pt x="2100110" y="75538"/>
                  </a:lnTo>
                  <a:lnTo>
                    <a:pt x="2097356" y="77112"/>
                  </a:lnTo>
                  <a:lnTo>
                    <a:pt x="2094603" y="77898"/>
                  </a:lnTo>
                  <a:lnTo>
                    <a:pt x="2091849" y="79079"/>
                  </a:lnTo>
                  <a:lnTo>
                    <a:pt x="2093816" y="76325"/>
                  </a:lnTo>
                  <a:lnTo>
                    <a:pt x="2096570" y="75144"/>
                  </a:lnTo>
                  <a:lnTo>
                    <a:pt x="2099717" y="73571"/>
                  </a:lnTo>
                  <a:lnTo>
                    <a:pt x="2102864" y="72390"/>
                  </a:lnTo>
                  <a:lnTo>
                    <a:pt x="2099717" y="72390"/>
                  </a:lnTo>
                  <a:lnTo>
                    <a:pt x="2096963" y="73571"/>
                  </a:lnTo>
                  <a:lnTo>
                    <a:pt x="2094209" y="73571"/>
                  </a:lnTo>
                  <a:lnTo>
                    <a:pt x="2091062" y="73964"/>
                  </a:lnTo>
                  <a:lnTo>
                    <a:pt x="2087914" y="74358"/>
                  </a:lnTo>
                  <a:lnTo>
                    <a:pt x="2084767" y="74751"/>
                  </a:lnTo>
                  <a:lnTo>
                    <a:pt x="2082406" y="77505"/>
                  </a:lnTo>
                  <a:lnTo>
                    <a:pt x="2085947" y="79472"/>
                  </a:lnTo>
                  <a:lnTo>
                    <a:pt x="2082406" y="80652"/>
                  </a:lnTo>
                  <a:lnTo>
                    <a:pt x="2079259" y="83013"/>
                  </a:lnTo>
                  <a:lnTo>
                    <a:pt x="2076111" y="83406"/>
                  </a:lnTo>
                  <a:lnTo>
                    <a:pt x="2073357" y="84980"/>
                  </a:lnTo>
                  <a:lnTo>
                    <a:pt x="2070210" y="84587"/>
                  </a:lnTo>
                  <a:lnTo>
                    <a:pt x="2067849" y="87341"/>
                  </a:lnTo>
                  <a:lnTo>
                    <a:pt x="2065096" y="89308"/>
                  </a:lnTo>
                  <a:lnTo>
                    <a:pt x="2066669" y="91668"/>
                  </a:lnTo>
                  <a:lnTo>
                    <a:pt x="2081619" y="96389"/>
                  </a:lnTo>
                  <a:lnTo>
                    <a:pt x="2078865" y="97176"/>
                  </a:lnTo>
                  <a:lnTo>
                    <a:pt x="2075325" y="98357"/>
                  </a:lnTo>
                  <a:lnTo>
                    <a:pt x="2072571" y="99143"/>
                  </a:lnTo>
                  <a:lnTo>
                    <a:pt x="2069030" y="99537"/>
                  </a:lnTo>
                  <a:lnTo>
                    <a:pt x="2066276" y="100324"/>
                  </a:lnTo>
                  <a:lnTo>
                    <a:pt x="2063522" y="101897"/>
                  </a:lnTo>
                  <a:lnTo>
                    <a:pt x="2060768" y="103865"/>
                  </a:lnTo>
                  <a:lnTo>
                    <a:pt x="2057620" y="105438"/>
                  </a:lnTo>
                  <a:lnTo>
                    <a:pt x="2054866" y="106225"/>
                  </a:lnTo>
                  <a:lnTo>
                    <a:pt x="2052112" y="107405"/>
                  </a:lnTo>
                  <a:lnTo>
                    <a:pt x="2048572" y="108192"/>
                  </a:lnTo>
                  <a:lnTo>
                    <a:pt x="2045818" y="109766"/>
                  </a:lnTo>
                  <a:lnTo>
                    <a:pt x="2043064" y="111340"/>
                  </a:lnTo>
                  <a:lnTo>
                    <a:pt x="2039916" y="112127"/>
                  </a:lnTo>
                  <a:lnTo>
                    <a:pt x="2036769" y="111733"/>
                  </a:lnTo>
                  <a:lnTo>
                    <a:pt x="2033621" y="111340"/>
                  </a:lnTo>
                  <a:lnTo>
                    <a:pt x="2030474" y="112127"/>
                  </a:lnTo>
                  <a:lnTo>
                    <a:pt x="2027326" y="111340"/>
                  </a:lnTo>
                  <a:lnTo>
                    <a:pt x="2024572" y="113700"/>
                  </a:lnTo>
                  <a:lnTo>
                    <a:pt x="2021425" y="115274"/>
                  </a:lnTo>
                  <a:lnTo>
                    <a:pt x="2019065" y="118028"/>
                  </a:lnTo>
                  <a:lnTo>
                    <a:pt x="2015917" y="119602"/>
                  </a:lnTo>
                  <a:lnTo>
                    <a:pt x="2013163" y="120782"/>
                  </a:lnTo>
                  <a:lnTo>
                    <a:pt x="2013557" y="123536"/>
                  </a:lnTo>
                  <a:lnTo>
                    <a:pt x="2015524" y="126683"/>
                  </a:lnTo>
                  <a:lnTo>
                    <a:pt x="2012376" y="128650"/>
                  </a:lnTo>
                  <a:lnTo>
                    <a:pt x="2010803" y="131404"/>
                  </a:lnTo>
                  <a:lnTo>
                    <a:pt x="2012376" y="134552"/>
                  </a:lnTo>
                  <a:lnTo>
                    <a:pt x="2009622" y="135339"/>
                  </a:lnTo>
                  <a:lnTo>
                    <a:pt x="2006868" y="137699"/>
                  </a:lnTo>
                  <a:lnTo>
                    <a:pt x="2004901" y="138880"/>
                  </a:lnTo>
                  <a:lnTo>
                    <a:pt x="2002147" y="144387"/>
                  </a:lnTo>
                  <a:lnTo>
                    <a:pt x="1999000" y="145961"/>
                  </a:lnTo>
                  <a:lnTo>
                    <a:pt x="1996246" y="145568"/>
                  </a:lnTo>
                  <a:lnTo>
                    <a:pt x="1995065" y="145568"/>
                  </a:lnTo>
                  <a:lnTo>
                    <a:pt x="1997033" y="144387"/>
                  </a:lnTo>
                  <a:lnTo>
                    <a:pt x="1999393" y="143994"/>
                  </a:lnTo>
                  <a:lnTo>
                    <a:pt x="2002147" y="142814"/>
                  </a:lnTo>
                  <a:lnTo>
                    <a:pt x="2002934" y="140453"/>
                  </a:lnTo>
                  <a:lnTo>
                    <a:pt x="2004508" y="137306"/>
                  </a:lnTo>
                  <a:lnTo>
                    <a:pt x="2004508" y="137306"/>
                  </a:lnTo>
                  <a:lnTo>
                    <a:pt x="2019458" y="107405"/>
                  </a:lnTo>
                  <a:lnTo>
                    <a:pt x="2022605" y="105832"/>
                  </a:lnTo>
                  <a:lnTo>
                    <a:pt x="2019458" y="106225"/>
                  </a:lnTo>
                  <a:lnTo>
                    <a:pt x="2016704" y="106619"/>
                  </a:lnTo>
                  <a:lnTo>
                    <a:pt x="2011589" y="105832"/>
                  </a:lnTo>
                  <a:lnTo>
                    <a:pt x="2011589" y="105832"/>
                  </a:lnTo>
                  <a:lnTo>
                    <a:pt x="2011196" y="105832"/>
                  </a:lnTo>
                  <a:lnTo>
                    <a:pt x="2009622" y="105438"/>
                  </a:lnTo>
                  <a:lnTo>
                    <a:pt x="2010803" y="104651"/>
                  </a:lnTo>
                  <a:lnTo>
                    <a:pt x="2008049" y="105045"/>
                  </a:lnTo>
                  <a:lnTo>
                    <a:pt x="1999000" y="103865"/>
                  </a:lnTo>
                  <a:lnTo>
                    <a:pt x="1998606" y="101504"/>
                  </a:lnTo>
                  <a:lnTo>
                    <a:pt x="1996246" y="98750"/>
                  </a:lnTo>
                  <a:lnTo>
                    <a:pt x="1993492" y="98357"/>
                  </a:lnTo>
                  <a:lnTo>
                    <a:pt x="1990345" y="99143"/>
                  </a:lnTo>
                  <a:lnTo>
                    <a:pt x="1987591" y="97570"/>
                  </a:lnTo>
                  <a:lnTo>
                    <a:pt x="1984836" y="97176"/>
                  </a:lnTo>
                  <a:lnTo>
                    <a:pt x="1983263" y="99930"/>
                  </a:lnTo>
                  <a:lnTo>
                    <a:pt x="1982082" y="101504"/>
                  </a:lnTo>
                  <a:lnTo>
                    <a:pt x="1979328" y="102684"/>
                  </a:lnTo>
                  <a:lnTo>
                    <a:pt x="1976181" y="103471"/>
                  </a:lnTo>
                  <a:lnTo>
                    <a:pt x="1973034" y="103865"/>
                  </a:lnTo>
                  <a:lnTo>
                    <a:pt x="1970280" y="101897"/>
                  </a:lnTo>
                  <a:lnTo>
                    <a:pt x="1967526" y="101897"/>
                  </a:lnTo>
                  <a:lnTo>
                    <a:pt x="1964772" y="101504"/>
                  </a:lnTo>
                  <a:lnTo>
                    <a:pt x="1964772" y="104258"/>
                  </a:lnTo>
                  <a:lnTo>
                    <a:pt x="1967132" y="107012"/>
                  </a:lnTo>
                  <a:lnTo>
                    <a:pt x="1964378" y="109766"/>
                  </a:lnTo>
                  <a:lnTo>
                    <a:pt x="1964772" y="106619"/>
                  </a:lnTo>
                  <a:lnTo>
                    <a:pt x="1962018" y="108192"/>
                  </a:lnTo>
                  <a:lnTo>
                    <a:pt x="1961624" y="110946"/>
                  </a:lnTo>
                  <a:lnTo>
                    <a:pt x="1963198" y="113700"/>
                  </a:lnTo>
                  <a:lnTo>
                    <a:pt x="1963198" y="116848"/>
                  </a:lnTo>
                  <a:lnTo>
                    <a:pt x="1966345" y="114880"/>
                  </a:lnTo>
                  <a:lnTo>
                    <a:pt x="1969099" y="113700"/>
                  </a:lnTo>
                  <a:lnTo>
                    <a:pt x="1972247" y="113307"/>
                  </a:lnTo>
                  <a:lnTo>
                    <a:pt x="1975001" y="112913"/>
                  </a:lnTo>
                  <a:lnTo>
                    <a:pt x="1978148" y="111733"/>
                  </a:lnTo>
                  <a:lnTo>
                    <a:pt x="1980115" y="114487"/>
                  </a:lnTo>
                  <a:lnTo>
                    <a:pt x="1982082" y="114880"/>
                  </a:lnTo>
                  <a:lnTo>
                    <a:pt x="1982082" y="118815"/>
                  </a:lnTo>
                  <a:lnTo>
                    <a:pt x="1980902" y="119602"/>
                  </a:lnTo>
                  <a:lnTo>
                    <a:pt x="1982082" y="121175"/>
                  </a:lnTo>
                  <a:lnTo>
                    <a:pt x="1979328" y="121569"/>
                  </a:lnTo>
                  <a:lnTo>
                    <a:pt x="1977361" y="123142"/>
                  </a:lnTo>
                  <a:lnTo>
                    <a:pt x="1974607" y="122749"/>
                  </a:lnTo>
                  <a:lnTo>
                    <a:pt x="1974607" y="122749"/>
                  </a:lnTo>
                  <a:lnTo>
                    <a:pt x="1973034" y="122749"/>
                  </a:lnTo>
                  <a:lnTo>
                    <a:pt x="1974214" y="122356"/>
                  </a:lnTo>
                  <a:lnTo>
                    <a:pt x="1977361" y="120388"/>
                  </a:lnTo>
                  <a:lnTo>
                    <a:pt x="1977361" y="119995"/>
                  </a:lnTo>
                  <a:lnTo>
                    <a:pt x="1974214" y="121175"/>
                  </a:lnTo>
                  <a:lnTo>
                    <a:pt x="1972247" y="122749"/>
                  </a:lnTo>
                  <a:lnTo>
                    <a:pt x="1966739" y="122356"/>
                  </a:lnTo>
                  <a:lnTo>
                    <a:pt x="1965558" y="121569"/>
                  </a:lnTo>
                  <a:lnTo>
                    <a:pt x="1962805" y="119602"/>
                  </a:lnTo>
                  <a:lnTo>
                    <a:pt x="1962018" y="116848"/>
                  </a:lnTo>
                  <a:lnTo>
                    <a:pt x="1961624" y="113700"/>
                  </a:lnTo>
                  <a:lnTo>
                    <a:pt x="1960051" y="110946"/>
                  </a:lnTo>
                  <a:lnTo>
                    <a:pt x="1956903" y="110946"/>
                  </a:lnTo>
                  <a:lnTo>
                    <a:pt x="1954149" y="112913"/>
                  </a:lnTo>
                  <a:lnTo>
                    <a:pt x="1954543" y="115667"/>
                  </a:lnTo>
                  <a:lnTo>
                    <a:pt x="1956903" y="118815"/>
                  </a:lnTo>
                  <a:lnTo>
                    <a:pt x="1954149" y="118815"/>
                  </a:lnTo>
                  <a:lnTo>
                    <a:pt x="1951002" y="119208"/>
                  </a:lnTo>
                  <a:lnTo>
                    <a:pt x="1947854" y="119602"/>
                  </a:lnTo>
                  <a:lnTo>
                    <a:pt x="1945101" y="119602"/>
                  </a:lnTo>
                  <a:lnTo>
                    <a:pt x="1944314" y="119995"/>
                  </a:lnTo>
                  <a:lnTo>
                    <a:pt x="1933691" y="118815"/>
                  </a:lnTo>
                  <a:lnTo>
                    <a:pt x="1933298" y="118421"/>
                  </a:lnTo>
                  <a:lnTo>
                    <a:pt x="1930150" y="118028"/>
                  </a:lnTo>
                  <a:lnTo>
                    <a:pt x="1927396" y="117634"/>
                  </a:lnTo>
                  <a:lnTo>
                    <a:pt x="1925823" y="117634"/>
                  </a:lnTo>
                  <a:lnTo>
                    <a:pt x="1921495" y="117241"/>
                  </a:lnTo>
                  <a:lnTo>
                    <a:pt x="1918741" y="116848"/>
                  </a:lnTo>
                  <a:lnTo>
                    <a:pt x="1915987" y="116454"/>
                  </a:lnTo>
                  <a:lnTo>
                    <a:pt x="1913233" y="116454"/>
                  </a:lnTo>
                  <a:lnTo>
                    <a:pt x="1910085" y="117634"/>
                  </a:lnTo>
                  <a:lnTo>
                    <a:pt x="1908118" y="118028"/>
                  </a:lnTo>
                  <a:lnTo>
                    <a:pt x="1905364" y="117241"/>
                  </a:lnTo>
                  <a:lnTo>
                    <a:pt x="1904184" y="117634"/>
                  </a:lnTo>
                  <a:lnTo>
                    <a:pt x="1854219" y="112520"/>
                  </a:lnTo>
                  <a:lnTo>
                    <a:pt x="1853826" y="112127"/>
                  </a:lnTo>
                  <a:lnTo>
                    <a:pt x="1856186" y="108979"/>
                  </a:lnTo>
                  <a:lnTo>
                    <a:pt x="1853432" y="108192"/>
                  </a:lnTo>
                  <a:lnTo>
                    <a:pt x="1850678" y="110553"/>
                  </a:lnTo>
                  <a:lnTo>
                    <a:pt x="1847924" y="110553"/>
                  </a:lnTo>
                  <a:lnTo>
                    <a:pt x="1844777" y="111340"/>
                  </a:lnTo>
                  <a:lnTo>
                    <a:pt x="1843990" y="111340"/>
                  </a:lnTo>
                  <a:lnTo>
                    <a:pt x="1840449" y="110946"/>
                  </a:lnTo>
                  <a:lnTo>
                    <a:pt x="1835728" y="111733"/>
                  </a:lnTo>
                  <a:lnTo>
                    <a:pt x="1832580" y="110946"/>
                  </a:lnTo>
                  <a:lnTo>
                    <a:pt x="1829826" y="111340"/>
                  </a:lnTo>
                  <a:lnTo>
                    <a:pt x="1829433" y="108586"/>
                  </a:lnTo>
                  <a:lnTo>
                    <a:pt x="1832187" y="105438"/>
                  </a:lnTo>
                  <a:lnTo>
                    <a:pt x="1829040" y="105045"/>
                  </a:lnTo>
                  <a:lnTo>
                    <a:pt x="1826286" y="105438"/>
                  </a:lnTo>
                  <a:lnTo>
                    <a:pt x="1829040" y="103078"/>
                  </a:lnTo>
                  <a:lnTo>
                    <a:pt x="1826286" y="103471"/>
                  </a:lnTo>
                  <a:lnTo>
                    <a:pt x="1823138" y="105045"/>
                  </a:lnTo>
                  <a:lnTo>
                    <a:pt x="1820384" y="103078"/>
                  </a:lnTo>
                  <a:lnTo>
                    <a:pt x="1817237" y="100717"/>
                  </a:lnTo>
                  <a:lnTo>
                    <a:pt x="1820384" y="98750"/>
                  </a:lnTo>
                  <a:lnTo>
                    <a:pt x="1823138" y="98750"/>
                  </a:lnTo>
                  <a:lnTo>
                    <a:pt x="1823532" y="95603"/>
                  </a:lnTo>
                  <a:lnTo>
                    <a:pt x="1824712" y="92849"/>
                  </a:lnTo>
                  <a:lnTo>
                    <a:pt x="1826286" y="90095"/>
                  </a:lnTo>
                  <a:lnTo>
                    <a:pt x="1824712" y="86947"/>
                  </a:lnTo>
                  <a:lnTo>
                    <a:pt x="1821565" y="86947"/>
                  </a:lnTo>
                  <a:lnTo>
                    <a:pt x="1818810" y="85374"/>
                  </a:lnTo>
                  <a:lnTo>
                    <a:pt x="1815663" y="85767"/>
                  </a:lnTo>
                  <a:lnTo>
                    <a:pt x="1812909" y="86554"/>
                  </a:lnTo>
                  <a:lnTo>
                    <a:pt x="1809762" y="86947"/>
                  </a:lnTo>
                  <a:lnTo>
                    <a:pt x="1807008" y="87341"/>
                  </a:lnTo>
                  <a:lnTo>
                    <a:pt x="1803860" y="88128"/>
                  </a:lnTo>
                  <a:lnTo>
                    <a:pt x="1801106" y="88128"/>
                  </a:lnTo>
                  <a:lnTo>
                    <a:pt x="1797959" y="88521"/>
                  </a:lnTo>
                  <a:lnTo>
                    <a:pt x="1795205" y="88914"/>
                  </a:lnTo>
                  <a:lnTo>
                    <a:pt x="1792451" y="89701"/>
                  </a:lnTo>
                  <a:lnTo>
                    <a:pt x="1789303" y="90095"/>
                  </a:lnTo>
                  <a:lnTo>
                    <a:pt x="1786549" y="90881"/>
                  </a:lnTo>
                  <a:lnTo>
                    <a:pt x="1783796" y="91275"/>
                  </a:lnTo>
                  <a:lnTo>
                    <a:pt x="1780648" y="91668"/>
                  </a:lnTo>
                  <a:lnTo>
                    <a:pt x="1777894" y="92062"/>
                  </a:lnTo>
                  <a:lnTo>
                    <a:pt x="1774747" y="92455"/>
                  </a:lnTo>
                  <a:lnTo>
                    <a:pt x="1771993" y="92849"/>
                  </a:lnTo>
                  <a:lnTo>
                    <a:pt x="1769239" y="92849"/>
                  </a:lnTo>
                  <a:lnTo>
                    <a:pt x="1766091" y="93242"/>
                  </a:lnTo>
                  <a:lnTo>
                    <a:pt x="1763337" y="93635"/>
                  </a:lnTo>
                  <a:lnTo>
                    <a:pt x="1760190" y="94422"/>
                  </a:lnTo>
                  <a:lnTo>
                    <a:pt x="1757042" y="95996"/>
                  </a:lnTo>
                  <a:lnTo>
                    <a:pt x="1753895" y="97570"/>
                  </a:lnTo>
                  <a:lnTo>
                    <a:pt x="1750748" y="99143"/>
                  </a:lnTo>
                  <a:lnTo>
                    <a:pt x="1747994" y="100324"/>
                  </a:lnTo>
                  <a:lnTo>
                    <a:pt x="1745240" y="101111"/>
                  </a:lnTo>
                  <a:lnTo>
                    <a:pt x="1742092" y="102684"/>
                  </a:lnTo>
                  <a:lnTo>
                    <a:pt x="1744846" y="103471"/>
                  </a:lnTo>
                  <a:lnTo>
                    <a:pt x="1747994" y="102684"/>
                  </a:lnTo>
                  <a:lnTo>
                    <a:pt x="1746420" y="105438"/>
                  </a:lnTo>
                  <a:lnTo>
                    <a:pt x="1749174" y="104258"/>
                  </a:lnTo>
                  <a:lnTo>
                    <a:pt x="1746420" y="106225"/>
                  </a:lnTo>
                  <a:lnTo>
                    <a:pt x="1749174" y="106619"/>
                  </a:lnTo>
                  <a:lnTo>
                    <a:pt x="1751928" y="105832"/>
                  </a:lnTo>
                  <a:lnTo>
                    <a:pt x="1755075" y="105832"/>
                  </a:lnTo>
                  <a:lnTo>
                    <a:pt x="1757829" y="106225"/>
                  </a:lnTo>
                  <a:lnTo>
                    <a:pt x="1760977" y="105438"/>
                  </a:lnTo>
                  <a:lnTo>
                    <a:pt x="1763731" y="105832"/>
                  </a:lnTo>
                  <a:lnTo>
                    <a:pt x="1760977" y="103078"/>
                  </a:lnTo>
                  <a:lnTo>
                    <a:pt x="1764124" y="101111"/>
                  </a:lnTo>
                  <a:lnTo>
                    <a:pt x="1767272" y="101111"/>
                  </a:lnTo>
                  <a:lnTo>
                    <a:pt x="1770026" y="100717"/>
                  </a:lnTo>
                  <a:lnTo>
                    <a:pt x="1773173" y="101504"/>
                  </a:lnTo>
                  <a:lnTo>
                    <a:pt x="1775927" y="103078"/>
                  </a:lnTo>
                  <a:lnTo>
                    <a:pt x="1779074" y="101897"/>
                  </a:lnTo>
                  <a:lnTo>
                    <a:pt x="1781829" y="101111"/>
                  </a:lnTo>
                  <a:lnTo>
                    <a:pt x="1784976" y="99930"/>
                  </a:lnTo>
                  <a:lnTo>
                    <a:pt x="1787730" y="99930"/>
                  </a:lnTo>
                  <a:lnTo>
                    <a:pt x="1790484" y="100717"/>
                  </a:lnTo>
                  <a:lnTo>
                    <a:pt x="1793631" y="100324"/>
                  </a:lnTo>
                  <a:lnTo>
                    <a:pt x="1794025" y="97570"/>
                  </a:lnTo>
                  <a:lnTo>
                    <a:pt x="1797172" y="97570"/>
                  </a:lnTo>
                  <a:lnTo>
                    <a:pt x="1799926" y="96389"/>
                  </a:lnTo>
                  <a:lnTo>
                    <a:pt x="1802680" y="94816"/>
                  </a:lnTo>
                  <a:lnTo>
                    <a:pt x="1805827" y="94422"/>
                  </a:lnTo>
                  <a:lnTo>
                    <a:pt x="1808581" y="94029"/>
                  </a:lnTo>
                  <a:lnTo>
                    <a:pt x="1811336" y="93242"/>
                  </a:lnTo>
                  <a:lnTo>
                    <a:pt x="1814089" y="92849"/>
                  </a:lnTo>
                  <a:lnTo>
                    <a:pt x="1817237" y="93242"/>
                  </a:lnTo>
                  <a:lnTo>
                    <a:pt x="1819991" y="92849"/>
                  </a:lnTo>
                  <a:lnTo>
                    <a:pt x="1816843" y="94816"/>
                  </a:lnTo>
                  <a:lnTo>
                    <a:pt x="1814483" y="97570"/>
                  </a:lnTo>
                  <a:lnTo>
                    <a:pt x="1811729" y="99143"/>
                  </a:lnTo>
                  <a:lnTo>
                    <a:pt x="1808581" y="99143"/>
                  </a:lnTo>
                  <a:lnTo>
                    <a:pt x="1805827" y="99537"/>
                  </a:lnTo>
                  <a:lnTo>
                    <a:pt x="1799926" y="102291"/>
                  </a:lnTo>
                  <a:lnTo>
                    <a:pt x="1796779" y="101897"/>
                  </a:lnTo>
                  <a:lnTo>
                    <a:pt x="1793631" y="103078"/>
                  </a:lnTo>
                  <a:lnTo>
                    <a:pt x="1790877" y="103471"/>
                  </a:lnTo>
                  <a:lnTo>
                    <a:pt x="1788123" y="105832"/>
                  </a:lnTo>
                  <a:lnTo>
                    <a:pt x="1785369" y="105832"/>
                  </a:lnTo>
                  <a:lnTo>
                    <a:pt x="1782222" y="108192"/>
                  </a:lnTo>
                  <a:lnTo>
                    <a:pt x="1779074" y="108979"/>
                  </a:lnTo>
                  <a:lnTo>
                    <a:pt x="1777894" y="110159"/>
                  </a:lnTo>
                  <a:lnTo>
                    <a:pt x="1774747" y="109766"/>
                  </a:lnTo>
                  <a:lnTo>
                    <a:pt x="1771993" y="110159"/>
                  </a:lnTo>
                  <a:lnTo>
                    <a:pt x="1768845" y="109766"/>
                  </a:lnTo>
                  <a:lnTo>
                    <a:pt x="1766091" y="110553"/>
                  </a:lnTo>
                  <a:lnTo>
                    <a:pt x="1762944" y="111340"/>
                  </a:lnTo>
                  <a:lnTo>
                    <a:pt x="1756649" y="111340"/>
                  </a:lnTo>
                  <a:lnTo>
                    <a:pt x="1753895" y="112127"/>
                  </a:lnTo>
                  <a:lnTo>
                    <a:pt x="1751141" y="112520"/>
                  </a:lnTo>
                  <a:lnTo>
                    <a:pt x="1753895" y="111340"/>
                  </a:lnTo>
                  <a:lnTo>
                    <a:pt x="1751141" y="110946"/>
                  </a:lnTo>
                  <a:lnTo>
                    <a:pt x="1749961" y="113700"/>
                  </a:lnTo>
                  <a:lnTo>
                    <a:pt x="1753108" y="114094"/>
                  </a:lnTo>
                  <a:lnTo>
                    <a:pt x="1749961" y="115667"/>
                  </a:lnTo>
                  <a:lnTo>
                    <a:pt x="1747207" y="116061"/>
                  </a:lnTo>
                  <a:lnTo>
                    <a:pt x="1744453" y="116454"/>
                  </a:lnTo>
                  <a:lnTo>
                    <a:pt x="1741699" y="118028"/>
                  </a:lnTo>
                  <a:lnTo>
                    <a:pt x="1738945" y="120388"/>
                  </a:lnTo>
                  <a:lnTo>
                    <a:pt x="1739338" y="122749"/>
                  </a:lnTo>
                  <a:lnTo>
                    <a:pt x="1733044" y="127470"/>
                  </a:lnTo>
                  <a:lnTo>
                    <a:pt x="1731076" y="128257"/>
                  </a:lnTo>
                  <a:lnTo>
                    <a:pt x="1728322" y="131011"/>
                  </a:lnTo>
                  <a:lnTo>
                    <a:pt x="1725962" y="132585"/>
                  </a:lnTo>
                  <a:lnTo>
                    <a:pt x="1723208" y="129831"/>
                  </a:lnTo>
                  <a:lnTo>
                    <a:pt x="1720454" y="129437"/>
                  </a:lnTo>
                  <a:lnTo>
                    <a:pt x="1717700" y="131011"/>
                  </a:lnTo>
                  <a:lnTo>
                    <a:pt x="1721634" y="125503"/>
                  </a:lnTo>
                  <a:lnTo>
                    <a:pt x="1718880" y="124323"/>
                  </a:lnTo>
                  <a:lnTo>
                    <a:pt x="1716126" y="127470"/>
                  </a:lnTo>
                  <a:lnTo>
                    <a:pt x="1712979" y="129831"/>
                  </a:lnTo>
                  <a:lnTo>
                    <a:pt x="1710225" y="131404"/>
                  </a:lnTo>
                  <a:lnTo>
                    <a:pt x="1709438" y="129831"/>
                  </a:lnTo>
                  <a:lnTo>
                    <a:pt x="1709438" y="127470"/>
                  </a:lnTo>
                  <a:lnTo>
                    <a:pt x="1712585" y="126683"/>
                  </a:lnTo>
                  <a:lnTo>
                    <a:pt x="1714159" y="123536"/>
                  </a:lnTo>
                  <a:lnTo>
                    <a:pt x="1714552" y="120782"/>
                  </a:lnTo>
                  <a:lnTo>
                    <a:pt x="1711405" y="120388"/>
                  </a:lnTo>
                  <a:lnTo>
                    <a:pt x="1708651" y="119995"/>
                  </a:lnTo>
                  <a:lnTo>
                    <a:pt x="1705504" y="120388"/>
                  </a:lnTo>
                  <a:lnTo>
                    <a:pt x="1703143" y="121175"/>
                  </a:lnTo>
                  <a:lnTo>
                    <a:pt x="1702750" y="120782"/>
                  </a:lnTo>
                  <a:lnTo>
                    <a:pt x="1703143" y="118421"/>
                  </a:lnTo>
                  <a:lnTo>
                    <a:pt x="1700389" y="116061"/>
                  </a:lnTo>
                  <a:lnTo>
                    <a:pt x="1698815" y="116848"/>
                  </a:lnTo>
                  <a:lnTo>
                    <a:pt x="1699209" y="116454"/>
                  </a:lnTo>
                  <a:lnTo>
                    <a:pt x="1701963" y="114487"/>
                  </a:lnTo>
                  <a:lnTo>
                    <a:pt x="1702356" y="113307"/>
                  </a:lnTo>
                  <a:lnTo>
                    <a:pt x="1699209" y="112913"/>
                  </a:lnTo>
                  <a:lnTo>
                    <a:pt x="1697635" y="114094"/>
                  </a:lnTo>
                  <a:lnTo>
                    <a:pt x="1694094" y="114487"/>
                  </a:lnTo>
                  <a:lnTo>
                    <a:pt x="1693308" y="114094"/>
                  </a:lnTo>
                  <a:lnTo>
                    <a:pt x="1690160" y="114487"/>
                  </a:lnTo>
                  <a:lnTo>
                    <a:pt x="1687013" y="115667"/>
                  </a:lnTo>
                  <a:lnTo>
                    <a:pt x="1685832" y="116061"/>
                  </a:lnTo>
                  <a:lnTo>
                    <a:pt x="1670882" y="118421"/>
                  </a:lnTo>
                  <a:lnTo>
                    <a:pt x="1672456" y="117241"/>
                  </a:lnTo>
                  <a:lnTo>
                    <a:pt x="1669308" y="117634"/>
                  </a:lnTo>
                  <a:lnTo>
                    <a:pt x="1666161" y="118421"/>
                  </a:lnTo>
                  <a:lnTo>
                    <a:pt x="1664587" y="119208"/>
                  </a:lnTo>
                  <a:lnTo>
                    <a:pt x="1660653" y="119995"/>
                  </a:lnTo>
                  <a:lnTo>
                    <a:pt x="1660260" y="119995"/>
                  </a:lnTo>
                  <a:lnTo>
                    <a:pt x="1657506" y="120388"/>
                  </a:lnTo>
                  <a:lnTo>
                    <a:pt x="1654358" y="119995"/>
                  </a:lnTo>
                  <a:lnTo>
                    <a:pt x="1651604" y="121962"/>
                  </a:lnTo>
                  <a:lnTo>
                    <a:pt x="1651211" y="121962"/>
                  </a:lnTo>
                  <a:lnTo>
                    <a:pt x="1648064" y="120388"/>
                  </a:lnTo>
                  <a:lnTo>
                    <a:pt x="1642555" y="120388"/>
                  </a:lnTo>
                  <a:lnTo>
                    <a:pt x="1640588" y="121175"/>
                  </a:lnTo>
                  <a:lnTo>
                    <a:pt x="1593377" y="118815"/>
                  </a:lnTo>
                  <a:lnTo>
                    <a:pt x="1591410" y="117634"/>
                  </a:lnTo>
                  <a:lnTo>
                    <a:pt x="1588656" y="118028"/>
                  </a:lnTo>
                  <a:lnTo>
                    <a:pt x="1587082" y="118028"/>
                  </a:lnTo>
                  <a:lnTo>
                    <a:pt x="1583935" y="118028"/>
                  </a:lnTo>
                  <a:lnTo>
                    <a:pt x="1599279" y="107799"/>
                  </a:lnTo>
                  <a:lnTo>
                    <a:pt x="1600065" y="107799"/>
                  </a:lnTo>
                  <a:lnTo>
                    <a:pt x="1603213" y="106619"/>
                  </a:lnTo>
                  <a:lnTo>
                    <a:pt x="1603213" y="106225"/>
                  </a:lnTo>
                  <a:lnTo>
                    <a:pt x="1605967" y="105832"/>
                  </a:lnTo>
                  <a:lnTo>
                    <a:pt x="1609114" y="106225"/>
                  </a:lnTo>
                  <a:lnTo>
                    <a:pt x="1611868" y="105832"/>
                  </a:lnTo>
                  <a:lnTo>
                    <a:pt x="1615016" y="107012"/>
                  </a:lnTo>
                  <a:lnTo>
                    <a:pt x="1617770" y="106225"/>
                  </a:lnTo>
                  <a:lnTo>
                    <a:pt x="1620917" y="106619"/>
                  </a:lnTo>
                  <a:lnTo>
                    <a:pt x="1623671" y="104258"/>
                  </a:lnTo>
                  <a:lnTo>
                    <a:pt x="1626818" y="103078"/>
                  </a:lnTo>
                  <a:lnTo>
                    <a:pt x="1627605" y="99930"/>
                  </a:lnTo>
                  <a:lnTo>
                    <a:pt x="1627999" y="97176"/>
                  </a:lnTo>
                  <a:lnTo>
                    <a:pt x="1624851" y="95996"/>
                  </a:lnTo>
                  <a:lnTo>
                    <a:pt x="1625245" y="93242"/>
                  </a:lnTo>
                  <a:lnTo>
                    <a:pt x="1622491" y="92455"/>
                  </a:lnTo>
                  <a:lnTo>
                    <a:pt x="1620130" y="89308"/>
                  </a:lnTo>
                  <a:lnTo>
                    <a:pt x="1617376" y="89308"/>
                  </a:lnTo>
                  <a:lnTo>
                    <a:pt x="1614622" y="87734"/>
                  </a:lnTo>
                  <a:lnTo>
                    <a:pt x="1611475" y="86554"/>
                  </a:lnTo>
                  <a:lnTo>
                    <a:pt x="1608327" y="86160"/>
                  </a:lnTo>
                  <a:lnTo>
                    <a:pt x="1605573" y="85374"/>
                  </a:lnTo>
                  <a:lnTo>
                    <a:pt x="1602426" y="87341"/>
                  </a:lnTo>
                  <a:lnTo>
                    <a:pt x="1599672" y="86554"/>
                  </a:lnTo>
                  <a:lnTo>
                    <a:pt x="1596918" y="85767"/>
                  </a:lnTo>
                  <a:lnTo>
                    <a:pt x="1593770" y="86160"/>
                  </a:lnTo>
                  <a:lnTo>
                    <a:pt x="1595344" y="88914"/>
                  </a:lnTo>
                  <a:lnTo>
                    <a:pt x="1592590" y="90095"/>
                  </a:lnTo>
                  <a:lnTo>
                    <a:pt x="1589836" y="88521"/>
                  </a:lnTo>
                  <a:lnTo>
                    <a:pt x="1586689" y="89308"/>
                  </a:lnTo>
                  <a:lnTo>
                    <a:pt x="1583935" y="88914"/>
                  </a:lnTo>
                  <a:lnTo>
                    <a:pt x="1580787" y="88521"/>
                  </a:lnTo>
                  <a:lnTo>
                    <a:pt x="1578033" y="88128"/>
                  </a:lnTo>
                  <a:lnTo>
                    <a:pt x="1575280" y="88521"/>
                  </a:lnTo>
                  <a:lnTo>
                    <a:pt x="1572132" y="88128"/>
                  </a:lnTo>
                  <a:lnTo>
                    <a:pt x="1569378" y="86554"/>
                  </a:lnTo>
                  <a:lnTo>
                    <a:pt x="1566231" y="86160"/>
                  </a:lnTo>
                  <a:lnTo>
                    <a:pt x="1563083" y="85767"/>
                  </a:lnTo>
                  <a:lnTo>
                    <a:pt x="1560329" y="85374"/>
                  </a:lnTo>
                  <a:lnTo>
                    <a:pt x="1557182" y="83800"/>
                  </a:lnTo>
                  <a:lnTo>
                    <a:pt x="1554428" y="82620"/>
                  </a:lnTo>
                  <a:lnTo>
                    <a:pt x="1552067" y="79866"/>
                  </a:lnTo>
                  <a:lnTo>
                    <a:pt x="1549313" y="78292"/>
                  </a:lnTo>
                  <a:lnTo>
                    <a:pt x="1545773" y="77898"/>
                  </a:lnTo>
                  <a:lnTo>
                    <a:pt x="1543019" y="77112"/>
                  </a:lnTo>
                  <a:lnTo>
                    <a:pt x="1539871" y="76718"/>
                  </a:lnTo>
                  <a:lnTo>
                    <a:pt x="1536724" y="76325"/>
                  </a:lnTo>
                  <a:lnTo>
                    <a:pt x="1533576" y="75931"/>
                  </a:lnTo>
                  <a:lnTo>
                    <a:pt x="1530429" y="75538"/>
                  </a:lnTo>
                  <a:lnTo>
                    <a:pt x="1527675" y="75538"/>
                  </a:lnTo>
                  <a:lnTo>
                    <a:pt x="1526888" y="75144"/>
                  </a:lnTo>
                  <a:lnTo>
                    <a:pt x="1523741" y="73964"/>
                  </a:lnTo>
                  <a:lnTo>
                    <a:pt x="1520987" y="71604"/>
                  </a:lnTo>
                  <a:lnTo>
                    <a:pt x="1518626" y="68850"/>
                  </a:lnTo>
                  <a:lnTo>
                    <a:pt x="1515479" y="66489"/>
                  </a:lnTo>
                  <a:lnTo>
                    <a:pt x="1512725" y="64915"/>
                  </a:lnTo>
                  <a:lnTo>
                    <a:pt x="1509971" y="63342"/>
                  </a:lnTo>
                  <a:lnTo>
                    <a:pt x="1506823" y="62948"/>
                  </a:lnTo>
                  <a:lnTo>
                    <a:pt x="1503676" y="62161"/>
                  </a:lnTo>
                  <a:lnTo>
                    <a:pt x="1500922" y="61768"/>
                  </a:lnTo>
                  <a:lnTo>
                    <a:pt x="1497381" y="61768"/>
                  </a:lnTo>
                  <a:lnTo>
                    <a:pt x="1494627" y="62161"/>
                  </a:lnTo>
                  <a:lnTo>
                    <a:pt x="1491873" y="61768"/>
                  </a:lnTo>
                  <a:lnTo>
                    <a:pt x="1488726" y="62161"/>
                  </a:lnTo>
                  <a:lnTo>
                    <a:pt x="1485972" y="61768"/>
                  </a:lnTo>
                  <a:lnTo>
                    <a:pt x="1480070" y="61768"/>
                  </a:lnTo>
                  <a:lnTo>
                    <a:pt x="1477316" y="61375"/>
                  </a:lnTo>
                  <a:lnTo>
                    <a:pt x="1474562" y="62555"/>
                  </a:lnTo>
                  <a:lnTo>
                    <a:pt x="1471415" y="64915"/>
                  </a:lnTo>
                  <a:lnTo>
                    <a:pt x="1468661" y="66882"/>
                  </a:lnTo>
                  <a:lnTo>
                    <a:pt x="1465514" y="69243"/>
                  </a:lnTo>
                  <a:lnTo>
                    <a:pt x="1462760" y="70817"/>
                  </a:lnTo>
                  <a:lnTo>
                    <a:pt x="1459612" y="70423"/>
                  </a:lnTo>
                  <a:lnTo>
                    <a:pt x="1456071" y="71604"/>
                  </a:lnTo>
                  <a:lnTo>
                    <a:pt x="1453317" y="73964"/>
                  </a:lnTo>
                  <a:lnTo>
                    <a:pt x="1450563" y="74358"/>
                  </a:lnTo>
                  <a:lnTo>
                    <a:pt x="1447416" y="74751"/>
                  </a:lnTo>
                  <a:lnTo>
                    <a:pt x="1444268" y="74358"/>
                  </a:lnTo>
                  <a:lnTo>
                    <a:pt x="1443482" y="74751"/>
                  </a:lnTo>
                  <a:lnTo>
                    <a:pt x="1447809" y="66882"/>
                  </a:lnTo>
                  <a:lnTo>
                    <a:pt x="1449777" y="66489"/>
                  </a:lnTo>
                  <a:lnTo>
                    <a:pt x="1448203" y="66096"/>
                  </a:lnTo>
                  <a:lnTo>
                    <a:pt x="1452924" y="57047"/>
                  </a:lnTo>
                  <a:lnTo>
                    <a:pt x="1451350" y="57440"/>
                  </a:lnTo>
                  <a:lnTo>
                    <a:pt x="1452137" y="57047"/>
                  </a:lnTo>
                  <a:lnTo>
                    <a:pt x="1452531" y="57047"/>
                  </a:lnTo>
                  <a:lnTo>
                    <a:pt x="1452924" y="57047"/>
                  </a:lnTo>
                  <a:lnTo>
                    <a:pt x="1452924" y="55080"/>
                  </a:lnTo>
                  <a:lnTo>
                    <a:pt x="1455678" y="54293"/>
                  </a:lnTo>
                  <a:lnTo>
                    <a:pt x="1457252" y="51539"/>
                  </a:lnTo>
                  <a:lnTo>
                    <a:pt x="1454104" y="51539"/>
                  </a:lnTo>
                  <a:lnTo>
                    <a:pt x="1451350" y="53113"/>
                  </a:lnTo>
                  <a:lnTo>
                    <a:pt x="1454104" y="54686"/>
                  </a:lnTo>
                  <a:lnTo>
                    <a:pt x="1449777" y="55080"/>
                  </a:lnTo>
                  <a:lnTo>
                    <a:pt x="1447022" y="53506"/>
                  </a:lnTo>
                  <a:lnTo>
                    <a:pt x="1444268" y="53899"/>
                  </a:lnTo>
                  <a:lnTo>
                    <a:pt x="1441121" y="53506"/>
                  </a:lnTo>
                  <a:lnTo>
                    <a:pt x="1434826" y="55080"/>
                  </a:lnTo>
                  <a:lnTo>
                    <a:pt x="1434433" y="55473"/>
                  </a:lnTo>
                  <a:lnTo>
                    <a:pt x="1398631" y="56653"/>
                  </a:lnTo>
                  <a:lnTo>
                    <a:pt x="1398631" y="55080"/>
                  </a:lnTo>
                  <a:lnTo>
                    <a:pt x="1399418" y="53899"/>
                  </a:lnTo>
                  <a:lnTo>
                    <a:pt x="1400598" y="50752"/>
                  </a:lnTo>
                  <a:lnTo>
                    <a:pt x="1401778" y="47998"/>
                  </a:lnTo>
                  <a:lnTo>
                    <a:pt x="1401385" y="45244"/>
                  </a:lnTo>
                  <a:lnTo>
                    <a:pt x="1399418" y="42490"/>
                  </a:lnTo>
                  <a:lnTo>
                    <a:pt x="1397057" y="39343"/>
                  </a:lnTo>
                  <a:lnTo>
                    <a:pt x="1394303" y="39343"/>
                  </a:lnTo>
                  <a:lnTo>
                    <a:pt x="1391549" y="40129"/>
                  </a:lnTo>
                  <a:lnTo>
                    <a:pt x="1388402" y="41703"/>
                  </a:lnTo>
                  <a:lnTo>
                    <a:pt x="1385648" y="44457"/>
                  </a:lnTo>
                  <a:lnTo>
                    <a:pt x="1388795" y="44851"/>
                  </a:lnTo>
                  <a:lnTo>
                    <a:pt x="1386041" y="47211"/>
                  </a:lnTo>
                  <a:lnTo>
                    <a:pt x="1389189" y="47605"/>
                  </a:lnTo>
                  <a:lnTo>
                    <a:pt x="1391943" y="48391"/>
                  </a:lnTo>
                  <a:lnTo>
                    <a:pt x="1388795" y="48785"/>
                  </a:lnTo>
                  <a:lnTo>
                    <a:pt x="1386041" y="48785"/>
                  </a:lnTo>
                  <a:lnTo>
                    <a:pt x="1382894" y="49178"/>
                  </a:lnTo>
                  <a:lnTo>
                    <a:pt x="1379747" y="49572"/>
                  </a:lnTo>
                  <a:lnTo>
                    <a:pt x="1376599" y="49965"/>
                  </a:lnTo>
                  <a:lnTo>
                    <a:pt x="1373452" y="50752"/>
                  </a:lnTo>
                  <a:lnTo>
                    <a:pt x="1370304" y="51539"/>
                  </a:lnTo>
                  <a:lnTo>
                    <a:pt x="1367944" y="54293"/>
                  </a:lnTo>
                  <a:lnTo>
                    <a:pt x="1360862" y="57047"/>
                  </a:lnTo>
                  <a:lnTo>
                    <a:pt x="1358108" y="57834"/>
                  </a:lnTo>
                  <a:lnTo>
                    <a:pt x="1355354" y="59014"/>
                  </a:lnTo>
                  <a:lnTo>
                    <a:pt x="1352600" y="60194"/>
                  </a:lnTo>
                  <a:lnTo>
                    <a:pt x="1349846" y="61375"/>
                  </a:lnTo>
                  <a:lnTo>
                    <a:pt x="1346699" y="61768"/>
                  </a:lnTo>
                  <a:lnTo>
                    <a:pt x="1343945" y="63342"/>
                  </a:lnTo>
                  <a:lnTo>
                    <a:pt x="1341191" y="61768"/>
                  </a:lnTo>
                  <a:lnTo>
                    <a:pt x="1344338" y="59014"/>
                  </a:lnTo>
                  <a:lnTo>
                    <a:pt x="1347486" y="58621"/>
                  </a:lnTo>
                  <a:lnTo>
                    <a:pt x="1350633" y="57440"/>
                  </a:lnTo>
                  <a:lnTo>
                    <a:pt x="1353780" y="55080"/>
                  </a:lnTo>
                  <a:lnTo>
                    <a:pt x="1347486" y="57834"/>
                  </a:lnTo>
                  <a:lnTo>
                    <a:pt x="1344338" y="58227"/>
                  </a:lnTo>
                  <a:lnTo>
                    <a:pt x="1341191" y="58227"/>
                  </a:lnTo>
                  <a:lnTo>
                    <a:pt x="1338043" y="58621"/>
                  </a:lnTo>
                  <a:lnTo>
                    <a:pt x="1334896" y="59014"/>
                  </a:lnTo>
                  <a:lnTo>
                    <a:pt x="1331749" y="59407"/>
                  </a:lnTo>
                  <a:lnTo>
                    <a:pt x="1328601" y="60194"/>
                  </a:lnTo>
                  <a:lnTo>
                    <a:pt x="1325454" y="60588"/>
                  </a:lnTo>
                  <a:lnTo>
                    <a:pt x="1322306" y="60981"/>
                  </a:lnTo>
                  <a:lnTo>
                    <a:pt x="1321913" y="60981"/>
                  </a:lnTo>
                  <a:lnTo>
                    <a:pt x="1318766" y="61375"/>
                  </a:lnTo>
                  <a:lnTo>
                    <a:pt x="1316012" y="61768"/>
                  </a:lnTo>
                  <a:lnTo>
                    <a:pt x="1313257" y="62161"/>
                  </a:lnTo>
                  <a:lnTo>
                    <a:pt x="1310110" y="63342"/>
                  </a:lnTo>
                  <a:lnTo>
                    <a:pt x="1307356" y="64915"/>
                  </a:lnTo>
                  <a:lnTo>
                    <a:pt x="1305783" y="65309"/>
                  </a:lnTo>
                  <a:lnTo>
                    <a:pt x="1287291" y="70817"/>
                  </a:lnTo>
                  <a:lnTo>
                    <a:pt x="1289259" y="70030"/>
                  </a:lnTo>
                  <a:lnTo>
                    <a:pt x="1292013" y="68063"/>
                  </a:lnTo>
                  <a:lnTo>
                    <a:pt x="1295160" y="66882"/>
                  </a:lnTo>
                  <a:lnTo>
                    <a:pt x="1292799" y="68850"/>
                  </a:lnTo>
                  <a:lnTo>
                    <a:pt x="1292799" y="69243"/>
                  </a:lnTo>
                  <a:lnTo>
                    <a:pt x="1295553" y="66882"/>
                  </a:lnTo>
                  <a:lnTo>
                    <a:pt x="1299488" y="65702"/>
                  </a:lnTo>
                  <a:lnTo>
                    <a:pt x="1299488" y="65702"/>
                  </a:lnTo>
                  <a:lnTo>
                    <a:pt x="1299488" y="65702"/>
                  </a:lnTo>
                  <a:lnTo>
                    <a:pt x="1328208" y="56260"/>
                  </a:lnTo>
                  <a:lnTo>
                    <a:pt x="1330175" y="55867"/>
                  </a:lnTo>
                  <a:lnTo>
                    <a:pt x="1332142" y="55473"/>
                  </a:lnTo>
                  <a:lnTo>
                    <a:pt x="1335290" y="54686"/>
                  </a:lnTo>
                  <a:lnTo>
                    <a:pt x="1335683" y="54686"/>
                  </a:lnTo>
                  <a:lnTo>
                    <a:pt x="1341191" y="53506"/>
                  </a:lnTo>
                  <a:lnTo>
                    <a:pt x="1342764" y="52326"/>
                  </a:lnTo>
                  <a:lnTo>
                    <a:pt x="1345519" y="51932"/>
                  </a:lnTo>
                  <a:lnTo>
                    <a:pt x="1348666" y="49572"/>
                  </a:lnTo>
                  <a:lnTo>
                    <a:pt x="1345519" y="49178"/>
                  </a:lnTo>
                  <a:lnTo>
                    <a:pt x="1348273" y="46031"/>
                  </a:lnTo>
                  <a:lnTo>
                    <a:pt x="1345519" y="47605"/>
                  </a:lnTo>
                  <a:lnTo>
                    <a:pt x="1342371" y="49178"/>
                  </a:lnTo>
                  <a:lnTo>
                    <a:pt x="1339617" y="50359"/>
                  </a:lnTo>
                  <a:lnTo>
                    <a:pt x="1336470" y="51145"/>
                  </a:lnTo>
                  <a:lnTo>
                    <a:pt x="1333716" y="50752"/>
                  </a:lnTo>
                  <a:lnTo>
                    <a:pt x="1330962" y="51145"/>
                  </a:lnTo>
                  <a:lnTo>
                    <a:pt x="1328208" y="49572"/>
                  </a:lnTo>
                  <a:lnTo>
                    <a:pt x="1325060" y="49965"/>
                  </a:lnTo>
                  <a:lnTo>
                    <a:pt x="1327814" y="48785"/>
                  </a:lnTo>
                  <a:lnTo>
                    <a:pt x="1325060" y="49572"/>
                  </a:lnTo>
                  <a:lnTo>
                    <a:pt x="1321913" y="49965"/>
                  </a:lnTo>
                  <a:lnTo>
                    <a:pt x="1319159" y="50359"/>
                  </a:lnTo>
                  <a:lnTo>
                    <a:pt x="1316012" y="50752"/>
                  </a:lnTo>
                  <a:lnTo>
                    <a:pt x="1312864" y="52326"/>
                  </a:lnTo>
                  <a:lnTo>
                    <a:pt x="1310110" y="53113"/>
                  </a:lnTo>
                  <a:lnTo>
                    <a:pt x="1300274" y="55867"/>
                  </a:lnTo>
                  <a:lnTo>
                    <a:pt x="1300668" y="54293"/>
                  </a:lnTo>
                  <a:lnTo>
                    <a:pt x="1297520" y="55867"/>
                  </a:lnTo>
                  <a:lnTo>
                    <a:pt x="1294373" y="56260"/>
                  </a:lnTo>
                  <a:lnTo>
                    <a:pt x="1291226" y="57047"/>
                  </a:lnTo>
                  <a:lnTo>
                    <a:pt x="1288078" y="57834"/>
                  </a:lnTo>
                  <a:lnTo>
                    <a:pt x="1285324" y="59407"/>
                  </a:lnTo>
                  <a:lnTo>
                    <a:pt x="1282177" y="59801"/>
                  </a:lnTo>
                  <a:lnTo>
                    <a:pt x="1279423" y="60194"/>
                  </a:lnTo>
                  <a:lnTo>
                    <a:pt x="1276276" y="60588"/>
                  </a:lnTo>
                  <a:lnTo>
                    <a:pt x="1273522" y="61768"/>
                  </a:lnTo>
                  <a:lnTo>
                    <a:pt x="1270374" y="60194"/>
                  </a:lnTo>
                  <a:lnTo>
                    <a:pt x="1273522" y="59801"/>
                  </a:lnTo>
                  <a:lnTo>
                    <a:pt x="1270374" y="60194"/>
                  </a:lnTo>
                  <a:lnTo>
                    <a:pt x="1267227" y="60588"/>
                  </a:lnTo>
                  <a:lnTo>
                    <a:pt x="1264079" y="62555"/>
                  </a:lnTo>
                  <a:lnTo>
                    <a:pt x="1267227" y="62948"/>
                  </a:lnTo>
                  <a:lnTo>
                    <a:pt x="1264079" y="63342"/>
                  </a:lnTo>
                  <a:lnTo>
                    <a:pt x="1260932" y="62948"/>
                  </a:lnTo>
                  <a:lnTo>
                    <a:pt x="1257784" y="62555"/>
                  </a:lnTo>
                  <a:lnTo>
                    <a:pt x="1255030" y="63342"/>
                  </a:lnTo>
                  <a:lnTo>
                    <a:pt x="1251883" y="65702"/>
                  </a:lnTo>
                  <a:lnTo>
                    <a:pt x="1249129" y="67276"/>
                  </a:lnTo>
                  <a:lnTo>
                    <a:pt x="1246375" y="68456"/>
                  </a:lnTo>
                  <a:lnTo>
                    <a:pt x="1243228" y="69243"/>
                  </a:lnTo>
                  <a:lnTo>
                    <a:pt x="1240080" y="69636"/>
                  </a:lnTo>
                  <a:lnTo>
                    <a:pt x="1236933" y="69243"/>
                  </a:lnTo>
                  <a:lnTo>
                    <a:pt x="1233785" y="69636"/>
                  </a:lnTo>
                  <a:lnTo>
                    <a:pt x="1231032" y="70030"/>
                  </a:lnTo>
                  <a:lnTo>
                    <a:pt x="1228277" y="71604"/>
                  </a:lnTo>
                  <a:lnTo>
                    <a:pt x="1225130" y="71604"/>
                  </a:lnTo>
                  <a:lnTo>
                    <a:pt x="1221983" y="73177"/>
                  </a:lnTo>
                  <a:lnTo>
                    <a:pt x="1220409" y="73177"/>
                  </a:lnTo>
                  <a:lnTo>
                    <a:pt x="1217262" y="73571"/>
                  </a:lnTo>
                  <a:lnTo>
                    <a:pt x="1215688" y="73964"/>
                  </a:lnTo>
                  <a:lnTo>
                    <a:pt x="1212934" y="75144"/>
                  </a:lnTo>
                  <a:lnTo>
                    <a:pt x="1209786" y="76718"/>
                  </a:lnTo>
                  <a:lnTo>
                    <a:pt x="1206639" y="77505"/>
                  </a:lnTo>
                  <a:lnTo>
                    <a:pt x="1203885" y="78685"/>
                  </a:lnTo>
                  <a:lnTo>
                    <a:pt x="1200738" y="78685"/>
                  </a:lnTo>
                  <a:lnTo>
                    <a:pt x="1197984" y="80259"/>
                  </a:lnTo>
                  <a:lnTo>
                    <a:pt x="1194836" y="82620"/>
                  </a:lnTo>
                  <a:lnTo>
                    <a:pt x="1194049" y="85374"/>
                  </a:lnTo>
                  <a:lnTo>
                    <a:pt x="1193656" y="88128"/>
                  </a:lnTo>
                  <a:lnTo>
                    <a:pt x="1192869" y="90095"/>
                  </a:lnTo>
                  <a:lnTo>
                    <a:pt x="1192476" y="90488"/>
                  </a:lnTo>
                  <a:lnTo>
                    <a:pt x="1192082" y="90488"/>
                  </a:lnTo>
                  <a:lnTo>
                    <a:pt x="1190115" y="90488"/>
                  </a:lnTo>
                  <a:lnTo>
                    <a:pt x="1187755" y="89701"/>
                  </a:lnTo>
                  <a:lnTo>
                    <a:pt x="1188148" y="86554"/>
                  </a:lnTo>
                  <a:lnTo>
                    <a:pt x="1188541" y="83800"/>
                  </a:lnTo>
                  <a:lnTo>
                    <a:pt x="1185787" y="84193"/>
                  </a:lnTo>
                  <a:lnTo>
                    <a:pt x="1182640" y="84587"/>
                  </a:lnTo>
                  <a:lnTo>
                    <a:pt x="1179886" y="84587"/>
                  </a:lnTo>
                  <a:lnTo>
                    <a:pt x="1176738" y="83800"/>
                  </a:lnTo>
                  <a:lnTo>
                    <a:pt x="1173591" y="83800"/>
                  </a:lnTo>
                  <a:lnTo>
                    <a:pt x="1170444" y="85374"/>
                  </a:lnTo>
                  <a:lnTo>
                    <a:pt x="1173591" y="85767"/>
                  </a:lnTo>
                  <a:lnTo>
                    <a:pt x="1170837" y="87734"/>
                  </a:lnTo>
                  <a:lnTo>
                    <a:pt x="1171624" y="90488"/>
                  </a:lnTo>
                  <a:lnTo>
                    <a:pt x="1170050" y="90488"/>
                  </a:lnTo>
                  <a:lnTo>
                    <a:pt x="1162575" y="85767"/>
                  </a:lnTo>
                  <a:lnTo>
                    <a:pt x="1161001" y="84980"/>
                  </a:lnTo>
                  <a:lnTo>
                    <a:pt x="1158248" y="84587"/>
                  </a:lnTo>
                  <a:lnTo>
                    <a:pt x="1155887" y="84193"/>
                  </a:lnTo>
                  <a:lnTo>
                    <a:pt x="1152740" y="83800"/>
                  </a:lnTo>
                  <a:lnTo>
                    <a:pt x="1123233" y="75144"/>
                  </a:lnTo>
                  <a:lnTo>
                    <a:pt x="1123626" y="72784"/>
                  </a:lnTo>
                  <a:lnTo>
                    <a:pt x="1120872" y="74358"/>
                  </a:lnTo>
                  <a:lnTo>
                    <a:pt x="1118511" y="71997"/>
                  </a:lnTo>
                  <a:lnTo>
                    <a:pt x="1116544" y="69243"/>
                  </a:lnTo>
                  <a:lnTo>
                    <a:pt x="1116151" y="66489"/>
                  </a:lnTo>
                  <a:lnTo>
                    <a:pt x="1113397" y="66882"/>
                  </a:lnTo>
                  <a:lnTo>
                    <a:pt x="1110643" y="65309"/>
                  </a:lnTo>
                  <a:lnTo>
                    <a:pt x="1107889" y="64522"/>
                  </a:lnTo>
                  <a:lnTo>
                    <a:pt x="1104741" y="63735"/>
                  </a:lnTo>
                  <a:lnTo>
                    <a:pt x="1101594" y="63735"/>
                  </a:lnTo>
                  <a:lnTo>
                    <a:pt x="1081136" y="62948"/>
                  </a:lnTo>
                  <a:lnTo>
                    <a:pt x="1077989" y="61768"/>
                  </a:lnTo>
                  <a:lnTo>
                    <a:pt x="1077595" y="61768"/>
                  </a:lnTo>
                  <a:lnTo>
                    <a:pt x="1073267" y="60194"/>
                  </a:lnTo>
                  <a:lnTo>
                    <a:pt x="1071300" y="58227"/>
                  </a:lnTo>
                  <a:lnTo>
                    <a:pt x="1068546" y="57440"/>
                  </a:lnTo>
                  <a:lnTo>
                    <a:pt x="1072874" y="59801"/>
                  </a:lnTo>
                  <a:lnTo>
                    <a:pt x="1071300" y="59407"/>
                  </a:lnTo>
                  <a:lnTo>
                    <a:pt x="1070907" y="59014"/>
                  </a:lnTo>
                  <a:lnTo>
                    <a:pt x="1068153" y="57834"/>
                  </a:lnTo>
                  <a:lnTo>
                    <a:pt x="1060678" y="52326"/>
                  </a:lnTo>
                  <a:lnTo>
                    <a:pt x="1058317" y="51145"/>
                  </a:lnTo>
                  <a:lnTo>
                    <a:pt x="1055563" y="50752"/>
                  </a:lnTo>
                  <a:lnTo>
                    <a:pt x="1052416" y="50359"/>
                  </a:lnTo>
                  <a:lnTo>
                    <a:pt x="1049662" y="49572"/>
                  </a:lnTo>
                  <a:lnTo>
                    <a:pt x="1046908" y="49965"/>
                  </a:lnTo>
                  <a:lnTo>
                    <a:pt x="1043760" y="49965"/>
                  </a:lnTo>
                  <a:lnTo>
                    <a:pt x="1041006" y="50359"/>
                  </a:lnTo>
                  <a:lnTo>
                    <a:pt x="1037859" y="49965"/>
                  </a:lnTo>
                  <a:lnTo>
                    <a:pt x="1035105" y="50359"/>
                  </a:lnTo>
                  <a:lnTo>
                    <a:pt x="1031958" y="49965"/>
                  </a:lnTo>
                  <a:lnTo>
                    <a:pt x="1029204" y="52326"/>
                  </a:lnTo>
                  <a:lnTo>
                    <a:pt x="1028810" y="52326"/>
                  </a:lnTo>
                  <a:lnTo>
                    <a:pt x="1030384" y="50752"/>
                  </a:lnTo>
                  <a:lnTo>
                    <a:pt x="1027630" y="51145"/>
                  </a:lnTo>
                  <a:lnTo>
                    <a:pt x="1024876" y="51145"/>
                  </a:lnTo>
                  <a:lnTo>
                    <a:pt x="1021729" y="51539"/>
                  </a:lnTo>
                  <a:lnTo>
                    <a:pt x="1018975" y="52326"/>
                  </a:lnTo>
                  <a:lnTo>
                    <a:pt x="1005205" y="52326"/>
                  </a:lnTo>
                  <a:lnTo>
                    <a:pt x="1004024" y="52326"/>
                  </a:lnTo>
                  <a:lnTo>
                    <a:pt x="1002451" y="52326"/>
                  </a:lnTo>
                  <a:lnTo>
                    <a:pt x="1004024" y="51539"/>
                  </a:lnTo>
                  <a:lnTo>
                    <a:pt x="1001270" y="49965"/>
                  </a:lnTo>
                  <a:lnTo>
                    <a:pt x="998516" y="50359"/>
                  </a:lnTo>
                  <a:lnTo>
                    <a:pt x="997730" y="47605"/>
                  </a:lnTo>
                  <a:lnTo>
                    <a:pt x="994975" y="47998"/>
                  </a:lnTo>
                  <a:lnTo>
                    <a:pt x="991828" y="48391"/>
                  </a:lnTo>
                  <a:lnTo>
                    <a:pt x="988681" y="47211"/>
                  </a:lnTo>
                  <a:lnTo>
                    <a:pt x="983173" y="47211"/>
                  </a:lnTo>
                  <a:lnTo>
                    <a:pt x="980025" y="47605"/>
                  </a:lnTo>
                  <a:lnTo>
                    <a:pt x="974517" y="47605"/>
                  </a:lnTo>
                  <a:lnTo>
                    <a:pt x="973337" y="47605"/>
                  </a:lnTo>
                  <a:lnTo>
                    <a:pt x="959567" y="45244"/>
                  </a:lnTo>
                  <a:lnTo>
                    <a:pt x="959567" y="43670"/>
                  </a:lnTo>
                  <a:lnTo>
                    <a:pt x="956026" y="43277"/>
                  </a:lnTo>
                  <a:lnTo>
                    <a:pt x="954453" y="42490"/>
                  </a:lnTo>
                  <a:lnTo>
                    <a:pt x="948551" y="42097"/>
                  </a:lnTo>
                  <a:lnTo>
                    <a:pt x="946978" y="40916"/>
                  </a:lnTo>
                  <a:lnTo>
                    <a:pt x="944223" y="40916"/>
                  </a:lnTo>
                  <a:lnTo>
                    <a:pt x="941076" y="39343"/>
                  </a:lnTo>
                  <a:lnTo>
                    <a:pt x="937929" y="38556"/>
                  </a:lnTo>
                  <a:lnTo>
                    <a:pt x="934781" y="38949"/>
                  </a:lnTo>
                  <a:lnTo>
                    <a:pt x="932027" y="38162"/>
                  </a:lnTo>
                  <a:lnTo>
                    <a:pt x="929273" y="38162"/>
                  </a:lnTo>
                  <a:lnTo>
                    <a:pt x="926519" y="38556"/>
                  </a:lnTo>
                  <a:lnTo>
                    <a:pt x="922978" y="38556"/>
                  </a:lnTo>
                  <a:lnTo>
                    <a:pt x="920224" y="38949"/>
                  </a:lnTo>
                  <a:lnTo>
                    <a:pt x="917077" y="39736"/>
                  </a:lnTo>
                  <a:lnTo>
                    <a:pt x="911569" y="39736"/>
                  </a:lnTo>
                  <a:lnTo>
                    <a:pt x="913930" y="38162"/>
                  </a:lnTo>
                  <a:lnTo>
                    <a:pt x="911176" y="37769"/>
                  </a:lnTo>
                  <a:lnTo>
                    <a:pt x="908422" y="37769"/>
                  </a:lnTo>
                  <a:lnTo>
                    <a:pt x="905274" y="38556"/>
                  </a:lnTo>
                  <a:lnTo>
                    <a:pt x="902914" y="38556"/>
                  </a:lnTo>
                  <a:lnTo>
                    <a:pt x="899766" y="38949"/>
                  </a:lnTo>
                  <a:lnTo>
                    <a:pt x="898586" y="38556"/>
                  </a:lnTo>
                  <a:lnTo>
                    <a:pt x="895439" y="39343"/>
                  </a:lnTo>
                  <a:lnTo>
                    <a:pt x="895439" y="38949"/>
                  </a:lnTo>
                  <a:lnTo>
                    <a:pt x="895045" y="38949"/>
                  </a:lnTo>
                  <a:lnTo>
                    <a:pt x="884423" y="36195"/>
                  </a:lnTo>
                  <a:lnTo>
                    <a:pt x="887177" y="35408"/>
                  </a:lnTo>
                  <a:lnTo>
                    <a:pt x="881275" y="35408"/>
                  </a:lnTo>
                  <a:lnTo>
                    <a:pt x="880882" y="35408"/>
                  </a:lnTo>
                  <a:lnTo>
                    <a:pt x="878521" y="34622"/>
                  </a:lnTo>
                  <a:lnTo>
                    <a:pt x="881669" y="34228"/>
                  </a:lnTo>
                  <a:lnTo>
                    <a:pt x="878915" y="33835"/>
                  </a:lnTo>
                  <a:lnTo>
                    <a:pt x="876161" y="32654"/>
                  </a:lnTo>
                  <a:lnTo>
                    <a:pt x="878915" y="31081"/>
                  </a:lnTo>
                  <a:lnTo>
                    <a:pt x="881669" y="29507"/>
                  </a:lnTo>
                  <a:lnTo>
                    <a:pt x="884816" y="28720"/>
                  </a:lnTo>
                  <a:lnTo>
                    <a:pt x="887964" y="26360"/>
                  </a:lnTo>
                  <a:lnTo>
                    <a:pt x="885210" y="25966"/>
                  </a:lnTo>
                  <a:lnTo>
                    <a:pt x="875374" y="25966"/>
                  </a:lnTo>
                  <a:lnTo>
                    <a:pt x="872620" y="25573"/>
                  </a:lnTo>
                  <a:lnTo>
                    <a:pt x="869866" y="25179"/>
                  </a:lnTo>
                  <a:lnTo>
                    <a:pt x="866718" y="25573"/>
                  </a:lnTo>
                  <a:lnTo>
                    <a:pt x="863965" y="25966"/>
                  </a:lnTo>
                  <a:lnTo>
                    <a:pt x="860817" y="26360"/>
                  </a:lnTo>
                  <a:lnTo>
                    <a:pt x="857670" y="25966"/>
                  </a:lnTo>
                  <a:lnTo>
                    <a:pt x="854916" y="25966"/>
                  </a:lnTo>
                  <a:lnTo>
                    <a:pt x="851768" y="26360"/>
                  </a:lnTo>
                  <a:lnTo>
                    <a:pt x="848621" y="27540"/>
                  </a:lnTo>
                  <a:lnTo>
                    <a:pt x="847441" y="27933"/>
                  </a:lnTo>
                  <a:lnTo>
                    <a:pt x="837211" y="25573"/>
                  </a:lnTo>
                  <a:lnTo>
                    <a:pt x="839572" y="24786"/>
                  </a:lnTo>
                  <a:lnTo>
                    <a:pt x="842326" y="23212"/>
                  </a:lnTo>
                  <a:lnTo>
                    <a:pt x="841539" y="20458"/>
                  </a:lnTo>
                  <a:lnTo>
                    <a:pt x="838785" y="20065"/>
                  </a:lnTo>
                  <a:lnTo>
                    <a:pt x="835638" y="21638"/>
                  </a:lnTo>
                  <a:lnTo>
                    <a:pt x="838392" y="19278"/>
                  </a:lnTo>
                  <a:lnTo>
                    <a:pt x="835638" y="19671"/>
                  </a:lnTo>
                  <a:lnTo>
                    <a:pt x="832490" y="20458"/>
                  </a:lnTo>
                  <a:lnTo>
                    <a:pt x="829736" y="22032"/>
                  </a:lnTo>
                  <a:lnTo>
                    <a:pt x="826589" y="22819"/>
                  </a:lnTo>
                  <a:lnTo>
                    <a:pt x="805737" y="27540"/>
                  </a:lnTo>
                  <a:lnTo>
                    <a:pt x="805737" y="25179"/>
                  </a:lnTo>
                  <a:lnTo>
                    <a:pt x="805344" y="24786"/>
                  </a:lnTo>
                  <a:lnTo>
                    <a:pt x="808491" y="24392"/>
                  </a:lnTo>
                  <a:lnTo>
                    <a:pt x="811639" y="23212"/>
                  </a:lnTo>
                  <a:lnTo>
                    <a:pt x="814786" y="23212"/>
                  </a:lnTo>
                  <a:lnTo>
                    <a:pt x="817934" y="22819"/>
                  </a:lnTo>
                  <a:lnTo>
                    <a:pt x="821081" y="21638"/>
                  </a:lnTo>
                  <a:lnTo>
                    <a:pt x="824228" y="20852"/>
                  </a:lnTo>
                  <a:lnTo>
                    <a:pt x="826982" y="20065"/>
                  </a:lnTo>
                  <a:lnTo>
                    <a:pt x="826196" y="16917"/>
                  </a:lnTo>
                  <a:lnTo>
                    <a:pt x="823442" y="16524"/>
                  </a:lnTo>
                  <a:lnTo>
                    <a:pt x="820294" y="15344"/>
                  </a:lnTo>
                  <a:lnTo>
                    <a:pt x="817147" y="14950"/>
                  </a:lnTo>
                  <a:lnTo>
                    <a:pt x="814393" y="14163"/>
                  </a:lnTo>
                  <a:lnTo>
                    <a:pt x="817540" y="12196"/>
                  </a:lnTo>
                  <a:lnTo>
                    <a:pt x="820688" y="11016"/>
                  </a:lnTo>
                  <a:lnTo>
                    <a:pt x="817540" y="11803"/>
                  </a:lnTo>
                  <a:lnTo>
                    <a:pt x="814786" y="12590"/>
                  </a:lnTo>
                  <a:lnTo>
                    <a:pt x="811245" y="12983"/>
                  </a:lnTo>
                  <a:lnTo>
                    <a:pt x="808491" y="13770"/>
                  </a:lnTo>
                  <a:lnTo>
                    <a:pt x="805737" y="14950"/>
                  </a:lnTo>
                  <a:lnTo>
                    <a:pt x="802983" y="15737"/>
                  </a:lnTo>
                  <a:lnTo>
                    <a:pt x="799836" y="16524"/>
                  </a:lnTo>
                  <a:lnTo>
                    <a:pt x="794328" y="18884"/>
                  </a:lnTo>
                  <a:lnTo>
                    <a:pt x="791574" y="19671"/>
                  </a:lnTo>
                  <a:lnTo>
                    <a:pt x="788427" y="20458"/>
                  </a:lnTo>
                  <a:lnTo>
                    <a:pt x="785673" y="21245"/>
                  </a:lnTo>
                  <a:lnTo>
                    <a:pt x="782525" y="22032"/>
                  </a:lnTo>
                  <a:lnTo>
                    <a:pt x="779771" y="22819"/>
                  </a:lnTo>
                  <a:lnTo>
                    <a:pt x="776624" y="23606"/>
                  </a:lnTo>
                  <a:lnTo>
                    <a:pt x="773476" y="23999"/>
                  </a:lnTo>
                  <a:lnTo>
                    <a:pt x="770722" y="24786"/>
                  </a:lnTo>
                  <a:lnTo>
                    <a:pt x="767575" y="25179"/>
                  </a:lnTo>
                  <a:lnTo>
                    <a:pt x="764034" y="25573"/>
                  </a:lnTo>
                  <a:lnTo>
                    <a:pt x="761280" y="25966"/>
                  </a:lnTo>
                  <a:lnTo>
                    <a:pt x="758133" y="25966"/>
                  </a:lnTo>
                  <a:lnTo>
                    <a:pt x="754985" y="26360"/>
                  </a:lnTo>
                  <a:lnTo>
                    <a:pt x="751838" y="26360"/>
                  </a:lnTo>
                  <a:lnTo>
                    <a:pt x="749084" y="26753"/>
                  </a:lnTo>
                  <a:lnTo>
                    <a:pt x="745543" y="27146"/>
                  </a:lnTo>
                  <a:lnTo>
                    <a:pt x="742789" y="26753"/>
                  </a:lnTo>
                  <a:lnTo>
                    <a:pt x="740035" y="27146"/>
                  </a:lnTo>
                  <a:lnTo>
                    <a:pt x="736888" y="27540"/>
                  </a:lnTo>
                  <a:lnTo>
                    <a:pt x="733740" y="27540"/>
                  </a:lnTo>
                  <a:lnTo>
                    <a:pt x="730593" y="27146"/>
                  </a:lnTo>
                  <a:lnTo>
                    <a:pt x="733740" y="26360"/>
                  </a:lnTo>
                  <a:lnTo>
                    <a:pt x="736888" y="24786"/>
                  </a:lnTo>
                  <a:lnTo>
                    <a:pt x="734134" y="25179"/>
                  </a:lnTo>
                  <a:lnTo>
                    <a:pt x="730986" y="25573"/>
                  </a:lnTo>
                  <a:lnTo>
                    <a:pt x="728232" y="25966"/>
                  </a:lnTo>
                  <a:lnTo>
                    <a:pt x="725085" y="26360"/>
                  </a:lnTo>
                  <a:lnTo>
                    <a:pt x="721938" y="27540"/>
                  </a:lnTo>
                  <a:lnTo>
                    <a:pt x="718790" y="28720"/>
                  </a:lnTo>
                  <a:lnTo>
                    <a:pt x="716036" y="29114"/>
                  </a:lnTo>
                  <a:lnTo>
                    <a:pt x="712889" y="29507"/>
                  </a:lnTo>
                  <a:lnTo>
                    <a:pt x="711315" y="29900"/>
                  </a:lnTo>
                  <a:lnTo>
                    <a:pt x="708168" y="31081"/>
                  </a:lnTo>
                  <a:lnTo>
                    <a:pt x="711315" y="30687"/>
                  </a:lnTo>
                  <a:lnTo>
                    <a:pt x="707774" y="33048"/>
                  </a:lnTo>
                  <a:lnTo>
                    <a:pt x="709348" y="31868"/>
                  </a:lnTo>
                  <a:lnTo>
                    <a:pt x="708168" y="32261"/>
                  </a:lnTo>
                  <a:lnTo>
                    <a:pt x="705414" y="31868"/>
                  </a:lnTo>
                  <a:lnTo>
                    <a:pt x="702660" y="32654"/>
                  </a:lnTo>
                  <a:lnTo>
                    <a:pt x="699512" y="33441"/>
                  </a:lnTo>
                  <a:lnTo>
                    <a:pt x="697545" y="33835"/>
                  </a:lnTo>
                  <a:lnTo>
                    <a:pt x="660563" y="40916"/>
                  </a:lnTo>
                  <a:lnTo>
                    <a:pt x="660170" y="40916"/>
                  </a:lnTo>
                  <a:lnTo>
                    <a:pt x="659383" y="41310"/>
                  </a:lnTo>
                  <a:lnTo>
                    <a:pt x="655055" y="42097"/>
                  </a:lnTo>
                  <a:lnTo>
                    <a:pt x="654662" y="40916"/>
                  </a:lnTo>
                  <a:lnTo>
                    <a:pt x="657022" y="39343"/>
                  </a:lnTo>
                  <a:lnTo>
                    <a:pt x="663710" y="39343"/>
                  </a:lnTo>
                  <a:lnTo>
                    <a:pt x="660956" y="38949"/>
                  </a:lnTo>
                  <a:lnTo>
                    <a:pt x="657809" y="38556"/>
                  </a:lnTo>
                  <a:lnTo>
                    <a:pt x="655055" y="39343"/>
                  </a:lnTo>
                  <a:lnTo>
                    <a:pt x="656235" y="39343"/>
                  </a:lnTo>
                  <a:lnTo>
                    <a:pt x="654662" y="39736"/>
                  </a:lnTo>
                  <a:lnTo>
                    <a:pt x="651514" y="40916"/>
                  </a:lnTo>
                  <a:lnTo>
                    <a:pt x="648760" y="42097"/>
                  </a:lnTo>
                  <a:lnTo>
                    <a:pt x="645613" y="42883"/>
                  </a:lnTo>
                  <a:lnTo>
                    <a:pt x="642465" y="44064"/>
                  </a:lnTo>
                  <a:lnTo>
                    <a:pt x="639318" y="44851"/>
                  </a:lnTo>
                  <a:lnTo>
                    <a:pt x="636171" y="46031"/>
                  </a:lnTo>
                  <a:lnTo>
                    <a:pt x="633023" y="46818"/>
                  </a:lnTo>
                  <a:lnTo>
                    <a:pt x="630269" y="48391"/>
                  </a:lnTo>
                  <a:lnTo>
                    <a:pt x="623974" y="50752"/>
                  </a:lnTo>
                  <a:lnTo>
                    <a:pt x="623581" y="50752"/>
                  </a:lnTo>
                  <a:lnTo>
                    <a:pt x="622794" y="51145"/>
                  </a:lnTo>
                  <a:lnTo>
                    <a:pt x="620040" y="51932"/>
                  </a:lnTo>
                  <a:lnTo>
                    <a:pt x="617286" y="52719"/>
                  </a:lnTo>
                  <a:lnTo>
                    <a:pt x="614532" y="53506"/>
                  </a:lnTo>
                  <a:lnTo>
                    <a:pt x="611385" y="54293"/>
                  </a:lnTo>
                  <a:lnTo>
                    <a:pt x="608631" y="55473"/>
                  </a:lnTo>
                  <a:lnTo>
                    <a:pt x="607450" y="56260"/>
                  </a:lnTo>
                  <a:lnTo>
                    <a:pt x="599188" y="59014"/>
                  </a:lnTo>
                  <a:lnTo>
                    <a:pt x="601942" y="57440"/>
                  </a:lnTo>
                  <a:lnTo>
                    <a:pt x="601549" y="57834"/>
                  </a:lnTo>
                  <a:lnTo>
                    <a:pt x="598402" y="59407"/>
                  </a:lnTo>
                  <a:lnTo>
                    <a:pt x="598402" y="59407"/>
                  </a:lnTo>
                  <a:lnTo>
                    <a:pt x="542929" y="78685"/>
                  </a:lnTo>
                  <a:lnTo>
                    <a:pt x="540174" y="79079"/>
                  </a:lnTo>
                  <a:lnTo>
                    <a:pt x="537027" y="79079"/>
                  </a:lnTo>
                  <a:lnTo>
                    <a:pt x="534273" y="79472"/>
                  </a:lnTo>
                  <a:lnTo>
                    <a:pt x="531126" y="79866"/>
                  </a:lnTo>
                  <a:lnTo>
                    <a:pt x="528372" y="80259"/>
                  </a:lnTo>
                  <a:lnTo>
                    <a:pt x="525224" y="80259"/>
                  </a:lnTo>
                  <a:lnTo>
                    <a:pt x="522077" y="80652"/>
                  </a:lnTo>
                  <a:lnTo>
                    <a:pt x="518929" y="81046"/>
                  </a:lnTo>
                  <a:lnTo>
                    <a:pt x="513028" y="81046"/>
                  </a:lnTo>
                  <a:lnTo>
                    <a:pt x="510274" y="81439"/>
                  </a:lnTo>
                  <a:lnTo>
                    <a:pt x="507127" y="81046"/>
                  </a:lnTo>
                  <a:lnTo>
                    <a:pt x="503979" y="81046"/>
                  </a:lnTo>
                  <a:lnTo>
                    <a:pt x="501225" y="80652"/>
                  </a:lnTo>
                  <a:lnTo>
                    <a:pt x="498471" y="82226"/>
                  </a:lnTo>
                  <a:lnTo>
                    <a:pt x="495717" y="84587"/>
                  </a:lnTo>
                  <a:lnTo>
                    <a:pt x="492570" y="86160"/>
                  </a:lnTo>
                  <a:lnTo>
                    <a:pt x="489816" y="87734"/>
                  </a:lnTo>
                  <a:lnTo>
                    <a:pt x="486669" y="89701"/>
                  </a:lnTo>
                  <a:lnTo>
                    <a:pt x="483915" y="90881"/>
                  </a:lnTo>
                  <a:lnTo>
                    <a:pt x="480767" y="92455"/>
                  </a:lnTo>
                  <a:lnTo>
                    <a:pt x="477620" y="94029"/>
                  </a:lnTo>
                  <a:lnTo>
                    <a:pt x="474866" y="95209"/>
                  </a:lnTo>
                  <a:lnTo>
                    <a:pt x="470145" y="102291"/>
                  </a:lnTo>
                  <a:lnTo>
                    <a:pt x="467391" y="102684"/>
                  </a:lnTo>
                  <a:lnTo>
                    <a:pt x="466210" y="102684"/>
                  </a:lnTo>
                  <a:lnTo>
                    <a:pt x="464243" y="103078"/>
                  </a:lnTo>
                  <a:lnTo>
                    <a:pt x="466997" y="103471"/>
                  </a:lnTo>
                  <a:lnTo>
                    <a:pt x="470145" y="103865"/>
                  </a:lnTo>
                  <a:lnTo>
                    <a:pt x="472899" y="106619"/>
                  </a:lnTo>
                  <a:lnTo>
                    <a:pt x="472899" y="109373"/>
                  </a:lnTo>
                  <a:lnTo>
                    <a:pt x="476046" y="109766"/>
                  </a:lnTo>
                  <a:lnTo>
                    <a:pt x="478800" y="110553"/>
                  </a:lnTo>
                  <a:lnTo>
                    <a:pt x="481554" y="112913"/>
                  </a:lnTo>
                  <a:lnTo>
                    <a:pt x="484308" y="118421"/>
                  </a:lnTo>
                  <a:lnTo>
                    <a:pt x="488636" y="126290"/>
                  </a:lnTo>
                  <a:lnTo>
                    <a:pt x="485095" y="131404"/>
                  </a:lnTo>
                  <a:lnTo>
                    <a:pt x="482341" y="134158"/>
                  </a:lnTo>
                  <a:lnTo>
                    <a:pt x="479587" y="136126"/>
                  </a:lnTo>
                  <a:lnTo>
                    <a:pt x="479193" y="138880"/>
                  </a:lnTo>
                  <a:lnTo>
                    <a:pt x="481947" y="139273"/>
                  </a:lnTo>
                  <a:lnTo>
                    <a:pt x="485095" y="139666"/>
                  </a:lnTo>
                  <a:lnTo>
                    <a:pt x="487849" y="140060"/>
                  </a:lnTo>
                  <a:lnTo>
                    <a:pt x="490603" y="140453"/>
                  </a:lnTo>
                  <a:lnTo>
                    <a:pt x="493750" y="140060"/>
                  </a:lnTo>
                  <a:lnTo>
                    <a:pt x="496504" y="140060"/>
                  </a:lnTo>
                  <a:lnTo>
                    <a:pt x="496504" y="140847"/>
                  </a:lnTo>
                  <a:lnTo>
                    <a:pt x="499652" y="140453"/>
                  </a:lnTo>
                  <a:lnTo>
                    <a:pt x="502406" y="139273"/>
                  </a:lnTo>
                  <a:lnTo>
                    <a:pt x="504766" y="138486"/>
                  </a:lnTo>
                  <a:lnTo>
                    <a:pt x="507520" y="136519"/>
                  </a:lnTo>
                  <a:lnTo>
                    <a:pt x="507127" y="138093"/>
                  </a:lnTo>
                  <a:lnTo>
                    <a:pt x="503979" y="139666"/>
                  </a:lnTo>
                  <a:lnTo>
                    <a:pt x="501225" y="141633"/>
                  </a:lnTo>
                  <a:lnTo>
                    <a:pt x="504373" y="141240"/>
                  </a:lnTo>
                  <a:lnTo>
                    <a:pt x="507520" y="139273"/>
                  </a:lnTo>
                  <a:lnTo>
                    <a:pt x="507520" y="140847"/>
                  </a:lnTo>
                  <a:lnTo>
                    <a:pt x="510274" y="140453"/>
                  </a:lnTo>
                  <a:lnTo>
                    <a:pt x="515389" y="142814"/>
                  </a:lnTo>
                  <a:lnTo>
                    <a:pt x="514208" y="143207"/>
                  </a:lnTo>
                  <a:lnTo>
                    <a:pt x="511454" y="143994"/>
                  </a:lnTo>
                  <a:lnTo>
                    <a:pt x="510274" y="144781"/>
                  </a:lnTo>
                  <a:lnTo>
                    <a:pt x="505553" y="146748"/>
                  </a:lnTo>
                  <a:lnTo>
                    <a:pt x="501225" y="150289"/>
                  </a:lnTo>
                  <a:lnTo>
                    <a:pt x="501619" y="154223"/>
                  </a:lnTo>
                  <a:lnTo>
                    <a:pt x="502799" y="155010"/>
                  </a:lnTo>
                  <a:lnTo>
                    <a:pt x="505946" y="155010"/>
                  </a:lnTo>
                  <a:lnTo>
                    <a:pt x="507127" y="154617"/>
                  </a:lnTo>
                  <a:lnTo>
                    <a:pt x="503979" y="156190"/>
                  </a:lnTo>
                  <a:lnTo>
                    <a:pt x="500832" y="156977"/>
                  </a:lnTo>
                  <a:lnTo>
                    <a:pt x="497684" y="157371"/>
                  </a:lnTo>
                  <a:lnTo>
                    <a:pt x="494537" y="156190"/>
                  </a:lnTo>
                  <a:lnTo>
                    <a:pt x="493750" y="153436"/>
                  </a:lnTo>
                  <a:lnTo>
                    <a:pt x="495324" y="150682"/>
                  </a:lnTo>
                  <a:lnTo>
                    <a:pt x="498078" y="149109"/>
                  </a:lnTo>
                  <a:lnTo>
                    <a:pt x="499258" y="145961"/>
                  </a:lnTo>
                  <a:lnTo>
                    <a:pt x="498865" y="143207"/>
                  </a:lnTo>
                  <a:lnTo>
                    <a:pt x="496111" y="143207"/>
                  </a:lnTo>
                  <a:lnTo>
                    <a:pt x="492963" y="143994"/>
                  </a:lnTo>
                  <a:lnTo>
                    <a:pt x="490209" y="146355"/>
                  </a:lnTo>
                  <a:lnTo>
                    <a:pt x="489816" y="149109"/>
                  </a:lnTo>
                  <a:lnTo>
                    <a:pt x="492570" y="149502"/>
                  </a:lnTo>
                  <a:lnTo>
                    <a:pt x="492177" y="152649"/>
                  </a:lnTo>
                  <a:lnTo>
                    <a:pt x="492570" y="155403"/>
                  </a:lnTo>
                  <a:lnTo>
                    <a:pt x="489422" y="157764"/>
                  </a:lnTo>
                  <a:lnTo>
                    <a:pt x="486669" y="159338"/>
                  </a:lnTo>
                  <a:lnTo>
                    <a:pt x="483915" y="161305"/>
                  </a:lnTo>
                  <a:lnTo>
                    <a:pt x="487062" y="160125"/>
                  </a:lnTo>
                  <a:lnTo>
                    <a:pt x="489816" y="159338"/>
                  </a:lnTo>
                  <a:lnTo>
                    <a:pt x="495717" y="159338"/>
                  </a:lnTo>
                  <a:lnTo>
                    <a:pt x="496898" y="159731"/>
                  </a:lnTo>
                  <a:lnTo>
                    <a:pt x="476046" y="169173"/>
                  </a:lnTo>
                  <a:lnTo>
                    <a:pt x="439064" y="161698"/>
                  </a:lnTo>
                  <a:lnTo>
                    <a:pt x="439457" y="161305"/>
                  </a:lnTo>
                  <a:lnTo>
                    <a:pt x="442211" y="159338"/>
                  </a:lnTo>
                  <a:lnTo>
                    <a:pt x="445359" y="158157"/>
                  </a:lnTo>
                  <a:lnTo>
                    <a:pt x="448506" y="156584"/>
                  </a:lnTo>
                  <a:lnTo>
                    <a:pt x="450473" y="153830"/>
                  </a:lnTo>
                  <a:lnTo>
                    <a:pt x="453227" y="153436"/>
                  </a:lnTo>
                  <a:lnTo>
                    <a:pt x="450080" y="153043"/>
                  </a:lnTo>
                  <a:lnTo>
                    <a:pt x="447326" y="153436"/>
                  </a:lnTo>
                  <a:lnTo>
                    <a:pt x="441031" y="153436"/>
                  </a:lnTo>
                  <a:lnTo>
                    <a:pt x="438277" y="153830"/>
                  </a:lnTo>
                  <a:lnTo>
                    <a:pt x="435523" y="154223"/>
                  </a:lnTo>
                  <a:lnTo>
                    <a:pt x="432769" y="154617"/>
                  </a:lnTo>
                  <a:lnTo>
                    <a:pt x="429228" y="155010"/>
                  </a:lnTo>
                  <a:lnTo>
                    <a:pt x="423720" y="156584"/>
                  </a:lnTo>
                  <a:lnTo>
                    <a:pt x="420573" y="157371"/>
                  </a:lnTo>
                  <a:lnTo>
                    <a:pt x="417819" y="158157"/>
                  </a:lnTo>
                  <a:lnTo>
                    <a:pt x="415852" y="157764"/>
                  </a:lnTo>
                  <a:lnTo>
                    <a:pt x="412704" y="158157"/>
                  </a:lnTo>
                  <a:lnTo>
                    <a:pt x="409557" y="158551"/>
                  </a:lnTo>
                  <a:lnTo>
                    <a:pt x="406409" y="158944"/>
                  </a:lnTo>
                  <a:lnTo>
                    <a:pt x="403656" y="159338"/>
                  </a:lnTo>
                  <a:lnTo>
                    <a:pt x="400508" y="159731"/>
                  </a:lnTo>
                  <a:lnTo>
                    <a:pt x="397754" y="160518"/>
                  </a:lnTo>
                  <a:lnTo>
                    <a:pt x="394607" y="161305"/>
                  </a:lnTo>
                  <a:lnTo>
                    <a:pt x="393033" y="162879"/>
                  </a:lnTo>
                  <a:lnTo>
                    <a:pt x="380837" y="165632"/>
                  </a:lnTo>
                  <a:lnTo>
                    <a:pt x="380050" y="165239"/>
                  </a:lnTo>
                  <a:lnTo>
                    <a:pt x="376903" y="165632"/>
                  </a:lnTo>
                  <a:lnTo>
                    <a:pt x="374149" y="166026"/>
                  </a:lnTo>
                  <a:lnTo>
                    <a:pt x="371001" y="166419"/>
                  </a:lnTo>
                  <a:lnTo>
                    <a:pt x="367854" y="167206"/>
                  </a:lnTo>
                  <a:lnTo>
                    <a:pt x="364706" y="167600"/>
                  </a:lnTo>
                  <a:lnTo>
                    <a:pt x="361559" y="168780"/>
                  </a:lnTo>
                  <a:lnTo>
                    <a:pt x="358805" y="169567"/>
                  </a:lnTo>
                  <a:lnTo>
                    <a:pt x="358018" y="169567"/>
                  </a:lnTo>
                  <a:lnTo>
                    <a:pt x="355657" y="169960"/>
                  </a:lnTo>
                  <a:lnTo>
                    <a:pt x="355657" y="169960"/>
                  </a:lnTo>
                  <a:lnTo>
                    <a:pt x="344248" y="172321"/>
                  </a:lnTo>
                  <a:lnTo>
                    <a:pt x="344248" y="172321"/>
                  </a:lnTo>
                  <a:lnTo>
                    <a:pt x="341101" y="172714"/>
                  </a:lnTo>
                  <a:lnTo>
                    <a:pt x="340314" y="173108"/>
                  </a:lnTo>
                  <a:lnTo>
                    <a:pt x="325757" y="176255"/>
                  </a:lnTo>
                  <a:lnTo>
                    <a:pt x="327724" y="177829"/>
                  </a:lnTo>
                  <a:lnTo>
                    <a:pt x="326151" y="177829"/>
                  </a:lnTo>
                  <a:lnTo>
                    <a:pt x="323003" y="178222"/>
                  </a:lnTo>
                  <a:lnTo>
                    <a:pt x="319856" y="179009"/>
                  </a:lnTo>
                  <a:lnTo>
                    <a:pt x="316708" y="178616"/>
                  </a:lnTo>
                  <a:lnTo>
                    <a:pt x="319856" y="177829"/>
                  </a:lnTo>
                  <a:lnTo>
                    <a:pt x="322610" y="177042"/>
                  </a:lnTo>
                  <a:lnTo>
                    <a:pt x="325757" y="175862"/>
                  </a:lnTo>
                  <a:lnTo>
                    <a:pt x="323790" y="176255"/>
                  </a:lnTo>
                  <a:lnTo>
                    <a:pt x="321036" y="177042"/>
                  </a:lnTo>
                  <a:lnTo>
                    <a:pt x="317889" y="177829"/>
                  </a:lnTo>
                  <a:lnTo>
                    <a:pt x="314741" y="179009"/>
                  </a:lnTo>
                  <a:lnTo>
                    <a:pt x="315135" y="181763"/>
                  </a:lnTo>
                  <a:lnTo>
                    <a:pt x="317889" y="183337"/>
                  </a:lnTo>
                  <a:lnTo>
                    <a:pt x="320249" y="186091"/>
                  </a:lnTo>
                  <a:lnTo>
                    <a:pt x="323397" y="186484"/>
                  </a:lnTo>
                  <a:lnTo>
                    <a:pt x="326151" y="186878"/>
                  </a:lnTo>
                  <a:lnTo>
                    <a:pt x="328905" y="187664"/>
                  </a:lnTo>
                  <a:lnTo>
                    <a:pt x="331658" y="187271"/>
                  </a:lnTo>
                  <a:lnTo>
                    <a:pt x="334412" y="187664"/>
                  </a:lnTo>
                  <a:lnTo>
                    <a:pt x="337560" y="188451"/>
                  </a:lnTo>
                  <a:lnTo>
                    <a:pt x="340314" y="188845"/>
                  </a:lnTo>
                  <a:lnTo>
                    <a:pt x="343068" y="191599"/>
                  </a:lnTo>
                  <a:lnTo>
                    <a:pt x="341494" y="191599"/>
                  </a:lnTo>
                  <a:lnTo>
                    <a:pt x="338347" y="190812"/>
                  </a:lnTo>
                  <a:lnTo>
                    <a:pt x="335199" y="191205"/>
                  </a:lnTo>
                  <a:lnTo>
                    <a:pt x="332445" y="191992"/>
                  </a:lnTo>
                  <a:lnTo>
                    <a:pt x="329691" y="193566"/>
                  </a:lnTo>
                  <a:lnTo>
                    <a:pt x="326544" y="194746"/>
                  </a:lnTo>
                  <a:lnTo>
                    <a:pt x="323397" y="195139"/>
                  </a:lnTo>
                  <a:lnTo>
                    <a:pt x="320643" y="193566"/>
                  </a:lnTo>
                  <a:lnTo>
                    <a:pt x="323397" y="191992"/>
                  </a:lnTo>
                  <a:lnTo>
                    <a:pt x="326544" y="190418"/>
                  </a:lnTo>
                  <a:lnTo>
                    <a:pt x="323397" y="191205"/>
                  </a:lnTo>
                  <a:lnTo>
                    <a:pt x="320643" y="192779"/>
                  </a:lnTo>
                  <a:lnTo>
                    <a:pt x="318675" y="195533"/>
                  </a:lnTo>
                  <a:lnTo>
                    <a:pt x="318282" y="198680"/>
                  </a:lnTo>
                  <a:lnTo>
                    <a:pt x="319856" y="201434"/>
                  </a:lnTo>
                  <a:lnTo>
                    <a:pt x="319856" y="202221"/>
                  </a:lnTo>
                  <a:lnTo>
                    <a:pt x="317102" y="203795"/>
                  </a:lnTo>
                  <a:lnTo>
                    <a:pt x="313954" y="205369"/>
                  </a:lnTo>
                  <a:lnTo>
                    <a:pt x="311200" y="207729"/>
                  </a:lnTo>
                  <a:lnTo>
                    <a:pt x="311594" y="210483"/>
                  </a:lnTo>
                  <a:lnTo>
                    <a:pt x="314741" y="211270"/>
                  </a:lnTo>
                  <a:lnTo>
                    <a:pt x="317495" y="211663"/>
                  </a:lnTo>
                  <a:lnTo>
                    <a:pt x="320643" y="212057"/>
                  </a:lnTo>
                  <a:lnTo>
                    <a:pt x="323397" y="212450"/>
                  </a:lnTo>
                  <a:lnTo>
                    <a:pt x="326151" y="212844"/>
                  </a:lnTo>
                  <a:lnTo>
                    <a:pt x="328905" y="213237"/>
                  </a:lnTo>
                  <a:lnTo>
                    <a:pt x="331658" y="214417"/>
                  </a:lnTo>
                  <a:lnTo>
                    <a:pt x="334806" y="214417"/>
                  </a:lnTo>
                  <a:lnTo>
                    <a:pt x="337560" y="213237"/>
                  </a:lnTo>
                  <a:lnTo>
                    <a:pt x="340707" y="212450"/>
                  </a:lnTo>
                  <a:lnTo>
                    <a:pt x="343461" y="212844"/>
                  </a:lnTo>
                  <a:lnTo>
                    <a:pt x="346609" y="212057"/>
                  </a:lnTo>
                  <a:lnTo>
                    <a:pt x="349363" y="211663"/>
                  </a:lnTo>
                  <a:lnTo>
                    <a:pt x="352510" y="210877"/>
                  </a:lnTo>
                  <a:lnTo>
                    <a:pt x="355264" y="210877"/>
                  </a:lnTo>
                  <a:lnTo>
                    <a:pt x="352510" y="211270"/>
                  </a:lnTo>
                  <a:lnTo>
                    <a:pt x="355657" y="210877"/>
                  </a:lnTo>
                  <a:lnTo>
                    <a:pt x="358018" y="210877"/>
                  </a:lnTo>
                  <a:lnTo>
                    <a:pt x="361165" y="211270"/>
                  </a:lnTo>
                  <a:lnTo>
                    <a:pt x="364313" y="210877"/>
                  </a:lnTo>
                  <a:lnTo>
                    <a:pt x="367460" y="210877"/>
                  </a:lnTo>
                  <a:lnTo>
                    <a:pt x="370214" y="211270"/>
                  </a:lnTo>
                  <a:lnTo>
                    <a:pt x="372968" y="213237"/>
                  </a:lnTo>
                  <a:lnTo>
                    <a:pt x="374542" y="215991"/>
                  </a:lnTo>
                  <a:lnTo>
                    <a:pt x="377296" y="214417"/>
                  </a:lnTo>
                  <a:lnTo>
                    <a:pt x="380443" y="212844"/>
                  </a:lnTo>
                  <a:lnTo>
                    <a:pt x="377296" y="210483"/>
                  </a:lnTo>
                  <a:lnTo>
                    <a:pt x="380050" y="209696"/>
                  </a:lnTo>
                  <a:lnTo>
                    <a:pt x="383197" y="209303"/>
                  </a:lnTo>
                  <a:lnTo>
                    <a:pt x="383984" y="212450"/>
                  </a:lnTo>
                  <a:lnTo>
                    <a:pt x="382411" y="215204"/>
                  </a:lnTo>
                  <a:lnTo>
                    <a:pt x="380050" y="217958"/>
                  </a:lnTo>
                  <a:lnTo>
                    <a:pt x="382804" y="217171"/>
                  </a:lnTo>
                  <a:lnTo>
                    <a:pt x="385558" y="215598"/>
                  </a:lnTo>
                  <a:lnTo>
                    <a:pt x="388705" y="214024"/>
                  </a:lnTo>
                  <a:lnTo>
                    <a:pt x="391459" y="212450"/>
                  </a:lnTo>
                  <a:lnTo>
                    <a:pt x="394213" y="211663"/>
                  </a:lnTo>
                  <a:lnTo>
                    <a:pt x="397361" y="210877"/>
                  </a:lnTo>
                  <a:lnTo>
                    <a:pt x="400508" y="210483"/>
                  </a:lnTo>
                  <a:lnTo>
                    <a:pt x="403656" y="209696"/>
                  </a:lnTo>
                  <a:lnTo>
                    <a:pt x="406409" y="208123"/>
                  </a:lnTo>
                  <a:lnTo>
                    <a:pt x="409164" y="207729"/>
                  </a:lnTo>
                  <a:lnTo>
                    <a:pt x="411918" y="207336"/>
                  </a:lnTo>
                  <a:lnTo>
                    <a:pt x="414671" y="206942"/>
                  </a:lnTo>
                  <a:lnTo>
                    <a:pt x="417819" y="205762"/>
                  </a:lnTo>
                  <a:lnTo>
                    <a:pt x="415065" y="206155"/>
                  </a:lnTo>
                  <a:lnTo>
                    <a:pt x="417819" y="204975"/>
                  </a:lnTo>
                  <a:lnTo>
                    <a:pt x="420966" y="204582"/>
                  </a:lnTo>
                  <a:lnTo>
                    <a:pt x="424114" y="205762"/>
                  </a:lnTo>
                  <a:lnTo>
                    <a:pt x="426868" y="204975"/>
                  </a:lnTo>
                  <a:lnTo>
                    <a:pt x="430015" y="204582"/>
                  </a:lnTo>
                  <a:lnTo>
                    <a:pt x="432769" y="203008"/>
                  </a:lnTo>
                  <a:lnTo>
                    <a:pt x="435916" y="201434"/>
                  </a:lnTo>
                  <a:lnTo>
                    <a:pt x="438671" y="200647"/>
                  </a:lnTo>
                  <a:lnTo>
                    <a:pt x="441818" y="200254"/>
                  </a:lnTo>
                  <a:lnTo>
                    <a:pt x="444572" y="199861"/>
                  </a:lnTo>
                  <a:lnTo>
                    <a:pt x="442998" y="200254"/>
                  </a:lnTo>
                  <a:lnTo>
                    <a:pt x="440244" y="200647"/>
                  </a:lnTo>
                  <a:lnTo>
                    <a:pt x="440638" y="201434"/>
                  </a:lnTo>
                  <a:lnTo>
                    <a:pt x="418999" y="211663"/>
                  </a:lnTo>
                  <a:lnTo>
                    <a:pt x="416639" y="212057"/>
                  </a:lnTo>
                  <a:lnTo>
                    <a:pt x="415065" y="212844"/>
                  </a:lnTo>
                  <a:lnTo>
                    <a:pt x="312774" y="258481"/>
                  </a:lnTo>
                  <a:lnTo>
                    <a:pt x="313167" y="255727"/>
                  </a:lnTo>
                  <a:lnTo>
                    <a:pt x="310807" y="255334"/>
                  </a:lnTo>
                  <a:lnTo>
                    <a:pt x="307660" y="254547"/>
                  </a:lnTo>
                  <a:lnTo>
                    <a:pt x="304906" y="254547"/>
                  </a:lnTo>
                  <a:lnTo>
                    <a:pt x="302151" y="254940"/>
                  </a:lnTo>
                  <a:lnTo>
                    <a:pt x="299004" y="255334"/>
                  </a:lnTo>
                  <a:lnTo>
                    <a:pt x="296250" y="256121"/>
                  </a:lnTo>
                  <a:lnTo>
                    <a:pt x="293103" y="257301"/>
                  </a:lnTo>
                  <a:lnTo>
                    <a:pt x="289955" y="258875"/>
                  </a:lnTo>
                  <a:lnTo>
                    <a:pt x="291529" y="261629"/>
                  </a:lnTo>
                  <a:lnTo>
                    <a:pt x="289562" y="261235"/>
                  </a:lnTo>
                  <a:lnTo>
                    <a:pt x="286808" y="261235"/>
                  </a:lnTo>
                  <a:lnTo>
                    <a:pt x="283661" y="261629"/>
                  </a:lnTo>
                  <a:lnTo>
                    <a:pt x="280513" y="262809"/>
                  </a:lnTo>
                  <a:lnTo>
                    <a:pt x="277759" y="264382"/>
                  </a:lnTo>
                  <a:lnTo>
                    <a:pt x="274612" y="265956"/>
                  </a:lnTo>
                  <a:lnTo>
                    <a:pt x="272251" y="269104"/>
                  </a:lnTo>
                  <a:lnTo>
                    <a:pt x="270284" y="268710"/>
                  </a:lnTo>
                  <a:lnTo>
                    <a:pt x="267137" y="271071"/>
                  </a:lnTo>
                  <a:lnTo>
                    <a:pt x="264776" y="274218"/>
                  </a:lnTo>
                  <a:lnTo>
                    <a:pt x="267530" y="273431"/>
                  </a:lnTo>
                  <a:lnTo>
                    <a:pt x="273825" y="271071"/>
                  </a:lnTo>
                  <a:lnTo>
                    <a:pt x="276579" y="269890"/>
                  </a:lnTo>
                  <a:lnTo>
                    <a:pt x="276972" y="269890"/>
                  </a:lnTo>
                  <a:lnTo>
                    <a:pt x="274218" y="271071"/>
                  </a:lnTo>
                  <a:lnTo>
                    <a:pt x="271464" y="272644"/>
                  </a:lnTo>
                  <a:lnTo>
                    <a:pt x="268317" y="273825"/>
                  </a:lnTo>
                  <a:lnTo>
                    <a:pt x="265563" y="274612"/>
                  </a:lnTo>
                  <a:lnTo>
                    <a:pt x="262809" y="275005"/>
                  </a:lnTo>
                  <a:lnTo>
                    <a:pt x="260055" y="277759"/>
                  </a:lnTo>
                  <a:lnTo>
                    <a:pt x="262809" y="278939"/>
                  </a:lnTo>
                  <a:lnTo>
                    <a:pt x="261629" y="279726"/>
                  </a:lnTo>
                  <a:lnTo>
                    <a:pt x="259268" y="280513"/>
                  </a:lnTo>
                  <a:lnTo>
                    <a:pt x="256514" y="281300"/>
                  </a:lnTo>
                  <a:lnTo>
                    <a:pt x="259661" y="279333"/>
                  </a:lnTo>
                  <a:lnTo>
                    <a:pt x="259268" y="276579"/>
                  </a:lnTo>
                  <a:lnTo>
                    <a:pt x="256514" y="276579"/>
                  </a:lnTo>
                  <a:lnTo>
                    <a:pt x="253760" y="276972"/>
                  </a:lnTo>
                  <a:lnTo>
                    <a:pt x="251006" y="277759"/>
                  </a:lnTo>
                  <a:lnTo>
                    <a:pt x="248252" y="278939"/>
                  </a:lnTo>
                  <a:lnTo>
                    <a:pt x="245105" y="280120"/>
                  </a:lnTo>
                  <a:lnTo>
                    <a:pt x="241957" y="281693"/>
                  </a:lnTo>
                  <a:lnTo>
                    <a:pt x="239203" y="282874"/>
                  </a:lnTo>
                  <a:lnTo>
                    <a:pt x="236449" y="284054"/>
                  </a:lnTo>
                  <a:lnTo>
                    <a:pt x="233302" y="285628"/>
                  </a:lnTo>
                  <a:lnTo>
                    <a:pt x="230548" y="286808"/>
                  </a:lnTo>
                  <a:lnTo>
                    <a:pt x="227794" y="288382"/>
                  </a:lnTo>
                  <a:lnTo>
                    <a:pt x="224253" y="289168"/>
                  </a:lnTo>
                  <a:lnTo>
                    <a:pt x="218745" y="292709"/>
                  </a:lnTo>
                  <a:lnTo>
                    <a:pt x="215598" y="295070"/>
                  </a:lnTo>
                  <a:lnTo>
                    <a:pt x="212844" y="297824"/>
                  </a:lnTo>
                  <a:lnTo>
                    <a:pt x="209696" y="298611"/>
                  </a:lnTo>
                  <a:lnTo>
                    <a:pt x="204188" y="298611"/>
                  </a:lnTo>
                  <a:lnTo>
                    <a:pt x="201434" y="299397"/>
                  </a:lnTo>
                  <a:lnTo>
                    <a:pt x="201434" y="302151"/>
                  </a:lnTo>
                  <a:lnTo>
                    <a:pt x="204188" y="302545"/>
                  </a:lnTo>
                  <a:lnTo>
                    <a:pt x="201041" y="302938"/>
                  </a:lnTo>
                  <a:lnTo>
                    <a:pt x="198287" y="303332"/>
                  </a:lnTo>
                  <a:lnTo>
                    <a:pt x="195140" y="301758"/>
                  </a:lnTo>
                  <a:lnTo>
                    <a:pt x="192386" y="303725"/>
                  </a:lnTo>
                  <a:lnTo>
                    <a:pt x="190812" y="306873"/>
                  </a:lnTo>
                  <a:lnTo>
                    <a:pt x="193566" y="306479"/>
                  </a:lnTo>
                  <a:lnTo>
                    <a:pt x="196320" y="308053"/>
                  </a:lnTo>
                  <a:lnTo>
                    <a:pt x="193566" y="309627"/>
                  </a:lnTo>
                  <a:lnTo>
                    <a:pt x="190418" y="310413"/>
                  </a:lnTo>
                  <a:lnTo>
                    <a:pt x="187664" y="312774"/>
                  </a:lnTo>
                  <a:lnTo>
                    <a:pt x="189238" y="315921"/>
                  </a:lnTo>
                  <a:lnTo>
                    <a:pt x="186484" y="318282"/>
                  </a:lnTo>
                  <a:lnTo>
                    <a:pt x="186091" y="321036"/>
                  </a:lnTo>
                  <a:lnTo>
                    <a:pt x="189238" y="321036"/>
                  </a:lnTo>
                  <a:lnTo>
                    <a:pt x="192386" y="319069"/>
                  </a:lnTo>
                  <a:lnTo>
                    <a:pt x="195140" y="316708"/>
                  </a:lnTo>
                  <a:lnTo>
                    <a:pt x="198287" y="315528"/>
                  </a:lnTo>
                  <a:lnTo>
                    <a:pt x="201041" y="313167"/>
                  </a:lnTo>
                  <a:lnTo>
                    <a:pt x="204188" y="312380"/>
                  </a:lnTo>
                  <a:lnTo>
                    <a:pt x="203008" y="312774"/>
                  </a:lnTo>
                  <a:lnTo>
                    <a:pt x="200254" y="315135"/>
                  </a:lnTo>
                  <a:lnTo>
                    <a:pt x="197107" y="315528"/>
                  </a:lnTo>
                  <a:lnTo>
                    <a:pt x="194746" y="318675"/>
                  </a:lnTo>
                  <a:lnTo>
                    <a:pt x="197500" y="318282"/>
                  </a:lnTo>
                  <a:lnTo>
                    <a:pt x="200254" y="317102"/>
                  </a:lnTo>
                  <a:lnTo>
                    <a:pt x="197500" y="318675"/>
                  </a:lnTo>
                  <a:lnTo>
                    <a:pt x="196320" y="321823"/>
                  </a:lnTo>
                  <a:lnTo>
                    <a:pt x="199074" y="320249"/>
                  </a:lnTo>
                  <a:lnTo>
                    <a:pt x="202221" y="320642"/>
                  </a:lnTo>
                  <a:lnTo>
                    <a:pt x="199074" y="321036"/>
                  </a:lnTo>
                  <a:lnTo>
                    <a:pt x="196320" y="322610"/>
                  </a:lnTo>
                  <a:lnTo>
                    <a:pt x="193172" y="323003"/>
                  </a:lnTo>
                  <a:lnTo>
                    <a:pt x="190418" y="323396"/>
                  </a:lnTo>
                  <a:lnTo>
                    <a:pt x="188845" y="326150"/>
                  </a:lnTo>
                  <a:lnTo>
                    <a:pt x="191992" y="324970"/>
                  </a:lnTo>
                  <a:lnTo>
                    <a:pt x="194746" y="326150"/>
                  </a:lnTo>
                  <a:lnTo>
                    <a:pt x="197893" y="325364"/>
                  </a:lnTo>
                  <a:lnTo>
                    <a:pt x="200647" y="327724"/>
                  </a:lnTo>
                  <a:lnTo>
                    <a:pt x="209303" y="327724"/>
                  </a:lnTo>
                  <a:lnTo>
                    <a:pt x="212450" y="328118"/>
                  </a:lnTo>
                  <a:lnTo>
                    <a:pt x="208123" y="336380"/>
                  </a:lnTo>
                  <a:lnTo>
                    <a:pt x="205762" y="335986"/>
                  </a:lnTo>
                  <a:lnTo>
                    <a:pt x="208516" y="333626"/>
                  </a:lnTo>
                  <a:lnTo>
                    <a:pt x="210090" y="330478"/>
                  </a:lnTo>
                  <a:lnTo>
                    <a:pt x="207336" y="330872"/>
                  </a:lnTo>
                  <a:lnTo>
                    <a:pt x="204582" y="332052"/>
                  </a:lnTo>
                  <a:lnTo>
                    <a:pt x="201828" y="333626"/>
                  </a:lnTo>
                  <a:lnTo>
                    <a:pt x="198680" y="334412"/>
                  </a:lnTo>
                  <a:lnTo>
                    <a:pt x="195926" y="335199"/>
                  </a:lnTo>
                  <a:lnTo>
                    <a:pt x="192779" y="336380"/>
                  </a:lnTo>
                  <a:lnTo>
                    <a:pt x="190025" y="336773"/>
                  </a:lnTo>
                  <a:lnTo>
                    <a:pt x="191599" y="336380"/>
                  </a:lnTo>
                  <a:lnTo>
                    <a:pt x="194353" y="335593"/>
                  </a:lnTo>
                  <a:lnTo>
                    <a:pt x="197500" y="334019"/>
                  </a:lnTo>
                  <a:lnTo>
                    <a:pt x="200647" y="333232"/>
                  </a:lnTo>
                  <a:lnTo>
                    <a:pt x="201041" y="330085"/>
                  </a:lnTo>
                  <a:lnTo>
                    <a:pt x="198287" y="329298"/>
                  </a:lnTo>
                  <a:lnTo>
                    <a:pt x="195533" y="329691"/>
                  </a:lnTo>
                  <a:lnTo>
                    <a:pt x="197500" y="326937"/>
                  </a:lnTo>
                  <a:lnTo>
                    <a:pt x="194353" y="327331"/>
                  </a:lnTo>
                  <a:lnTo>
                    <a:pt x="191599" y="326544"/>
                  </a:lnTo>
                  <a:lnTo>
                    <a:pt x="188845" y="329691"/>
                  </a:lnTo>
                  <a:lnTo>
                    <a:pt x="185697" y="330478"/>
                  </a:lnTo>
                  <a:lnTo>
                    <a:pt x="182943" y="332839"/>
                  </a:lnTo>
                  <a:lnTo>
                    <a:pt x="180189" y="333626"/>
                  </a:lnTo>
                  <a:lnTo>
                    <a:pt x="177042" y="334806"/>
                  </a:lnTo>
                  <a:lnTo>
                    <a:pt x="173895" y="335593"/>
                  </a:lnTo>
                  <a:lnTo>
                    <a:pt x="170747" y="336773"/>
                  </a:lnTo>
                  <a:lnTo>
                    <a:pt x="167993" y="339527"/>
                  </a:lnTo>
                  <a:lnTo>
                    <a:pt x="171141" y="339133"/>
                  </a:lnTo>
                  <a:lnTo>
                    <a:pt x="173895" y="339527"/>
                  </a:lnTo>
                  <a:lnTo>
                    <a:pt x="171141" y="340707"/>
                  </a:lnTo>
                  <a:lnTo>
                    <a:pt x="167993" y="342674"/>
                  </a:lnTo>
                  <a:lnTo>
                    <a:pt x="168780" y="345035"/>
                  </a:lnTo>
                  <a:lnTo>
                    <a:pt x="171927" y="345822"/>
                  </a:lnTo>
                  <a:lnTo>
                    <a:pt x="172714" y="345822"/>
                  </a:lnTo>
                  <a:lnTo>
                    <a:pt x="175862" y="344641"/>
                  </a:lnTo>
                  <a:lnTo>
                    <a:pt x="173501" y="346215"/>
                  </a:lnTo>
                  <a:lnTo>
                    <a:pt x="173895" y="349363"/>
                  </a:lnTo>
                  <a:lnTo>
                    <a:pt x="172714" y="350149"/>
                  </a:lnTo>
                  <a:lnTo>
                    <a:pt x="172714" y="352903"/>
                  </a:lnTo>
                  <a:lnTo>
                    <a:pt x="175468" y="354477"/>
                  </a:lnTo>
                  <a:lnTo>
                    <a:pt x="173501" y="355657"/>
                  </a:lnTo>
                  <a:lnTo>
                    <a:pt x="170354" y="356838"/>
                  </a:lnTo>
                  <a:lnTo>
                    <a:pt x="168780" y="359985"/>
                  </a:lnTo>
                  <a:lnTo>
                    <a:pt x="171927" y="360379"/>
                  </a:lnTo>
                  <a:lnTo>
                    <a:pt x="174681" y="360772"/>
                  </a:lnTo>
                  <a:lnTo>
                    <a:pt x="177435" y="361165"/>
                  </a:lnTo>
                  <a:lnTo>
                    <a:pt x="180189" y="360772"/>
                  </a:lnTo>
                  <a:lnTo>
                    <a:pt x="186484" y="360379"/>
                  </a:lnTo>
                  <a:lnTo>
                    <a:pt x="189632" y="359985"/>
                  </a:lnTo>
                  <a:lnTo>
                    <a:pt x="192779" y="359592"/>
                  </a:lnTo>
                  <a:lnTo>
                    <a:pt x="195926" y="358805"/>
                  </a:lnTo>
                  <a:lnTo>
                    <a:pt x="198680" y="358018"/>
                  </a:lnTo>
                  <a:lnTo>
                    <a:pt x="201828" y="357625"/>
                  </a:lnTo>
                  <a:lnTo>
                    <a:pt x="204975" y="356838"/>
                  </a:lnTo>
                  <a:lnTo>
                    <a:pt x="208123" y="355264"/>
                  </a:lnTo>
                  <a:lnTo>
                    <a:pt x="210483" y="355657"/>
                  </a:lnTo>
                  <a:lnTo>
                    <a:pt x="213631" y="355264"/>
                  </a:lnTo>
                  <a:lnTo>
                    <a:pt x="215991" y="354084"/>
                  </a:lnTo>
                  <a:lnTo>
                    <a:pt x="216778" y="353297"/>
                  </a:lnTo>
                  <a:lnTo>
                    <a:pt x="228581" y="346215"/>
                  </a:lnTo>
                  <a:lnTo>
                    <a:pt x="226614" y="348182"/>
                  </a:lnTo>
                  <a:lnTo>
                    <a:pt x="224253" y="350936"/>
                  </a:lnTo>
                  <a:lnTo>
                    <a:pt x="227007" y="349363"/>
                  </a:lnTo>
                  <a:lnTo>
                    <a:pt x="229761" y="348969"/>
                  </a:lnTo>
                  <a:lnTo>
                    <a:pt x="224253" y="352510"/>
                  </a:lnTo>
                  <a:lnTo>
                    <a:pt x="221499" y="355264"/>
                  </a:lnTo>
                  <a:lnTo>
                    <a:pt x="195926" y="378476"/>
                  </a:lnTo>
                  <a:lnTo>
                    <a:pt x="198680" y="376902"/>
                  </a:lnTo>
                  <a:lnTo>
                    <a:pt x="195926" y="378476"/>
                  </a:lnTo>
                  <a:lnTo>
                    <a:pt x="195926" y="378476"/>
                  </a:lnTo>
                  <a:lnTo>
                    <a:pt x="195533" y="378476"/>
                  </a:lnTo>
                  <a:lnTo>
                    <a:pt x="195533" y="378476"/>
                  </a:lnTo>
                  <a:lnTo>
                    <a:pt x="195533" y="378476"/>
                  </a:lnTo>
                  <a:lnTo>
                    <a:pt x="193959" y="380837"/>
                  </a:lnTo>
                  <a:lnTo>
                    <a:pt x="192779" y="383591"/>
                  </a:lnTo>
                  <a:lnTo>
                    <a:pt x="195926" y="382804"/>
                  </a:lnTo>
                  <a:lnTo>
                    <a:pt x="198680" y="382804"/>
                  </a:lnTo>
                  <a:lnTo>
                    <a:pt x="201434" y="383197"/>
                  </a:lnTo>
                  <a:lnTo>
                    <a:pt x="198680" y="384378"/>
                  </a:lnTo>
                  <a:lnTo>
                    <a:pt x="195533" y="385558"/>
                  </a:lnTo>
                  <a:lnTo>
                    <a:pt x="192779" y="385164"/>
                  </a:lnTo>
                  <a:lnTo>
                    <a:pt x="190418" y="387918"/>
                  </a:lnTo>
                  <a:lnTo>
                    <a:pt x="187271" y="390279"/>
                  </a:lnTo>
                  <a:lnTo>
                    <a:pt x="186878" y="393033"/>
                  </a:lnTo>
                  <a:lnTo>
                    <a:pt x="183730" y="393820"/>
                  </a:lnTo>
                  <a:lnTo>
                    <a:pt x="180976" y="394607"/>
                  </a:lnTo>
                  <a:lnTo>
                    <a:pt x="178222" y="396574"/>
                  </a:lnTo>
                  <a:lnTo>
                    <a:pt x="175075" y="396180"/>
                  </a:lnTo>
                  <a:lnTo>
                    <a:pt x="171927" y="397754"/>
                  </a:lnTo>
                  <a:lnTo>
                    <a:pt x="175075" y="397361"/>
                  </a:lnTo>
                  <a:lnTo>
                    <a:pt x="178222" y="399328"/>
                  </a:lnTo>
                  <a:lnTo>
                    <a:pt x="181370" y="398147"/>
                  </a:lnTo>
                  <a:lnTo>
                    <a:pt x="184517" y="397361"/>
                  </a:lnTo>
                  <a:lnTo>
                    <a:pt x="187271" y="396967"/>
                  </a:lnTo>
                  <a:lnTo>
                    <a:pt x="190418" y="395787"/>
                  </a:lnTo>
                  <a:lnTo>
                    <a:pt x="193172" y="394213"/>
                  </a:lnTo>
                  <a:lnTo>
                    <a:pt x="196320" y="392246"/>
                  </a:lnTo>
                  <a:lnTo>
                    <a:pt x="199074" y="392639"/>
                  </a:lnTo>
                  <a:lnTo>
                    <a:pt x="205369" y="391066"/>
                  </a:lnTo>
                  <a:lnTo>
                    <a:pt x="208123" y="390279"/>
                  </a:lnTo>
                  <a:lnTo>
                    <a:pt x="210877" y="390672"/>
                  </a:lnTo>
                  <a:lnTo>
                    <a:pt x="214024" y="389099"/>
                  </a:lnTo>
                  <a:lnTo>
                    <a:pt x="217171" y="387918"/>
                  </a:lnTo>
                  <a:lnTo>
                    <a:pt x="220319" y="387131"/>
                  </a:lnTo>
                  <a:lnTo>
                    <a:pt x="221106" y="386738"/>
                  </a:lnTo>
                  <a:lnTo>
                    <a:pt x="227007" y="388705"/>
                  </a:lnTo>
                  <a:lnTo>
                    <a:pt x="228187" y="390279"/>
                  </a:lnTo>
                  <a:lnTo>
                    <a:pt x="230941" y="389886"/>
                  </a:lnTo>
                  <a:lnTo>
                    <a:pt x="230548" y="390279"/>
                  </a:lnTo>
                  <a:lnTo>
                    <a:pt x="228974" y="393426"/>
                  </a:lnTo>
                  <a:lnTo>
                    <a:pt x="232122" y="392246"/>
                  </a:lnTo>
                  <a:lnTo>
                    <a:pt x="237630" y="403655"/>
                  </a:lnTo>
                  <a:lnTo>
                    <a:pt x="238023" y="404049"/>
                  </a:lnTo>
                  <a:lnTo>
                    <a:pt x="240777" y="404442"/>
                  </a:lnTo>
                  <a:lnTo>
                    <a:pt x="243924" y="403262"/>
                  </a:lnTo>
                  <a:lnTo>
                    <a:pt x="247072" y="401688"/>
                  </a:lnTo>
                  <a:lnTo>
                    <a:pt x="248646" y="398934"/>
                  </a:lnTo>
                  <a:lnTo>
                    <a:pt x="251006" y="396180"/>
                  </a:lnTo>
                  <a:lnTo>
                    <a:pt x="263202" y="389099"/>
                  </a:lnTo>
                  <a:lnTo>
                    <a:pt x="264776" y="388705"/>
                  </a:lnTo>
                  <a:lnTo>
                    <a:pt x="267530" y="387525"/>
                  </a:lnTo>
                  <a:lnTo>
                    <a:pt x="270677" y="385951"/>
                  </a:lnTo>
                  <a:lnTo>
                    <a:pt x="273431" y="384378"/>
                  </a:lnTo>
                  <a:lnTo>
                    <a:pt x="276185" y="382804"/>
                  </a:lnTo>
                  <a:lnTo>
                    <a:pt x="278153" y="380050"/>
                  </a:lnTo>
                  <a:lnTo>
                    <a:pt x="277759" y="381230"/>
                  </a:lnTo>
                  <a:lnTo>
                    <a:pt x="279333" y="383984"/>
                  </a:lnTo>
                  <a:lnTo>
                    <a:pt x="279726" y="385164"/>
                  </a:lnTo>
                  <a:lnTo>
                    <a:pt x="276972" y="384378"/>
                  </a:lnTo>
                  <a:lnTo>
                    <a:pt x="274218" y="384771"/>
                  </a:lnTo>
                  <a:lnTo>
                    <a:pt x="271071" y="386738"/>
                  </a:lnTo>
                  <a:lnTo>
                    <a:pt x="268317" y="388705"/>
                  </a:lnTo>
                  <a:lnTo>
                    <a:pt x="265563" y="390279"/>
                  </a:lnTo>
                  <a:lnTo>
                    <a:pt x="266350" y="393426"/>
                  </a:lnTo>
                  <a:lnTo>
                    <a:pt x="263989" y="396180"/>
                  </a:lnTo>
                  <a:lnTo>
                    <a:pt x="266350" y="397754"/>
                  </a:lnTo>
                  <a:lnTo>
                    <a:pt x="269497" y="397361"/>
                  </a:lnTo>
                  <a:lnTo>
                    <a:pt x="272644" y="396574"/>
                  </a:lnTo>
                  <a:lnTo>
                    <a:pt x="275792" y="396180"/>
                  </a:lnTo>
                  <a:lnTo>
                    <a:pt x="278546" y="395393"/>
                  </a:lnTo>
                  <a:lnTo>
                    <a:pt x="281693" y="394607"/>
                  </a:lnTo>
                  <a:lnTo>
                    <a:pt x="284447" y="394213"/>
                  </a:lnTo>
                  <a:lnTo>
                    <a:pt x="287595" y="393426"/>
                  </a:lnTo>
                  <a:lnTo>
                    <a:pt x="290349" y="393033"/>
                  </a:lnTo>
                  <a:lnTo>
                    <a:pt x="293496" y="392246"/>
                  </a:lnTo>
                  <a:lnTo>
                    <a:pt x="296644" y="391853"/>
                  </a:lnTo>
                  <a:lnTo>
                    <a:pt x="299398" y="391459"/>
                  </a:lnTo>
                  <a:lnTo>
                    <a:pt x="302151" y="390672"/>
                  </a:lnTo>
                  <a:lnTo>
                    <a:pt x="305299" y="389099"/>
                  </a:lnTo>
                  <a:lnTo>
                    <a:pt x="308053" y="387525"/>
                  </a:lnTo>
                  <a:lnTo>
                    <a:pt x="310807" y="387131"/>
                  </a:lnTo>
                  <a:lnTo>
                    <a:pt x="313954" y="384771"/>
                  </a:lnTo>
                  <a:lnTo>
                    <a:pt x="316708" y="383197"/>
                  </a:lnTo>
                  <a:lnTo>
                    <a:pt x="319856" y="382017"/>
                  </a:lnTo>
                  <a:lnTo>
                    <a:pt x="318675" y="382410"/>
                  </a:lnTo>
                  <a:lnTo>
                    <a:pt x="315528" y="383984"/>
                  </a:lnTo>
                  <a:lnTo>
                    <a:pt x="312381" y="386345"/>
                  </a:lnTo>
                  <a:lnTo>
                    <a:pt x="309627" y="387525"/>
                  </a:lnTo>
                  <a:lnTo>
                    <a:pt x="306873" y="388312"/>
                  </a:lnTo>
                  <a:lnTo>
                    <a:pt x="303725" y="390279"/>
                  </a:lnTo>
                  <a:lnTo>
                    <a:pt x="300578" y="392639"/>
                  </a:lnTo>
                  <a:lnTo>
                    <a:pt x="297824" y="395000"/>
                  </a:lnTo>
                  <a:lnTo>
                    <a:pt x="295463" y="395393"/>
                  </a:lnTo>
                  <a:lnTo>
                    <a:pt x="292709" y="396180"/>
                  </a:lnTo>
                  <a:lnTo>
                    <a:pt x="289562" y="397361"/>
                  </a:lnTo>
                  <a:lnTo>
                    <a:pt x="286414" y="398934"/>
                  </a:lnTo>
                  <a:lnTo>
                    <a:pt x="283661" y="400508"/>
                  </a:lnTo>
                  <a:lnTo>
                    <a:pt x="280513" y="401295"/>
                  </a:lnTo>
                  <a:lnTo>
                    <a:pt x="277759" y="402475"/>
                  </a:lnTo>
                  <a:lnTo>
                    <a:pt x="275005" y="404049"/>
                  </a:lnTo>
                  <a:lnTo>
                    <a:pt x="272251" y="405623"/>
                  </a:lnTo>
                  <a:lnTo>
                    <a:pt x="269497" y="407983"/>
                  </a:lnTo>
                  <a:lnTo>
                    <a:pt x="268710" y="411131"/>
                  </a:lnTo>
                  <a:lnTo>
                    <a:pt x="271858" y="410344"/>
                  </a:lnTo>
                  <a:lnTo>
                    <a:pt x="274612" y="412704"/>
                  </a:lnTo>
                  <a:lnTo>
                    <a:pt x="271858" y="411131"/>
                  </a:lnTo>
                  <a:lnTo>
                    <a:pt x="268710" y="411917"/>
                  </a:lnTo>
                  <a:lnTo>
                    <a:pt x="265956" y="412311"/>
                  </a:lnTo>
                  <a:lnTo>
                    <a:pt x="261629" y="413098"/>
                  </a:lnTo>
                  <a:lnTo>
                    <a:pt x="258875" y="414671"/>
                  </a:lnTo>
                  <a:lnTo>
                    <a:pt x="255727" y="417032"/>
                  </a:lnTo>
                  <a:lnTo>
                    <a:pt x="252973" y="419392"/>
                  </a:lnTo>
                  <a:lnTo>
                    <a:pt x="247465" y="423327"/>
                  </a:lnTo>
                  <a:lnTo>
                    <a:pt x="244318" y="425294"/>
                  </a:lnTo>
                  <a:lnTo>
                    <a:pt x="241564" y="427654"/>
                  </a:lnTo>
                  <a:lnTo>
                    <a:pt x="241170" y="430802"/>
                  </a:lnTo>
                  <a:lnTo>
                    <a:pt x="238416" y="433162"/>
                  </a:lnTo>
                  <a:lnTo>
                    <a:pt x="236056" y="433949"/>
                  </a:lnTo>
                  <a:lnTo>
                    <a:pt x="237630" y="431195"/>
                  </a:lnTo>
                  <a:lnTo>
                    <a:pt x="234876" y="431589"/>
                  </a:lnTo>
                  <a:lnTo>
                    <a:pt x="232122" y="432769"/>
                  </a:lnTo>
                  <a:lnTo>
                    <a:pt x="228974" y="433556"/>
                  </a:lnTo>
                  <a:lnTo>
                    <a:pt x="226220" y="435130"/>
                  </a:lnTo>
                  <a:lnTo>
                    <a:pt x="223466" y="436310"/>
                  </a:lnTo>
                  <a:lnTo>
                    <a:pt x="220319" y="437884"/>
                  </a:lnTo>
                  <a:lnTo>
                    <a:pt x="217171" y="438277"/>
                  </a:lnTo>
                  <a:lnTo>
                    <a:pt x="214417" y="439064"/>
                  </a:lnTo>
                  <a:lnTo>
                    <a:pt x="208123" y="441818"/>
                  </a:lnTo>
                  <a:lnTo>
                    <a:pt x="204975" y="443391"/>
                  </a:lnTo>
                  <a:lnTo>
                    <a:pt x="202221" y="444572"/>
                  </a:lnTo>
                  <a:lnTo>
                    <a:pt x="199074" y="446145"/>
                  </a:lnTo>
                  <a:lnTo>
                    <a:pt x="196320" y="447719"/>
                  </a:lnTo>
                  <a:lnTo>
                    <a:pt x="195926" y="448113"/>
                  </a:lnTo>
                  <a:lnTo>
                    <a:pt x="153830" y="462276"/>
                  </a:lnTo>
                  <a:lnTo>
                    <a:pt x="152649" y="462669"/>
                  </a:lnTo>
                  <a:lnTo>
                    <a:pt x="149502" y="463456"/>
                  </a:lnTo>
                  <a:lnTo>
                    <a:pt x="146748" y="464637"/>
                  </a:lnTo>
                  <a:lnTo>
                    <a:pt x="145174" y="465423"/>
                  </a:lnTo>
                  <a:lnTo>
                    <a:pt x="140847" y="466997"/>
                  </a:lnTo>
                  <a:lnTo>
                    <a:pt x="138486" y="467784"/>
                  </a:lnTo>
                  <a:lnTo>
                    <a:pt x="135339" y="468571"/>
                  </a:lnTo>
                  <a:lnTo>
                    <a:pt x="132191" y="470144"/>
                  </a:lnTo>
                  <a:lnTo>
                    <a:pt x="129437" y="471325"/>
                  </a:lnTo>
                  <a:lnTo>
                    <a:pt x="126290" y="472505"/>
                  </a:lnTo>
                  <a:lnTo>
                    <a:pt x="125896" y="472898"/>
                  </a:lnTo>
                  <a:lnTo>
                    <a:pt x="98750" y="482734"/>
                  </a:lnTo>
                  <a:lnTo>
                    <a:pt x="95996" y="483521"/>
                  </a:lnTo>
                  <a:lnTo>
                    <a:pt x="92849" y="483128"/>
                  </a:lnTo>
                  <a:lnTo>
                    <a:pt x="90095" y="482734"/>
                  </a:lnTo>
                  <a:lnTo>
                    <a:pt x="93242" y="481947"/>
                  </a:lnTo>
                  <a:lnTo>
                    <a:pt x="95996" y="481160"/>
                  </a:lnTo>
                  <a:lnTo>
                    <a:pt x="92849" y="481947"/>
                  </a:lnTo>
                  <a:lnTo>
                    <a:pt x="89701" y="482341"/>
                  </a:lnTo>
                  <a:lnTo>
                    <a:pt x="86947" y="482734"/>
                  </a:lnTo>
                  <a:lnTo>
                    <a:pt x="84193" y="483128"/>
                  </a:lnTo>
                  <a:lnTo>
                    <a:pt x="81046" y="483521"/>
                  </a:lnTo>
                  <a:lnTo>
                    <a:pt x="77898" y="483914"/>
                  </a:lnTo>
                  <a:lnTo>
                    <a:pt x="74751" y="484701"/>
                  </a:lnTo>
                  <a:lnTo>
                    <a:pt x="71604" y="485882"/>
                  </a:lnTo>
                  <a:lnTo>
                    <a:pt x="68850" y="487062"/>
                  </a:lnTo>
                  <a:lnTo>
                    <a:pt x="66096" y="487849"/>
                  </a:lnTo>
                  <a:lnTo>
                    <a:pt x="62948" y="489029"/>
                  </a:lnTo>
                  <a:lnTo>
                    <a:pt x="60194" y="490209"/>
                  </a:lnTo>
                  <a:lnTo>
                    <a:pt x="57047" y="490996"/>
                  </a:lnTo>
                  <a:lnTo>
                    <a:pt x="54293" y="492570"/>
                  </a:lnTo>
                  <a:lnTo>
                    <a:pt x="51539" y="494143"/>
                  </a:lnTo>
                  <a:lnTo>
                    <a:pt x="48391" y="495324"/>
                  </a:lnTo>
                  <a:lnTo>
                    <a:pt x="45637" y="496897"/>
                  </a:lnTo>
                  <a:lnTo>
                    <a:pt x="42490" y="498471"/>
                  </a:lnTo>
                  <a:lnTo>
                    <a:pt x="40129" y="501619"/>
                  </a:lnTo>
                  <a:lnTo>
                    <a:pt x="36982" y="502405"/>
                  </a:lnTo>
                  <a:lnTo>
                    <a:pt x="34228" y="502405"/>
                  </a:lnTo>
                  <a:lnTo>
                    <a:pt x="31081" y="503979"/>
                  </a:lnTo>
                  <a:lnTo>
                    <a:pt x="28327" y="504373"/>
                  </a:lnTo>
                  <a:lnTo>
                    <a:pt x="25573" y="506733"/>
                  </a:lnTo>
                  <a:lnTo>
                    <a:pt x="22425" y="507520"/>
                  </a:lnTo>
                  <a:lnTo>
                    <a:pt x="19671" y="507127"/>
                  </a:lnTo>
                  <a:lnTo>
                    <a:pt x="22819" y="505553"/>
                  </a:lnTo>
                  <a:lnTo>
                    <a:pt x="19671" y="506733"/>
                  </a:lnTo>
                  <a:lnTo>
                    <a:pt x="16524" y="507913"/>
                  </a:lnTo>
                  <a:lnTo>
                    <a:pt x="13770" y="508307"/>
                  </a:lnTo>
                  <a:lnTo>
                    <a:pt x="10623" y="509487"/>
                  </a:lnTo>
                  <a:lnTo>
                    <a:pt x="5508" y="514995"/>
                  </a:lnTo>
                  <a:lnTo>
                    <a:pt x="2754" y="516569"/>
                  </a:lnTo>
                  <a:lnTo>
                    <a:pt x="0" y="518929"/>
                  </a:lnTo>
                  <a:lnTo>
                    <a:pt x="2754" y="518536"/>
                  </a:lnTo>
                  <a:lnTo>
                    <a:pt x="5901" y="516962"/>
                  </a:lnTo>
                  <a:lnTo>
                    <a:pt x="8655" y="515782"/>
                  </a:lnTo>
                  <a:lnTo>
                    <a:pt x="11803" y="514208"/>
                  </a:lnTo>
                  <a:lnTo>
                    <a:pt x="11409" y="511454"/>
                  </a:lnTo>
                  <a:lnTo>
                    <a:pt x="14163" y="510274"/>
                  </a:lnTo>
                  <a:lnTo>
                    <a:pt x="17311" y="512635"/>
                  </a:lnTo>
                  <a:lnTo>
                    <a:pt x="16524" y="515388"/>
                  </a:lnTo>
                  <a:lnTo>
                    <a:pt x="19671" y="514995"/>
                  </a:lnTo>
                  <a:lnTo>
                    <a:pt x="22425" y="513421"/>
                  </a:lnTo>
                  <a:lnTo>
                    <a:pt x="25179" y="513421"/>
                  </a:lnTo>
                  <a:lnTo>
                    <a:pt x="27146" y="510667"/>
                  </a:lnTo>
                  <a:lnTo>
                    <a:pt x="29900" y="508307"/>
                  </a:lnTo>
                  <a:lnTo>
                    <a:pt x="31474" y="505553"/>
                  </a:lnTo>
                  <a:lnTo>
                    <a:pt x="34622" y="505159"/>
                  </a:lnTo>
                  <a:lnTo>
                    <a:pt x="33835" y="507913"/>
                  </a:lnTo>
                  <a:lnTo>
                    <a:pt x="33441" y="510667"/>
                  </a:lnTo>
                  <a:lnTo>
                    <a:pt x="30294" y="512635"/>
                  </a:lnTo>
                  <a:lnTo>
                    <a:pt x="33441" y="513028"/>
                  </a:lnTo>
                  <a:lnTo>
                    <a:pt x="36195" y="512241"/>
                  </a:lnTo>
                  <a:lnTo>
                    <a:pt x="38949" y="509487"/>
                  </a:lnTo>
                  <a:lnTo>
                    <a:pt x="41703" y="511061"/>
                  </a:lnTo>
                  <a:lnTo>
                    <a:pt x="44851" y="508307"/>
                  </a:lnTo>
                  <a:lnTo>
                    <a:pt x="47605" y="506340"/>
                  </a:lnTo>
                  <a:lnTo>
                    <a:pt x="50359" y="506340"/>
                  </a:lnTo>
                  <a:lnTo>
                    <a:pt x="53506" y="504766"/>
                  </a:lnTo>
                  <a:lnTo>
                    <a:pt x="59014" y="502012"/>
                  </a:lnTo>
                  <a:lnTo>
                    <a:pt x="62161" y="500045"/>
                  </a:lnTo>
                  <a:lnTo>
                    <a:pt x="65309" y="497684"/>
                  </a:lnTo>
                  <a:lnTo>
                    <a:pt x="68063" y="496111"/>
                  </a:lnTo>
                  <a:lnTo>
                    <a:pt x="70817" y="494537"/>
                  </a:lnTo>
                  <a:lnTo>
                    <a:pt x="73571" y="494143"/>
                  </a:lnTo>
                  <a:lnTo>
                    <a:pt x="76718" y="494930"/>
                  </a:lnTo>
                  <a:lnTo>
                    <a:pt x="79472" y="497291"/>
                  </a:lnTo>
                  <a:lnTo>
                    <a:pt x="76325" y="496897"/>
                  </a:lnTo>
                  <a:lnTo>
                    <a:pt x="73571" y="496504"/>
                  </a:lnTo>
                  <a:lnTo>
                    <a:pt x="70817" y="498078"/>
                  </a:lnTo>
                  <a:lnTo>
                    <a:pt x="67669" y="500438"/>
                  </a:lnTo>
                  <a:lnTo>
                    <a:pt x="64915" y="502799"/>
                  </a:lnTo>
                  <a:lnTo>
                    <a:pt x="68063" y="502405"/>
                  </a:lnTo>
                  <a:lnTo>
                    <a:pt x="70817" y="503192"/>
                  </a:lnTo>
                  <a:lnTo>
                    <a:pt x="73571" y="502012"/>
                  </a:lnTo>
                  <a:lnTo>
                    <a:pt x="76718" y="501225"/>
                  </a:lnTo>
                  <a:lnTo>
                    <a:pt x="79472" y="500438"/>
                  </a:lnTo>
                  <a:lnTo>
                    <a:pt x="82620" y="498865"/>
                  </a:lnTo>
                  <a:lnTo>
                    <a:pt x="85767" y="500438"/>
                  </a:lnTo>
                  <a:lnTo>
                    <a:pt x="88914" y="500045"/>
                  </a:lnTo>
                  <a:lnTo>
                    <a:pt x="91668" y="497684"/>
                  </a:lnTo>
                  <a:lnTo>
                    <a:pt x="94422" y="496897"/>
                  </a:lnTo>
                  <a:lnTo>
                    <a:pt x="93242" y="499651"/>
                  </a:lnTo>
                  <a:lnTo>
                    <a:pt x="96389" y="498078"/>
                  </a:lnTo>
                  <a:lnTo>
                    <a:pt x="99143" y="496504"/>
                  </a:lnTo>
                  <a:lnTo>
                    <a:pt x="101897" y="494143"/>
                  </a:lnTo>
                  <a:lnTo>
                    <a:pt x="104651" y="494537"/>
                  </a:lnTo>
                  <a:lnTo>
                    <a:pt x="107799" y="494143"/>
                  </a:lnTo>
                  <a:lnTo>
                    <a:pt x="110946" y="492176"/>
                  </a:lnTo>
                  <a:lnTo>
                    <a:pt x="113700" y="492176"/>
                  </a:lnTo>
                  <a:lnTo>
                    <a:pt x="116848" y="490209"/>
                  </a:lnTo>
                  <a:lnTo>
                    <a:pt x="118815" y="490209"/>
                  </a:lnTo>
                  <a:lnTo>
                    <a:pt x="119995" y="489816"/>
                  </a:lnTo>
                  <a:lnTo>
                    <a:pt x="122356" y="489422"/>
                  </a:lnTo>
                  <a:lnTo>
                    <a:pt x="124716" y="490603"/>
                  </a:lnTo>
                  <a:lnTo>
                    <a:pt x="121962" y="492963"/>
                  </a:lnTo>
                  <a:lnTo>
                    <a:pt x="118815" y="495324"/>
                  </a:lnTo>
                  <a:lnTo>
                    <a:pt x="115667" y="496897"/>
                  </a:lnTo>
                  <a:lnTo>
                    <a:pt x="118421" y="496504"/>
                  </a:lnTo>
                  <a:lnTo>
                    <a:pt x="121569" y="494537"/>
                  </a:lnTo>
                  <a:lnTo>
                    <a:pt x="124323" y="492963"/>
                  </a:lnTo>
                  <a:lnTo>
                    <a:pt x="127470" y="490603"/>
                  </a:lnTo>
                  <a:lnTo>
                    <a:pt x="130224" y="488242"/>
                  </a:lnTo>
                  <a:lnTo>
                    <a:pt x="132978" y="488242"/>
                  </a:lnTo>
                  <a:lnTo>
                    <a:pt x="135732" y="487062"/>
                  </a:lnTo>
                  <a:lnTo>
                    <a:pt x="142814" y="485882"/>
                  </a:lnTo>
                  <a:lnTo>
                    <a:pt x="144781" y="486275"/>
                  </a:lnTo>
                  <a:lnTo>
                    <a:pt x="147141" y="485095"/>
                  </a:lnTo>
                  <a:lnTo>
                    <a:pt x="153830" y="484308"/>
                  </a:lnTo>
                  <a:lnTo>
                    <a:pt x="153830" y="484308"/>
                  </a:lnTo>
                  <a:lnTo>
                    <a:pt x="154223" y="484308"/>
                  </a:lnTo>
                  <a:lnTo>
                    <a:pt x="161305" y="483128"/>
                  </a:lnTo>
                  <a:lnTo>
                    <a:pt x="163665" y="482734"/>
                  </a:lnTo>
                  <a:lnTo>
                    <a:pt x="164059" y="482341"/>
                  </a:lnTo>
                  <a:lnTo>
                    <a:pt x="210090" y="463063"/>
                  </a:lnTo>
                  <a:lnTo>
                    <a:pt x="210877" y="463063"/>
                  </a:lnTo>
                  <a:lnTo>
                    <a:pt x="210877" y="462669"/>
                  </a:lnTo>
                  <a:lnTo>
                    <a:pt x="221892" y="457948"/>
                  </a:lnTo>
                  <a:lnTo>
                    <a:pt x="221892" y="458342"/>
                  </a:lnTo>
                  <a:lnTo>
                    <a:pt x="225040" y="456768"/>
                  </a:lnTo>
                  <a:lnTo>
                    <a:pt x="227400" y="455981"/>
                  </a:lnTo>
                  <a:lnTo>
                    <a:pt x="228581" y="455588"/>
                  </a:lnTo>
                  <a:lnTo>
                    <a:pt x="230548" y="454407"/>
                  </a:lnTo>
                  <a:lnTo>
                    <a:pt x="234876" y="452834"/>
                  </a:lnTo>
                  <a:lnTo>
                    <a:pt x="237236" y="453227"/>
                  </a:lnTo>
                  <a:lnTo>
                    <a:pt x="240384" y="451653"/>
                  </a:lnTo>
                  <a:lnTo>
                    <a:pt x="243138" y="451260"/>
                  </a:lnTo>
                  <a:lnTo>
                    <a:pt x="245892" y="449293"/>
                  </a:lnTo>
                  <a:lnTo>
                    <a:pt x="249039" y="449293"/>
                  </a:lnTo>
                  <a:lnTo>
                    <a:pt x="251793" y="447326"/>
                  </a:lnTo>
                  <a:lnTo>
                    <a:pt x="254940" y="446932"/>
                  </a:lnTo>
                  <a:lnTo>
                    <a:pt x="256121" y="444965"/>
                  </a:lnTo>
                  <a:lnTo>
                    <a:pt x="285628" y="433949"/>
                  </a:lnTo>
                  <a:lnTo>
                    <a:pt x="293103" y="430015"/>
                  </a:lnTo>
                  <a:lnTo>
                    <a:pt x="293890" y="430015"/>
                  </a:lnTo>
                  <a:lnTo>
                    <a:pt x="294283" y="429622"/>
                  </a:lnTo>
                  <a:lnTo>
                    <a:pt x="299004" y="427261"/>
                  </a:lnTo>
                  <a:lnTo>
                    <a:pt x="299004" y="427261"/>
                  </a:lnTo>
                  <a:lnTo>
                    <a:pt x="301758" y="428048"/>
                  </a:lnTo>
                  <a:lnTo>
                    <a:pt x="304906" y="426081"/>
                  </a:lnTo>
                  <a:lnTo>
                    <a:pt x="307660" y="424900"/>
                  </a:lnTo>
                  <a:lnTo>
                    <a:pt x="310807" y="423720"/>
                  </a:lnTo>
                  <a:lnTo>
                    <a:pt x="313561" y="423327"/>
                  </a:lnTo>
                  <a:lnTo>
                    <a:pt x="316708" y="420966"/>
                  </a:lnTo>
                  <a:lnTo>
                    <a:pt x="319462" y="419392"/>
                  </a:lnTo>
                  <a:lnTo>
                    <a:pt x="322216" y="418999"/>
                  </a:lnTo>
                  <a:lnTo>
                    <a:pt x="325757" y="419392"/>
                  </a:lnTo>
                  <a:lnTo>
                    <a:pt x="328511" y="417819"/>
                  </a:lnTo>
                  <a:lnTo>
                    <a:pt x="331658" y="418606"/>
                  </a:lnTo>
                  <a:lnTo>
                    <a:pt x="334019" y="415852"/>
                  </a:lnTo>
                  <a:lnTo>
                    <a:pt x="336773" y="416245"/>
                  </a:lnTo>
                  <a:lnTo>
                    <a:pt x="339920" y="413884"/>
                  </a:lnTo>
                  <a:lnTo>
                    <a:pt x="339527" y="416638"/>
                  </a:lnTo>
                  <a:lnTo>
                    <a:pt x="342281" y="415458"/>
                  </a:lnTo>
                  <a:lnTo>
                    <a:pt x="345428" y="413491"/>
                  </a:lnTo>
                  <a:lnTo>
                    <a:pt x="348576" y="411131"/>
                  </a:lnTo>
                  <a:lnTo>
                    <a:pt x="351330" y="409557"/>
                  </a:lnTo>
                  <a:lnTo>
                    <a:pt x="348182" y="409950"/>
                  </a:lnTo>
                  <a:lnTo>
                    <a:pt x="345428" y="411131"/>
                  </a:lnTo>
                  <a:lnTo>
                    <a:pt x="348182" y="409557"/>
                  </a:lnTo>
                  <a:lnTo>
                    <a:pt x="351330" y="409163"/>
                  </a:lnTo>
                  <a:lnTo>
                    <a:pt x="354477" y="408770"/>
                  </a:lnTo>
                  <a:lnTo>
                    <a:pt x="357231" y="407196"/>
                  </a:lnTo>
                  <a:lnTo>
                    <a:pt x="360379" y="404442"/>
                  </a:lnTo>
                  <a:lnTo>
                    <a:pt x="363526" y="404442"/>
                  </a:lnTo>
                  <a:lnTo>
                    <a:pt x="366674" y="402475"/>
                  </a:lnTo>
                  <a:lnTo>
                    <a:pt x="369427" y="400901"/>
                  </a:lnTo>
                  <a:lnTo>
                    <a:pt x="372575" y="400901"/>
                  </a:lnTo>
                  <a:lnTo>
                    <a:pt x="375722" y="400508"/>
                  </a:lnTo>
                  <a:lnTo>
                    <a:pt x="378476" y="399328"/>
                  </a:lnTo>
                  <a:lnTo>
                    <a:pt x="381624" y="398147"/>
                  </a:lnTo>
                  <a:lnTo>
                    <a:pt x="384378" y="397361"/>
                  </a:lnTo>
                  <a:lnTo>
                    <a:pt x="387132" y="395787"/>
                  </a:lnTo>
                  <a:lnTo>
                    <a:pt x="390279" y="393820"/>
                  </a:lnTo>
                  <a:lnTo>
                    <a:pt x="393033" y="392246"/>
                  </a:lnTo>
                  <a:lnTo>
                    <a:pt x="392640" y="389099"/>
                  </a:lnTo>
                  <a:lnTo>
                    <a:pt x="389886" y="386738"/>
                  </a:lnTo>
                  <a:lnTo>
                    <a:pt x="386738" y="387131"/>
                  </a:lnTo>
                  <a:lnTo>
                    <a:pt x="383984" y="386738"/>
                  </a:lnTo>
                  <a:lnTo>
                    <a:pt x="381230" y="387131"/>
                  </a:lnTo>
                  <a:lnTo>
                    <a:pt x="378083" y="387525"/>
                  </a:lnTo>
                  <a:lnTo>
                    <a:pt x="424901" y="368247"/>
                  </a:lnTo>
                  <a:lnTo>
                    <a:pt x="425687" y="368247"/>
                  </a:lnTo>
                  <a:lnTo>
                    <a:pt x="428835" y="367067"/>
                  </a:lnTo>
                  <a:lnTo>
                    <a:pt x="431589" y="365886"/>
                  </a:lnTo>
                  <a:lnTo>
                    <a:pt x="431982" y="365100"/>
                  </a:lnTo>
                  <a:lnTo>
                    <a:pt x="441031" y="361165"/>
                  </a:lnTo>
                  <a:lnTo>
                    <a:pt x="441818" y="361165"/>
                  </a:lnTo>
                  <a:lnTo>
                    <a:pt x="444965" y="360379"/>
                  </a:lnTo>
                  <a:lnTo>
                    <a:pt x="447719" y="358805"/>
                  </a:lnTo>
                  <a:lnTo>
                    <a:pt x="450867" y="357231"/>
                  </a:lnTo>
                  <a:lnTo>
                    <a:pt x="483128" y="343461"/>
                  </a:lnTo>
                  <a:lnTo>
                    <a:pt x="481161" y="344641"/>
                  </a:lnTo>
                  <a:lnTo>
                    <a:pt x="478013" y="346215"/>
                  </a:lnTo>
                  <a:lnTo>
                    <a:pt x="480767" y="345035"/>
                  </a:lnTo>
                  <a:lnTo>
                    <a:pt x="483915" y="343461"/>
                  </a:lnTo>
                  <a:lnTo>
                    <a:pt x="486669" y="341887"/>
                  </a:lnTo>
                  <a:lnTo>
                    <a:pt x="486669" y="341494"/>
                  </a:lnTo>
                  <a:lnTo>
                    <a:pt x="540568" y="318675"/>
                  </a:lnTo>
                  <a:lnTo>
                    <a:pt x="541748" y="318282"/>
                  </a:lnTo>
                  <a:lnTo>
                    <a:pt x="544502" y="317102"/>
                  </a:lnTo>
                  <a:lnTo>
                    <a:pt x="547256" y="316708"/>
                  </a:lnTo>
                  <a:lnTo>
                    <a:pt x="550404" y="314348"/>
                  </a:lnTo>
                  <a:lnTo>
                    <a:pt x="550010" y="315135"/>
                  </a:lnTo>
                  <a:lnTo>
                    <a:pt x="550404" y="317888"/>
                  </a:lnTo>
                  <a:lnTo>
                    <a:pt x="553551" y="317888"/>
                  </a:lnTo>
                  <a:lnTo>
                    <a:pt x="556305" y="317495"/>
                  </a:lnTo>
                  <a:lnTo>
                    <a:pt x="559452" y="317888"/>
                  </a:lnTo>
                  <a:lnTo>
                    <a:pt x="557879" y="319069"/>
                  </a:lnTo>
                  <a:lnTo>
                    <a:pt x="555518" y="321036"/>
                  </a:lnTo>
                  <a:lnTo>
                    <a:pt x="548043" y="327724"/>
                  </a:lnTo>
                  <a:lnTo>
                    <a:pt x="545683" y="328118"/>
                  </a:lnTo>
                  <a:lnTo>
                    <a:pt x="542929" y="326937"/>
                  </a:lnTo>
                  <a:lnTo>
                    <a:pt x="542535" y="324183"/>
                  </a:lnTo>
                  <a:lnTo>
                    <a:pt x="533093" y="326544"/>
                  </a:lnTo>
                  <a:lnTo>
                    <a:pt x="530339" y="327331"/>
                  </a:lnTo>
                  <a:lnTo>
                    <a:pt x="527585" y="328511"/>
                  </a:lnTo>
                  <a:lnTo>
                    <a:pt x="524437" y="329691"/>
                  </a:lnTo>
                  <a:lnTo>
                    <a:pt x="521684" y="330478"/>
                  </a:lnTo>
                  <a:lnTo>
                    <a:pt x="518536" y="331658"/>
                  </a:lnTo>
                  <a:lnTo>
                    <a:pt x="515782" y="332052"/>
                  </a:lnTo>
                  <a:lnTo>
                    <a:pt x="513028" y="332445"/>
                  </a:lnTo>
                  <a:lnTo>
                    <a:pt x="509881" y="333232"/>
                  </a:lnTo>
                  <a:lnTo>
                    <a:pt x="507127" y="334019"/>
                  </a:lnTo>
                  <a:lnTo>
                    <a:pt x="505160" y="337166"/>
                  </a:lnTo>
                  <a:lnTo>
                    <a:pt x="503586" y="339920"/>
                  </a:lnTo>
                  <a:lnTo>
                    <a:pt x="500439" y="342281"/>
                  </a:lnTo>
                  <a:lnTo>
                    <a:pt x="497684" y="344641"/>
                  </a:lnTo>
                  <a:lnTo>
                    <a:pt x="496898" y="344641"/>
                  </a:lnTo>
                  <a:lnTo>
                    <a:pt x="493357" y="346215"/>
                  </a:lnTo>
                  <a:lnTo>
                    <a:pt x="492177" y="347002"/>
                  </a:lnTo>
                  <a:lnTo>
                    <a:pt x="476833" y="354477"/>
                  </a:lnTo>
                  <a:lnTo>
                    <a:pt x="476046" y="354871"/>
                  </a:lnTo>
                  <a:lnTo>
                    <a:pt x="473292" y="356444"/>
                  </a:lnTo>
                  <a:lnTo>
                    <a:pt x="472112" y="357231"/>
                  </a:lnTo>
                  <a:lnTo>
                    <a:pt x="469358" y="358805"/>
                  </a:lnTo>
                  <a:lnTo>
                    <a:pt x="466210" y="360379"/>
                  </a:lnTo>
                  <a:lnTo>
                    <a:pt x="463456" y="361952"/>
                  </a:lnTo>
                  <a:lnTo>
                    <a:pt x="460702" y="364313"/>
                  </a:lnTo>
                  <a:lnTo>
                    <a:pt x="463063" y="367067"/>
                  </a:lnTo>
                  <a:lnTo>
                    <a:pt x="465817" y="367460"/>
                  </a:lnTo>
                  <a:lnTo>
                    <a:pt x="468571" y="366280"/>
                  </a:lnTo>
                  <a:lnTo>
                    <a:pt x="471718" y="365493"/>
                  </a:lnTo>
                  <a:lnTo>
                    <a:pt x="474472" y="364706"/>
                  </a:lnTo>
                  <a:lnTo>
                    <a:pt x="477620" y="363526"/>
                  </a:lnTo>
                  <a:lnTo>
                    <a:pt x="480374" y="363919"/>
                  </a:lnTo>
                  <a:lnTo>
                    <a:pt x="477226" y="365100"/>
                  </a:lnTo>
                  <a:lnTo>
                    <a:pt x="474472" y="366673"/>
                  </a:lnTo>
                  <a:lnTo>
                    <a:pt x="471325" y="368640"/>
                  </a:lnTo>
                  <a:lnTo>
                    <a:pt x="468177" y="369427"/>
                  </a:lnTo>
                  <a:lnTo>
                    <a:pt x="465423" y="369821"/>
                  </a:lnTo>
                  <a:lnTo>
                    <a:pt x="462276" y="370608"/>
                  </a:lnTo>
                  <a:lnTo>
                    <a:pt x="459522" y="372181"/>
                  </a:lnTo>
                  <a:lnTo>
                    <a:pt x="456768" y="371788"/>
                  </a:lnTo>
                  <a:lnTo>
                    <a:pt x="450473" y="372968"/>
                  </a:lnTo>
                  <a:lnTo>
                    <a:pt x="447326" y="375329"/>
                  </a:lnTo>
                  <a:lnTo>
                    <a:pt x="444572" y="375722"/>
                  </a:lnTo>
                  <a:lnTo>
                    <a:pt x="441425" y="377296"/>
                  </a:lnTo>
                  <a:lnTo>
                    <a:pt x="441818" y="380443"/>
                  </a:lnTo>
                  <a:lnTo>
                    <a:pt x="444572" y="381624"/>
                  </a:lnTo>
                  <a:lnTo>
                    <a:pt x="447719" y="380837"/>
                  </a:lnTo>
                  <a:lnTo>
                    <a:pt x="450867" y="379656"/>
                  </a:lnTo>
                  <a:lnTo>
                    <a:pt x="454014" y="378870"/>
                  </a:lnTo>
                  <a:lnTo>
                    <a:pt x="456768" y="380050"/>
                  </a:lnTo>
                  <a:lnTo>
                    <a:pt x="459916" y="380050"/>
                  </a:lnTo>
                  <a:lnTo>
                    <a:pt x="459129" y="377296"/>
                  </a:lnTo>
                  <a:lnTo>
                    <a:pt x="461883" y="378083"/>
                  </a:lnTo>
                  <a:lnTo>
                    <a:pt x="465030" y="379656"/>
                  </a:lnTo>
                  <a:lnTo>
                    <a:pt x="467784" y="377296"/>
                  </a:lnTo>
                  <a:lnTo>
                    <a:pt x="470538" y="376509"/>
                  </a:lnTo>
                  <a:lnTo>
                    <a:pt x="473685" y="375722"/>
                  </a:lnTo>
                  <a:lnTo>
                    <a:pt x="476833" y="374148"/>
                  </a:lnTo>
                  <a:lnTo>
                    <a:pt x="479587" y="372968"/>
                  </a:lnTo>
                  <a:lnTo>
                    <a:pt x="482341" y="370214"/>
                  </a:lnTo>
                  <a:lnTo>
                    <a:pt x="485488" y="369821"/>
                  </a:lnTo>
                  <a:lnTo>
                    <a:pt x="483128" y="372968"/>
                  </a:lnTo>
                  <a:lnTo>
                    <a:pt x="486275" y="371394"/>
                  </a:lnTo>
                  <a:lnTo>
                    <a:pt x="489029" y="369427"/>
                  </a:lnTo>
                  <a:lnTo>
                    <a:pt x="492177" y="368247"/>
                  </a:lnTo>
                  <a:lnTo>
                    <a:pt x="494930" y="366673"/>
                  </a:lnTo>
                  <a:lnTo>
                    <a:pt x="497684" y="365886"/>
                  </a:lnTo>
                  <a:lnTo>
                    <a:pt x="497684" y="365886"/>
                  </a:lnTo>
                  <a:lnTo>
                    <a:pt x="495324" y="367460"/>
                  </a:lnTo>
                  <a:lnTo>
                    <a:pt x="492570" y="369427"/>
                  </a:lnTo>
                  <a:lnTo>
                    <a:pt x="489816" y="370608"/>
                  </a:lnTo>
                  <a:lnTo>
                    <a:pt x="486669" y="372968"/>
                  </a:lnTo>
                  <a:lnTo>
                    <a:pt x="489422" y="372181"/>
                  </a:lnTo>
                  <a:lnTo>
                    <a:pt x="492570" y="371394"/>
                  </a:lnTo>
                  <a:lnTo>
                    <a:pt x="495717" y="369821"/>
                  </a:lnTo>
                  <a:lnTo>
                    <a:pt x="498471" y="368247"/>
                  </a:lnTo>
                  <a:lnTo>
                    <a:pt x="501619" y="367854"/>
                  </a:lnTo>
                  <a:lnTo>
                    <a:pt x="503586" y="367067"/>
                  </a:lnTo>
                  <a:lnTo>
                    <a:pt x="505946" y="364313"/>
                  </a:lnTo>
                  <a:lnTo>
                    <a:pt x="507520" y="363133"/>
                  </a:lnTo>
                  <a:lnTo>
                    <a:pt x="508700" y="364313"/>
                  </a:lnTo>
                  <a:lnTo>
                    <a:pt x="509094" y="367067"/>
                  </a:lnTo>
                  <a:lnTo>
                    <a:pt x="512241" y="364313"/>
                  </a:lnTo>
                  <a:lnTo>
                    <a:pt x="513422" y="361559"/>
                  </a:lnTo>
                  <a:lnTo>
                    <a:pt x="514602" y="361165"/>
                  </a:lnTo>
                  <a:lnTo>
                    <a:pt x="516962" y="361165"/>
                  </a:lnTo>
                  <a:lnTo>
                    <a:pt x="519716" y="360379"/>
                  </a:lnTo>
                  <a:lnTo>
                    <a:pt x="516962" y="362346"/>
                  </a:lnTo>
                  <a:lnTo>
                    <a:pt x="516962" y="365493"/>
                  </a:lnTo>
                  <a:lnTo>
                    <a:pt x="517749" y="362739"/>
                  </a:lnTo>
                  <a:lnTo>
                    <a:pt x="520503" y="361165"/>
                  </a:lnTo>
                  <a:lnTo>
                    <a:pt x="523651" y="359592"/>
                  </a:lnTo>
                  <a:lnTo>
                    <a:pt x="526798" y="359198"/>
                  </a:lnTo>
                  <a:lnTo>
                    <a:pt x="529552" y="357625"/>
                  </a:lnTo>
                  <a:lnTo>
                    <a:pt x="531519" y="357625"/>
                  </a:lnTo>
                  <a:lnTo>
                    <a:pt x="530732" y="358805"/>
                  </a:lnTo>
                  <a:lnTo>
                    <a:pt x="528372" y="361559"/>
                  </a:lnTo>
                  <a:lnTo>
                    <a:pt x="531126" y="359592"/>
                  </a:lnTo>
                  <a:lnTo>
                    <a:pt x="534273" y="357625"/>
                  </a:lnTo>
                  <a:lnTo>
                    <a:pt x="536634" y="357625"/>
                  </a:lnTo>
                  <a:lnTo>
                    <a:pt x="535453" y="358411"/>
                  </a:lnTo>
                  <a:lnTo>
                    <a:pt x="538207" y="358805"/>
                  </a:lnTo>
                  <a:lnTo>
                    <a:pt x="541355" y="359592"/>
                  </a:lnTo>
                  <a:lnTo>
                    <a:pt x="544502" y="359985"/>
                  </a:lnTo>
                  <a:lnTo>
                    <a:pt x="547256" y="359198"/>
                  </a:lnTo>
                  <a:lnTo>
                    <a:pt x="550010" y="357625"/>
                  </a:lnTo>
                  <a:lnTo>
                    <a:pt x="551191" y="357625"/>
                  </a:lnTo>
                  <a:lnTo>
                    <a:pt x="553158" y="357625"/>
                  </a:lnTo>
                  <a:lnTo>
                    <a:pt x="557879" y="354871"/>
                  </a:lnTo>
                  <a:lnTo>
                    <a:pt x="560633" y="354477"/>
                  </a:lnTo>
                  <a:lnTo>
                    <a:pt x="563387" y="353690"/>
                  </a:lnTo>
                  <a:lnTo>
                    <a:pt x="566534" y="351723"/>
                  </a:lnTo>
                  <a:lnTo>
                    <a:pt x="563780" y="353297"/>
                  </a:lnTo>
                  <a:lnTo>
                    <a:pt x="566534" y="350149"/>
                  </a:lnTo>
                  <a:lnTo>
                    <a:pt x="564567" y="350936"/>
                  </a:lnTo>
                  <a:lnTo>
                    <a:pt x="570862" y="347002"/>
                  </a:lnTo>
                  <a:lnTo>
                    <a:pt x="572829" y="347002"/>
                  </a:lnTo>
                  <a:lnTo>
                    <a:pt x="575976" y="345428"/>
                  </a:lnTo>
                  <a:lnTo>
                    <a:pt x="579124" y="345035"/>
                  </a:lnTo>
                  <a:lnTo>
                    <a:pt x="581878" y="343068"/>
                  </a:lnTo>
                  <a:lnTo>
                    <a:pt x="581484" y="340707"/>
                  </a:lnTo>
                  <a:lnTo>
                    <a:pt x="593287" y="333232"/>
                  </a:lnTo>
                  <a:lnTo>
                    <a:pt x="594861" y="332839"/>
                  </a:lnTo>
                  <a:lnTo>
                    <a:pt x="594861" y="332052"/>
                  </a:lnTo>
                  <a:lnTo>
                    <a:pt x="596828" y="330872"/>
                  </a:lnTo>
                  <a:lnTo>
                    <a:pt x="598008" y="332839"/>
                  </a:lnTo>
                  <a:lnTo>
                    <a:pt x="600762" y="330085"/>
                  </a:lnTo>
                  <a:lnTo>
                    <a:pt x="603910" y="329298"/>
                  </a:lnTo>
                  <a:lnTo>
                    <a:pt x="601156" y="332052"/>
                  </a:lnTo>
                  <a:lnTo>
                    <a:pt x="603910" y="331265"/>
                  </a:lnTo>
                  <a:lnTo>
                    <a:pt x="606270" y="328118"/>
                  </a:lnTo>
                  <a:lnTo>
                    <a:pt x="609418" y="326544"/>
                  </a:lnTo>
                  <a:lnTo>
                    <a:pt x="612565" y="324577"/>
                  </a:lnTo>
                  <a:lnTo>
                    <a:pt x="615712" y="323003"/>
                  </a:lnTo>
                  <a:lnTo>
                    <a:pt x="612565" y="325757"/>
                  </a:lnTo>
                  <a:lnTo>
                    <a:pt x="609811" y="327331"/>
                  </a:lnTo>
                  <a:lnTo>
                    <a:pt x="607057" y="330478"/>
                  </a:lnTo>
                  <a:lnTo>
                    <a:pt x="609811" y="328904"/>
                  </a:lnTo>
                  <a:lnTo>
                    <a:pt x="612958" y="327724"/>
                  </a:lnTo>
                  <a:lnTo>
                    <a:pt x="610598" y="330478"/>
                  </a:lnTo>
                  <a:lnTo>
                    <a:pt x="613352" y="329691"/>
                  </a:lnTo>
                  <a:lnTo>
                    <a:pt x="616499" y="329298"/>
                  </a:lnTo>
                  <a:lnTo>
                    <a:pt x="619253" y="327724"/>
                  </a:lnTo>
                  <a:lnTo>
                    <a:pt x="622401" y="329298"/>
                  </a:lnTo>
                  <a:lnTo>
                    <a:pt x="625155" y="328511"/>
                  </a:lnTo>
                  <a:lnTo>
                    <a:pt x="627909" y="326937"/>
                  </a:lnTo>
                  <a:lnTo>
                    <a:pt x="630269" y="328511"/>
                  </a:lnTo>
                  <a:lnTo>
                    <a:pt x="629482" y="330085"/>
                  </a:lnTo>
                  <a:lnTo>
                    <a:pt x="626335" y="329691"/>
                  </a:lnTo>
                  <a:lnTo>
                    <a:pt x="626728" y="332839"/>
                  </a:lnTo>
                  <a:lnTo>
                    <a:pt x="629482" y="333232"/>
                  </a:lnTo>
                  <a:lnTo>
                    <a:pt x="632236" y="332839"/>
                  </a:lnTo>
                  <a:lnTo>
                    <a:pt x="634990" y="331658"/>
                  </a:lnTo>
                  <a:lnTo>
                    <a:pt x="638138" y="332839"/>
                  </a:lnTo>
                  <a:lnTo>
                    <a:pt x="636564" y="332445"/>
                  </a:lnTo>
                  <a:lnTo>
                    <a:pt x="633810" y="333232"/>
                  </a:lnTo>
                  <a:lnTo>
                    <a:pt x="630663" y="334019"/>
                  </a:lnTo>
                  <a:lnTo>
                    <a:pt x="627909" y="334412"/>
                  </a:lnTo>
                  <a:lnTo>
                    <a:pt x="624761" y="334806"/>
                  </a:lnTo>
                  <a:lnTo>
                    <a:pt x="622007" y="336380"/>
                  </a:lnTo>
                  <a:lnTo>
                    <a:pt x="624761" y="336773"/>
                  </a:lnTo>
                  <a:lnTo>
                    <a:pt x="627515" y="335986"/>
                  </a:lnTo>
                  <a:lnTo>
                    <a:pt x="630663" y="335986"/>
                  </a:lnTo>
                  <a:lnTo>
                    <a:pt x="633417" y="335593"/>
                  </a:lnTo>
                  <a:lnTo>
                    <a:pt x="636564" y="335593"/>
                  </a:lnTo>
                  <a:lnTo>
                    <a:pt x="633810" y="336380"/>
                  </a:lnTo>
                  <a:lnTo>
                    <a:pt x="630663" y="337166"/>
                  </a:lnTo>
                  <a:lnTo>
                    <a:pt x="627909" y="338740"/>
                  </a:lnTo>
                  <a:lnTo>
                    <a:pt x="631056" y="338347"/>
                  </a:lnTo>
                  <a:lnTo>
                    <a:pt x="633810" y="337953"/>
                  </a:lnTo>
                  <a:lnTo>
                    <a:pt x="636957" y="337560"/>
                  </a:lnTo>
                  <a:lnTo>
                    <a:pt x="634204" y="339133"/>
                  </a:lnTo>
                  <a:lnTo>
                    <a:pt x="637351" y="339527"/>
                  </a:lnTo>
                  <a:lnTo>
                    <a:pt x="640105" y="339133"/>
                  </a:lnTo>
                  <a:lnTo>
                    <a:pt x="643252" y="338740"/>
                  </a:lnTo>
                  <a:lnTo>
                    <a:pt x="640105" y="340314"/>
                  </a:lnTo>
                  <a:lnTo>
                    <a:pt x="636957" y="341887"/>
                  </a:lnTo>
                  <a:lnTo>
                    <a:pt x="634204" y="343068"/>
                  </a:lnTo>
                  <a:lnTo>
                    <a:pt x="631449" y="345035"/>
                  </a:lnTo>
                  <a:lnTo>
                    <a:pt x="634597" y="344641"/>
                  </a:lnTo>
                  <a:lnTo>
                    <a:pt x="637351" y="347002"/>
                  </a:lnTo>
                  <a:lnTo>
                    <a:pt x="640105" y="348576"/>
                  </a:lnTo>
                  <a:lnTo>
                    <a:pt x="642859" y="347789"/>
                  </a:lnTo>
                  <a:lnTo>
                    <a:pt x="645613" y="346609"/>
                  </a:lnTo>
                  <a:lnTo>
                    <a:pt x="648760" y="345428"/>
                  </a:lnTo>
                  <a:lnTo>
                    <a:pt x="651514" y="343855"/>
                  </a:lnTo>
                  <a:lnTo>
                    <a:pt x="654268" y="342674"/>
                  </a:lnTo>
                  <a:lnTo>
                    <a:pt x="657416" y="341887"/>
                  </a:lnTo>
                  <a:lnTo>
                    <a:pt x="660563" y="340314"/>
                  </a:lnTo>
                  <a:lnTo>
                    <a:pt x="666071" y="337953"/>
                  </a:lnTo>
                  <a:lnTo>
                    <a:pt x="668825" y="337560"/>
                  </a:lnTo>
                  <a:lnTo>
                    <a:pt x="667645" y="338740"/>
                  </a:lnTo>
                  <a:lnTo>
                    <a:pt x="664891" y="339133"/>
                  </a:lnTo>
                  <a:lnTo>
                    <a:pt x="661743" y="340707"/>
                  </a:lnTo>
                  <a:lnTo>
                    <a:pt x="658989" y="342281"/>
                  </a:lnTo>
                  <a:lnTo>
                    <a:pt x="656235" y="345035"/>
                  </a:lnTo>
                  <a:lnTo>
                    <a:pt x="650727" y="347789"/>
                  </a:lnTo>
                  <a:lnTo>
                    <a:pt x="647973" y="350543"/>
                  </a:lnTo>
                  <a:lnTo>
                    <a:pt x="651121" y="350936"/>
                  </a:lnTo>
                  <a:lnTo>
                    <a:pt x="653088" y="353690"/>
                  </a:lnTo>
                  <a:lnTo>
                    <a:pt x="656235" y="354084"/>
                  </a:lnTo>
                  <a:lnTo>
                    <a:pt x="658989" y="355657"/>
                  </a:lnTo>
                  <a:lnTo>
                    <a:pt x="660170" y="358411"/>
                  </a:lnTo>
                  <a:lnTo>
                    <a:pt x="657022" y="358805"/>
                  </a:lnTo>
                  <a:lnTo>
                    <a:pt x="657416" y="358805"/>
                  </a:lnTo>
                  <a:lnTo>
                    <a:pt x="660170" y="359592"/>
                  </a:lnTo>
                  <a:lnTo>
                    <a:pt x="662530" y="359592"/>
                  </a:lnTo>
                  <a:lnTo>
                    <a:pt x="662924" y="359592"/>
                  </a:lnTo>
                  <a:lnTo>
                    <a:pt x="710528" y="359592"/>
                  </a:lnTo>
                  <a:lnTo>
                    <a:pt x="712889" y="361165"/>
                  </a:lnTo>
                  <a:lnTo>
                    <a:pt x="716036" y="360772"/>
                  </a:lnTo>
                  <a:lnTo>
                    <a:pt x="719184" y="359985"/>
                  </a:lnTo>
                  <a:lnTo>
                    <a:pt x="719577" y="359985"/>
                  </a:lnTo>
                  <a:lnTo>
                    <a:pt x="724298" y="359985"/>
                  </a:lnTo>
                  <a:lnTo>
                    <a:pt x="723511" y="360772"/>
                  </a:lnTo>
                  <a:lnTo>
                    <a:pt x="720364" y="362346"/>
                  </a:lnTo>
                  <a:lnTo>
                    <a:pt x="717216" y="364313"/>
                  </a:lnTo>
                  <a:lnTo>
                    <a:pt x="719970" y="365886"/>
                  </a:lnTo>
                  <a:lnTo>
                    <a:pt x="722724" y="367067"/>
                  </a:lnTo>
                  <a:lnTo>
                    <a:pt x="725872" y="368640"/>
                  </a:lnTo>
                  <a:lnTo>
                    <a:pt x="728626" y="369427"/>
                  </a:lnTo>
                  <a:lnTo>
                    <a:pt x="731773" y="369821"/>
                  </a:lnTo>
                  <a:lnTo>
                    <a:pt x="734921" y="370214"/>
                  </a:lnTo>
                  <a:lnTo>
                    <a:pt x="737675" y="369821"/>
                  </a:lnTo>
                  <a:lnTo>
                    <a:pt x="740429" y="369034"/>
                  </a:lnTo>
                  <a:lnTo>
                    <a:pt x="743183" y="368640"/>
                  </a:lnTo>
                  <a:lnTo>
                    <a:pt x="746723" y="367854"/>
                  </a:lnTo>
                  <a:lnTo>
                    <a:pt x="749477" y="367067"/>
                  </a:lnTo>
                  <a:lnTo>
                    <a:pt x="752231" y="366280"/>
                  </a:lnTo>
                  <a:lnTo>
                    <a:pt x="755379" y="364706"/>
                  </a:lnTo>
                  <a:lnTo>
                    <a:pt x="758133" y="363526"/>
                  </a:lnTo>
                  <a:lnTo>
                    <a:pt x="760887" y="362739"/>
                  </a:lnTo>
                  <a:lnTo>
                    <a:pt x="763641" y="360772"/>
                  </a:lnTo>
                  <a:lnTo>
                    <a:pt x="767968" y="360772"/>
                  </a:lnTo>
                  <a:lnTo>
                    <a:pt x="765608" y="367067"/>
                  </a:lnTo>
                  <a:lnTo>
                    <a:pt x="764428" y="367854"/>
                  </a:lnTo>
                  <a:lnTo>
                    <a:pt x="761674" y="370214"/>
                  </a:lnTo>
                  <a:lnTo>
                    <a:pt x="758920" y="373362"/>
                  </a:lnTo>
                  <a:lnTo>
                    <a:pt x="760493" y="370214"/>
                  </a:lnTo>
                  <a:lnTo>
                    <a:pt x="763247" y="367460"/>
                  </a:lnTo>
                  <a:lnTo>
                    <a:pt x="766395" y="365100"/>
                  </a:lnTo>
                  <a:lnTo>
                    <a:pt x="764821" y="362346"/>
                  </a:lnTo>
                  <a:lnTo>
                    <a:pt x="762067" y="363526"/>
                  </a:lnTo>
                  <a:lnTo>
                    <a:pt x="759313" y="365100"/>
                  </a:lnTo>
                  <a:lnTo>
                    <a:pt x="757346" y="368247"/>
                  </a:lnTo>
                  <a:lnTo>
                    <a:pt x="755772" y="371001"/>
                  </a:lnTo>
                  <a:lnTo>
                    <a:pt x="752625" y="372181"/>
                  </a:lnTo>
                  <a:lnTo>
                    <a:pt x="749871" y="373755"/>
                  </a:lnTo>
                  <a:lnTo>
                    <a:pt x="747117" y="374542"/>
                  </a:lnTo>
                  <a:lnTo>
                    <a:pt x="744363" y="376902"/>
                  </a:lnTo>
                  <a:lnTo>
                    <a:pt x="747117" y="378870"/>
                  </a:lnTo>
                  <a:lnTo>
                    <a:pt x="749084" y="381624"/>
                  </a:lnTo>
                  <a:lnTo>
                    <a:pt x="751838" y="380443"/>
                  </a:lnTo>
                  <a:lnTo>
                    <a:pt x="752231" y="383197"/>
                  </a:lnTo>
                  <a:lnTo>
                    <a:pt x="754985" y="384771"/>
                  </a:lnTo>
                  <a:lnTo>
                    <a:pt x="757739" y="387131"/>
                  </a:lnTo>
                  <a:lnTo>
                    <a:pt x="758133" y="387131"/>
                  </a:lnTo>
                  <a:lnTo>
                    <a:pt x="758526" y="387131"/>
                  </a:lnTo>
                  <a:lnTo>
                    <a:pt x="764428" y="386345"/>
                  </a:lnTo>
                  <a:lnTo>
                    <a:pt x="762460" y="386738"/>
                  </a:lnTo>
                  <a:lnTo>
                    <a:pt x="759707" y="388312"/>
                  </a:lnTo>
                  <a:lnTo>
                    <a:pt x="762460" y="389099"/>
                  </a:lnTo>
                  <a:lnTo>
                    <a:pt x="765214" y="391459"/>
                  </a:lnTo>
                  <a:lnTo>
                    <a:pt x="766395" y="394213"/>
                  </a:lnTo>
                  <a:lnTo>
                    <a:pt x="764821" y="397361"/>
                  </a:lnTo>
                  <a:lnTo>
                    <a:pt x="764821" y="400115"/>
                  </a:lnTo>
                  <a:lnTo>
                    <a:pt x="766001" y="402869"/>
                  </a:lnTo>
                  <a:lnTo>
                    <a:pt x="769149" y="402869"/>
                  </a:lnTo>
                  <a:lnTo>
                    <a:pt x="766395" y="405229"/>
                  </a:lnTo>
                  <a:lnTo>
                    <a:pt x="768362" y="407983"/>
                  </a:lnTo>
                  <a:lnTo>
                    <a:pt x="771116" y="410344"/>
                  </a:lnTo>
                  <a:lnTo>
                    <a:pt x="773870" y="411917"/>
                  </a:lnTo>
                  <a:lnTo>
                    <a:pt x="774263" y="411917"/>
                  </a:lnTo>
                  <a:lnTo>
                    <a:pt x="775837" y="415852"/>
                  </a:lnTo>
                  <a:lnTo>
                    <a:pt x="776624" y="415852"/>
                  </a:lnTo>
                  <a:lnTo>
                    <a:pt x="779378" y="414671"/>
                  </a:lnTo>
                  <a:lnTo>
                    <a:pt x="780165" y="413491"/>
                  </a:lnTo>
                  <a:lnTo>
                    <a:pt x="782919" y="411917"/>
                  </a:lnTo>
                  <a:lnTo>
                    <a:pt x="784492" y="412311"/>
                  </a:lnTo>
                  <a:lnTo>
                    <a:pt x="787246" y="410344"/>
                  </a:lnTo>
                  <a:lnTo>
                    <a:pt x="784886" y="410737"/>
                  </a:lnTo>
                  <a:lnTo>
                    <a:pt x="786066" y="409950"/>
                  </a:lnTo>
                  <a:lnTo>
                    <a:pt x="786853" y="409557"/>
                  </a:lnTo>
                  <a:lnTo>
                    <a:pt x="790000" y="409950"/>
                  </a:lnTo>
                  <a:lnTo>
                    <a:pt x="788427" y="412704"/>
                  </a:lnTo>
                  <a:lnTo>
                    <a:pt x="791181" y="412311"/>
                  </a:lnTo>
                  <a:lnTo>
                    <a:pt x="794328" y="411524"/>
                  </a:lnTo>
                  <a:lnTo>
                    <a:pt x="797082" y="409163"/>
                  </a:lnTo>
                  <a:lnTo>
                    <a:pt x="796689" y="406016"/>
                  </a:lnTo>
                  <a:lnTo>
                    <a:pt x="799443" y="404836"/>
                  </a:lnTo>
                  <a:lnTo>
                    <a:pt x="798656" y="402869"/>
                  </a:lnTo>
                  <a:lnTo>
                    <a:pt x="803377" y="400508"/>
                  </a:lnTo>
                  <a:lnTo>
                    <a:pt x="806131" y="404836"/>
                  </a:lnTo>
                  <a:lnTo>
                    <a:pt x="805737" y="405623"/>
                  </a:lnTo>
                  <a:lnTo>
                    <a:pt x="802983" y="407196"/>
                  </a:lnTo>
                  <a:lnTo>
                    <a:pt x="800229" y="409950"/>
                  </a:lnTo>
                  <a:lnTo>
                    <a:pt x="803377" y="409557"/>
                  </a:lnTo>
                  <a:lnTo>
                    <a:pt x="806131" y="409163"/>
                  </a:lnTo>
                  <a:lnTo>
                    <a:pt x="808885" y="410737"/>
                  </a:lnTo>
                  <a:lnTo>
                    <a:pt x="809672" y="410344"/>
                  </a:lnTo>
                  <a:lnTo>
                    <a:pt x="810459" y="411524"/>
                  </a:lnTo>
                  <a:lnTo>
                    <a:pt x="810459" y="411917"/>
                  </a:lnTo>
                  <a:lnTo>
                    <a:pt x="809672" y="415065"/>
                  </a:lnTo>
                  <a:lnTo>
                    <a:pt x="812426" y="416245"/>
                  </a:lnTo>
                  <a:lnTo>
                    <a:pt x="813213" y="415852"/>
                  </a:lnTo>
                  <a:lnTo>
                    <a:pt x="816753" y="420966"/>
                  </a:lnTo>
                  <a:lnTo>
                    <a:pt x="815573" y="421753"/>
                  </a:lnTo>
                  <a:lnTo>
                    <a:pt x="813999" y="424507"/>
                  </a:lnTo>
                  <a:lnTo>
                    <a:pt x="811639" y="427261"/>
                  </a:lnTo>
                  <a:lnTo>
                    <a:pt x="808885" y="430408"/>
                  </a:lnTo>
                  <a:lnTo>
                    <a:pt x="806918" y="433556"/>
                  </a:lnTo>
                  <a:lnTo>
                    <a:pt x="805344" y="436310"/>
                  </a:lnTo>
                  <a:lnTo>
                    <a:pt x="804557" y="437884"/>
                  </a:lnTo>
                  <a:lnTo>
                    <a:pt x="807704" y="437490"/>
                  </a:lnTo>
                  <a:lnTo>
                    <a:pt x="810459" y="437097"/>
                  </a:lnTo>
                  <a:lnTo>
                    <a:pt x="807704" y="437884"/>
                  </a:lnTo>
                  <a:lnTo>
                    <a:pt x="804557" y="438670"/>
                  </a:lnTo>
                  <a:lnTo>
                    <a:pt x="803770" y="441818"/>
                  </a:lnTo>
                  <a:lnTo>
                    <a:pt x="806524" y="442211"/>
                  </a:lnTo>
                  <a:lnTo>
                    <a:pt x="803770" y="442605"/>
                  </a:lnTo>
                  <a:lnTo>
                    <a:pt x="801016" y="442605"/>
                  </a:lnTo>
                  <a:lnTo>
                    <a:pt x="797869" y="444965"/>
                  </a:lnTo>
                  <a:lnTo>
                    <a:pt x="794721" y="446932"/>
                  </a:lnTo>
                  <a:lnTo>
                    <a:pt x="792361" y="449686"/>
                  </a:lnTo>
                  <a:lnTo>
                    <a:pt x="789607" y="452440"/>
                  </a:lnTo>
                  <a:lnTo>
                    <a:pt x="792361" y="452834"/>
                  </a:lnTo>
                  <a:lnTo>
                    <a:pt x="795115" y="451653"/>
                  </a:lnTo>
                  <a:lnTo>
                    <a:pt x="797869" y="450080"/>
                  </a:lnTo>
                  <a:lnTo>
                    <a:pt x="801016" y="448506"/>
                  </a:lnTo>
                  <a:lnTo>
                    <a:pt x="803770" y="448113"/>
                  </a:lnTo>
                  <a:lnTo>
                    <a:pt x="806524" y="446145"/>
                  </a:lnTo>
                  <a:lnTo>
                    <a:pt x="809672" y="443391"/>
                  </a:lnTo>
                  <a:lnTo>
                    <a:pt x="812426" y="443785"/>
                  </a:lnTo>
                  <a:lnTo>
                    <a:pt x="815180" y="443391"/>
                  </a:lnTo>
                  <a:lnTo>
                    <a:pt x="817934" y="441424"/>
                  </a:lnTo>
                  <a:lnTo>
                    <a:pt x="815180" y="439457"/>
                  </a:lnTo>
                  <a:lnTo>
                    <a:pt x="818327" y="439064"/>
                  </a:lnTo>
                  <a:lnTo>
                    <a:pt x="821081" y="437097"/>
                  </a:lnTo>
                  <a:lnTo>
                    <a:pt x="823048" y="433949"/>
                  </a:lnTo>
                  <a:lnTo>
                    <a:pt x="822655" y="431195"/>
                  </a:lnTo>
                  <a:lnTo>
                    <a:pt x="822655" y="430408"/>
                  </a:lnTo>
                  <a:lnTo>
                    <a:pt x="824622" y="433556"/>
                  </a:lnTo>
                  <a:lnTo>
                    <a:pt x="824622" y="435130"/>
                  </a:lnTo>
                  <a:lnTo>
                    <a:pt x="825015" y="434343"/>
                  </a:lnTo>
                  <a:lnTo>
                    <a:pt x="829736" y="441818"/>
                  </a:lnTo>
                  <a:lnTo>
                    <a:pt x="827376" y="443785"/>
                  </a:lnTo>
                  <a:lnTo>
                    <a:pt x="830523" y="444178"/>
                  </a:lnTo>
                  <a:lnTo>
                    <a:pt x="831310" y="444178"/>
                  </a:lnTo>
                  <a:lnTo>
                    <a:pt x="831704" y="444572"/>
                  </a:lnTo>
                  <a:lnTo>
                    <a:pt x="830523" y="444965"/>
                  </a:lnTo>
                  <a:lnTo>
                    <a:pt x="827376" y="445359"/>
                  </a:lnTo>
                  <a:lnTo>
                    <a:pt x="824622" y="445359"/>
                  </a:lnTo>
                  <a:lnTo>
                    <a:pt x="821474" y="446932"/>
                  </a:lnTo>
                  <a:lnTo>
                    <a:pt x="820688" y="450080"/>
                  </a:lnTo>
                  <a:lnTo>
                    <a:pt x="823442" y="450867"/>
                  </a:lnTo>
                  <a:lnTo>
                    <a:pt x="826589" y="448899"/>
                  </a:lnTo>
                  <a:lnTo>
                    <a:pt x="826982" y="451653"/>
                  </a:lnTo>
                  <a:lnTo>
                    <a:pt x="830130" y="453621"/>
                  </a:lnTo>
                  <a:lnTo>
                    <a:pt x="832884" y="452440"/>
                  </a:lnTo>
                  <a:lnTo>
                    <a:pt x="830917" y="455588"/>
                  </a:lnTo>
                  <a:lnTo>
                    <a:pt x="828163" y="455588"/>
                  </a:lnTo>
                  <a:lnTo>
                    <a:pt x="828163" y="458342"/>
                  </a:lnTo>
                  <a:lnTo>
                    <a:pt x="829736" y="461489"/>
                  </a:lnTo>
                  <a:lnTo>
                    <a:pt x="832490" y="461096"/>
                  </a:lnTo>
                  <a:lnTo>
                    <a:pt x="835244" y="460309"/>
                  </a:lnTo>
                  <a:lnTo>
                    <a:pt x="832097" y="461882"/>
                  </a:lnTo>
                  <a:lnTo>
                    <a:pt x="829736" y="464637"/>
                  </a:lnTo>
                  <a:lnTo>
                    <a:pt x="826589" y="466210"/>
                  </a:lnTo>
                  <a:lnTo>
                    <a:pt x="829736" y="467390"/>
                  </a:lnTo>
                  <a:lnTo>
                    <a:pt x="828163" y="470144"/>
                  </a:lnTo>
                  <a:lnTo>
                    <a:pt x="828163" y="472898"/>
                  </a:lnTo>
                  <a:lnTo>
                    <a:pt x="828950" y="474079"/>
                  </a:lnTo>
                  <a:lnTo>
                    <a:pt x="826589" y="473685"/>
                  </a:lnTo>
                  <a:lnTo>
                    <a:pt x="826196" y="470538"/>
                  </a:lnTo>
                  <a:lnTo>
                    <a:pt x="825409" y="470931"/>
                  </a:lnTo>
                  <a:lnTo>
                    <a:pt x="823835" y="473685"/>
                  </a:lnTo>
                  <a:lnTo>
                    <a:pt x="820688" y="476439"/>
                  </a:lnTo>
                  <a:lnTo>
                    <a:pt x="820294" y="479587"/>
                  </a:lnTo>
                  <a:lnTo>
                    <a:pt x="823048" y="481947"/>
                  </a:lnTo>
                  <a:lnTo>
                    <a:pt x="826196" y="479980"/>
                  </a:lnTo>
                  <a:lnTo>
                    <a:pt x="829343" y="477620"/>
                  </a:lnTo>
                  <a:lnTo>
                    <a:pt x="829736" y="475652"/>
                  </a:lnTo>
                  <a:lnTo>
                    <a:pt x="830523" y="476439"/>
                  </a:lnTo>
                  <a:lnTo>
                    <a:pt x="830917" y="479193"/>
                  </a:lnTo>
                  <a:lnTo>
                    <a:pt x="834064" y="479193"/>
                  </a:lnTo>
                  <a:lnTo>
                    <a:pt x="833671" y="480374"/>
                  </a:lnTo>
                  <a:lnTo>
                    <a:pt x="831704" y="480374"/>
                  </a:lnTo>
                  <a:lnTo>
                    <a:pt x="828556" y="480767"/>
                  </a:lnTo>
                  <a:lnTo>
                    <a:pt x="825802" y="481554"/>
                  </a:lnTo>
                  <a:lnTo>
                    <a:pt x="823442" y="484308"/>
                  </a:lnTo>
                  <a:lnTo>
                    <a:pt x="821081" y="487455"/>
                  </a:lnTo>
                  <a:lnTo>
                    <a:pt x="817934" y="487849"/>
                  </a:lnTo>
                  <a:lnTo>
                    <a:pt x="814786" y="490209"/>
                  </a:lnTo>
                  <a:lnTo>
                    <a:pt x="812032" y="492176"/>
                  </a:lnTo>
                  <a:lnTo>
                    <a:pt x="809278" y="493750"/>
                  </a:lnTo>
                  <a:lnTo>
                    <a:pt x="806131" y="496111"/>
                  </a:lnTo>
                  <a:lnTo>
                    <a:pt x="804164" y="499258"/>
                  </a:lnTo>
                  <a:lnTo>
                    <a:pt x="806918" y="502012"/>
                  </a:lnTo>
                  <a:lnTo>
                    <a:pt x="809672" y="499651"/>
                  </a:lnTo>
                  <a:lnTo>
                    <a:pt x="810852" y="496897"/>
                  </a:lnTo>
                  <a:lnTo>
                    <a:pt x="813606" y="498078"/>
                  </a:lnTo>
                  <a:lnTo>
                    <a:pt x="816360" y="495324"/>
                  </a:lnTo>
                  <a:lnTo>
                    <a:pt x="819507" y="493750"/>
                  </a:lnTo>
                  <a:lnTo>
                    <a:pt x="819114" y="490603"/>
                  </a:lnTo>
                  <a:lnTo>
                    <a:pt x="821868" y="490209"/>
                  </a:lnTo>
                  <a:lnTo>
                    <a:pt x="825015" y="489816"/>
                  </a:lnTo>
                  <a:lnTo>
                    <a:pt x="827769" y="488635"/>
                  </a:lnTo>
                  <a:lnTo>
                    <a:pt x="830917" y="488242"/>
                  </a:lnTo>
                  <a:lnTo>
                    <a:pt x="828950" y="489029"/>
                  </a:lnTo>
                  <a:lnTo>
                    <a:pt x="830917" y="489029"/>
                  </a:lnTo>
                  <a:lnTo>
                    <a:pt x="830917" y="489422"/>
                  </a:lnTo>
                  <a:lnTo>
                    <a:pt x="830130" y="489816"/>
                  </a:lnTo>
                  <a:lnTo>
                    <a:pt x="826982" y="492176"/>
                  </a:lnTo>
                  <a:lnTo>
                    <a:pt x="824228" y="492176"/>
                  </a:lnTo>
                  <a:lnTo>
                    <a:pt x="827376" y="492570"/>
                  </a:lnTo>
                  <a:lnTo>
                    <a:pt x="824622" y="494143"/>
                  </a:lnTo>
                  <a:lnTo>
                    <a:pt x="821474" y="494930"/>
                  </a:lnTo>
                  <a:lnTo>
                    <a:pt x="824622" y="495324"/>
                  </a:lnTo>
                  <a:lnTo>
                    <a:pt x="821868" y="496111"/>
                  </a:lnTo>
                  <a:lnTo>
                    <a:pt x="818720" y="497291"/>
                  </a:lnTo>
                  <a:lnTo>
                    <a:pt x="817934" y="500438"/>
                  </a:lnTo>
                  <a:lnTo>
                    <a:pt x="814786" y="501619"/>
                  </a:lnTo>
                  <a:lnTo>
                    <a:pt x="812032" y="503192"/>
                  </a:lnTo>
                  <a:lnTo>
                    <a:pt x="809672" y="505946"/>
                  </a:lnTo>
                  <a:lnTo>
                    <a:pt x="810852" y="508307"/>
                  </a:lnTo>
                  <a:lnTo>
                    <a:pt x="813999" y="507913"/>
                  </a:lnTo>
                  <a:lnTo>
                    <a:pt x="819507" y="502405"/>
                  </a:lnTo>
                  <a:lnTo>
                    <a:pt x="817540" y="505159"/>
                  </a:lnTo>
                  <a:lnTo>
                    <a:pt x="814786" y="507913"/>
                  </a:lnTo>
                  <a:lnTo>
                    <a:pt x="817540" y="506340"/>
                  </a:lnTo>
                  <a:lnTo>
                    <a:pt x="820688" y="504766"/>
                  </a:lnTo>
                  <a:lnTo>
                    <a:pt x="823442" y="501619"/>
                  </a:lnTo>
                  <a:lnTo>
                    <a:pt x="825015" y="498865"/>
                  </a:lnTo>
                  <a:lnTo>
                    <a:pt x="824228" y="501619"/>
                  </a:lnTo>
                  <a:lnTo>
                    <a:pt x="821868" y="504373"/>
                  </a:lnTo>
                  <a:lnTo>
                    <a:pt x="816360" y="507913"/>
                  </a:lnTo>
                  <a:lnTo>
                    <a:pt x="813213" y="509094"/>
                  </a:lnTo>
                  <a:lnTo>
                    <a:pt x="815966" y="509487"/>
                  </a:lnTo>
                  <a:lnTo>
                    <a:pt x="819114" y="507913"/>
                  </a:lnTo>
                  <a:lnTo>
                    <a:pt x="821868" y="505553"/>
                  </a:lnTo>
                  <a:lnTo>
                    <a:pt x="819507" y="508700"/>
                  </a:lnTo>
                  <a:lnTo>
                    <a:pt x="816753" y="510274"/>
                  </a:lnTo>
                  <a:lnTo>
                    <a:pt x="819507" y="511061"/>
                  </a:lnTo>
                  <a:lnTo>
                    <a:pt x="822655" y="509881"/>
                  </a:lnTo>
                  <a:lnTo>
                    <a:pt x="823048" y="509487"/>
                  </a:lnTo>
                  <a:lnTo>
                    <a:pt x="822655" y="511061"/>
                  </a:lnTo>
                  <a:lnTo>
                    <a:pt x="819901" y="512635"/>
                  </a:lnTo>
                  <a:lnTo>
                    <a:pt x="821081" y="515388"/>
                  </a:lnTo>
                  <a:lnTo>
                    <a:pt x="820688" y="516175"/>
                  </a:lnTo>
                  <a:lnTo>
                    <a:pt x="817934" y="516962"/>
                  </a:lnTo>
                  <a:lnTo>
                    <a:pt x="816360" y="520110"/>
                  </a:lnTo>
                  <a:lnTo>
                    <a:pt x="813606" y="522864"/>
                  </a:lnTo>
                  <a:lnTo>
                    <a:pt x="812426" y="526011"/>
                  </a:lnTo>
                  <a:lnTo>
                    <a:pt x="815573" y="524831"/>
                  </a:lnTo>
                  <a:lnTo>
                    <a:pt x="817934" y="523257"/>
                  </a:lnTo>
                  <a:lnTo>
                    <a:pt x="816753" y="526404"/>
                  </a:lnTo>
                  <a:lnTo>
                    <a:pt x="819901" y="525224"/>
                  </a:lnTo>
                  <a:lnTo>
                    <a:pt x="823048" y="524437"/>
                  </a:lnTo>
                  <a:lnTo>
                    <a:pt x="825802" y="522864"/>
                  </a:lnTo>
                  <a:lnTo>
                    <a:pt x="826196" y="522864"/>
                  </a:lnTo>
                  <a:lnTo>
                    <a:pt x="826982" y="522470"/>
                  </a:lnTo>
                  <a:lnTo>
                    <a:pt x="826589" y="522864"/>
                  </a:lnTo>
                  <a:lnTo>
                    <a:pt x="828950" y="522077"/>
                  </a:lnTo>
                  <a:lnTo>
                    <a:pt x="831704" y="520503"/>
                  </a:lnTo>
                  <a:lnTo>
                    <a:pt x="834458" y="518929"/>
                  </a:lnTo>
                  <a:lnTo>
                    <a:pt x="837605" y="516962"/>
                  </a:lnTo>
                  <a:lnTo>
                    <a:pt x="840359" y="514995"/>
                  </a:lnTo>
                  <a:lnTo>
                    <a:pt x="840752" y="514602"/>
                  </a:lnTo>
                  <a:lnTo>
                    <a:pt x="837998" y="516175"/>
                  </a:lnTo>
                  <a:lnTo>
                    <a:pt x="839965" y="514995"/>
                  </a:lnTo>
                  <a:lnTo>
                    <a:pt x="842720" y="513028"/>
                  </a:lnTo>
                  <a:lnTo>
                    <a:pt x="843506" y="512635"/>
                  </a:lnTo>
                  <a:lnTo>
                    <a:pt x="848621" y="509881"/>
                  </a:lnTo>
                  <a:lnTo>
                    <a:pt x="848227" y="510274"/>
                  </a:lnTo>
                  <a:lnTo>
                    <a:pt x="846654" y="511061"/>
                  </a:lnTo>
                  <a:lnTo>
                    <a:pt x="843506" y="512635"/>
                  </a:lnTo>
                  <a:lnTo>
                    <a:pt x="840752" y="514208"/>
                  </a:lnTo>
                  <a:lnTo>
                    <a:pt x="843506" y="512635"/>
                  </a:lnTo>
                  <a:lnTo>
                    <a:pt x="840752" y="514602"/>
                  </a:lnTo>
                  <a:lnTo>
                    <a:pt x="840359" y="517749"/>
                  </a:lnTo>
                  <a:lnTo>
                    <a:pt x="843506" y="515388"/>
                  </a:lnTo>
                  <a:lnTo>
                    <a:pt x="844293" y="515782"/>
                  </a:lnTo>
                  <a:lnTo>
                    <a:pt x="841539" y="518536"/>
                  </a:lnTo>
                  <a:lnTo>
                    <a:pt x="844293" y="518142"/>
                  </a:lnTo>
                  <a:lnTo>
                    <a:pt x="847047" y="518536"/>
                  </a:lnTo>
                  <a:lnTo>
                    <a:pt x="850195" y="518142"/>
                  </a:lnTo>
                  <a:lnTo>
                    <a:pt x="839572" y="519323"/>
                  </a:lnTo>
                  <a:lnTo>
                    <a:pt x="839965" y="519323"/>
                  </a:lnTo>
                  <a:lnTo>
                    <a:pt x="837211" y="520896"/>
                  </a:lnTo>
                  <a:lnTo>
                    <a:pt x="834064" y="523650"/>
                  </a:lnTo>
                  <a:lnTo>
                    <a:pt x="831310" y="525224"/>
                  </a:lnTo>
                  <a:lnTo>
                    <a:pt x="828556" y="527585"/>
                  </a:lnTo>
                  <a:lnTo>
                    <a:pt x="830523" y="530339"/>
                  </a:lnTo>
                  <a:lnTo>
                    <a:pt x="830130" y="530732"/>
                  </a:lnTo>
                  <a:lnTo>
                    <a:pt x="827769" y="527978"/>
                  </a:lnTo>
                  <a:lnTo>
                    <a:pt x="825015" y="528372"/>
                  </a:lnTo>
                  <a:lnTo>
                    <a:pt x="821868" y="529945"/>
                  </a:lnTo>
                  <a:lnTo>
                    <a:pt x="821474" y="532699"/>
                  </a:lnTo>
                  <a:lnTo>
                    <a:pt x="823835" y="535453"/>
                  </a:lnTo>
                  <a:lnTo>
                    <a:pt x="826589" y="534273"/>
                  </a:lnTo>
                  <a:lnTo>
                    <a:pt x="826196" y="535060"/>
                  </a:lnTo>
                  <a:lnTo>
                    <a:pt x="825015" y="535060"/>
                  </a:lnTo>
                  <a:lnTo>
                    <a:pt x="822261" y="537420"/>
                  </a:lnTo>
                  <a:lnTo>
                    <a:pt x="821474" y="540174"/>
                  </a:lnTo>
                  <a:lnTo>
                    <a:pt x="821081" y="540568"/>
                  </a:lnTo>
                  <a:lnTo>
                    <a:pt x="820688" y="538994"/>
                  </a:lnTo>
                  <a:lnTo>
                    <a:pt x="820294" y="535847"/>
                  </a:lnTo>
                  <a:lnTo>
                    <a:pt x="820294" y="533093"/>
                  </a:lnTo>
                  <a:lnTo>
                    <a:pt x="819507" y="530339"/>
                  </a:lnTo>
                  <a:lnTo>
                    <a:pt x="816753" y="533093"/>
                  </a:lnTo>
                  <a:lnTo>
                    <a:pt x="815180" y="535847"/>
                  </a:lnTo>
                  <a:lnTo>
                    <a:pt x="812426" y="537027"/>
                  </a:lnTo>
                  <a:lnTo>
                    <a:pt x="812426" y="539781"/>
                  </a:lnTo>
                  <a:lnTo>
                    <a:pt x="815180" y="539388"/>
                  </a:lnTo>
                  <a:lnTo>
                    <a:pt x="812426" y="542535"/>
                  </a:lnTo>
                  <a:lnTo>
                    <a:pt x="811639" y="543715"/>
                  </a:lnTo>
                  <a:lnTo>
                    <a:pt x="814393" y="545289"/>
                  </a:lnTo>
                  <a:lnTo>
                    <a:pt x="817540" y="544502"/>
                  </a:lnTo>
                  <a:lnTo>
                    <a:pt x="821474" y="544109"/>
                  </a:lnTo>
                  <a:lnTo>
                    <a:pt x="819901" y="544895"/>
                  </a:lnTo>
                  <a:lnTo>
                    <a:pt x="816360" y="545682"/>
                  </a:lnTo>
                  <a:lnTo>
                    <a:pt x="814393" y="546076"/>
                  </a:lnTo>
                  <a:lnTo>
                    <a:pt x="811245" y="548830"/>
                  </a:lnTo>
                  <a:lnTo>
                    <a:pt x="808885" y="551584"/>
                  </a:lnTo>
                  <a:lnTo>
                    <a:pt x="808491" y="554338"/>
                  </a:lnTo>
                  <a:lnTo>
                    <a:pt x="808885" y="555911"/>
                  </a:lnTo>
                  <a:lnTo>
                    <a:pt x="809672" y="558272"/>
                  </a:lnTo>
                  <a:lnTo>
                    <a:pt x="809672" y="558665"/>
                  </a:lnTo>
                  <a:lnTo>
                    <a:pt x="809672" y="561813"/>
                  </a:lnTo>
                  <a:lnTo>
                    <a:pt x="810065" y="564567"/>
                  </a:lnTo>
                  <a:lnTo>
                    <a:pt x="810852" y="567321"/>
                  </a:lnTo>
                  <a:lnTo>
                    <a:pt x="812426" y="570468"/>
                  </a:lnTo>
                  <a:lnTo>
                    <a:pt x="819114" y="566140"/>
                  </a:lnTo>
                  <a:lnTo>
                    <a:pt x="817934" y="568501"/>
                  </a:lnTo>
                  <a:lnTo>
                    <a:pt x="821081" y="566140"/>
                  </a:lnTo>
                  <a:lnTo>
                    <a:pt x="824228" y="564567"/>
                  </a:lnTo>
                  <a:lnTo>
                    <a:pt x="827376" y="563780"/>
                  </a:lnTo>
                  <a:lnTo>
                    <a:pt x="830130" y="562206"/>
                  </a:lnTo>
                  <a:lnTo>
                    <a:pt x="832884" y="560239"/>
                  </a:lnTo>
                  <a:lnTo>
                    <a:pt x="830523" y="560239"/>
                  </a:lnTo>
                  <a:lnTo>
                    <a:pt x="828950" y="560239"/>
                  </a:lnTo>
                  <a:lnTo>
                    <a:pt x="839965" y="553551"/>
                  </a:lnTo>
                  <a:lnTo>
                    <a:pt x="842326" y="552371"/>
                  </a:lnTo>
                  <a:lnTo>
                    <a:pt x="845473" y="550010"/>
                  </a:lnTo>
                  <a:lnTo>
                    <a:pt x="843113" y="553551"/>
                  </a:lnTo>
                  <a:lnTo>
                    <a:pt x="842326" y="554338"/>
                  </a:lnTo>
                  <a:lnTo>
                    <a:pt x="842720" y="554338"/>
                  </a:lnTo>
                  <a:lnTo>
                    <a:pt x="841933" y="555125"/>
                  </a:lnTo>
                  <a:lnTo>
                    <a:pt x="839572" y="555911"/>
                  </a:lnTo>
                  <a:lnTo>
                    <a:pt x="836425" y="556698"/>
                  </a:lnTo>
                  <a:lnTo>
                    <a:pt x="834064" y="559846"/>
                  </a:lnTo>
                  <a:lnTo>
                    <a:pt x="830917" y="562206"/>
                  </a:lnTo>
                  <a:lnTo>
                    <a:pt x="831310" y="564960"/>
                  </a:lnTo>
                  <a:lnTo>
                    <a:pt x="832884" y="568108"/>
                  </a:lnTo>
                  <a:lnTo>
                    <a:pt x="830917" y="569681"/>
                  </a:lnTo>
                  <a:lnTo>
                    <a:pt x="829736" y="567321"/>
                  </a:lnTo>
                  <a:lnTo>
                    <a:pt x="827376" y="564567"/>
                  </a:lnTo>
                  <a:lnTo>
                    <a:pt x="824622" y="564567"/>
                  </a:lnTo>
                  <a:lnTo>
                    <a:pt x="824622" y="567321"/>
                  </a:lnTo>
                  <a:lnTo>
                    <a:pt x="822655" y="570075"/>
                  </a:lnTo>
                  <a:lnTo>
                    <a:pt x="820294" y="572829"/>
                  </a:lnTo>
                  <a:lnTo>
                    <a:pt x="822655" y="575976"/>
                  </a:lnTo>
                  <a:lnTo>
                    <a:pt x="824228" y="574402"/>
                  </a:lnTo>
                  <a:lnTo>
                    <a:pt x="824228" y="574796"/>
                  </a:lnTo>
                  <a:lnTo>
                    <a:pt x="822655" y="575976"/>
                  </a:lnTo>
                  <a:lnTo>
                    <a:pt x="823442" y="579124"/>
                  </a:lnTo>
                  <a:lnTo>
                    <a:pt x="822655" y="579910"/>
                  </a:lnTo>
                  <a:lnTo>
                    <a:pt x="821081" y="582664"/>
                  </a:lnTo>
                  <a:lnTo>
                    <a:pt x="818720" y="585418"/>
                  </a:lnTo>
                  <a:lnTo>
                    <a:pt x="820688" y="588172"/>
                  </a:lnTo>
                  <a:lnTo>
                    <a:pt x="823442" y="588172"/>
                  </a:lnTo>
                  <a:lnTo>
                    <a:pt x="826196" y="586599"/>
                  </a:lnTo>
                  <a:lnTo>
                    <a:pt x="826589" y="587386"/>
                  </a:lnTo>
                  <a:lnTo>
                    <a:pt x="825015" y="589746"/>
                  </a:lnTo>
                  <a:lnTo>
                    <a:pt x="822261" y="592107"/>
                  </a:lnTo>
                  <a:lnTo>
                    <a:pt x="819507" y="594467"/>
                  </a:lnTo>
                  <a:lnTo>
                    <a:pt x="816360" y="596434"/>
                  </a:lnTo>
                  <a:lnTo>
                    <a:pt x="814786" y="599188"/>
                  </a:lnTo>
                  <a:lnTo>
                    <a:pt x="811639" y="601549"/>
                  </a:lnTo>
                  <a:lnTo>
                    <a:pt x="808885" y="603123"/>
                  </a:lnTo>
                  <a:lnTo>
                    <a:pt x="806131" y="605483"/>
                  </a:lnTo>
                  <a:lnTo>
                    <a:pt x="808885" y="605090"/>
                  </a:lnTo>
                  <a:lnTo>
                    <a:pt x="811639" y="603516"/>
                  </a:lnTo>
                  <a:lnTo>
                    <a:pt x="814786" y="601549"/>
                  </a:lnTo>
                  <a:lnTo>
                    <a:pt x="817540" y="599582"/>
                  </a:lnTo>
                  <a:lnTo>
                    <a:pt x="820294" y="598008"/>
                  </a:lnTo>
                  <a:lnTo>
                    <a:pt x="822261" y="597615"/>
                  </a:lnTo>
                  <a:lnTo>
                    <a:pt x="821868" y="598795"/>
                  </a:lnTo>
                  <a:lnTo>
                    <a:pt x="820688" y="599188"/>
                  </a:lnTo>
                  <a:lnTo>
                    <a:pt x="817934" y="601549"/>
                  </a:lnTo>
                  <a:lnTo>
                    <a:pt x="817147" y="604696"/>
                  </a:lnTo>
                  <a:lnTo>
                    <a:pt x="819901" y="603516"/>
                  </a:lnTo>
                  <a:lnTo>
                    <a:pt x="819114" y="604696"/>
                  </a:lnTo>
                  <a:lnTo>
                    <a:pt x="817934" y="605483"/>
                  </a:lnTo>
                  <a:lnTo>
                    <a:pt x="817540" y="608237"/>
                  </a:lnTo>
                  <a:lnTo>
                    <a:pt x="819507" y="607844"/>
                  </a:lnTo>
                  <a:lnTo>
                    <a:pt x="818327" y="608631"/>
                  </a:lnTo>
                  <a:lnTo>
                    <a:pt x="815573" y="610598"/>
                  </a:lnTo>
                  <a:lnTo>
                    <a:pt x="810065" y="616106"/>
                  </a:lnTo>
                  <a:lnTo>
                    <a:pt x="812819" y="616106"/>
                  </a:lnTo>
                  <a:lnTo>
                    <a:pt x="815573" y="615319"/>
                  </a:lnTo>
                  <a:lnTo>
                    <a:pt x="818720" y="612171"/>
                  </a:lnTo>
                  <a:lnTo>
                    <a:pt x="821474" y="610598"/>
                  </a:lnTo>
                  <a:lnTo>
                    <a:pt x="822655" y="610204"/>
                  </a:lnTo>
                  <a:lnTo>
                    <a:pt x="825409" y="609024"/>
                  </a:lnTo>
                  <a:lnTo>
                    <a:pt x="828556" y="607844"/>
                  </a:lnTo>
                  <a:lnTo>
                    <a:pt x="831310" y="607057"/>
                  </a:lnTo>
                  <a:lnTo>
                    <a:pt x="834064" y="606270"/>
                  </a:lnTo>
                  <a:lnTo>
                    <a:pt x="835244" y="605483"/>
                  </a:lnTo>
                  <a:lnTo>
                    <a:pt x="847047" y="603516"/>
                  </a:lnTo>
                  <a:lnTo>
                    <a:pt x="843900" y="604696"/>
                  </a:lnTo>
                  <a:lnTo>
                    <a:pt x="843113" y="605877"/>
                  </a:lnTo>
                  <a:lnTo>
                    <a:pt x="841539" y="606663"/>
                  </a:lnTo>
                  <a:lnTo>
                    <a:pt x="841539" y="604696"/>
                  </a:lnTo>
                  <a:lnTo>
                    <a:pt x="838392" y="604303"/>
                  </a:lnTo>
                  <a:lnTo>
                    <a:pt x="835638" y="605483"/>
                  </a:lnTo>
                  <a:lnTo>
                    <a:pt x="832490" y="607057"/>
                  </a:lnTo>
                  <a:lnTo>
                    <a:pt x="829736" y="607450"/>
                  </a:lnTo>
                  <a:lnTo>
                    <a:pt x="826982" y="609024"/>
                  </a:lnTo>
                  <a:lnTo>
                    <a:pt x="824228" y="611385"/>
                  </a:lnTo>
                  <a:lnTo>
                    <a:pt x="821081" y="611778"/>
                  </a:lnTo>
                  <a:lnTo>
                    <a:pt x="823835" y="609811"/>
                  </a:lnTo>
                  <a:lnTo>
                    <a:pt x="821081" y="610991"/>
                  </a:lnTo>
                  <a:lnTo>
                    <a:pt x="817934" y="613352"/>
                  </a:lnTo>
                  <a:lnTo>
                    <a:pt x="815180" y="615712"/>
                  </a:lnTo>
                  <a:lnTo>
                    <a:pt x="812426" y="616106"/>
                  </a:lnTo>
                  <a:lnTo>
                    <a:pt x="809672" y="617286"/>
                  </a:lnTo>
                  <a:lnTo>
                    <a:pt x="806524" y="620040"/>
                  </a:lnTo>
                  <a:lnTo>
                    <a:pt x="802983" y="625548"/>
                  </a:lnTo>
                  <a:lnTo>
                    <a:pt x="802983" y="625941"/>
                  </a:lnTo>
                  <a:lnTo>
                    <a:pt x="801410" y="629089"/>
                  </a:lnTo>
                  <a:lnTo>
                    <a:pt x="801410" y="631843"/>
                  </a:lnTo>
                  <a:lnTo>
                    <a:pt x="804164" y="631056"/>
                  </a:lnTo>
                  <a:lnTo>
                    <a:pt x="800623" y="634203"/>
                  </a:lnTo>
                  <a:lnTo>
                    <a:pt x="798262" y="636170"/>
                  </a:lnTo>
                  <a:lnTo>
                    <a:pt x="801016" y="635777"/>
                  </a:lnTo>
                  <a:lnTo>
                    <a:pt x="805737" y="636564"/>
                  </a:lnTo>
                  <a:lnTo>
                    <a:pt x="807311" y="637351"/>
                  </a:lnTo>
                  <a:lnTo>
                    <a:pt x="804164" y="636957"/>
                  </a:lnTo>
                  <a:lnTo>
                    <a:pt x="801410" y="636564"/>
                  </a:lnTo>
                  <a:lnTo>
                    <a:pt x="798656" y="637351"/>
                  </a:lnTo>
                  <a:lnTo>
                    <a:pt x="795508" y="637744"/>
                  </a:lnTo>
                  <a:lnTo>
                    <a:pt x="792361" y="640105"/>
                  </a:lnTo>
                  <a:lnTo>
                    <a:pt x="794328" y="643252"/>
                  </a:lnTo>
                  <a:lnTo>
                    <a:pt x="797082" y="642859"/>
                  </a:lnTo>
                  <a:lnTo>
                    <a:pt x="800229" y="644432"/>
                  </a:lnTo>
                  <a:lnTo>
                    <a:pt x="802983" y="644826"/>
                  </a:lnTo>
                  <a:lnTo>
                    <a:pt x="806131" y="644432"/>
                  </a:lnTo>
                  <a:lnTo>
                    <a:pt x="808885" y="644039"/>
                  </a:lnTo>
                  <a:lnTo>
                    <a:pt x="810459" y="644039"/>
                  </a:lnTo>
                  <a:lnTo>
                    <a:pt x="810852" y="644432"/>
                  </a:lnTo>
                  <a:lnTo>
                    <a:pt x="809278" y="644432"/>
                  </a:lnTo>
                  <a:lnTo>
                    <a:pt x="806131" y="644826"/>
                  </a:lnTo>
                  <a:lnTo>
                    <a:pt x="803377" y="645219"/>
                  </a:lnTo>
                  <a:lnTo>
                    <a:pt x="800623" y="644826"/>
                  </a:lnTo>
                  <a:lnTo>
                    <a:pt x="797475" y="643252"/>
                  </a:lnTo>
                  <a:lnTo>
                    <a:pt x="794328" y="646006"/>
                  </a:lnTo>
                  <a:lnTo>
                    <a:pt x="795902" y="648760"/>
                  </a:lnTo>
                  <a:lnTo>
                    <a:pt x="798656" y="649153"/>
                  </a:lnTo>
                  <a:lnTo>
                    <a:pt x="801803" y="651514"/>
                  </a:lnTo>
                  <a:lnTo>
                    <a:pt x="804557" y="650334"/>
                  </a:lnTo>
                  <a:lnTo>
                    <a:pt x="801410" y="648760"/>
                  </a:lnTo>
                  <a:lnTo>
                    <a:pt x="804164" y="649153"/>
                  </a:lnTo>
                  <a:lnTo>
                    <a:pt x="807311" y="649547"/>
                  </a:lnTo>
                  <a:lnTo>
                    <a:pt x="810065" y="647973"/>
                  </a:lnTo>
                  <a:lnTo>
                    <a:pt x="812819" y="650334"/>
                  </a:lnTo>
                  <a:lnTo>
                    <a:pt x="813606" y="649940"/>
                  </a:lnTo>
                  <a:lnTo>
                    <a:pt x="815180" y="653481"/>
                  </a:lnTo>
                  <a:lnTo>
                    <a:pt x="812426" y="654661"/>
                  </a:lnTo>
                  <a:lnTo>
                    <a:pt x="809672" y="657415"/>
                  </a:lnTo>
                  <a:lnTo>
                    <a:pt x="812426" y="657809"/>
                  </a:lnTo>
                  <a:lnTo>
                    <a:pt x="815573" y="657415"/>
                  </a:lnTo>
                  <a:lnTo>
                    <a:pt x="816753" y="657022"/>
                  </a:lnTo>
                  <a:lnTo>
                    <a:pt x="817147" y="657809"/>
                  </a:lnTo>
                  <a:lnTo>
                    <a:pt x="827376" y="655448"/>
                  </a:lnTo>
                  <a:lnTo>
                    <a:pt x="828556" y="655448"/>
                  </a:lnTo>
                  <a:lnTo>
                    <a:pt x="831704" y="655055"/>
                  </a:lnTo>
                  <a:lnTo>
                    <a:pt x="834064" y="653875"/>
                  </a:lnTo>
                  <a:lnTo>
                    <a:pt x="837605" y="653088"/>
                  </a:lnTo>
                  <a:lnTo>
                    <a:pt x="837605" y="653088"/>
                  </a:lnTo>
                  <a:lnTo>
                    <a:pt x="832097" y="655842"/>
                  </a:lnTo>
                  <a:lnTo>
                    <a:pt x="828950" y="656235"/>
                  </a:lnTo>
                  <a:lnTo>
                    <a:pt x="826196" y="656629"/>
                  </a:lnTo>
                  <a:lnTo>
                    <a:pt x="823442" y="656235"/>
                  </a:lnTo>
                  <a:lnTo>
                    <a:pt x="820294" y="656629"/>
                  </a:lnTo>
                  <a:lnTo>
                    <a:pt x="817540" y="657022"/>
                  </a:lnTo>
                  <a:lnTo>
                    <a:pt x="818327" y="658596"/>
                  </a:lnTo>
                  <a:lnTo>
                    <a:pt x="821081" y="657809"/>
                  </a:lnTo>
                  <a:lnTo>
                    <a:pt x="824228" y="658202"/>
                  </a:lnTo>
                  <a:lnTo>
                    <a:pt x="817934" y="659383"/>
                  </a:lnTo>
                  <a:lnTo>
                    <a:pt x="815180" y="661743"/>
                  </a:lnTo>
                  <a:lnTo>
                    <a:pt x="817934" y="661743"/>
                  </a:lnTo>
                  <a:lnTo>
                    <a:pt x="821081" y="662530"/>
                  </a:lnTo>
                  <a:lnTo>
                    <a:pt x="823835" y="661743"/>
                  </a:lnTo>
                  <a:lnTo>
                    <a:pt x="826982" y="660563"/>
                  </a:lnTo>
                  <a:lnTo>
                    <a:pt x="827769" y="663317"/>
                  </a:lnTo>
                  <a:lnTo>
                    <a:pt x="830917" y="660956"/>
                  </a:lnTo>
                  <a:lnTo>
                    <a:pt x="833671" y="658989"/>
                  </a:lnTo>
                  <a:lnTo>
                    <a:pt x="836425" y="655842"/>
                  </a:lnTo>
                  <a:lnTo>
                    <a:pt x="839572" y="655448"/>
                  </a:lnTo>
                  <a:lnTo>
                    <a:pt x="836425" y="656629"/>
                  </a:lnTo>
                  <a:lnTo>
                    <a:pt x="834064" y="659776"/>
                  </a:lnTo>
                  <a:lnTo>
                    <a:pt x="832097" y="662530"/>
                  </a:lnTo>
                  <a:lnTo>
                    <a:pt x="834851" y="662137"/>
                  </a:lnTo>
                  <a:lnTo>
                    <a:pt x="837998" y="662530"/>
                  </a:lnTo>
                  <a:lnTo>
                    <a:pt x="840752" y="663710"/>
                  </a:lnTo>
                  <a:lnTo>
                    <a:pt x="843506" y="661350"/>
                  </a:lnTo>
                  <a:lnTo>
                    <a:pt x="846260" y="659776"/>
                  </a:lnTo>
                  <a:lnTo>
                    <a:pt x="849408" y="658202"/>
                  </a:lnTo>
                  <a:lnTo>
                    <a:pt x="852162" y="656629"/>
                  </a:lnTo>
                  <a:lnTo>
                    <a:pt x="854522" y="653875"/>
                  </a:lnTo>
                  <a:lnTo>
                    <a:pt x="854916" y="650727"/>
                  </a:lnTo>
                  <a:lnTo>
                    <a:pt x="857670" y="649153"/>
                  </a:lnTo>
                  <a:lnTo>
                    <a:pt x="860817" y="646793"/>
                  </a:lnTo>
                  <a:lnTo>
                    <a:pt x="859243" y="649547"/>
                  </a:lnTo>
                  <a:lnTo>
                    <a:pt x="858457" y="649940"/>
                  </a:lnTo>
                  <a:lnTo>
                    <a:pt x="855703" y="652694"/>
                  </a:lnTo>
                  <a:lnTo>
                    <a:pt x="853735" y="655448"/>
                  </a:lnTo>
                  <a:lnTo>
                    <a:pt x="851375" y="658202"/>
                  </a:lnTo>
                  <a:lnTo>
                    <a:pt x="848621" y="659383"/>
                  </a:lnTo>
                  <a:lnTo>
                    <a:pt x="845473" y="660956"/>
                  </a:lnTo>
                  <a:lnTo>
                    <a:pt x="842720" y="662923"/>
                  </a:lnTo>
                  <a:lnTo>
                    <a:pt x="841539" y="665677"/>
                  </a:lnTo>
                  <a:lnTo>
                    <a:pt x="844293" y="663317"/>
                  </a:lnTo>
                  <a:lnTo>
                    <a:pt x="843113" y="666071"/>
                  </a:lnTo>
                  <a:lnTo>
                    <a:pt x="845867" y="666464"/>
                  </a:lnTo>
                  <a:lnTo>
                    <a:pt x="848621" y="665284"/>
                  </a:lnTo>
                  <a:lnTo>
                    <a:pt x="847441" y="666858"/>
                  </a:lnTo>
                  <a:lnTo>
                    <a:pt x="847047" y="666858"/>
                  </a:lnTo>
                  <a:lnTo>
                    <a:pt x="844293" y="669612"/>
                  </a:lnTo>
                  <a:lnTo>
                    <a:pt x="845473" y="669612"/>
                  </a:lnTo>
                  <a:lnTo>
                    <a:pt x="841146" y="676693"/>
                  </a:lnTo>
                  <a:lnTo>
                    <a:pt x="840752" y="676693"/>
                  </a:lnTo>
                  <a:lnTo>
                    <a:pt x="838785" y="676693"/>
                  </a:lnTo>
                  <a:lnTo>
                    <a:pt x="838785" y="678267"/>
                  </a:lnTo>
                  <a:lnTo>
                    <a:pt x="841146" y="681021"/>
                  </a:lnTo>
                  <a:lnTo>
                    <a:pt x="841539" y="683775"/>
                  </a:lnTo>
                  <a:lnTo>
                    <a:pt x="844687" y="684168"/>
                  </a:lnTo>
                  <a:lnTo>
                    <a:pt x="847441" y="683775"/>
                  </a:lnTo>
                  <a:lnTo>
                    <a:pt x="850195" y="683382"/>
                  </a:lnTo>
                  <a:lnTo>
                    <a:pt x="853342" y="681808"/>
                  </a:lnTo>
                  <a:lnTo>
                    <a:pt x="856489" y="679054"/>
                  </a:lnTo>
                  <a:lnTo>
                    <a:pt x="856883" y="682201"/>
                  </a:lnTo>
                  <a:lnTo>
                    <a:pt x="857670" y="679054"/>
                  </a:lnTo>
                  <a:lnTo>
                    <a:pt x="859243" y="676300"/>
                  </a:lnTo>
                  <a:lnTo>
                    <a:pt x="860817" y="676300"/>
                  </a:lnTo>
                  <a:lnTo>
                    <a:pt x="860424" y="676693"/>
                  </a:lnTo>
                  <a:lnTo>
                    <a:pt x="860030" y="679447"/>
                  </a:lnTo>
                  <a:lnTo>
                    <a:pt x="856096" y="684955"/>
                  </a:lnTo>
                  <a:lnTo>
                    <a:pt x="858457" y="687709"/>
                  </a:lnTo>
                  <a:lnTo>
                    <a:pt x="861604" y="687316"/>
                  </a:lnTo>
                  <a:lnTo>
                    <a:pt x="864358" y="686136"/>
                  </a:lnTo>
                  <a:lnTo>
                    <a:pt x="861604" y="687709"/>
                  </a:lnTo>
                  <a:lnTo>
                    <a:pt x="858850" y="688103"/>
                  </a:lnTo>
                  <a:lnTo>
                    <a:pt x="855703" y="689676"/>
                  </a:lnTo>
                  <a:lnTo>
                    <a:pt x="853342" y="692430"/>
                  </a:lnTo>
                  <a:lnTo>
                    <a:pt x="854522" y="689283"/>
                  </a:lnTo>
                  <a:lnTo>
                    <a:pt x="854916" y="686529"/>
                  </a:lnTo>
                  <a:lnTo>
                    <a:pt x="852162" y="685349"/>
                  </a:lnTo>
                  <a:lnTo>
                    <a:pt x="849408" y="687709"/>
                  </a:lnTo>
                  <a:lnTo>
                    <a:pt x="849014" y="690463"/>
                  </a:lnTo>
                  <a:lnTo>
                    <a:pt x="850981" y="693217"/>
                  </a:lnTo>
                  <a:lnTo>
                    <a:pt x="853735" y="694791"/>
                  </a:lnTo>
                  <a:lnTo>
                    <a:pt x="856489" y="696365"/>
                  </a:lnTo>
                  <a:lnTo>
                    <a:pt x="859243" y="694791"/>
                  </a:lnTo>
                  <a:lnTo>
                    <a:pt x="860817" y="692037"/>
                  </a:lnTo>
                  <a:lnTo>
                    <a:pt x="863965" y="690857"/>
                  </a:lnTo>
                  <a:lnTo>
                    <a:pt x="864751" y="690463"/>
                  </a:lnTo>
                  <a:lnTo>
                    <a:pt x="864751" y="691644"/>
                  </a:lnTo>
                  <a:lnTo>
                    <a:pt x="864751" y="691250"/>
                  </a:lnTo>
                  <a:lnTo>
                    <a:pt x="861997" y="693611"/>
                  </a:lnTo>
                  <a:lnTo>
                    <a:pt x="865145" y="692430"/>
                  </a:lnTo>
                  <a:lnTo>
                    <a:pt x="865538" y="698332"/>
                  </a:lnTo>
                  <a:lnTo>
                    <a:pt x="865932" y="698725"/>
                  </a:lnTo>
                  <a:lnTo>
                    <a:pt x="868686" y="699119"/>
                  </a:lnTo>
                  <a:lnTo>
                    <a:pt x="868292" y="699512"/>
                  </a:lnTo>
                  <a:lnTo>
                    <a:pt x="864751" y="699512"/>
                  </a:lnTo>
                  <a:lnTo>
                    <a:pt x="863178" y="702659"/>
                  </a:lnTo>
                  <a:lnTo>
                    <a:pt x="861210" y="702659"/>
                  </a:lnTo>
                  <a:lnTo>
                    <a:pt x="861604" y="705413"/>
                  </a:lnTo>
                  <a:lnTo>
                    <a:pt x="864358" y="704233"/>
                  </a:lnTo>
                  <a:lnTo>
                    <a:pt x="863571" y="704233"/>
                  </a:lnTo>
                  <a:lnTo>
                    <a:pt x="861210" y="705807"/>
                  </a:lnTo>
                  <a:lnTo>
                    <a:pt x="859243" y="708561"/>
                  </a:lnTo>
                  <a:lnTo>
                    <a:pt x="860817" y="708561"/>
                  </a:lnTo>
                  <a:lnTo>
                    <a:pt x="867899" y="708561"/>
                  </a:lnTo>
                  <a:lnTo>
                    <a:pt x="866325" y="710921"/>
                  </a:lnTo>
                  <a:lnTo>
                    <a:pt x="865145" y="713675"/>
                  </a:lnTo>
                  <a:lnTo>
                    <a:pt x="865538" y="714856"/>
                  </a:lnTo>
                  <a:lnTo>
                    <a:pt x="861604" y="725478"/>
                  </a:lnTo>
                  <a:lnTo>
                    <a:pt x="860424" y="725872"/>
                  </a:lnTo>
                  <a:lnTo>
                    <a:pt x="857670" y="725085"/>
                  </a:lnTo>
                  <a:lnTo>
                    <a:pt x="857276" y="728232"/>
                  </a:lnTo>
                  <a:lnTo>
                    <a:pt x="857670" y="728626"/>
                  </a:lnTo>
                  <a:lnTo>
                    <a:pt x="854916" y="730199"/>
                  </a:lnTo>
                  <a:lnTo>
                    <a:pt x="851768" y="732560"/>
                  </a:lnTo>
                  <a:lnTo>
                    <a:pt x="850588" y="735314"/>
                  </a:lnTo>
                  <a:lnTo>
                    <a:pt x="850981" y="738068"/>
                  </a:lnTo>
                  <a:lnTo>
                    <a:pt x="850588" y="740822"/>
                  </a:lnTo>
                  <a:lnTo>
                    <a:pt x="850981" y="741609"/>
                  </a:lnTo>
                  <a:lnTo>
                    <a:pt x="847834" y="744756"/>
                  </a:lnTo>
                  <a:lnTo>
                    <a:pt x="847834" y="743969"/>
                  </a:lnTo>
                  <a:lnTo>
                    <a:pt x="844687" y="745936"/>
                  </a:lnTo>
                  <a:lnTo>
                    <a:pt x="841933" y="747903"/>
                  </a:lnTo>
                  <a:lnTo>
                    <a:pt x="839179" y="750264"/>
                  </a:lnTo>
                  <a:lnTo>
                    <a:pt x="836031" y="752231"/>
                  </a:lnTo>
                  <a:lnTo>
                    <a:pt x="833277" y="753018"/>
                  </a:lnTo>
                  <a:lnTo>
                    <a:pt x="830130" y="754592"/>
                  </a:lnTo>
                  <a:lnTo>
                    <a:pt x="827376" y="756559"/>
                  </a:lnTo>
                  <a:lnTo>
                    <a:pt x="826982" y="756165"/>
                  </a:lnTo>
                  <a:lnTo>
                    <a:pt x="827769" y="755772"/>
                  </a:lnTo>
                  <a:lnTo>
                    <a:pt x="830523" y="753805"/>
                  </a:lnTo>
                  <a:lnTo>
                    <a:pt x="833671" y="752231"/>
                  </a:lnTo>
                  <a:lnTo>
                    <a:pt x="836425" y="749871"/>
                  </a:lnTo>
                  <a:lnTo>
                    <a:pt x="839179" y="748297"/>
                  </a:lnTo>
                  <a:lnTo>
                    <a:pt x="836818" y="751051"/>
                  </a:lnTo>
                  <a:lnTo>
                    <a:pt x="840359" y="748690"/>
                  </a:lnTo>
                  <a:lnTo>
                    <a:pt x="843113" y="746330"/>
                  </a:lnTo>
                  <a:lnTo>
                    <a:pt x="846260" y="744756"/>
                  </a:lnTo>
                  <a:lnTo>
                    <a:pt x="846654" y="742002"/>
                  </a:lnTo>
                  <a:lnTo>
                    <a:pt x="846260" y="739248"/>
                  </a:lnTo>
                  <a:lnTo>
                    <a:pt x="847441" y="736494"/>
                  </a:lnTo>
                  <a:lnTo>
                    <a:pt x="844293" y="738068"/>
                  </a:lnTo>
                  <a:lnTo>
                    <a:pt x="842720" y="740822"/>
                  </a:lnTo>
                  <a:lnTo>
                    <a:pt x="841933" y="737674"/>
                  </a:lnTo>
                  <a:lnTo>
                    <a:pt x="839179" y="739248"/>
                  </a:lnTo>
                  <a:lnTo>
                    <a:pt x="837211" y="736494"/>
                  </a:lnTo>
                  <a:lnTo>
                    <a:pt x="834458" y="737674"/>
                  </a:lnTo>
                  <a:lnTo>
                    <a:pt x="832097" y="737674"/>
                  </a:lnTo>
                  <a:lnTo>
                    <a:pt x="829343" y="737281"/>
                  </a:lnTo>
                  <a:lnTo>
                    <a:pt x="826196" y="736887"/>
                  </a:lnTo>
                  <a:lnTo>
                    <a:pt x="823442" y="736494"/>
                  </a:lnTo>
                  <a:lnTo>
                    <a:pt x="820294" y="736494"/>
                  </a:lnTo>
                  <a:lnTo>
                    <a:pt x="817540" y="736101"/>
                  </a:lnTo>
                  <a:lnTo>
                    <a:pt x="814393" y="734134"/>
                  </a:lnTo>
                  <a:lnTo>
                    <a:pt x="811639" y="733347"/>
                  </a:lnTo>
                  <a:lnTo>
                    <a:pt x="808885" y="731773"/>
                  </a:lnTo>
                  <a:lnTo>
                    <a:pt x="806131" y="729412"/>
                  </a:lnTo>
                  <a:lnTo>
                    <a:pt x="802983" y="729019"/>
                  </a:lnTo>
                  <a:lnTo>
                    <a:pt x="801803" y="732560"/>
                  </a:lnTo>
                  <a:lnTo>
                    <a:pt x="800229" y="734134"/>
                  </a:lnTo>
                  <a:lnTo>
                    <a:pt x="797869" y="737281"/>
                  </a:lnTo>
                  <a:lnTo>
                    <a:pt x="796295" y="740035"/>
                  </a:lnTo>
                  <a:lnTo>
                    <a:pt x="795115" y="743182"/>
                  </a:lnTo>
                  <a:lnTo>
                    <a:pt x="795508" y="745936"/>
                  </a:lnTo>
                  <a:lnTo>
                    <a:pt x="795902" y="749084"/>
                  </a:lnTo>
                  <a:lnTo>
                    <a:pt x="795902" y="749477"/>
                  </a:lnTo>
                  <a:lnTo>
                    <a:pt x="792754" y="758526"/>
                  </a:lnTo>
                  <a:lnTo>
                    <a:pt x="791574" y="760493"/>
                  </a:lnTo>
                  <a:lnTo>
                    <a:pt x="791181" y="763641"/>
                  </a:lnTo>
                  <a:lnTo>
                    <a:pt x="790787" y="764427"/>
                  </a:lnTo>
                  <a:lnTo>
                    <a:pt x="790394" y="767575"/>
                  </a:lnTo>
                  <a:lnTo>
                    <a:pt x="787640" y="773083"/>
                  </a:lnTo>
                  <a:lnTo>
                    <a:pt x="786459" y="776230"/>
                  </a:lnTo>
                  <a:lnTo>
                    <a:pt x="788820" y="773476"/>
                  </a:lnTo>
                  <a:lnTo>
                    <a:pt x="791967" y="775837"/>
                  </a:lnTo>
                  <a:lnTo>
                    <a:pt x="794721" y="776230"/>
                  </a:lnTo>
                  <a:lnTo>
                    <a:pt x="793935" y="776624"/>
                  </a:lnTo>
                  <a:lnTo>
                    <a:pt x="790787" y="777410"/>
                  </a:lnTo>
                  <a:lnTo>
                    <a:pt x="788033" y="778197"/>
                  </a:lnTo>
                  <a:lnTo>
                    <a:pt x="784886" y="778591"/>
                  </a:lnTo>
                  <a:lnTo>
                    <a:pt x="783706" y="781345"/>
                  </a:lnTo>
                  <a:lnTo>
                    <a:pt x="783312" y="784099"/>
                  </a:lnTo>
                  <a:lnTo>
                    <a:pt x="784886" y="786853"/>
                  </a:lnTo>
                  <a:lnTo>
                    <a:pt x="783706" y="788033"/>
                  </a:lnTo>
                  <a:lnTo>
                    <a:pt x="782132" y="791180"/>
                  </a:lnTo>
                  <a:lnTo>
                    <a:pt x="779771" y="793934"/>
                  </a:lnTo>
                  <a:lnTo>
                    <a:pt x="777017" y="795115"/>
                  </a:lnTo>
                  <a:lnTo>
                    <a:pt x="778591" y="791967"/>
                  </a:lnTo>
                  <a:lnTo>
                    <a:pt x="779771" y="789213"/>
                  </a:lnTo>
                  <a:lnTo>
                    <a:pt x="778197" y="791967"/>
                  </a:lnTo>
                  <a:lnTo>
                    <a:pt x="776230" y="794721"/>
                  </a:lnTo>
                  <a:lnTo>
                    <a:pt x="775050" y="797869"/>
                  </a:lnTo>
                  <a:lnTo>
                    <a:pt x="778197" y="799836"/>
                  </a:lnTo>
                  <a:lnTo>
                    <a:pt x="780952" y="798655"/>
                  </a:lnTo>
                  <a:lnTo>
                    <a:pt x="783706" y="799049"/>
                  </a:lnTo>
                  <a:lnTo>
                    <a:pt x="786459" y="799442"/>
                  </a:lnTo>
                  <a:lnTo>
                    <a:pt x="789607" y="800229"/>
                  </a:lnTo>
                  <a:lnTo>
                    <a:pt x="791574" y="802983"/>
                  </a:lnTo>
                  <a:lnTo>
                    <a:pt x="793935" y="802590"/>
                  </a:lnTo>
                  <a:lnTo>
                    <a:pt x="791181" y="804163"/>
                  </a:lnTo>
                  <a:lnTo>
                    <a:pt x="788033" y="802983"/>
                  </a:lnTo>
                  <a:lnTo>
                    <a:pt x="785279" y="801409"/>
                  </a:lnTo>
                  <a:lnTo>
                    <a:pt x="782525" y="802196"/>
                  </a:lnTo>
                  <a:lnTo>
                    <a:pt x="779771" y="801409"/>
                  </a:lnTo>
                  <a:lnTo>
                    <a:pt x="776624" y="802983"/>
                  </a:lnTo>
                  <a:lnTo>
                    <a:pt x="773476" y="802590"/>
                  </a:lnTo>
                  <a:lnTo>
                    <a:pt x="772690" y="805344"/>
                  </a:lnTo>
                  <a:lnTo>
                    <a:pt x="771116" y="808491"/>
                  </a:lnTo>
                  <a:lnTo>
                    <a:pt x="767968" y="810458"/>
                  </a:lnTo>
                  <a:lnTo>
                    <a:pt x="766788" y="813212"/>
                  </a:lnTo>
                  <a:lnTo>
                    <a:pt x="764428" y="815966"/>
                  </a:lnTo>
                  <a:lnTo>
                    <a:pt x="764428" y="819114"/>
                  </a:lnTo>
                  <a:lnTo>
                    <a:pt x="761674" y="821868"/>
                  </a:lnTo>
                  <a:lnTo>
                    <a:pt x="762067" y="825015"/>
                  </a:lnTo>
                  <a:lnTo>
                    <a:pt x="758920" y="825408"/>
                  </a:lnTo>
                  <a:lnTo>
                    <a:pt x="755379" y="830916"/>
                  </a:lnTo>
                  <a:lnTo>
                    <a:pt x="753018" y="834064"/>
                  </a:lnTo>
                  <a:lnTo>
                    <a:pt x="751051" y="836818"/>
                  </a:lnTo>
                  <a:lnTo>
                    <a:pt x="748297" y="839572"/>
                  </a:lnTo>
                  <a:lnTo>
                    <a:pt x="746330" y="842326"/>
                  </a:lnTo>
                  <a:lnTo>
                    <a:pt x="743969" y="845080"/>
                  </a:lnTo>
                  <a:lnTo>
                    <a:pt x="741215" y="848227"/>
                  </a:lnTo>
                  <a:lnTo>
                    <a:pt x="739642" y="850981"/>
                  </a:lnTo>
                  <a:lnTo>
                    <a:pt x="739248" y="852948"/>
                  </a:lnTo>
                  <a:lnTo>
                    <a:pt x="738462" y="854129"/>
                  </a:lnTo>
                  <a:lnTo>
                    <a:pt x="736101" y="855309"/>
                  </a:lnTo>
                  <a:lnTo>
                    <a:pt x="733740" y="858063"/>
                  </a:lnTo>
                  <a:lnTo>
                    <a:pt x="732167" y="861210"/>
                  </a:lnTo>
                  <a:lnTo>
                    <a:pt x="729413" y="864358"/>
                  </a:lnTo>
                  <a:lnTo>
                    <a:pt x="727839" y="867112"/>
                  </a:lnTo>
                  <a:lnTo>
                    <a:pt x="725478" y="870259"/>
                  </a:lnTo>
                  <a:lnTo>
                    <a:pt x="723511" y="873013"/>
                  </a:lnTo>
                  <a:lnTo>
                    <a:pt x="721544" y="876160"/>
                  </a:lnTo>
                  <a:lnTo>
                    <a:pt x="719184" y="878914"/>
                  </a:lnTo>
                  <a:lnTo>
                    <a:pt x="716823" y="881668"/>
                  </a:lnTo>
                  <a:lnTo>
                    <a:pt x="715249" y="884422"/>
                  </a:lnTo>
                  <a:lnTo>
                    <a:pt x="713676" y="885603"/>
                  </a:lnTo>
                  <a:lnTo>
                    <a:pt x="711315" y="888357"/>
                  </a:lnTo>
                  <a:lnTo>
                    <a:pt x="708561" y="891504"/>
                  </a:lnTo>
                  <a:lnTo>
                    <a:pt x="706200" y="894258"/>
                  </a:lnTo>
                  <a:lnTo>
                    <a:pt x="708561" y="892684"/>
                  </a:lnTo>
                  <a:lnTo>
                    <a:pt x="705807" y="895045"/>
                  </a:lnTo>
                  <a:lnTo>
                    <a:pt x="705020" y="895045"/>
                  </a:lnTo>
                  <a:lnTo>
                    <a:pt x="702660" y="897799"/>
                  </a:lnTo>
                  <a:lnTo>
                    <a:pt x="703446" y="895832"/>
                  </a:lnTo>
                  <a:lnTo>
                    <a:pt x="700299" y="898192"/>
                  </a:lnTo>
                  <a:lnTo>
                    <a:pt x="697939" y="901340"/>
                  </a:lnTo>
                  <a:lnTo>
                    <a:pt x="695578" y="904094"/>
                  </a:lnTo>
                  <a:lnTo>
                    <a:pt x="693217" y="907241"/>
                  </a:lnTo>
                  <a:lnTo>
                    <a:pt x="690463" y="909602"/>
                  </a:lnTo>
                  <a:lnTo>
                    <a:pt x="687709" y="912356"/>
                  </a:lnTo>
                  <a:lnTo>
                    <a:pt x="686529" y="915110"/>
                  </a:lnTo>
                  <a:lnTo>
                    <a:pt x="686923" y="917864"/>
                  </a:lnTo>
                  <a:lnTo>
                    <a:pt x="686136" y="920618"/>
                  </a:lnTo>
                  <a:lnTo>
                    <a:pt x="683775" y="923765"/>
                  </a:lnTo>
                  <a:lnTo>
                    <a:pt x="681808" y="926912"/>
                  </a:lnTo>
                  <a:lnTo>
                    <a:pt x="679841" y="929273"/>
                  </a:lnTo>
                  <a:lnTo>
                    <a:pt x="678661" y="932420"/>
                  </a:lnTo>
                  <a:lnTo>
                    <a:pt x="678267" y="935174"/>
                  </a:lnTo>
                  <a:lnTo>
                    <a:pt x="678267" y="937928"/>
                  </a:lnTo>
                  <a:lnTo>
                    <a:pt x="679448" y="940682"/>
                  </a:lnTo>
                  <a:lnTo>
                    <a:pt x="679054" y="941469"/>
                  </a:lnTo>
                  <a:lnTo>
                    <a:pt x="677087" y="944617"/>
                  </a:lnTo>
                  <a:lnTo>
                    <a:pt x="674333" y="947371"/>
                  </a:lnTo>
                  <a:lnTo>
                    <a:pt x="675513" y="950125"/>
                  </a:lnTo>
                  <a:lnTo>
                    <a:pt x="674333" y="952879"/>
                  </a:lnTo>
                  <a:lnTo>
                    <a:pt x="673939" y="955633"/>
                  </a:lnTo>
                  <a:lnTo>
                    <a:pt x="649941" y="986320"/>
                  </a:lnTo>
                  <a:lnTo>
                    <a:pt x="648367" y="987894"/>
                  </a:lnTo>
                  <a:lnTo>
                    <a:pt x="646006" y="990647"/>
                  </a:lnTo>
                  <a:lnTo>
                    <a:pt x="644039" y="993795"/>
                  </a:lnTo>
                  <a:lnTo>
                    <a:pt x="643646" y="996549"/>
                  </a:lnTo>
                  <a:lnTo>
                    <a:pt x="642072" y="999303"/>
                  </a:lnTo>
                  <a:lnTo>
                    <a:pt x="644039" y="1002450"/>
                  </a:lnTo>
                  <a:lnTo>
                    <a:pt x="646006" y="1005204"/>
                  </a:lnTo>
                  <a:lnTo>
                    <a:pt x="646400" y="1007958"/>
                  </a:lnTo>
                  <a:lnTo>
                    <a:pt x="647187" y="1011499"/>
                  </a:lnTo>
                  <a:lnTo>
                    <a:pt x="646793" y="1015433"/>
                  </a:lnTo>
                  <a:lnTo>
                    <a:pt x="646400" y="1016220"/>
                  </a:lnTo>
                  <a:lnTo>
                    <a:pt x="646006" y="1018974"/>
                  </a:lnTo>
                  <a:lnTo>
                    <a:pt x="644433" y="1021728"/>
                  </a:lnTo>
                  <a:lnTo>
                    <a:pt x="642465" y="1024876"/>
                  </a:lnTo>
                  <a:lnTo>
                    <a:pt x="640498" y="1027630"/>
                  </a:lnTo>
                  <a:lnTo>
                    <a:pt x="638925" y="1030384"/>
                  </a:lnTo>
                  <a:lnTo>
                    <a:pt x="638531" y="1033138"/>
                  </a:lnTo>
                  <a:lnTo>
                    <a:pt x="638138" y="1036285"/>
                  </a:lnTo>
                  <a:lnTo>
                    <a:pt x="637351" y="1039039"/>
                  </a:lnTo>
                  <a:lnTo>
                    <a:pt x="635777" y="1042186"/>
                  </a:lnTo>
                  <a:lnTo>
                    <a:pt x="634597" y="1044940"/>
                  </a:lnTo>
                  <a:lnTo>
                    <a:pt x="636171" y="1047694"/>
                  </a:lnTo>
                  <a:lnTo>
                    <a:pt x="637744" y="1050448"/>
                  </a:lnTo>
                  <a:lnTo>
                    <a:pt x="638138" y="1053202"/>
                  </a:lnTo>
                  <a:lnTo>
                    <a:pt x="639318" y="1056350"/>
                  </a:lnTo>
                  <a:lnTo>
                    <a:pt x="642072" y="1059104"/>
                  </a:lnTo>
                  <a:lnTo>
                    <a:pt x="642465" y="1060677"/>
                  </a:lnTo>
                  <a:lnTo>
                    <a:pt x="642072" y="1064612"/>
                  </a:lnTo>
                  <a:lnTo>
                    <a:pt x="643646" y="1066185"/>
                  </a:lnTo>
                  <a:lnTo>
                    <a:pt x="644039" y="1068939"/>
                  </a:lnTo>
                  <a:lnTo>
                    <a:pt x="644433" y="1071693"/>
                  </a:lnTo>
                  <a:lnTo>
                    <a:pt x="642859" y="1068939"/>
                  </a:lnTo>
                  <a:lnTo>
                    <a:pt x="640498" y="1071693"/>
                  </a:lnTo>
                  <a:lnTo>
                    <a:pt x="638138" y="1074841"/>
                  </a:lnTo>
                  <a:lnTo>
                    <a:pt x="640892" y="1072480"/>
                  </a:lnTo>
                  <a:lnTo>
                    <a:pt x="644039" y="1074841"/>
                  </a:lnTo>
                  <a:lnTo>
                    <a:pt x="644826" y="1077595"/>
                  </a:lnTo>
                  <a:lnTo>
                    <a:pt x="647973" y="1079168"/>
                  </a:lnTo>
                  <a:lnTo>
                    <a:pt x="650727" y="1079562"/>
                  </a:lnTo>
                  <a:lnTo>
                    <a:pt x="653088" y="1074054"/>
                  </a:lnTo>
                  <a:lnTo>
                    <a:pt x="655055" y="1070907"/>
                  </a:lnTo>
                  <a:lnTo>
                    <a:pt x="656235" y="1070120"/>
                  </a:lnTo>
                  <a:lnTo>
                    <a:pt x="659776" y="1071693"/>
                  </a:lnTo>
                  <a:lnTo>
                    <a:pt x="660563" y="1072480"/>
                  </a:lnTo>
                  <a:lnTo>
                    <a:pt x="661350" y="1072874"/>
                  </a:lnTo>
                  <a:lnTo>
                    <a:pt x="658202" y="1074447"/>
                  </a:lnTo>
                  <a:lnTo>
                    <a:pt x="655449" y="1076021"/>
                  </a:lnTo>
                  <a:lnTo>
                    <a:pt x="655842" y="1078775"/>
                  </a:lnTo>
                  <a:lnTo>
                    <a:pt x="654268" y="1081529"/>
                  </a:lnTo>
                  <a:lnTo>
                    <a:pt x="655449" y="1084676"/>
                  </a:lnTo>
                  <a:lnTo>
                    <a:pt x="656235" y="1087430"/>
                  </a:lnTo>
                  <a:lnTo>
                    <a:pt x="655449" y="1090578"/>
                  </a:lnTo>
                  <a:lnTo>
                    <a:pt x="654662" y="1093332"/>
                  </a:lnTo>
                  <a:lnTo>
                    <a:pt x="652301" y="1090184"/>
                  </a:lnTo>
                  <a:lnTo>
                    <a:pt x="649941" y="1087430"/>
                  </a:lnTo>
                  <a:lnTo>
                    <a:pt x="651514" y="1084676"/>
                  </a:lnTo>
                  <a:lnTo>
                    <a:pt x="651908" y="1081922"/>
                  </a:lnTo>
                  <a:lnTo>
                    <a:pt x="649154" y="1082709"/>
                  </a:lnTo>
                  <a:lnTo>
                    <a:pt x="647580" y="1085857"/>
                  </a:lnTo>
                  <a:lnTo>
                    <a:pt x="646006" y="1088611"/>
                  </a:lnTo>
                  <a:lnTo>
                    <a:pt x="644433" y="1091365"/>
                  </a:lnTo>
                  <a:lnTo>
                    <a:pt x="645219" y="1094119"/>
                  </a:lnTo>
                  <a:lnTo>
                    <a:pt x="644826" y="1096873"/>
                  </a:lnTo>
                  <a:lnTo>
                    <a:pt x="643252" y="1100020"/>
                  </a:lnTo>
                  <a:lnTo>
                    <a:pt x="642859" y="1102774"/>
                  </a:lnTo>
                  <a:lnTo>
                    <a:pt x="644433" y="1105528"/>
                  </a:lnTo>
                  <a:lnTo>
                    <a:pt x="645613" y="1108282"/>
                  </a:lnTo>
                  <a:lnTo>
                    <a:pt x="648367" y="1110249"/>
                  </a:lnTo>
                  <a:lnTo>
                    <a:pt x="653088" y="1117724"/>
                  </a:lnTo>
                  <a:lnTo>
                    <a:pt x="652694" y="1117724"/>
                  </a:lnTo>
                  <a:lnTo>
                    <a:pt x="650727" y="1119298"/>
                  </a:lnTo>
                  <a:lnTo>
                    <a:pt x="647973" y="1121659"/>
                  </a:lnTo>
                  <a:lnTo>
                    <a:pt x="645219" y="1122445"/>
                  </a:lnTo>
                  <a:lnTo>
                    <a:pt x="644826" y="1125199"/>
                  </a:lnTo>
                  <a:lnTo>
                    <a:pt x="644433" y="1128347"/>
                  </a:lnTo>
                  <a:lnTo>
                    <a:pt x="643646" y="1131101"/>
                  </a:lnTo>
                  <a:lnTo>
                    <a:pt x="644039" y="1133855"/>
                  </a:lnTo>
                  <a:lnTo>
                    <a:pt x="647187" y="1136215"/>
                  </a:lnTo>
                  <a:lnTo>
                    <a:pt x="647580" y="1138969"/>
                  </a:lnTo>
                  <a:lnTo>
                    <a:pt x="649154" y="1141723"/>
                  </a:lnTo>
                  <a:lnTo>
                    <a:pt x="648760" y="1144871"/>
                  </a:lnTo>
                  <a:lnTo>
                    <a:pt x="649154" y="1147625"/>
                  </a:lnTo>
                  <a:lnTo>
                    <a:pt x="650334" y="1150379"/>
                  </a:lnTo>
                  <a:lnTo>
                    <a:pt x="649941" y="1153526"/>
                  </a:lnTo>
                  <a:lnTo>
                    <a:pt x="653088" y="1154313"/>
                  </a:lnTo>
                  <a:lnTo>
                    <a:pt x="653481" y="1157067"/>
                  </a:lnTo>
                  <a:lnTo>
                    <a:pt x="655055" y="1160214"/>
                  </a:lnTo>
                  <a:lnTo>
                    <a:pt x="657809" y="1161788"/>
                  </a:lnTo>
                  <a:lnTo>
                    <a:pt x="656629" y="1164542"/>
                  </a:lnTo>
                  <a:lnTo>
                    <a:pt x="654662" y="1167689"/>
                  </a:lnTo>
                  <a:lnTo>
                    <a:pt x="657022" y="1170443"/>
                  </a:lnTo>
                  <a:lnTo>
                    <a:pt x="658989" y="1170837"/>
                  </a:lnTo>
                  <a:lnTo>
                    <a:pt x="659383" y="1173984"/>
                  </a:lnTo>
                  <a:lnTo>
                    <a:pt x="659383" y="1174378"/>
                  </a:lnTo>
                  <a:lnTo>
                    <a:pt x="657022" y="1177132"/>
                  </a:lnTo>
                  <a:lnTo>
                    <a:pt x="656235" y="1179886"/>
                  </a:lnTo>
                  <a:lnTo>
                    <a:pt x="655055" y="1183033"/>
                  </a:lnTo>
                  <a:lnTo>
                    <a:pt x="654662" y="1185787"/>
                  </a:lnTo>
                  <a:lnTo>
                    <a:pt x="652301" y="1188541"/>
                  </a:lnTo>
                  <a:lnTo>
                    <a:pt x="653875" y="1191688"/>
                  </a:lnTo>
                  <a:lnTo>
                    <a:pt x="655449" y="1194442"/>
                  </a:lnTo>
                  <a:lnTo>
                    <a:pt x="658596" y="1194049"/>
                  </a:lnTo>
                  <a:lnTo>
                    <a:pt x="664497" y="1194049"/>
                  </a:lnTo>
                  <a:lnTo>
                    <a:pt x="667251" y="1194442"/>
                  </a:lnTo>
                  <a:lnTo>
                    <a:pt x="668825" y="1195229"/>
                  </a:lnTo>
                  <a:lnTo>
                    <a:pt x="668825" y="1195229"/>
                  </a:lnTo>
                  <a:lnTo>
                    <a:pt x="684562" y="1202704"/>
                  </a:lnTo>
                  <a:lnTo>
                    <a:pt x="685349" y="1205065"/>
                  </a:lnTo>
                  <a:lnTo>
                    <a:pt x="688103" y="1206639"/>
                  </a:lnTo>
                  <a:lnTo>
                    <a:pt x="690857" y="1208212"/>
                  </a:lnTo>
                  <a:lnTo>
                    <a:pt x="694004" y="1209786"/>
                  </a:lnTo>
                  <a:lnTo>
                    <a:pt x="696758" y="1208999"/>
                  </a:lnTo>
                  <a:lnTo>
                    <a:pt x="697152" y="1208999"/>
                  </a:lnTo>
                  <a:lnTo>
                    <a:pt x="703840" y="1212147"/>
                  </a:lnTo>
                  <a:lnTo>
                    <a:pt x="703840" y="1215294"/>
                  </a:lnTo>
                  <a:lnTo>
                    <a:pt x="701873" y="1218048"/>
                  </a:lnTo>
                  <a:lnTo>
                    <a:pt x="704627" y="1220015"/>
                  </a:lnTo>
                  <a:lnTo>
                    <a:pt x="721938" y="1260145"/>
                  </a:lnTo>
                  <a:lnTo>
                    <a:pt x="721151" y="1262112"/>
                  </a:lnTo>
                  <a:lnTo>
                    <a:pt x="721151" y="1264866"/>
                  </a:lnTo>
                  <a:lnTo>
                    <a:pt x="721544" y="1267620"/>
                  </a:lnTo>
                  <a:lnTo>
                    <a:pt x="721938" y="1268013"/>
                  </a:lnTo>
                  <a:lnTo>
                    <a:pt x="722331" y="1293586"/>
                  </a:lnTo>
                  <a:lnTo>
                    <a:pt x="727446" y="1304602"/>
                  </a:lnTo>
                  <a:lnTo>
                    <a:pt x="727446" y="1306962"/>
                  </a:lnTo>
                  <a:lnTo>
                    <a:pt x="726265" y="1309716"/>
                  </a:lnTo>
                  <a:lnTo>
                    <a:pt x="724692" y="1312864"/>
                  </a:lnTo>
                  <a:lnTo>
                    <a:pt x="727052" y="1315618"/>
                  </a:lnTo>
                  <a:lnTo>
                    <a:pt x="728232" y="1316798"/>
                  </a:lnTo>
                  <a:lnTo>
                    <a:pt x="729019" y="1323880"/>
                  </a:lnTo>
                  <a:lnTo>
                    <a:pt x="729019" y="1324667"/>
                  </a:lnTo>
                  <a:lnTo>
                    <a:pt x="726659" y="1330174"/>
                  </a:lnTo>
                  <a:lnTo>
                    <a:pt x="727052" y="1332928"/>
                  </a:lnTo>
                  <a:lnTo>
                    <a:pt x="729806" y="1330568"/>
                  </a:lnTo>
                  <a:lnTo>
                    <a:pt x="728232" y="1332142"/>
                  </a:lnTo>
                  <a:lnTo>
                    <a:pt x="729413" y="1332928"/>
                  </a:lnTo>
                  <a:lnTo>
                    <a:pt x="727839" y="1345518"/>
                  </a:lnTo>
                  <a:lnTo>
                    <a:pt x="727839" y="1345912"/>
                  </a:lnTo>
                  <a:lnTo>
                    <a:pt x="727839" y="1345912"/>
                  </a:lnTo>
                  <a:lnTo>
                    <a:pt x="729019" y="1351419"/>
                  </a:lnTo>
                  <a:lnTo>
                    <a:pt x="729019" y="1351419"/>
                  </a:lnTo>
                  <a:lnTo>
                    <a:pt x="729413" y="1354174"/>
                  </a:lnTo>
                  <a:lnTo>
                    <a:pt x="730986" y="1355747"/>
                  </a:lnTo>
                  <a:lnTo>
                    <a:pt x="732167" y="1357714"/>
                  </a:lnTo>
                  <a:lnTo>
                    <a:pt x="734921" y="1360075"/>
                  </a:lnTo>
                  <a:lnTo>
                    <a:pt x="735314" y="1360468"/>
                  </a:lnTo>
                  <a:lnTo>
                    <a:pt x="739248" y="1364796"/>
                  </a:lnTo>
                  <a:lnTo>
                    <a:pt x="745937" y="1367550"/>
                  </a:lnTo>
                  <a:lnTo>
                    <a:pt x="746330" y="1368730"/>
                  </a:lnTo>
                  <a:lnTo>
                    <a:pt x="747904" y="1371878"/>
                  </a:lnTo>
                  <a:lnTo>
                    <a:pt x="749477" y="1374632"/>
                  </a:lnTo>
                  <a:lnTo>
                    <a:pt x="749871" y="1375025"/>
                  </a:lnTo>
                  <a:lnTo>
                    <a:pt x="751838" y="1378959"/>
                  </a:lnTo>
                  <a:lnTo>
                    <a:pt x="751838" y="1380533"/>
                  </a:lnTo>
                  <a:lnTo>
                    <a:pt x="753412" y="1381713"/>
                  </a:lnTo>
                  <a:lnTo>
                    <a:pt x="756166" y="1386828"/>
                  </a:lnTo>
                  <a:lnTo>
                    <a:pt x="756166" y="1388795"/>
                  </a:lnTo>
                  <a:lnTo>
                    <a:pt x="757739" y="1389975"/>
                  </a:lnTo>
                  <a:lnTo>
                    <a:pt x="759707" y="1393516"/>
                  </a:lnTo>
                  <a:lnTo>
                    <a:pt x="752625" y="1413187"/>
                  </a:lnTo>
                  <a:lnTo>
                    <a:pt x="740822" y="1420663"/>
                  </a:lnTo>
                  <a:lnTo>
                    <a:pt x="740429" y="1420663"/>
                  </a:lnTo>
                  <a:lnTo>
                    <a:pt x="737281" y="1421056"/>
                  </a:lnTo>
                  <a:lnTo>
                    <a:pt x="734134" y="1420269"/>
                  </a:lnTo>
                  <a:lnTo>
                    <a:pt x="730986" y="1419876"/>
                  </a:lnTo>
                  <a:lnTo>
                    <a:pt x="728232" y="1419482"/>
                  </a:lnTo>
                  <a:lnTo>
                    <a:pt x="725478" y="1419089"/>
                  </a:lnTo>
                  <a:lnTo>
                    <a:pt x="725872" y="1421843"/>
                  </a:lnTo>
                  <a:lnTo>
                    <a:pt x="728232" y="1424990"/>
                  </a:lnTo>
                  <a:lnTo>
                    <a:pt x="731380" y="1426564"/>
                  </a:lnTo>
                  <a:lnTo>
                    <a:pt x="731380" y="1426957"/>
                  </a:lnTo>
                  <a:lnTo>
                    <a:pt x="732560" y="1429711"/>
                  </a:lnTo>
                  <a:lnTo>
                    <a:pt x="734921" y="1430892"/>
                  </a:lnTo>
                  <a:lnTo>
                    <a:pt x="737675" y="1434432"/>
                  </a:lnTo>
                  <a:lnTo>
                    <a:pt x="737675" y="1436793"/>
                  </a:lnTo>
                  <a:lnTo>
                    <a:pt x="737281" y="1439547"/>
                  </a:lnTo>
                  <a:lnTo>
                    <a:pt x="740429" y="1441514"/>
                  </a:lnTo>
                  <a:lnTo>
                    <a:pt x="743183" y="1441908"/>
                  </a:lnTo>
                  <a:lnTo>
                    <a:pt x="744363" y="1442694"/>
                  </a:lnTo>
                  <a:lnTo>
                    <a:pt x="747117" y="1446235"/>
                  </a:lnTo>
                  <a:lnTo>
                    <a:pt x="747510" y="1446629"/>
                  </a:lnTo>
                  <a:lnTo>
                    <a:pt x="747510" y="1446629"/>
                  </a:lnTo>
                  <a:lnTo>
                    <a:pt x="750264" y="1448202"/>
                  </a:lnTo>
                  <a:lnTo>
                    <a:pt x="753018" y="1449776"/>
                  </a:lnTo>
                  <a:lnTo>
                    <a:pt x="754592" y="1452530"/>
                  </a:lnTo>
                  <a:lnTo>
                    <a:pt x="755772" y="1455677"/>
                  </a:lnTo>
                  <a:lnTo>
                    <a:pt x="758526" y="1457251"/>
                  </a:lnTo>
                  <a:lnTo>
                    <a:pt x="761674" y="1454891"/>
                  </a:lnTo>
                  <a:lnTo>
                    <a:pt x="764821" y="1454497"/>
                  </a:lnTo>
                  <a:lnTo>
                    <a:pt x="767575" y="1455677"/>
                  </a:lnTo>
                  <a:lnTo>
                    <a:pt x="769936" y="1452923"/>
                  </a:lnTo>
                  <a:lnTo>
                    <a:pt x="771116" y="1450170"/>
                  </a:lnTo>
                  <a:lnTo>
                    <a:pt x="772690" y="1448202"/>
                  </a:lnTo>
                  <a:lnTo>
                    <a:pt x="773083" y="1450956"/>
                  </a:lnTo>
                  <a:lnTo>
                    <a:pt x="770722" y="1454104"/>
                  </a:lnTo>
                  <a:lnTo>
                    <a:pt x="771509" y="1457251"/>
                  </a:lnTo>
                  <a:lnTo>
                    <a:pt x="773083" y="1460005"/>
                  </a:lnTo>
                  <a:lnTo>
                    <a:pt x="773476" y="1462759"/>
                  </a:lnTo>
                  <a:lnTo>
                    <a:pt x="776230" y="1465513"/>
                  </a:lnTo>
                  <a:lnTo>
                    <a:pt x="778984" y="1468660"/>
                  </a:lnTo>
                  <a:lnTo>
                    <a:pt x="781345" y="1471021"/>
                  </a:lnTo>
                  <a:lnTo>
                    <a:pt x="784099" y="1472988"/>
                  </a:lnTo>
                  <a:lnTo>
                    <a:pt x="785673" y="1472988"/>
                  </a:lnTo>
                  <a:lnTo>
                    <a:pt x="788033" y="1474169"/>
                  </a:lnTo>
                  <a:lnTo>
                    <a:pt x="789214" y="1477709"/>
                  </a:lnTo>
                  <a:lnTo>
                    <a:pt x="790787" y="1480463"/>
                  </a:lnTo>
                  <a:lnTo>
                    <a:pt x="791181" y="1480857"/>
                  </a:lnTo>
                  <a:lnTo>
                    <a:pt x="786459" y="1509577"/>
                  </a:lnTo>
                  <a:lnTo>
                    <a:pt x="785279" y="1511544"/>
                  </a:lnTo>
                  <a:lnTo>
                    <a:pt x="785673" y="1512331"/>
                  </a:lnTo>
                  <a:lnTo>
                    <a:pt x="784099" y="1515085"/>
                  </a:lnTo>
                  <a:lnTo>
                    <a:pt x="783312" y="1518232"/>
                  </a:lnTo>
                  <a:lnTo>
                    <a:pt x="782919" y="1520986"/>
                  </a:lnTo>
                  <a:lnTo>
                    <a:pt x="784099" y="1518232"/>
                  </a:lnTo>
                  <a:lnTo>
                    <a:pt x="784886" y="1515478"/>
                  </a:lnTo>
                  <a:lnTo>
                    <a:pt x="784492" y="1518232"/>
                  </a:lnTo>
                  <a:lnTo>
                    <a:pt x="784492" y="1521380"/>
                  </a:lnTo>
                  <a:lnTo>
                    <a:pt x="790000" y="1526101"/>
                  </a:lnTo>
                  <a:lnTo>
                    <a:pt x="790787" y="1529248"/>
                  </a:lnTo>
                  <a:lnTo>
                    <a:pt x="793541" y="1530428"/>
                  </a:lnTo>
                  <a:lnTo>
                    <a:pt x="795508" y="1533576"/>
                  </a:lnTo>
                  <a:lnTo>
                    <a:pt x="796689" y="1534363"/>
                  </a:lnTo>
                  <a:lnTo>
                    <a:pt x="799443" y="1536723"/>
                  </a:lnTo>
                  <a:lnTo>
                    <a:pt x="802197" y="1539477"/>
                  </a:lnTo>
                  <a:lnTo>
                    <a:pt x="804951" y="1541838"/>
                  </a:lnTo>
                  <a:lnTo>
                    <a:pt x="807311" y="1543411"/>
                  </a:lnTo>
                  <a:lnTo>
                    <a:pt x="810852" y="1546559"/>
                  </a:lnTo>
                  <a:lnTo>
                    <a:pt x="830917" y="1583148"/>
                  </a:lnTo>
                  <a:lnTo>
                    <a:pt x="832097" y="1585902"/>
                  </a:lnTo>
                  <a:lnTo>
                    <a:pt x="832490" y="1586295"/>
                  </a:lnTo>
                  <a:lnTo>
                    <a:pt x="834851" y="1586688"/>
                  </a:lnTo>
                  <a:lnTo>
                    <a:pt x="836818" y="1585902"/>
                  </a:lnTo>
                  <a:lnTo>
                    <a:pt x="839572" y="1583541"/>
                  </a:lnTo>
                  <a:lnTo>
                    <a:pt x="842720" y="1581180"/>
                  </a:lnTo>
                  <a:lnTo>
                    <a:pt x="845473" y="1580787"/>
                  </a:lnTo>
                  <a:lnTo>
                    <a:pt x="848621" y="1578820"/>
                  </a:lnTo>
                  <a:lnTo>
                    <a:pt x="850981" y="1575672"/>
                  </a:lnTo>
                  <a:lnTo>
                    <a:pt x="851768" y="1572525"/>
                  </a:lnTo>
                  <a:lnTo>
                    <a:pt x="852162" y="1569378"/>
                  </a:lnTo>
                  <a:lnTo>
                    <a:pt x="851768" y="1568984"/>
                  </a:lnTo>
                  <a:lnTo>
                    <a:pt x="850981" y="1566230"/>
                  </a:lnTo>
                  <a:lnTo>
                    <a:pt x="850588" y="1565443"/>
                  </a:lnTo>
                  <a:lnTo>
                    <a:pt x="843900" y="1554034"/>
                  </a:lnTo>
                  <a:lnTo>
                    <a:pt x="842326" y="1552854"/>
                  </a:lnTo>
                  <a:lnTo>
                    <a:pt x="839179" y="1550887"/>
                  </a:lnTo>
                  <a:lnTo>
                    <a:pt x="839572" y="1548920"/>
                  </a:lnTo>
                  <a:lnTo>
                    <a:pt x="837998" y="1546952"/>
                  </a:lnTo>
                  <a:lnTo>
                    <a:pt x="834851" y="1545379"/>
                  </a:lnTo>
                  <a:lnTo>
                    <a:pt x="832884" y="1542231"/>
                  </a:lnTo>
                  <a:lnTo>
                    <a:pt x="830917" y="1545379"/>
                  </a:lnTo>
                  <a:lnTo>
                    <a:pt x="820294" y="1541051"/>
                  </a:lnTo>
                  <a:lnTo>
                    <a:pt x="820688" y="1539477"/>
                  </a:lnTo>
                  <a:lnTo>
                    <a:pt x="821081" y="1537510"/>
                  </a:lnTo>
                  <a:lnTo>
                    <a:pt x="820294" y="1534756"/>
                  </a:lnTo>
                  <a:lnTo>
                    <a:pt x="820688" y="1531609"/>
                  </a:lnTo>
                  <a:lnTo>
                    <a:pt x="822655" y="1528855"/>
                  </a:lnTo>
                  <a:lnTo>
                    <a:pt x="824228" y="1525707"/>
                  </a:lnTo>
                  <a:lnTo>
                    <a:pt x="823442" y="1522560"/>
                  </a:lnTo>
                  <a:lnTo>
                    <a:pt x="823048" y="1519806"/>
                  </a:lnTo>
                  <a:lnTo>
                    <a:pt x="820688" y="1517052"/>
                  </a:lnTo>
                  <a:lnTo>
                    <a:pt x="820294" y="1511544"/>
                  </a:lnTo>
                  <a:lnTo>
                    <a:pt x="820688" y="1508397"/>
                  </a:lnTo>
                  <a:lnTo>
                    <a:pt x="820294" y="1505643"/>
                  </a:lnTo>
                  <a:lnTo>
                    <a:pt x="820688" y="1502495"/>
                  </a:lnTo>
                  <a:lnTo>
                    <a:pt x="817934" y="1502495"/>
                  </a:lnTo>
                  <a:lnTo>
                    <a:pt x="817147" y="1499348"/>
                  </a:lnTo>
                  <a:lnTo>
                    <a:pt x="816753" y="1496594"/>
                  </a:lnTo>
                  <a:lnTo>
                    <a:pt x="815180" y="1493446"/>
                  </a:lnTo>
                  <a:lnTo>
                    <a:pt x="814786" y="1490692"/>
                  </a:lnTo>
                  <a:lnTo>
                    <a:pt x="814786" y="1487545"/>
                  </a:lnTo>
                  <a:lnTo>
                    <a:pt x="816360" y="1484398"/>
                  </a:lnTo>
                  <a:lnTo>
                    <a:pt x="815966" y="1481250"/>
                  </a:lnTo>
                  <a:lnTo>
                    <a:pt x="815573" y="1478496"/>
                  </a:lnTo>
                  <a:lnTo>
                    <a:pt x="816360" y="1475349"/>
                  </a:lnTo>
                  <a:lnTo>
                    <a:pt x="814786" y="1472595"/>
                  </a:lnTo>
                  <a:lnTo>
                    <a:pt x="816360" y="1469841"/>
                  </a:lnTo>
                  <a:lnTo>
                    <a:pt x="813999" y="1466693"/>
                  </a:lnTo>
                  <a:lnTo>
                    <a:pt x="814393" y="1463546"/>
                  </a:lnTo>
                  <a:lnTo>
                    <a:pt x="812032" y="1460399"/>
                  </a:lnTo>
                  <a:lnTo>
                    <a:pt x="810459" y="1457251"/>
                  </a:lnTo>
                  <a:lnTo>
                    <a:pt x="808491" y="1456464"/>
                  </a:lnTo>
                  <a:lnTo>
                    <a:pt x="807311" y="1449776"/>
                  </a:lnTo>
                  <a:lnTo>
                    <a:pt x="800623" y="1441121"/>
                  </a:lnTo>
                  <a:lnTo>
                    <a:pt x="799836" y="1438760"/>
                  </a:lnTo>
                  <a:lnTo>
                    <a:pt x="800229" y="1436006"/>
                  </a:lnTo>
                  <a:lnTo>
                    <a:pt x="797869" y="1432859"/>
                  </a:lnTo>
                  <a:lnTo>
                    <a:pt x="796689" y="1432072"/>
                  </a:lnTo>
                  <a:lnTo>
                    <a:pt x="791574" y="1418302"/>
                  </a:lnTo>
                  <a:lnTo>
                    <a:pt x="793148" y="1404532"/>
                  </a:lnTo>
                  <a:lnTo>
                    <a:pt x="786853" y="1392336"/>
                  </a:lnTo>
                  <a:lnTo>
                    <a:pt x="786066" y="1389975"/>
                  </a:lnTo>
                  <a:lnTo>
                    <a:pt x="785279" y="1389582"/>
                  </a:lnTo>
                  <a:lnTo>
                    <a:pt x="778197" y="1375812"/>
                  </a:lnTo>
                  <a:lnTo>
                    <a:pt x="778591" y="1374238"/>
                  </a:lnTo>
                  <a:lnTo>
                    <a:pt x="777017" y="1371484"/>
                  </a:lnTo>
                  <a:lnTo>
                    <a:pt x="774657" y="1368337"/>
                  </a:lnTo>
                  <a:lnTo>
                    <a:pt x="763641" y="1353780"/>
                  </a:lnTo>
                  <a:lnTo>
                    <a:pt x="763641" y="1352993"/>
                  </a:lnTo>
                  <a:lnTo>
                    <a:pt x="760887" y="1350239"/>
                  </a:lnTo>
                  <a:lnTo>
                    <a:pt x="762854" y="1336469"/>
                  </a:lnTo>
                  <a:lnTo>
                    <a:pt x="763247" y="1335289"/>
                  </a:lnTo>
                  <a:lnTo>
                    <a:pt x="763641" y="1332142"/>
                  </a:lnTo>
                  <a:lnTo>
                    <a:pt x="763641" y="1329388"/>
                  </a:lnTo>
                  <a:lnTo>
                    <a:pt x="764034" y="1326634"/>
                  </a:lnTo>
                  <a:lnTo>
                    <a:pt x="765214" y="1323486"/>
                  </a:lnTo>
                  <a:lnTo>
                    <a:pt x="765608" y="1320732"/>
                  </a:lnTo>
                  <a:lnTo>
                    <a:pt x="765214" y="1317978"/>
                  </a:lnTo>
                  <a:lnTo>
                    <a:pt x="767182" y="1303421"/>
                  </a:lnTo>
                  <a:lnTo>
                    <a:pt x="767182" y="1303028"/>
                  </a:lnTo>
                  <a:lnTo>
                    <a:pt x="769936" y="1297520"/>
                  </a:lnTo>
                  <a:lnTo>
                    <a:pt x="772690" y="1294373"/>
                  </a:lnTo>
                  <a:lnTo>
                    <a:pt x="772690" y="1291619"/>
                  </a:lnTo>
                  <a:lnTo>
                    <a:pt x="771903" y="1288865"/>
                  </a:lnTo>
                  <a:lnTo>
                    <a:pt x="769542" y="1285717"/>
                  </a:lnTo>
                  <a:lnTo>
                    <a:pt x="769149" y="1283750"/>
                  </a:lnTo>
                  <a:lnTo>
                    <a:pt x="769542" y="1285324"/>
                  </a:lnTo>
                  <a:lnTo>
                    <a:pt x="771116" y="1285717"/>
                  </a:lnTo>
                  <a:lnTo>
                    <a:pt x="771116" y="1286111"/>
                  </a:lnTo>
                  <a:lnTo>
                    <a:pt x="773476" y="1288865"/>
                  </a:lnTo>
                  <a:lnTo>
                    <a:pt x="776230" y="1290438"/>
                  </a:lnTo>
                  <a:lnTo>
                    <a:pt x="779378" y="1290832"/>
                  </a:lnTo>
                  <a:lnTo>
                    <a:pt x="781738" y="1293979"/>
                  </a:lnTo>
                  <a:lnTo>
                    <a:pt x="784492" y="1296733"/>
                  </a:lnTo>
                  <a:lnTo>
                    <a:pt x="787246" y="1299094"/>
                  </a:lnTo>
                  <a:lnTo>
                    <a:pt x="790000" y="1299487"/>
                  </a:lnTo>
                  <a:lnTo>
                    <a:pt x="792361" y="1298700"/>
                  </a:lnTo>
                  <a:lnTo>
                    <a:pt x="801016" y="1304208"/>
                  </a:lnTo>
                  <a:lnTo>
                    <a:pt x="801016" y="1304602"/>
                  </a:lnTo>
                  <a:lnTo>
                    <a:pt x="803770" y="1306175"/>
                  </a:lnTo>
                  <a:lnTo>
                    <a:pt x="806524" y="1306569"/>
                  </a:lnTo>
                  <a:lnTo>
                    <a:pt x="808491" y="1306962"/>
                  </a:lnTo>
                  <a:lnTo>
                    <a:pt x="815180" y="1309716"/>
                  </a:lnTo>
                  <a:lnTo>
                    <a:pt x="814786" y="1312077"/>
                  </a:lnTo>
                  <a:lnTo>
                    <a:pt x="812032" y="1314437"/>
                  </a:lnTo>
                  <a:lnTo>
                    <a:pt x="811639" y="1317191"/>
                  </a:lnTo>
                  <a:lnTo>
                    <a:pt x="810065" y="1320339"/>
                  </a:lnTo>
                  <a:lnTo>
                    <a:pt x="808885" y="1323093"/>
                  </a:lnTo>
                  <a:lnTo>
                    <a:pt x="808491" y="1325847"/>
                  </a:lnTo>
                  <a:lnTo>
                    <a:pt x="808885" y="1328601"/>
                  </a:lnTo>
                  <a:lnTo>
                    <a:pt x="810065" y="1331748"/>
                  </a:lnTo>
                  <a:lnTo>
                    <a:pt x="811245" y="1334502"/>
                  </a:lnTo>
                  <a:lnTo>
                    <a:pt x="811245" y="1337256"/>
                  </a:lnTo>
                  <a:lnTo>
                    <a:pt x="811639" y="1340404"/>
                  </a:lnTo>
                  <a:lnTo>
                    <a:pt x="811639" y="1340404"/>
                  </a:lnTo>
                  <a:lnTo>
                    <a:pt x="811245" y="1345125"/>
                  </a:lnTo>
                  <a:lnTo>
                    <a:pt x="810852" y="1346305"/>
                  </a:lnTo>
                  <a:lnTo>
                    <a:pt x="810852" y="1349059"/>
                  </a:lnTo>
                  <a:lnTo>
                    <a:pt x="810065" y="1350633"/>
                  </a:lnTo>
                  <a:lnTo>
                    <a:pt x="811639" y="1353780"/>
                  </a:lnTo>
                  <a:lnTo>
                    <a:pt x="812032" y="1356534"/>
                  </a:lnTo>
                  <a:lnTo>
                    <a:pt x="813213" y="1359681"/>
                  </a:lnTo>
                  <a:lnTo>
                    <a:pt x="813606" y="1362435"/>
                  </a:lnTo>
                  <a:lnTo>
                    <a:pt x="814786" y="1365189"/>
                  </a:lnTo>
                  <a:lnTo>
                    <a:pt x="815180" y="1366763"/>
                  </a:lnTo>
                  <a:lnTo>
                    <a:pt x="813213" y="1369911"/>
                  </a:lnTo>
                  <a:lnTo>
                    <a:pt x="814786" y="1372664"/>
                  </a:lnTo>
                  <a:lnTo>
                    <a:pt x="817147" y="1371878"/>
                  </a:lnTo>
                  <a:lnTo>
                    <a:pt x="817934" y="1374632"/>
                  </a:lnTo>
                  <a:lnTo>
                    <a:pt x="817540" y="1375025"/>
                  </a:lnTo>
                  <a:lnTo>
                    <a:pt x="817147" y="1377779"/>
                  </a:lnTo>
                  <a:lnTo>
                    <a:pt x="816360" y="1380926"/>
                  </a:lnTo>
                  <a:lnTo>
                    <a:pt x="815966" y="1383680"/>
                  </a:lnTo>
                  <a:lnTo>
                    <a:pt x="821081" y="1389188"/>
                  </a:lnTo>
                  <a:lnTo>
                    <a:pt x="820294" y="1392336"/>
                  </a:lnTo>
                  <a:lnTo>
                    <a:pt x="822261" y="1395090"/>
                  </a:lnTo>
                  <a:lnTo>
                    <a:pt x="823835" y="1397844"/>
                  </a:lnTo>
                  <a:lnTo>
                    <a:pt x="824228" y="1400598"/>
                  </a:lnTo>
                  <a:lnTo>
                    <a:pt x="826982" y="1402171"/>
                  </a:lnTo>
                  <a:lnTo>
                    <a:pt x="829736" y="1404925"/>
                  </a:lnTo>
                  <a:lnTo>
                    <a:pt x="832097" y="1410433"/>
                  </a:lnTo>
                  <a:lnTo>
                    <a:pt x="832884" y="1413581"/>
                  </a:lnTo>
                  <a:lnTo>
                    <a:pt x="834851" y="1416335"/>
                  </a:lnTo>
                  <a:lnTo>
                    <a:pt x="837605" y="1417908"/>
                  </a:lnTo>
                  <a:lnTo>
                    <a:pt x="839965" y="1418695"/>
                  </a:lnTo>
                  <a:lnTo>
                    <a:pt x="841539" y="1421843"/>
                  </a:lnTo>
                  <a:lnTo>
                    <a:pt x="842326" y="1419482"/>
                  </a:lnTo>
                  <a:lnTo>
                    <a:pt x="843113" y="1418302"/>
                  </a:lnTo>
                  <a:lnTo>
                    <a:pt x="843506" y="1417908"/>
                  </a:lnTo>
                  <a:lnTo>
                    <a:pt x="843900" y="1417908"/>
                  </a:lnTo>
                  <a:lnTo>
                    <a:pt x="843900" y="1418302"/>
                  </a:lnTo>
                  <a:lnTo>
                    <a:pt x="843506" y="1419482"/>
                  </a:lnTo>
                  <a:lnTo>
                    <a:pt x="844293" y="1419482"/>
                  </a:lnTo>
                  <a:lnTo>
                    <a:pt x="846654" y="1428138"/>
                  </a:lnTo>
                  <a:lnTo>
                    <a:pt x="846654" y="1431285"/>
                  </a:lnTo>
                  <a:lnTo>
                    <a:pt x="846260" y="1434432"/>
                  </a:lnTo>
                  <a:lnTo>
                    <a:pt x="848227" y="1437580"/>
                  </a:lnTo>
                  <a:lnTo>
                    <a:pt x="846654" y="1440334"/>
                  </a:lnTo>
                  <a:lnTo>
                    <a:pt x="849408" y="1442301"/>
                  </a:lnTo>
                  <a:lnTo>
                    <a:pt x="850981" y="1445055"/>
                  </a:lnTo>
                  <a:lnTo>
                    <a:pt x="853735" y="1445842"/>
                  </a:lnTo>
                  <a:lnTo>
                    <a:pt x="856489" y="1446235"/>
                  </a:lnTo>
                  <a:lnTo>
                    <a:pt x="859243" y="1446629"/>
                  </a:lnTo>
                  <a:lnTo>
                    <a:pt x="859637" y="1446235"/>
                  </a:lnTo>
                  <a:lnTo>
                    <a:pt x="860030" y="1448989"/>
                  </a:lnTo>
                  <a:lnTo>
                    <a:pt x="859243" y="1450563"/>
                  </a:lnTo>
                  <a:lnTo>
                    <a:pt x="860424" y="1453317"/>
                  </a:lnTo>
                  <a:lnTo>
                    <a:pt x="860424" y="1456464"/>
                  </a:lnTo>
                  <a:lnTo>
                    <a:pt x="861210" y="1459218"/>
                  </a:lnTo>
                  <a:lnTo>
                    <a:pt x="861604" y="1459612"/>
                  </a:lnTo>
                  <a:lnTo>
                    <a:pt x="864358" y="1461185"/>
                  </a:lnTo>
                  <a:lnTo>
                    <a:pt x="874980" y="1466300"/>
                  </a:lnTo>
                  <a:lnTo>
                    <a:pt x="874980" y="1469054"/>
                  </a:lnTo>
                  <a:lnTo>
                    <a:pt x="874194" y="1471808"/>
                  </a:lnTo>
                  <a:lnTo>
                    <a:pt x="876948" y="1470628"/>
                  </a:lnTo>
                  <a:lnTo>
                    <a:pt x="877734" y="1472201"/>
                  </a:lnTo>
                  <a:lnTo>
                    <a:pt x="876948" y="1473382"/>
                  </a:lnTo>
                  <a:lnTo>
                    <a:pt x="874587" y="1474955"/>
                  </a:lnTo>
                  <a:lnTo>
                    <a:pt x="873013" y="1475742"/>
                  </a:lnTo>
                  <a:lnTo>
                    <a:pt x="872620" y="1476136"/>
                  </a:lnTo>
                  <a:lnTo>
                    <a:pt x="868686" y="1481250"/>
                  </a:lnTo>
                  <a:lnTo>
                    <a:pt x="867112" y="1482824"/>
                  </a:lnTo>
                  <a:lnTo>
                    <a:pt x="865538" y="1485971"/>
                  </a:lnTo>
                  <a:lnTo>
                    <a:pt x="865538" y="1488725"/>
                  </a:lnTo>
                  <a:lnTo>
                    <a:pt x="865145" y="1489119"/>
                  </a:lnTo>
                  <a:lnTo>
                    <a:pt x="864751" y="1491873"/>
                  </a:lnTo>
                  <a:lnTo>
                    <a:pt x="864751" y="1495020"/>
                  </a:lnTo>
                  <a:lnTo>
                    <a:pt x="865538" y="1492266"/>
                  </a:lnTo>
                  <a:lnTo>
                    <a:pt x="867505" y="1493840"/>
                  </a:lnTo>
                  <a:lnTo>
                    <a:pt x="865145" y="1495414"/>
                  </a:lnTo>
                  <a:lnTo>
                    <a:pt x="867899" y="1495807"/>
                  </a:lnTo>
                  <a:lnTo>
                    <a:pt x="870259" y="1496200"/>
                  </a:lnTo>
                  <a:lnTo>
                    <a:pt x="873013" y="1498167"/>
                  </a:lnTo>
                  <a:lnTo>
                    <a:pt x="873407" y="1497774"/>
                  </a:lnTo>
                  <a:lnTo>
                    <a:pt x="873800" y="1496987"/>
                  </a:lnTo>
                  <a:lnTo>
                    <a:pt x="875374" y="1498167"/>
                  </a:lnTo>
                  <a:lnTo>
                    <a:pt x="873013" y="1499348"/>
                  </a:lnTo>
                  <a:lnTo>
                    <a:pt x="873013" y="1502102"/>
                  </a:lnTo>
                  <a:lnTo>
                    <a:pt x="875767" y="1500921"/>
                  </a:lnTo>
                  <a:lnTo>
                    <a:pt x="877734" y="1499741"/>
                  </a:lnTo>
                  <a:lnTo>
                    <a:pt x="880882" y="1501708"/>
                  </a:lnTo>
                  <a:lnTo>
                    <a:pt x="881275" y="1504462"/>
                  </a:lnTo>
                  <a:lnTo>
                    <a:pt x="883636" y="1504856"/>
                  </a:lnTo>
                  <a:lnTo>
                    <a:pt x="884029" y="1505643"/>
                  </a:lnTo>
                  <a:lnTo>
                    <a:pt x="881275" y="1505249"/>
                  </a:lnTo>
                  <a:lnTo>
                    <a:pt x="884029" y="1506429"/>
                  </a:lnTo>
                  <a:lnTo>
                    <a:pt x="886783" y="1508003"/>
                  </a:lnTo>
                  <a:lnTo>
                    <a:pt x="887177" y="1508003"/>
                  </a:lnTo>
                  <a:lnTo>
                    <a:pt x="889537" y="1510757"/>
                  </a:lnTo>
                  <a:lnTo>
                    <a:pt x="891111" y="1509970"/>
                  </a:lnTo>
                  <a:lnTo>
                    <a:pt x="892291" y="1510757"/>
                  </a:lnTo>
                  <a:lnTo>
                    <a:pt x="892291" y="1512331"/>
                  </a:lnTo>
                  <a:lnTo>
                    <a:pt x="894258" y="1511937"/>
                  </a:lnTo>
                  <a:lnTo>
                    <a:pt x="899766" y="1517445"/>
                  </a:lnTo>
                  <a:lnTo>
                    <a:pt x="899373" y="1518626"/>
                  </a:lnTo>
                  <a:lnTo>
                    <a:pt x="898586" y="1521773"/>
                  </a:lnTo>
                  <a:lnTo>
                    <a:pt x="898979" y="1524527"/>
                  </a:lnTo>
                  <a:lnTo>
                    <a:pt x="897406" y="1527281"/>
                  </a:lnTo>
                  <a:lnTo>
                    <a:pt x="898193" y="1530428"/>
                  </a:lnTo>
                  <a:lnTo>
                    <a:pt x="900947" y="1530822"/>
                  </a:lnTo>
                  <a:lnTo>
                    <a:pt x="903701" y="1533576"/>
                  </a:lnTo>
                  <a:lnTo>
                    <a:pt x="904094" y="1534363"/>
                  </a:lnTo>
                  <a:lnTo>
                    <a:pt x="906848" y="1537510"/>
                  </a:lnTo>
                  <a:lnTo>
                    <a:pt x="905668" y="1536723"/>
                  </a:lnTo>
                  <a:lnTo>
                    <a:pt x="906848" y="1538297"/>
                  </a:lnTo>
                  <a:lnTo>
                    <a:pt x="912356" y="1543018"/>
                  </a:lnTo>
                  <a:lnTo>
                    <a:pt x="915110" y="1545772"/>
                  </a:lnTo>
                  <a:lnTo>
                    <a:pt x="916684" y="1547739"/>
                  </a:lnTo>
                  <a:lnTo>
                    <a:pt x="917864" y="1548526"/>
                  </a:lnTo>
                  <a:lnTo>
                    <a:pt x="926913" y="1558362"/>
                  </a:lnTo>
                  <a:lnTo>
                    <a:pt x="929273" y="1564263"/>
                  </a:lnTo>
                  <a:lnTo>
                    <a:pt x="929273" y="1564657"/>
                  </a:lnTo>
                  <a:lnTo>
                    <a:pt x="931240" y="1567804"/>
                  </a:lnTo>
                  <a:lnTo>
                    <a:pt x="932814" y="1570558"/>
                  </a:lnTo>
                  <a:lnTo>
                    <a:pt x="934781" y="1573312"/>
                  </a:lnTo>
                  <a:lnTo>
                    <a:pt x="936355" y="1577640"/>
                  </a:lnTo>
                  <a:lnTo>
                    <a:pt x="936355" y="1578820"/>
                  </a:lnTo>
                  <a:lnTo>
                    <a:pt x="937929" y="1581574"/>
                  </a:lnTo>
                  <a:lnTo>
                    <a:pt x="940289" y="1584328"/>
                  </a:lnTo>
                  <a:lnTo>
                    <a:pt x="941076" y="1585508"/>
                  </a:lnTo>
                  <a:lnTo>
                    <a:pt x="943437" y="1588262"/>
                  </a:lnTo>
                  <a:lnTo>
                    <a:pt x="945010" y="1591016"/>
                  </a:lnTo>
                  <a:lnTo>
                    <a:pt x="947764" y="1592983"/>
                  </a:lnTo>
                  <a:lnTo>
                    <a:pt x="948945" y="1595737"/>
                  </a:lnTo>
                  <a:lnTo>
                    <a:pt x="949731" y="1596524"/>
                  </a:lnTo>
                  <a:lnTo>
                    <a:pt x="953272" y="1603999"/>
                  </a:lnTo>
                  <a:lnTo>
                    <a:pt x="954059" y="1613441"/>
                  </a:lnTo>
                  <a:lnTo>
                    <a:pt x="953666" y="1615015"/>
                  </a:lnTo>
                  <a:lnTo>
                    <a:pt x="952879" y="1617769"/>
                  </a:lnTo>
                  <a:lnTo>
                    <a:pt x="952092" y="1620917"/>
                  </a:lnTo>
                  <a:lnTo>
                    <a:pt x="952879" y="1623671"/>
                  </a:lnTo>
                  <a:lnTo>
                    <a:pt x="954453" y="1626818"/>
                  </a:lnTo>
                  <a:lnTo>
                    <a:pt x="955633" y="1629572"/>
                  </a:lnTo>
                  <a:lnTo>
                    <a:pt x="956026" y="1632719"/>
                  </a:lnTo>
                  <a:lnTo>
                    <a:pt x="956420" y="1633113"/>
                  </a:lnTo>
                  <a:lnTo>
                    <a:pt x="957993" y="1636260"/>
                  </a:lnTo>
                  <a:lnTo>
                    <a:pt x="956420" y="1654358"/>
                  </a:lnTo>
                  <a:lnTo>
                    <a:pt x="956026" y="1654751"/>
                  </a:lnTo>
                  <a:lnTo>
                    <a:pt x="950912" y="1660259"/>
                  </a:lnTo>
                  <a:lnTo>
                    <a:pt x="950125" y="1664193"/>
                  </a:lnTo>
                  <a:lnTo>
                    <a:pt x="953272" y="1664193"/>
                  </a:lnTo>
                  <a:lnTo>
                    <a:pt x="956026" y="1666554"/>
                  </a:lnTo>
                  <a:lnTo>
                    <a:pt x="956420" y="1668128"/>
                  </a:lnTo>
                  <a:lnTo>
                    <a:pt x="955633" y="1669308"/>
                  </a:lnTo>
                  <a:lnTo>
                    <a:pt x="953666" y="1671275"/>
                  </a:lnTo>
                  <a:lnTo>
                    <a:pt x="950912" y="1672849"/>
                  </a:lnTo>
                  <a:lnTo>
                    <a:pt x="947764" y="1673242"/>
                  </a:lnTo>
                  <a:lnTo>
                    <a:pt x="945010" y="1673636"/>
                  </a:lnTo>
                  <a:lnTo>
                    <a:pt x="942256" y="1675996"/>
                  </a:lnTo>
                  <a:lnTo>
                    <a:pt x="942256" y="1678750"/>
                  </a:lnTo>
                  <a:lnTo>
                    <a:pt x="943437" y="1681504"/>
                  </a:lnTo>
                  <a:lnTo>
                    <a:pt x="944223" y="1684652"/>
                  </a:lnTo>
                  <a:lnTo>
                    <a:pt x="943830" y="1687406"/>
                  </a:lnTo>
                  <a:lnTo>
                    <a:pt x="944617" y="1690160"/>
                  </a:lnTo>
                  <a:lnTo>
                    <a:pt x="945404" y="1692913"/>
                  </a:lnTo>
                  <a:lnTo>
                    <a:pt x="946978" y="1695668"/>
                  </a:lnTo>
                  <a:lnTo>
                    <a:pt x="947371" y="1696061"/>
                  </a:lnTo>
                  <a:lnTo>
                    <a:pt x="948551" y="1699208"/>
                  </a:lnTo>
                  <a:lnTo>
                    <a:pt x="950518" y="1701962"/>
                  </a:lnTo>
                  <a:lnTo>
                    <a:pt x="950912" y="1702749"/>
                  </a:lnTo>
                  <a:lnTo>
                    <a:pt x="951305" y="1703143"/>
                  </a:lnTo>
                  <a:lnTo>
                    <a:pt x="954059" y="1708651"/>
                  </a:lnTo>
                  <a:lnTo>
                    <a:pt x="955239" y="1711405"/>
                  </a:lnTo>
                  <a:lnTo>
                    <a:pt x="957993" y="1713765"/>
                  </a:lnTo>
                  <a:lnTo>
                    <a:pt x="960354" y="1716126"/>
                  </a:lnTo>
                  <a:lnTo>
                    <a:pt x="962715" y="1716519"/>
                  </a:lnTo>
                  <a:lnTo>
                    <a:pt x="966255" y="1718486"/>
                  </a:lnTo>
                  <a:lnTo>
                    <a:pt x="974517" y="1723207"/>
                  </a:lnTo>
                  <a:lnTo>
                    <a:pt x="974517" y="1723994"/>
                  </a:lnTo>
                  <a:lnTo>
                    <a:pt x="977271" y="1725174"/>
                  </a:lnTo>
                  <a:lnTo>
                    <a:pt x="978845" y="1725961"/>
                  </a:lnTo>
                  <a:lnTo>
                    <a:pt x="983173" y="1728322"/>
                  </a:lnTo>
                  <a:lnTo>
                    <a:pt x="985533" y="1731076"/>
                  </a:lnTo>
                  <a:lnTo>
                    <a:pt x="985927" y="1731863"/>
                  </a:lnTo>
                  <a:lnTo>
                    <a:pt x="988287" y="1734617"/>
                  </a:lnTo>
                  <a:lnTo>
                    <a:pt x="989468" y="1736190"/>
                  </a:lnTo>
                  <a:lnTo>
                    <a:pt x="989861" y="1738944"/>
                  </a:lnTo>
                  <a:lnTo>
                    <a:pt x="992222" y="1742092"/>
                  </a:lnTo>
                  <a:lnTo>
                    <a:pt x="993008" y="1744846"/>
                  </a:lnTo>
                  <a:lnTo>
                    <a:pt x="994582" y="1747600"/>
                  </a:lnTo>
                  <a:lnTo>
                    <a:pt x="997730" y="1749173"/>
                  </a:lnTo>
                  <a:lnTo>
                    <a:pt x="1000483" y="1749960"/>
                  </a:lnTo>
                  <a:lnTo>
                    <a:pt x="1000877" y="1750354"/>
                  </a:lnTo>
                  <a:lnTo>
                    <a:pt x="1004024" y="1751534"/>
                  </a:lnTo>
                  <a:lnTo>
                    <a:pt x="1006778" y="1751927"/>
                  </a:lnTo>
                  <a:lnTo>
                    <a:pt x="1007172" y="1752321"/>
                  </a:lnTo>
                  <a:lnTo>
                    <a:pt x="1009926" y="1753895"/>
                  </a:lnTo>
                  <a:lnTo>
                    <a:pt x="1012680" y="1755468"/>
                  </a:lnTo>
                  <a:lnTo>
                    <a:pt x="1013860" y="1755862"/>
                  </a:lnTo>
                  <a:lnTo>
                    <a:pt x="1016614" y="1756255"/>
                  </a:lnTo>
                  <a:lnTo>
                    <a:pt x="1019368" y="1756649"/>
                  </a:lnTo>
                  <a:lnTo>
                    <a:pt x="1029990" y="1760583"/>
                  </a:lnTo>
                  <a:lnTo>
                    <a:pt x="1030384" y="1760583"/>
                  </a:lnTo>
                  <a:lnTo>
                    <a:pt x="1039433" y="1760583"/>
                  </a:lnTo>
                  <a:lnTo>
                    <a:pt x="1041400" y="1762550"/>
                  </a:lnTo>
                  <a:lnTo>
                    <a:pt x="1042580" y="1764910"/>
                  </a:lnTo>
                  <a:lnTo>
                    <a:pt x="1046514" y="1770419"/>
                  </a:lnTo>
                  <a:lnTo>
                    <a:pt x="1049268" y="1771205"/>
                  </a:lnTo>
                  <a:lnTo>
                    <a:pt x="1050449" y="1773959"/>
                  </a:lnTo>
                  <a:lnTo>
                    <a:pt x="1053203" y="1775533"/>
                  </a:lnTo>
                  <a:lnTo>
                    <a:pt x="1054383" y="1776320"/>
                  </a:lnTo>
                  <a:lnTo>
                    <a:pt x="1056744" y="1778287"/>
                  </a:lnTo>
                  <a:lnTo>
                    <a:pt x="1059891" y="1780647"/>
                  </a:lnTo>
                  <a:lnTo>
                    <a:pt x="1062645" y="1783402"/>
                  </a:lnTo>
                  <a:lnTo>
                    <a:pt x="1065399" y="1784975"/>
                  </a:lnTo>
                  <a:lnTo>
                    <a:pt x="1068153" y="1785762"/>
                  </a:lnTo>
                  <a:lnTo>
                    <a:pt x="1071300" y="1787336"/>
                  </a:lnTo>
                  <a:lnTo>
                    <a:pt x="1076808" y="1789696"/>
                  </a:lnTo>
                  <a:lnTo>
                    <a:pt x="1077989" y="1790483"/>
                  </a:lnTo>
                  <a:lnTo>
                    <a:pt x="1080743" y="1791664"/>
                  </a:lnTo>
                  <a:lnTo>
                    <a:pt x="1083496" y="1793237"/>
                  </a:lnTo>
                  <a:lnTo>
                    <a:pt x="1086251" y="1793631"/>
                  </a:lnTo>
                  <a:lnTo>
                    <a:pt x="1089004" y="1795204"/>
                  </a:lnTo>
                  <a:lnTo>
                    <a:pt x="1093332" y="1797958"/>
                  </a:lnTo>
                  <a:lnTo>
                    <a:pt x="1094512" y="1800319"/>
                  </a:lnTo>
                  <a:lnTo>
                    <a:pt x="1097266" y="1802286"/>
                  </a:lnTo>
                  <a:lnTo>
                    <a:pt x="1100020" y="1802286"/>
                  </a:lnTo>
                  <a:lnTo>
                    <a:pt x="1102381" y="1803073"/>
                  </a:lnTo>
                  <a:lnTo>
                    <a:pt x="1104741" y="1803466"/>
                  </a:lnTo>
                  <a:lnTo>
                    <a:pt x="1105922" y="1803860"/>
                  </a:lnTo>
                  <a:lnTo>
                    <a:pt x="1108282" y="1804647"/>
                  </a:lnTo>
                  <a:lnTo>
                    <a:pt x="1111036" y="1805040"/>
                  </a:lnTo>
                  <a:lnTo>
                    <a:pt x="1111430" y="1805434"/>
                  </a:lnTo>
                  <a:lnTo>
                    <a:pt x="1114184" y="1806220"/>
                  </a:lnTo>
                  <a:lnTo>
                    <a:pt x="1116938" y="1806614"/>
                  </a:lnTo>
                  <a:lnTo>
                    <a:pt x="1118511" y="1807794"/>
                  </a:lnTo>
                  <a:lnTo>
                    <a:pt x="1121659" y="1807794"/>
                  </a:lnTo>
                  <a:lnTo>
                    <a:pt x="1124019" y="1809368"/>
                  </a:lnTo>
                  <a:lnTo>
                    <a:pt x="1124413" y="1809761"/>
                  </a:lnTo>
                  <a:lnTo>
                    <a:pt x="1125987" y="1812515"/>
                  </a:lnTo>
                  <a:lnTo>
                    <a:pt x="1127954" y="1815269"/>
                  </a:lnTo>
                  <a:lnTo>
                    <a:pt x="1129921" y="1816449"/>
                  </a:lnTo>
                  <a:lnTo>
                    <a:pt x="1132675" y="1817236"/>
                  </a:lnTo>
                  <a:lnTo>
                    <a:pt x="1133068" y="1817236"/>
                  </a:lnTo>
                  <a:lnTo>
                    <a:pt x="1141330" y="1820384"/>
                  </a:lnTo>
                  <a:lnTo>
                    <a:pt x="1143691" y="1821957"/>
                  </a:lnTo>
                  <a:lnTo>
                    <a:pt x="1145264" y="1823138"/>
                  </a:lnTo>
                  <a:lnTo>
                    <a:pt x="1147232" y="1825105"/>
                  </a:lnTo>
                  <a:lnTo>
                    <a:pt x="1149986" y="1827072"/>
                  </a:lnTo>
                  <a:lnTo>
                    <a:pt x="1171231" y="1831793"/>
                  </a:lnTo>
                  <a:lnTo>
                    <a:pt x="1172411" y="1832186"/>
                  </a:lnTo>
                  <a:lnTo>
                    <a:pt x="1175165" y="1834154"/>
                  </a:lnTo>
                  <a:lnTo>
                    <a:pt x="1177919" y="1834941"/>
                  </a:lnTo>
                  <a:lnTo>
                    <a:pt x="1180673" y="1835727"/>
                  </a:lnTo>
                  <a:lnTo>
                    <a:pt x="1183427" y="1837301"/>
                  </a:lnTo>
                  <a:lnTo>
                    <a:pt x="1186574" y="1837694"/>
                  </a:lnTo>
                  <a:lnTo>
                    <a:pt x="1190902" y="1836121"/>
                  </a:lnTo>
                  <a:lnTo>
                    <a:pt x="1190902" y="1836121"/>
                  </a:lnTo>
                  <a:lnTo>
                    <a:pt x="1193656" y="1836121"/>
                  </a:lnTo>
                  <a:lnTo>
                    <a:pt x="1196803" y="1834547"/>
                  </a:lnTo>
                  <a:lnTo>
                    <a:pt x="1199557" y="1832973"/>
                  </a:lnTo>
                  <a:lnTo>
                    <a:pt x="1201131" y="1832580"/>
                  </a:lnTo>
                  <a:lnTo>
                    <a:pt x="1201131" y="1832580"/>
                  </a:lnTo>
                  <a:lnTo>
                    <a:pt x="1215688" y="1827072"/>
                  </a:lnTo>
                  <a:lnTo>
                    <a:pt x="1216081" y="1826678"/>
                  </a:lnTo>
                  <a:lnTo>
                    <a:pt x="1218835" y="1826285"/>
                  </a:lnTo>
                  <a:lnTo>
                    <a:pt x="1220802" y="1823924"/>
                  </a:lnTo>
                  <a:lnTo>
                    <a:pt x="1222769" y="1822744"/>
                  </a:lnTo>
                  <a:lnTo>
                    <a:pt x="1224343" y="1821957"/>
                  </a:lnTo>
                  <a:lnTo>
                    <a:pt x="1227097" y="1819990"/>
                  </a:lnTo>
                  <a:lnTo>
                    <a:pt x="1228277" y="1818417"/>
                  </a:lnTo>
                  <a:lnTo>
                    <a:pt x="1229458" y="1819203"/>
                  </a:lnTo>
                  <a:lnTo>
                    <a:pt x="1232212" y="1818810"/>
                  </a:lnTo>
                  <a:lnTo>
                    <a:pt x="1232605" y="1818810"/>
                  </a:lnTo>
                  <a:lnTo>
                    <a:pt x="1235359" y="1818417"/>
                  </a:lnTo>
                  <a:lnTo>
                    <a:pt x="1238113" y="1818023"/>
                  </a:lnTo>
                  <a:lnTo>
                    <a:pt x="1234966" y="1816843"/>
                  </a:lnTo>
                  <a:lnTo>
                    <a:pt x="1232212" y="1816843"/>
                  </a:lnTo>
                  <a:lnTo>
                    <a:pt x="1232605" y="1814482"/>
                  </a:lnTo>
                  <a:lnTo>
                    <a:pt x="1234179" y="1813695"/>
                  </a:lnTo>
                  <a:lnTo>
                    <a:pt x="1236933" y="1811335"/>
                  </a:lnTo>
                  <a:lnTo>
                    <a:pt x="1237720" y="1811728"/>
                  </a:lnTo>
                  <a:lnTo>
                    <a:pt x="1238506" y="1813695"/>
                  </a:lnTo>
                  <a:lnTo>
                    <a:pt x="1238900" y="1816843"/>
                  </a:lnTo>
                  <a:lnTo>
                    <a:pt x="1241260" y="1814876"/>
                  </a:lnTo>
                  <a:lnTo>
                    <a:pt x="1243228" y="1816843"/>
                  </a:lnTo>
                  <a:lnTo>
                    <a:pt x="1242834" y="1817236"/>
                  </a:lnTo>
                  <a:lnTo>
                    <a:pt x="1240080" y="1818810"/>
                  </a:lnTo>
                  <a:lnTo>
                    <a:pt x="1242834" y="1818810"/>
                  </a:lnTo>
                  <a:lnTo>
                    <a:pt x="1245588" y="1819203"/>
                  </a:lnTo>
                  <a:lnTo>
                    <a:pt x="1258965" y="1824318"/>
                  </a:lnTo>
                  <a:lnTo>
                    <a:pt x="1261719" y="1825892"/>
                  </a:lnTo>
                  <a:lnTo>
                    <a:pt x="1259358" y="1823138"/>
                  </a:lnTo>
                  <a:lnTo>
                    <a:pt x="1258571" y="1822744"/>
                  </a:lnTo>
                  <a:lnTo>
                    <a:pt x="1258965" y="1821171"/>
                  </a:lnTo>
                  <a:lnTo>
                    <a:pt x="1264473" y="1826285"/>
                  </a:lnTo>
                  <a:lnTo>
                    <a:pt x="1264079" y="1827072"/>
                  </a:lnTo>
                  <a:lnTo>
                    <a:pt x="1266833" y="1829039"/>
                  </a:lnTo>
                  <a:lnTo>
                    <a:pt x="1268800" y="1830613"/>
                  </a:lnTo>
                  <a:lnTo>
                    <a:pt x="1271948" y="1833367"/>
                  </a:lnTo>
                  <a:lnTo>
                    <a:pt x="1293193" y="1857366"/>
                  </a:lnTo>
                  <a:lnTo>
                    <a:pt x="1293980" y="1858939"/>
                  </a:lnTo>
                  <a:lnTo>
                    <a:pt x="1295947" y="1861693"/>
                  </a:lnTo>
                  <a:lnTo>
                    <a:pt x="1300668" y="1867201"/>
                  </a:lnTo>
                  <a:lnTo>
                    <a:pt x="1302635" y="1869955"/>
                  </a:lnTo>
                  <a:lnTo>
                    <a:pt x="1307356" y="1875463"/>
                  </a:lnTo>
                  <a:lnTo>
                    <a:pt x="1309717" y="1877824"/>
                  </a:lnTo>
                  <a:lnTo>
                    <a:pt x="1311290" y="1879398"/>
                  </a:lnTo>
                  <a:lnTo>
                    <a:pt x="1314044" y="1882152"/>
                  </a:lnTo>
                  <a:lnTo>
                    <a:pt x="1316798" y="1884905"/>
                  </a:lnTo>
                  <a:lnTo>
                    <a:pt x="1319552" y="1887659"/>
                  </a:lnTo>
                  <a:lnTo>
                    <a:pt x="1323093" y="1890020"/>
                  </a:lnTo>
                  <a:lnTo>
                    <a:pt x="1323880" y="1890807"/>
                  </a:lnTo>
                  <a:lnTo>
                    <a:pt x="1326634" y="1892774"/>
                  </a:lnTo>
                  <a:lnTo>
                    <a:pt x="1328995" y="1893954"/>
                  </a:lnTo>
                  <a:lnTo>
                    <a:pt x="1329781" y="1894741"/>
                  </a:lnTo>
                  <a:lnTo>
                    <a:pt x="1332535" y="1895922"/>
                  </a:lnTo>
                  <a:lnTo>
                    <a:pt x="1335683" y="1896708"/>
                  </a:lnTo>
                  <a:lnTo>
                    <a:pt x="1338437" y="1897102"/>
                  </a:lnTo>
                  <a:lnTo>
                    <a:pt x="1343945" y="1897102"/>
                  </a:lnTo>
                  <a:lnTo>
                    <a:pt x="1346699" y="1896708"/>
                  </a:lnTo>
                  <a:lnTo>
                    <a:pt x="1349453" y="1897102"/>
                  </a:lnTo>
                  <a:lnTo>
                    <a:pt x="1352207" y="1896708"/>
                  </a:lnTo>
                  <a:lnTo>
                    <a:pt x="1362829" y="1901036"/>
                  </a:lnTo>
                  <a:lnTo>
                    <a:pt x="1363223" y="1901429"/>
                  </a:lnTo>
                  <a:lnTo>
                    <a:pt x="1364403" y="1901823"/>
                  </a:lnTo>
                  <a:lnTo>
                    <a:pt x="1367550" y="1903397"/>
                  </a:lnTo>
                  <a:lnTo>
                    <a:pt x="1369911" y="1904970"/>
                  </a:lnTo>
                  <a:lnTo>
                    <a:pt x="1371091" y="1906544"/>
                  </a:lnTo>
                  <a:lnTo>
                    <a:pt x="1372665" y="1907331"/>
                  </a:lnTo>
                  <a:lnTo>
                    <a:pt x="1374239" y="1908118"/>
                  </a:lnTo>
                  <a:lnTo>
                    <a:pt x="1375419" y="1910872"/>
                  </a:lnTo>
                  <a:lnTo>
                    <a:pt x="1378173" y="1910872"/>
                  </a:lnTo>
                  <a:lnTo>
                    <a:pt x="1380927" y="1911265"/>
                  </a:lnTo>
                  <a:lnTo>
                    <a:pt x="1383287" y="1912052"/>
                  </a:lnTo>
                  <a:lnTo>
                    <a:pt x="1384074" y="1912052"/>
                  </a:lnTo>
                  <a:lnTo>
                    <a:pt x="1394303" y="1914806"/>
                  </a:lnTo>
                  <a:lnTo>
                    <a:pt x="1396664" y="1916380"/>
                  </a:lnTo>
                  <a:lnTo>
                    <a:pt x="1397844" y="1916773"/>
                  </a:lnTo>
                  <a:lnTo>
                    <a:pt x="1403352" y="1919921"/>
                  </a:lnTo>
                  <a:lnTo>
                    <a:pt x="1403746" y="1920314"/>
                  </a:lnTo>
                  <a:lnTo>
                    <a:pt x="1405713" y="1920707"/>
                  </a:lnTo>
                  <a:lnTo>
                    <a:pt x="1408467" y="1921101"/>
                  </a:lnTo>
                  <a:lnTo>
                    <a:pt x="1411221" y="1920707"/>
                  </a:lnTo>
                  <a:lnTo>
                    <a:pt x="1410827" y="1920707"/>
                  </a:lnTo>
                  <a:lnTo>
                    <a:pt x="1413975" y="1920707"/>
                  </a:lnTo>
                  <a:lnTo>
                    <a:pt x="1416729" y="1921101"/>
                  </a:lnTo>
                  <a:lnTo>
                    <a:pt x="1418302" y="1923068"/>
                  </a:lnTo>
                  <a:lnTo>
                    <a:pt x="1421056" y="1923461"/>
                  </a:lnTo>
                  <a:lnTo>
                    <a:pt x="1423810" y="1923068"/>
                  </a:lnTo>
                  <a:lnTo>
                    <a:pt x="1424204" y="1923068"/>
                  </a:lnTo>
                  <a:lnTo>
                    <a:pt x="1424597" y="1923068"/>
                  </a:lnTo>
                  <a:lnTo>
                    <a:pt x="1427351" y="1923461"/>
                  </a:lnTo>
                  <a:lnTo>
                    <a:pt x="1430105" y="1921888"/>
                  </a:lnTo>
                  <a:lnTo>
                    <a:pt x="1432859" y="1919921"/>
                  </a:lnTo>
                  <a:lnTo>
                    <a:pt x="1431285" y="1917166"/>
                  </a:lnTo>
                  <a:lnTo>
                    <a:pt x="1432466" y="1914412"/>
                  </a:lnTo>
                  <a:lnTo>
                    <a:pt x="1432859" y="1915593"/>
                  </a:lnTo>
                  <a:lnTo>
                    <a:pt x="1433253" y="1915986"/>
                  </a:lnTo>
                  <a:lnTo>
                    <a:pt x="1436400" y="1917166"/>
                  </a:lnTo>
                  <a:lnTo>
                    <a:pt x="1439941" y="1916380"/>
                  </a:lnTo>
                  <a:lnTo>
                    <a:pt x="1440334" y="1916380"/>
                  </a:lnTo>
                  <a:lnTo>
                    <a:pt x="1443088" y="1917166"/>
                  </a:lnTo>
                  <a:lnTo>
                    <a:pt x="1445842" y="1916380"/>
                  </a:lnTo>
                  <a:lnTo>
                    <a:pt x="1443088" y="1918347"/>
                  </a:lnTo>
                  <a:lnTo>
                    <a:pt x="1443088" y="1921101"/>
                  </a:lnTo>
                  <a:lnTo>
                    <a:pt x="1443875" y="1924248"/>
                  </a:lnTo>
                  <a:lnTo>
                    <a:pt x="1444662" y="1925429"/>
                  </a:lnTo>
                  <a:lnTo>
                    <a:pt x="1446236" y="1925822"/>
                  </a:lnTo>
                  <a:lnTo>
                    <a:pt x="1447809" y="1928576"/>
                  </a:lnTo>
                  <a:lnTo>
                    <a:pt x="1447022" y="1930149"/>
                  </a:lnTo>
                  <a:lnTo>
                    <a:pt x="1447022" y="1932510"/>
                  </a:lnTo>
                  <a:lnTo>
                    <a:pt x="1441121" y="1928969"/>
                  </a:lnTo>
                  <a:lnTo>
                    <a:pt x="1438761" y="1927396"/>
                  </a:lnTo>
                  <a:lnTo>
                    <a:pt x="1437580" y="1928969"/>
                  </a:lnTo>
                  <a:lnTo>
                    <a:pt x="1435220" y="1931723"/>
                  </a:lnTo>
                  <a:lnTo>
                    <a:pt x="1437580" y="1934477"/>
                  </a:lnTo>
                  <a:lnTo>
                    <a:pt x="1440334" y="1936051"/>
                  </a:lnTo>
                  <a:lnTo>
                    <a:pt x="1441908" y="1938805"/>
                  </a:lnTo>
                  <a:lnTo>
                    <a:pt x="1443875" y="1941559"/>
                  </a:lnTo>
                  <a:lnTo>
                    <a:pt x="1446629" y="1944313"/>
                  </a:lnTo>
                  <a:lnTo>
                    <a:pt x="1448990" y="1947067"/>
                  </a:lnTo>
                  <a:lnTo>
                    <a:pt x="1450563" y="1947460"/>
                  </a:lnTo>
                  <a:lnTo>
                    <a:pt x="1450957" y="1948641"/>
                  </a:lnTo>
                  <a:lnTo>
                    <a:pt x="1451350" y="1949821"/>
                  </a:lnTo>
                  <a:lnTo>
                    <a:pt x="1454498" y="1952182"/>
                  </a:lnTo>
                  <a:lnTo>
                    <a:pt x="1457252" y="1954542"/>
                  </a:lnTo>
                  <a:lnTo>
                    <a:pt x="1460006" y="1956903"/>
                  </a:lnTo>
                  <a:lnTo>
                    <a:pt x="1460399" y="1957689"/>
                  </a:lnTo>
                  <a:lnTo>
                    <a:pt x="1461186" y="1960443"/>
                  </a:lnTo>
                  <a:lnTo>
                    <a:pt x="1462366" y="1963197"/>
                  </a:lnTo>
                  <a:lnTo>
                    <a:pt x="1463940" y="1966738"/>
                  </a:lnTo>
                  <a:lnTo>
                    <a:pt x="1466300" y="1971066"/>
                  </a:lnTo>
                  <a:lnTo>
                    <a:pt x="1470235" y="1975787"/>
                  </a:lnTo>
                  <a:lnTo>
                    <a:pt x="1475349" y="1979328"/>
                  </a:lnTo>
                  <a:lnTo>
                    <a:pt x="1477710" y="1982082"/>
                  </a:lnTo>
                  <a:lnTo>
                    <a:pt x="1480070" y="1984836"/>
                  </a:lnTo>
                  <a:lnTo>
                    <a:pt x="1481251" y="1986016"/>
                  </a:lnTo>
                  <a:lnTo>
                    <a:pt x="1484005" y="1989163"/>
                  </a:lnTo>
                  <a:lnTo>
                    <a:pt x="1484792" y="1990344"/>
                  </a:lnTo>
                  <a:lnTo>
                    <a:pt x="1485972" y="1993098"/>
                  </a:lnTo>
                  <a:lnTo>
                    <a:pt x="1488726" y="1994672"/>
                  </a:lnTo>
                  <a:lnTo>
                    <a:pt x="1484005" y="1999393"/>
                  </a:lnTo>
                  <a:lnTo>
                    <a:pt x="1482824" y="2001753"/>
                  </a:lnTo>
                  <a:lnTo>
                    <a:pt x="1483611" y="2002540"/>
                  </a:lnTo>
                  <a:lnTo>
                    <a:pt x="1481644" y="2019064"/>
                  </a:lnTo>
                  <a:lnTo>
                    <a:pt x="1481644" y="2019851"/>
                  </a:lnTo>
                  <a:lnTo>
                    <a:pt x="1481251" y="2022605"/>
                  </a:lnTo>
                  <a:lnTo>
                    <a:pt x="1482038" y="2025359"/>
                  </a:lnTo>
                  <a:lnTo>
                    <a:pt x="1482824" y="2028506"/>
                  </a:lnTo>
                  <a:lnTo>
                    <a:pt x="1484792" y="2031260"/>
                  </a:lnTo>
                  <a:lnTo>
                    <a:pt x="1485185" y="2031654"/>
                  </a:lnTo>
                  <a:lnTo>
                    <a:pt x="1486759" y="2034801"/>
                  </a:lnTo>
                  <a:lnTo>
                    <a:pt x="1489512" y="2035588"/>
                  </a:lnTo>
                  <a:lnTo>
                    <a:pt x="1491480" y="2035981"/>
                  </a:lnTo>
                  <a:lnTo>
                    <a:pt x="1497775" y="2039916"/>
                  </a:lnTo>
                  <a:lnTo>
                    <a:pt x="1498168" y="2040309"/>
                  </a:lnTo>
                  <a:lnTo>
                    <a:pt x="1499348" y="2042670"/>
                  </a:lnTo>
                  <a:lnTo>
                    <a:pt x="1502102" y="2044637"/>
                  </a:lnTo>
                  <a:lnTo>
                    <a:pt x="1504463" y="2041883"/>
                  </a:lnTo>
                  <a:lnTo>
                    <a:pt x="1507217" y="2039129"/>
                  </a:lnTo>
                  <a:lnTo>
                    <a:pt x="1508004" y="2035981"/>
                  </a:lnTo>
                  <a:lnTo>
                    <a:pt x="1506823" y="2033227"/>
                  </a:lnTo>
                  <a:lnTo>
                    <a:pt x="1504069" y="2032440"/>
                  </a:lnTo>
                  <a:lnTo>
                    <a:pt x="1501315" y="2031260"/>
                  </a:lnTo>
                  <a:lnTo>
                    <a:pt x="1500922" y="2030473"/>
                  </a:lnTo>
                  <a:lnTo>
                    <a:pt x="1500529" y="2030080"/>
                  </a:lnTo>
                  <a:lnTo>
                    <a:pt x="1498955" y="2024965"/>
                  </a:lnTo>
                  <a:lnTo>
                    <a:pt x="1498955" y="2024572"/>
                  </a:lnTo>
                  <a:lnTo>
                    <a:pt x="1498168" y="2021818"/>
                  </a:lnTo>
                  <a:lnTo>
                    <a:pt x="1499348" y="2022998"/>
                  </a:lnTo>
                  <a:lnTo>
                    <a:pt x="1499742" y="2024965"/>
                  </a:lnTo>
                  <a:lnTo>
                    <a:pt x="1501315" y="2025752"/>
                  </a:lnTo>
                  <a:lnTo>
                    <a:pt x="1504069" y="2026146"/>
                  </a:lnTo>
                  <a:lnTo>
                    <a:pt x="1506036" y="2028506"/>
                  </a:lnTo>
                  <a:lnTo>
                    <a:pt x="1509577" y="2031654"/>
                  </a:lnTo>
                  <a:lnTo>
                    <a:pt x="1516266" y="2039129"/>
                  </a:lnTo>
                  <a:lnTo>
                    <a:pt x="1516266" y="2039522"/>
                  </a:lnTo>
                  <a:lnTo>
                    <a:pt x="1514692" y="2042276"/>
                  </a:lnTo>
                  <a:lnTo>
                    <a:pt x="1516266" y="2045030"/>
                  </a:lnTo>
                  <a:lnTo>
                    <a:pt x="1518626" y="2048177"/>
                  </a:lnTo>
                  <a:lnTo>
                    <a:pt x="1521774" y="2048177"/>
                  </a:lnTo>
                  <a:lnTo>
                    <a:pt x="1524528" y="2048964"/>
                  </a:lnTo>
                  <a:lnTo>
                    <a:pt x="1529642" y="2051718"/>
                  </a:lnTo>
                  <a:lnTo>
                    <a:pt x="1530429" y="2052505"/>
                  </a:lnTo>
                  <a:lnTo>
                    <a:pt x="1533576" y="2053685"/>
                  </a:lnTo>
                  <a:lnTo>
                    <a:pt x="1545379" y="2066668"/>
                  </a:lnTo>
                  <a:lnTo>
                    <a:pt x="1545773" y="2069423"/>
                  </a:lnTo>
                  <a:lnTo>
                    <a:pt x="1544986" y="2071390"/>
                  </a:lnTo>
                  <a:lnTo>
                    <a:pt x="1542232" y="2076111"/>
                  </a:lnTo>
                  <a:lnTo>
                    <a:pt x="1540658" y="2078471"/>
                  </a:lnTo>
                  <a:lnTo>
                    <a:pt x="1543019" y="2081225"/>
                  </a:lnTo>
                  <a:lnTo>
                    <a:pt x="1544986" y="2083979"/>
                  </a:lnTo>
                  <a:lnTo>
                    <a:pt x="1547740" y="2084373"/>
                  </a:lnTo>
                  <a:lnTo>
                    <a:pt x="1550494" y="2085946"/>
                  </a:lnTo>
                  <a:lnTo>
                    <a:pt x="1553641" y="2087127"/>
                  </a:lnTo>
                  <a:lnTo>
                    <a:pt x="1554035" y="2086340"/>
                  </a:lnTo>
                  <a:lnTo>
                    <a:pt x="1554035" y="2083586"/>
                  </a:lnTo>
                  <a:lnTo>
                    <a:pt x="1552461" y="2080832"/>
                  </a:lnTo>
                  <a:lnTo>
                    <a:pt x="1552461" y="2080832"/>
                  </a:lnTo>
                  <a:lnTo>
                    <a:pt x="1551280" y="2074931"/>
                  </a:lnTo>
                  <a:lnTo>
                    <a:pt x="1558362" y="2087520"/>
                  </a:lnTo>
                  <a:lnTo>
                    <a:pt x="1557969" y="2087914"/>
                  </a:lnTo>
                  <a:lnTo>
                    <a:pt x="1559149" y="2088700"/>
                  </a:lnTo>
                  <a:lnTo>
                    <a:pt x="1564657" y="2098536"/>
                  </a:lnTo>
                  <a:lnTo>
                    <a:pt x="1565444" y="2098143"/>
                  </a:lnTo>
                  <a:lnTo>
                    <a:pt x="1565837" y="2094995"/>
                  </a:lnTo>
                  <a:lnTo>
                    <a:pt x="1567804" y="2089094"/>
                  </a:lnTo>
                  <a:lnTo>
                    <a:pt x="1571345" y="2088307"/>
                  </a:lnTo>
                  <a:lnTo>
                    <a:pt x="1572919" y="2088700"/>
                  </a:lnTo>
                  <a:lnTo>
                    <a:pt x="1573313" y="2088700"/>
                  </a:lnTo>
                  <a:lnTo>
                    <a:pt x="1576066" y="2089487"/>
                  </a:lnTo>
                  <a:lnTo>
                    <a:pt x="1578820" y="2087127"/>
                  </a:lnTo>
                  <a:lnTo>
                    <a:pt x="1579214" y="2087914"/>
                  </a:lnTo>
                  <a:lnTo>
                    <a:pt x="1580394" y="2088700"/>
                  </a:lnTo>
                  <a:lnTo>
                    <a:pt x="1583542" y="2087520"/>
                  </a:lnTo>
                  <a:lnTo>
                    <a:pt x="1587082" y="2092635"/>
                  </a:lnTo>
                  <a:lnTo>
                    <a:pt x="1589836" y="2091848"/>
                  </a:lnTo>
                  <a:lnTo>
                    <a:pt x="1590623" y="2091848"/>
                  </a:lnTo>
                  <a:lnTo>
                    <a:pt x="1593377" y="2091061"/>
                  </a:lnTo>
                  <a:lnTo>
                    <a:pt x="1594557" y="2093028"/>
                  </a:lnTo>
                  <a:lnTo>
                    <a:pt x="1596131" y="2093815"/>
                  </a:lnTo>
                  <a:lnTo>
                    <a:pt x="1600459" y="2098143"/>
                  </a:lnTo>
                  <a:lnTo>
                    <a:pt x="1602426" y="2100110"/>
                  </a:lnTo>
                  <a:lnTo>
                    <a:pt x="1602819" y="2101684"/>
                  </a:lnTo>
                  <a:lnTo>
                    <a:pt x="1602819" y="2103651"/>
                  </a:lnTo>
                  <a:lnTo>
                    <a:pt x="1603213" y="2106405"/>
                  </a:lnTo>
                  <a:lnTo>
                    <a:pt x="1604787" y="2109159"/>
                  </a:lnTo>
                  <a:lnTo>
                    <a:pt x="1607540" y="2109945"/>
                  </a:lnTo>
                  <a:lnTo>
                    <a:pt x="1610294" y="2110732"/>
                  </a:lnTo>
                  <a:lnTo>
                    <a:pt x="1613442" y="2112306"/>
                  </a:lnTo>
                  <a:lnTo>
                    <a:pt x="1614229" y="2111126"/>
                  </a:lnTo>
                  <a:lnTo>
                    <a:pt x="1613835" y="2108372"/>
                  </a:lnTo>
                  <a:lnTo>
                    <a:pt x="1615016" y="2105618"/>
                  </a:lnTo>
                  <a:lnTo>
                    <a:pt x="1614229" y="2102864"/>
                  </a:lnTo>
                  <a:lnTo>
                    <a:pt x="1616196" y="2104438"/>
                  </a:lnTo>
                  <a:lnTo>
                    <a:pt x="1618950" y="2102864"/>
                  </a:lnTo>
                  <a:lnTo>
                    <a:pt x="1619343" y="2108372"/>
                  </a:lnTo>
                  <a:lnTo>
                    <a:pt x="1619343" y="2109552"/>
                  </a:lnTo>
                  <a:lnTo>
                    <a:pt x="1620524" y="2112699"/>
                  </a:lnTo>
                  <a:lnTo>
                    <a:pt x="1622884" y="2121355"/>
                  </a:lnTo>
                  <a:lnTo>
                    <a:pt x="1622884" y="2122535"/>
                  </a:lnTo>
                  <a:lnTo>
                    <a:pt x="1621704" y="2125289"/>
                  </a:lnTo>
                  <a:lnTo>
                    <a:pt x="1624458" y="2126863"/>
                  </a:lnTo>
                  <a:lnTo>
                    <a:pt x="1627212" y="2126863"/>
                  </a:lnTo>
                  <a:lnTo>
                    <a:pt x="1629966" y="2126076"/>
                  </a:lnTo>
                  <a:lnTo>
                    <a:pt x="1632326" y="2125682"/>
                  </a:lnTo>
                  <a:lnTo>
                    <a:pt x="1635080" y="2125289"/>
                  </a:lnTo>
                  <a:lnTo>
                    <a:pt x="1637834" y="2123322"/>
                  </a:lnTo>
                  <a:lnTo>
                    <a:pt x="1638228" y="2121748"/>
                  </a:lnTo>
                  <a:lnTo>
                    <a:pt x="1645703" y="2119388"/>
                  </a:lnTo>
                  <a:lnTo>
                    <a:pt x="1646490" y="2119388"/>
                  </a:lnTo>
                  <a:lnTo>
                    <a:pt x="1649244" y="2118208"/>
                  </a:lnTo>
                  <a:lnTo>
                    <a:pt x="1649244" y="2115847"/>
                  </a:lnTo>
                  <a:lnTo>
                    <a:pt x="1648850" y="2114273"/>
                  </a:lnTo>
                  <a:lnTo>
                    <a:pt x="1647277" y="2111519"/>
                  </a:lnTo>
                  <a:lnTo>
                    <a:pt x="1645703" y="2108765"/>
                  </a:lnTo>
                  <a:lnTo>
                    <a:pt x="1642949" y="2106011"/>
                  </a:lnTo>
                  <a:lnTo>
                    <a:pt x="1642555" y="2105618"/>
                  </a:lnTo>
                  <a:lnTo>
                    <a:pt x="1639015" y="2100110"/>
                  </a:lnTo>
                  <a:lnTo>
                    <a:pt x="1636654" y="2096962"/>
                  </a:lnTo>
                  <a:lnTo>
                    <a:pt x="1639801" y="2089487"/>
                  </a:lnTo>
                  <a:lnTo>
                    <a:pt x="1640195" y="2089881"/>
                  </a:lnTo>
                  <a:lnTo>
                    <a:pt x="1642162" y="2090274"/>
                  </a:lnTo>
                  <a:lnTo>
                    <a:pt x="1644916" y="2089881"/>
                  </a:lnTo>
                  <a:lnTo>
                    <a:pt x="1647670" y="2087914"/>
                  </a:lnTo>
                  <a:lnTo>
                    <a:pt x="1650424" y="2086340"/>
                  </a:lnTo>
                  <a:lnTo>
                    <a:pt x="1651211" y="2085553"/>
                  </a:lnTo>
                  <a:lnTo>
                    <a:pt x="1656719" y="2081225"/>
                  </a:lnTo>
                  <a:lnTo>
                    <a:pt x="1658293" y="2079258"/>
                  </a:lnTo>
                  <a:lnTo>
                    <a:pt x="1659473" y="2076504"/>
                  </a:lnTo>
                  <a:lnTo>
                    <a:pt x="1659473" y="2075324"/>
                  </a:lnTo>
                  <a:lnTo>
                    <a:pt x="1661440" y="2070603"/>
                  </a:lnTo>
                  <a:lnTo>
                    <a:pt x="1664194" y="2069816"/>
                  </a:lnTo>
                  <a:lnTo>
                    <a:pt x="1665768" y="2068242"/>
                  </a:lnTo>
                  <a:lnTo>
                    <a:pt x="1665768" y="2067849"/>
                  </a:lnTo>
                  <a:lnTo>
                    <a:pt x="1666161" y="2068242"/>
                  </a:lnTo>
                  <a:lnTo>
                    <a:pt x="1666948" y="2068242"/>
                  </a:lnTo>
                  <a:lnTo>
                    <a:pt x="1673243" y="2065488"/>
                  </a:lnTo>
                  <a:lnTo>
                    <a:pt x="1674423" y="2065488"/>
                  </a:lnTo>
                  <a:lnTo>
                    <a:pt x="1677177" y="2066275"/>
                  </a:lnTo>
                  <a:lnTo>
                    <a:pt x="1679931" y="2065095"/>
                  </a:lnTo>
                  <a:lnTo>
                    <a:pt x="1679931" y="2066668"/>
                  </a:lnTo>
                  <a:lnTo>
                    <a:pt x="1683078" y="2068242"/>
                  </a:lnTo>
                  <a:lnTo>
                    <a:pt x="1685832" y="2069816"/>
                  </a:lnTo>
                  <a:lnTo>
                    <a:pt x="1688586" y="2071390"/>
                  </a:lnTo>
                  <a:lnTo>
                    <a:pt x="1699209" y="2089094"/>
                  </a:lnTo>
                  <a:lnTo>
                    <a:pt x="1699996" y="2087914"/>
                  </a:lnTo>
                  <a:lnTo>
                    <a:pt x="1699602" y="2082406"/>
                  </a:lnTo>
                  <a:lnTo>
                    <a:pt x="1699996" y="2082799"/>
                  </a:lnTo>
                  <a:lnTo>
                    <a:pt x="1702356" y="2085553"/>
                  </a:lnTo>
                  <a:lnTo>
                    <a:pt x="1705110" y="2083979"/>
                  </a:lnTo>
                  <a:lnTo>
                    <a:pt x="1705110" y="2087127"/>
                  </a:lnTo>
                  <a:lnTo>
                    <a:pt x="1707864" y="2084373"/>
                  </a:lnTo>
                  <a:lnTo>
                    <a:pt x="1707471" y="2081619"/>
                  </a:lnTo>
                  <a:lnTo>
                    <a:pt x="1708651" y="2083979"/>
                  </a:lnTo>
                  <a:lnTo>
                    <a:pt x="1709831" y="2089487"/>
                  </a:lnTo>
                  <a:lnTo>
                    <a:pt x="1712585" y="2091848"/>
                  </a:lnTo>
                  <a:lnTo>
                    <a:pt x="1715339" y="2093421"/>
                  </a:lnTo>
                  <a:lnTo>
                    <a:pt x="1718093" y="2096175"/>
                  </a:lnTo>
                  <a:lnTo>
                    <a:pt x="1713372" y="2093421"/>
                  </a:lnTo>
                  <a:lnTo>
                    <a:pt x="1721241" y="2093421"/>
                  </a:lnTo>
                  <a:lnTo>
                    <a:pt x="1718093" y="2091848"/>
                  </a:lnTo>
                  <a:lnTo>
                    <a:pt x="1716520" y="2089094"/>
                  </a:lnTo>
                  <a:lnTo>
                    <a:pt x="1713766" y="2089094"/>
                  </a:lnTo>
                  <a:lnTo>
                    <a:pt x="1711012" y="2091848"/>
                  </a:lnTo>
                  <a:lnTo>
                    <a:pt x="1711405" y="2094602"/>
                  </a:lnTo>
                  <a:lnTo>
                    <a:pt x="1709831" y="2097356"/>
                  </a:lnTo>
                  <a:lnTo>
                    <a:pt x="1708258" y="2098143"/>
                  </a:lnTo>
                  <a:lnTo>
                    <a:pt x="1707864" y="2098143"/>
                  </a:lnTo>
                  <a:lnTo>
                    <a:pt x="1705110" y="2097749"/>
                  </a:lnTo>
                  <a:lnTo>
                    <a:pt x="1705504" y="2100503"/>
                  </a:lnTo>
                  <a:lnTo>
                    <a:pt x="1706291" y="2103257"/>
                  </a:lnTo>
                  <a:lnTo>
                    <a:pt x="1707864" y="2106011"/>
                  </a:lnTo>
                  <a:lnTo>
                    <a:pt x="1710225" y="2111519"/>
                  </a:lnTo>
                  <a:lnTo>
                    <a:pt x="1712192" y="2114273"/>
                  </a:lnTo>
                  <a:lnTo>
                    <a:pt x="1713372" y="2117027"/>
                  </a:lnTo>
                  <a:lnTo>
                    <a:pt x="1715733" y="2120175"/>
                  </a:lnTo>
                  <a:lnTo>
                    <a:pt x="1716913" y="2122928"/>
                  </a:lnTo>
                  <a:lnTo>
                    <a:pt x="1719667" y="2125682"/>
                  </a:lnTo>
                  <a:lnTo>
                    <a:pt x="1720061" y="2125682"/>
                  </a:lnTo>
                  <a:lnTo>
                    <a:pt x="1720454" y="2126469"/>
                  </a:lnTo>
                  <a:lnTo>
                    <a:pt x="1723208" y="2129223"/>
                  </a:lnTo>
                  <a:lnTo>
                    <a:pt x="1729503" y="2180762"/>
                  </a:lnTo>
                  <a:lnTo>
                    <a:pt x="1728322" y="2181156"/>
                  </a:lnTo>
                  <a:lnTo>
                    <a:pt x="1728322" y="2184303"/>
                  </a:lnTo>
                  <a:lnTo>
                    <a:pt x="1729896" y="2185483"/>
                  </a:lnTo>
                  <a:lnTo>
                    <a:pt x="1731076" y="2194926"/>
                  </a:lnTo>
                  <a:lnTo>
                    <a:pt x="1731076" y="2195319"/>
                  </a:lnTo>
                  <a:lnTo>
                    <a:pt x="1731076" y="2195319"/>
                  </a:lnTo>
                  <a:lnTo>
                    <a:pt x="1731863" y="2201220"/>
                  </a:lnTo>
                  <a:lnTo>
                    <a:pt x="1731470" y="2202794"/>
                  </a:lnTo>
                  <a:lnTo>
                    <a:pt x="1731863" y="2205155"/>
                  </a:lnTo>
                  <a:lnTo>
                    <a:pt x="1731863" y="2205155"/>
                  </a:lnTo>
                  <a:lnTo>
                    <a:pt x="1732650" y="2212236"/>
                  </a:lnTo>
                  <a:lnTo>
                    <a:pt x="1732257" y="2213810"/>
                  </a:lnTo>
                  <a:lnTo>
                    <a:pt x="1732257" y="2216957"/>
                  </a:lnTo>
                  <a:lnTo>
                    <a:pt x="1731076" y="2219711"/>
                  </a:lnTo>
                  <a:lnTo>
                    <a:pt x="1730290" y="2222466"/>
                  </a:lnTo>
                  <a:lnTo>
                    <a:pt x="1731076" y="2224826"/>
                  </a:lnTo>
                  <a:lnTo>
                    <a:pt x="1729503" y="2223646"/>
                  </a:lnTo>
                  <a:lnTo>
                    <a:pt x="1728716" y="2224039"/>
                  </a:lnTo>
                  <a:lnTo>
                    <a:pt x="1726749" y="2226793"/>
                  </a:lnTo>
                  <a:lnTo>
                    <a:pt x="1729896" y="2227186"/>
                  </a:lnTo>
                  <a:lnTo>
                    <a:pt x="1732650" y="2226006"/>
                  </a:lnTo>
                  <a:lnTo>
                    <a:pt x="1732650" y="2225613"/>
                  </a:lnTo>
                  <a:lnTo>
                    <a:pt x="1734617" y="2226006"/>
                  </a:lnTo>
                  <a:lnTo>
                    <a:pt x="1729109" y="2228760"/>
                  </a:lnTo>
                  <a:lnTo>
                    <a:pt x="1728716" y="2231908"/>
                  </a:lnTo>
                  <a:lnTo>
                    <a:pt x="1729109" y="2234662"/>
                  </a:lnTo>
                  <a:lnTo>
                    <a:pt x="1731863" y="2235055"/>
                  </a:lnTo>
                  <a:lnTo>
                    <a:pt x="1733044" y="2232301"/>
                  </a:lnTo>
                  <a:lnTo>
                    <a:pt x="1735798" y="2232694"/>
                  </a:lnTo>
                  <a:lnTo>
                    <a:pt x="1735404" y="2235449"/>
                  </a:lnTo>
                  <a:lnTo>
                    <a:pt x="1732257" y="2237022"/>
                  </a:lnTo>
                  <a:lnTo>
                    <a:pt x="1733830" y="2239776"/>
                  </a:lnTo>
                  <a:lnTo>
                    <a:pt x="1736584" y="2238989"/>
                  </a:lnTo>
                  <a:lnTo>
                    <a:pt x="1739338" y="2238596"/>
                  </a:lnTo>
                  <a:lnTo>
                    <a:pt x="1738158" y="2240956"/>
                  </a:lnTo>
                  <a:lnTo>
                    <a:pt x="1735404" y="2242923"/>
                  </a:lnTo>
                  <a:lnTo>
                    <a:pt x="1736191" y="2244497"/>
                  </a:lnTo>
                  <a:lnTo>
                    <a:pt x="1734224" y="2248038"/>
                  </a:lnTo>
                  <a:lnTo>
                    <a:pt x="1733437" y="2249218"/>
                  </a:lnTo>
                  <a:lnTo>
                    <a:pt x="1731076" y="2250005"/>
                  </a:lnTo>
                  <a:lnTo>
                    <a:pt x="1730683" y="2253153"/>
                  </a:lnTo>
                  <a:lnTo>
                    <a:pt x="1728716" y="2255907"/>
                  </a:lnTo>
                  <a:lnTo>
                    <a:pt x="1728322" y="2258661"/>
                  </a:lnTo>
                  <a:lnTo>
                    <a:pt x="1726749" y="2261021"/>
                  </a:lnTo>
                  <a:lnTo>
                    <a:pt x="1725175" y="2263775"/>
                  </a:lnTo>
                  <a:lnTo>
                    <a:pt x="1723995" y="2266529"/>
                  </a:lnTo>
                  <a:lnTo>
                    <a:pt x="1722421" y="2266923"/>
                  </a:lnTo>
                  <a:lnTo>
                    <a:pt x="1719667" y="2267710"/>
                  </a:lnTo>
                  <a:lnTo>
                    <a:pt x="1721634" y="2270070"/>
                  </a:lnTo>
                  <a:lnTo>
                    <a:pt x="1717700" y="2275578"/>
                  </a:lnTo>
                  <a:lnTo>
                    <a:pt x="1717306" y="2275971"/>
                  </a:lnTo>
                  <a:lnTo>
                    <a:pt x="1717306" y="2275971"/>
                  </a:lnTo>
                  <a:lnTo>
                    <a:pt x="1713372" y="2279906"/>
                  </a:lnTo>
                  <a:lnTo>
                    <a:pt x="1712979" y="2279512"/>
                  </a:lnTo>
                  <a:lnTo>
                    <a:pt x="1713372" y="2279906"/>
                  </a:lnTo>
                  <a:lnTo>
                    <a:pt x="1712192" y="2281086"/>
                  </a:lnTo>
                  <a:lnTo>
                    <a:pt x="1706684" y="2284233"/>
                  </a:lnTo>
                  <a:lnTo>
                    <a:pt x="1707471" y="2281873"/>
                  </a:lnTo>
                  <a:lnTo>
                    <a:pt x="1704717" y="2280693"/>
                  </a:lnTo>
                  <a:lnTo>
                    <a:pt x="1705504" y="2283447"/>
                  </a:lnTo>
                  <a:lnTo>
                    <a:pt x="1705897" y="2283840"/>
                  </a:lnTo>
                  <a:lnTo>
                    <a:pt x="1704323" y="2283447"/>
                  </a:lnTo>
                  <a:lnTo>
                    <a:pt x="1701569" y="2285020"/>
                  </a:lnTo>
                  <a:lnTo>
                    <a:pt x="1698815" y="2285414"/>
                  </a:lnTo>
                  <a:lnTo>
                    <a:pt x="1696061" y="2286987"/>
                  </a:lnTo>
                  <a:lnTo>
                    <a:pt x="1692914" y="2288561"/>
                  </a:lnTo>
                  <a:lnTo>
                    <a:pt x="1691340" y="2291708"/>
                  </a:lnTo>
                  <a:lnTo>
                    <a:pt x="1689767" y="2294462"/>
                  </a:lnTo>
                  <a:lnTo>
                    <a:pt x="1689373" y="2294856"/>
                  </a:lnTo>
                  <a:lnTo>
                    <a:pt x="1689767" y="2298003"/>
                  </a:lnTo>
                  <a:lnTo>
                    <a:pt x="1690947" y="2300364"/>
                  </a:lnTo>
                  <a:lnTo>
                    <a:pt x="1691734" y="2303511"/>
                  </a:lnTo>
                  <a:lnTo>
                    <a:pt x="1687013" y="2308232"/>
                  </a:lnTo>
                  <a:lnTo>
                    <a:pt x="1684259" y="2307052"/>
                  </a:lnTo>
                  <a:lnTo>
                    <a:pt x="1681505" y="2309019"/>
                  </a:lnTo>
                  <a:lnTo>
                    <a:pt x="1679144" y="2311773"/>
                  </a:lnTo>
                  <a:lnTo>
                    <a:pt x="1678357" y="2314527"/>
                  </a:lnTo>
                  <a:lnTo>
                    <a:pt x="1681111" y="2315314"/>
                  </a:lnTo>
                  <a:lnTo>
                    <a:pt x="1681505" y="2315314"/>
                  </a:lnTo>
                  <a:lnTo>
                    <a:pt x="1685045" y="2320429"/>
                  </a:lnTo>
                  <a:lnTo>
                    <a:pt x="1683472" y="2323183"/>
                  </a:lnTo>
                  <a:lnTo>
                    <a:pt x="1683472" y="2323969"/>
                  </a:lnTo>
                  <a:lnTo>
                    <a:pt x="1681111" y="2328297"/>
                  </a:lnTo>
                  <a:lnTo>
                    <a:pt x="1680718" y="2329084"/>
                  </a:lnTo>
                  <a:lnTo>
                    <a:pt x="1679931" y="2331051"/>
                  </a:lnTo>
                  <a:lnTo>
                    <a:pt x="1678751" y="2328297"/>
                  </a:lnTo>
                  <a:lnTo>
                    <a:pt x="1675997" y="2330658"/>
                  </a:lnTo>
                  <a:lnTo>
                    <a:pt x="1672849" y="2332231"/>
                  </a:lnTo>
                  <a:lnTo>
                    <a:pt x="1670095" y="2332231"/>
                  </a:lnTo>
                  <a:lnTo>
                    <a:pt x="1666948" y="2332625"/>
                  </a:lnTo>
                  <a:lnTo>
                    <a:pt x="1664194" y="2334198"/>
                  </a:lnTo>
                  <a:lnTo>
                    <a:pt x="1661440" y="2335379"/>
                  </a:lnTo>
                  <a:lnTo>
                    <a:pt x="1660260" y="2338133"/>
                  </a:lnTo>
                  <a:lnTo>
                    <a:pt x="1659866" y="2336559"/>
                  </a:lnTo>
                  <a:lnTo>
                    <a:pt x="1657112" y="2336166"/>
                  </a:lnTo>
                  <a:lnTo>
                    <a:pt x="1653965" y="2338920"/>
                  </a:lnTo>
                  <a:lnTo>
                    <a:pt x="1651211" y="2339707"/>
                  </a:lnTo>
                  <a:lnTo>
                    <a:pt x="1649637" y="2340493"/>
                  </a:lnTo>
                  <a:lnTo>
                    <a:pt x="1646883" y="2342067"/>
                  </a:lnTo>
                  <a:lnTo>
                    <a:pt x="1646490" y="2344821"/>
                  </a:lnTo>
                  <a:lnTo>
                    <a:pt x="1648850" y="2347575"/>
                  </a:lnTo>
                  <a:lnTo>
                    <a:pt x="1649244" y="2347968"/>
                  </a:lnTo>
                  <a:lnTo>
                    <a:pt x="1649244" y="2350722"/>
                  </a:lnTo>
                  <a:lnTo>
                    <a:pt x="1648850" y="2353476"/>
                  </a:lnTo>
                  <a:lnTo>
                    <a:pt x="1650031" y="2355050"/>
                  </a:lnTo>
                  <a:lnTo>
                    <a:pt x="1650031" y="2356624"/>
                  </a:lnTo>
                  <a:lnTo>
                    <a:pt x="1649637" y="2356624"/>
                  </a:lnTo>
                  <a:lnTo>
                    <a:pt x="1648457" y="2359378"/>
                  </a:lnTo>
                  <a:lnTo>
                    <a:pt x="1648457" y="2360558"/>
                  </a:lnTo>
                  <a:lnTo>
                    <a:pt x="1646490" y="2368427"/>
                  </a:lnTo>
                  <a:lnTo>
                    <a:pt x="1643736" y="2371574"/>
                  </a:lnTo>
                  <a:lnTo>
                    <a:pt x="1638228" y="2377082"/>
                  </a:lnTo>
                  <a:lnTo>
                    <a:pt x="1636261" y="2379836"/>
                  </a:lnTo>
                  <a:lnTo>
                    <a:pt x="1635474" y="2382590"/>
                  </a:lnTo>
                  <a:lnTo>
                    <a:pt x="1637047" y="2385344"/>
                  </a:lnTo>
                  <a:lnTo>
                    <a:pt x="1638621" y="2388491"/>
                  </a:lnTo>
                  <a:lnTo>
                    <a:pt x="1641375" y="2389278"/>
                  </a:lnTo>
                  <a:lnTo>
                    <a:pt x="1641769" y="2389672"/>
                  </a:lnTo>
                  <a:lnTo>
                    <a:pt x="1639015" y="2390065"/>
                  </a:lnTo>
                  <a:lnTo>
                    <a:pt x="1635867" y="2389672"/>
                  </a:lnTo>
                  <a:lnTo>
                    <a:pt x="1634687" y="2392425"/>
                  </a:lnTo>
                  <a:lnTo>
                    <a:pt x="1634294" y="2395180"/>
                  </a:lnTo>
                  <a:lnTo>
                    <a:pt x="1633113" y="2398327"/>
                  </a:lnTo>
                  <a:lnTo>
                    <a:pt x="1629966" y="2399114"/>
                  </a:lnTo>
                  <a:lnTo>
                    <a:pt x="1627212" y="2399507"/>
                  </a:lnTo>
                  <a:lnTo>
                    <a:pt x="1624458" y="2401474"/>
                  </a:lnTo>
                  <a:lnTo>
                    <a:pt x="1622884" y="2404228"/>
                  </a:lnTo>
                  <a:lnTo>
                    <a:pt x="1624064" y="2406982"/>
                  </a:lnTo>
                  <a:lnTo>
                    <a:pt x="1625638" y="2409736"/>
                  </a:lnTo>
                  <a:lnTo>
                    <a:pt x="1627605" y="2412884"/>
                  </a:lnTo>
                  <a:lnTo>
                    <a:pt x="1627212" y="2415638"/>
                  </a:lnTo>
                  <a:lnTo>
                    <a:pt x="1626425" y="2418392"/>
                  </a:lnTo>
                  <a:lnTo>
                    <a:pt x="1625245" y="2421146"/>
                  </a:lnTo>
                  <a:lnTo>
                    <a:pt x="1625638" y="2424293"/>
                  </a:lnTo>
                  <a:lnTo>
                    <a:pt x="1626032" y="2424686"/>
                  </a:lnTo>
                  <a:lnTo>
                    <a:pt x="1623671" y="2442784"/>
                  </a:lnTo>
                  <a:lnTo>
                    <a:pt x="1622491" y="2442391"/>
                  </a:lnTo>
                  <a:lnTo>
                    <a:pt x="1623277" y="2445145"/>
                  </a:lnTo>
                  <a:lnTo>
                    <a:pt x="1625245" y="2447505"/>
                  </a:lnTo>
                  <a:lnTo>
                    <a:pt x="1626818" y="2448292"/>
                  </a:lnTo>
                  <a:lnTo>
                    <a:pt x="1629572" y="2448686"/>
                  </a:lnTo>
                  <a:lnTo>
                    <a:pt x="1632326" y="2451046"/>
                  </a:lnTo>
                  <a:lnTo>
                    <a:pt x="1634687" y="2454193"/>
                  </a:lnTo>
                  <a:lnTo>
                    <a:pt x="1637047" y="2456947"/>
                  </a:lnTo>
                  <a:lnTo>
                    <a:pt x="1640195" y="2458521"/>
                  </a:lnTo>
                  <a:lnTo>
                    <a:pt x="1643342" y="2460488"/>
                  </a:lnTo>
                  <a:lnTo>
                    <a:pt x="1642949" y="2457341"/>
                  </a:lnTo>
                  <a:lnTo>
                    <a:pt x="1645703" y="2455767"/>
                  </a:lnTo>
                  <a:lnTo>
                    <a:pt x="1648064" y="2453013"/>
                  </a:lnTo>
                  <a:lnTo>
                    <a:pt x="1649244" y="2450259"/>
                  </a:lnTo>
                  <a:lnTo>
                    <a:pt x="1650424" y="2447112"/>
                  </a:lnTo>
                  <a:lnTo>
                    <a:pt x="1651211" y="2446719"/>
                  </a:lnTo>
                  <a:lnTo>
                    <a:pt x="1651211" y="2447899"/>
                  </a:lnTo>
                  <a:lnTo>
                    <a:pt x="1650817" y="2449472"/>
                  </a:lnTo>
                  <a:lnTo>
                    <a:pt x="1650424" y="2449866"/>
                  </a:lnTo>
                  <a:lnTo>
                    <a:pt x="1651211" y="2451439"/>
                  </a:lnTo>
                  <a:lnTo>
                    <a:pt x="1653571" y="2451833"/>
                  </a:lnTo>
                  <a:lnTo>
                    <a:pt x="1651998" y="2452620"/>
                  </a:lnTo>
                  <a:lnTo>
                    <a:pt x="1651211" y="2452226"/>
                  </a:lnTo>
                  <a:lnTo>
                    <a:pt x="1649244" y="2454980"/>
                  </a:lnTo>
                  <a:lnTo>
                    <a:pt x="1651211" y="2456554"/>
                  </a:lnTo>
                  <a:lnTo>
                    <a:pt x="1652784" y="2455767"/>
                  </a:lnTo>
                  <a:lnTo>
                    <a:pt x="1653571" y="2455374"/>
                  </a:lnTo>
                  <a:lnTo>
                    <a:pt x="1654752" y="2452226"/>
                  </a:lnTo>
                  <a:lnTo>
                    <a:pt x="1655145" y="2450653"/>
                  </a:lnTo>
                  <a:lnTo>
                    <a:pt x="1655145" y="2471898"/>
                  </a:lnTo>
                  <a:lnTo>
                    <a:pt x="1653571" y="2475045"/>
                  </a:lnTo>
                  <a:lnTo>
                    <a:pt x="1653178" y="2477406"/>
                  </a:lnTo>
                  <a:lnTo>
                    <a:pt x="1651998" y="2478193"/>
                  </a:lnTo>
                  <a:lnTo>
                    <a:pt x="1651604" y="2478586"/>
                  </a:lnTo>
                  <a:lnTo>
                    <a:pt x="1650817" y="2479766"/>
                  </a:lnTo>
                  <a:lnTo>
                    <a:pt x="1648457" y="2480946"/>
                  </a:lnTo>
                  <a:lnTo>
                    <a:pt x="1648064" y="2481340"/>
                  </a:lnTo>
                  <a:lnTo>
                    <a:pt x="1646490" y="2481733"/>
                  </a:lnTo>
                  <a:lnTo>
                    <a:pt x="1644916" y="2481733"/>
                  </a:lnTo>
                  <a:lnTo>
                    <a:pt x="1643342" y="2482520"/>
                  </a:lnTo>
                  <a:lnTo>
                    <a:pt x="1642162" y="2482914"/>
                  </a:lnTo>
                  <a:lnTo>
                    <a:pt x="1642162" y="2483307"/>
                  </a:lnTo>
                  <a:lnTo>
                    <a:pt x="1641769" y="2483700"/>
                  </a:lnTo>
                  <a:lnTo>
                    <a:pt x="1638621" y="2487241"/>
                  </a:lnTo>
                  <a:lnTo>
                    <a:pt x="1637834" y="2487241"/>
                  </a:lnTo>
                  <a:lnTo>
                    <a:pt x="1632326" y="2492749"/>
                  </a:lnTo>
                  <a:lnTo>
                    <a:pt x="1629572" y="2494716"/>
                  </a:lnTo>
                  <a:lnTo>
                    <a:pt x="1627212" y="2497864"/>
                  </a:lnTo>
                  <a:lnTo>
                    <a:pt x="1626032" y="2500618"/>
                  </a:lnTo>
                  <a:lnTo>
                    <a:pt x="1622884" y="2502978"/>
                  </a:lnTo>
                  <a:lnTo>
                    <a:pt x="1621310" y="2506126"/>
                  </a:lnTo>
                  <a:lnTo>
                    <a:pt x="1620917" y="2506519"/>
                  </a:lnTo>
                  <a:lnTo>
                    <a:pt x="1618950" y="2508093"/>
                  </a:lnTo>
                  <a:lnTo>
                    <a:pt x="1617376" y="2510060"/>
                  </a:lnTo>
                  <a:lnTo>
                    <a:pt x="1616983" y="2510453"/>
                  </a:lnTo>
                  <a:lnTo>
                    <a:pt x="1616589" y="2511240"/>
                  </a:lnTo>
                  <a:lnTo>
                    <a:pt x="1615016" y="2512027"/>
                  </a:lnTo>
                  <a:lnTo>
                    <a:pt x="1614622" y="2513601"/>
                  </a:lnTo>
                  <a:lnTo>
                    <a:pt x="1614229" y="2518322"/>
                  </a:lnTo>
                  <a:lnTo>
                    <a:pt x="1613442" y="2520683"/>
                  </a:lnTo>
                  <a:lnTo>
                    <a:pt x="1613835" y="2523437"/>
                  </a:lnTo>
                  <a:lnTo>
                    <a:pt x="1613442" y="2526190"/>
                  </a:lnTo>
                  <a:lnTo>
                    <a:pt x="1613835" y="2528944"/>
                  </a:lnTo>
                  <a:lnTo>
                    <a:pt x="1618163" y="2534453"/>
                  </a:lnTo>
                  <a:lnTo>
                    <a:pt x="1619737" y="2538780"/>
                  </a:lnTo>
                  <a:lnTo>
                    <a:pt x="1618557" y="2540354"/>
                  </a:lnTo>
                  <a:lnTo>
                    <a:pt x="1618557" y="2543501"/>
                  </a:lnTo>
                  <a:lnTo>
                    <a:pt x="1618950" y="2546255"/>
                  </a:lnTo>
                  <a:lnTo>
                    <a:pt x="1622097" y="2549009"/>
                  </a:lnTo>
                  <a:lnTo>
                    <a:pt x="1624458" y="2551763"/>
                  </a:lnTo>
                  <a:lnTo>
                    <a:pt x="1628392" y="2561599"/>
                  </a:lnTo>
                  <a:lnTo>
                    <a:pt x="1628392" y="2563566"/>
                  </a:lnTo>
                  <a:lnTo>
                    <a:pt x="1627212" y="2566714"/>
                  </a:lnTo>
                  <a:lnTo>
                    <a:pt x="1624458" y="2567107"/>
                  </a:lnTo>
                  <a:lnTo>
                    <a:pt x="1621310" y="2566320"/>
                  </a:lnTo>
                  <a:lnTo>
                    <a:pt x="1619737" y="2569467"/>
                  </a:lnTo>
                  <a:lnTo>
                    <a:pt x="1619737" y="2572615"/>
                  </a:lnTo>
                  <a:lnTo>
                    <a:pt x="1620130" y="2575762"/>
                  </a:lnTo>
                  <a:lnTo>
                    <a:pt x="1622884" y="2576943"/>
                  </a:lnTo>
                  <a:lnTo>
                    <a:pt x="1625638" y="2578516"/>
                  </a:lnTo>
                  <a:lnTo>
                    <a:pt x="1628786" y="2580090"/>
                  </a:lnTo>
                  <a:lnTo>
                    <a:pt x="1631540" y="2581664"/>
                  </a:lnTo>
                  <a:lnTo>
                    <a:pt x="1634294" y="2583237"/>
                  </a:lnTo>
                  <a:lnTo>
                    <a:pt x="1637047" y="2584811"/>
                  </a:lnTo>
                  <a:lnTo>
                    <a:pt x="1640195" y="2587565"/>
                  </a:lnTo>
                  <a:lnTo>
                    <a:pt x="1642949" y="2589532"/>
                  </a:lnTo>
                  <a:lnTo>
                    <a:pt x="1646096" y="2591499"/>
                  </a:lnTo>
                  <a:lnTo>
                    <a:pt x="1646490" y="2591893"/>
                  </a:lnTo>
                  <a:lnTo>
                    <a:pt x="1655932" y="2598581"/>
                  </a:lnTo>
                  <a:lnTo>
                    <a:pt x="1657506" y="2601335"/>
                  </a:lnTo>
                  <a:lnTo>
                    <a:pt x="1657506" y="2601728"/>
                  </a:lnTo>
                  <a:lnTo>
                    <a:pt x="1659473" y="2604482"/>
                  </a:lnTo>
                  <a:lnTo>
                    <a:pt x="1665374" y="2613138"/>
                  </a:lnTo>
                  <a:lnTo>
                    <a:pt x="1668915" y="2618252"/>
                  </a:lnTo>
                  <a:lnTo>
                    <a:pt x="1669308" y="2621006"/>
                  </a:lnTo>
                  <a:lnTo>
                    <a:pt x="1670489" y="2624154"/>
                  </a:lnTo>
                  <a:lnTo>
                    <a:pt x="1672062" y="2626121"/>
                  </a:lnTo>
                  <a:lnTo>
                    <a:pt x="1673636" y="2628875"/>
                  </a:lnTo>
                  <a:lnTo>
                    <a:pt x="1674030" y="2629662"/>
                  </a:lnTo>
                  <a:lnTo>
                    <a:pt x="1674816" y="2632809"/>
                  </a:lnTo>
                  <a:lnTo>
                    <a:pt x="1676390" y="2635563"/>
                  </a:lnTo>
                  <a:lnTo>
                    <a:pt x="1678751" y="2638317"/>
                  </a:lnTo>
                  <a:lnTo>
                    <a:pt x="1699602" y="2673332"/>
                  </a:lnTo>
                  <a:lnTo>
                    <a:pt x="1699996" y="2674512"/>
                  </a:lnTo>
                  <a:lnTo>
                    <a:pt x="1701569" y="2677266"/>
                  </a:lnTo>
                  <a:lnTo>
                    <a:pt x="1701176" y="2680020"/>
                  </a:lnTo>
                  <a:lnTo>
                    <a:pt x="1702750" y="2680020"/>
                  </a:lnTo>
                  <a:lnTo>
                    <a:pt x="1703930" y="2682774"/>
                  </a:lnTo>
                  <a:lnTo>
                    <a:pt x="1703930" y="2683168"/>
                  </a:lnTo>
                  <a:lnTo>
                    <a:pt x="1703930" y="2683168"/>
                  </a:lnTo>
                  <a:lnTo>
                    <a:pt x="1710225" y="2697331"/>
                  </a:lnTo>
                  <a:lnTo>
                    <a:pt x="1710225" y="2697724"/>
                  </a:lnTo>
                  <a:lnTo>
                    <a:pt x="1710225" y="2697724"/>
                  </a:lnTo>
                  <a:lnTo>
                    <a:pt x="1713372" y="2704806"/>
                  </a:lnTo>
                  <a:lnTo>
                    <a:pt x="1713766" y="2706380"/>
                  </a:lnTo>
                  <a:lnTo>
                    <a:pt x="1714946" y="2708347"/>
                  </a:lnTo>
                  <a:lnTo>
                    <a:pt x="1716126" y="2711494"/>
                  </a:lnTo>
                  <a:lnTo>
                    <a:pt x="1717306" y="2714248"/>
                  </a:lnTo>
                  <a:lnTo>
                    <a:pt x="1718880" y="2717396"/>
                  </a:lnTo>
                  <a:lnTo>
                    <a:pt x="1720847" y="2720150"/>
                  </a:lnTo>
                  <a:lnTo>
                    <a:pt x="1722421" y="2722904"/>
                  </a:lnTo>
                  <a:lnTo>
                    <a:pt x="1724388" y="2725658"/>
                  </a:lnTo>
                  <a:lnTo>
                    <a:pt x="1726355" y="2729199"/>
                  </a:lnTo>
                  <a:lnTo>
                    <a:pt x="1735011" y="2744936"/>
                  </a:lnTo>
                  <a:lnTo>
                    <a:pt x="1736191" y="2748083"/>
                  </a:lnTo>
                  <a:lnTo>
                    <a:pt x="1734617" y="2750837"/>
                  </a:lnTo>
                  <a:lnTo>
                    <a:pt x="1737371" y="2753591"/>
                  </a:lnTo>
                  <a:lnTo>
                    <a:pt x="1740125" y="2755165"/>
                  </a:lnTo>
                  <a:lnTo>
                    <a:pt x="1740519" y="2755558"/>
                  </a:lnTo>
                  <a:lnTo>
                    <a:pt x="1751928" y="2777590"/>
                  </a:lnTo>
                  <a:lnTo>
                    <a:pt x="1751535" y="2778377"/>
                  </a:lnTo>
                  <a:lnTo>
                    <a:pt x="1773960" y="2809851"/>
                  </a:lnTo>
                  <a:lnTo>
                    <a:pt x="1773960" y="2810244"/>
                  </a:lnTo>
                  <a:lnTo>
                    <a:pt x="1775534" y="2812998"/>
                  </a:lnTo>
                  <a:lnTo>
                    <a:pt x="1777501" y="2814572"/>
                  </a:lnTo>
                  <a:lnTo>
                    <a:pt x="1779468" y="2817326"/>
                  </a:lnTo>
                  <a:lnTo>
                    <a:pt x="1781435" y="2819687"/>
                  </a:lnTo>
                  <a:lnTo>
                    <a:pt x="1782615" y="2821260"/>
                  </a:lnTo>
                  <a:lnTo>
                    <a:pt x="1784976" y="2833457"/>
                  </a:lnTo>
                  <a:lnTo>
                    <a:pt x="1783796" y="2838964"/>
                  </a:lnTo>
                  <a:lnTo>
                    <a:pt x="1781042" y="2837391"/>
                  </a:lnTo>
                  <a:lnTo>
                    <a:pt x="1780255" y="2840538"/>
                  </a:lnTo>
                  <a:lnTo>
                    <a:pt x="1783402" y="2840931"/>
                  </a:lnTo>
                  <a:lnTo>
                    <a:pt x="1783796" y="2843686"/>
                  </a:lnTo>
                  <a:lnTo>
                    <a:pt x="1784189" y="2846833"/>
                  </a:lnTo>
                  <a:lnTo>
                    <a:pt x="1784189" y="2849587"/>
                  </a:lnTo>
                  <a:lnTo>
                    <a:pt x="1786943" y="2850374"/>
                  </a:lnTo>
                  <a:lnTo>
                    <a:pt x="1789303" y="2853521"/>
                  </a:lnTo>
                  <a:lnTo>
                    <a:pt x="1789697" y="2856275"/>
                  </a:lnTo>
                  <a:lnTo>
                    <a:pt x="1792451" y="2859029"/>
                  </a:lnTo>
                  <a:lnTo>
                    <a:pt x="1794418" y="2861783"/>
                  </a:lnTo>
                  <a:lnTo>
                    <a:pt x="1795992" y="2864537"/>
                  </a:lnTo>
                  <a:lnTo>
                    <a:pt x="1797959" y="2867685"/>
                  </a:lnTo>
                  <a:lnTo>
                    <a:pt x="1800713" y="2870045"/>
                  </a:lnTo>
                  <a:lnTo>
                    <a:pt x="1803467" y="2872012"/>
                  </a:lnTo>
                  <a:lnTo>
                    <a:pt x="1806221" y="2873586"/>
                  </a:lnTo>
                  <a:lnTo>
                    <a:pt x="1809368" y="2875160"/>
                  </a:lnTo>
                  <a:lnTo>
                    <a:pt x="1810942" y="2877914"/>
                  </a:lnTo>
                  <a:lnTo>
                    <a:pt x="1811336" y="2878307"/>
                  </a:lnTo>
                  <a:lnTo>
                    <a:pt x="1811729" y="2879094"/>
                  </a:lnTo>
                  <a:lnTo>
                    <a:pt x="1813696" y="2881848"/>
                  </a:lnTo>
                  <a:lnTo>
                    <a:pt x="1814089" y="2882241"/>
                  </a:lnTo>
                  <a:lnTo>
                    <a:pt x="1821171" y="2891684"/>
                  </a:lnTo>
                  <a:lnTo>
                    <a:pt x="1824319" y="2893651"/>
                  </a:lnTo>
                  <a:lnTo>
                    <a:pt x="1827073" y="2895225"/>
                  </a:lnTo>
                  <a:lnTo>
                    <a:pt x="1829040" y="2896011"/>
                  </a:lnTo>
                  <a:lnTo>
                    <a:pt x="1831007" y="2897192"/>
                  </a:lnTo>
                  <a:lnTo>
                    <a:pt x="1832580" y="2897978"/>
                  </a:lnTo>
                  <a:lnTo>
                    <a:pt x="1835334" y="2899552"/>
                  </a:lnTo>
                  <a:lnTo>
                    <a:pt x="1838482" y="2901126"/>
                  </a:lnTo>
                  <a:lnTo>
                    <a:pt x="1840449" y="2901913"/>
                  </a:lnTo>
                  <a:lnTo>
                    <a:pt x="1843596" y="2904273"/>
                  </a:lnTo>
                  <a:lnTo>
                    <a:pt x="1846350" y="2907027"/>
                  </a:lnTo>
                  <a:lnTo>
                    <a:pt x="1849104" y="2907421"/>
                  </a:lnTo>
                  <a:lnTo>
                    <a:pt x="1852252" y="2908994"/>
                  </a:lnTo>
                  <a:lnTo>
                    <a:pt x="1855006" y="2910568"/>
                  </a:lnTo>
                  <a:lnTo>
                    <a:pt x="1857366" y="2913322"/>
                  </a:lnTo>
                  <a:lnTo>
                    <a:pt x="1860120" y="2915682"/>
                  </a:lnTo>
                  <a:lnTo>
                    <a:pt x="1863268" y="2918043"/>
                  </a:lnTo>
                  <a:lnTo>
                    <a:pt x="1866022" y="2919223"/>
                  </a:lnTo>
                  <a:lnTo>
                    <a:pt x="1869169" y="2920010"/>
                  </a:lnTo>
                  <a:lnTo>
                    <a:pt x="1871923" y="2921191"/>
                  </a:lnTo>
                  <a:lnTo>
                    <a:pt x="1874677" y="2921977"/>
                  </a:lnTo>
                  <a:lnTo>
                    <a:pt x="1875857" y="2922371"/>
                  </a:lnTo>
                  <a:lnTo>
                    <a:pt x="1878218" y="2923551"/>
                  </a:lnTo>
                  <a:lnTo>
                    <a:pt x="1880578" y="2925518"/>
                  </a:lnTo>
                  <a:lnTo>
                    <a:pt x="1882152" y="2925912"/>
                  </a:lnTo>
                  <a:lnTo>
                    <a:pt x="1885300" y="2927879"/>
                  </a:lnTo>
                  <a:lnTo>
                    <a:pt x="1894742" y="2933387"/>
                  </a:lnTo>
                  <a:lnTo>
                    <a:pt x="1895922" y="2934174"/>
                  </a:lnTo>
                  <a:lnTo>
                    <a:pt x="1917167" y="2947550"/>
                  </a:lnTo>
                  <a:lnTo>
                    <a:pt x="1919528" y="2947943"/>
                  </a:lnTo>
                  <a:lnTo>
                    <a:pt x="1925036" y="2952665"/>
                  </a:lnTo>
                  <a:lnTo>
                    <a:pt x="1936445" y="2957779"/>
                  </a:lnTo>
                  <a:lnTo>
                    <a:pt x="1940379" y="2963681"/>
                  </a:lnTo>
                  <a:lnTo>
                    <a:pt x="1940773" y="2966041"/>
                  </a:lnTo>
                  <a:lnTo>
                    <a:pt x="1941166" y="2969189"/>
                  </a:lnTo>
                  <a:lnTo>
                    <a:pt x="1943920" y="2971943"/>
                  </a:lnTo>
                  <a:lnTo>
                    <a:pt x="1946674" y="2973516"/>
                  </a:lnTo>
                  <a:lnTo>
                    <a:pt x="1947068" y="2974303"/>
                  </a:lnTo>
                  <a:lnTo>
                    <a:pt x="1949821" y="2976664"/>
                  </a:lnTo>
                  <a:lnTo>
                    <a:pt x="1952575" y="2977450"/>
                  </a:lnTo>
                  <a:lnTo>
                    <a:pt x="1955723" y="2979811"/>
                  </a:lnTo>
                  <a:lnTo>
                    <a:pt x="1958477" y="2982172"/>
                  </a:lnTo>
                  <a:lnTo>
                    <a:pt x="1961231" y="2984926"/>
                  </a:lnTo>
                  <a:lnTo>
                    <a:pt x="1963985" y="2987680"/>
                  </a:lnTo>
                  <a:lnTo>
                    <a:pt x="1966739" y="2988860"/>
                  </a:lnTo>
                  <a:lnTo>
                    <a:pt x="1967132" y="2989253"/>
                  </a:lnTo>
                  <a:lnTo>
                    <a:pt x="1971853" y="2992794"/>
                  </a:lnTo>
                  <a:lnTo>
                    <a:pt x="1975001" y="2996335"/>
                  </a:lnTo>
                  <a:lnTo>
                    <a:pt x="1974607" y="2997515"/>
                  </a:lnTo>
                  <a:lnTo>
                    <a:pt x="1974607" y="3000663"/>
                  </a:lnTo>
                  <a:lnTo>
                    <a:pt x="1975001" y="3003417"/>
                  </a:lnTo>
                  <a:lnTo>
                    <a:pt x="1975394" y="3006564"/>
                  </a:lnTo>
                  <a:lnTo>
                    <a:pt x="1975788" y="3009318"/>
                  </a:lnTo>
                  <a:lnTo>
                    <a:pt x="1976968" y="3012072"/>
                  </a:lnTo>
                  <a:lnTo>
                    <a:pt x="1977361" y="3014826"/>
                  </a:lnTo>
                  <a:lnTo>
                    <a:pt x="1978542" y="3017973"/>
                  </a:lnTo>
                  <a:lnTo>
                    <a:pt x="1978935" y="3020727"/>
                  </a:lnTo>
                  <a:lnTo>
                    <a:pt x="1979328" y="3023481"/>
                  </a:lnTo>
                  <a:lnTo>
                    <a:pt x="1980115" y="3026629"/>
                  </a:lnTo>
                  <a:lnTo>
                    <a:pt x="1981689" y="3029383"/>
                  </a:lnTo>
                  <a:lnTo>
                    <a:pt x="1982476" y="3032137"/>
                  </a:lnTo>
                  <a:lnTo>
                    <a:pt x="1982869" y="3032924"/>
                  </a:lnTo>
                  <a:lnTo>
                    <a:pt x="1983263" y="3036071"/>
                  </a:lnTo>
                  <a:lnTo>
                    <a:pt x="1983656" y="3037251"/>
                  </a:lnTo>
                  <a:lnTo>
                    <a:pt x="1984836" y="3041972"/>
                  </a:lnTo>
                  <a:lnTo>
                    <a:pt x="1984836" y="3041972"/>
                  </a:lnTo>
                  <a:lnTo>
                    <a:pt x="1985230" y="3044727"/>
                  </a:lnTo>
                  <a:lnTo>
                    <a:pt x="1985623" y="3045513"/>
                  </a:lnTo>
                  <a:lnTo>
                    <a:pt x="1986410" y="3048661"/>
                  </a:lnTo>
                  <a:lnTo>
                    <a:pt x="1986017" y="3055349"/>
                  </a:lnTo>
                  <a:lnTo>
                    <a:pt x="1986804" y="3059283"/>
                  </a:lnTo>
                  <a:lnTo>
                    <a:pt x="1986017" y="3061250"/>
                  </a:lnTo>
                  <a:lnTo>
                    <a:pt x="1986804" y="3064004"/>
                  </a:lnTo>
                  <a:lnTo>
                    <a:pt x="1986410" y="3066758"/>
                  </a:lnTo>
                  <a:lnTo>
                    <a:pt x="1986804" y="3069906"/>
                  </a:lnTo>
                  <a:lnTo>
                    <a:pt x="1987197" y="3072660"/>
                  </a:lnTo>
                  <a:lnTo>
                    <a:pt x="1987197" y="3075414"/>
                  </a:lnTo>
                  <a:lnTo>
                    <a:pt x="1989558" y="3078561"/>
                  </a:lnTo>
                  <a:lnTo>
                    <a:pt x="1989164" y="3081315"/>
                  </a:lnTo>
                  <a:lnTo>
                    <a:pt x="1989951" y="3084069"/>
                  </a:lnTo>
                  <a:lnTo>
                    <a:pt x="1991131" y="3086823"/>
                  </a:lnTo>
                  <a:lnTo>
                    <a:pt x="1992705" y="3089577"/>
                  </a:lnTo>
                  <a:lnTo>
                    <a:pt x="1993492" y="3092331"/>
                  </a:lnTo>
                  <a:lnTo>
                    <a:pt x="1993885" y="3095085"/>
                  </a:lnTo>
                  <a:lnTo>
                    <a:pt x="1994279" y="3096265"/>
                  </a:lnTo>
                  <a:lnTo>
                    <a:pt x="1994279" y="3097052"/>
                  </a:lnTo>
                  <a:lnTo>
                    <a:pt x="1993885" y="3099806"/>
                  </a:lnTo>
                  <a:lnTo>
                    <a:pt x="1992705" y="3102560"/>
                  </a:lnTo>
                  <a:lnTo>
                    <a:pt x="1993098" y="3105708"/>
                  </a:lnTo>
                  <a:lnTo>
                    <a:pt x="1993492" y="3108461"/>
                  </a:lnTo>
                  <a:lnTo>
                    <a:pt x="1993492" y="3111609"/>
                  </a:lnTo>
                  <a:lnTo>
                    <a:pt x="1993492" y="3111609"/>
                  </a:lnTo>
                  <a:lnTo>
                    <a:pt x="1993098" y="3114363"/>
                  </a:lnTo>
                  <a:lnTo>
                    <a:pt x="1993098" y="3114756"/>
                  </a:lnTo>
                  <a:lnTo>
                    <a:pt x="1990345" y="3152132"/>
                  </a:lnTo>
                  <a:lnTo>
                    <a:pt x="1987591" y="3150558"/>
                  </a:lnTo>
                  <a:lnTo>
                    <a:pt x="1987197" y="3156066"/>
                  </a:lnTo>
                  <a:lnTo>
                    <a:pt x="1987197" y="3158820"/>
                  </a:lnTo>
                  <a:lnTo>
                    <a:pt x="1987591" y="3161968"/>
                  </a:lnTo>
                  <a:lnTo>
                    <a:pt x="1987591" y="3164722"/>
                  </a:lnTo>
                  <a:lnTo>
                    <a:pt x="1990345" y="3165508"/>
                  </a:lnTo>
                  <a:lnTo>
                    <a:pt x="1991918" y="3165508"/>
                  </a:lnTo>
                  <a:lnTo>
                    <a:pt x="1992705" y="3174951"/>
                  </a:lnTo>
                  <a:lnTo>
                    <a:pt x="1992312" y="3176918"/>
                  </a:lnTo>
                  <a:lnTo>
                    <a:pt x="1992312" y="3183212"/>
                  </a:lnTo>
                  <a:lnTo>
                    <a:pt x="1993492" y="3185966"/>
                  </a:lnTo>
                  <a:lnTo>
                    <a:pt x="1993492" y="3188720"/>
                  </a:lnTo>
                  <a:lnTo>
                    <a:pt x="1993098" y="3191868"/>
                  </a:lnTo>
                  <a:lnTo>
                    <a:pt x="1993492" y="3194622"/>
                  </a:lnTo>
                  <a:lnTo>
                    <a:pt x="1993492" y="3197376"/>
                  </a:lnTo>
                  <a:lnTo>
                    <a:pt x="1993098" y="3200523"/>
                  </a:lnTo>
                  <a:lnTo>
                    <a:pt x="1994279" y="3203671"/>
                  </a:lnTo>
                  <a:lnTo>
                    <a:pt x="1994279" y="3206425"/>
                  </a:lnTo>
                  <a:lnTo>
                    <a:pt x="1996246" y="3211146"/>
                  </a:lnTo>
                  <a:lnTo>
                    <a:pt x="1998213" y="3233178"/>
                  </a:lnTo>
                  <a:lnTo>
                    <a:pt x="1996639" y="3234358"/>
                  </a:lnTo>
                  <a:lnTo>
                    <a:pt x="1997033" y="3237505"/>
                  </a:lnTo>
                  <a:lnTo>
                    <a:pt x="1996639" y="3240259"/>
                  </a:lnTo>
                  <a:lnTo>
                    <a:pt x="1996246" y="3243407"/>
                  </a:lnTo>
                  <a:lnTo>
                    <a:pt x="1997426" y="3246161"/>
                  </a:lnTo>
                  <a:lnTo>
                    <a:pt x="1999787" y="3249308"/>
                  </a:lnTo>
                  <a:lnTo>
                    <a:pt x="2000574" y="3251669"/>
                  </a:lnTo>
                  <a:lnTo>
                    <a:pt x="2000180" y="3254423"/>
                  </a:lnTo>
                  <a:lnTo>
                    <a:pt x="2000574" y="3257570"/>
                  </a:lnTo>
                  <a:lnTo>
                    <a:pt x="2000967" y="3260324"/>
                  </a:lnTo>
                  <a:lnTo>
                    <a:pt x="2002147" y="3262685"/>
                  </a:lnTo>
                  <a:lnTo>
                    <a:pt x="2001754" y="3268193"/>
                  </a:lnTo>
                  <a:lnTo>
                    <a:pt x="2002147" y="3270160"/>
                  </a:lnTo>
                  <a:lnTo>
                    <a:pt x="2002147" y="3272520"/>
                  </a:lnTo>
                  <a:lnTo>
                    <a:pt x="2001360" y="3276848"/>
                  </a:lnTo>
                  <a:lnTo>
                    <a:pt x="2000574" y="3279995"/>
                  </a:lnTo>
                  <a:lnTo>
                    <a:pt x="2001754" y="3282749"/>
                  </a:lnTo>
                  <a:lnTo>
                    <a:pt x="2002147" y="3285503"/>
                  </a:lnTo>
                  <a:lnTo>
                    <a:pt x="2002147" y="3285897"/>
                  </a:lnTo>
                  <a:lnTo>
                    <a:pt x="2000574" y="3288651"/>
                  </a:lnTo>
                  <a:lnTo>
                    <a:pt x="1999393" y="3291405"/>
                  </a:lnTo>
                  <a:lnTo>
                    <a:pt x="2000180" y="3294552"/>
                  </a:lnTo>
                  <a:lnTo>
                    <a:pt x="2000180" y="3295339"/>
                  </a:lnTo>
                  <a:lnTo>
                    <a:pt x="1999000" y="3311863"/>
                  </a:lnTo>
                  <a:lnTo>
                    <a:pt x="1999000" y="3312650"/>
                  </a:lnTo>
                  <a:lnTo>
                    <a:pt x="1998606" y="3315404"/>
                  </a:lnTo>
                  <a:lnTo>
                    <a:pt x="1998606" y="3317764"/>
                  </a:lnTo>
                  <a:lnTo>
                    <a:pt x="1998606" y="3320125"/>
                  </a:lnTo>
                  <a:lnTo>
                    <a:pt x="1998606" y="3321305"/>
                  </a:lnTo>
                  <a:lnTo>
                    <a:pt x="1998606" y="3321698"/>
                  </a:lnTo>
                  <a:lnTo>
                    <a:pt x="2000180" y="3332321"/>
                  </a:lnTo>
                  <a:lnTo>
                    <a:pt x="2000180" y="3333501"/>
                  </a:lnTo>
                  <a:lnTo>
                    <a:pt x="1999000" y="3336255"/>
                  </a:lnTo>
                  <a:lnTo>
                    <a:pt x="1998606" y="3339403"/>
                  </a:lnTo>
                  <a:lnTo>
                    <a:pt x="1998213" y="3342157"/>
                  </a:lnTo>
                  <a:lnTo>
                    <a:pt x="1997033" y="3344911"/>
                  </a:lnTo>
                  <a:lnTo>
                    <a:pt x="1994279" y="3347665"/>
                  </a:lnTo>
                  <a:lnTo>
                    <a:pt x="1994279" y="3350419"/>
                  </a:lnTo>
                  <a:lnTo>
                    <a:pt x="1995852" y="3353566"/>
                  </a:lnTo>
                  <a:lnTo>
                    <a:pt x="1997033" y="3359074"/>
                  </a:lnTo>
                  <a:lnTo>
                    <a:pt x="1997426" y="3359468"/>
                  </a:lnTo>
                  <a:lnTo>
                    <a:pt x="2005688" y="3377565"/>
                  </a:lnTo>
                  <a:lnTo>
                    <a:pt x="2006082" y="3378745"/>
                  </a:lnTo>
                  <a:lnTo>
                    <a:pt x="2007655" y="3381893"/>
                  </a:lnTo>
                  <a:lnTo>
                    <a:pt x="2008049" y="3382286"/>
                  </a:lnTo>
                  <a:lnTo>
                    <a:pt x="2005688" y="3385434"/>
                  </a:lnTo>
                  <a:lnTo>
                    <a:pt x="2005295" y="3386221"/>
                  </a:lnTo>
                  <a:lnTo>
                    <a:pt x="2004114" y="3394482"/>
                  </a:lnTo>
                  <a:lnTo>
                    <a:pt x="2004114" y="3394482"/>
                  </a:lnTo>
                  <a:lnTo>
                    <a:pt x="2001360" y="3394876"/>
                  </a:lnTo>
                  <a:lnTo>
                    <a:pt x="1999787" y="3398023"/>
                  </a:lnTo>
                  <a:lnTo>
                    <a:pt x="2000180" y="3400777"/>
                  </a:lnTo>
                  <a:lnTo>
                    <a:pt x="2000574" y="3403531"/>
                  </a:lnTo>
                  <a:lnTo>
                    <a:pt x="2000967" y="3406679"/>
                  </a:lnTo>
                  <a:lnTo>
                    <a:pt x="2001754" y="3409433"/>
                  </a:lnTo>
                  <a:lnTo>
                    <a:pt x="2002147" y="3409826"/>
                  </a:lnTo>
                  <a:lnTo>
                    <a:pt x="2002541" y="3412973"/>
                  </a:lnTo>
                  <a:lnTo>
                    <a:pt x="2003721" y="3415727"/>
                  </a:lnTo>
                  <a:lnTo>
                    <a:pt x="2004901" y="3417695"/>
                  </a:lnTo>
                  <a:lnTo>
                    <a:pt x="2005688" y="3420055"/>
                  </a:lnTo>
                  <a:lnTo>
                    <a:pt x="2006082" y="3421629"/>
                  </a:lnTo>
                  <a:lnTo>
                    <a:pt x="2006475" y="3424383"/>
                  </a:lnTo>
                  <a:lnTo>
                    <a:pt x="2008049" y="3427137"/>
                  </a:lnTo>
                  <a:lnTo>
                    <a:pt x="2009622" y="3430284"/>
                  </a:lnTo>
                  <a:lnTo>
                    <a:pt x="2010409" y="3433038"/>
                  </a:lnTo>
                  <a:lnTo>
                    <a:pt x="2011196" y="3434612"/>
                  </a:lnTo>
                  <a:lnTo>
                    <a:pt x="2013163" y="3440120"/>
                  </a:lnTo>
                  <a:lnTo>
                    <a:pt x="2018671" y="3459791"/>
                  </a:lnTo>
                  <a:lnTo>
                    <a:pt x="2024572" y="3484577"/>
                  </a:lnTo>
                  <a:lnTo>
                    <a:pt x="2024572" y="3487724"/>
                  </a:lnTo>
                  <a:lnTo>
                    <a:pt x="2022212" y="3490085"/>
                  </a:lnTo>
                  <a:lnTo>
                    <a:pt x="2022212" y="3492839"/>
                  </a:lnTo>
                  <a:lnTo>
                    <a:pt x="2023392" y="3495986"/>
                  </a:lnTo>
                  <a:lnTo>
                    <a:pt x="2024572" y="3498347"/>
                  </a:lnTo>
                  <a:lnTo>
                    <a:pt x="2024572" y="3518805"/>
                  </a:lnTo>
                  <a:lnTo>
                    <a:pt x="2024179" y="3521559"/>
                  </a:lnTo>
                  <a:lnTo>
                    <a:pt x="2022999" y="3524313"/>
                  </a:lnTo>
                  <a:lnTo>
                    <a:pt x="2022605" y="3527460"/>
                  </a:lnTo>
                  <a:lnTo>
                    <a:pt x="2024179" y="3530214"/>
                  </a:lnTo>
                  <a:lnTo>
                    <a:pt x="2024179" y="3530214"/>
                  </a:lnTo>
                  <a:lnTo>
                    <a:pt x="2024179" y="3534149"/>
                  </a:lnTo>
                  <a:lnTo>
                    <a:pt x="2025753" y="3546738"/>
                  </a:lnTo>
                  <a:lnTo>
                    <a:pt x="2025359" y="3549492"/>
                  </a:lnTo>
                  <a:lnTo>
                    <a:pt x="2024966" y="3552640"/>
                  </a:lnTo>
                  <a:lnTo>
                    <a:pt x="2025359" y="3555394"/>
                  </a:lnTo>
                  <a:lnTo>
                    <a:pt x="2025753" y="3555787"/>
                  </a:lnTo>
                  <a:lnTo>
                    <a:pt x="2023786" y="3560508"/>
                  </a:lnTo>
                  <a:lnTo>
                    <a:pt x="2022605" y="3561689"/>
                  </a:lnTo>
                  <a:lnTo>
                    <a:pt x="2021425" y="3564836"/>
                  </a:lnTo>
                  <a:lnTo>
                    <a:pt x="2021819" y="3565229"/>
                  </a:lnTo>
                  <a:lnTo>
                    <a:pt x="2021819" y="3566016"/>
                  </a:lnTo>
                  <a:lnTo>
                    <a:pt x="2021032" y="3569164"/>
                  </a:lnTo>
                  <a:lnTo>
                    <a:pt x="2020245" y="3571918"/>
                  </a:lnTo>
                  <a:lnTo>
                    <a:pt x="2017884" y="3574672"/>
                  </a:lnTo>
                  <a:lnTo>
                    <a:pt x="2020245" y="3577819"/>
                  </a:lnTo>
                  <a:lnTo>
                    <a:pt x="2020245" y="3577819"/>
                  </a:lnTo>
                  <a:lnTo>
                    <a:pt x="2019065" y="3585688"/>
                  </a:lnTo>
                  <a:lnTo>
                    <a:pt x="2018671" y="3586474"/>
                  </a:lnTo>
                  <a:lnTo>
                    <a:pt x="2018278" y="3589622"/>
                  </a:lnTo>
                  <a:lnTo>
                    <a:pt x="2018278" y="3590802"/>
                  </a:lnTo>
                  <a:lnTo>
                    <a:pt x="2019458" y="3601425"/>
                  </a:lnTo>
                  <a:lnTo>
                    <a:pt x="2016704" y="3612047"/>
                  </a:lnTo>
                  <a:lnTo>
                    <a:pt x="2015917" y="3609687"/>
                  </a:lnTo>
                  <a:lnTo>
                    <a:pt x="2015130" y="3612441"/>
                  </a:lnTo>
                  <a:lnTo>
                    <a:pt x="2014737" y="3615195"/>
                  </a:lnTo>
                  <a:lnTo>
                    <a:pt x="2015524" y="3615588"/>
                  </a:lnTo>
                  <a:lnTo>
                    <a:pt x="2011983" y="3630145"/>
                  </a:lnTo>
                  <a:lnTo>
                    <a:pt x="2009622" y="3629358"/>
                  </a:lnTo>
                  <a:lnTo>
                    <a:pt x="2006868" y="3627784"/>
                  </a:lnTo>
                  <a:lnTo>
                    <a:pt x="2006475" y="3630538"/>
                  </a:lnTo>
                  <a:lnTo>
                    <a:pt x="2006475" y="3633292"/>
                  </a:lnTo>
                  <a:lnTo>
                    <a:pt x="2008835" y="3636440"/>
                  </a:lnTo>
                  <a:lnTo>
                    <a:pt x="2009622" y="3638407"/>
                  </a:lnTo>
                  <a:lnTo>
                    <a:pt x="2008835" y="3642341"/>
                  </a:lnTo>
                  <a:lnTo>
                    <a:pt x="2022212" y="3671061"/>
                  </a:lnTo>
                  <a:lnTo>
                    <a:pt x="2022605" y="3671848"/>
                  </a:lnTo>
                  <a:lnTo>
                    <a:pt x="2022999" y="3672635"/>
                  </a:lnTo>
                  <a:lnTo>
                    <a:pt x="2024179" y="3675389"/>
                  </a:lnTo>
                  <a:lnTo>
                    <a:pt x="2026146" y="3678536"/>
                  </a:lnTo>
                  <a:lnTo>
                    <a:pt x="2027720" y="3681290"/>
                  </a:lnTo>
                  <a:lnTo>
                    <a:pt x="2028507" y="3681290"/>
                  </a:lnTo>
                  <a:lnTo>
                    <a:pt x="2030081" y="3683651"/>
                  </a:lnTo>
                  <a:lnTo>
                    <a:pt x="2031654" y="3686405"/>
                  </a:lnTo>
                  <a:lnTo>
                    <a:pt x="2033621" y="3689159"/>
                  </a:lnTo>
                  <a:lnTo>
                    <a:pt x="2035589" y="3692306"/>
                  </a:lnTo>
                  <a:lnTo>
                    <a:pt x="2037556" y="3695060"/>
                  </a:lnTo>
                  <a:lnTo>
                    <a:pt x="2038736" y="3697814"/>
                  </a:lnTo>
                  <a:lnTo>
                    <a:pt x="2039129" y="3696634"/>
                  </a:lnTo>
                  <a:lnTo>
                    <a:pt x="2039523" y="3699388"/>
                  </a:lnTo>
                  <a:lnTo>
                    <a:pt x="2039523" y="3699781"/>
                  </a:lnTo>
                  <a:lnTo>
                    <a:pt x="2040310" y="3703322"/>
                  </a:lnTo>
                  <a:lnTo>
                    <a:pt x="2040703" y="3710404"/>
                  </a:lnTo>
                  <a:lnTo>
                    <a:pt x="2040310" y="3712371"/>
                  </a:lnTo>
                  <a:lnTo>
                    <a:pt x="2040703" y="3715125"/>
                  </a:lnTo>
                  <a:lnTo>
                    <a:pt x="2041096" y="3717879"/>
                  </a:lnTo>
                  <a:lnTo>
                    <a:pt x="2041490" y="3718272"/>
                  </a:lnTo>
                  <a:lnTo>
                    <a:pt x="2041883" y="3718666"/>
                  </a:lnTo>
                  <a:lnTo>
                    <a:pt x="2039129" y="3719846"/>
                  </a:lnTo>
                  <a:lnTo>
                    <a:pt x="2035982" y="3721813"/>
                  </a:lnTo>
                  <a:lnTo>
                    <a:pt x="2034802" y="3723780"/>
                  </a:lnTo>
                  <a:lnTo>
                    <a:pt x="2036375" y="3729288"/>
                  </a:lnTo>
                  <a:lnTo>
                    <a:pt x="2036375" y="3729682"/>
                  </a:lnTo>
                  <a:lnTo>
                    <a:pt x="2036769" y="3730862"/>
                  </a:lnTo>
                  <a:lnTo>
                    <a:pt x="2036769" y="3734009"/>
                  </a:lnTo>
                  <a:lnTo>
                    <a:pt x="2037162" y="3735583"/>
                  </a:lnTo>
                  <a:lnTo>
                    <a:pt x="2037949" y="3745812"/>
                  </a:lnTo>
                  <a:lnTo>
                    <a:pt x="2037949" y="3745812"/>
                  </a:lnTo>
                  <a:lnTo>
                    <a:pt x="2037949" y="3745812"/>
                  </a:lnTo>
                  <a:lnTo>
                    <a:pt x="2038342" y="3751320"/>
                  </a:lnTo>
                  <a:lnTo>
                    <a:pt x="2039916" y="3754468"/>
                  </a:lnTo>
                  <a:lnTo>
                    <a:pt x="2038342" y="3757221"/>
                  </a:lnTo>
                  <a:lnTo>
                    <a:pt x="2039916" y="3759975"/>
                  </a:lnTo>
                  <a:lnTo>
                    <a:pt x="2041490" y="3763123"/>
                  </a:lnTo>
                  <a:lnTo>
                    <a:pt x="2043850" y="3765877"/>
                  </a:lnTo>
                  <a:lnTo>
                    <a:pt x="2046211" y="3768631"/>
                  </a:lnTo>
                  <a:lnTo>
                    <a:pt x="2047391" y="3771778"/>
                  </a:lnTo>
                  <a:lnTo>
                    <a:pt x="2048965" y="3774532"/>
                  </a:lnTo>
                  <a:lnTo>
                    <a:pt x="2052112" y="3776893"/>
                  </a:lnTo>
                  <a:lnTo>
                    <a:pt x="2054866" y="3777286"/>
                  </a:lnTo>
                  <a:lnTo>
                    <a:pt x="2057227" y="3777679"/>
                  </a:lnTo>
                  <a:lnTo>
                    <a:pt x="2054473" y="3780040"/>
                  </a:lnTo>
                  <a:lnTo>
                    <a:pt x="2054473" y="3782794"/>
                  </a:lnTo>
                  <a:lnTo>
                    <a:pt x="2057620" y="3783188"/>
                  </a:lnTo>
                  <a:lnTo>
                    <a:pt x="2060374" y="3783975"/>
                  </a:lnTo>
                  <a:lnTo>
                    <a:pt x="2060768" y="3784761"/>
                  </a:lnTo>
                  <a:lnTo>
                    <a:pt x="2063915" y="3784761"/>
                  </a:lnTo>
                  <a:lnTo>
                    <a:pt x="2066669" y="3783975"/>
                  </a:lnTo>
                  <a:lnTo>
                    <a:pt x="2069816" y="3784368"/>
                  </a:lnTo>
                  <a:lnTo>
                    <a:pt x="2071390" y="3781220"/>
                  </a:lnTo>
                  <a:lnTo>
                    <a:pt x="2070997" y="3780434"/>
                  </a:lnTo>
                  <a:lnTo>
                    <a:pt x="2079652" y="3777286"/>
                  </a:lnTo>
                  <a:lnTo>
                    <a:pt x="2083586" y="3782794"/>
                  </a:lnTo>
                  <a:lnTo>
                    <a:pt x="2081619" y="3785155"/>
                  </a:lnTo>
                  <a:lnTo>
                    <a:pt x="2080046" y="3787909"/>
                  </a:lnTo>
                  <a:lnTo>
                    <a:pt x="2081619" y="3790663"/>
                  </a:lnTo>
                  <a:lnTo>
                    <a:pt x="2084373" y="3792237"/>
                  </a:lnTo>
                  <a:lnTo>
                    <a:pt x="2087127" y="3792237"/>
                  </a:lnTo>
                  <a:lnTo>
                    <a:pt x="2089094" y="3791056"/>
                  </a:lnTo>
                  <a:lnTo>
                    <a:pt x="2092242" y="3794990"/>
                  </a:lnTo>
                  <a:lnTo>
                    <a:pt x="2092635" y="3795777"/>
                  </a:lnTo>
                  <a:lnTo>
                    <a:pt x="2093422" y="3796171"/>
                  </a:lnTo>
                  <a:lnTo>
                    <a:pt x="2094996" y="3801679"/>
                  </a:lnTo>
                  <a:lnTo>
                    <a:pt x="2096963" y="3804433"/>
                  </a:lnTo>
                  <a:lnTo>
                    <a:pt x="2097750" y="3806400"/>
                  </a:lnTo>
                  <a:lnTo>
                    <a:pt x="2097356" y="3806793"/>
                  </a:lnTo>
                  <a:lnTo>
                    <a:pt x="2094996" y="3803646"/>
                  </a:lnTo>
                  <a:lnTo>
                    <a:pt x="2092635" y="3800892"/>
                  </a:lnTo>
                  <a:lnTo>
                    <a:pt x="2090668" y="3798138"/>
                  </a:lnTo>
                  <a:lnTo>
                    <a:pt x="2087914" y="3798531"/>
                  </a:lnTo>
                  <a:lnTo>
                    <a:pt x="2085160" y="3799318"/>
                  </a:lnTo>
                  <a:lnTo>
                    <a:pt x="2086734" y="3802466"/>
                  </a:lnTo>
                  <a:lnTo>
                    <a:pt x="2089488" y="3804826"/>
                  </a:lnTo>
                  <a:lnTo>
                    <a:pt x="2091849" y="3807580"/>
                  </a:lnTo>
                  <a:lnTo>
                    <a:pt x="2094996" y="3808760"/>
                  </a:lnTo>
                  <a:lnTo>
                    <a:pt x="2095389" y="3808760"/>
                  </a:lnTo>
                  <a:lnTo>
                    <a:pt x="2094603" y="3809547"/>
                  </a:lnTo>
                  <a:lnTo>
                    <a:pt x="2091849" y="3807974"/>
                  </a:lnTo>
                  <a:lnTo>
                    <a:pt x="2088701" y="3807186"/>
                  </a:lnTo>
                  <a:lnTo>
                    <a:pt x="2087914" y="3810334"/>
                  </a:lnTo>
                  <a:lnTo>
                    <a:pt x="2090275" y="3813088"/>
                  </a:lnTo>
                  <a:lnTo>
                    <a:pt x="2089881" y="3815842"/>
                  </a:lnTo>
                  <a:lnTo>
                    <a:pt x="2091849" y="3818989"/>
                  </a:lnTo>
                  <a:lnTo>
                    <a:pt x="2094603" y="3820956"/>
                  </a:lnTo>
                  <a:lnTo>
                    <a:pt x="2095389" y="3821743"/>
                  </a:lnTo>
                  <a:lnTo>
                    <a:pt x="2095783" y="3824891"/>
                  </a:lnTo>
                  <a:lnTo>
                    <a:pt x="2093029" y="3824891"/>
                  </a:lnTo>
                  <a:lnTo>
                    <a:pt x="2092635" y="3828038"/>
                  </a:lnTo>
                  <a:lnTo>
                    <a:pt x="2094209" y="3830792"/>
                  </a:lnTo>
                  <a:lnTo>
                    <a:pt x="2091849" y="3833546"/>
                  </a:lnTo>
                  <a:lnTo>
                    <a:pt x="2091455" y="3836693"/>
                  </a:lnTo>
                  <a:lnTo>
                    <a:pt x="2091849" y="3839448"/>
                  </a:lnTo>
                  <a:lnTo>
                    <a:pt x="2094603" y="3842201"/>
                  </a:lnTo>
                  <a:lnTo>
                    <a:pt x="2097356" y="3843775"/>
                  </a:lnTo>
                  <a:lnTo>
                    <a:pt x="2097750" y="3843775"/>
                  </a:lnTo>
                  <a:lnTo>
                    <a:pt x="2096570" y="3848496"/>
                  </a:lnTo>
                  <a:lnTo>
                    <a:pt x="2099717" y="3851250"/>
                  </a:lnTo>
                  <a:lnTo>
                    <a:pt x="2098537" y="3854004"/>
                  </a:lnTo>
                  <a:lnTo>
                    <a:pt x="2097750" y="3857152"/>
                  </a:lnTo>
                  <a:lnTo>
                    <a:pt x="2099324" y="3860299"/>
                  </a:lnTo>
                  <a:lnTo>
                    <a:pt x="2096570" y="3859906"/>
                  </a:lnTo>
                  <a:lnTo>
                    <a:pt x="2096176" y="3862660"/>
                  </a:lnTo>
                  <a:lnTo>
                    <a:pt x="2098930" y="3864233"/>
                  </a:lnTo>
                  <a:lnTo>
                    <a:pt x="2099717" y="3865020"/>
                  </a:lnTo>
                  <a:lnTo>
                    <a:pt x="2101291" y="3873282"/>
                  </a:lnTo>
                  <a:lnTo>
                    <a:pt x="2101291" y="3874069"/>
                  </a:lnTo>
                  <a:lnTo>
                    <a:pt x="2101684" y="3874069"/>
                  </a:lnTo>
                  <a:lnTo>
                    <a:pt x="2102078" y="3877217"/>
                  </a:lnTo>
                  <a:lnTo>
                    <a:pt x="2101291" y="3877610"/>
                  </a:lnTo>
                  <a:lnTo>
                    <a:pt x="2098143" y="3878003"/>
                  </a:lnTo>
                  <a:lnTo>
                    <a:pt x="2099324" y="3880757"/>
                  </a:lnTo>
                  <a:lnTo>
                    <a:pt x="2101684" y="3883905"/>
                  </a:lnTo>
                  <a:lnTo>
                    <a:pt x="2102864" y="3883905"/>
                  </a:lnTo>
                  <a:lnTo>
                    <a:pt x="2102864" y="3884298"/>
                  </a:lnTo>
                  <a:lnTo>
                    <a:pt x="2101291" y="3884692"/>
                  </a:lnTo>
                  <a:lnTo>
                    <a:pt x="2103258" y="3886266"/>
                  </a:lnTo>
                  <a:lnTo>
                    <a:pt x="2104045" y="3890593"/>
                  </a:lnTo>
                  <a:lnTo>
                    <a:pt x="2106405" y="3893740"/>
                  </a:lnTo>
                  <a:lnTo>
                    <a:pt x="2108373" y="3896494"/>
                  </a:lnTo>
                  <a:lnTo>
                    <a:pt x="2106012" y="3899642"/>
                  </a:lnTo>
                  <a:lnTo>
                    <a:pt x="2108766" y="3900429"/>
                  </a:lnTo>
                  <a:lnTo>
                    <a:pt x="2111913" y="3898855"/>
                  </a:lnTo>
                  <a:lnTo>
                    <a:pt x="2115061" y="3900429"/>
                  </a:lnTo>
                  <a:lnTo>
                    <a:pt x="2117815" y="3902396"/>
                  </a:lnTo>
                  <a:lnTo>
                    <a:pt x="2120569" y="3903970"/>
                  </a:lnTo>
                  <a:lnTo>
                    <a:pt x="2123716" y="3903576"/>
                  </a:lnTo>
                  <a:lnTo>
                    <a:pt x="2125290" y="3904363"/>
                  </a:lnTo>
                  <a:lnTo>
                    <a:pt x="2124896" y="3905937"/>
                  </a:lnTo>
                  <a:lnTo>
                    <a:pt x="2122142" y="3905543"/>
                  </a:lnTo>
                  <a:lnTo>
                    <a:pt x="2119388" y="3903970"/>
                  </a:lnTo>
                  <a:lnTo>
                    <a:pt x="2116634" y="3902789"/>
                  </a:lnTo>
                  <a:lnTo>
                    <a:pt x="2113487" y="3900035"/>
                  </a:lnTo>
                  <a:lnTo>
                    <a:pt x="2111520" y="3903183"/>
                  </a:lnTo>
                  <a:lnTo>
                    <a:pt x="2108766" y="3903576"/>
                  </a:lnTo>
                  <a:lnTo>
                    <a:pt x="2107979" y="3906330"/>
                  </a:lnTo>
                  <a:lnTo>
                    <a:pt x="2108373" y="3909477"/>
                  </a:lnTo>
                  <a:lnTo>
                    <a:pt x="2108766" y="3912625"/>
                  </a:lnTo>
                  <a:lnTo>
                    <a:pt x="2109159" y="3915379"/>
                  </a:lnTo>
                  <a:lnTo>
                    <a:pt x="2111520" y="3912625"/>
                  </a:lnTo>
                  <a:lnTo>
                    <a:pt x="2114667" y="3911051"/>
                  </a:lnTo>
                  <a:lnTo>
                    <a:pt x="2115454" y="3911444"/>
                  </a:lnTo>
                  <a:lnTo>
                    <a:pt x="2105619" y="3917740"/>
                  </a:lnTo>
                  <a:lnTo>
                    <a:pt x="2104832" y="3916952"/>
                  </a:lnTo>
                  <a:lnTo>
                    <a:pt x="2101684" y="3919707"/>
                  </a:lnTo>
                  <a:lnTo>
                    <a:pt x="2101684" y="3920100"/>
                  </a:lnTo>
                  <a:lnTo>
                    <a:pt x="2098143" y="3922461"/>
                  </a:lnTo>
                  <a:lnTo>
                    <a:pt x="2098930" y="3920887"/>
                  </a:lnTo>
                  <a:lnTo>
                    <a:pt x="2095783" y="3919707"/>
                  </a:lnTo>
                  <a:lnTo>
                    <a:pt x="2094996" y="3916559"/>
                  </a:lnTo>
                  <a:lnTo>
                    <a:pt x="2092242" y="3916952"/>
                  </a:lnTo>
                  <a:lnTo>
                    <a:pt x="2090668" y="3916559"/>
                  </a:lnTo>
                  <a:lnTo>
                    <a:pt x="2093029" y="3914592"/>
                  </a:lnTo>
                  <a:lnTo>
                    <a:pt x="2089881" y="3913412"/>
                  </a:lnTo>
                  <a:lnTo>
                    <a:pt x="2090668" y="3916559"/>
                  </a:lnTo>
                  <a:lnTo>
                    <a:pt x="2089094" y="3916166"/>
                  </a:lnTo>
                  <a:lnTo>
                    <a:pt x="2087521" y="3918920"/>
                  </a:lnTo>
                  <a:lnTo>
                    <a:pt x="2089881" y="3921674"/>
                  </a:lnTo>
                  <a:lnTo>
                    <a:pt x="2087127" y="3920887"/>
                  </a:lnTo>
                  <a:lnTo>
                    <a:pt x="2085160" y="3917740"/>
                  </a:lnTo>
                  <a:lnTo>
                    <a:pt x="2082406" y="3916952"/>
                  </a:lnTo>
                  <a:lnTo>
                    <a:pt x="2079652" y="3916166"/>
                  </a:lnTo>
                  <a:lnTo>
                    <a:pt x="2076505" y="3918133"/>
                  </a:lnTo>
                  <a:lnTo>
                    <a:pt x="2073751" y="3918920"/>
                  </a:lnTo>
                  <a:lnTo>
                    <a:pt x="2070997" y="3918133"/>
                  </a:lnTo>
                  <a:lnTo>
                    <a:pt x="2072571" y="3920887"/>
                  </a:lnTo>
                  <a:lnTo>
                    <a:pt x="2075325" y="3922067"/>
                  </a:lnTo>
                  <a:lnTo>
                    <a:pt x="2078079" y="3922461"/>
                  </a:lnTo>
                  <a:lnTo>
                    <a:pt x="2075325" y="3923247"/>
                  </a:lnTo>
                  <a:lnTo>
                    <a:pt x="2075325" y="3926001"/>
                  </a:lnTo>
                  <a:lnTo>
                    <a:pt x="2078079" y="3926001"/>
                  </a:lnTo>
                  <a:lnTo>
                    <a:pt x="2080833" y="3923641"/>
                  </a:lnTo>
                  <a:lnTo>
                    <a:pt x="2080833" y="3920493"/>
                  </a:lnTo>
                  <a:lnTo>
                    <a:pt x="2083586" y="3923641"/>
                  </a:lnTo>
                  <a:lnTo>
                    <a:pt x="2081619" y="3926395"/>
                  </a:lnTo>
                  <a:lnTo>
                    <a:pt x="2083980" y="3929542"/>
                  </a:lnTo>
                  <a:lnTo>
                    <a:pt x="2081226" y="3927969"/>
                  </a:lnTo>
                  <a:lnTo>
                    <a:pt x="2079652" y="3930722"/>
                  </a:lnTo>
                  <a:lnTo>
                    <a:pt x="2076898" y="3929542"/>
                  </a:lnTo>
                  <a:lnTo>
                    <a:pt x="2075718" y="3932690"/>
                  </a:lnTo>
                  <a:lnTo>
                    <a:pt x="2078865" y="3934263"/>
                  </a:lnTo>
                  <a:lnTo>
                    <a:pt x="2075718" y="3933870"/>
                  </a:lnTo>
                  <a:lnTo>
                    <a:pt x="2072964" y="3935444"/>
                  </a:lnTo>
                  <a:lnTo>
                    <a:pt x="2071390" y="3938198"/>
                  </a:lnTo>
                  <a:lnTo>
                    <a:pt x="2068636" y="3940165"/>
                  </a:lnTo>
                  <a:lnTo>
                    <a:pt x="2066669" y="3942919"/>
                  </a:lnTo>
                  <a:lnTo>
                    <a:pt x="2065882" y="3943706"/>
                  </a:lnTo>
                  <a:lnTo>
                    <a:pt x="2066276" y="3946459"/>
                  </a:lnTo>
                  <a:lnTo>
                    <a:pt x="2067849" y="3948820"/>
                  </a:lnTo>
                  <a:lnTo>
                    <a:pt x="2068243" y="3949607"/>
                  </a:lnTo>
                  <a:lnTo>
                    <a:pt x="2070603" y="3951574"/>
                  </a:lnTo>
                  <a:lnTo>
                    <a:pt x="2070997" y="3951968"/>
                  </a:lnTo>
                  <a:lnTo>
                    <a:pt x="2074144" y="3954328"/>
                  </a:lnTo>
                  <a:lnTo>
                    <a:pt x="2075718" y="3954328"/>
                  </a:lnTo>
                  <a:lnTo>
                    <a:pt x="2109159" y="3969278"/>
                  </a:lnTo>
                  <a:lnTo>
                    <a:pt x="2109159" y="3971245"/>
                  </a:lnTo>
                  <a:lnTo>
                    <a:pt x="2111913" y="3971245"/>
                  </a:lnTo>
                  <a:lnTo>
                    <a:pt x="2113487" y="3973999"/>
                  </a:lnTo>
                  <a:lnTo>
                    <a:pt x="2116241" y="3975966"/>
                  </a:lnTo>
                  <a:lnTo>
                    <a:pt x="2118995" y="3975573"/>
                  </a:lnTo>
                  <a:lnTo>
                    <a:pt x="2120962" y="3974786"/>
                  </a:lnTo>
                  <a:lnTo>
                    <a:pt x="2122536" y="3975573"/>
                  </a:lnTo>
                  <a:lnTo>
                    <a:pt x="2123323" y="3977147"/>
                  </a:lnTo>
                  <a:lnTo>
                    <a:pt x="2120175" y="3976754"/>
                  </a:lnTo>
                  <a:lnTo>
                    <a:pt x="2118602" y="3979507"/>
                  </a:lnTo>
                  <a:lnTo>
                    <a:pt x="2121356" y="3981081"/>
                  </a:lnTo>
                  <a:lnTo>
                    <a:pt x="2118602" y="3980294"/>
                  </a:lnTo>
                  <a:lnTo>
                    <a:pt x="2115454" y="3978721"/>
                  </a:lnTo>
                  <a:lnTo>
                    <a:pt x="2114274" y="3975966"/>
                  </a:lnTo>
                  <a:lnTo>
                    <a:pt x="2111520" y="3974786"/>
                  </a:lnTo>
                  <a:lnTo>
                    <a:pt x="2108373" y="3975180"/>
                  </a:lnTo>
                  <a:lnTo>
                    <a:pt x="2109553" y="3977934"/>
                  </a:lnTo>
                  <a:lnTo>
                    <a:pt x="2106799" y="3979507"/>
                  </a:lnTo>
                  <a:lnTo>
                    <a:pt x="2109553" y="3981474"/>
                  </a:lnTo>
                  <a:lnTo>
                    <a:pt x="2112700" y="3981868"/>
                  </a:lnTo>
                  <a:lnTo>
                    <a:pt x="2115454" y="3981474"/>
                  </a:lnTo>
                  <a:lnTo>
                    <a:pt x="2118602" y="3982655"/>
                  </a:lnTo>
                  <a:lnTo>
                    <a:pt x="2121356" y="3982655"/>
                  </a:lnTo>
                  <a:lnTo>
                    <a:pt x="2124110" y="3982261"/>
                  </a:lnTo>
                  <a:lnTo>
                    <a:pt x="2127257" y="3983835"/>
                  </a:lnTo>
                  <a:lnTo>
                    <a:pt x="2130011" y="3984228"/>
                  </a:lnTo>
                  <a:lnTo>
                    <a:pt x="2132765" y="3982655"/>
                  </a:lnTo>
                  <a:lnTo>
                    <a:pt x="2131585" y="3979507"/>
                  </a:lnTo>
                  <a:lnTo>
                    <a:pt x="2131585" y="3979507"/>
                  </a:lnTo>
                  <a:lnTo>
                    <a:pt x="2133158" y="3980294"/>
                  </a:lnTo>
                  <a:lnTo>
                    <a:pt x="2135519" y="3982655"/>
                  </a:lnTo>
                  <a:lnTo>
                    <a:pt x="2138666" y="3983048"/>
                  </a:lnTo>
                  <a:lnTo>
                    <a:pt x="2139060" y="3983048"/>
                  </a:lnTo>
                  <a:lnTo>
                    <a:pt x="2141420" y="3986195"/>
                  </a:lnTo>
                  <a:lnTo>
                    <a:pt x="2142207" y="3986589"/>
                  </a:lnTo>
                  <a:lnTo>
                    <a:pt x="2143781" y="3988556"/>
                  </a:lnTo>
                  <a:lnTo>
                    <a:pt x="2141814" y="3987769"/>
                  </a:lnTo>
                  <a:lnTo>
                    <a:pt x="2138666" y="3985802"/>
                  </a:lnTo>
                  <a:lnTo>
                    <a:pt x="2139453" y="3988556"/>
                  </a:lnTo>
                  <a:lnTo>
                    <a:pt x="2142207" y="3990917"/>
                  </a:lnTo>
                  <a:lnTo>
                    <a:pt x="2144961" y="3992884"/>
                  </a:lnTo>
                  <a:lnTo>
                    <a:pt x="2148109" y="3994458"/>
                  </a:lnTo>
                  <a:lnTo>
                    <a:pt x="2148109" y="3994064"/>
                  </a:lnTo>
                  <a:lnTo>
                    <a:pt x="2150076" y="3996425"/>
                  </a:lnTo>
                  <a:lnTo>
                    <a:pt x="2146928" y="3994851"/>
                  </a:lnTo>
                  <a:lnTo>
                    <a:pt x="2144174" y="3996425"/>
                  </a:lnTo>
                  <a:lnTo>
                    <a:pt x="2142600" y="3993671"/>
                  </a:lnTo>
                  <a:lnTo>
                    <a:pt x="2139847" y="3992884"/>
                  </a:lnTo>
                  <a:lnTo>
                    <a:pt x="2136699" y="3992884"/>
                  </a:lnTo>
                  <a:lnTo>
                    <a:pt x="2133945" y="3990523"/>
                  </a:lnTo>
                  <a:lnTo>
                    <a:pt x="2131191" y="3990523"/>
                  </a:lnTo>
                  <a:lnTo>
                    <a:pt x="2128044" y="3988950"/>
                  </a:lnTo>
                  <a:lnTo>
                    <a:pt x="2125290" y="3988556"/>
                  </a:lnTo>
                  <a:lnTo>
                    <a:pt x="2122142" y="3988950"/>
                  </a:lnTo>
                  <a:lnTo>
                    <a:pt x="2124503" y="3991703"/>
                  </a:lnTo>
                  <a:lnTo>
                    <a:pt x="2126470" y="3994458"/>
                  </a:lnTo>
                  <a:lnTo>
                    <a:pt x="2123716" y="3991703"/>
                  </a:lnTo>
                  <a:lnTo>
                    <a:pt x="2120569" y="3989343"/>
                  </a:lnTo>
                  <a:lnTo>
                    <a:pt x="2117815" y="3988163"/>
                  </a:lnTo>
                  <a:lnTo>
                    <a:pt x="2114667" y="3988556"/>
                  </a:lnTo>
                  <a:lnTo>
                    <a:pt x="2114274" y="3991310"/>
                  </a:lnTo>
                  <a:lnTo>
                    <a:pt x="2117028" y="3990917"/>
                  </a:lnTo>
                  <a:lnTo>
                    <a:pt x="2120175" y="3993671"/>
                  </a:lnTo>
                  <a:lnTo>
                    <a:pt x="2125683" y="3997212"/>
                  </a:lnTo>
                  <a:lnTo>
                    <a:pt x="2128831" y="3999572"/>
                  </a:lnTo>
                  <a:lnTo>
                    <a:pt x="2131585" y="3999179"/>
                  </a:lnTo>
                  <a:lnTo>
                    <a:pt x="2128831" y="4000752"/>
                  </a:lnTo>
                  <a:lnTo>
                    <a:pt x="2131585" y="4001539"/>
                  </a:lnTo>
                  <a:lnTo>
                    <a:pt x="2134732" y="4002720"/>
                  </a:lnTo>
                  <a:lnTo>
                    <a:pt x="2137486" y="4002720"/>
                  </a:lnTo>
                  <a:lnTo>
                    <a:pt x="2136306" y="4005867"/>
                  </a:lnTo>
                  <a:lnTo>
                    <a:pt x="2139060" y="4008621"/>
                  </a:lnTo>
                  <a:lnTo>
                    <a:pt x="2136306" y="4007441"/>
                  </a:lnTo>
                  <a:lnTo>
                    <a:pt x="2133552" y="4005867"/>
                  </a:lnTo>
                  <a:lnTo>
                    <a:pt x="2130798" y="4005867"/>
                  </a:lnTo>
                  <a:lnTo>
                    <a:pt x="2128831" y="4008621"/>
                  </a:lnTo>
                  <a:lnTo>
                    <a:pt x="2130011" y="4011375"/>
                  </a:lnTo>
                  <a:lnTo>
                    <a:pt x="2133158" y="4013342"/>
                  </a:lnTo>
                  <a:lnTo>
                    <a:pt x="2135912" y="4012555"/>
                  </a:lnTo>
                  <a:lnTo>
                    <a:pt x="2138666" y="4012949"/>
                  </a:lnTo>
                  <a:lnTo>
                    <a:pt x="2139060" y="4013342"/>
                  </a:lnTo>
                  <a:lnTo>
                    <a:pt x="2135912" y="4012949"/>
                  </a:lnTo>
                  <a:lnTo>
                    <a:pt x="2133158" y="4013735"/>
                  </a:lnTo>
                  <a:lnTo>
                    <a:pt x="2130404" y="4014129"/>
                  </a:lnTo>
                  <a:lnTo>
                    <a:pt x="2130798" y="4017276"/>
                  </a:lnTo>
                  <a:lnTo>
                    <a:pt x="2133552" y="4019637"/>
                  </a:lnTo>
                  <a:lnTo>
                    <a:pt x="2133158" y="4022391"/>
                  </a:lnTo>
                  <a:lnTo>
                    <a:pt x="2135519" y="4025145"/>
                  </a:lnTo>
                  <a:lnTo>
                    <a:pt x="2137880" y="4027899"/>
                  </a:lnTo>
                  <a:lnTo>
                    <a:pt x="2138273" y="4030653"/>
                  </a:lnTo>
                  <a:lnTo>
                    <a:pt x="2139060" y="4033800"/>
                  </a:lnTo>
                  <a:lnTo>
                    <a:pt x="2141814" y="4035768"/>
                  </a:lnTo>
                  <a:lnTo>
                    <a:pt x="2144568" y="4038128"/>
                  </a:lnTo>
                  <a:lnTo>
                    <a:pt x="2145748" y="4035374"/>
                  </a:lnTo>
                  <a:lnTo>
                    <a:pt x="2145354" y="4032227"/>
                  </a:lnTo>
                  <a:lnTo>
                    <a:pt x="2143781" y="4029472"/>
                  </a:lnTo>
                  <a:lnTo>
                    <a:pt x="2145748" y="4026325"/>
                  </a:lnTo>
                  <a:lnTo>
                    <a:pt x="2144174" y="4023571"/>
                  </a:lnTo>
                  <a:lnTo>
                    <a:pt x="2145748" y="4022784"/>
                  </a:lnTo>
                  <a:lnTo>
                    <a:pt x="2146535" y="4023965"/>
                  </a:lnTo>
                  <a:lnTo>
                    <a:pt x="2146141" y="4025145"/>
                  </a:lnTo>
                  <a:lnTo>
                    <a:pt x="2147715" y="4028292"/>
                  </a:lnTo>
                  <a:lnTo>
                    <a:pt x="2150076" y="4031046"/>
                  </a:lnTo>
                  <a:lnTo>
                    <a:pt x="2152436" y="4032620"/>
                  </a:lnTo>
                  <a:lnTo>
                    <a:pt x="2149682" y="4031833"/>
                  </a:lnTo>
                  <a:lnTo>
                    <a:pt x="2147715" y="4034587"/>
                  </a:lnTo>
                  <a:lnTo>
                    <a:pt x="2149289" y="4037341"/>
                  </a:lnTo>
                  <a:lnTo>
                    <a:pt x="2152043" y="4038521"/>
                  </a:lnTo>
                  <a:lnTo>
                    <a:pt x="2154403" y="4038521"/>
                  </a:lnTo>
                  <a:lnTo>
                    <a:pt x="2155190" y="4040488"/>
                  </a:lnTo>
                  <a:lnTo>
                    <a:pt x="2154797" y="4039702"/>
                  </a:lnTo>
                  <a:lnTo>
                    <a:pt x="2151649" y="4039308"/>
                  </a:lnTo>
                  <a:lnTo>
                    <a:pt x="2148895" y="4040095"/>
                  </a:lnTo>
                  <a:lnTo>
                    <a:pt x="2146141" y="4041669"/>
                  </a:lnTo>
                  <a:lnTo>
                    <a:pt x="2147715" y="4044423"/>
                  </a:lnTo>
                  <a:lnTo>
                    <a:pt x="2150469" y="4045209"/>
                  </a:lnTo>
                  <a:lnTo>
                    <a:pt x="2153617" y="4044816"/>
                  </a:lnTo>
                  <a:lnTo>
                    <a:pt x="2150469" y="4046390"/>
                  </a:lnTo>
                  <a:lnTo>
                    <a:pt x="2149289" y="4049144"/>
                  </a:lnTo>
                  <a:lnTo>
                    <a:pt x="2152436" y="4050717"/>
                  </a:lnTo>
                  <a:lnTo>
                    <a:pt x="2155190" y="4051111"/>
                  </a:lnTo>
                  <a:lnTo>
                    <a:pt x="2157944" y="4052685"/>
                  </a:lnTo>
                  <a:lnTo>
                    <a:pt x="2159124" y="4051111"/>
                  </a:lnTo>
                  <a:lnTo>
                    <a:pt x="2159911" y="4053865"/>
                  </a:lnTo>
                  <a:lnTo>
                    <a:pt x="2155977" y="4053865"/>
                  </a:lnTo>
                  <a:lnTo>
                    <a:pt x="2152830" y="4051898"/>
                  </a:lnTo>
                  <a:lnTo>
                    <a:pt x="2150076" y="4051505"/>
                  </a:lnTo>
                  <a:lnTo>
                    <a:pt x="2150863" y="4053865"/>
                  </a:lnTo>
                  <a:lnTo>
                    <a:pt x="2153617" y="4056225"/>
                  </a:lnTo>
                  <a:lnTo>
                    <a:pt x="2156764" y="4057799"/>
                  </a:lnTo>
                  <a:lnTo>
                    <a:pt x="2159518" y="4060553"/>
                  </a:lnTo>
                  <a:lnTo>
                    <a:pt x="2162272" y="4060553"/>
                  </a:lnTo>
                  <a:lnTo>
                    <a:pt x="2165419" y="4062127"/>
                  </a:lnTo>
                  <a:lnTo>
                    <a:pt x="2167780" y="4062914"/>
                  </a:lnTo>
                  <a:lnTo>
                    <a:pt x="2167780" y="4062914"/>
                  </a:lnTo>
                  <a:lnTo>
                    <a:pt x="2165026" y="4062914"/>
                  </a:lnTo>
                  <a:lnTo>
                    <a:pt x="2161878" y="4061340"/>
                  </a:lnTo>
                  <a:lnTo>
                    <a:pt x="2159124" y="4061734"/>
                  </a:lnTo>
                  <a:lnTo>
                    <a:pt x="2156370" y="4059373"/>
                  </a:lnTo>
                  <a:lnTo>
                    <a:pt x="2153223" y="4057012"/>
                  </a:lnTo>
                  <a:lnTo>
                    <a:pt x="2150469" y="4056225"/>
                  </a:lnTo>
                  <a:lnTo>
                    <a:pt x="2147322" y="4056225"/>
                  </a:lnTo>
                  <a:lnTo>
                    <a:pt x="2144961" y="4058979"/>
                  </a:lnTo>
                  <a:lnTo>
                    <a:pt x="2147715" y="4059373"/>
                  </a:lnTo>
                  <a:lnTo>
                    <a:pt x="2150469" y="4061340"/>
                  </a:lnTo>
                  <a:lnTo>
                    <a:pt x="2153223" y="4064094"/>
                  </a:lnTo>
                  <a:lnTo>
                    <a:pt x="2155977" y="4064881"/>
                  </a:lnTo>
                  <a:lnTo>
                    <a:pt x="2155977" y="4062127"/>
                  </a:lnTo>
                  <a:lnTo>
                    <a:pt x="2157551" y="4064881"/>
                  </a:lnTo>
                  <a:lnTo>
                    <a:pt x="2160305" y="4066061"/>
                  </a:lnTo>
                  <a:lnTo>
                    <a:pt x="2163059" y="4065668"/>
                  </a:lnTo>
                  <a:lnTo>
                    <a:pt x="2166206" y="4067635"/>
                  </a:lnTo>
                  <a:lnTo>
                    <a:pt x="2168960" y="4069995"/>
                  </a:lnTo>
                  <a:lnTo>
                    <a:pt x="2166206" y="4069995"/>
                  </a:lnTo>
                  <a:lnTo>
                    <a:pt x="2163059" y="4068815"/>
                  </a:lnTo>
                  <a:lnTo>
                    <a:pt x="2165419" y="4071569"/>
                  </a:lnTo>
                  <a:lnTo>
                    <a:pt x="2162272" y="4069602"/>
                  </a:lnTo>
                  <a:lnTo>
                    <a:pt x="2159518" y="4068422"/>
                  </a:lnTo>
                  <a:lnTo>
                    <a:pt x="2162272" y="4070782"/>
                  </a:lnTo>
                  <a:lnTo>
                    <a:pt x="2163846" y="4073536"/>
                  </a:lnTo>
                  <a:lnTo>
                    <a:pt x="2166600" y="4076683"/>
                  </a:lnTo>
                  <a:lnTo>
                    <a:pt x="2169747" y="4079044"/>
                  </a:lnTo>
                  <a:lnTo>
                    <a:pt x="2172501" y="4080224"/>
                  </a:lnTo>
                  <a:lnTo>
                    <a:pt x="2175255" y="4078651"/>
                  </a:lnTo>
                  <a:lnTo>
                    <a:pt x="2174468" y="4075503"/>
                  </a:lnTo>
                  <a:lnTo>
                    <a:pt x="2174075" y="4072749"/>
                  </a:lnTo>
                  <a:lnTo>
                    <a:pt x="2174468" y="4069995"/>
                  </a:lnTo>
                  <a:lnTo>
                    <a:pt x="2176435" y="4067242"/>
                  </a:lnTo>
                  <a:lnTo>
                    <a:pt x="2175255" y="4069995"/>
                  </a:lnTo>
                  <a:lnTo>
                    <a:pt x="2178009" y="4073143"/>
                  </a:lnTo>
                  <a:lnTo>
                    <a:pt x="2181156" y="4073930"/>
                  </a:lnTo>
                  <a:lnTo>
                    <a:pt x="2178402" y="4074323"/>
                  </a:lnTo>
                  <a:lnTo>
                    <a:pt x="2177615" y="4077471"/>
                  </a:lnTo>
                  <a:lnTo>
                    <a:pt x="2179583" y="4080224"/>
                  </a:lnTo>
                  <a:lnTo>
                    <a:pt x="2176829" y="4079044"/>
                  </a:lnTo>
                  <a:lnTo>
                    <a:pt x="2178402" y="4081798"/>
                  </a:lnTo>
                  <a:lnTo>
                    <a:pt x="2175648" y="4081405"/>
                  </a:lnTo>
                  <a:lnTo>
                    <a:pt x="2172894" y="4081798"/>
                  </a:lnTo>
                  <a:lnTo>
                    <a:pt x="2170140" y="4081405"/>
                  </a:lnTo>
                  <a:lnTo>
                    <a:pt x="2169747" y="4084159"/>
                  </a:lnTo>
                  <a:lnTo>
                    <a:pt x="2172501" y="4085339"/>
                  </a:lnTo>
                  <a:lnTo>
                    <a:pt x="2173681" y="4088486"/>
                  </a:lnTo>
                  <a:lnTo>
                    <a:pt x="2175255" y="4091241"/>
                  </a:lnTo>
                  <a:lnTo>
                    <a:pt x="2178402" y="4092421"/>
                  </a:lnTo>
                  <a:lnTo>
                    <a:pt x="2177222" y="4089667"/>
                  </a:lnTo>
                  <a:lnTo>
                    <a:pt x="2180370" y="4092027"/>
                  </a:lnTo>
                  <a:lnTo>
                    <a:pt x="2183517" y="4093208"/>
                  </a:lnTo>
                  <a:lnTo>
                    <a:pt x="2184304" y="4090453"/>
                  </a:lnTo>
                  <a:lnTo>
                    <a:pt x="2187451" y="4092027"/>
                  </a:lnTo>
                  <a:lnTo>
                    <a:pt x="2189025" y="4094781"/>
                  </a:lnTo>
                  <a:lnTo>
                    <a:pt x="2185877" y="4092421"/>
                  </a:lnTo>
                  <a:lnTo>
                    <a:pt x="2188631" y="4095175"/>
                  </a:lnTo>
                  <a:lnTo>
                    <a:pt x="2190205" y="4098322"/>
                  </a:lnTo>
                  <a:lnTo>
                    <a:pt x="2192959" y="4100683"/>
                  </a:lnTo>
                  <a:lnTo>
                    <a:pt x="2194533" y="4103437"/>
                  </a:lnTo>
                  <a:lnTo>
                    <a:pt x="2196893" y="4106190"/>
                  </a:lnTo>
                  <a:lnTo>
                    <a:pt x="2193746" y="4103437"/>
                  </a:lnTo>
                  <a:lnTo>
                    <a:pt x="2190992" y="4100683"/>
                  </a:lnTo>
                  <a:lnTo>
                    <a:pt x="2188238" y="4098716"/>
                  </a:lnTo>
                  <a:lnTo>
                    <a:pt x="2185091" y="4097535"/>
                  </a:lnTo>
                  <a:lnTo>
                    <a:pt x="2186271" y="4100683"/>
                  </a:lnTo>
                  <a:lnTo>
                    <a:pt x="2189025" y="4103437"/>
                  </a:lnTo>
                  <a:lnTo>
                    <a:pt x="2190205" y="4106190"/>
                  </a:lnTo>
                  <a:lnTo>
                    <a:pt x="2193353" y="4106584"/>
                  </a:lnTo>
                  <a:lnTo>
                    <a:pt x="2194926" y="4109731"/>
                  </a:lnTo>
                  <a:lnTo>
                    <a:pt x="2197680" y="4108551"/>
                  </a:lnTo>
                  <a:lnTo>
                    <a:pt x="2200434" y="4108158"/>
                  </a:lnTo>
                  <a:lnTo>
                    <a:pt x="2200434" y="4110912"/>
                  </a:lnTo>
                  <a:lnTo>
                    <a:pt x="2203582" y="4113272"/>
                  </a:lnTo>
                  <a:lnTo>
                    <a:pt x="2205942" y="4116420"/>
                  </a:lnTo>
                  <a:lnTo>
                    <a:pt x="2203188" y="4114453"/>
                  </a:lnTo>
                  <a:lnTo>
                    <a:pt x="2200041" y="4112092"/>
                  </a:lnTo>
                  <a:lnTo>
                    <a:pt x="2201614" y="4114846"/>
                  </a:lnTo>
                  <a:lnTo>
                    <a:pt x="2203975" y="4117600"/>
                  </a:lnTo>
                  <a:lnTo>
                    <a:pt x="2206729" y="4120354"/>
                  </a:lnTo>
                  <a:lnTo>
                    <a:pt x="2209877" y="4121534"/>
                  </a:lnTo>
                  <a:lnTo>
                    <a:pt x="2212631" y="4123501"/>
                  </a:lnTo>
                  <a:lnTo>
                    <a:pt x="2212237" y="4120748"/>
                  </a:lnTo>
                  <a:lnTo>
                    <a:pt x="2210663" y="4117600"/>
                  </a:lnTo>
                  <a:lnTo>
                    <a:pt x="2208696" y="4114846"/>
                  </a:lnTo>
                  <a:lnTo>
                    <a:pt x="2207122" y="4112092"/>
                  </a:lnTo>
                  <a:lnTo>
                    <a:pt x="2205155" y="4109338"/>
                  </a:lnTo>
                  <a:lnTo>
                    <a:pt x="2207909" y="4112092"/>
                  </a:lnTo>
                  <a:lnTo>
                    <a:pt x="2209483" y="4114846"/>
                  </a:lnTo>
                  <a:lnTo>
                    <a:pt x="2211844" y="4117993"/>
                  </a:lnTo>
                  <a:lnTo>
                    <a:pt x="2213811" y="4120748"/>
                  </a:lnTo>
                  <a:lnTo>
                    <a:pt x="2214598" y="4117993"/>
                  </a:lnTo>
                  <a:lnTo>
                    <a:pt x="2216565" y="4115239"/>
                  </a:lnTo>
                  <a:lnTo>
                    <a:pt x="2213417" y="4114453"/>
                  </a:lnTo>
                  <a:lnTo>
                    <a:pt x="2214204" y="4111699"/>
                  </a:lnTo>
                  <a:lnTo>
                    <a:pt x="2211450" y="4109338"/>
                  </a:lnTo>
                  <a:lnTo>
                    <a:pt x="2208696" y="4108945"/>
                  </a:lnTo>
                  <a:lnTo>
                    <a:pt x="2205549" y="4106190"/>
                  </a:lnTo>
                  <a:lnTo>
                    <a:pt x="2208696" y="4106584"/>
                  </a:lnTo>
                  <a:lnTo>
                    <a:pt x="2211450" y="4108945"/>
                  </a:lnTo>
                  <a:lnTo>
                    <a:pt x="2214598" y="4109731"/>
                  </a:lnTo>
                  <a:lnTo>
                    <a:pt x="2217351" y="4110912"/>
                  </a:lnTo>
                  <a:lnTo>
                    <a:pt x="2220106" y="4111305"/>
                  </a:lnTo>
                  <a:lnTo>
                    <a:pt x="2220499" y="4111699"/>
                  </a:lnTo>
                  <a:lnTo>
                    <a:pt x="2228761" y="4119174"/>
                  </a:lnTo>
                  <a:lnTo>
                    <a:pt x="2229154" y="4120748"/>
                  </a:lnTo>
                  <a:lnTo>
                    <a:pt x="2231908" y="4123108"/>
                  </a:lnTo>
                  <a:lnTo>
                    <a:pt x="2234662" y="4124682"/>
                  </a:lnTo>
                  <a:lnTo>
                    <a:pt x="2236236" y="4127436"/>
                  </a:lnTo>
                  <a:lnTo>
                    <a:pt x="2235843" y="4130190"/>
                  </a:lnTo>
                  <a:lnTo>
                    <a:pt x="2238597" y="4132944"/>
                  </a:lnTo>
                  <a:lnTo>
                    <a:pt x="2235843" y="4132550"/>
                  </a:lnTo>
                  <a:lnTo>
                    <a:pt x="2232695" y="4132157"/>
                  </a:lnTo>
                  <a:lnTo>
                    <a:pt x="2229941" y="4133337"/>
                  </a:lnTo>
                  <a:lnTo>
                    <a:pt x="2232302" y="4130190"/>
                  </a:lnTo>
                  <a:lnTo>
                    <a:pt x="2234269" y="4127436"/>
                  </a:lnTo>
                  <a:lnTo>
                    <a:pt x="2233089" y="4124682"/>
                  </a:lnTo>
                  <a:lnTo>
                    <a:pt x="2230335" y="4122321"/>
                  </a:lnTo>
                  <a:lnTo>
                    <a:pt x="2227187" y="4120748"/>
                  </a:lnTo>
                  <a:lnTo>
                    <a:pt x="2225220" y="4117993"/>
                  </a:lnTo>
                  <a:lnTo>
                    <a:pt x="2222466" y="4117207"/>
                  </a:lnTo>
                  <a:lnTo>
                    <a:pt x="2222466" y="4122715"/>
                  </a:lnTo>
                  <a:lnTo>
                    <a:pt x="2225220" y="4125468"/>
                  </a:lnTo>
                  <a:lnTo>
                    <a:pt x="2223646" y="4125468"/>
                  </a:lnTo>
                  <a:lnTo>
                    <a:pt x="2220892" y="4126649"/>
                  </a:lnTo>
                  <a:lnTo>
                    <a:pt x="2220892" y="4123895"/>
                  </a:lnTo>
                  <a:lnTo>
                    <a:pt x="2218138" y="4122321"/>
                  </a:lnTo>
                  <a:lnTo>
                    <a:pt x="2216565" y="4125075"/>
                  </a:lnTo>
                  <a:lnTo>
                    <a:pt x="2213811" y="4126256"/>
                  </a:lnTo>
                  <a:lnTo>
                    <a:pt x="2210663" y="4124288"/>
                  </a:lnTo>
                  <a:lnTo>
                    <a:pt x="2207909" y="4124682"/>
                  </a:lnTo>
                  <a:lnTo>
                    <a:pt x="2205155" y="4122715"/>
                  </a:lnTo>
                  <a:lnTo>
                    <a:pt x="2202401" y="4119960"/>
                  </a:lnTo>
                  <a:lnTo>
                    <a:pt x="2203582" y="4122715"/>
                  </a:lnTo>
                  <a:lnTo>
                    <a:pt x="2206336" y="4125468"/>
                  </a:lnTo>
                  <a:lnTo>
                    <a:pt x="2208303" y="4128223"/>
                  </a:lnTo>
                  <a:lnTo>
                    <a:pt x="2210663" y="4130976"/>
                  </a:lnTo>
                  <a:lnTo>
                    <a:pt x="2213024" y="4133730"/>
                  </a:lnTo>
                  <a:lnTo>
                    <a:pt x="2214598" y="4136878"/>
                  </a:lnTo>
                  <a:lnTo>
                    <a:pt x="2212631" y="4139632"/>
                  </a:lnTo>
                  <a:lnTo>
                    <a:pt x="2215384" y="4140025"/>
                  </a:lnTo>
                  <a:lnTo>
                    <a:pt x="2214991" y="4142779"/>
                  </a:lnTo>
                  <a:lnTo>
                    <a:pt x="2217745" y="4140419"/>
                  </a:lnTo>
                  <a:lnTo>
                    <a:pt x="2218138" y="4137271"/>
                  </a:lnTo>
                  <a:lnTo>
                    <a:pt x="2220892" y="4138058"/>
                  </a:lnTo>
                  <a:lnTo>
                    <a:pt x="2223253" y="4140812"/>
                  </a:lnTo>
                  <a:lnTo>
                    <a:pt x="2224433" y="4137665"/>
                  </a:lnTo>
                  <a:lnTo>
                    <a:pt x="2222073" y="4134911"/>
                  </a:lnTo>
                  <a:lnTo>
                    <a:pt x="2224827" y="4134124"/>
                  </a:lnTo>
                  <a:lnTo>
                    <a:pt x="2227974" y="4134911"/>
                  </a:lnTo>
                  <a:lnTo>
                    <a:pt x="2224827" y="4135304"/>
                  </a:lnTo>
                  <a:lnTo>
                    <a:pt x="2227974" y="4136878"/>
                  </a:lnTo>
                  <a:lnTo>
                    <a:pt x="2224827" y="4136878"/>
                  </a:lnTo>
                  <a:lnTo>
                    <a:pt x="2225614" y="4139632"/>
                  </a:lnTo>
                  <a:lnTo>
                    <a:pt x="2222860" y="4142386"/>
                  </a:lnTo>
                  <a:lnTo>
                    <a:pt x="2226007" y="4143960"/>
                  </a:lnTo>
                  <a:lnTo>
                    <a:pt x="2222860" y="4144353"/>
                  </a:lnTo>
                  <a:lnTo>
                    <a:pt x="2220106" y="4143960"/>
                  </a:lnTo>
                  <a:lnTo>
                    <a:pt x="2222860" y="4145927"/>
                  </a:lnTo>
                  <a:lnTo>
                    <a:pt x="2225614" y="4147894"/>
                  </a:lnTo>
                  <a:lnTo>
                    <a:pt x="2228761" y="4147500"/>
                  </a:lnTo>
                  <a:lnTo>
                    <a:pt x="2225614" y="4149467"/>
                  </a:lnTo>
                  <a:lnTo>
                    <a:pt x="2226794" y="4152615"/>
                  </a:lnTo>
                  <a:lnTo>
                    <a:pt x="2229548" y="4153402"/>
                  </a:lnTo>
                  <a:lnTo>
                    <a:pt x="2232302" y="4153795"/>
                  </a:lnTo>
                  <a:lnTo>
                    <a:pt x="2235449" y="4153402"/>
                  </a:lnTo>
                  <a:lnTo>
                    <a:pt x="2236236" y="4150254"/>
                  </a:lnTo>
                  <a:lnTo>
                    <a:pt x="2232695" y="4144746"/>
                  </a:lnTo>
                  <a:lnTo>
                    <a:pt x="2235843" y="4143173"/>
                  </a:lnTo>
                  <a:lnTo>
                    <a:pt x="2237416" y="4140419"/>
                  </a:lnTo>
                  <a:lnTo>
                    <a:pt x="2234269" y="4138845"/>
                  </a:lnTo>
                  <a:lnTo>
                    <a:pt x="2231515" y="4140419"/>
                  </a:lnTo>
                  <a:lnTo>
                    <a:pt x="2231121" y="4137665"/>
                  </a:lnTo>
                  <a:lnTo>
                    <a:pt x="2233875" y="4136091"/>
                  </a:lnTo>
                  <a:lnTo>
                    <a:pt x="2237023" y="4136091"/>
                  </a:lnTo>
                  <a:lnTo>
                    <a:pt x="2239777" y="4135304"/>
                  </a:lnTo>
                  <a:lnTo>
                    <a:pt x="2242531" y="4134911"/>
                  </a:lnTo>
                  <a:lnTo>
                    <a:pt x="2239777" y="4136878"/>
                  </a:lnTo>
                  <a:lnTo>
                    <a:pt x="2242924" y="4138845"/>
                  </a:lnTo>
                  <a:lnTo>
                    <a:pt x="2244105" y="4136091"/>
                  </a:lnTo>
                  <a:lnTo>
                    <a:pt x="2246858" y="4135697"/>
                  </a:lnTo>
                  <a:lnTo>
                    <a:pt x="2250006" y="4135304"/>
                  </a:lnTo>
                  <a:lnTo>
                    <a:pt x="2252760" y="4136091"/>
                  </a:lnTo>
                  <a:lnTo>
                    <a:pt x="2255907" y="4135697"/>
                  </a:lnTo>
                  <a:lnTo>
                    <a:pt x="2259055" y="4136091"/>
                  </a:lnTo>
                  <a:lnTo>
                    <a:pt x="2261809" y="4136485"/>
                  </a:lnTo>
                  <a:lnTo>
                    <a:pt x="2261809" y="4136485"/>
                  </a:lnTo>
                  <a:lnTo>
                    <a:pt x="2267710" y="4138845"/>
                  </a:lnTo>
                  <a:lnTo>
                    <a:pt x="2264956" y="4140419"/>
                  </a:lnTo>
                  <a:lnTo>
                    <a:pt x="2261809" y="4140812"/>
                  </a:lnTo>
                  <a:lnTo>
                    <a:pt x="2259055" y="4140812"/>
                  </a:lnTo>
                  <a:lnTo>
                    <a:pt x="2255907" y="4139632"/>
                  </a:lnTo>
                  <a:lnTo>
                    <a:pt x="2253153" y="4139238"/>
                  </a:lnTo>
                  <a:lnTo>
                    <a:pt x="2250399" y="4139238"/>
                  </a:lnTo>
                  <a:lnTo>
                    <a:pt x="2248826" y="4142386"/>
                  </a:lnTo>
                  <a:lnTo>
                    <a:pt x="2246465" y="4145140"/>
                  </a:lnTo>
                  <a:lnTo>
                    <a:pt x="2243711" y="4144746"/>
                  </a:lnTo>
                  <a:lnTo>
                    <a:pt x="2240957" y="4145140"/>
                  </a:lnTo>
                  <a:lnTo>
                    <a:pt x="2240957" y="4142386"/>
                  </a:lnTo>
                  <a:lnTo>
                    <a:pt x="2237810" y="4140812"/>
                  </a:lnTo>
                  <a:lnTo>
                    <a:pt x="2235449" y="4143566"/>
                  </a:lnTo>
                  <a:lnTo>
                    <a:pt x="2235056" y="4146714"/>
                  </a:lnTo>
                  <a:lnTo>
                    <a:pt x="2236629" y="4149467"/>
                  </a:lnTo>
                  <a:lnTo>
                    <a:pt x="2238990" y="4152615"/>
                  </a:lnTo>
                  <a:lnTo>
                    <a:pt x="2241744" y="4154975"/>
                  </a:lnTo>
                  <a:lnTo>
                    <a:pt x="2244498" y="4154189"/>
                  </a:lnTo>
                  <a:lnTo>
                    <a:pt x="2245285" y="4156943"/>
                  </a:lnTo>
                  <a:lnTo>
                    <a:pt x="2242138" y="4156549"/>
                  </a:lnTo>
                  <a:lnTo>
                    <a:pt x="2239383" y="4155369"/>
                  </a:lnTo>
                  <a:lnTo>
                    <a:pt x="2236629" y="4155369"/>
                  </a:lnTo>
                  <a:lnTo>
                    <a:pt x="2233482" y="4155763"/>
                  </a:lnTo>
                  <a:lnTo>
                    <a:pt x="2230728" y="4154975"/>
                  </a:lnTo>
                  <a:lnTo>
                    <a:pt x="2233482" y="4157336"/>
                  </a:lnTo>
                  <a:lnTo>
                    <a:pt x="2236236" y="4158910"/>
                  </a:lnTo>
                  <a:lnTo>
                    <a:pt x="2239383" y="4159697"/>
                  </a:lnTo>
                  <a:lnTo>
                    <a:pt x="2242138" y="4160877"/>
                  </a:lnTo>
                  <a:lnTo>
                    <a:pt x="2244891" y="4162451"/>
                  </a:lnTo>
                  <a:lnTo>
                    <a:pt x="2247645" y="4164024"/>
                  </a:lnTo>
                  <a:lnTo>
                    <a:pt x="2250793" y="4164811"/>
                  </a:lnTo>
                  <a:lnTo>
                    <a:pt x="2253940" y="4166385"/>
                  </a:lnTo>
                  <a:lnTo>
                    <a:pt x="2256694" y="4167959"/>
                  </a:lnTo>
                  <a:lnTo>
                    <a:pt x="2259448" y="4167565"/>
                  </a:lnTo>
                  <a:lnTo>
                    <a:pt x="2256694" y="4165204"/>
                  </a:lnTo>
                  <a:lnTo>
                    <a:pt x="2253940" y="4163237"/>
                  </a:lnTo>
                  <a:lnTo>
                    <a:pt x="2250793" y="4162451"/>
                  </a:lnTo>
                  <a:lnTo>
                    <a:pt x="2252367" y="4159303"/>
                  </a:lnTo>
                  <a:lnTo>
                    <a:pt x="2251973" y="4156549"/>
                  </a:lnTo>
                  <a:lnTo>
                    <a:pt x="2254727" y="4157336"/>
                  </a:lnTo>
                  <a:lnTo>
                    <a:pt x="2257875" y="4156943"/>
                  </a:lnTo>
                  <a:lnTo>
                    <a:pt x="2254727" y="4154582"/>
                  </a:lnTo>
                  <a:lnTo>
                    <a:pt x="2251973" y="4152615"/>
                  </a:lnTo>
                  <a:lnTo>
                    <a:pt x="2249219" y="4152615"/>
                  </a:lnTo>
                  <a:lnTo>
                    <a:pt x="2252367" y="4151434"/>
                  </a:lnTo>
                  <a:lnTo>
                    <a:pt x="2255121" y="4152222"/>
                  </a:lnTo>
                  <a:lnTo>
                    <a:pt x="2257875" y="4152615"/>
                  </a:lnTo>
                  <a:lnTo>
                    <a:pt x="2261022" y="4154189"/>
                  </a:lnTo>
                  <a:lnTo>
                    <a:pt x="2263382" y="4151434"/>
                  </a:lnTo>
                  <a:lnTo>
                    <a:pt x="2264956" y="4148681"/>
                  </a:lnTo>
                  <a:lnTo>
                    <a:pt x="2267710" y="4147107"/>
                  </a:lnTo>
                  <a:lnTo>
                    <a:pt x="2270464" y="4145533"/>
                  </a:lnTo>
                  <a:lnTo>
                    <a:pt x="2272038" y="4142386"/>
                  </a:lnTo>
                  <a:lnTo>
                    <a:pt x="2271645" y="4141599"/>
                  </a:lnTo>
                  <a:lnTo>
                    <a:pt x="2274398" y="4143566"/>
                  </a:lnTo>
                  <a:lnTo>
                    <a:pt x="2277546" y="4144353"/>
                  </a:lnTo>
                  <a:lnTo>
                    <a:pt x="2280300" y="4145927"/>
                  </a:lnTo>
                  <a:lnTo>
                    <a:pt x="2279906" y="4148681"/>
                  </a:lnTo>
                  <a:lnTo>
                    <a:pt x="2279513" y="4151434"/>
                  </a:lnTo>
                  <a:lnTo>
                    <a:pt x="2278726" y="4154189"/>
                  </a:lnTo>
                  <a:lnTo>
                    <a:pt x="2275579" y="4154582"/>
                  </a:lnTo>
                  <a:lnTo>
                    <a:pt x="2272825" y="4156943"/>
                  </a:lnTo>
                  <a:lnTo>
                    <a:pt x="2271251" y="4160090"/>
                  </a:lnTo>
                  <a:lnTo>
                    <a:pt x="2272825" y="4162844"/>
                  </a:lnTo>
                  <a:lnTo>
                    <a:pt x="2274398" y="4165992"/>
                  </a:lnTo>
                  <a:lnTo>
                    <a:pt x="2271645" y="4167959"/>
                  </a:lnTo>
                  <a:lnTo>
                    <a:pt x="2273218" y="4165204"/>
                  </a:lnTo>
                  <a:lnTo>
                    <a:pt x="2270858" y="4162057"/>
                  </a:lnTo>
                  <a:lnTo>
                    <a:pt x="2269284" y="4159303"/>
                  </a:lnTo>
                  <a:lnTo>
                    <a:pt x="2266530" y="4158123"/>
                  </a:lnTo>
                  <a:lnTo>
                    <a:pt x="2265350" y="4160877"/>
                  </a:lnTo>
                  <a:lnTo>
                    <a:pt x="2265743" y="4164024"/>
                  </a:lnTo>
                  <a:lnTo>
                    <a:pt x="2262596" y="4164811"/>
                  </a:lnTo>
                  <a:lnTo>
                    <a:pt x="2264563" y="4162057"/>
                  </a:lnTo>
                  <a:lnTo>
                    <a:pt x="2262202" y="4159303"/>
                  </a:lnTo>
                  <a:lnTo>
                    <a:pt x="2259448" y="4158910"/>
                  </a:lnTo>
                  <a:lnTo>
                    <a:pt x="2256301" y="4159303"/>
                  </a:lnTo>
                  <a:lnTo>
                    <a:pt x="2255907" y="4162057"/>
                  </a:lnTo>
                  <a:lnTo>
                    <a:pt x="2257088" y="4164811"/>
                  </a:lnTo>
                  <a:lnTo>
                    <a:pt x="2259842" y="4167172"/>
                  </a:lnTo>
                  <a:lnTo>
                    <a:pt x="2262989" y="4169532"/>
                  </a:lnTo>
                  <a:lnTo>
                    <a:pt x="2265743" y="4170712"/>
                  </a:lnTo>
                  <a:lnTo>
                    <a:pt x="2268497" y="4173073"/>
                  </a:lnTo>
                  <a:lnTo>
                    <a:pt x="2271645" y="4172680"/>
                  </a:lnTo>
                  <a:lnTo>
                    <a:pt x="2274398" y="4174253"/>
                  </a:lnTo>
                  <a:lnTo>
                    <a:pt x="2277152" y="4175434"/>
                  </a:lnTo>
                  <a:lnTo>
                    <a:pt x="2280300" y="4176614"/>
                  </a:lnTo>
                  <a:lnTo>
                    <a:pt x="2283054" y="4177401"/>
                  </a:lnTo>
                  <a:lnTo>
                    <a:pt x="2286201" y="4177794"/>
                  </a:lnTo>
                  <a:lnTo>
                    <a:pt x="2288955" y="4178188"/>
                  </a:lnTo>
                  <a:lnTo>
                    <a:pt x="2292102" y="4179368"/>
                  </a:lnTo>
                  <a:lnTo>
                    <a:pt x="2294857" y="4178974"/>
                  </a:lnTo>
                  <a:lnTo>
                    <a:pt x="2297611" y="4177794"/>
                  </a:lnTo>
                  <a:lnTo>
                    <a:pt x="2298397" y="4174647"/>
                  </a:lnTo>
                  <a:lnTo>
                    <a:pt x="2297611" y="4171893"/>
                  </a:lnTo>
                  <a:lnTo>
                    <a:pt x="2296037" y="4168745"/>
                  </a:lnTo>
                  <a:lnTo>
                    <a:pt x="2293283" y="4165992"/>
                  </a:lnTo>
                  <a:lnTo>
                    <a:pt x="2291709" y="4162844"/>
                  </a:lnTo>
                  <a:lnTo>
                    <a:pt x="2291316" y="4160090"/>
                  </a:lnTo>
                  <a:lnTo>
                    <a:pt x="2289742" y="4156943"/>
                  </a:lnTo>
                  <a:lnTo>
                    <a:pt x="2290135" y="4154189"/>
                  </a:lnTo>
                  <a:lnTo>
                    <a:pt x="2290135" y="4151434"/>
                  </a:lnTo>
                  <a:lnTo>
                    <a:pt x="2288955" y="4148287"/>
                  </a:lnTo>
                  <a:lnTo>
                    <a:pt x="2287382" y="4145533"/>
                  </a:lnTo>
                  <a:lnTo>
                    <a:pt x="2285414" y="4142779"/>
                  </a:lnTo>
                  <a:lnTo>
                    <a:pt x="2288168" y="4141993"/>
                  </a:lnTo>
                  <a:lnTo>
                    <a:pt x="2290922" y="4141205"/>
                  </a:lnTo>
                  <a:lnTo>
                    <a:pt x="2293676" y="4141205"/>
                  </a:lnTo>
                  <a:lnTo>
                    <a:pt x="2296430" y="4139632"/>
                  </a:lnTo>
                  <a:lnTo>
                    <a:pt x="2299578" y="4139632"/>
                  </a:lnTo>
                  <a:lnTo>
                    <a:pt x="2301938" y="4136878"/>
                  </a:lnTo>
                  <a:lnTo>
                    <a:pt x="2303512" y="4136485"/>
                  </a:lnTo>
                  <a:lnTo>
                    <a:pt x="2308233" y="4135304"/>
                  </a:lnTo>
                  <a:lnTo>
                    <a:pt x="2309413" y="4135697"/>
                  </a:lnTo>
                  <a:lnTo>
                    <a:pt x="2312167" y="4134911"/>
                  </a:lnTo>
                  <a:lnTo>
                    <a:pt x="2312954" y="4134124"/>
                  </a:lnTo>
                  <a:lnTo>
                    <a:pt x="2312954" y="4133730"/>
                  </a:lnTo>
                  <a:lnTo>
                    <a:pt x="2313348" y="4133337"/>
                  </a:lnTo>
                  <a:lnTo>
                    <a:pt x="2312954" y="4132550"/>
                  </a:lnTo>
                  <a:lnTo>
                    <a:pt x="2321216" y="4125862"/>
                  </a:lnTo>
                  <a:lnTo>
                    <a:pt x="2323970" y="4127436"/>
                  </a:lnTo>
                  <a:lnTo>
                    <a:pt x="2327118" y="4128616"/>
                  </a:lnTo>
                  <a:lnTo>
                    <a:pt x="2331052" y="4128616"/>
                  </a:lnTo>
                  <a:lnTo>
                    <a:pt x="2332626" y="4129009"/>
                  </a:lnTo>
                  <a:lnTo>
                    <a:pt x="2335379" y="4129796"/>
                  </a:lnTo>
                  <a:lnTo>
                    <a:pt x="2336166" y="4129796"/>
                  </a:lnTo>
                  <a:lnTo>
                    <a:pt x="2340887" y="4132157"/>
                  </a:lnTo>
                  <a:lnTo>
                    <a:pt x="2340887" y="4131763"/>
                  </a:lnTo>
                  <a:lnTo>
                    <a:pt x="2341281" y="4131763"/>
                  </a:lnTo>
                  <a:lnTo>
                    <a:pt x="2340101" y="4128616"/>
                  </a:lnTo>
                  <a:lnTo>
                    <a:pt x="2336953" y="4126256"/>
                  </a:lnTo>
                  <a:lnTo>
                    <a:pt x="2334199" y="4123895"/>
                  </a:lnTo>
                  <a:lnTo>
                    <a:pt x="2331445" y="4121927"/>
                  </a:lnTo>
                  <a:lnTo>
                    <a:pt x="2328298" y="4119174"/>
                  </a:lnTo>
                  <a:lnTo>
                    <a:pt x="2325544" y="4116813"/>
                  </a:lnTo>
                  <a:lnTo>
                    <a:pt x="2322790" y="4114059"/>
                  </a:lnTo>
                  <a:lnTo>
                    <a:pt x="2320036" y="4110912"/>
                  </a:lnTo>
                  <a:lnTo>
                    <a:pt x="2317282" y="4108551"/>
                  </a:lnTo>
                  <a:lnTo>
                    <a:pt x="2314528" y="4106584"/>
                  </a:lnTo>
                  <a:lnTo>
                    <a:pt x="2311380" y="4108551"/>
                  </a:lnTo>
                  <a:lnTo>
                    <a:pt x="2308626" y="4106190"/>
                  </a:lnTo>
                  <a:lnTo>
                    <a:pt x="2305479" y="4105797"/>
                  </a:lnTo>
                  <a:lnTo>
                    <a:pt x="2302725" y="4106190"/>
                  </a:lnTo>
                  <a:lnTo>
                    <a:pt x="2299971" y="4106978"/>
                  </a:lnTo>
                  <a:lnTo>
                    <a:pt x="2299578" y="4106978"/>
                  </a:lnTo>
                  <a:lnTo>
                    <a:pt x="2302332" y="4105404"/>
                  </a:lnTo>
                  <a:lnTo>
                    <a:pt x="2305479" y="4105010"/>
                  </a:lnTo>
                  <a:lnTo>
                    <a:pt x="2308233" y="4105797"/>
                  </a:lnTo>
                  <a:lnTo>
                    <a:pt x="2311380" y="4106584"/>
                  </a:lnTo>
                  <a:lnTo>
                    <a:pt x="2314135" y="4105010"/>
                  </a:lnTo>
                  <a:lnTo>
                    <a:pt x="2313348" y="4102256"/>
                  </a:lnTo>
                  <a:lnTo>
                    <a:pt x="2310987" y="4099502"/>
                  </a:lnTo>
                  <a:lnTo>
                    <a:pt x="2308626" y="4096749"/>
                  </a:lnTo>
                  <a:lnTo>
                    <a:pt x="2306659" y="4093601"/>
                  </a:lnTo>
                  <a:lnTo>
                    <a:pt x="2304299" y="4090847"/>
                  </a:lnTo>
                  <a:lnTo>
                    <a:pt x="2302725" y="4088093"/>
                  </a:lnTo>
                  <a:lnTo>
                    <a:pt x="2299971" y="4086519"/>
                  </a:lnTo>
                  <a:lnTo>
                    <a:pt x="2297217" y="4089273"/>
                  </a:lnTo>
                  <a:lnTo>
                    <a:pt x="2296430" y="4089667"/>
                  </a:lnTo>
                  <a:lnTo>
                    <a:pt x="2298004" y="4086913"/>
                  </a:lnTo>
                  <a:lnTo>
                    <a:pt x="2299971" y="4084159"/>
                  </a:lnTo>
                  <a:lnTo>
                    <a:pt x="2299184" y="4081012"/>
                  </a:lnTo>
                  <a:lnTo>
                    <a:pt x="2298397" y="4079044"/>
                  </a:lnTo>
                  <a:lnTo>
                    <a:pt x="2301151" y="4064094"/>
                  </a:lnTo>
                  <a:lnTo>
                    <a:pt x="2301545" y="4063701"/>
                  </a:lnTo>
                  <a:lnTo>
                    <a:pt x="2304692" y="4062127"/>
                  </a:lnTo>
                  <a:lnTo>
                    <a:pt x="2307446" y="4061340"/>
                  </a:lnTo>
                  <a:lnTo>
                    <a:pt x="2309020" y="4058193"/>
                  </a:lnTo>
                  <a:lnTo>
                    <a:pt x="2305872" y="4057012"/>
                  </a:lnTo>
                  <a:lnTo>
                    <a:pt x="2303119" y="4054258"/>
                  </a:lnTo>
                  <a:lnTo>
                    <a:pt x="2299971" y="4053865"/>
                  </a:lnTo>
                  <a:lnTo>
                    <a:pt x="2298791" y="4053865"/>
                  </a:lnTo>
                  <a:lnTo>
                    <a:pt x="2294463" y="4053472"/>
                  </a:lnTo>
                  <a:lnTo>
                    <a:pt x="2293676" y="4053865"/>
                  </a:lnTo>
                  <a:lnTo>
                    <a:pt x="2293283" y="4053865"/>
                  </a:lnTo>
                  <a:lnTo>
                    <a:pt x="2291316" y="4054258"/>
                  </a:lnTo>
                  <a:lnTo>
                    <a:pt x="2291709" y="4053865"/>
                  </a:lnTo>
                  <a:lnTo>
                    <a:pt x="2292889" y="4053472"/>
                  </a:lnTo>
                  <a:lnTo>
                    <a:pt x="2294463" y="4053078"/>
                  </a:lnTo>
                  <a:lnTo>
                    <a:pt x="2297217" y="4052685"/>
                  </a:lnTo>
                  <a:lnTo>
                    <a:pt x="2299971" y="4052291"/>
                  </a:lnTo>
                  <a:lnTo>
                    <a:pt x="2299578" y="4049537"/>
                  </a:lnTo>
                  <a:lnTo>
                    <a:pt x="2298397" y="4048357"/>
                  </a:lnTo>
                  <a:lnTo>
                    <a:pt x="2296824" y="4045996"/>
                  </a:lnTo>
                  <a:lnTo>
                    <a:pt x="2294463" y="4044423"/>
                  </a:lnTo>
                  <a:lnTo>
                    <a:pt x="2297611" y="4045996"/>
                  </a:lnTo>
                  <a:lnTo>
                    <a:pt x="2299184" y="4048357"/>
                  </a:lnTo>
                  <a:lnTo>
                    <a:pt x="2305086" y="4053865"/>
                  </a:lnTo>
                  <a:lnTo>
                    <a:pt x="2308233" y="4056225"/>
                  </a:lnTo>
                  <a:lnTo>
                    <a:pt x="2310987" y="4057799"/>
                  </a:lnTo>
                  <a:lnTo>
                    <a:pt x="2314135" y="4057406"/>
                  </a:lnTo>
                  <a:lnTo>
                    <a:pt x="2316889" y="4056225"/>
                  </a:lnTo>
                  <a:lnTo>
                    <a:pt x="2319642" y="4053865"/>
                  </a:lnTo>
                  <a:lnTo>
                    <a:pt x="2321609" y="4051111"/>
                  </a:lnTo>
                  <a:lnTo>
                    <a:pt x="2321216" y="4047964"/>
                  </a:lnTo>
                  <a:lnTo>
                    <a:pt x="2320823" y="4045996"/>
                  </a:lnTo>
                  <a:lnTo>
                    <a:pt x="2327118" y="4007441"/>
                  </a:lnTo>
                  <a:lnTo>
                    <a:pt x="2327904" y="4007047"/>
                  </a:lnTo>
                  <a:lnTo>
                    <a:pt x="2330658" y="4003900"/>
                  </a:lnTo>
                  <a:lnTo>
                    <a:pt x="2333412" y="4001539"/>
                  </a:lnTo>
                  <a:lnTo>
                    <a:pt x="2336166" y="3999179"/>
                  </a:lnTo>
                  <a:lnTo>
                    <a:pt x="2338527" y="3996425"/>
                  </a:lnTo>
                  <a:lnTo>
                    <a:pt x="2341674" y="3994064"/>
                  </a:lnTo>
                  <a:lnTo>
                    <a:pt x="2342461" y="3991310"/>
                  </a:lnTo>
                  <a:lnTo>
                    <a:pt x="2345609" y="3990917"/>
                  </a:lnTo>
                  <a:lnTo>
                    <a:pt x="2344822" y="3988163"/>
                  </a:lnTo>
                  <a:lnTo>
                    <a:pt x="2347576" y="3986983"/>
                  </a:lnTo>
                  <a:lnTo>
                    <a:pt x="2344822" y="3983835"/>
                  </a:lnTo>
                  <a:lnTo>
                    <a:pt x="2342068" y="3981081"/>
                  </a:lnTo>
                  <a:lnTo>
                    <a:pt x="2338920" y="3981868"/>
                  </a:lnTo>
                  <a:lnTo>
                    <a:pt x="2336166" y="3982655"/>
                  </a:lnTo>
                  <a:lnTo>
                    <a:pt x="2333412" y="3984228"/>
                  </a:lnTo>
                  <a:lnTo>
                    <a:pt x="2331052" y="3983835"/>
                  </a:lnTo>
                  <a:lnTo>
                    <a:pt x="2333806" y="3983835"/>
                  </a:lnTo>
                  <a:lnTo>
                    <a:pt x="2336560" y="3982261"/>
                  </a:lnTo>
                  <a:lnTo>
                    <a:pt x="2339707" y="3980294"/>
                  </a:lnTo>
                  <a:lnTo>
                    <a:pt x="2342461" y="3980688"/>
                  </a:lnTo>
                  <a:lnTo>
                    <a:pt x="2342855" y="3977934"/>
                  </a:lnTo>
                  <a:lnTo>
                    <a:pt x="2343248" y="3975180"/>
                  </a:lnTo>
                  <a:lnTo>
                    <a:pt x="2342855" y="3972032"/>
                  </a:lnTo>
                  <a:lnTo>
                    <a:pt x="2342068" y="3969278"/>
                  </a:lnTo>
                  <a:lnTo>
                    <a:pt x="2341281" y="3966524"/>
                  </a:lnTo>
                  <a:lnTo>
                    <a:pt x="2339314" y="3963377"/>
                  </a:lnTo>
                  <a:lnTo>
                    <a:pt x="2336560" y="3960623"/>
                  </a:lnTo>
                  <a:lnTo>
                    <a:pt x="2333412" y="3958656"/>
                  </a:lnTo>
                  <a:lnTo>
                    <a:pt x="2330658" y="3957869"/>
                  </a:lnTo>
                  <a:lnTo>
                    <a:pt x="2327511" y="3958656"/>
                  </a:lnTo>
                  <a:lnTo>
                    <a:pt x="2322003" y="3958656"/>
                  </a:lnTo>
                  <a:lnTo>
                    <a:pt x="2318856" y="3957869"/>
                  </a:lnTo>
                  <a:lnTo>
                    <a:pt x="2316102" y="3957476"/>
                  </a:lnTo>
                  <a:lnTo>
                    <a:pt x="2313348" y="3957476"/>
                  </a:lnTo>
                  <a:lnTo>
                    <a:pt x="2310594" y="3956295"/>
                  </a:lnTo>
                  <a:lnTo>
                    <a:pt x="2307446" y="3954721"/>
                  </a:lnTo>
                  <a:lnTo>
                    <a:pt x="2304692" y="3951968"/>
                  </a:lnTo>
                  <a:lnTo>
                    <a:pt x="2301545" y="3950000"/>
                  </a:lnTo>
                  <a:lnTo>
                    <a:pt x="2298791" y="3948427"/>
                  </a:lnTo>
                  <a:lnTo>
                    <a:pt x="2275185" y="3922067"/>
                  </a:lnTo>
                  <a:lnTo>
                    <a:pt x="2298791" y="3888626"/>
                  </a:lnTo>
                  <a:lnTo>
                    <a:pt x="2305479" y="3888626"/>
                  </a:lnTo>
                  <a:lnTo>
                    <a:pt x="2308233" y="3889413"/>
                  </a:lnTo>
                  <a:lnTo>
                    <a:pt x="2308233" y="3888626"/>
                  </a:lnTo>
                  <a:lnTo>
                    <a:pt x="2309807" y="3888626"/>
                  </a:lnTo>
                  <a:lnTo>
                    <a:pt x="2312561" y="3889413"/>
                  </a:lnTo>
                  <a:lnTo>
                    <a:pt x="2315315" y="3889806"/>
                  </a:lnTo>
                  <a:lnTo>
                    <a:pt x="2315708" y="3888626"/>
                  </a:lnTo>
                  <a:lnTo>
                    <a:pt x="2316102" y="3885872"/>
                  </a:lnTo>
                  <a:lnTo>
                    <a:pt x="2315315" y="3885478"/>
                  </a:lnTo>
                  <a:lnTo>
                    <a:pt x="2314135" y="3874463"/>
                  </a:lnTo>
                  <a:lnTo>
                    <a:pt x="2316102" y="3873676"/>
                  </a:lnTo>
                  <a:lnTo>
                    <a:pt x="2316102" y="3870922"/>
                  </a:lnTo>
                  <a:lnTo>
                    <a:pt x="2316889" y="3867774"/>
                  </a:lnTo>
                  <a:lnTo>
                    <a:pt x="2315708" y="3865020"/>
                  </a:lnTo>
                  <a:lnTo>
                    <a:pt x="2313348" y="3862266"/>
                  </a:lnTo>
                  <a:lnTo>
                    <a:pt x="2314135" y="3859512"/>
                  </a:lnTo>
                  <a:lnTo>
                    <a:pt x="2313741" y="3856759"/>
                  </a:lnTo>
                  <a:lnTo>
                    <a:pt x="2312167" y="3854791"/>
                  </a:lnTo>
                  <a:lnTo>
                    <a:pt x="2310200" y="3832366"/>
                  </a:lnTo>
                  <a:lnTo>
                    <a:pt x="2312954" y="3829219"/>
                  </a:lnTo>
                  <a:lnTo>
                    <a:pt x="2315708" y="3826858"/>
                  </a:lnTo>
                  <a:lnTo>
                    <a:pt x="2318856" y="3826071"/>
                  </a:lnTo>
                  <a:lnTo>
                    <a:pt x="2321609" y="3824891"/>
                  </a:lnTo>
                  <a:lnTo>
                    <a:pt x="2324757" y="3823317"/>
                  </a:lnTo>
                  <a:lnTo>
                    <a:pt x="2325937" y="3820563"/>
                  </a:lnTo>
                  <a:lnTo>
                    <a:pt x="2323183" y="3820956"/>
                  </a:lnTo>
                  <a:lnTo>
                    <a:pt x="2320036" y="3819776"/>
                  </a:lnTo>
                  <a:lnTo>
                    <a:pt x="2317282" y="3819383"/>
                  </a:lnTo>
                  <a:lnTo>
                    <a:pt x="2314135" y="3817809"/>
                  </a:lnTo>
                  <a:lnTo>
                    <a:pt x="2311380" y="3816235"/>
                  </a:lnTo>
                  <a:lnTo>
                    <a:pt x="2308626" y="3815449"/>
                  </a:lnTo>
                  <a:lnTo>
                    <a:pt x="2305872" y="3814662"/>
                  </a:lnTo>
                  <a:lnTo>
                    <a:pt x="2305086" y="3811908"/>
                  </a:lnTo>
                  <a:lnTo>
                    <a:pt x="2308233" y="3809547"/>
                  </a:lnTo>
                  <a:lnTo>
                    <a:pt x="2310987" y="3806793"/>
                  </a:lnTo>
                  <a:lnTo>
                    <a:pt x="2314135" y="3805613"/>
                  </a:lnTo>
                  <a:lnTo>
                    <a:pt x="2317282" y="3805219"/>
                  </a:lnTo>
                  <a:lnTo>
                    <a:pt x="2320036" y="3806006"/>
                  </a:lnTo>
                  <a:lnTo>
                    <a:pt x="2322790" y="3808367"/>
                  </a:lnTo>
                  <a:lnTo>
                    <a:pt x="2325544" y="3809941"/>
                  </a:lnTo>
                  <a:lnTo>
                    <a:pt x="2325150" y="3812694"/>
                  </a:lnTo>
                  <a:lnTo>
                    <a:pt x="2327904" y="3815449"/>
                  </a:lnTo>
                  <a:lnTo>
                    <a:pt x="2330658" y="3818203"/>
                  </a:lnTo>
                  <a:lnTo>
                    <a:pt x="2333412" y="3817416"/>
                  </a:lnTo>
                  <a:lnTo>
                    <a:pt x="2336166" y="3817022"/>
                  </a:lnTo>
                  <a:lnTo>
                    <a:pt x="2339314" y="3816235"/>
                  </a:lnTo>
                  <a:lnTo>
                    <a:pt x="2342068" y="3814662"/>
                  </a:lnTo>
                  <a:lnTo>
                    <a:pt x="2341674" y="3811908"/>
                  </a:lnTo>
                  <a:lnTo>
                    <a:pt x="2342068" y="3808760"/>
                  </a:lnTo>
                  <a:lnTo>
                    <a:pt x="2340887" y="3806006"/>
                  </a:lnTo>
                  <a:lnTo>
                    <a:pt x="2339314" y="3803252"/>
                  </a:lnTo>
                  <a:lnTo>
                    <a:pt x="2338527" y="3800498"/>
                  </a:lnTo>
                  <a:lnTo>
                    <a:pt x="2336560" y="3797745"/>
                  </a:lnTo>
                  <a:lnTo>
                    <a:pt x="2333806" y="3794597"/>
                  </a:lnTo>
                  <a:lnTo>
                    <a:pt x="2331445" y="3791843"/>
                  </a:lnTo>
                  <a:lnTo>
                    <a:pt x="2328691" y="3791843"/>
                  </a:lnTo>
                  <a:lnTo>
                    <a:pt x="2325937" y="3793810"/>
                  </a:lnTo>
                  <a:lnTo>
                    <a:pt x="2323183" y="3794990"/>
                  </a:lnTo>
                  <a:lnTo>
                    <a:pt x="2320036" y="3796564"/>
                  </a:lnTo>
                  <a:lnTo>
                    <a:pt x="2316889" y="3796564"/>
                  </a:lnTo>
                  <a:lnTo>
                    <a:pt x="2320036" y="3797745"/>
                  </a:lnTo>
                  <a:lnTo>
                    <a:pt x="2322790" y="3797351"/>
                  </a:lnTo>
                  <a:lnTo>
                    <a:pt x="2325544" y="3799318"/>
                  </a:lnTo>
                  <a:lnTo>
                    <a:pt x="2325937" y="3802072"/>
                  </a:lnTo>
                  <a:lnTo>
                    <a:pt x="2323183" y="3803252"/>
                  </a:lnTo>
                  <a:lnTo>
                    <a:pt x="2320429" y="3802859"/>
                  </a:lnTo>
                  <a:lnTo>
                    <a:pt x="2317282" y="3803252"/>
                  </a:lnTo>
                  <a:lnTo>
                    <a:pt x="2314528" y="3802859"/>
                  </a:lnTo>
                  <a:lnTo>
                    <a:pt x="2311774" y="3802072"/>
                  </a:lnTo>
                  <a:lnTo>
                    <a:pt x="2312561" y="3799318"/>
                  </a:lnTo>
                  <a:lnTo>
                    <a:pt x="2312167" y="3796564"/>
                  </a:lnTo>
                  <a:lnTo>
                    <a:pt x="2309413" y="3796564"/>
                  </a:lnTo>
                  <a:lnTo>
                    <a:pt x="2306266" y="3796171"/>
                  </a:lnTo>
                  <a:lnTo>
                    <a:pt x="2300758" y="3793810"/>
                  </a:lnTo>
                  <a:lnTo>
                    <a:pt x="2297611" y="3791843"/>
                  </a:lnTo>
                  <a:lnTo>
                    <a:pt x="2296430" y="3790663"/>
                  </a:lnTo>
                  <a:lnTo>
                    <a:pt x="2294857" y="3788696"/>
                  </a:lnTo>
                  <a:lnTo>
                    <a:pt x="2347576" y="3756041"/>
                  </a:lnTo>
                  <a:lnTo>
                    <a:pt x="2350330" y="3754861"/>
                  </a:lnTo>
                  <a:lnTo>
                    <a:pt x="2353084" y="3752894"/>
                  </a:lnTo>
                  <a:lnTo>
                    <a:pt x="2355838" y="3751320"/>
                  </a:lnTo>
                  <a:lnTo>
                    <a:pt x="2357805" y="3748172"/>
                  </a:lnTo>
                  <a:lnTo>
                    <a:pt x="2358592" y="3745419"/>
                  </a:lnTo>
                  <a:lnTo>
                    <a:pt x="2358985" y="3742271"/>
                  </a:lnTo>
                  <a:lnTo>
                    <a:pt x="2356231" y="3743058"/>
                  </a:lnTo>
                  <a:lnTo>
                    <a:pt x="2357018" y="3740304"/>
                  </a:lnTo>
                  <a:lnTo>
                    <a:pt x="2354264" y="3737550"/>
                  </a:lnTo>
                  <a:lnTo>
                    <a:pt x="2351510" y="3736370"/>
                  </a:lnTo>
                  <a:lnTo>
                    <a:pt x="2349543" y="3733223"/>
                  </a:lnTo>
                  <a:lnTo>
                    <a:pt x="2348756" y="3731649"/>
                  </a:lnTo>
                  <a:lnTo>
                    <a:pt x="2348756" y="3729288"/>
                  </a:lnTo>
                  <a:lnTo>
                    <a:pt x="2350330" y="3727715"/>
                  </a:lnTo>
                  <a:lnTo>
                    <a:pt x="2349936" y="3724567"/>
                  </a:lnTo>
                  <a:lnTo>
                    <a:pt x="2349149" y="3722206"/>
                  </a:lnTo>
                  <a:lnTo>
                    <a:pt x="2349149" y="3720633"/>
                  </a:lnTo>
                  <a:lnTo>
                    <a:pt x="2352690" y="3715518"/>
                  </a:lnTo>
                  <a:lnTo>
                    <a:pt x="2403049" y="3682077"/>
                  </a:lnTo>
                  <a:lnTo>
                    <a:pt x="2406196" y="3681684"/>
                  </a:lnTo>
                  <a:lnTo>
                    <a:pt x="2408950" y="3681290"/>
                  </a:lnTo>
                  <a:lnTo>
                    <a:pt x="2411704" y="3680110"/>
                  </a:lnTo>
                  <a:lnTo>
                    <a:pt x="2414458" y="3679323"/>
                  </a:lnTo>
                  <a:lnTo>
                    <a:pt x="2417606" y="3678536"/>
                  </a:lnTo>
                  <a:lnTo>
                    <a:pt x="2420360" y="3677749"/>
                  </a:lnTo>
                  <a:lnTo>
                    <a:pt x="2423507" y="3676962"/>
                  </a:lnTo>
                  <a:lnTo>
                    <a:pt x="2426654" y="3676569"/>
                  </a:lnTo>
                  <a:lnTo>
                    <a:pt x="2429408" y="3675782"/>
                  </a:lnTo>
                  <a:lnTo>
                    <a:pt x="2432162" y="3674209"/>
                  </a:lnTo>
                  <a:lnTo>
                    <a:pt x="2435310" y="3672635"/>
                  </a:lnTo>
                  <a:lnTo>
                    <a:pt x="2438064" y="3672241"/>
                  </a:lnTo>
                  <a:lnTo>
                    <a:pt x="2440818" y="3671061"/>
                  </a:lnTo>
                  <a:lnTo>
                    <a:pt x="2443965" y="3669881"/>
                  </a:lnTo>
                  <a:lnTo>
                    <a:pt x="2446719" y="3669094"/>
                  </a:lnTo>
                  <a:lnTo>
                    <a:pt x="2449473" y="3667520"/>
                  </a:lnTo>
                  <a:lnTo>
                    <a:pt x="2452227" y="3665160"/>
                  </a:lnTo>
                  <a:lnTo>
                    <a:pt x="2457735" y="3661619"/>
                  </a:lnTo>
                  <a:lnTo>
                    <a:pt x="2460489" y="3659652"/>
                  </a:lnTo>
                  <a:lnTo>
                    <a:pt x="2463243" y="3656898"/>
                  </a:lnTo>
                  <a:lnTo>
                    <a:pt x="2463637" y="3653750"/>
                  </a:lnTo>
                  <a:lnTo>
                    <a:pt x="2462850" y="3650996"/>
                  </a:lnTo>
                  <a:lnTo>
                    <a:pt x="2462850" y="3647849"/>
                  </a:lnTo>
                  <a:lnTo>
                    <a:pt x="2464423" y="3645095"/>
                  </a:lnTo>
                  <a:lnTo>
                    <a:pt x="2465997" y="3642341"/>
                  </a:lnTo>
                  <a:lnTo>
                    <a:pt x="2467964" y="3639587"/>
                  </a:lnTo>
                  <a:lnTo>
                    <a:pt x="2469931" y="3636440"/>
                  </a:lnTo>
                  <a:lnTo>
                    <a:pt x="2471505" y="3633686"/>
                  </a:lnTo>
                  <a:lnTo>
                    <a:pt x="2472292" y="3630538"/>
                  </a:lnTo>
                  <a:lnTo>
                    <a:pt x="2473472" y="3627784"/>
                  </a:lnTo>
                  <a:lnTo>
                    <a:pt x="2474259" y="3625030"/>
                  </a:lnTo>
                  <a:lnTo>
                    <a:pt x="2475439" y="3621883"/>
                  </a:lnTo>
                  <a:lnTo>
                    <a:pt x="2478193" y="3616375"/>
                  </a:lnTo>
                  <a:lnTo>
                    <a:pt x="2477800" y="3613228"/>
                  </a:lnTo>
                  <a:lnTo>
                    <a:pt x="2477013" y="3610080"/>
                  </a:lnTo>
                  <a:lnTo>
                    <a:pt x="2475833" y="3607326"/>
                  </a:lnTo>
                  <a:lnTo>
                    <a:pt x="2475046" y="3604179"/>
                  </a:lnTo>
                  <a:lnTo>
                    <a:pt x="2473866" y="3601425"/>
                  </a:lnTo>
                  <a:lnTo>
                    <a:pt x="2472685" y="3598277"/>
                  </a:lnTo>
                  <a:lnTo>
                    <a:pt x="2471505" y="3596704"/>
                  </a:lnTo>
                  <a:lnTo>
                    <a:pt x="2469931" y="3595523"/>
                  </a:lnTo>
                  <a:lnTo>
                    <a:pt x="2449080" y="3576639"/>
                  </a:lnTo>
                  <a:lnTo>
                    <a:pt x="2449867" y="3573885"/>
                  </a:lnTo>
                  <a:lnTo>
                    <a:pt x="2451440" y="3571131"/>
                  </a:lnTo>
                  <a:lnTo>
                    <a:pt x="2453014" y="3567984"/>
                  </a:lnTo>
                  <a:lnTo>
                    <a:pt x="2453014" y="3565229"/>
                  </a:lnTo>
                  <a:lnTo>
                    <a:pt x="2450654" y="3562082"/>
                  </a:lnTo>
                  <a:lnTo>
                    <a:pt x="2445145" y="3556574"/>
                  </a:lnTo>
                  <a:lnTo>
                    <a:pt x="2442391" y="3555000"/>
                  </a:lnTo>
                  <a:lnTo>
                    <a:pt x="2439637" y="3552640"/>
                  </a:lnTo>
                  <a:lnTo>
                    <a:pt x="2436884" y="3551460"/>
                  </a:lnTo>
                  <a:lnTo>
                    <a:pt x="2436884" y="3551066"/>
                  </a:lnTo>
                  <a:lnTo>
                    <a:pt x="2433736" y="3549492"/>
                  </a:lnTo>
                  <a:lnTo>
                    <a:pt x="2430982" y="3547525"/>
                  </a:lnTo>
                  <a:lnTo>
                    <a:pt x="2428228" y="3545952"/>
                  </a:lnTo>
                  <a:lnTo>
                    <a:pt x="2427048" y="3545558"/>
                  </a:lnTo>
                  <a:lnTo>
                    <a:pt x="2412098" y="3537296"/>
                  </a:lnTo>
                  <a:lnTo>
                    <a:pt x="2406590" y="3530608"/>
                  </a:lnTo>
                  <a:lnTo>
                    <a:pt x="2406590" y="3530214"/>
                  </a:lnTo>
                  <a:lnTo>
                    <a:pt x="2404229" y="3527460"/>
                  </a:lnTo>
                  <a:lnTo>
                    <a:pt x="2403836" y="3527067"/>
                  </a:lnTo>
                  <a:lnTo>
                    <a:pt x="2406590" y="3526674"/>
                  </a:lnTo>
                  <a:lnTo>
                    <a:pt x="2407770" y="3525493"/>
                  </a:lnTo>
                  <a:lnTo>
                    <a:pt x="2407770" y="3524313"/>
                  </a:lnTo>
                  <a:lnTo>
                    <a:pt x="2408163" y="3522739"/>
                  </a:lnTo>
                  <a:lnTo>
                    <a:pt x="2407377" y="3519592"/>
                  </a:lnTo>
                  <a:lnTo>
                    <a:pt x="2405016" y="3517625"/>
                  </a:lnTo>
                  <a:lnTo>
                    <a:pt x="2404229" y="3515658"/>
                  </a:lnTo>
                  <a:lnTo>
                    <a:pt x="2403836" y="3514084"/>
                  </a:lnTo>
                  <a:lnTo>
                    <a:pt x="2402262" y="3511330"/>
                  </a:lnTo>
                  <a:lnTo>
                    <a:pt x="2402262" y="3507002"/>
                  </a:lnTo>
                  <a:lnTo>
                    <a:pt x="2402262" y="3507396"/>
                  </a:lnTo>
                  <a:lnTo>
                    <a:pt x="2403049" y="3510150"/>
                  </a:lnTo>
                  <a:lnTo>
                    <a:pt x="2403836" y="3513297"/>
                  </a:lnTo>
                  <a:lnTo>
                    <a:pt x="2405410" y="3516051"/>
                  </a:lnTo>
                  <a:lnTo>
                    <a:pt x="2407770" y="3519199"/>
                  </a:lnTo>
                  <a:lnTo>
                    <a:pt x="2410524" y="3521953"/>
                  </a:lnTo>
                  <a:lnTo>
                    <a:pt x="2410917" y="3522739"/>
                  </a:lnTo>
                  <a:lnTo>
                    <a:pt x="2410130" y="3519199"/>
                  </a:lnTo>
                  <a:lnTo>
                    <a:pt x="2412098" y="3521166"/>
                  </a:lnTo>
                  <a:lnTo>
                    <a:pt x="2414458" y="3522346"/>
                  </a:lnTo>
                  <a:lnTo>
                    <a:pt x="2425081" y="3532575"/>
                  </a:lnTo>
                  <a:lnTo>
                    <a:pt x="2425867" y="3533755"/>
                  </a:lnTo>
                  <a:lnTo>
                    <a:pt x="2431376" y="3532182"/>
                  </a:lnTo>
                  <a:lnTo>
                    <a:pt x="2434523" y="3532575"/>
                  </a:lnTo>
                  <a:lnTo>
                    <a:pt x="2436097" y="3532182"/>
                  </a:lnTo>
                  <a:lnTo>
                    <a:pt x="2444752" y="3532182"/>
                  </a:lnTo>
                  <a:lnTo>
                    <a:pt x="2447900" y="3533755"/>
                  </a:lnTo>
                  <a:lnTo>
                    <a:pt x="2450654" y="3536509"/>
                  </a:lnTo>
                  <a:lnTo>
                    <a:pt x="2453407" y="3538477"/>
                  </a:lnTo>
                  <a:lnTo>
                    <a:pt x="2456161" y="3540444"/>
                  </a:lnTo>
                  <a:lnTo>
                    <a:pt x="2459309" y="3541230"/>
                  </a:lnTo>
                  <a:lnTo>
                    <a:pt x="2462456" y="3542017"/>
                  </a:lnTo>
                  <a:lnTo>
                    <a:pt x="2465210" y="3543197"/>
                  </a:lnTo>
                  <a:lnTo>
                    <a:pt x="2468358" y="3543591"/>
                  </a:lnTo>
                  <a:lnTo>
                    <a:pt x="2470325" y="3543984"/>
                  </a:lnTo>
                  <a:lnTo>
                    <a:pt x="2471112" y="3546738"/>
                  </a:lnTo>
                  <a:lnTo>
                    <a:pt x="2474259" y="3547525"/>
                  </a:lnTo>
                  <a:lnTo>
                    <a:pt x="2477013" y="3548312"/>
                  </a:lnTo>
                  <a:lnTo>
                    <a:pt x="2480161" y="3547132"/>
                  </a:lnTo>
                  <a:lnTo>
                    <a:pt x="2480161" y="3546738"/>
                  </a:lnTo>
                  <a:lnTo>
                    <a:pt x="2498258" y="3543984"/>
                  </a:lnTo>
                  <a:lnTo>
                    <a:pt x="2501405" y="3546345"/>
                  </a:lnTo>
                  <a:lnTo>
                    <a:pt x="2504159" y="3547132"/>
                  </a:lnTo>
                  <a:lnTo>
                    <a:pt x="2506520" y="3546738"/>
                  </a:lnTo>
                  <a:lnTo>
                    <a:pt x="2509668" y="3547919"/>
                  </a:lnTo>
                  <a:lnTo>
                    <a:pt x="2512421" y="3548706"/>
                  </a:lnTo>
                  <a:lnTo>
                    <a:pt x="2515175" y="3547525"/>
                  </a:lnTo>
                  <a:lnTo>
                    <a:pt x="2517929" y="3545558"/>
                  </a:lnTo>
                  <a:lnTo>
                    <a:pt x="2520683" y="3544378"/>
                  </a:lnTo>
                  <a:lnTo>
                    <a:pt x="2522257" y="3543984"/>
                  </a:lnTo>
                  <a:lnTo>
                    <a:pt x="2527765" y="3540444"/>
                  </a:lnTo>
                  <a:lnTo>
                    <a:pt x="2526585" y="3537690"/>
                  </a:lnTo>
                  <a:lnTo>
                    <a:pt x="2529339" y="3539263"/>
                  </a:lnTo>
                  <a:lnTo>
                    <a:pt x="2532093" y="3537690"/>
                  </a:lnTo>
                  <a:lnTo>
                    <a:pt x="2534453" y="3534542"/>
                  </a:lnTo>
                  <a:lnTo>
                    <a:pt x="2537207" y="3531788"/>
                  </a:lnTo>
                  <a:lnTo>
                    <a:pt x="2539961" y="3530214"/>
                  </a:lnTo>
                  <a:lnTo>
                    <a:pt x="2539961" y="3527067"/>
                  </a:lnTo>
                  <a:lnTo>
                    <a:pt x="2540748" y="3524313"/>
                  </a:lnTo>
                  <a:lnTo>
                    <a:pt x="2542715" y="3521559"/>
                  </a:lnTo>
                  <a:lnTo>
                    <a:pt x="2545076" y="3518805"/>
                  </a:lnTo>
                  <a:lnTo>
                    <a:pt x="2545469" y="3515658"/>
                  </a:lnTo>
                  <a:lnTo>
                    <a:pt x="2545076" y="3512904"/>
                  </a:lnTo>
                  <a:lnTo>
                    <a:pt x="2545863" y="3510543"/>
                  </a:lnTo>
                  <a:lnTo>
                    <a:pt x="2547830" y="3507789"/>
                  </a:lnTo>
                  <a:lnTo>
                    <a:pt x="2550584" y="3505429"/>
                  </a:lnTo>
                  <a:lnTo>
                    <a:pt x="2552944" y="3502281"/>
                  </a:lnTo>
                  <a:lnTo>
                    <a:pt x="2555305" y="3499527"/>
                  </a:lnTo>
                  <a:lnTo>
                    <a:pt x="2558059" y="3496773"/>
                  </a:lnTo>
                  <a:lnTo>
                    <a:pt x="2560419" y="3494019"/>
                  </a:lnTo>
                  <a:lnTo>
                    <a:pt x="2562780" y="3491265"/>
                  </a:lnTo>
                  <a:lnTo>
                    <a:pt x="2563960" y="3488511"/>
                  </a:lnTo>
                  <a:lnTo>
                    <a:pt x="2565141" y="3485757"/>
                  </a:lnTo>
                  <a:lnTo>
                    <a:pt x="2565927" y="3483003"/>
                  </a:lnTo>
                  <a:lnTo>
                    <a:pt x="2566714" y="3479856"/>
                  </a:lnTo>
                  <a:lnTo>
                    <a:pt x="2567108" y="3477102"/>
                  </a:lnTo>
                  <a:lnTo>
                    <a:pt x="2567501" y="3474348"/>
                  </a:lnTo>
                  <a:lnTo>
                    <a:pt x="2567501" y="3471201"/>
                  </a:lnTo>
                  <a:lnTo>
                    <a:pt x="2567895" y="3468446"/>
                  </a:lnTo>
                  <a:lnTo>
                    <a:pt x="2568681" y="3465693"/>
                  </a:lnTo>
                  <a:lnTo>
                    <a:pt x="2569468" y="3462545"/>
                  </a:lnTo>
                  <a:lnTo>
                    <a:pt x="2570255" y="3459791"/>
                  </a:lnTo>
                  <a:lnTo>
                    <a:pt x="2572222" y="3457037"/>
                  </a:lnTo>
                  <a:lnTo>
                    <a:pt x="2573796" y="3453890"/>
                  </a:lnTo>
                  <a:lnTo>
                    <a:pt x="2573796" y="3462152"/>
                  </a:lnTo>
                  <a:lnTo>
                    <a:pt x="2571042" y="3463332"/>
                  </a:lnTo>
                  <a:lnTo>
                    <a:pt x="2568681" y="3460578"/>
                  </a:lnTo>
                  <a:lnTo>
                    <a:pt x="2571042" y="3457824"/>
                  </a:lnTo>
                  <a:lnTo>
                    <a:pt x="2568288" y="3456644"/>
                  </a:lnTo>
                  <a:lnTo>
                    <a:pt x="2568681" y="3453496"/>
                  </a:lnTo>
                  <a:lnTo>
                    <a:pt x="2567895" y="3453103"/>
                  </a:lnTo>
                  <a:lnTo>
                    <a:pt x="2570649" y="3450349"/>
                  </a:lnTo>
                  <a:lnTo>
                    <a:pt x="2572222" y="3447202"/>
                  </a:lnTo>
                  <a:lnTo>
                    <a:pt x="2572616" y="3446021"/>
                  </a:lnTo>
                  <a:lnTo>
                    <a:pt x="2579304" y="3435792"/>
                  </a:lnTo>
                  <a:lnTo>
                    <a:pt x="2581271" y="3433038"/>
                  </a:lnTo>
                  <a:lnTo>
                    <a:pt x="2584025" y="3430284"/>
                  </a:lnTo>
                  <a:lnTo>
                    <a:pt x="2584812" y="3427530"/>
                  </a:lnTo>
                  <a:lnTo>
                    <a:pt x="2584419" y="3424383"/>
                  </a:lnTo>
                  <a:lnTo>
                    <a:pt x="2587566" y="3423202"/>
                  </a:lnTo>
                  <a:lnTo>
                    <a:pt x="2587172" y="3420055"/>
                  </a:lnTo>
                  <a:lnTo>
                    <a:pt x="2586386" y="3417301"/>
                  </a:lnTo>
                  <a:lnTo>
                    <a:pt x="2586779" y="3414547"/>
                  </a:lnTo>
                  <a:lnTo>
                    <a:pt x="2588353" y="3417301"/>
                  </a:lnTo>
                  <a:lnTo>
                    <a:pt x="2589139" y="3420055"/>
                  </a:lnTo>
                  <a:lnTo>
                    <a:pt x="2589139" y="3417301"/>
                  </a:lnTo>
                  <a:lnTo>
                    <a:pt x="2587959" y="3414547"/>
                  </a:lnTo>
                  <a:lnTo>
                    <a:pt x="2587959" y="3411006"/>
                  </a:lnTo>
                  <a:lnTo>
                    <a:pt x="2588353" y="3408252"/>
                  </a:lnTo>
                  <a:lnTo>
                    <a:pt x="2591500" y="3406679"/>
                  </a:lnTo>
                  <a:lnTo>
                    <a:pt x="2589139" y="3403925"/>
                  </a:lnTo>
                  <a:lnTo>
                    <a:pt x="2586386" y="3402351"/>
                  </a:lnTo>
                  <a:lnTo>
                    <a:pt x="2585205" y="3399990"/>
                  </a:lnTo>
                  <a:lnTo>
                    <a:pt x="2586386" y="3394089"/>
                  </a:lnTo>
                  <a:lnTo>
                    <a:pt x="2587172" y="3396843"/>
                  </a:lnTo>
                  <a:lnTo>
                    <a:pt x="2589139" y="3399990"/>
                  </a:lnTo>
                  <a:lnTo>
                    <a:pt x="2591893" y="3400777"/>
                  </a:lnTo>
                  <a:lnTo>
                    <a:pt x="2593861" y="3403925"/>
                  </a:lnTo>
                  <a:lnTo>
                    <a:pt x="2596221" y="3406679"/>
                  </a:lnTo>
                  <a:lnTo>
                    <a:pt x="2597008" y="3403925"/>
                  </a:lnTo>
                  <a:lnTo>
                    <a:pt x="2599762" y="3403925"/>
                  </a:lnTo>
                  <a:lnTo>
                    <a:pt x="2600942" y="3403531"/>
                  </a:lnTo>
                  <a:lnTo>
                    <a:pt x="2608024" y="3407859"/>
                  </a:lnTo>
                  <a:lnTo>
                    <a:pt x="2605270" y="3406285"/>
                  </a:lnTo>
                  <a:lnTo>
                    <a:pt x="2604877" y="3409039"/>
                  </a:lnTo>
                  <a:lnTo>
                    <a:pt x="2605663" y="3412187"/>
                  </a:lnTo>
                  <a:lnTo>
                    <a:pt x="2606057" y="3414941"/>
                  </a:lnTo>
                  <a:lnTo>
                    <a:pt x="2606057" y="3417695"/>
                  </a:lnTo>
                  <a:lnTo>
                    <a:pt x="2604483" y="3420842"/>
                  </a:lnTo>
                  <a:lnTo>
                    <a:pt x="2601729" y="3422809"/>
                  </a:lnTo>
                  <a:lnTo>
                    <a:pt x="2600156" y="3425563"/>
                  </a:lnTo>
                  <a:lnTo>
                    <a:pt x="2599762" y="3428317"/>
                  </a:lnTo>
                  <a:lnTo>
                    <a:pt x="2600549" y="3431071"/>
                  </a:lnTo>
                  <a:lnTo>
                    <a:pt x="2597795" y="3429104"/>
                  </a:lnTo>
                  <a:lnTo>
                    <a:pt x="2595434" y="3432251"/>
                  </a:lnTo>
                  <a:lnTo>
                    <a:pt x="2596221" y="3435005"/>
                  </a:lnTo>
                  <a:lnTo>
                    <a:pt x="2596221" y="3437759"/>
                  </a:lnTo>
                  <a:lnTo>
                    <a:pt x="2595434" y="3440907"/>
                  </a:lnTo>
                  <a:lnTo>
                    <a:pt x="2593074" y="3443661"/>
                  </a:lnTo>
                  <a:lnTo>
                    <a:pt x="2590320" y="3444054"/>
                  </a:lnTo>
                  <a:lnTo>
                    <a:pt x="2589926" y="3447202"/>
                  </a:lnTo>
                  <a:lnTo>
                    <a:pt x="2587172" y="3448775"/>
                  </a:lnTo>
                  <a:lnTo>
                    <a:pt x="2585599" y="3451529"/>
                  </a:lnTo>
                  <a:lnTo>
                    <a:pt x="2582845" y="3453496"/>
                  </a:lnTo>
                  <a:lnTo>
                    <a:pt x="2579697" y="3456250"/>
                  </a:lnTo>
                  <a:lnTo>
                    <a:pt x="2576943" y="3455070"/>
                  </a:lnTo>
                  <a:lnTo>
                    <a:pt x="2574189" y="3454283"/>
                  </a:lnTo>
                  <a:lnTo>
                    <a:pt x="2574583" y="3457037"/>
                  </a:lnTo>
                  <a:lnTo>
                    <a:pt x="2574976" y="3459791"/>
                  </a:lnTo>
                  <a:lnTo>
                    <a:pt x="2576156" y="3462545"/>
                  </a:lnTo>
                  <a:lnTo>
                    <a:pt x="2575763" y="3465693"/>
                  </a:lnTo>
                  <a:lnTo>
                    <a:pt x="2578124" y="3462545"/>
                  </a:lnTo>
                  <a:lnTo>
                    <a:pt x="2579304" y="3459791"/>
                  </a:lnTo>
                  <a:lnTo>
                    <a:pt x="2582058" y="3457037"/>
                  </a:lnTo>
                  <a:lnTo>
                    <a:pt x="2584812" y="3454677"/>
                  </a:lnTo>
                  <a:lnTo>
                    <a:pt x="2587566" y="3453103"/>
                  </a:lnTo>
                  <a:lnTo>
                    <a:pt x="2590320" y="3451136"/>
                  </a:lnTo>
                  <a:lnTo>
                    <a:pt x="2592680" y="3448382"/>
                  </a:lnTo>
                  <a:lnTo>
                    <a:pt x="2595434" y="3445628"/>
                  </a:lnTo>
                  <a:lnTo>
                    <a:pt x="2597795" y="3442874"/>
                  </a:lnTo>
                  <a:lnTo>
                    <a:pt x="2600156" y="3439726"/>
                  </a:lnTo>
                  <a:lnTo>
                    <a:pt x="2601729" y="3436972"/>
                  </a:lnTo>
                  <a:lnTo>
                    <a:pt x="2604090" y="3434219"/>
                  </a:lnTo>
                  <a:lnTo>
                    <a:pt x="2605663" y="3431071"/>
                  </a:lnTo>
                  <a:lnTo>
                    <a:pt x="2607237" y="3428317"/>
                  </a:lnTo>
                  <a:lnTo>
                    <a:pt x="2608417" y="3425563"/>
                  </a:lnTo>
                  <a:lnTo>
                    <a:pt x="2608811" y="3423989"/>
                  </a:lnTo>
                  <a:lnTo>
                    <a:pt x="2611565" y="3418482"/>
                  </a:lnTo>
                  <a:lnTo>
                    <a:pt x="2612352" y="3415334"/>
                  </a:lnTo>
                  <a:lnTo>
                    <a:pt x="2613926" y="3412580"/>
                  </a:lnTo>
                  <a:lnTo>
                    <a:pt x="2614712" y="3409826"/>
                  </a:lnTo>
                  <a:lnTo>
                    <a:pt x="2615499" y="3407072"/>
                  </a:lnTo>
                  <a:lnTo>
                    <a:pt x="2616286" y="3403925"/>
                  </a:lnTo>
                  <a:lnTo>
                    <a:pt x="2616286" y="3401171"/>
                  </a:lnTo>
                  <a:lnTo>
                    <a:pt x="2616679" y="3398417"/>
                  </a:lnTo>
                  <a:lnTo>
                    <a:pt x="2617466" y="3395663"/>
                  </a:lnTo>
                  <a:lnTo>
                    <a:pt x="2617860" y="3393695"/>
                  </a:lnTo>
                  <a:lnTo>
                    <a:pt x="2620220" y="3385827"/>
                  </a:lnTo>
                  <a:lnTo>
                    <a:pt x="2626515" y="3370483"/>
                  </a:lnTo>
                  <a:lnTo>
                    <a:pt x="2637531" y="3354353"/>
                  </a:lnTo>
                  <a:lnTo>
                    <a:pt x="2638711" y="3353173"/>
                  </a:lnTo>
                  <a:lnTo>
                    <a:pt x="2641465" y="3350812"/>
                  </a:lnTo>
                  <a:lnTo>
                    <a:pt x="2644219" y="3348451"/>
                  </a:lnTo>
                  <a:lnTo>
                    <a:pt x="2646973" y="3346878"/>
                  </a:lnTo>
                  <a:lnTo>
                    <a:pt x="2649727" y="3344124"/>
                  </a:lnTo>
                  <a:lnTo>
                    <a:pt x="2646973" y="3342550"/>
                  </a:lnTo>
                  <a:lnTo>
                    <a:pt x="2646973" y="3340976"/>
                  </a:lnTo>
                  <a:lnTo>
                    <a:pt x="2647367" y="3340976"/>
                  </a:lnTo>
                  <a:lnTo>
                    <a:pt x="2648153" y="3340583"/>
                  </a:lnTo>
                  <a:lnTo>
                    <a:pt x="2648547" y="3340976"/>
                  </a:lnTo>
                  <a:lnTo>
                    <a:pt x="2650121" y="3342157"/>
                  </a:lnTo>
                  <a:lnTo>
                    <a:pt x="2650514" y="3339403"/>
                  </a:lnTo>
                  <a:lnTo>
                    <a:pt x="2651301" y="3336255"/>
                  </a:lnTo>
                  <a:lnTo>
                    <a:pt x="2651694" y="3333501"/>
                  </a:lnTo>
                  <a:lnTo>
                    <a:pt x="2652088" y="3330747"/>
                  </a:lnTo>
                  <a:lnTo>
                    <a:pt x="2652875" y="3327993"/>
                  </a:lnTo>
                  <a:lnTo>
                    <a:pt x="2652088" y="3324846"/>
                  </a:lnTo>
                  <a:lnTo>
                    <a:pt x="2653268" y="3322092"/>
                  </a:lnTo>
                  <a:lnTo>
                    <a:pt x="2651694" y="3319338"/>
                  </a:lnTo>
                  <a:lnTo>
                    <a:pt x="2650514" y="3316191"/>
                  </a:lnTo>
                  <a:lnTo>
                    <a:pt x="2650907" y="3313437"/>
                  </a:lnTo>
                  <a:lnTo>
                    <a:pt x="2650121" y="3310289"/>
                  </a:lnTo>
                  <a:lnTo>
                    <a:pt x="2649334" y="3307535"/>
                  </a:lnTo>
                  <a:lnTo>
                    <a:pt x="2651301" y="3304781"/>
                  </a:lnTo>
                  <a:lnTo>
                    <a:pt x="2648940" y="3301634"/>
                  </a:lnTo>
                  <a:lnTo>
                    <a:pt x="2651694" y="3300060"/>
                  </a:lnTo>
                  <a:lnTo>
                    <a:pt x="2651301" y="3296913"/>
                  </a:lnTo>
                  <a:lnTo>
                    <a:pt x="2648547" y="3296913"/>
                  </a:lnTo>
                  <a:lnTo>
                    <a:pt x="2648940" y="3293765"/>
                  </a:lnTo>
                  <a:lnTo>
                    <a:pt x="2647367" y="3291011"/>
                  </a:lnTo>
                  <a:lnTo>
                    <a:pt x="2646580" y="3288257"/>
                  </a:lnTo>
                  <a:lnTo>
                    <a:pt x="2647760" y="3285110"/>
                  </a:lnTo>
                  <a:lnTo>
                    <a:pt x="2645006" y="3283536"/>
                  </a:lnTo>
                  <a:lnTo>
                    <a:pt x="2644613" y="3280782"/>
                  </a:lnTo>
                  <a:lnTo>
                    <a:pt x="2644219" y="3278815"/>
                  </a:lnTo>
                  <a:lnTo>
                    <a:pt x="2645400" y="3273307"/>
                  </a:lnTo>
                  <a:lnTo>
                    <a:pt x="2643826" y="3271340"/>
                  </a:lnTo>
                  <a:lnTo>
                    <a:pt x="2643433" y="3270553"/>
                  </a:lnTo>
                  <a:lnTo>
                    <a:pt x="2643826" y="3264258"/>
                  </a:lnTo>
                  <a:lnTo>
                    <a:pt x="2644613" y="3261898"/>
                  </a:lnTo>
                  <a:lnTo>
                    <a:pt x="2644219" y="3259931"/>
                  </a:lnTo>
                  <a:lnTo>
                    <a:pt x="2644219" y="3257570"/>
                  </a:lnTo>
                  <a:lnTo>
                    <a:pt x="2644613" y="3254423"/>
                  </a:lnTo>
                  <a:lnTo>
                    <a:pt x="2644613" y="3254423"/>
                  </a:lnTo>
                  <a:lnTo>
                    <a:pt x="2644613" y="3252849"/>
                  </a:lnTo>
                  <a:lnTo>
                    <a:pt x="2645006" y="3252849"/>
                  </a:lnTo>
                  <a:lnTo>
                    <a:pt x="2645793" y="3250095"/>
                  </a:lnTo>
                  <a:lnTo>
                    <a:pt x="2646580" y="3246947"/>
                  </a:lnTo>
                  <a:lnTo>
                    <a:pt x="2648940" y="3244193"/>
                  </a:lnTo>
                  <a:lnTo>
                    <a:pt x="2646186" y="3243800"/>
                  </a:lnTo>
                  <a:lnTo>
                    <a:pt x="2644613" y="3241440"/>
                  </a:lnTo>
                  <a:lnTo>
                    <a:pt x="2652875" y="3236719"/>
                  </a:lnTo>
                  <a:lnTo>
                    <a:pt x="2652875" y="3239473"/>
                  </a:lnTo>
                  <a:lnTo>
                    <a:pt x="2654448" y="3236719"/>
                  </a:lnTo>
                  <a:lnTo>
                    <a:pt x="2656809" y="3234751"/>
                  </a:lnTo>
                  <a:lnTo>
                    <a:pt x="2658383" y="3231210"/>
                  </a:lnTo>
                  <a:lnTo>
                    <a:pt x="2661137" y="3228063"/>
                  </a:lnTo>
                  <a:lnTo>
                    <a:pt x="2659170" y="3226883"/>
                  </a:lnTo>
                  <a:lnTo>
                    <a:pt x="2659170" y="3225703"/>
                  </a:lnTo>
                  <a:lnTo>
                    <a:pt x="2661137" y="3223342"/>
                  </a:lnTo>
                  <a:lnTo>
                    <a:pt x="2661137" y="3224916"/>
                  </a:lnTo>
                  <a:lnTo>
                    <a:pt x="2661530" y="3223342"/>
                  </a:lnTo>
                  <a:lnTo>
                    <a:pt x="2663890" y="3220588"/>
                  </a:lnTo>
                  <a:lnTo>
                    <a:pt x="2666645" y="3217834"/>
                  </a:lnTo>
                  <a:lnTo>
                    <a:pt x="2669399" y="3215080"/>
                  </a:lnTo>
                  <a:lnTo>
                    <a:pt x="2672546" y="3212719"/>
                  </a:lnTo>
                  <a:lnTo>
                    <a:pt x="2669399" y="3214293"/>
                  </a:lnTo>
                  <a:lnTo>
                    <a:pt x="2666645" y="3216654"/>
                  </a:lnTo>
                  <a:lnTo>
                    <a:pt x="2669399" y="3213506"/>
                  </a:lnTo>
                  <a:lnTo>
                    <a:pt x="2674513" y="3210752"/>
                  </a:lnTo>
                  <a:lnTo>
                    <a:pt x="2677267" y="3208785"/>
                  </a:lnTo>
                  <a:lnTo>
                    <a:pt x="2680021" y="3206818"/>
                  </a:lnTo>
                  <a:lnTo>
                    <a:pt x="2682775" y="3204064"/>
                  </a:lnTo>
                  <a:lnTo>
                    <a:pt x="2683168" y="3203277"/>
                  </a:lnTo>
                  <a:lnTo>
                    <a:pt x="2698119" y="3190688"/>
                  </a:lnTo>
                  <a:lnTo>
                    <a:pt x="2700873" y="3189507"/>
                  </a:lnTo>
                  <a:lnTo>
                    <a:pt x="2700479" y="3188720"/>
                  </a:lnTo>
                  <a:lnTo>
                    <a:pt x="2699692" y="3188327"/>
                  </a:lnTo>
                  <a:lnTo>
                    <a:pt x="2700086" y="3186753"/>
                  </a:lnTo>
                  <a:lnTo>
                    <a:pt x="2700086" y="3186360"/>
                  </a:lnTo>
                  <a:lnTo>
                    <a:pt x="2702446" y="3189114"/>
                  </a:lnTo>
                  <a:lnTo>
                    <a:pt x="2700873" y="3188720"/>
                  </a:lnTo>
                  <a:lnTo>
                    <a:pt x="2700479" y="3188720"/>
                  </a:lnTo>
                  <a:lnTo>
                    <a:pt x="2702446" y="3189114"/>
                  </a:lnTo>
                  <a:lnTo>
                    <a:pt x="2703627" y="3190294"/>
                  </a:lnTo>
                  <a:lnTo>
                    <a:pt x="2706381" y="3189114"/>
                  </a:lnTo>
                  <a:lnTo>
                    <a:pt x="2706774" y="3188327"/>
                  </a:lnTo>
                  <a:lnTo>
                    <a:pt x="2718577" y="3181245"/>
                  </a:lnTo>
                  <a:lnTo>
                    <a:pt x="2718970" y="3181245"/>
                  </a:lnTo>
                  <a:lnTo>
                    <a:pt x="2721724" y="3182032"/>
                  </a:lnTo>
                  <a:lnTo>
                    <a:pt x="2724478" y="3182426"/>
                  </a:lnTo>
                  <a:lnTo>
                    <a:pt x="2727232" y="3183212"/>
                  </a:lnTo>
                  <a:lnTo>
                    <a:pt x="2728806" y="3180459"/>
                  </a:lnTo>
                  <a:lnTo>
                    <a:pt x="2727626" y="3177311"/>
                  </a:lnTo>
                  <a:lnTo>
                    <a:pt x="2730380" y="3175344"/>
                  </a:lnTo>
                  <a:lnTo>
                    <a:pt x="2733134" y="3174951"/>
                  </a:lnTo>
                  <a:lnTo>
                    <a:pt x="2735101" y="3172196"/>
                  </a:lnTo>
                  <a:lnTo>
                    <a:pt x="2737855" y="3171410"/>
                  </a:lnTo>
                  <a:lnTo>
                    <a:pt x="2739428" y="3168656"/>
                  </a:lnTo>
                  <a:lnTo>
                    <a:pt x="2744936" y="3167475"/>
                  </a:lnTo>
                  <a:lnTo>
                    <a:pt x="2744936" y="3167475"/>
                  </a:lnTo>
                  <a:lnTo>
                    <a:pt x="2747297" y="3167082"/>
                  </a:lnTo>
                  <a:lnTo>
                    <a:pt x="2750051" y="3166689"/>
                  </a:lnTo>
                  <a:lnTo>
                    <a:pt x="2752805" y="3165115"/>
                  </a:lnTo>
                  <a:lnTo>
                    <a:pt x="2752805" y="3165115"/>
                  </a:lnTo>
                  <a:lnTo>
                    <a:pt x="2775230" y="3157246"/>
                  </a:lnTo>
                  <a:lnTo>
                    <a:pt x="2776804" y="3157246"/>
                  </a:lnTo>
                  <a:lnTo>
                    <a:pt x="2779558" y="3156853"/>
                  </a:lnTo>
                  <a:lnTo>
                    <a:pt x="2782312" y="3156066"/>
                  </a:lnTo>
                  <a:lnTo>
                    <a:pt x="2785066" y="3155673"/>
                  </a:lnTo>
                  <a:lnTo>
                    <a:pt x="2788213" y="3155673"/>
                  </a:lnTo>
                  <a:lnTo>
                    <a:pt x="2790967" y="3154886"/>
                  </a:lnTo>
                  <a:lnTo>
                    <a:pt x="2791361" y="3151738"/>
                  </a:lnTo>
                  <a:lnTo>
                    <a:pt x="2790967" y="3151345"/>
                  </a:lnTo>
                  <a:lnTo>
                    <a:pt x="2789787" y="3150952"/>
                  </a:lnTo>
                  <a:lnTo>
                    <a:pt x="2789394" y="3150558"/>
                  </a:lnTo>
                  <a:lnTo>
                    <a:pt x="2792148" y="3151345"/>
                  </a:lnTo>
                  <a:lnTo>
                    <a:pt x="2794902" y="3154099"/>
                  </a:lnTo>
                  <a:lnTo>
                    <a:pt x="2797655" y="3154492"/>
                  </a:lnTo>
                  <a:lnTo>
                    <a:pt x="2800803" y="3154099"/>
                  </a:lnTo>
                  <a:lnTo>
                    <a:pt x="2803557" y="3153705"/>
                  </a:lnTo>
                  <a:lnTo>
                    <a:pt x="2806311" y="3152919"/>
                  </a:lnTo>
                  <a:lnTo>
                    <a:pt x="2824802" y="3154492"/>
                  </a:lnTo>
                  <a:lnTo>
                    <a:pt x="2839359" y="3127739"/>
                  </a:lnTo>
                  <a:lnTo>
                    <a:pt x="2840539" y="3127346"/>
                  </a:lnTo>
                  <a:lnTo>
                    <a:pt x="2843293" y="3126559"/>
                  </a:lnTo>
                  <a:lnTo>
                    <a:pt x="2846047" y="3125379"/>
                  </a:lnTo>
                  <a:lnTo>
                    <a:pt x="2849194" y="3123018"/>
                  </a:lnTo>
                  <a:lnTo>
                    <a:pt x="2851949" y="3121445"/>
                  </a:lnTo>
                  <a:lnTo>
                    <a:pt x="2852342" y="3118691"/>
                  </a:lnTo>
                  <a:lnTo>
                    <a:pt x="2851162" y="3115937"/>
                  </a:lnTo>
                  <a:lnTo>
                    <a:pt x="2850768" y="3112789"/>
                  </a:lnTo>
                  <a:lnTo>
                    <a:pt x="2850375" y="3110035"/>
                  </a:lnTo>
                  <a:lnTo>
                    <a:pt x="2850375" y="3107675"/>
                  </a:lnTo>
                  <a:lnTo>
                    <a:pt x="2850768" y="3099413"/>
                  </a:lnTo>
                  <a:lnTo>
                    <a:pt x="2850768" y="3099019"/>
                  </a:lnTo>
                  <a:lnTo>
                    <a:pt x="2850768" y="3096265"/>
                  </a:lnTo>
                  <a:lnTo>
                    <a:pt x="2859817" y="3080135"/>
                  </a:lnTo>
                  <a:lnTo>
                    <a:pt x="2861784" y="3078168"/>
                  </a:lnTo>
                  <a:lnTo>
                    <a:pt x="2863358" y="3075020"/>
                  </a:lnTo>
                  <a:lnTo>
                    <a:pt x="2865718" y="3072266"/>
                  </a:lnTo>
                  <a:lnTo>
                    <a:pt x="2867292" y="3069512"/>
                  </a:lnTo>
                  <a:lnTo>
                    <a:pt x="2868079" y="3066758"/>
                  </a:lnTo>
                  <a:lnTo>
                    <a:pt x="2867686" y="3066365"/>
                  </a:lnTo>
                  <a:lnTo>
                    <a:pt x="2869653" y="3062824"/>
                  </a:lnTo>
                  <a:lnTo>
                    <a:pt x="2870833" y="3059677"/>
                  </a:lnTo>
                  <a:lnTo>
                    <a:pt x="2871226" y="3056923"/>
                  </a:lnTo>
                  <a:lnTo>
                    <a:pt x="2872013" y="3053775"/>
                  </a:lnTo>
                  <a:lnTo>
                    <a:pt x="2872013" y="3053382"/>
                  </a:lnTo>
                  <a:lnTo>
                    <a:pt x="2873193" y="3050628"/>
                  </a:lnTo>
                  <a:lnTo>
                    <a:pt x="2873587" y="3049841"/>
                  </a:lnTo>
                  <a:lnTo>
                    <a:pt x="2875554" y="3044333"/>
                  </a:lnTo>
                  <a:lnTo>
                    <a:pt x="2881062" y="3041186"/>
                  </a:lnTo>
                  <a:lnTo>
                    <a:pt x="2881849" y="3038432"/>
                  </a:lnTo>
                  <a:lnTo>
                    <a:pt x="2883029" y="3035284"/>
                  </a:lnTo>
                  <a:lnTo>
                    <a:pt x="2883816" y="3032530"/>
                  </a:lnTo>
                  <a:lnTo>
                    <a:pt x="2883816" y="3029776"/>
                  </a:lnTo>
                  <a:lnTo>
                    <a:pt x="2883029" y="3026629"/>
                  </a:lnTo>
                  <a:lnTo>
                    <a:pt x="2882636" y="3023875"/>
                  </a:lnTo>
                  <a:lnTo>
                    <a:pt x="2881849" y="3021121"/>
                  </a:lnTo>
                  <a:lnTo>
                    <a:pt x="2881456" y="3018760"/>
                  </a:lnTo>
                  <a:lnTo>
                    <a:pt x="2881849" y="2996728"/>
                  </a:lnTo>
                  <a:lnTo>
                    <a:pt x="2884603" y="2988860"/>
                  </a:lnTo>
                  <a:lnTo>
                    <a:pt x="2886176" y="2986106"/>
                  </a:lnTo>
                  <a:lnTo>
                    <a:pt x="2888144" y="2983352"/>
                  </a:lnTo>
                  <a:lnTo>
                    <a:pt x="2890898" y="2982172"/>
                  </a:lnTo>
                  <a:lnTo>
                    <a:pt x="2893258" y="2979418"/>
                  </a:lnTo>
                  <a:lnTo>
                    <a:pt x="2895619" y="2976270"/>
                  </a:lnTo>
                  <a:lnTo>
                    <a:pt x="2895225" y="2973516"/>
                  </a:lnTo>
                  <a:lnTo>
                    <a:pt x="2894439" y="2970762"/>
                  </a:lnTo>
                  <a:lnTo>
                    <a:pt x="2894439" y="2967615"/>
                  </a:lnTo>
                  <a:lnTo>
                    <a:pt x="2893652" y="2964861"/>
                  </a:lnTo>
                  <a:lnTo>
                    <a:pt x="2893258" y="2961713"/>
                  </a:lnTo>
                  <a:lnTo>
                    <a:pt x="2893258" y="2958959"/>
                  </a:lnTo>
                  <a:lnTo>
                    <a:pt x="2893652" y="2956206"/>
                  </a:lnTo>
                  <a:lnTo>
                    <a:pt x="2894045" y="2953452"/>
                  </a:lnTo>
                  <a:lnTo>
                    <a:pt x="2894439" y="2950698"/>
                  </a:lnTo>
                  <a:lnTo>
                    <a:pt x="2894832" y="2947550"/>
                  </a:lnTo>
                  <a:lnTo>
                    <a:pt x="2894439" y="2944796"/>
                  </a:lnTo>
                  <a:lnTo>
                    <a:pt x="2895225" y="2942042"/>
                  </a:lnTo>
                  <a:lnTo>
                    <a:pt x="2895619" y="2938895"/>
                  </a:lnTo>
                  <a:lnTo>
                    <a:pt x="2895619" y="2938108"/>
                  </a:lnTo>
                  <a:lnTo>
                    <a:pt x="2897193" y="2931026"/>
                  </a:lnTo>
                  <a:lnTo>
                    <a:pt x="2897586" y="2929846"/>
                  </a:lnTo>
                  <a:lnTo>
                    <a:pt x="2897586" y="2928666"/>
                  </a:lnTo>
                  <a:lnTo>
                    <a:pt x="2900733" y="2912929"/>
                  </a:lnTo>
                  <a:lnTo>
                    <a:pt x="2898373" y="2907027"/>
                  </a:lnTo>
                  <a:lnTo>
                    <a:pt x="2894045" y="2860603"/>
                  </a:lnTo>
                  <a:lnTo>
                    <a:pt x="2894045" y="2859816"/>
                  </a:lnTo>
                  <a:lnTo>
                    <a:pt x="2893652" y="2859029"/>
                  </a:lnTo>
                  <a:lnTo>
                    <a:pt x="2894439" y="2856275"/>
                  </a:lnTo>
                  <a:lnTo>
                    <a:pt x="2894832" y="2853128"/>
                  </a:lnTo>
                  <a:lnTo>
                    <a:pt x="2895225" y="2850374"/>
                  </a:lnTo>
                  <a:lnTo>
                    <a:pt x="2895225" y="2847226"/>
                  </a:lnTo>
                  <a:lnTo>
                    <a:pt x="2894045" y="2850374"/>
                  </a:lnTo>
                  <a:lnTo>
                    <a:pt x="2892865" y="2853128"/>
                  </a:lnTo>
                  <a:lnTo>
                    <a:pt x="2893258" y="2850374"/>
                  </a:lnTo>
                  <a:lnTo>
                    <a:pt x="2892471" y="2849194"/>
                  </a:lnTo>
                  <a:lnTo>
                    <a:pt x="2891684" y="2843292"/>
                  </a:lnTo>
                  <a:lnTo>
                    <a:pt x="2892471" y="2844079"/>
                  </a:lnTo>
                  <a:lnTo>
                    <a:pt x="2892865" y="2841325"/>
                  </a:lnTo>
                  <a:lnTo>
                    <a:pt x="2893652" y="2838571"/>
                  </a:lnTo>
                  <a:lnTo>
                    <a:pt x="2892078" y="2835424"/>
                  </a:lnTo>
                  <a:lnTo>
                    <a:pt x="2890898" y="2832670"/>
                  </a:lnTo>
                  <a:lnTo>
                    <a:pt x="2891684" y="2830309"/>
                  </a:lnTo>
                  <a:lnTo>
                    <a:pt x="2891291" y="2832276"/>
                  </a:lnTo>
                  <a:lnTo>
                    <a:pt x="2892471" y="2835030"/>
                  </a:lnTo>
                  <a:lnTo>
                    <a:pt x="2894045" y="2835424"/>
                  </a:lnTo>
                  <a:lnTo>
                    <a:pt x="2894832" y="2832276"/>
                  </a:lnTo>
                  <a:lnTo>
                    <a:pt x="2894832" y="2829522"/>
                  </a:lnTo>
                  <a:lnTo>
                    <a:pt x="2892078" y="2829522"/>
                  </a:lnTo>
                  <a:lnTo>
                    <a:pt x="2892471" y="2828735"/>
                  </a:lnTo>
                  <a:lnTo>
                    <a:pt x="2893258" y="2829129"/>
                  </a:lnTo>
                  <a:lnTo>
                    <a:pt x="2893258" y="2827555"/>
                  </a:lnTo>
                  <a:lnTo>
                    <a:pt x="2894832" y="2823621"/>
                  </a:lnTo>
                  <a:lnTo>
                    <a:pt x="2895225" y="2822834"/>
                  </a:lnTo>
                  <a:lnTo>
                    <a:pt x="2895225" y="2822441"/>
                  </a:lnTo>
                  <a:lnTo>
                    <a:pt x="2897193" y="2817326"/>
                  </a:lnTo>
                  <a:lnTo>
                    <a:pt x="2898766" y="2814179"/>
                  </a:lnTo>
                  <a:lnTo>
                    <a:pt x="2897193" y="2811031"/>
                  </a:lnTo>
                  <a:lnTo>
                    <a:pt x="2895619" y="2811031"/>
                  </a:lnTo>
                  <a:lnTo>
                    <a:pt x="2894045" y="2808277"/>
                  </a:lnTo>
                  <a:lnTo>
                    <a:pt x="2893652" y="2807490"/>
                  </a:lnTo>
                  <a:lnTo>
                    <a:pt x="2896012" y="2810244"/>
                  </a:lnTo>
                  <a:lnTo>
                    <a:pt x="2898766" y="2808277"/>
                  </a:lnTo>
                  <a:lnTo>
                    <a:pt x="2899553" y="2805130"/>
                  </a:lnTo>
                  <a:lnTo>
                    <a:pt x="2899946" y="2802376"/>
                  </a:lnTo>
                  <a:lnTo>
                    <a:pt x="2899946" y="2802376"/>
                  </a:lnTo>
                  <a:lnTo>
                    <a:pt x="2901913" y="2805523"/>
                  </a:lnTo>
                  <a:lnTo>
                    <a:pt x="2904668" y="2807097"/>
                  </a:lnTo>
                  <a:lnTo>
                    <a:pt x="2906241" y="2809851"/>
                  </a:lnTo>
                  <a:lnTo>
                    <a:pt x="2906635" y="2812998"/>
                  </a:lnTo>
                  <a:lnTo>
                    <a:pt x="2905848" y="2815752"/>
                  </a:lnTo>
                  <a:lnTo>
                    <a:pt x="2908995" y="2815752"/>
                  </a:lnTo>
                  <a:lnTo>
                    <a:pt x="2911749" y="2814179"/>
                  </a:lnTo>
                  <a:lnTo>
                    <a:pt x="2914110" y="2811425"/>
                  </a:lnTo>
                  <a:lnTo>
                    <a:pt x="2916077" y="2808277"/>
                  </a:lnTo>
                  <a:lnTo>
                    <a:pt x="2918044" y="2805523"/>
                  </a:lnTo>
                  <a:lnTo>
                    <a:pt x="2920405" y="2802769"/>
                  </a:lnTo>
                  <a:lnTo>
                    <a:pt x="2921978" y="2800015"/>
                  </a:lnTo>
                  <a:lnTo>
                    <a:pt x="2923159" y="2796868"/>
                  </a:lnTo>
                  <a:lnTo>
                    <a:pt x="2925126" y="2794114"/>
                  </a:lnTo>
                  <a:lnTo>
                    <a:pt x="2928667" y="2788606"/>
                  </a:lnTo>
                  <a:lnTo>
                    <a:pt x="2930240" y="2785458"/>
                  </a:lnTo>
                  <a:lnTo>
                    <a:pt x="2931814" y="2782704"/>
                  </a:lnTo>
                  <a:lnTo>
                    <a:pt x="2932994" y="2779950"/>
                  </a:lnTo>
                  <a:lnTo>
                    <a:pt x="2933781" y="2777197"/>
                  </a:lnTo>
                  <a:lnTo>
                    <a:pt x="2934175" y="2775623"/>
                  </a:lnTo>
                  <a:lnTo>
                    <a:pt x="2934961" y="2774049"/>
                  </a:lnTo>
                  <a:lnTo>
                    <a:pt x="2936142" y="2771295"/>
                  </a:lnTo>
                  <a:lnTo>
                    <a:pt x="2937322" y="2768148"/>
                  </a:lnTo>
                  <a:lnTo>
                    <a:pt x="2938896" y="2765394"/>
                  </a:lnTo>
                  <a:lnTo>
                    <a:pt x="2936142" y="2766574"/>
                  </a:lnTo>
                  <a:lnTo>
                    <a:pt x="2936929" y="2766574"/>
                  </a:lnTo>
                  <a:lnTo>
                    <a:pt x="2939289" y="2763427"/>
                  </a:lnTo>
                  <a:lnTo>
                    <a:pt x="2939683" y="2760673"/>
                  </a:lnTo>
                  <a:lnTo>
                    <a:pt x="2941256" y="2757919"/>
                  </a:lnTo>
                  <a:lnTo>
                    <a:pt x="2940469" y="2761066"/>
                  </a:lnTo>
                  <a:lnTo>
                    <a:pt x="2943223" y="2758706"/>
                  </a:lnTo>
                  <a:lnTo>
                    <a:pt x="2945977" y="2755951"/>
                  </a:lnTo>
                  <a:lnTo>
                    <a:pt x="2945977" y="2752804"/>
                  </a:lnTo>
                  <a:lnTo>
                    <a:pt x="2943223" y="2751230"/>
                  </a:lnTo>
                  <a:lnTo>
                    <a:pt x="2942437" y="2749657"/>
                  </a:lnTo>
                  <a:lnTo>
                    <a:pt x="2945584" y="2752017"/>
                  </a:lnTo>
                  <a:lnTo>
                    <a:pt x="2947944" y="2748870"/>
                  </a:lnTo>
                  <a:lnTo>
                    <a:pt x="2948338" y="2747690"/>
                  </a:lnTo>
                  <a:lnTo>
                    <a:pt x="2949125" y="2744936"/>
                  </a:lnTo>
                  <a:lnTo>
                    <a:pt x="2946371" y="2743362"/>
                  </a:lnTo>
                  <a:lnTo>
                    <a:pt x="2946371" y="2742968"/>
                  </a:lnTo>
                  <a:lnTo>
                    <a:pt x="2945977" y="2741788"/>
                  </a:lnTo>
                  <a:lnTo>
                    <a:pt x="2945977" y="2740608"/>
                  </a:lnTo>
                  <a:lnTo>
                    <a:pt x="2949125" y="2742575"/>
                  </a:lnTo>
                  <a:lnTo>
                    <a:pt x="2949125" y="2745329"/>
                  </a:lnTo>
                  <a:lnTo>
                    <a:pt x="2952272" y="2742968"/>
                  </a:lnTo>
                  <a:lnTo>
                    <a:pt x="2954633" y="2739821"/>
                  </a:lnTo>
                  <a:lnTo>
                    <a:pt x="2957780" y="2737460"/>
                  </a:lnTo>
                  <a:lnTo>
                    <a:pt x="2960534" y="2735100"/>
                  </a:lnTo>
                  <a:lnTo>
                    <a:pt x="2963681" y="2733526"/>
                  </a:lnTo>
                  <a:lnTo>
                    <a:pt x="2966436" y="2732346"/>
                  </a:lnTo>
                  <a:lnTo>
                    <a:pt x="2967616" y="2731953"/>
                  </a:lnTo>
                  <a:lnTo>
                    <a:pt x="2975484" y="2720150"/>
                  </a:lnTo>
                  <a:lnTo>
                    <a:pt x="2977845" y="2717002"/>
                  </a:lnTo>
                  <a:lnTo>
                    <a:pt x="2979025" y="2714642"/>
                  </a:lnTo>
                  <a:lnTo>
                    <a:pt x="2980599" y="2711888"/>
                  </a:lnTo>
                  <a:lnTo>
                    <a:pt x="2982566" y="2709134"/>
                  </a:lnTo>
                  <a:lnTo>
                    <a:pt x="2984140" y="2705986"/>
                  </a:lnTo>
                  <a:lnTo>
                    <a:pt x="2982959" y="2705986"/>
                  </a:lnTo>
                  <a:lnTo>
                    <a:pt x="2983746" y="2704413"/>
                  </a:lnTo>
                  <a:lnTo>
                    <a:pt x="2986107" y="2702839"/>
                  </a:lnTo>
                  <a:lnTo>
                    <a:pt x="2986894" y="2703232"/>
                  </a:lnTo>
                  <a:lnTo>
                    <a:pt x="2989254" y="2699298"/>
                  </a:lnTo>
                  <a:lnTo>
                    <a:pt x="2990828" y="2697331"/>
                  </a:lnTo>
                  <a:lnTo>
                    <a:pt x="2992795" y="2694577"/>
                  </a:lnTo>
                  <a:lnTo>
                    <a:pt x="2994369" y="2691429"/>
                  </a:lnTo>
                  <a:lnTo>
                    <a:pt x="2997123" y="2688676"/>
                  </a:lnTo>
                  <a:lnTo>
                    <a:pt x="2998697" y="2685922"/>
                  </a:lnTo>
                  <a:lnTo>
                    <a:pt x="3000270" y="2682774"/>
                  </a:lnTo>
                  <a:lnTo>
                    <a:pt x="3001844" y="2679627"/>
                  </a:lnTo>
                  <a:lnTo>
                    <a:pt x="3002631" y="2677660"/>
                  </a:lnTo>
                  <a:lnTo>
                    <a:pt x="3003418" y="2674512"/>
                  </a:lnTo>
                  <a:lnTo>
                    <a:pt x="3004598" y="2671758"/>
                  </a:lnTo>
                  <a:lnTo>
                    <a:pt x="3004991" y="2668217"/>
                  </a:lnTo>
                  <a:lnTo>
                    <a:pt x="3006565" y="2665463"/>
                  </a:lnTo>
                  <a:lnTo>
                    <a:pt x="3007352" y="2662316"/>
                  </a:lnTo>
                  <a:lnTo>
                    <a:pt x="3006171" y="2660742"/>
                  </a:lnTo>
                  <a:lnTo>
                    <a:pt x="3008532" y="2657988"/>
                  </a:lnTo>
                  <a:lnTo>
                    <a:pt x="3008926" y="2654448"/>
                  </a:lnTo>
                  <a:lnTo>
                    <a:pt x="3009712" y="2651694"/>
                  </a:lnTo>
                  <a:lnTo>
                    <a:pt x="3009712" y="2650120"/>
                  </a:lnTo>
                  <a:lnTo>
                    <a:pt x="3009319" y="2649726"/>
                  </a:lnTo>
                  <a:lnTo>
                    <a:pt x="3009712" y="2648939"/>
                  </a:lnTo>
                  <a:lnTo>
                    <a:pt x="3010106" y="2649333"/>
                  </a:lnTo>
                  <a:lnTo>
                    <a:pt x="3011680" y="2645792"/>
                  </a:lnTo>
                  <a:lnTo>
                    <a:pt x="3011680" y="2639891"/>
                  </a:lnTo>
                  <a:lnTo>
                    <a:pt x="3009712" y="2637137"/>
                  </a:lnTo>
                  <a:lnTo>
                    <a:pt x="3009712" y="2635170"/>
                  </a:lnTo>
                  <a:lnTo>
                    <a:pt x="3010106" y="2632022"/>
                  </a:lnTo>
                  <a:lnTo>
                    <a:pt x="3011286" y="2629268"/>
                  </a:lnTo>
                  <a:lnTo>
                    <a:pt x="3008926" y="2628875"/>
                  </a:lnTo>
                  <a:lnTo>
                    <a:pt x="3008926" y="2628088"/>
                  </a:lnTo>
                  <a:lnTo>
                    <a:pt x="3011286" y="2624941"/>
                  </a:lnTo>
                  <a:lnTo>
                    <a:pt x="3011286" y="2624547"/>
                  </a:lnTo>
                  <a:lnTo>
                    <a:pt x="3011680" y="2621793"/>
                  </a:lnTo>
                  <a:lnTo>
                    <a:pt x="3011286" y="2618646"/>
                  </a:lnTo>
                  <a:lnTo>
                    <a:pt x="3011680" y="2615498"/>
                  </a:lnTo>
                  <a:lnTo>
                    <a:pt x="3011680" y="2612351"/>
                  </a:lnTo>
                  <a:close/>
                  <a:moveTo>
                    <a:pt x="1992312" y="242351"/>
                  </a:moveTo>
                  <a:lnTo>
                    <a:pt x="1990345" y="243137"/>
                  </a:lnTo>
                  <a:lnTo>
                    <a:pt x="1987591" y="243531"/>
                  </a:lnTo>
                  <a:lnTo>
                    <a:pt x="1984836" y="245105"/>
                  </a:lnTo>
                  <a:lnTo>
                    <a:pt x="1981689" y="245105"/>
                  </a:lnTo>
                  <a:lnTo>
                    <a:pt x="1978542" y="245498"/>
                  </a:lnTo>
                  <a:cubicBezTo>
                    <a:pt x="1980902" y="244318"/>
                    <a:pt x="1983656" y="243531"/>
                    <a:pt x="1986017" y="242744"/>
                  </a:cubicBezTo>
                  <a:lnTo>
                    <a:pt x="1987591" y="242744"/>
                  </a:lnTo>
                  <a:lnTo>
                    <a:pt x="1988377" y="242351"/>
                  </a:lnTo>
                  <a:cubicBezTo>
                    <a:pt x="1989558" y="242351"/>
                    <a:pt x="1990738" y="242351"/>
                    <a:pt x="1992312" y="242351"/>
                  </a:cubicBezTo>
                  <a:close/>
                  <a:moveTo>
                    <a:pt x="1984050" y="243137"/>
                  </a:moveTo>
                  <a:lnTo>
                    <a:pt x="1984443" y="243137"/>
                  </a:lnTo>
                  <a:lnTo>
                    <a:pt x="1984836" y="243137"/>
                  </a:lnTo>
                  <a:cubicBezTo>
                    <a:pt x="1984443" y="243137"/>
                    <a:pt x="1984050" y="243137"/>
                    <a:pt x="1984050" y="243137"/>
                  </a:cubicBezTo>
                  <a:close/>
                  <a:moveTo>
                    <a:pt x="1981296" y="238023"/>
                  </a:moveTo>
                  <a:lnTo>
                    <a:pt x="1981296" y="238023"/>
                  </a:lnTo>
                  <a:lnTo>
                    <a:pt x="1980902" y="238023"/>
                  </a:lnTo>
                  <a:lnTo>
                    <a:pt x="1981296" y="238023"/>
                  </a:lnTo>
                  <a:close/>
                  <a:moveTo>
                    <a:pt x="1293193" y="66882"/>
                  </a:moveTo>
                  <a:lnTo>
                    <a:pt x="1291226" y="69243"/>
                  </a:lnTo>
                  <a:lnTo>
                    <a:pt x="1293193" y="66882"/>
                  </a:lnTo>
                  <a:lnTo>
                    <a:pt x="1293193" y="66882"/>
                  </a:lnTo>
                  <a:close/>
                  <a:moveTo>
                    <a:pt x="1987984" y="1016220"/>
                  </a:moveTo>
                  <a:lnTo>
                    <a:pt x="1987197" y="1016614"/>
                  </a:lnTo>
                  <a:lnTo>
                    <a:pt x="1986804" y="1017007"/>
                  </a:lnTo>
                  <a:lnTo>
                    <a:pt x="1986804" y="1015827"/>
                  </a:lnTo>
                  <a:lnTo>
                    <a:pt x="1989558" y="1014253"/>
                  </a:lnTo>
                  <a:lnTo>
                    <a:pt x="1991131" y="1013860"/>
                  </a:lnTo>
                  <a:lnTo>
                    <a:pt x="1988377" y="1015433"/>
                  </a:lnTo>
                  <a:lnTo>
                    <a:pt x="1987984" y="1016220"/>
                  </a:lnTo>
                  <a:close/>
                  <a:moveTo>
                    <a:pt x="1192476" y="1640194"/>
                  </a:moveTo>
                  <a:lnTo>
                    <a:pt x="1192476" y="1640194"/>
                  </a:lnTo>
                  <a:lnTo>
                    <a:pt x="1190902" y="1642948"/>
                  </a:lnTo>
                  <a:lnTo>
                    <a:pt x="1192082" y="1641375"/>
                  </a:lnTo>
                  <a:lnTo>
                    <a:pt x="1190902" y="1644129"/>
                  </a:lnTo>
                  <a:lnTo>
                    <a:pt x="1190902" y="1645309"/>
                  </a:lnTo>
                  <a:lnTo>
                    <a:pt x="1190115" y="1639801"/>
                  </a:lnTo>
                  <a:lnTo>
                    <a:pt x="1186574" y="1635080"/>
                  </a:lnTo>
                  <a:lnTo>
                    <a:pt x="1193656" y="1638227"/>
                  </a:lnTo>
                  <a:lnTo>
                    <a:pt x="1192476" y="1640194"/>
                  </a:lnTo>
                  <a:close/>
                  <a:moveTo>
                    <a:pt x="1663801" y="1420663"/>
                  </a:moveTo>
                  <a:lnTo>
                    <a:pt x="1665374" y="1417908"/>
                  </a:lnTo>
                  <a:lnTo>
                    <a:pt x="1665374" y="1417122"/>
                  </a:lnTo>
                  <a:lnTo>
                    <a:pt x="1665374" y="1421843"/>
                  </a:lnTo>
                  <a:lnTo>
                    <a:pt x="1663801" y="1420663"/>
                  </a:lnTo>
                  <a:close/>
                  <a:moveTo>
                    <a:pt x="1929757" y="1084283"/>
                  </a:moveTo>
                  <a:lnTo>
                    <a:pt x="1930937" y="1085070"/>
                  </a:lnTo>
                  <a:lnTo>
                    <a:pt x="1931724" y="1087430"/>
                  </a:lnTo>
                  <a:lnTo>
                    <a:pt x="1929757" y="1084283"/>
                  </a:lnTo>
                  <a:close/>
                  <a:moveTo>
                    <a:pt x="2332626" y="740428"/>
                  </a:moveTo>
                  <a:lnTo>
                    <a:pt x="2329478" y="741609"/>
                  </a:lnTo>
                  <a:lnTo>
                    <a:pt x="2326724" y="742396"/>
                  </a:lnTo>
                  <a:lnTo>
                    <a:pt x="2323970" y="742002"/>
                  </a:lnTo>
                  <a:lnTo>
                    <a:pt x="2325544" y="741609"/>
                  </a:lnTo>
                  <a:lnTo>
                    <a:pt x="2326331" y="741609"/>
                  </a:lnTo>
                  <a:lnTo>
                    <a:pt x="2333412" y="740428"/>
                  </a:lnTo>
                  <a:lnTo>
                    <a:pt x="2332626" y="740428"/>
                  </a:lnTo>
                  <a:close/>
                  <a:moveTo>
                    <a:pt x="2230728" y="729806"/>
                  </a:moveTo>
                  <a:lnTo>
                    <a:pt x="2229548" y="729806"/>
                  </a:lnTo>
                  <a:lnTo>
                    <a:pt x="2224040" y="728232"/>
                  </a:lnTo>
                  <a:lnTo>
                    <a:pt x="2224040" y="727839"/>
                  </a:lnTo>
                  <a:lnTo>
                    <a:pt x="2233089" y="729806"/>
                  </a:lnTo>
                  <a:lnTo>
                    <a:pt x="2230728" y="729806"/>
                  </a:lnTo>
                  <a:close/>
                  <a:moveTo>
                    <a:pt x="2654842" y="590926"/>
                  </a:moveTo>
                  <a:lnTo>
                    <a:pt x="2657989" y="591320"/>
                  </a:lnTo>
                  <a:lnTo>
                    <a:pt x="2660350" y="592107"/>
                  </a:lnTo>
                  <a:lnTo>
                    <a:pt x="2654055" y="590926"/>
                  </a:lnTo>
                  <a:lnTo>
                    <a:pt x="2654842" y="590926"/>
                  </a:lnTo>
                  <a:close/>
                  <a:moveTo>
                    <a:pt x="2570255" y="362739"/>
                  </a:moveTo>
                  <a:lnTo>
                    <a:pt x="2570255" y="364313"/>
                  </a:lnTo>
                  <a:lnTo>
                    <a:pt x="2570255" y="362739"/>
                  </a:lnTo>
                  <a:lnTo>
                    <a:pt x="2570255" y="362739"/>
                  </a:lnTo>
                  <a:close/>
                  <a:moveTo>
                    <a:pt x="2501405" y="405623"/>
                  </a:moveTo>
                  <a:lnTo>
                    <a:pt x="2502979" y="404836"/>
                  </a:lnTo>
                  <a:lnTo>
                    <a:pt x="2501012" y="406803"/>
                  </a:lnTo>
                  <a:lnTo>
                    <a:pt x="2501405" y="405623"/>
                  </a:lnTo>
                  <a:close/>
                  <a:moveTo>
                    <a:pt x="2410524" y="424507"/>
                  </a:moveTo>
                  <a:lnTo>
                    <a:pt x="2410524" y="424507"/>
                  </a:lnTo>
                  <a:lnTo>
                    <a:pt x="2410524" y="424507"/>
                  </a:lnTo>
                  <a:lnTo>
                    <a:pt x="2410524" y="424507"/>
                  </a:lnTo>
                  <a:close/>
                  <a:moveTo>
                    <a:pt x="1999393" y="503979"/>
                  </a:moveTo>
                  <a:lnTo>
                    <a:pt x="1999393" y="503979"/>
                  </a:lnTo>
                  <a:lnTo>
                    <a:pt x="1999393" y="503979"/>
                  </a:lnTo>
                  <a:cubicBezTo>
                    <a:pt x="1999000" y="504373"/>
                    <a:pt x="1999000" y="503979"/>
                    <a:pt x="1999393" y="503979"/>
                  </a:cubicBezTo>
                  <a:close/>
                  <a:moveTo>
                    <a:pt x="2241744" y="149502"/>
                  </a:moveTo>
                  <a:lnTo>
                    <a:pt x="2241744" y="149502"/>
                  </a:lnTo>
                  <a:lnTo>
                    <a:pt x="2240170" y="151863"/>
                  </a:lnTo>
                  <a:lnTo>
                    <a:pt x="2241744" y="149502"/>
                  </a:lnTo>
                  <a:close/>
                  <a:moveTo>
                    <a:pt x="1986804" y="150289"/>
                  </a:moveTo>
                  <a:lnTo>
                    <a:pt x="1984050" y="152649"/>
                  </a:lnTo>
                  <a:lnTo>
                    <a:pt x="1981296" y="154223"/>
                  </a:lnTo>
                  <a:lnTo>
                    <a:pt x="1979722" y="155010"/>
                  </a:lnTo>
                  <a:lnTo>
                    <a:pt x="1986804" y="150289"/>
                  </a:lnTo>
                  <a:lnTo>
                    <a:pt x="1986804" y="150289"/>
                  </a:lnTo>
                  <a:close/>
                  <a:moveTo>
                    <a:pt x="1711405" y="140453"/>
                  </a:moveTo>
                  <a:lnTo>
                    <a:pt x="1714552" y="141633"/>
                  </a:lnTo>
                  <a:lnTo>
                    <a:pt x="1716520" y="140847"/>
                  </a:lnTo>
                  <a:lnTo>
                    <a:pt x="1712979" y="143601"/>
                  </a:lnTo>
                  <a:lnTo>
                    <a:pt x="1710225" y="143207"/>
                  </a:lnTo>
                  <a:lnTo>
                    <a:pt x="1708651" y="142027"/>
                  </a:lnTo>
                  <a:lnTo>
                    <a:pt x="1708651" y="138486"/>
                  </a:lnTo>
                  <a:lnTo>
                    <a:pt x="1711405" y="140453"/>
                  </a:lnTo>
                  <a:close/>
                  <a:moveTo>
                    <a:pt x="1447022" y="55473"/>
                  </a:moveTo>
                  <a:lnTo>
                    <a:pt x="1445055" y="55473"/>
                  </a:lnTo>
                  <a:lnTo>
                    <a:pt x="1445449" y="55473"/>
                  </a:lnTo>
                  <a:lnTo>
                    <a:pt x="1447022" y="55473"/>
                  </a:lnTo>
                  <a:close/>
                  <a:moveTo>
                    <a:pt x="1438761" y="55473"/>
                  </a:moveTo>
                  <a:lnTo>
                    <a:pt x="1440334" y="55473"/>
                  </a:lnTo>
                  <a:lnTo>
                    <a:pt x="1441121" y="55473"/>
                  </a:lnTo>
                  <a:lnTo>
                    <a:pt x="1443482" y="55473"/>
                  </a:lnTo>
                  <a:lnTo>
                    <a:pt x="1443482" y="55473"/>
                  </a:lnTo>
                  <a:lnTo>
                    <a:pt x="1437974" y="55473"/>
                  </a:lnTo>
                  <a:lnTo>
                    <a:pt x="1438761" y="55473"/>
                  </a:lnTo>
                  <a:close/>
                  <a:moveTo>
                    <a:pt x="1288472" y="72390"/>
                  </a:moveTo>
                  <a:lnTo>
                    <a:pt x="1285718" y="73571"/>
                  </a:lnTo>
                  <a:lnTo>
                    <a:pt x="1288472" y="72390"/>
                  </a:lnTo>
                  <a:lnTo>
                    <a:pt x="1288865" y="71604"/>
                  </a:lnTo>
                  <a:lnTo>
                    <a:pt x="1290832" y="70817"/>
                  </a:lnTo>
                  <a:lnTo>
                    <a:pt x="1288472" y="72390"/>
                  </a:lnTo>
                  <a:close/>
                  <a:moveTo>
                    <a:pt x="868292" y="483128"/>
                  </a:moveTo>
                  <a:lnTo>
                    <a:pt x="867112" y="484701"/>
                  </a:lnTo>
                  <a:lnTo>
                    <a:pt x="865932" y="485488"/>
                  </a:lnTo>
                  <a:lnTo>
                    <a:pt x="867505" y="483914"/>
                  </a:lnTo>
                  <a:lnTo>
                    <a:pt x="868292" y="483128"/>
                  </a:lnTo>
                  <a:close/>
                  <a:moveTo>
                    <a:pt x="851768" y="501225"/>
                  </a:moveTo>
                  <a:lnTo>
                    <a:pt x="850981" y="502012"/>
                  </a:lnTo>
                  <a:lnTo>
                    <a:pt x="849408" y="503586"/>
                  </a:lnTo>
                  <a:lnTo>
                    <a:pt x="849801" y="503192"/>
                  </a:lnTo>
                  <a:lnTo>
                    <a:pt x="851768" y="501225"/>
                  </a:lnTo>
                  <a:close/>
                  <a:moveTo>
                    <a:pt x="706200" y="40916"/>
                  </a:moveTo>
                  <a:lnTo>
                    <a:pt x="699119" y="45637"/>
                  </a:lnTo>
                  <a:lnTo>
                    <a:pt x="702266" y="43670"/>
                  </a:lnTo>
                  <a:lnTo>
                    <a:pt x="704233" y="42097"/>
                  </a:lnTo>
                  <a:lnTo>
                    <a:pt x="706200" y="40916"/>
                  </a:lnTo>
                  <a:lnTo>
                    <a:pt x="706200" y="40916"/>
                  </a:lnTo>
                  <a:close/>
                  <a:moveTo>
                    <a:pt x="690070" y="42883"/>
                  </a:moveTo>
                  <a:lnTo>
                    <a:pt x="687709" y="43277"/>
                  </a:lnTo>
                  <a:lnTo>
                    <a:pt x="684955" y="43670"/>
                  </a:lnTo>
                  <a:lnTo>
                    <a:pt x="690070" y="42883"/>
                  </a:lnTo>
                  <a:close/>
                  <a:moveTo>
                    <a:pt x="306479" y="260842"/>
                  </a:moveTo>
                  <a:lnTo>
                    <a:pt x="306479" y="260842"/>
                  </a:lnTo>
                  <a:lnTo>
                    <a:pt x="302151" y="262415"/>
                  </a:lnTo>
                  <a:lnTo>
                    <a:pt x="303725" y="261629"/>
                  </a:lnTo>
                  <a:lnTo>
                    <a:pt x="306479" y="260842"/>
                  </a:lnTo>
                  <a:close/>
                  <a:moveTo>
                    <a:pt x="254154" y="333232"/>
                  </a:moveTo>
                  <a:lnTo>
                    <a:pt x="250613" y="334412"/>
                  </a:lnTo>
                  <a:lnTo>
                    <a:pt x="247859" y="334806"/>
                  </a:lnTo>
                  <a:lnTo>
                    <a:pt x="244711" y="335986"/>
                  </a:lnTo>
                  <a:lnTo>
                    <a:pt x="241957" y="337560"/>
                  </a:lnTo>
                  <a:lnTo>
                    <a:pt x="238810" y="339133"/>
                  </a:lnTo>
                  <a:lnTo>
                    <a:pt x="236449" y="340314"/>
                  </a:lnTo>
                  <a:lnTo>
                    <a:pt x="245498" y="334806"/>
                  </a:lnTo>
                  <a:lnTo>
                    <a:pt x="248252" y="334412"/>
                  </a:lnTo>
                  <a:lnTo>
                    <a:pt x="251006" y="331658"/>
                  </a:lnTo>
                  <a:lnTo>
                    <a:pt x="250613" y="334019"/>
                  </a:lnTo>
                  <a:lnTo>
                    <a:pt x="253760" y="333232"/>
                  </a:lnTo>
                  <a:lnTo>
                    <a:pt x="256514" y="332839"/>
                  </a:lnTo>
                  <a:lnTo>
                    <a:pt x="254154" y="333232"/>
                  </a:lnTo>
                  <a:close/>
                  <a:moveTo>
                    <a:pt x="278939" y="388312"/>
                  </a:moveTo>
                  <a:lnTo>
                    <a:pt x="279333" y="385951"/>
                  </a:lnTo>
                  <a:lnTo>
                    <a:pt x="280120" y="388705"/>
                  </a:lnTo>
                  <a:lnTo>
                    <a:pt x="278939" y="388312"/>
                  </a:lnTo>
                  <a:close/>
                  <a:moveTo>
                    <a:pt x="181370" y="453227"/>
                  </a:moveTo>
                  <a:lnTo>
                    <a:pt x="184517" y="452440"/>
                  </a:lnTo>
                  <a:lnTo>
                    <a:pt x="181370" y="453227"/>
                  </a:lnTo>
                  <a:lnTo>
                    <a:pt x="178222" y="454801"/>
                  </a:lnTo>
                  <a:lnTo>
                    <a:pt x="181370" y="453227"/>
                  </a:lnTo>
                  <a:close/>
                  <a:moveTo>
                    <a:pt x="613745" y="315921"/>
                  </a:moveTo>
                  <a:lnTo>
                    <a:pt x="610598" y="317888"/>
                  </a:lnTo>
                  <a:lnTo>
                    <a:pt x="609811" y="318282"/>
                  </a:lnTo>
                  <a:lnTo>
                    <a:pt x="614532" y="315135"/>
                  </a:lnTo>
                  <a:lnTo>
                    <a:pt x="613745" y="315921"/>
                  </a:lnTo>
                  <a:close/>
                  <a:moveTo>
                    <a:pt x="847047" y="505553"/>
                  </a:moveTo>
                  <a:lnTo>
                    <a:pt x="844687" y="506733"/>
                  </a:lnTo>
                  <a:lnTo>
                    <a:pt x="849014" y="504373"/>
                  </a:lnTo>
                  <a:lnTo>
                    <a:pt x="848621" y="504766"/>
                  </a:lnTo>
                  <a:lnTo>
                    <a:pt x="847047" y="505553"/>
                  </a:lnTo>
                  <a:close/>
                  <a:moveTo>
                    <a:pt x="824228" y="538601"/>
                  </a:moveTo>
                  <a:lnTo>
                    <a:pt x="821868" y="538207"/>
                  </a:lnTo>
                  <a:lnTo>
                    <a:pt x="825802" y="537814"/>
                  </a:lnTo>
                  <a:lnTo>
                    <a:pt x="826589" y="537814"/>
                  </a:lnTo>
                  <a:lnTo>
                    <a:pt x="828556" y="537420"/>
                  </a:lnTo>
                  <a:lnTo>
                    <a:pt x="824228" y="538601"/>
                  </a:lnTo>
                  <a:lnTo>
                    <a:pt x="824228" y="538601"/>
                  </a:lnTo>
                  <a:close/>
                  <a:moveTo>
                    <a:pt x="825015" y="765214"/>
                  </a:moveTo>
                  <a:lnTo>
                    <a:pt x="826982" y="764034"/>
                  </a:lnTo>
                  <a:lnTo>
                    <a:pt x="825015" y="765214"/>
                  </a:lnTo>
                  <a:lnTo>
                    <a:pt x="825015" y="765214"/>
                  </a:lnTo>
                  <a:lnTo>
                    <a:pt x="825015" y="765214"/>
                  </a:lnTo>
                  <a:lnTo>
                    <a:pt x="824228" y="765608"/>
                  </a:lnTo>
                  <a:lnTo>
                    <a:pt x="825015" y="765214"/>
                  </a:lnTo>
                  <a:close/>
                  <a:moveTo>
                    <a:pt x="856489" y="736101"/>
                  </a:moveTo>
                  <a:lnTo>
                    <a:pt x="858457" y="734920"/>
                  </a:lnTo>
                  <a:lnTo>
                    <a:pt x="856489" y="736887"/>
                  </a:lnTo>
                  <a:lnTo>
                    <a:pt x="856489" y="736101"/>
                  </a:lnTo>
                  <a:close/>
                  <a:moveTo>
                    <a:pt x="852555" y="739642"/>
                  </a:moveTo>
                  <a:lnTo>
                    <a:pt x="854129" y="736494"/>
                  </a:lnTo>
                  <a:lnTo>
                    <a:pt x="853342" y="733740"/>
                  </a:lnTo>
                  <a:lnTo>
                    <a:pt x="856096" y="731773"/>
                  </a:lnTo>
                  <a:lnTo>
                    <a:pt x="858850" y="731773"/>
                  </a:lnTo>
                  <a:lnTo>
                    <a:pt x="858850" y="729412"/>
                  </a:lnTo>
                  <a:lnTo>
                    <a:pt x="860424" y="729806"/>
                  </a:lnTo>
                  <a:lnTo>
                    <a:pt x="861997" y="731773"/>
                  </a:lnTo>
                  <a:lnTo>
                    <a:pt x="859637" y="734134"/>
                  </a:lnTo>
                  <a:lnTo>
                    <a:pt x="858457" y="733347"/>
                  </a:lnTo>
                  <a:lnTo>
                    <a:pt x="855703" y="735707"/>
                  </a:lnTo>
                  <a:lnTo>
                    <a:pt x="856883" y="737281"/>
                  </a:lnTo>
                  <a:lnTo>
                    <a:pt x="854129" y="740035"/>
                  </a:lnTo>
                  <a:lnTo>
                    <a:pt x="852555" y="739642"/>
                  </a:lnTo>
                  <a:close/>
                  <a:moveTo>
                    <a:pt x="842326" y="750264"/>
                  </a:moveTo>
                  <a:lnTo>
                    <a:pt x="843506" y="750264"/>
                  </a:lnTo>
                  <a:lnTo>
                    <a:pt x="841933" y="751838"/>
                  </a:lnTo>
                  <a:lnTo>
                    <a:pt x="842326" y="750264"/>
                  </a:lnTo>
                  <a:close/>
                  <a:moveTo>
                    <a:pt x="839965" y="753411"/>
                  </a:moveTo>
                  <a:lnTo>
                    <a:pt x="837605" y="755772"/>
                  </a:lnTo>
                  <a:lnTo>
                    <a:pt x="838785" y="753805"/>
                  </a:lnTo>
                  <a:lnTo>
                    <a:pt x="839965" y="753411"/>
                  </a:lnTo>
                  <a:close/>
                  <a:moveTo>
                    <a:pt x="830523" y="760100"/>
                  </a:moveTo>
                  <a:lnTo>
                    <a:pt x="830523" y="760100"/>
                  </a:lnTo>
                  <a:lnTo>
                    <a:pt x="830523" y="760100"/>
                  </a:lnTo>
                  <a:lnTo>
                    <a:pt x="830523" y="760100"/>
                  </a:lnTo>
                  <a:close/>
                  <a:moveTo>
                    <a:pt x="1561116" y="1849104"/>
                  </a:moveTo>
                  <a:lnTo>
                    <a:pt x="1561510" y="1852251"/>
                  </a:lnTo>
                  <a:lnTo>
                    <a:pt x="1559149" y="1848317"/>
                  </a:lnTo>
                  <a:lnTo>
                    <a:pt x="1561116" y="1849104"/>
                  </a:lnTo>
                  <a:close/>
                  <a:moveTo>
                    <a:pt x="2892471" y="2833063"/>
                  </a:moveTo>
                  <a:lnTo>
                    <a:pt x="2892078" y="2834243"/>
                  </a:lnTo>
                  <a:lnTo>
                    <a:pt x="2892078" y="2833850"/>
                  </a:lnTo>
                  <a:lnTo>
                    <a:pt x="2892471" y="2833063"/>
                  </a:lnTo>
                  <a:close/>
                  <a:moveTo>
                    <a:pt x="2404623" y="3498347"/>
                  </a:moveTo>
                  <a:lnTo>
                    <a:pt x="2404623" y="3497953"/>
                  </a:lnTo>
                  <a:lnTo>
                    <a:pt x="2405016" y="3497560"/>
                  </a:lnTo>
                  <a:lnTo>
                    <a:pt x="2404623" y="3498347"/>
                  </a:lnTo>
                  <a:lnTo>
                    <a:pt x="2404623" y="3498347"/>
                  </a:lnTo>
                  <a:close/>
                  <a:moveTo>
                    <a:pt x="2403836" y="3475528"/>
                  </a:moveTo>
                  <a:lnTo>
                    <a:pt x="2404229" y="3477102"/>
                  </a:lnTo>
                  <a:lnTo>
                    <a:pt x="2404229" y="3477495"/>
                  </a:lnTo>
                  <a:lnTo>
                    <a:pt x="2403836" y="3475528"/>
                  </a:lnTo>
                  <a:lnTo>
                    <a:pt x="2404623" y="3479069"/>
                  </a:lnTo>
                  <a:lnTo>
                    <a:pt x="2404623" y="3479463"/>
                  </a:lnTo>
                  <a:lnTo>
                    <a:pt x="2404229" y="3478676"/>
                  </a:lnTo>
                  <a:lnTo>
                    <a:pt x="2404623" y="3479856"/>
                  </a:lnTo>
                  <a:lnTo>
                    <a:pt x="2404623" y="3481430"/>
                  </a:lnTo>
                  <a:lnTo>
                    <a:pt x="2404229" y="3480249"/>
                  </a:lnTo>
                  <a:lnTo>
                    <a:pt x="2404229" y="3479856"/>
                  </a:lnTo>
                  <a:lnTo>
                    <a:pt x="2403836" y="3475528"/>
                  </a:lnTo>
                  <a:close/>
                  <a:moveTo>
                    <a:pt x="1708258" y="2285807"/>
                  </a:moveTo>
                  <a:lnTo>
                    <a:pt x="1707471" y="2285414"/>
                  </a:lnTo>
                  <a:lnTo>
                    <a:pt x="1707471" y="2285414"/>
                  </a:lnTo>
                  <a:lnTo>
                    <a:pt x="1708258" y="2285807"/>
                  </a:lnTo>
                  <a:close/>
                  <a:moveTo>
                    <a:pt x="1653571" y="2446325"/>
                  </a:moveTo>
                  <a:lnTo>
                    <a:pt x="1653571" y="2445145"/>
                  </a:lnTo>
                  <a:lnTo>
                    <a:pt x="1653965" y="2442784"/>
                  </a:lnTo>
                  <a:lnTo>
                    <a:pt x="1657506" y="2439243"/>
                  </a:lnTo>
                  <a:lnTo>
                    <a:pt x="1655538" y="2441997"/>
                  </a:lnTo>
                  <a:lnTo>
                    <a:pt x="1654358" y="2444358"/>
                  </a:lnTo>
                  <a:lnTo>
                    <a:pt x="1654358" y="2444751"/>
                  </a:lnTo>
                  <a:lnTo>
                    <a:pt x="1654358" y="2448292"/>
                  </a:lnTo>
                  <a:lnTo>
                    <a:pt x="1653571" y="2446325"/>
                  </a:lnTo>
                  <a:close/>
                  <a:moveTo>
                    <a:pt x="2121356" y="3968491"/>
                  </a:moveTo>
                  <a:lnTo>
                    <a:pt x="2120569" y="3966918"/>
                  </a:lnTo>
                  <a:lnTo>
                    <a:pt x="2121356" y="3968491"/>
                  </a:lnTo>
                  <a:lnTo>
                    <a:pt x="2121356" y="3968491"/>
                  </a:lnTo>
                  <a:close/>
                  <a:moveTo>
                    <a:pt x="2211450" y="4116026"/>
                  </a:moveTo>
                  <a:lnTo>
                    <a:pt x="2208303" y="4116026"/>
                  </a:lnTo>
                  <a:lnTo>
                    <a:pt x="2209877" y="4113272"/>
                  </a:lnTo>
                  <a:lnTo>
                    <a:pt x="2213811" y="4116813"/>
                  </a:lnTo>
                  <a:lnTo>
                    <a:pt x="2211450" y="4116026"/>
                  </a:lnTo>
                  <a:close/>
                  <a:moveTo>
                    <a:pt x="2343642" y="4143566"/>
                  </a:moveTo>
                  <a:lnTo>
                    <a:pt x="2343642" y="4143566"/>
                  </a:lnTo>
                  <a:lnTo>
                    <a:pt x="2341674" y="4142779"/>
                  </a:lnTo>
                  <a:lnTo>
                    <a:pt x="2343642" y="4143566"/>
                  </a:lnTo>
                  <a:lnTo>
                    <a:pt x="2343642" y="414356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8" name="Freeform: Shape 2482">
              <a:extLst>
                <a:ext uri="{FF2B5EF4-FFF2-40B4-BE49-F238E27FC236}">
                  <a16:creationId xmlns:a16="http://schemas.microsoft.com/office/drawing/2014/main" id="{8CDE4383-1767-4133-A777-8FC5C78DF874}"/>
                </a:ext>
              </a:extLst>
            </p:cNvPr>
            <p:cNvSpPr/>
            <p:nvPr/>
          </p:nvSpPr>
          <p:spPr>
            <a:xfrm>
              <a:off x="7056354" y="2753136"/>
              <a:ext cx="3934" cy="15737"/>
            </a:xfrm>
            <a:custGeom>
              <a:avLst/>
              <a:gdLst>
                <a:gd name="connsiteX0" fmla="*/ 1180 w 3934"/>
                <a:gd name="connsiteY0" fmla="*/ 14163 h 15737"/>
                <a:gd name="connsiteX1" fmla="*/ 2360 w 3934"/>
                <a:gd name="connsiteY1" fmla="*/ 11016 h 15737"/>
                <a:gd name="connsiteX2" fmla="*/ 3148 w 3934"/>
                <a:gd name="connsiteY2" fmla="*/ 8262 h 15737"/>
                <a:gd name="connsiteX3" fmla="*/ 4328 w 3934"/>
                <a:gd name="connsiteY3" fmla="*/ 5508 h 15737"/>
                <a:gd name="connsiteX4" fmla="*/ 5115 w 3934"/>
                <a:gd name="connsiteY4" fmla="*/ 2754 h 15737"/>
                <a:gd name="connsiteX5" fmla="*/ 5508 w 3934"/>
                <a:gd name="connsiteY5" fmla="*/ 0 h 15737"/>
                <a:gd name="connsiteX6" fmla="*/ 0 w 3934"/>
                <a:gd name="connsiteY6" fmla="*/ 1573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15737">
                  <a:moveTo>
                    <a:pt x="1180" y="14163"/>
                  </a:moveTo>
                  <a:lnTo>
                    <a:pt x="2360" y="11016"/>
                  </a:lnTo>
                  <a:lnTo>
                    <a:pt x="3148" y="8262"/>
                  </a:lnTo>
                  <a:lnTo>
                    <a:pt x="4328" y="5508"/>
                  </a:lnTo>
                  <a:lnTo>
                    <a:pt x="5115" y="2754"/>
                  </a:lnTo>
                  <a:lnTo>
                    <a:pt x="5508" y="0"/>
                  </a:lnTo>
                  <a:lnTo>
                    <a:pt x="0" y="1573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9" name="Freeform: Shape 2483">
              <a:extLst>
                <a:ext uri="{FF2B5EF4-FFF2-40B4-BE49-F238E27FC236}">
                  <a16:creationId xmlns:a16="http://schemas.microsoft.com/office/drawing/2014/main" id="{BB32C5DB-1135-4549-A0D6-999B2F912306}"/>
                </a:ext>
              </a:extLst>
            </p:cNvPr>
            <p:cNvSpPr/>
            <p:nvPr/>
          </p:nvSpPr>
          <p:spPr>
            <a:xfrm>
              <a:off x="7061469" y="2742120"/>
              <a:ext cx="3934" cy="7869"/>
            </a:xfrm>
            <a:custGeom>
              <a:avLst/>
              <a:gdLst>
                <a:gd name="connsiteX0" fmla="*/ 0 w 0"/>
                <a:gd name="connsiteY0" fmla="*/ 5901 h 7868"/>
                <a:gd name="connsiteX1" fmla="*/ 393 w 0"/>
                <a:gd name="connsiteY1" fmla="*/ 9049 h 7868"/>
                <a:gd name="connsiteX2" fmla="*/ 393 w 0"/>
                <a:gd name="connsiteY2" fmla="*/ 11016 h 7868"/>
                <a:gd name="connsiteX3" fmla="*/ 1180 w 0"/>
                <a:gd name="connsiteY3" fmla="*/ 0 h 7868"/>
                <a:gd name="connsiteX4" fmla="*/ 787 w 0"/>
                <a:gd name="connsiteY4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7868">
                  <a:moveTo>
                    <a:pt x="0" y="5901"/>
                  </a:moveTo>
                  <a:lnTo>
                    <a:pt x="393" y="9049"/>
                  </a:lnTo>
                  <a:lnTo>
                    <a:pt x="393" y="11016"/>
                  </a:lnTo>
                  <a:lnTo>
                    <a:pt x="1180" y="0"/>
                  </a:lnTo>
                  <a:lnTo>
                    <a:pt x="78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0" name="Freeform: Shape 2484">
              <a:extLst>
                <a:ext uri="{FF2B5EF4-FFF2-40B4-BE49-F238E27FC236}">
                  <a16:creationId xmlns:a16="http://schemas.microsoft.com/office/drawing/2014/main" id="{7B3BED7A-70EB-497D-B827-EF82BED8237D}"/>
                </a:ext>
              </a:extLst>
            </p:cNvPr>
            <p:cNvSpPr/>
            <p:nvPr/>
          </p:nvSpPr>
          <p:spPr>
            <a:xfrm>
              <a:off x="7062649" y="2725989"/>
              <a:ext cx="3934" cy="15737"/>
            </a:xfrm>
            <a:custGeom>
              <a:avLst/>
              <a:gdLst>
                <a:gd name="connsiteX0" fmla="*/ 787 w 0"/>
                <a:gd name="connsiteY0" fmla="*/ 5901 h 15737"/>
                <a:gd name="connsiteX1" fmla="*/ 394 w 0"/>
                <a:gd name="connsiteY1" fmla="*/ 8655 h 15737"/>
                <a:gd name="connsiteX2" fmla="*/ 0 w 0"/>
                <a:gd name="connsiteY2" fmla="*/ 11409 h 15737"/>
                <a:gd name="connsiteX3" fmla="*/ 0 w 0"/>
                <a:gd name="connsiteY3" fmla="*/ 16131 h 15737"/>
                <a:gd name="connsiteX4" fmla="*/ 2361 w 0"/>
                <a:gd name="connsiteY4" fmla="*/ 0 h 15737"/>
                <a:gd name="connsiteX5" fmla="*/ 1180 w 0"/>
                <a:gd name="connsiteY5" fmla="*/ 2754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15737">
                  <a:moveTo>
                    <a:pt x="787" y="5901"/>
                  </a:moveTo>
                  <a:lnTo>
                    <a:pt x="394" y="8655"/>
                  </a:lnTo>
                  <a:lnTo>
                    <a:pt x="0" y="11409"/>
                  </a:lnTo>
                  <a:lnTo>
                    <a:pt x="0" y="16131"/>
                  </a:lnTo>
                  <a:lnTo>
                    <a:pt x="2361" y="0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1" name="Freeform: Shape 2485">
              <a:extLst>
                <a:ext uri="{FF2B5EF4-FFF2-40B4-BE49-F238E27FC236}">
                  <a16:creationId xmlns:a16="http://schemas.microsoft.com/office/drawing/2014/main" id="{C3B4A637-DCB8-405A-96C0-35BE9B1475E4}"/>
                </a:ext>
              </a:extLst>
            </p:cNvPr>
            <p:cNvSpPr/>
            <p:nvPr/>
          </p:nvSpPr>
          <p:spPr>
            <a:xfrm>
              <a:off x="7096484" y="2805461"/>
              <a:ext cx="15737" cy="27540"/>
            </a:xfrm>
            <a:custGeom>
              <a:avLst/>
              <a:gdLst>
                <a:gd name="connsiteX0" fmla="*/ 16130 w 15737"/>
                <a:gd name="connsiteY0" fmla="*/ 23606 h 27539"/>
                <a:gd name="connsiteX1" fmla="*/ 14950 w 15737"/>
                <a:gd name="connsiteY1" fmla="*/ 20458 h 27539"/>
                <a:gd name="connsiteX2" fmla="*/ 12983 w 15737"/>
                <a:gd name="connsiteY2" fmla="*/ 17704 h 27539"/>
                <a:gd name="connsiteX3" fmla="*/ 11409 w 15737"/>
                <a:gd name="connsiteY3" fmla="*/ 14557 h 27539"/>
                <a:gd name="connsiteX4" fmla="*/ 9049 w 15737"/>
                <a:gd name="connsiteY4" fmla="*/ 11803 h 27539"/>
                <a:gd name="connsiteX5" fmla="*/ 6688 w 15737"/>
                <a:gd name="connsiteY5" fmla="*/ 8655 h 27539"/>
                <a:gd name="connsiteX6" fmla="*/ 5114 w 15737"/>
                <a:gd name="connsiteY6" fmla="*/ 5901 h 27539"/>
                <a:gd name="connsiteX7" fmla="*/ 2754 w 15737"/>
                <a:gd name="connsiteY7" fmla="*/ 2754 h 27539"/>
                <a:gd name="connsiteX8" fmla="*/ 0 w 15737"/>
                <a:gd name="connsiteY8" fmla="*/ 0 h 27539"/>
                <a:gd name="connsiteX9" fmla="*/ 18884 w 15737"/>
                <a:gd name="connsiteY9" fmla="*/ 29114 h 27539"/>
                <a:gd name="connsiteX10" fmla="*/ 17704 w 15737"/>
                <a:gd name="connsiteY10" fmla="*/ 26753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737" h="27539">
                  <a:moveTo>
                    <a:pt x="16130" y="23606"/>
                  </a:moveTo>
                  <a:lnTo>
                    <a:pt x="14950" y="20458"/>
                  </a:lnTo>
                  <a:lnTo>
                    <a:pt x="12983" y="17704"/>
                  </a:lnTo>
                  <a:lnTo>
                    <a:pt x="11409" y="14557"/>
                  </a:lnTo>
                  <a:lnTo>
                    <a:pt x="9049" y="11803"/>
                  </a:lnTo>
                  <a:lnTo>
                    <a:pt x="6688" y="8655"/>
                  </a:lnTo>
                  <a:lnTo>
                    <a:pt x="5114" y="5901"/>
                  </a:lnTo>
                  <a:lnTo>
                    <a:pt x="2754" y="2754"/>
                  </a:lnTo>
                  <a:lnTo>
                    <a:pt x="0" y="0"/>
                  </a:lnTo>
                  <a:lnTo>
                    <a:pt x="18884" y="29114"/>
                  </a:lnTo>
                  <a:lnTo>
                    <a:pt x="17704" y="2675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2" name="Freeform: Shape 2486">
              <a:extLst>
                <a:ext uri="{FF2B5EF4-FFF2-40B4-BE49-F238E27FC236}">
                  <a16:creationId xmlns:a16="http://schemas.microsoft.com/office/drawing/2014/main" id="{B0BC0103-DB01-418A-A9F8-B7541B45D2F1}"/>
                </a:ext>
              </a:extLst>
            </p:cNvPr>
            <p:cNvSpPr/>
            <p:nvPr/>
          </p:nvSpPr>
          <p:spPr>
            <a:xfrm>
              <a:off x="7075632" y="2773594"/>
              <a:ext cx="7869" cy="11803"/>
            </a:xfrm>
            <a:custGeom>
              <a:avLst/>
              <a:gdLst>
                <a:gd name="connsiteX0" fmla="*/ 6295 w 7868"/>
                <a:gd name="connsiteY0" fmla="*/ 9049 h 11802"/>
                <a:gd name="connsiteX1" fmla="*/ 3934 w 7868"/>
                <a:gd name="connsiteY1" fmla="*/ 5901 h 11802"/>
                <a:gd name="connsiteX2" fmla="*/ 2754 w 7868"/>
                <a:gd name="connsiteY2" fmla="*/ 2754 h 11802"/>
                <a:gd name="connsiteX3" fmla="*/ 0 w 7868"/>
                <a:gd name="connsiteY3" fmla="*/ 0 h 11802"/>
                <a:gd name="connsiteX4" fmla="*/ 8655 w 7868"/>
                <a:gd name="connsiteY4" fmla="*/ 13770 h 11802"/>
                <a:gd name="connsiteX5" fmla="*/ 8262 w 7868"/>
                <a:gd name="connsiteY5" fmla="*/ 11803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11802">
                  <a:moveTo>
                    <a:pt x="6295" y="9049"/>
                  </a:moveTo>
                  <a:lnTo>
                    <a:pt x="3934" y="5901"/>
                  </a:lnTo>
                  <a:lnTo>
                    <a:pt x="2754" y="2754"/>
                  </a:lnTo>
                  <a:lnTo>
                    <a:pt x="0" y="0"/>
                  </a:lnTo>
                  <a:lnTo>
                    <a:pt x="8655" y="13770"/>
                  </a:lnTo>
                  <a:lnTo>
                    <a:pt x="8262" y="1180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3" name="Freeform: Shape 2487">
              <a:extLst>
                <a:ext uri="{FF2B5EF4-FFF2-40B4-BE49-F238E27FC236}">
                  <a16:creationId xmlns:a16="http://schemas.microsoft.com/office/drawing/2014/main" id="{6C774096-F10C-48F3-A432-2F51A1E7A94E}"/>
                </a:ext>
              </a:extLst>
            </p:cNvPr>
            <p:cNvSpPr/>
            <p:nvPr/>
          </p:nvSpPr>
          <p:spPr>
            <a:xfrm>
              <a:off x="7089795" y="2795232"/>
              <a:ext cx="3934" cy="3934"/>
            </a:xfrm>
            <a:custGeom>
              <a:avLst/>
              <a:gdLst>
                <a:gd name="connsiteX0" fmla="*/ 1967 w 3934"/>
                <a:gd name="connsiteY0" fmla="*/ 1574 h 3934"/>
                <a:gd name="connsiteX1" fmla="*/ 0 w 3934"/>
                <a:gd name="connsiteY1" fmla="*/ 0 h 3934"/>
                <a:gd name="connsiteX2" fmla="*/ 4328 w 3934"/>
                <a:gd name="connsiteY2" fmla="*/ 7082 h 3934"/>
                <a:gd name="connsiteX3" fmla="*/ 4328 w 3934"/>
                <a:gd name="connsiteY3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1967" y="1574"/>
                  </a:moveTo>
                  <a:lnTo>
                    <a:pt x="0" y="0"/>
                  </a:lnTo>
                  <a:lnTo>
                    <a:pt x="4328" y="7082"/>
                  </a:lnTo>
                  <a:lnTo>
                    <a:pt x="4328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4" name="Freeform: Shape 2488">
              <a:extLst>
                <a:ext uri="{FF2B5EF4-FFF2-40B4-BE49-F238E27FC236}">
                  <a16:creationId xmlns:a16="http://schemas.microsoft.com/office/drawing/2014/main" id="{0F42C3CC-542F-4346-A1D1-DE12DDD18019}"/>
                </a:ext>
              </a:extLst>
            </p:cNvPr>
            <p:cNvSpPr/>
            <p:nvPr/>
          </p:nvSpPr>
          <p:spPr>
            <a:xfrm>
              <a:off x="7094123" y="2802314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1967 w 0"/>
                <a:gd name="connsiteY1" fmla="*/ 3147 h 0"/>
                <a:gd name="connsiteX2" fmla="*/ 2361 w 0"/>
                <a:gd name="connsiteY2" fmla="*/ 3147 h 0"/>
                <a:gd name="connsiteX3" fmla="*/ 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1967" y="3147"/>
                  </a:lnTo>
                  <a:lnTo>
                    <a:pt x="2361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5" name="Freeform: Shape 2489">
              <a:extLst>
                <a:ext uri="{FF2B5EF4-FFF2-40B4-BE49-F238E27FC236}">
                  <a16:creationId xmlns:a16="http://schemas.microsoft.com/office/drawing/2014/main" id="{5A179CAD-4C23-4043-8046-5EF042112A30}"/>
                </a:ext>
              </a:extLst>
            </p:cNvPr>
            <p:cNvSpPr/>
            <p:nvPr/>
          </p:nvSpPr>
          <p:spPr>
            <a:xfrm>
              <a:off x="7084287" y="2787364"/>
              <a:ext cx="3934" cy="7869"/>
            </a:xfrm>
            <a:custGeom>
              <a:avLst/>
              <a:gdLst>
                <a:gd name="connsiteX0" fmla="*/ 394 w 3934"/>
                <a:gd name="connsiteY0" fmla="*/ 1180 h 7868"/>
                <a:gd name="connsiteX1" fmla="*/ 1967 w 3934"/>
                <a:gd name="connsiteY1" fmla="*/ 4328 h 7868"/>
                <a:gd name="connsiteX2" fmla="*/ 4328 w 3934"/>
                <a:gd name="connsiteY2" fmla="*/ 7082 h 7868"/>
                <a:gd name="connsiteX3" fmla="*/ 5508 w 3934"/>
                <a:gd name="connsiteY3" fmla="*/ 7869 h 7868"/>
                <a:gd name="connsiteX4" fmla="*/ 0 w 3934"/>
                <a:gd name="connsiteY4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7868">
                  <a:moveTo>
                    <a:pt x="394" y="1180"/>
                  </a:moveTo>
                  <a:lnTo>
                    <a:pt x="1967" y="4328"/>
                  </a:lnTo>
                  <a:lnTo>
                    <a:pt x="4328" y="7082"/>
                  </a:lnTo>
                  <a:lnTo>
                    <a:pt x="5508" y="786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6" name="Freeform: Shape 2490">
              <a:extLst>
                <a:ext uri="{FF2B5EF4-FFF2-40B4-BE49-F238E27FC236}">
                  <a16:creationId xmlns:a16="http://schemas.microsoft.com/office/drawing/2014/main" id="{4222A51E-059A-4E86-8913-5D652FFF39AE}"/>
                </a:ext>
              </a:extLst>
            </p:cNvPr>
            <p:cNvSpPr/>
            <p:nvPr/>
          </p:nvSpPr>
          <p:spPr>
            <a:xfrm>
              <a:off x="7116548" y="2836148"/>
              <a:ext cx="3934" cy="7869"/>
            </a:xfrm>
            <a:custGeom>
              <a:avLst/>
              <a:gdLst>
                <a:gd name="connsiteX0" fmla="*/ 4721 w 3934"/>
                <a:gd name="connsiteY0" fmla="*/ 2754 h 7868"/>
                <a:gd name="connsiteX1" fmla="*/ 1967 w 3934"/>
                <a:gd name="connsiteY1" fmla="*/ 1967 h 7868"/>
                <a:gd name="connsiteX2" fmla="*/ 0 w 3934"/>
                <a:gd name="connsiteY2" fmla="*/ 0 h 7868"/>
                <a:gd name="connsiteX3" fmla="*/ 5114 w 3934"/>
                <a:gd name="connsiteY3" fmla="*/ 7869 h 7868"/>
                <a:gd name="connsiteX4" fmla="*/ 5901 w 3934"/>
                <a:gd name="connsiteY4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7868">
                  <a:moveTo>
                    <a:pt x="4721" y="2754"/>
                  </a:moveTo>
                  <a:lnTo>
                    <a:pt x="1967" y="1967"/>
                  </a:lnTo>
                  <a:lnTo>
                    <a:pt x="0" y="0"/>
                  </a:lnTo>
                  <a:lnTo>
                    <a:pt x="5114" y="7869"/>
                  </a:lnTo>
                  <a:lnTo>
                    <a:pt x="5901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7" name="Freeform: Shape 2491">
              <a:extLst>
                <a:ext uri="{FF2B5EF4-FFF2-40B4-BE49-F238E27FC236}">
                  <a16:creationId xmlns:a16="http://schemas.microsoft.com/office/drawing/2014/main" id="{2C3026E2-7A05-480E-A2D9-FBFD071543BB}"/>
                </a:ext>
              </a:extLst>
            </p:cNvPr>
            <p:cNvSpPr/>
            <p:nvPr/>
          </p:nvSpPr>
          <p:spPr>
            <a:xfrm>
              <a:off x="7115368" y="2834575"/>
              <a:ext cx="3934" cy="3934"/>
            </a:xfrm>
            <a:custGeom>
              <a:avLst/>
              <a:gdLst>
                <a:gd name="connsiteX0" fmla="*/ 393 w 0"/>
                <a:gd name="connsiteY0" fmla="*/ 787 h 0"/>
                <a:gd name="connsiteX1" fmla="*/ 1180 w 0"/>
                <a:gd name="connsiteY1" fmla="*/ 157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787"/>
                  </a:moveTo>
                  <a:lnTo>
                    <a:pt x="1180" y="15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8" name="Freeform: Shape 2492">
              <a:extLst>
                <a:ext uri="{FF2B5EF4-FFF2-40B4-BE49-F238E27FC236}">
                  <a16:creationId xmlns:a16="http://schemas.microsoft.com/office/drawing/2014/main" id="{549A6486-8FC2-4792-BE73-F34209E9C80E}"/>
                </a:ext>
              </a:extLst>
            </p:cNvPr>
            <p:cNvSpPr/>
            <p:nvPr/>
          </p:nvSpPr>
          <p:spPr>
            <a:xfrm>
              <a:off x="7469845" y="2778315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1574 w 0"/>
                <a:gd name="connsiteY1" fmla="*/ 787 h 0"/>
                <a:gd name="connsiteX2" fmla="*/ 39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1574" y="787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9" name="Freeform: Shape 2493">
              <a:extLst>
                <a:ext uri="{FF2B5EF4-FFF2-40B4-BE49-F238E27FC236}">
                  <a16:creationId xmlns:a16="http://schemas.microsoft.com/office/drawing/2014/main" id="{E23F53E4-CB19-48C3-BA77-A839EC423BCA}"/>
                </a:ext>
              </a:extLst>
            </p:cNvPr>
            <p:cNvSpPr/>
            <p:nvPr/>
          </p:nvSpPr>
          <p:spPr>
            <a:xfrm>
              <a:off x="7121663" y="2844017"/>
              <a:ext cx="3934" cy="3934"/>
            </a:xfrm>
            <a:custGeom>
              <a:avLst/>
              <a:gdLst>
                <a:gd name="connsiteX0" fmla="*/ 787 w 3934"/>
                <a:gd name="connsiteY0" fmla="*/ 3147 h 3934"/>
                <a:gd name="connsiteX1" fmla="*/ 3934 w 3934"/>
                <a:gd name="connsiteY1" fmla="*/ 6295 h 3934"/>
                <a:gd name="connsiteX2" fmla="*/ 3934 w 3934"/>
                <a:gd name="connsiteY2" fmla="*/ 6295 h 3934"/>
                <a:gd name="connsiteX3" fmla="*/ 0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787" y="3147"/>
                  </a:moveTo>
                  <a:lnTo>
                    <a:pt x="3934" y="6295"/>
                  </a:lnTo>
                  <a:lnTo>
                    <a:pt x="3934" y="629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00" name="Freeform: Shape 2494">
              <a:extLst>
                <a:ext uri="{FF2B5EF4-FFF2-40B4-BE49-F238E27FC236}">
                  <a16:creationId xmlns:a16="http://schemas.microsoft.com/office/drawing/2014/main" id="{5E209B53-BA87-46AE-822F-84BCF5E4C872}"/>
                </a:ext>
              </a:extLst>
            </p:cNvPr>
            <p:cNvSpPr/>
            <p:nvPr/>
          </p:nvSpPr>
          <p:spPr>
            <a:xfrm>
              <a:off x="7125597" y="2850312"/>
              <a:ext cx="11803" cy="23606"/>
            </a:xfrm>
            <a:custGeom>
              <a:avLst/>
              <a:gdLst>
                <a:gd name="connsiteX0" fmla="*/ 14557 w 11802"/>
                <a:gd name="connsiteY0" fmla="*/ 19278 h 23605"/>
                <a:gd name="connsiteX1" fmla="*/ 12197 w 11802"/>
                <a:gd name="connsiteY1" fmla="*/ 16524 h 23605"/>
                <a:gd name="connsiteX2" fmla="*/ 10229 w 11802"/>
                <a:gd name="connsiteY2" fmla="*/ 13770 h 23605"/>
                <a:gd name="connsiteX3" fmla="*/ 8656 w 11802"/>
                <a:gd name="connsiteY3" fmla="*/ 10622 h 23605"/>
                <a:gd name="connsiteX4" fmla="*/ 7082 w 11802"/>
                <a:gd name="connsiteY4" fmla="*/ 7475 h 23605"/>
                <a:gd name="connsiteX5" fmla="*/ 5115 w 11802"/>
                <a:gd name="connsiteY5" fmla="*/ 4721 h 23605"/>
                <a:gd name="connsiteX6" fmla="*/ 2754 w 11802"/>
                <a:gd name="connsiteY6" fmla="*/ 1574 h 23605"/>
                <a:gd name="connsiteX7" fmla="*/ 0 w 11802"/>
                <a:gd name="connsiteY7" fmla="*/ 0 h 23605"/>
                <a:gd name="connsiteX8" fmla="*/ 14950 w 11802"/>
                <a:gd name="connsiteY8" fmla="*/ 24392 h 23605"/>
                <a:gd name="connsiteX9" fmla="*/ 14164 w 11802"/>
                <a:gd name="connsiteY9" fmla="*/ 22425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23605">
                  <a:moveTo>
                    <a:pt x="14557" y="19278"/>
                  </a:moveTo>
                  <a:lnTo>
                    <a:pt x="12197" y="16524"/>
                  </a:lnTo>
                  <a:lnTo>
                    <a:pt x="10229" y="13770"/>
                  </a:lnTo>
                  <a:lnTo>
                    <a:pt x="8656" y="10622"/>
                  </a:lnTo>
                  <a:lnTo>
                    <a:pt x="7082" y="7475"/>
                  </a:lnTo>
                  <a:lnTo>
                    <a:pt x="5115" y="4721"/>
                  </a:lnTo>
                  <a:lnTo>
                    <a:pt x="2754" y="1574"/>
                  </a:lnTo>
                  <a:lnTo>
                    <a:pt x="0" y="0"/>
                  </a:lnTo>
                  <a:lnTo>
                    <a:pt x="14950" y="24392"/>
                  </a:lnTo>
                  <a:lnTo>
                    <a:pt x="14164" y="2242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01" name="Freeform: Shape 2495">
              <a:extLst>
                <a:ext uri="{FF2B5EF4-FFF2-40B4-BE49-F238E27FC236}">
                  <a16:creationId xmlns:a16="http://schemas.microsoft.com/office/drawing/2014/main" id="{15E2D197-880C-4C81-8601-FF34AF10B9BA}"/>
                </a:ext>
              </a:extLst>
            </p:cNvPr>
            <p:cNvSpPr/>
            <p:nvPr/>
          </p:nvSpPr>
          <p:spPr>
            <a:xfrm>
              <a:off x="7195627" y="2952996"/>
              <a:ext cx="3934" cy="3934"/>
            </a:xfrm>
            <a:custGeom>
              <a:avLst/>
              <a:gdLst>
                <a:gd name="connsiteX0" fmla="*/ 393 w 0"/>
                <a:gd name="connsiteY0" fmla="*/ 787 h 3934"/>
                <a:gd name="connsiteX1" fmla="*/ 0 w 0"/>
                <a:gd name="connsiteY1" fmla="*/ 0 h 3934"/>
                <a:gd name="connsiteX2" fmla="*/ 1967 w 0"/>
                <a:gd name="connsiteY2" fmla="*/ 5115 h 3934"/>
                <a:gd name="connsiteX3" fmla="*/ 1574 w 0"/>
                <a:gd name="connsiteY3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93" y="787"/>
                  </a:moveTo>
                  <a:lnTo>
                    <a:pt x="0" y="0"/>
                  </a:lnTo>
                  <a:lnTo>
                    <a:pt x="1967" y="5115"/>
                  </a:lnTo>
                  <a:lnTo>
                    <a:pt x="1574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02" name="Freeform: Shape 2496">
              <a:extLst>
                <a:ext uri="{FF2B5EF4-FFF2-40B4-BE49-F238E27FC236}">
                  <a16:creationId xmlns:a16="http://schemas.microsoft.com/office/drawing/2014/main" id="{687FAAFB-9D2F-48B5-A07F-5F0F38F44A74}"/>
                </a:ext>
              </a:extLst>
            </p:cNvPr>
            <p:cNvSpPr/>
            <p:nvPr/>
          </p:nvSpPr>
          <p:spPr>
            <a:xfrm>
              <a:off x="7168480" y="2908539"/>
              <a:ext cx="15737" cy="19671"/>
            </a:xfrm>
            <a:custGeom>
              <a:avLst/>
              <a:gdLst>
                <a:gd name="connsiteX0" fmla="*/ 11409 w 15737"/>
                <a:gd name="connsiteY0" fmla="*/ 13770 h 19671"/>
                <a:gd name="connsiteX1" fmla="*/ 9049 w 15737"/>
                <a:gd name="connsiteY1" fmla="*/ 8262 h 19671"/>
                <a:gd name="connsiteX2" fmla="*/ 6295 w 15737"/>
                <a:gd name="connsiteY2" fmla="*/ 5114 h 19671"/>
                <a:gd name="connsiteX3" fmla="*/ 3541 w 15737"/>
                <a:gd name="connsiteY3" fmla="*/ 2361 h 19671"/>
                <a:gd name="connsiteX4" fmla="*/ 393 w 15737"/>
                <a:gd name="connsiteY4" fmla="*/ 393 h 19671"/>
                <a:gd name="connsiteX5" fmla="*/ 0 w 15737"/>
                <a:gd name="connsiteY5" fmla="*/ 0 h 19671"/>
                <a:gd name="connsiteX6" fmla="*/ 7869 w 15737"/>
                <a:gd name="connsiteY6" fmla="*/ 9442 h 19671"/>
                <a:gd name="connsiteX7" fmla="*/ 11016 w 15737"/>
                <a:gd name="connsiteY7" fmla="*/ 15737 h 19671"/>
                <a:gd name="connsiteX8" fmla="*/ 10623 w 15737"/>
                <a:gd name="connsiteY8" fmla="*/ 13770 h 19671"/>
                <a:gd name="connsiteX9" fmla="*/ 9442 w 15737"/>
                <a:gd name="connsiteY9" fmla="*/ 11409 h 19671"/>
                <a:gd name="connsiteX10" fmla="*/ 16130 w 15737"/>
                <a:gd name="connsiteY10" fmla="*/ 19671 h 19671"/>
                <a:gd name="connsiteX11" fmla="*/ 14163 w 15737"/>
                <a:gd name="connsiteY11" fmla="*/ 16524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737" h="19671">
                  <a:moveTo>
                    <a:pt x="11409" y="13770"/>
                  </a:moveTo>
                  <a:lnTo>
                    <a:pt x="9049" y="8262"/>
                  </a:lnTo>
                  <a:lnTo>
                    <a:pt x="6295" y="5114"/>
                  </a:lnTo>
                  <a:lnTo>
                    <a:pt x="3541" y="2361"/>
                  </a:lnTo>
                  <a:lnTo>
                    <a:pt x="393" y="393"/>
                  </a:lnTo>
                  <a:lnTo>
                    <a:pt x="0" y="0"/>
                  </a:lnTo>
                  <a:lnTo>
                    <a:pt x="7869" y="9442"/>
                  </a:lnTo>
                  <a:lnTo>
                    <a:pt x="11016" y="15737"/>
                  </a:lnTo>
                  <a:lnTo>
                    <a:pt x="10623" y="13770"/>
                  </a:lnTo>
                  <a:lnTo>
                    <a:pt x="9442" y="11409"/>
                  </a:lnTo>
                  <a:lnTo>
                    <a:pt x="16130" y="19671"/>
                  </a:lnTo>
                  <a:lnTo>
                    <a:pt x="14163" y="1652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03" name="Freeform: Shape 2497">
              <a:extLst>
                <a:ext uri="{FF2B5EF4-FFF2-40B4-BE49-F238E27FC236}">
                  <a16:creationId xmlns:a16="http://schemas.microsoft.com/office/drawing/2014/main" id="{F270972D-9B0B-4994-A3C4-3F868C47584F}"/>
                </a:ext>
              </a:extLst>
            </p:cNvPr>
            <p:cNvSpPr/>
            <p:nvPr/>
          </p:nvSpPr>
          <p:spPr>
            <a:xfrm>
              <a:off x="7228675" y="3035222"/>
              <a:ext cx="11803" cy="7869"/>
            </a:xfrm>
            <a:custGeom>
              <a:avLst/>
              <a:gdLst>
                <a:gd name="connsiteX0" fmla="*/ 8262 w 11802"/>
                <a:gd name="connsiteY0" fmla="*/ 5901 h 7868"/>
                <a:gd name="connsiteX1" fmla="*/ 5901 w 11802"/>
                <a:gd name="connsiteY1" fmla="*/ 3147 h 7868"/>
                <a:gd name="connsiteX2" fmla="*/ 2754 w 11802"/>
                <a:gd name="connsiteY2" fmla="*/ 393 h 7868"/>
                <a:gd name="connsiteX3" fmla="*/ 0 w 11802"/>
                <a:gd name="connsiteY3" fmla="*/ 0 h 7868"/>
                <a:gd name="connsiteX4" fmla="*/ 13770 w 11802"/>
                <a:gd name="connsiteY4" fmla="*/ 9442 h 7868"/>
                <a:gd name="connsiteX5" fmla="*/ 11409 w 11802"/>
                <a:gd name="connsiteY5" fmla="*/ 708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02" h="7868">
                  <a:moveTo>
                    <a:pt x="8262" y="5901"/>
                  </a:moveTo>
                  <a:lnTo>
                    <a:pt x="5901" y="3147"/>
                  </a:lnTo>
                  <a:lnTo>
                    <a:pt x="2754" y="393"/>
                  </a:lnTo>
                  <a:lnTo>
                    <a:pt x="0" y="0"/>
                  </a:lnTo>
                  <a:lnTo>
                    <a:pt x="13770" y="9442"/>
                  </a:lnTo>
                  <a:lnTo>
                    <a:pt x="11409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04" name="Freeform: Shape 2498">
              <a:extLst>
                <a:ext uri="{FF2B5EF4-FFF2-40B4-BE49-F238E27FC236}">
                  <a16:creationId xmlns:a16="http://schemas.microsoft.com/office/drawing/2014/main" id="{15214B27-1056-493D-BF2E-CE7CFE61BB2A}"/>
                </a:ext>
              </a:extLst>
            </p:cNvPr>
            <p:cNvSpPr/>
            <p:nvPr/>
          </p:nvSpPr>
          <p:spPr>
            <a:xfrm>
              <a:off x="7159038" y="2902244"/>
              <a:ext cx="7869" cy="3934"/>
            </a:xfrm>
            <a:custGeom>
              <a:avLst/>
              <a:gdLst>
                <a:gd name="connsiteX0" fmla="*/ 4721 w 7868"/>
                <a:gd name="connsiteY0" fmla="*/ 2754 h 3934"/>
                <a:gd name="connsiteX1" fmla="*/ 2754 w 7868"/>
                <a:gd name="connsiteY1" fmla="*/ 0 h 3934"/>
                <a:gd name="connsiteX2" fmla="*/ 0 w 7868"/>
                <a:gd name="connsiteY2" fmla="*/ 393 h 3934"/>
                <a:gd name="connsiteX3" fmla="*/ 9442 w 7868"/>
                <a:gd name="connsiteY3" fmla="*/ 6295 h 3934"/>
                <a:gd name="connsiteX4" fmla="*/ 7475 w 7868"/>
                <a:gd name="connsiteY4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 h="3934">
                  <a:moveTo>
                    <a:pt x="4721" y="2754"/>
                  </a:moveTo>
                  <a:lnTo>
                    <a:pt x="2754" y="0"/>
                  </a:lnTo>
                  <a:lnTo>
                    <a:pt x="0" y="393"/>
                  </a:lnTo>
                  <a:lnTo>
                    <a:pt x="9442" y="6295"/>
                  </a:lnTo>
                  <a:lnTo>
                    <a:pt x="7475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05" name="Freeform: Shape 2499">
              <a:extLst>
                <a:ext uri="{FF2B5EF4-FFF2-40B4-BE49-F238E27FC236}">
                  <a16:creationId xmlns:a16="http://schemas.microsoft.com/office/drawing/2014/main" id="{55E41D30-2296-4D4B-A6FA-CA65754F716D}"/>
                </a:ext>
              </a:extLst>
            </p:cNvPr>
            <p:cNvSpPr/>
            <p:nvPr/>
          </p:nvSpPr>
          <p:spPr>
            <a:xfrm>
              <a:off x="8755956" y="298525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06" name="Freeform: Shape 2500">
              <a:extLst>
                <a:ext uri="{FF2B5EF4-FFF2-40B4-BE49-F238E27FC236}">
                  <a16:creationId xmlns:a16="http://schemas.microsoft.com/office/drawing/2014/main" id="{C8559D38-61A6-4A82-BBD6-ED7C253964A5}"/>
                </a:ext>
              </a:extLst>
            </p:cNvPr>
            <p:cNvSpPr/>
            <p:nvPr/>
          </p:nvSpPr>
          <p:spPr>
            <a:xfrm>
              <a:off x="7286115" y="3118235"/>
              <a:ext cx="15737" cy="19671"/>
            </a:xfrm>
            <a:custGeom>
              <a:avLst/>
              <a:gdLst>
                <a:gd name="connsiteX0" fmla="*/ 15344 w 15737"/>
                <a:gd name="connsiteY0" fmla="*/ 17311 h 19671"/>
                <a:gd name="connsiteX1" fmla="*/ 15344 w 15737"/>
                <a:gd name="connsiteY1" fmla="*/ 14163 h 19671"/>
                <a:gd name="connsiteX2" fmla="*/ 12589 w 15737"/>
                <a:gd name="connsiteY2" fmla="*/ 11409 h 19671"/>
                <a:gd name="connsiteX3" fmla="*/ 9836 w 15737"/>
                <a:gd name="connsiteY3" fmla="*/ 9049 h 19671"/>
                <a:gd name="connsiteX4" fmla="*/ 7082 w 15737"/>
                <a:gd name="connsiteY4" fmla="*/ 6295 h 19671"/>
                <a:gd name="connsiteX5" fmla="*/ 4328 w 15737"/>
                <a:gd name="connsiteY5" fmla="*/ 3934 h 19671"/>
                <a:gd name="connsiteX6" fmla="*/ 1574 w 15737"/>
                <a:gd name="connsiteY6" fmla="*/ 1180 h 19671"/>
                <a:gd name="connsiteX7" fmla="*/ 0 w 15737"/>
                <a:gd name="connsiteY7" fmla="*/ 0 h 19671"/>
                <a:gd name="connsiteX8" fmla="*/ 16524 w 15737"/>
                <a:gd name="connsiteY8" fmla="*/ 22425 h 19671"/>
                <a:gd name="connsiteX9" fmla="*/ 16130 w 15737"/>
                <a:gd name="connsiteY9" fmla="*/ 20065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37" h="19671">
                  <a:moveTo>
                    <a:pt x="15344" y="17311"/>
                  </a:moveTo>
                  <a:lnTo>
                    <a:pt x="15344" y="14163"/>
                  </a:lnTo>
                  <a:lnTo>
                    <a:pt x="12589" y="11409"/>
                  </a:lnTo>
                  <a:lnTo>
                    <a:pt x="9836" y="9049"/>
                  </a:lnTo>
                  <a:lnTo>
                    <a:pt x="7082" y="6295"/>
                  </a:lnTo>
                  <a:lnTo>
                    <a:pt x="4328" y="3934"/>
                  </a:lnTo>
                  <a:lnTo>
                    <a:pt x="1574" y="1180"/>
                  </a:lnTo>
                  <a:lnTo>
                    <a:pt x="0" y="0"/>
                  </a:lnTo>
                  <a:lnTo>
                    <a:pt x="16524" y="22425"/>
                  </a:lnTo>
                  <a:lnTo>
                    <a:pt x="16130" y="2006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07" name="Freeform: Shape 2501">
              <a:extLst>
                <a:ext uri="{FF2B5EF4-FFF2-40B4-BE49-F238E27FC236}">
                  <a16:creationId xmlns:a16="http://schemas.microsoft.com/office/drawing/2014/main" id="{2AC98671-EFE0-45C8-BF39-A6C92D0F493E}"/>
                </a:ext>
              </a:extLst>
            </p:cNvPr>
            <p:cNvSpPr/>
            <p:nvPr/>
          </p:nvSpPr>
          <p:spPr>
            <a:xfrm>
              <a:off x="7275493" y="3102892"/>
              <a:ext cx="3934" cy="3934"/>
            </a:xfrm>
            <a:custGeom>
              <a:avLst/>
              <a:gdLst>
                <a:gd name="connsiteX0" fmla="*/ 787 w 3934"/>
                <a:gd name="connsiteY0" fmla="*/ 2360 h 3934"/>
                <a:gd name="connsiteX1" fmla="*/ 3147 w 3934"/>
                <a:gd name="connsiteY1" fmla="*/ 5508 h 3934"/>
                <a:gd name="connsiteX2" fmla="*/ 3934 w 3934"/>
                <a:gd name="connsiteY2" fmla="*/ 5901 h 3934"/>
                <a:gd name="connsiteX3" fmla="*/ 0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787" y="2360"/>
                  </a:moveTo>
                  <a:lnTo>
                    <a:pt x="3147" y="5508"/>
                  </a:lnTo>
                  <a:lnTo>
                    <a:pt x="3934" y="590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08" name="Freeform: Shape 2502">
              <a:extLst>
                <a:ext uri="{FF2B5EF4-FFF2-40B4-BE49-F238E27FC236}">
                  <a16:creationId xmlns:a16="http://schemas.microsoft.com/office/drawing/2014/main" id="{AB433530-BDB3-4384-A82B-76DACF8AA453}"/>
                </a:ext>
              </a:extLst>
            </p:cNvPr>
            <p:cNvSpPr/>
            <p:nvPr/>
          </p:nvSpPr>
          <p:spPr>
            <a:xfrm>
              <a:off x="8570259" y="3055680"/>
              <a:ext cx="3934" cy="3934"/>
            </a:xfrm>
            <a:custGeom>
              <a:avLst/>
              <a:gdLst>
                <a:gd name="connsiteX0" fmla="*/ 5901 w 3934"/>
                <a:gd name="connsiteY0" fmla="*/ 0 h 0"/>
                <a:gd name="connsiteX1" fmla="*/ 2754 w 3934"/>
                <a:gd name="connsiteY1" fmla="*/ 1574 h 0"/>
                <a:gd name="connsiteX2" fmla="*/ 0 w 3934"/>
                <a:gd name="connsiteY2" fmla="*/ 3147 h 0"/>
                <a:gd name="connsiteX3" fmla="*/ 2754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0"/>
                  </a:moveTo>
                  <a:lnTo>
                    <a:pt x="2754" y="1574"/>
                  </a:lnTo>
                  <a:lnTo>
                    <a:pt x="0" y="3147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09" name="Freeform: Shape 2503">
              <a:extLst>
                <a:ext uri="{FF2B5EF4-FFF2-40B4-BE49-F238E27FC236}">
                  <a16:creationId xmlns:a16="http://schemas.microsoft.com/office/drawing/2014/main" id="{95471CAC-8B60-4372-A491-04FCE3A0AA80}"/>
                </a:ext>
              </a:extLst>
            </p:cNvPr>
            <p:cNvSpPr/>
            <p:nvPr/>
          </p:nvSpPr>
          <p:spPr>
            <a:xfrm>
              <a:off x="5533794" y="1203036"/>
              <a:ext cx="4878488" cy="3690339"/>
            </a:xfrm>
            <a:custGeom>
              <a:avLst/>
              <a:gdLst>
                <a:gd name="connsiteX0" fmla="*/ 3367337 w 4878487"/>
                <a:gd name="connsiteY0" fmla="*/ 1966738 h 3690338"/>
                <a:gd name="connsiteX1" fmla="*/ 3370091 w 4878487"/>
                <a:gd name="connsiteY1" fmla="*/ 1965951 h 3690338"/>
                <a:gd name="connsiteX2" fmla="*/ 3373239 w 4878487"/>
                <a:gd name="connsiteY2" fmla="*/ 1964378 h 3690338"/>
                <a:gd name="connsiteX3" fmla="*/ 3372452 w 4878487"/>
                <a:gd name="connsiteY3" fmla="*/ 1961624 h 3690338"/>
                <a:gd name="connsiteX4" fmla="*/ 3370485 w 4878487"/>
                <a:gd name="connsiteY4" fmla="*/ 1958870 h 3690338"/>
                <a:gd name="connsiteX5" fmla="*/ 3370091 w 4878487"/>
                <a:gd name="connsiteY5" fmla="*/ 1957689 h 3690338"/>
                <a:gd name="connsiteX6" fmla="*/ 3368518 w 4878487"/>
                <a:gd name="connsiteY6" fmla="*/ 1953755 h 3690338"/>
                <a:gd name="connsiteX7" fmla="*/ 3367730 w 4878487"/>
                <a:gd name="connsiteY7" fmla="*/ 1952182 h 3690338"/>
                <a:gd name="connsiteX8" fmla="*/ 3369304 w 4878487"/>
                <a:gd name="connsiteY8" fmla="*/ 1951788 h 3690338"/>
                <a:gd name="connsiteX9" fmla="*/ 3369698 w 4878487"/>
                <a:gd name="connsiteY9" fmla="*/ 1951001 h 3690338"/>
                <a:gd name="connsiteX10" fmla="*/ 3370878 w 4878487"/>
                <a:gd name="connsiteY10" fmla="*/ 1950608 h 3690338"/>
                <a:gd name="connsiteX11" fmla="*/ 3369304 w 4878487"/>
                <a:gd name="connsiteY11" fmla="*/ 1953755 h 3690338"/>
                <a:gd name="connsiteX12" fmla="*/ 3370485 w 4878487"/>
                <a:gd name="connsiteY12" fmla="*/ 1956116 h 3690338"/>
                <a:gd name="connsiteX13" fmla="*/ 3372058 w 4878487"/>
                <a:gd name="connsiteY13" fmla="*/ 1958870 h 3690338"/>
                <a:gd name="connsiteX14" fmla="*/ 3374812 w 4878487"/>
                <a:gd name="connsiteY14" fmla="*/ 1961230 h 3690338"/>
                <a:gd name="connsiteX15" fmla="*/ 3377566 w 4878487"/>
                <a:gd name="connsiteY15" fmla="*/ 1961230 h 3690338"/>
                <a:gd name="connsiteX16" fmla="*/ 3380714 w 4878487"/>
                <a:gd name="connsiteY16" fmla="*/ 1960443 h 3690338"/>
                <a:gd name="connsiteX17" fmla="*/ 3382288 w 4878487"/>
                <a:gd name="connsiteY17" fmla="*/ 1958870 h 3690338"/>
                <a:gd name="connsiteX18" fmla="*/ 3384255 w 4878487"/>
                <a:gd name="connsiteY18" fmla="*/ 1956116 h 3690338"/>
                <a:gd name="connsiteX19" fmla="*/ 3385828 w 4878487"/>
                <a:gd name="connsiteY19" fmla="*/ 1953362 h 3690338"/>
                <a:gd name="connsiteX20" fmla="*/ 3386615 w 4878487"/>
                <a:gd name="connsiteY20" fmla="*/ 1951788 h 3690338"/>
                <a:gd name="connsiteX21" fmla="*/ 3386222 w 4878487"/>
                <a:gd name="connsiteY21" fmla="*/ 1949034 h 3690338"/>
                <a:gd name="connsiteX22" fmla="*/ 3385828 w 4878487"/>
                <a:gd name="connsiteY22" fmla="*/ 1948641 h 3690338"/>
                <a:gd name="connsiteX23" fmla="*/ 3387795 w 4878487"/>
                <a:gd name="connsiteY23" fmla="*/ 1945887 h 3690338"/>
                <a:gd name="connsiteX24" fmla="*/ 3388189 w 4878487"/>
                <a:gd name="connsiteY24" fmla="*/ 1943133 h 3690338"/>
                <a:gd name="connsiteX25" fmla="*/ 3386615 w 4878487"/>
                <a:gd name="connsiteY25" fmla="*/ 1940772 h 3690338"/>
                <a:gd name="connsiteX26" fmla="*/ 3387008 w 4878487"/>
                <a:gd name="connsiteY26" fmla="*/ 1934871 h 3690338"/>
                <a:gd name="connsiteX27" fmla="*/ 3385435 w 4878487"/>
                <a:gd name="connsiteY27" fmla="*/ 1930149 h 3690338"/>
                <a:gd name="connsiteX28" fmla="*/ 3387008 w 4878487"/>
                <a:gd name="connsiteY28" fmla="*/ 1932904 h 3690338"/>
                <a:gd name="connsiteX29" fmla="*/ 3389369 w 4878487"/>
                <a:gd name="connsiteY29" fmla="*/ 1934871 h 3690338"/>
                <a:gd name="connsiteX30" fmla="*/ 3390943 w 4878487"/>
                <a:gd name="connsiteY30" fmla="*/ 1936444 h 3690338"/>
                <a:gd name="connsiteX31" fmla="*/ 3393697 w 4878487"/>
                <a:gd name="connsiteY31" fmla="*/ 1939198 h 3690338"/>
                <a:gd name="connsiteX32" fmla="*/ 3394090 w 4878487"/>
                <a:gd name="connsiteY32" fmla="*/ 1941952 h 3690338"/>
                <a:gd name="connsiteX33" fmla="*/ 3395664 w 4878487"/>
                <a:gd name="connsiteY33" fmla="*/ 1940772 h 3690338"/>
                <a:gd name="connsiteX34" fmla="*/ 3396057 w 4878487"/>
                <a:gd name="connsiteY34" fmla="*/ 1943526 h 3690338"/>
                <a:gd name="connsiteX35" fmla="*/ 3396844 w 4878487"/>
                <a:gd name="connsiteY35" fmla="*/ 1946280 h 3690338"/>
                <a:gd name="connsiteX36" fmla="*/ 3397631 w 4878487"/>
                <a:gd name="connsiteY36" fmla="*/ 1949427 h 3690338"/>
                <a:gd name="connsiteX37" fmla="*/ 3399205 w 4878487"/>
                <a:gd name="connsiteY37" fmla="*/ 1952182 h 3690338"/>
                <a:gd name="connsiteX38" fmla="*/ 3400385 w 4878487"/>
                <a:gd name="connsiteY38" fmla="*/ 1954936 h 3690338"/>
                <a:gd name="connsiteX39" fmla="*/ 3402746 w 4878487"/>
                <a:gd name="connsiteY39" fmla="*/ 1957689 h 3690338"/>
                <a:gd name="connsiteX40" fmla="*/ 3403532 w 4878487"/>
                <a:gd name="connsiteY40" fmla="*/ 1960443 h 3690338"/>
                <a:gd name="connsiteX41" fmla="*/ 3406680 w 4878487"/>
                <a:gd name="connsiteY41" fmla="*/ 1960837 h 3690338"/>
                <a:gd name="connsiteX42" fmla="*/ 3409434 w 4878487"/>
                <a:gd name="connsiteY42" fmla="*/ 1960443 h 3690338"/>
                <a:gd name="connsiteX43" fmla="*/ 3411795 w 4878487"/>
                <a:gd name="connsiteY43" fmla="*/ 1960837 h 3690338"/>
                <a:gd name="connsiteX44" fmla="*/ 3412975 w 4878487"/>
                <a:gd name="connsiteY44" fmla="*/ 1959656 h 3690338"/>
                <a:gd name="connsiteX45" fmla="*/ 3413762 w 4878487"/>
                <a:gd name="connsiteY45" fmla="*/ 1959263 h 3690338"/>
                <a:gd name="connsiteX46" fmla="*/ 3414942 w 4878487"/>
                <a:gd name="connsiteY46" fmla="*/ 1959656 h 3690338"/>
                <a:gd name="connsiteX47" fmla="*/ 3413368 w 4878487"/>
                <a:gd name="connsiteY47" fmla="*/ 1960050 h 3690338"/>
                <a:gd name="connsiteX48" fmla="*/ 3411795 w 4878487"/>
                <a:gd name="connsiteY48" fmla="*/ 1962804 h 3690338"/>
                <a:gd name="connsiteX49" fmla="*/ 3411795 w 4878487"/>
                <a:gd name="connsiteY49" fmla="*/ 1964771 h 3690338"/>
                <a:gd name="connsiteX50" fmla="*/ 3412188 w 4878487"/>
                <a:gd name="connsiteY50" fmla="*/ 1975394 h 3690338"/>
                <a:gd name="connsiteX51" fmla="*/ 3411795 w 4878487"/>
                <a:gd name="connsiteY51" fmla="*/ 1978541 h 3690338"/>
                <a:gd name="connsiteX52" fmla="*/ 3414548 w 4878487"/>
                <a:gd name="connsiteY52" fmla="*/ 1981295 h 3690338"/>
                <a:gd name="connsiteX53" fmla="*/ 3418483 w 4878487"/>
                <a:gd name="connsiteY53" fmla="*/ 1991524 h 3690338"/>
                <a:gd name="connsiteX54" fmla="*/ 3419663 w 4878487"/>
                <a:gd name="connsiteY54" fmla="*/ 1998606 h 3690338"/>
                <a:gd name="connsiteX55" fmla="*/ 3419663 w 4878487"/>
                <a:gd name="connsiteY55" fmla="*/ 2000180 h 3690338"/>
                <a:gd name="connsiteX56" fmla="*/ 3419269 w 4878487"/>
                <a:gd name="connsiteY56" fmla="*/ 2002933 h 3690338"/>
                <a:gd name="connsiteX57" fmla="*/ 3420843 w 4878487"/>
                <a:gd name="connsiteY57" fmla="*/ 2006081 h 3690338"/>
                <a:gd name="connsiteX58" fmla="*/ 3421236 w 4878487"/>
                <a:gd name="connsiteY58" fmla="*/ 2006868 h 3690338"/>
                <a:gd name="connsiteX59" fmla="*/ 3422417 w 4878487"/>
                <a:gd name="connsiteY59" fmla="*/ 2012769 h 3690338"/>
                <a:gd name="connsiteX60" fmla="*/ 3422417 w 4878487"/>
                <a:gd name="connsiteY60" fmla="*/ 2015523 h 3690338"/>
                <a:gd name="connsiteX61" fmla="*/ 3422810 w 4878487"/>
                <a:gd name="connsiteY61" fmla="*/ 2016703 h 3690338"/>
                <a:gd name="connsiteX62" fmla="*/ 3423991 w 4878487"/>
                <a:gd name="connsiteY62" fmla="*/ 2019457 h 3690338"/>
                <a:gd name="connsiteX63" fmla="*/ 3425171 w 4878487"/>
                <a:gd name="connsiteY63" fmla="*/ 2022211 h 3690338"/>
                <a:gd name="connsiteX64" fmla="*/ 3425171 w 4878487"/>
                <a:gd name="connsiteY64" fmla="*/ 2022211 h 3690338"/>
                <a:gd name="connsiteX65" fmla="*/ 3429499 w 4878487"/>
                <a:gd name="connsiteY65" fmla="*/ 2032047 h 3690338"/>
                <a:gd name="connsiteX66" fmla="*/ 3429892 w 4878487"/>
                <a:gd name="connsiteY66" fmla="*/ 2034407 h 3690338"/>
                <a:gd name="connsiteX67" fmla="*/ 3431466 w 4878487"/>
                <a:gd name="connsiteY67" fmla="*/ 2037162 h 3690338"/>
                <a:gd name="connsiteX68" fmla="*/ 3432253 w 4878487"/>
                <a:gd name="connsiteY68" fmla="*/ 2038342 h 3690338"/>
                <a:gd name="connsiteX69" fmla="*/ 3434220 w 4878487"/>
                <a:gd name="connsiteY69" fmla="*/ 2041096 h 3690338"/>
                <a:gd name="connsiteX70" fmla="*/ 3433826 w 4878487"/>
                <a:gd name="connsiteY70" fmla="*/ 2043850 h 3690338"/>
                <a:gd name="connsiteX71" fmla="*/ 3433433 w 4878487"/>
                <a:gd name="connsiteY71" fmla="*/ 2046604 h 3690338"/>
                <a:gd name="connsiteX72" fmla="*/ 3435006 w 4878487"/>
                <a:gd name="connsiteY72" fmla="*/ 2049358 h 3690338"/>
                <a:gd name="connsiteX73" fmla="*/ 3435400 w 4878487"/>
                <a:gd name="connsiteY73" fmla="*/ 2052505 h 3690338"/>
                <a:gd name="connsiteX74" fmla="*/ 3435400 w 4878487"/>
                <a:gd name="connsiteY74" fmla="*/ 2055259 h 3690338"/>
                <a:gd name="connsiteX75" fmla="*/ 3437761 w 4878487"/>
                <a:gd name="connsiteY75" fmla="*/ 2058013 h 3690338"/>
                <a:gd name="connsiteX76" fmla="*/ 3437367 w 4878487"/>
                <a:gd name="connsiteY76" fmla="*/ 2061161 h 3690338"/>
                <a:gd name="connsiteX77" fmla="*/ 3438941 w 4878487"/>
                <a:gd name="connsiteY77" fmla="*/ 2058407 h 3690338"/>
                <a:gd name="connsiteX78" fmla="*/ 3438154 w 4878487"/>
                <a:gd name="connsiteY78" fmla="*/ 2055259 h 3690338"/>
                <a:gd name="connsiteX79" fmla="*/ 3438154 w 4878487"/>
                <a:gd name="connsiteY79" fmla="*/ 2052505 h 3690338"/>
                <a:gd name="connsiteX80" fmla="*/ 3437761 w 4878487"/>
                <a:gd name="connsiteY80" fmla="*/ 2049751 h 3690338"/>
                <a:gd name="connsiteX81" fmla="*/ 3438154 w 4878487"/>
                <a:gd name="connsiteY81" fmla="*/ 2046997 h 3690338"/>
                <a:gd name="connsiteX82" fmla="*/ 3437367 w 4878487"/>
                <a:gd name="connsiteY82" fmla="*/ 2045424 h 3690338"/>
                <a:gd name="connsiteX83" fmla="*/ 3437367 w 4878487"/>
                <a:gd name="connsiteY83" fmla="*/ 2043850 h 3690338"/>
                <a:gd name="connsiteX84" fmla="*/ 3438154 w 4878487"/>
                <a:gd name="connsiteY84" fmla="*/ 2045030 h 3690338"/>
                <a:gd name="connsiteX85" fmla="*/ 3439334 w 4878487"/>
                <a:gd name="connsiteY85" fmla="*/ 2047784 h 3690338"/>
                <a:gd name="connsiteX86" fmla="*/ 3439728 w 4878487"/>
                <a:gd name="connsiteY86" fmla="*/ 2050538 h 3690338"/>
                <a:gd name="connsiteX87" fmla="*/ 3440121 w 4878487"/>
                <a:gd name="connsiteY87" fmla="*/ 2053292 h 3690338"/>
                <a:gd name="connsiteX88" fmla="*/ 3442088 w 4878487"/>
                <a:gd name="connsiteY88" fmla="*/ 2056439 h 3690338"/>
                <a:gd name="connsiteX89" fmla="*/ 3443662 w 4878487"/>
                <a:gd name="connsiteY89" fmla="*/ 2059194 h 3690338"/>
                <a:gd name="connsiteX90" fmla="*/ 3445629 w 4878487"/>
                <a:gd name="connsiteY90" fmla="*/ 2061947 h 3690338"/>
                <a:gd name="connsiteX91" fmla="*/ 3446416 w 4878487"/>
                <a:gd name="connsiteY91" fmla="*/ 2064701 h 3690338"/>
                <a:gd name="connsiteX92" fmla="*/ 3447990 w 4878487"/>
                <a:gd name="connsiteY92" fmla="*/ 2067455 h 3690338"/>
                <a:gd name="connsiteX93" fmla="*/ 3449170 w 4878487"/>
                <a:gd name="connsiteY93" fmla="*/ 2069423 h 3690338"/>
                <a:gd name="connsiteX94" fmla="*/ 3452317 w 4878487"/>
                <a:gd name="connsiteY94" fmla="*/ 2078078 h 3690338"/>
                <a:gd name="connsiteX95" fmla="*/ 3452317 w 4878487"/>
                <a:gd name="connsiteY95" fmla="*/ 2078471 h 3690338"/>
                <a:gd name="connsiteX96" fmla="*/ 3453498 w 4878487"/>
                <a:gd name="connsiteY96" fmla="*/ 2081225 h 3690338"/>
                <a:gd name="connsiteX97" fmla="*/ 3454284 w 4878487"/>
                <a:gd name="connsiteY97" fmla="*/ 2082799 h 3690338"/>
                <a:gd name="connsiteX98" fmla="*/ 3454678 w 4878487"/>
                <a:gd name="connsiteY98" fmla="*/ 2083979 h 3690338"/>
                <a:gd name="connsiteX99" fmla="*/ 3455071 w 4878487"/>
                <a:gd name="connsiteY99" fmla="*/ 2086733 h 3690338"/>
                <a:gd name="connsiteX100" fmla="*/ 3456645 w 4878487"/>
                <a:gd name="connsiteY100" fmla="*/ 2089094 h 3690338"/>
                <a:gd name="connsiteX101" fmla="*/ 3455858 w 4878487"/>
                <a:gd name="connsiteY101" fmla="*/ 2092635 h 3690338"/>
                <a:gd name="connsiteX102" fmla="*/ 3454678 w 4878487"/>
                <a:gd name="connsiteY102" fmla="*/ 2094602 h 3690338"/>
                <a:gd name="connsiteX103" fmla="*/ 3455071 w 4878487"/>
                <a:gd name="connsiteY103" fmla="*/ 2094995 h 3690338"/>
                <a:gd name="connsiteX104" fmla="*/ 3454678 w 4878487"/>
                <a:gd name="connsiteY104" fmla="*/ 2098143 h 3690338"/>
                <a:gd name="connsiteX105" fmla="*/ 3455071 w 4878487"/>
                <a:gd name="connsiteY105" fmla="*/ 2099716 h 3690338"/>
                <a:gd name="connsiteX106" fmla="*/ 3457825 w 4878487"/>
                <a:gd name="connsiteY106" fmla="*/ 2102077 h 3690338"/>
                <a:gd name="connsiteX107" fmla="*/ 3456251 w 4878487"/>
                <a:gd name="connsiteY107" fmla="*/ 2103257 h 3690338"/>
                <a:gd name="connsiteX108" fmla="*/ 3453498 w 4878487"/>
                <a:gd name="connsiteY108" fmla="*/ 2104044 h 3690338"/>
                <a:gd name="connsiteX109" fmla="*/ 3455465 w 4878487"/>
                <a:gd name="connsiteY109" fmla="*/ 2106798 h 3690338"/>
                <a:gd name="connsiteX110" fmla="*/ 3458612 w 4878487"/>
                <a:gd name="connsiteY110" fmla="*/ 2106798 h 3690338"/>
                <a:gd name="connsiteX111" fmla="*/ 3455858 w 4878487"/>
                <a:gd name="connsiteY111" fmla="*/ 2109159 h 3690338"/>
                <a:gd name="connsiteX112" fmla="*/ 3458612 w 4878487"/>
                <a:gd name="connsiteY112" fmla="*/ 2111913 h 3690338"/>
                <a:gd name="connsiteX113" fmla="*/ 3459006 w 4878487"/>
                <a:gd name="connsiteY113" fmla="*/ 2115060 h 3690338"/>
                <a:gd name="connsiteX114" fmla="*/ 3456251 w 4878487"/>
                <a:gd name="connsiteY114" fmla="*/ 2117421 h 3690338"/>
                <a:gd name="connsiteX115" fmla="*/ 3459006 w 4878487"/>
                <a:gd name="connsiteY115" fmla="*/ 2117027 h 3690338"/>
                <a:gd name="connsiteX116" fmla="*/ 3457039 w 4878487"/>
                <a:gd name="connsiteY116" fmla="*/ 2120175 h 3690338"/>
                <a:gd name="connsiteX117" fmla="*/ 3457039 w 4878487"/>
                <a:gd name="connsiteY117" fmla="*/ 2122928 h 3690338"/>
                <a:gd name="connsiteX118" fmla="*/ 3459792 w 4878487"/>
                <a:gd name="connsiteY118" fmla="*/ 2121748 h 3690338"/>
                <a:gd name="connsiteX119" fmla="*/ 3462546 w 4878487"/>
                <a:gd name="connsiteY119" fmla="*/ 2118994 h 3690338"/>
                <a:gd name="connsiteX120" fmla="*/ 3462153 w 4878487"/>
                <a:gd name="connsiteY120" fmla="*/ 2120568 h 3690338"/>
                <a:gd name="connsiteX121" fmla="*/ 3462546 w 4878487"/>
                <a:gd name="connsiteY121" fmla="*/ 2120961 h 3690338"/>
                <a:gd name="connsiteX122" fmla="*/ 3462153 w 4878487"/>
                <a:gd name="connsiteY122" fmla="*/ 2123715 h 3690338"/>
                <a:gd name="connsiteX123" fmla="*/ 3460973 w 4878487"/>
                <a:gd name="connsiteY123" fmla="*/ 2124109 h 3690338"/>
                <a:gd name="connsiteX124" fmla="*/ 3460973 w 4878487"/>
                <a:gd name="connsiteY124" fmla="*/ 2126863 h 3690338"/>
                <a:gd name="connsiteX125" fmla="*/ 3461366 w 4878487"/>
                <a:gd name="connsiteY125" fmla="*/ 2128830 h 3690338"/>
                <a:gd name="connsiteX126" fmla="*/ 3460973 w 4878487"/>
                <a:gd name="connsiteY126" fmla="*/ 2131191 h 3690338"/>
                <a:gd name="connsiteX127" fmla="*/ 3460186 w 4878487"/>
                <a:gd name="connsiteY127" fmla="*/ 2132764 h 3690338"/>
                <a:gd name="connsiteX128" fmla="*/ 3460579 w 4878487"/>
                <a:gd name="connsiteY128" fmla="*/ 2133551 h 3690338"/>
                <a:gd name="connsiteX129" fmla="*/ 3457825 w 4878487"/>
                <a:gd name="connsiteY129" fmla="*/ 2151255 h 3690338"/>
                <a:gd name="connsiteX130" fmla="*/ 3457039 w 4878487"/>
                <a:gd name="connsiteY130" fmla="*/ 2156370 h 3690338"/>
                <a:gd name="connsiteX131" fmla="*/ 3454678 w 4878487"/>
                <a:gd name="connsiteY131" fmla="*/ 2157157 h 3690338"/>
                <a:gd name="connsiteX132" fmla="*/ 3455071 w 4878487"/>
                <a:gd name="connsiteY132" fmla="*/ 2159911 h 3690338"/>
                <a:gd name="connsiteX133" fmla="*/ 3455858 w 4878487"/>
                <a:gd name="connsiteY133" fmla="*/ 2162665 h 3690338"/>
                <a:gd name="connsiteX134" fmla="*/ 3455858 w 4878487"/>
                <a:gd name="connsiteY134" fmla="*/ 2163058 h 3690338"/>
                <a:gd name="connsiteX135" fmla="*/ 3455858 w 4878487"/>
                <a:gd name="connsiteY135" fmla="*/ 2163845 h 3690338"/>
                <a:gd name="connsiteX136" fmla="*/ 3456645 w 4878487"/>
                <a:gd name="connsiteY136" fmla="*/ 2171713 h 3690338"/>
                <a:gd name="connsiteX137" fmla="*/ 3456251 w 4878487"/>
                <a:gd name="connsiteY137" fmla="*/ 2174861 h 3690338"/>
                <a:gd name="connsiteX138" fmla="*/ 3456645 w 4878487"/>
                <a:gd name="connsiteY138" fmla="*/ 2177615 h 3690338"/>
                <a:gd name="connsiteX139" fmla="*/ 3457432 w 4878487"/>
                <a:gd name="connsiteY139" fmla="*/ 2180762 h 3690338"/>
                <a:gd name="connsiteX140" fmla="*/ 3457825 w 4878487"/>
                <a:gd name="connsiteY140" fmla="*/ 2181156 h 3690338"/>
                <a:gd name="connsiteX141" fmla="*/ 3458612 w 4878487"/>
                <a:gd name="connsiteY141" fmla="*/ 2180762 h 3690338"/>
                <a:gd name="connsiteX142" fmla="*/ 3461366 w 4878487"/>
                <a:gd name="connsiteY142" fmla="*/ 2173287 h 3690338"/>
                <a:gd name="connsiteX143" fmla="*/ 3462153 w 4878487"/>
                <a:gd name="connsiteY143" fmla="*/ 2171713 h 3690338"/>
                <a:gd name="connsiteX144" fmla="*/ 3462940 w 4878487"/>
                <a:gd name="connsiteY144" fmla="*/ 2168959 h 3690338"/>
                <a:gd name="connsiteX145" fmla="*/ 3459399 w 4878487"/>
                <a:gd name="connsiteY145" fmla="*/ 2180762 h 3690338"/>
                <a:gd name="connsiteX146" fmla="*/ 3458612 w 4878487"/>
                <a:gd name="connsiteY146" fmla="*/ 2183910 h 3690338"/>
                <a:gd name="connsiteX147" fmla="*/ 3457039 w 4878487"/>
                <a:gd name="connsiteY147" fmla="*/ 2185483 h 3690338"/>
                <a:gd name="connsiteX148" fmla="*/ 3457039 w 4878487"/>
                <a:gd name="connsiteY148" fmla="*/ 2188237 h 3690338"/>
                <a:gd name="connsiteX149" fmla="*/ 3457039 w 4878487"/>
                <a:gd name="connsiteY149" fmla="*/ 2189811 h 3690338"/>
                <a:gd name="connsiteX150" fmla="*/ 3456251 w 4878487"/>
                <a:gd name="connsiteY150" fmla="*/ 2193745 h 3690338"/>
                <a:gd name="connsiteX151" fmla="*/ 3456251 w 4878487"/>
                <a:gd name="connsiteY151" fmla="*/ 2194139 h 3690338"/>
                <a:gd name="connsiteX152" fmla="*/ 3455465 w 4878487"/>
                <a:gd name="connsiteY152" fmla="*/ 2196893 h 3690338"/>
                <a:gd name="connsiteX153" fmla="*/ 3455465 w 4878487"/>
                <a:gd name="connsiteY153" fmla="*/ 2198466 h 3690338"/>
                <a:gd name="connsiteX154" fmla="*/ 3454678 w 4878487"/>
                <a:gd name="connsiteY154" fmla="*/ 2202794 h 3690338"/>
                <a:gd name="connsiteX155" fmla="*/ 3454284 w 4878487"/>
                <a:gd name="connsiteY155" fmla="*/ 2204368 h 3690338"/>
                <a:gd name="connsiteX156" fmla="*/ 3453891 w 4878487"/>
                <a:gd name="connsiteY156" fmla="*/ 2207122 h 3690338"/>
                <a:gd name="connsiteX157" fmla="*/ 3453891 w 4878487"/>
                <a:gd name="connsiteY157" fmla="*/ 2210269 h 3690338"/>
                <a:gd name="connsiteX158" fmla="*/ 3453498 w 4878487"/>
                <a:gd name="connsiteY158" fmla="*/ 2213023 h 3690338"/>
                <a:gd name="connsiteX159" fmla="*/ 3453498 w 4878487"/>
                <a:gd name="connsiteY159" fmla="*/ 2215777 h 3690338"/>
                <a:gd name="connsiteX160" fmla="*/ 3452317 w 4878487"/>
                <a:gd name="connsiteY160" fmla="*/ 2218531 h 3690338"/>
                <a:gd name="connsiteX161" fmla="*/ 3451924 w 4878487"/>
                <a:gd name="connsiteY161" fmla="*/ 2221285 h 3690338"/>
                <a:gd name="connsiteX162" fmla="*/ 3451531 w 4878487"/>
                <a:gd name="connsiteY162" fmla="*/ 2224433 h 3690338"/>
                <a:gd name="connsiteX163" fmla="*/ 3451531 w 4878487"/>
                <a:gd name="connsiteY163" fmla="*/ 2227186 h 3690338"/>
                <a:gd name="connsiteX164" fmla="*/ 3450743 w 4878487"/>
                <a:gd name="connsiteY164" fmla="*/ 2229940 h 3690338"/>
                <a:gd name="connsiteX165" fmla="*/ 3451531 w 4878487"/>
                <a:gd name="connsiteY165" fmla="*/ 2232694 h 3690338"/>
                <a:gd name="connsiteX166" fmla="*/ 3452711 w 4878487"/>
                <a:gd name="connsiteY166" fmla="*/ 2235842 h 3690338"/>
                <a:gd name="connsiteX167" fmla="*/ 3453498 w 4878487"/>
                <a:gd name="connsiteY167" fmla="*/ 2238596 h 3690338"/>
                <a:gd name="connsiteX168" fmla="*/ 3455858 w 4878487"/>
                <a:gd name="connsiteY168" fmla="*/ 2241743 h 3690338"/>
                <a:gd name="connsiteX169" fmla="*/ 3458612 w 4878487"/>
                <a:gd name="connsiteY169" fmla="*/ 2242923 h 3690338"/>
                <a:gd name="connsiteX170" fmla="*/ 3459399 w 4878487"/>
                <a:gd name="connsiteY170" fmla="*/ 2240170 h 3690338"/>
                <a:gd name="connsiteX171" fmla="*/ 3459006 w 4878487"/>
                <a:gd name="connsiteY171" fmla="*/ 2237416 h 3690338"/>
                <a:gd name="connsiteX172" fmla="*/ 3461760 w 4878487"/>
                <a:gd name="connsiteY172" fmla="*/ 2235842 h 3690338"/>
                <a:gd name="connsiteX173" fmla="*/ 3464513 w 4878487"/>
                <a:gd name="connsiteY173" fmla="*/ 2235449 h 3690338"/>
                <a:gd name="connsiteX174" fmla="*/ 3466087 w 4878487"/>
                <a:gd name="connsiteY174" fmla="*/ 2238203 h 3690338"/>
                <a:gd name="connsiteX175" fmla="*/ 3467661 w 4878487"/>
                <a:gd name="connsiteY175" fmla="*/ 2240956 h 3690338"/>
                <a:gd name="connsiteX176" fmla="*/ 3467661 w 4878487"/>
                <a:gd name="connsiteY176" fmla="*/ 2244104 h 3690338"/>
                <a:gd name="connsiteX177" fmla="*/ 3470415 w 4878487"/>
                <a:gd name="connsiteY177" fmla="*/ 2246858 h 3690338"/>
                <a:gd name="connsiteX178" fmla="*/ 3473169 w 4878487"/>
                <a:gd name="connsiteY178" fmla="*/ 2246071 h 3690338"/>
                <a:gd name="connsiteX179" fmla="*/ 3473562 w 4878487"/>
                <a:gd name="connsiteY179" fmla="*/ 2246464 h 3690338"/>
                <a:gd name="connsiteX180" fmla="*/ 3475136 w 4878487"/>
                <a:gd name="connsiteY180" fmla="*/ 2249612 h 3690338"/>
                <a:gd name="connsiteX181" fmla="*/ 3477890 w 4878487"/>
                <a:gd name="connsiteY181" fmla="*/ 2252366 h 3690338"/>
                <a:gd name="connsiteX182" fmla="*/ 3477103 w 4878487"/>
                <a:gd name="connsiteY182" fmla="*/ 2255120 h 3690338"/>
                <a:gd name="connsiteX183" fmla="*/ 3478677 w 4878487"/>
                <a:gd name="connsiteY183" fmla="*/ 2257874 h 3690338"/>
                <a:gd name="connsiteX184" fmla="*/ 3481431 w 4878487"/>
                <a:gd name="connsiteY184" fmla="*/ 2257087 h 3690338"/>
                <a:gd name="connsiteX185" fmla="*/ 3484185 w 4878487"/>
                <a:gd name="connsiteY185" fmla="*/ 2259447 h 3690338"/>
                <a:gd name="connsiteX186" fmla="*/ 3484578 w 4878487"/>
                <a:gd name="connsiteY186" fmla="*/ 2259841 h 3690338"/>
                <a:gd name="connsiteX187" fmla="*/ 3485758 w 4878487"/>
                <a:gd name="connsiteY187" fmla="*/ 2262595 h 3690338"/>
                <a:gd name="connsiteX188" fmla="*/ 3487332 w 4878487"/>
                <a:gd name="connsiteY188" fmla="*/ 2265742 h 3690338"/>
                <a:gd name="connsiteX189" fmla="*/ 3487726 w 4878487"/>
                <a:gd name="connsiteY189" fmla="*/ 2268496 h 3690338"/>
                <a:gd name="connsiteX190" fmla="*/ 3489299 w 4878487"/>
                <a:gd name="connsiteY190" fmla="*/ 2271250 h 3690338"/>
                <a:gd name="connsiteX191" fmla="*/ 3492053 w 4878487"/>
                <a:gd name="connsiteY191" fmla="*/ 2271644 h 3690338"/>
                <a:gd name="connsiteX192" fmla="*/ 3492447 w 4878487"/>
                <a:gd name="connsiteY192" fmla="*/ 2268496 h 3690338"/>
                <a:gd name="connsiteX193" fmla="*/ 3494414 w 4878487"/>
                <a:gd name="connsiteY193" fmla="*/ 2272037 h 3690338"/>
                <a:gd name="connsiteX194" fmla="*/ 3493627 w 4878487"/>
                <a:gd name="connsiteY194" fmla="*/ 2274004 h 3690338"/>
                <a:gd name="connsiteX195" fmla="*/ 3495201 w 4878487"/>
                <a:gd name="connsiteY195" fmla="*/ 2276758 h 3690338"/>
                <a:gd name="connsiteX196" fmla="*/ 3497955 w 4878487"/>
                <a:gd name="connsiteY196" fmla="*/ 2277939 h 3690338"/>
                <a:gd name="connsiteX197" fmla="*/ 3499528 w 4878487"/>
                <a:gd name="connsiteY197" fmla="*/ 2277545 h 3690338"/>
                <a:gd name="connsiteX198" fmla="*/ 3499528 w 4878487"/>
                <a:gd name="connsiteY198" fmla="*/ 2277545 h 3690338"/>
                <a:gd name="connsiteX199" fmla="*/ 3497955 w 4878487"/>
                <a:gd name="connsiteY199" fmla="*/ 2280299 h 3690338"/>
                <a:gd name="connsiteX200" fmla="*/ 3498742 w 4878487"/>
                <a:gd name="connsiteY200" fmla="*/ 2283053 h 3690338"/>
                <a:gd name="connsiteX201" fmla="*/ 3498348 w 4878487"/>
                <a:gd name="connsiteY201" fmla="*/ 2285807 h 3690338"/>
                <a:gd name="connsiteX202" fmla="*/ 3501495 w 4878487"/>
                <a:gd name="connsiteY202" fmla="*/ 2287381 h 3690338"/>
                <a:gd name="connsiteX203" fmla="*/ 3504250 w 4878487"/>
                <a:gd name="connsiteY203" fmla="*/ 2290135 h 3690338"/>
                <a:gd name="connsiteX204" fmla="*/ 3506610 w 4878487"/>
                <a:gd name="connsiteY204" fmla="*/ 2292889 h 3690338"/>
                <a:gd name="connsiteX205" fmla="*/ 3508184 w 4878487"/>
                <a:gd name="connsiteY205" fmla="*/ 2296036 h 3690338"/>
                <a:gd name="connsiteX206" fmla="*/ 3508577 w 4878487"/>
                <a:gd name="connsiteY206" fmla="*/ 2296430 h 3690338"/>
                <a:gd name="connsiteX207" fmla="*/ 3508971 w 4878487"/>
                <a:gd name="connsiteY207" fmla="*/ 2296430 h 3690338"/>
                <a:gd name="connsiteX208" fmla="*/ 3512512 w 4878487"/>
                <a:gd name="connsiteY208" fmla="*/ 2300364 h 3690338"/>
                <a:gd name="connsiteX209" fmla="*/ 3514872 w 4878487"/>
                <a:gd name="connsiteY209" fmla="*/ 2306265 h 3690338"/>
                <a:gd name="connsiteX210" fmla="*/ 3520380 w 4878487"/>
                <a:gd name="connsiteY210" fmla="*/ 2329477 h 3690338"/>
                <a:gd name="connsiteX211" fmla="*/ 3522741 w 4878487"/>
                <a:gd name="connsiteY211" fmla="*/ 2344821 h 3690338"/>
                <a:gd name="connsiteX212" fmla="*/ 3521560 w 4878487"/>
                <a:gd name="connsiteY212" fmla="*/ 2346001 h 3690338"/>
                <a:gd name="connsiteX213" fmla="*/ 3522741 w 4878487"/>
                <a:gd name="connsiteY213" fmla="*/ 2348755 h 3690338"/>
                <a:gd name="connsiteX214" fmla="*/ 3525494 w 4878487"/>
                <a:gd name="connsiteY214" fmla="*/ 2351509 h 3690338"/>
                <a:gd name="connsiteX215" fmla="*/ 3529035 w 4878487"/>
                <a:gd name="connsiteY215" fmla="*/ 2360558 h 3690338"/>
                <a:gd name="connsiteX216" fmla="*/ 3529035 w 4878487"/>
                <a:gd name="connsiteY216" fmla="*/ 2362919 h 3690338"/>
                <a:gd name="connsiteX217" fmla="*/ 3530216 w 4878487"/>
                <a:gd name="connsiteY217" fmla="*/ 2365673 h 3690338"/>
                <a:gd name="connsiteX218" fmla="*/ 3529429 w 4878487"/>
                <a:gd name="connsiteY218" fmla="*/ 2368820 h 3690338"/>
                <a:gd name="connsiteX219" fmla="*/ 3528642 w 4878487"/>
                <a:gd name="connsiteY219" fmla="*/ 2371574 h 3690338"/>
                <a:gd name="connsiteX220" fmla="*/ 3530216 w 4878487"/>
                <a:gd name="connsiteY220" fmla="*/ 2374328 h 3690338"/>
                <a:gd name="connsiteX221" fmla="*/ 3531396 w 4878487"/>
                <a:gd name="connsiteY221" fmla="*/ 2377082 h 3690338"/>
                <a:gd name="connsiteX222" fmla="*/ 3534543 w 4878487"/>
                <a:gd name="connsiteY222" fmla="*/ 2379049 h 3690338"/>
                <a:gd name="connsiteX223" fmla="*/ 3535330 w 4878487"/>
                <a:gd name="connsiteY223" fmla="*/ 2381803 h 3690338"/>
                <a:gd name="connsiteX224" fmla="*/ 3538084 w 4878487"/>
                <a:gd name="connsiteY224" fmla="*/ 2382196 h 3690338"/>
                <a:gd name="connsiteX225" fmla="*/ 3535724 w 4878487"/>
                <a:gd name="connsiteY225" fmla="*/ 2382983 h 3690338"/>
                <a:gd name="connsiteX226" fmla="*/ 3532970 w 4878487"/>
                <a:gd name="connsiteY226" fmla="*/ 2384951 h 3690338"/>
                <a:gd name="connsiteX227" fmla="*/ 3534543 w 4878487"/>
                <a:gd name="connsiteY227" fmla="*/ 2387705 h 3690338"/>
                <a:gd name="connsiteX228" fmla="*/ 3537297 w 4878487"/>
                <a:gd name="connsiteY228" fmla="*/ 2388098 h 3690338"/>
                <a:gd name="connsiteX229" fmla="*/ 3538478 w 4878487"/>
                <a:gd name="connsiteY229" fmla="*/ 2390852 h 3690338"/>
                <a:gd name="connsiteX230" fmla="*/ 3539658 w 4878487"/>
                <a:gd name="connsiteY230" fmla="*/ 2392032 h 3690338"/>
                <a:gd name="connsiteX231" fmla="*/ 3553428 w 4878487"/>
                <a:gd name="connsiteY231" fmla="*/ 2417605 h 3690338"/>
                <a:gd name="connsiteX232" fmla="*/ 3551854 w 4878487"/>
                <a:gd name="connsiteY232" fmla="*/ 2419572 h 3690338"/>
                <a:gd name="connsiteX233" fmla="*/ 3553821 w 4878487"/>
                <a:gd name="connsiteY233" fmla="*/ 2422326 h 3690338"/>
                <a:gd name="connsiteX234" fmla="*/ 3556575 w 4878487"/>
                <a:gd name="connsiteY234" fmla="*/ 2424293 h 3690338"/>
                <a:gd name="connsiteX235" fmla="*/ 3558542 w 4878487"/>
                <a:gd name="connsiteY235" fmla="*/ 2427047 h 3690338"/>
                <a:gd name="connsiteX236" fmla="*/ 3561297 w 4878487"/>
                <a:gd name="connsiteY236" fmla="*/ 2428621 h 3690338"/>
                <a:gd name="connsiteX237" fmla="*/ 3564444 w 4878487"/>
                <a:gd name="connsiteY237" fmla="*/ 2430195 h 3690338"/>
                <a:gd name="connsiteX238" fmla="*/ 3564837 w 4878487"/>
                <a:gd name="connsiteY238" fmla="*/ 2430195 h 3690338"/>
                <a:gd name="connsiteX239" fmla="*/ 3567591 w 4878487"/>
                <a:gd name="connsiteY239" fmla="*/ 2432555 h 3690338"/>
                <a:gd name="connsiteX240" fmla="*/ 3567985 w 4878487"/>
                <a:gd name="connsiteY240" fmla="*/ 2433735 h 3690338"/>
                <a:gd name="connsiteX241" fmla="*/ 3569558 w 4878487"/>
                <a:gd name="connsiteY241" fmla="*/ 2436489 h 3690338"/>
                <a:gd name="connsiteX242" fmla="*/ 3572706 w 4878487"/>
                <a:gd name="connsiteY242" fmla="*/ 2436883 h 3690338"/>
                <a:gd name="connsiteX243" fmla="*/ 3575460 w 4878487"/>
                <a:gd name="connsiteY243" fmla="*/ 2440030 h 3690338"/>
                <a:gd name="connsiteX244" fmla="*/ 3577820 w 4878487"/>
                <a:gd name="connsiteY244" fmla="*/ 2443178 h 3690338"/>
                <a:gd name="connsiteX245" fmla="*/ 3581361 w 4878487"/>
                <a:gd name="connsiteY245" fmla="*/ 2444358 h 3690338"/>
                <a:gd name="connsiteX246" fmla="*/ 3584508 w 4878487"/>
                <a:gd name="connsiteY246" fmla="*/ 2445932 h 3690338"/>
                <a:gd name="connsiteX247" fmla="*/ 3587263 w 4878487"/>
                <a:gd name="connsiteY247" fmla="*/ 2447112 h 3690338"/>
                <a:gd name="connsiteX248" fmla="*/ 3587656 w 4878487"/>
                <a:gd name="connsiteY248" fmla="*/ 2447505 h 3690338"/>
                <a:gd name="connsiteX249" fmla="*/ 3589623 w 4878487"/>
                <a:gd name="connsiteY249" fmla="*/ 2449079 h 3690338"/>
                <a:gd name="connsiteX250" fmla="*/ 3591984 w 4878487"/>
                <a:gd name="connsiteY250" fmla="*/ 2452226 h 3690338"/>
                <a:gd name="connsiteX251" fmla="*/ 3593557 w 4878487"/>
                <a:gd name="connsiteY251" fmla="*/ 2455374 h 3690338"/>
                <a:gd name="connsiteX252" fmla="*/ 3596311 w 4878487"/>
                <a:gd name="connsiteY252" fmla="*/ 2455767 h 3690338"/>
                <a:gd name="connsiteX253" fmla="*/ 3599459 w 4878487"/>
                <a:gd name="connsiteY253" fmla="*/ 2457734 h 3690338"/>
                <a:gd name="connsiteX254" fmla="*/ 3602606 w 4878487"/>
                <a:gd name="connsiteY254" fmla="*/ 2459702 h 3690338"/>
                <a:gd name="connsiteX255" fmla="*/ 3605753 w 4878487"/>
                <a:gd name="connsiteY255" fmla="*/ 2461669 h 3690338"/>
                <a:gd name="connsiteX256" fmla="*/ 3608901 w 4878487"/>
                <a:gd name="connsiteY256" fmla="*/ 2464029 h 3690338"/>
                <a:gd name="connsiteX257" fmla="*/ 3612048 w 4878487"/>
                <a:gd name="connsiteY257" fmla="*/ 2465209 h 3690338"/>
                <a:gd name="connsiteX258" fmla="*/ 3614802 w 4878487"/>
                <a:gd name="connsiteY258" fmla="*/ 2467570 h 3690338"/>
                <a:gd name="connsiteX259" fmla="*/ 3615982 w 4878487"/>
                <a:gd name="connsiteY259" fmla="*/ 2470324 h 3690338"/>
                <a:gd name="connsiteX260" fmla="*/ 3617163 w 4878487"/>
                <a:gd name="connsiteY260" fmla="*/ 2473865 h 3690338"/>
                <a:gd name="connsiteX261" fmla="*/ 3619917 w 4878487"/>
                <a:gd name="connsiteY261" fmla="*/ 2472291 h 3690338"/>
                <a:gd name="connsiteX262" fmla="*/ 3623064 w 4878487"/>
                <a:gd name="connsiteY262" fmla="*/ 2470717 h 3690338"/>
                <a:gd name="connsiteX263" fmla="*/ 3625425 w 4878487"/>
                <a:gd name="connsiteY263" fmla="*/ 2469537 h 3690338"/>
                <a:gd name="connsiteX264" fmla="*/ 3625818 w 4878487"/>
                <a:gd name="connsiteY264" fmla="*/ 2469537 h 3690338"/>
                <a:gd name="connsiteX265" fmla="*/ 3626999 w 4878487"/>
                <a:gd name="connsiteY265" fmla="*/ 2469144 h 3690338"/>
                <a:gd name="connsiteX266" fmla="*/ 3625818 w 4878487"/>
                <a:gd name="connsiteY266" fmla="*/ 2469931 h 3690338"/>
                <a:gd name="connsiteX267" fmla="*/ 3623064 w 4878487"/>
                <a:gd name="connsiteY267" fmla="*/ 2471111 h 3690338"/>
                <a:gd name="connsiteX268" fmla="*/ 3621884 w 4878487"/>
                <a:gd name="connsiteY268" fmla="*/ 2474258 h 3690338"/>
                <a:gd name="connsiteX269" fmla="*/ 3621491 w 4878487"/>
                <a:gd name="connsiteY269" fmla="*/ 2475439 h 3690338"/>
                <a:gd name="connsiteX270" fmla="*/ 3625425 w 4878487"/>
                <a:gd name="connsiteY270" fmla="*/ 2475045 h 3690338"/>
                <a:gd name="connsiteX271" fmla="*/ 3627392 w 4878487"/>
                <a:gd name="connsiteY271" fmla="*/ 2475832 h 3690338"/>
                <a:gd name="connsiteX272" fmla="*/ 3630146 w 4878487"/>
                <a:gd name="connsiteY272" fmla="*/ 2474652 h 3690338"/>
                <a:gd name="connsiteX273" fmla="*/ 3636441 w 4878487"/>
                <a:gd name="connsiteY273" fmla="*/ 2474258 h 3690338"/>
                <a:gd name="connsiteX274" fmla="*/ 3636048 w 4878487"/>
                <a:gd name="connsiteY274" fmla="*/ 2471504 h 3690338"/>
                <a:gd name="connsiteX275" fmla="*/ 3633293 w 4878487"/>
                <a:gd name="connsiteY275" fmla="*/ 2471111 h 3690338"/>
                <a:gd name="connsiteX276" fmla="*/ 3630540 w 4878487"/>
                <a:gd name="connsiteY276" fmla="*/ 2470717 h 3690338"/>
                <a:gd name="connsiteX277" fmla="*/ 3627392 w 4878487"/>
                <a:gd name="connsiteY277" fmla="*/ 2469144 h 3690338"/>
                <a:gd name="connsiteX278" fmla="*/ 3628966 w 4878487"/>
                <a:gd name="connsiteY278" fmla="*/ 2468750 h 3690338"/>
                <a:gd name="connsiteX279" fmla="*/ 3632113 w 4878487"/>
                <a:gd name="connsiteY279" fmla="*/ 2470324 h 3690338"/>
                <a:gd name="connsiteX280" fmla="*/ 3633687 w 4878487"/>
                <a:gd name="connsiteY280" fmla="*/ 2467176 h 3690338"/>
                <a:gd name="connsiteX281" fmla="*/ 3632113 w 4878487"/>
                <a:gd name="connsiteY281" fmla="*/ 2464029 h 3690338"/>
                <a:gd name="connsiteX282" fmla="*/ 3631720 w 4878487"/>
                <a:gd name="connsiteY282" fmla="*/ 2462849 h 3690338"/>
                <a:gd name="connsiteX283" fmla="*/ 3634080 w 4878487"/>
                <a:gd name="connsiteY283" fmla="*/ 2465603 h 3690338"/>
                <a:gd name="connsiteX284" fmla="*/ 3637228 w 4878487"/>
                <a:gd name="connsiteY284" fmla="*/ 2466390 h 3690338"/>
                <a:gd name="connsiteX285" fmla="*/ 3634867 w 4878487"/>
                <a:gd name="connsiteY285" fmla="*/ 2469144 h 3690338"/>
                <a:gd name="connsiteX286" fmla="*/ 3636441 w 4878487"/>
                <a:gd name="connsiteY286" fmla="*/ 2471898 h 3690338"/>
                <a:gd name="connsiteX287" fmla="*/ 3639588 w 4878487"/>
                <a:gd name="connsiteY287" fmla="*/ 2473078 h 3690338"/>
                <a:gd name="connsiteX288" fmla="*/ 3641949 w 4878487"/>
                <a:gd name="connsiteY288" fmla="*/ 2469931 h 3690338"/>
                <a:gd name="connsiteX289" fmla="*/ 3641949 w 4878487"/>
                <a:gd name="connsiteY289" fmla="*/ 2467176 h 3690338"/>
                <a:gd name="connsiteX290" fmla="*/ 3641162 w 4878487"/>
                <a:gd name="connsiteY290" fmla="*/ 2464423 h 3690338"/>
                <a:gd name="connsiteX291" fmla="*/ 3639982 w 4878487"/>
                <a:gd name="connsiteY291" fmla="*/ 2460882 h 3690338"/>
                <a:gd name="connsiteX292" fmla="*/ 3639195 w 4878487"/>
                <a:gd name="connsiteY292" fmla="*/ 2457734 h 3690338"/>
                <a:gd name="connsiteX293" fmla="*/ 3636834 w 4878487"/>
                <a:gd name="connsiteY293" fmla="*/ 2454587 h 3690338"/>
                <a:gd name="connsiteX294" fmla="*/ 3636441 w 4878487"/>
                <a:gd name="connsiteY294" fmla="*/ 2451046 h 3690338"/>
                <a:gd name="connsiteX295" fmla="*/ 3634867 w 4878487"/>
                <a:gd name="connsiteY295" fmla="*/ 2448292 h 3690338"/>
                <a:gd name="connsiteX296" fmla="*/ 3633293 w 4878487"/>
                <a:gd name="connsiteY296" fmla="*/ 2445145 h 3690338"/>
                <a:gd name="connsiteX297" fmla="*/ 3632507 w 4878487"/>
                <a:gd name="connsiteY297" fmla="*/ 2442391 h 3690338"/>
                <a:gd name="connsiteX298" fmla="*/ 3631720 w 4878487"/>
                <a:gd name="connsiteY298" fmla="*/ 2439243 h 3690338"/>
                <a:gd name="connsiteX299" fmla="*/ 3628966 w 4878487"/>
                <a:gd name="connsiteY299" fmla="*/ 2436096 h 3690338"/>
                <a:gd name="connsiteX300" fmla="*/ 3628179 w 4878487"/>
                <a:gd name="connsiteY300" fmla="*/ 2432949 h 3690338"/>
                <a:gd name="connsiteX301" fmla="*/ 3626605 w 4878487"/>
                <a:gd name="connsiteY301" fmla="*/ 2430195 h 3690338"/>
                <a:gd name="connsiteX302" fmla="*/ 3623851 w 4878487"/>
                <a:gd name="connsiteY302" fmla="*/ 2428227 h 3690338"/>
                <a:gd name="connsiteX303" fmla="*/ 3622278 w 4878487"/>
                <a:gd name="connsiteY303" fmla="*/ 2427834 h 3690338"/>
                <a:gd name="connsiteX304" fmla="*/ 3615982 w 4878487"/>
                <a:gd name="connsiteY304" fmla="*/ 2399114 h 3690338"/>
                <a:gd name="connsiteX305" fmla="*/ 3615196 w 4878487"/>
                <a:gd name="connsiteY305" fmla="*/ 2376688 h 3690338"/>
                <a:gd name="connsiteX306" fmla="*/ 3615589 w 4878487"/>
                <a:gd name="connsiteY306" fmla="*/ 2374328 h 3690338"/>
                <a:gd name="connsiteX307" fmla="*/ 3615982 w 4878487"/>
                <a:gd name="connsiteY307" fmla="*/ 2371574 h 3690338"/>
                <a:gd name="connsiteX308" fmla="*/ 3614802 w 4878487"/>
                <a:gd name="connsiteY308" fmla="*/ 2368427 h 3690338"/>
                <a:gd name="connsiteX309" fmla="*/ 3614409 w 4878487"/>
                <a:gd name="connsiteY309" fmla="*/ 2365673 h 3690338"/>
                <a:gd name="connsiteX310" fmla="*/ 3614409 w 4878487"/>
                <a:gd name="connsiteY310" fmla="*/ 2366459 h 3690338"/>
                <a:gd name="connsiteX311" fmla="*/ 3614015 w 4878487"/>
                <a:gd name="connsiteY311" fmla="*/ 2363705 h 3690338"/>
                <a:gd name="connsiteX312" fmla="*/ 3613622 w 4878487"/>
                <a:gd name="connsiteY312" fmla="*/ 2360558 h 3690338"/>
                <a:gd name="connsiteX313" fmla="*/ 3612835 w 4878487"/>
                <a:gd name="connsiteY313" fmla="*/ 2357804 h 3690338"/>
                <a:gd name="connsiteX314" fmla="*/ 3611262 w 4878487"/>
                <a:gd name="connsiteY314" fmla="*/ 2354657 h 3690338"/>
                <a:gd name="connsiteX315" fmla="*/ 3609688 w 4878487"/>
                <a:gd name="connsiteY315" fmla="*/ 2351903 h 3690338"/>
                <a:gd name="connsiteX316" fmla="*/ 3608114 w 4878487"/>
                <a:gd name="connsiteY316" fmla="*/ 2349149 h 3690338"/>
                <a:gd name="connsiteX317" fmla="*/ 3606934 w 4878487"/>
                <a:gd name="connsiteY317" fmla="*/ 2346001 h 3690338"/>
                <a:gd name="connsiteX318" fmla="*/ 3605360 w 4878487"/>
                <a:gd name="connsiteY318" fmla="*/ 2343247 h 3690338"/>
                <a:gd name="connsiteX319" fmla="*/ 3603786 w 4878487"/>
                <a:gd name="connsiteY319" fmla="*/ 2340493 h 3690338"/>
                <a:gd name="connsiteX320" fmla="*/ 3601819 w 4878487"/>
                <a:gd name="connsiteY320" fmla="*/ 2337739 h 3690338"/>
                <a:gd name="connsiteX321" fmla="*/ 3599065 w 4878487"/>
                <a:gd name="connsiteY321" fmla="*/ 2334985 h 3690338"/>
                <a:gd name="connsiteX322" fmla="*/ 3596311 w 4878487"/>
                <a:gd name="connsiteY322" fmla="*/ 2333412 h 3690338"/>
                <a:gd name="connsiteX323" fmla="*/ 3595525 w 4878487"/>
                <a:gd name="connsiteY323" fmla="*/ 2333018 h 3690338"/>
                <a:gd name="connsiteX324" fmla="*/ 3588836 w 4878487"/>
                <a:gd name="connsiteY324" fmla="*/ 2327117 h 3690338"/>
                <a:gd name="connsiteX325" fmla="*/ 3588049 w 4878487"/>
                <a:gd name="connsiteY325" fmla="*/ 2325937 h 3690338"/>
                <a:gd name="connsiteX326" fmla="*/ 3585296 w 4878487"/>
                <a:gd name="connsiteY326" fmla="*/ 2323576 h 3690338"/>
                <a:gd name="connsiteX327" fmla="*/ 3583328 w 4878487"/>
                <a:gd name="connsiteY327" fmla="*/ 2321215 h 3690338"/>
                <a:gd name="connsiteX328" fmla="*/ 3581755 w 4878487"/>
                <a:gd name="connsiteY328" fmla="*/ 2318461 h 3690338"/>
                <a:gd name="connsiteX329" fmla="*/ 3580574 w 4878487"/>
                <a:gd name="connsiteY329" fmla="*/ 2315707 h 3690338"/>
                <a:gd name="connsiteX330" fmla="*/ 3578214 w 4878487"/>
                <a:gd name="connsiteY330" fmla="*/ 2312954 h 3690338"/>
                <a:gd name="connsiteX331" fmla="*/ 3575460 w 4878487"/>
                <a:gd name="connsiteY331" fmla="*/ 2311773 h 3690338"/>
                <a:gd name="connsiteX332" fmla="*/ 3571132 w 4878487"/>
                <a:gd name="connsiteY332" fmla="*/ 2310986 h 3690338"/>
                <a:gd name="connsiteX333" fmla="*/ 3559329 w 4878487"/>
                <a:gd name="connsiteY333" fmla="*/ 2299577 h 3690338"/>
                <a:gd name="connsiteX334" fmla="*/ 3555789 w 4878487"/>
                <a:gd name="connsiteY334" fmla="*/ 2292889 h 3690338"/>
                <a:gd name="connsiteX335" fmla="*/ 3553821 w 4878487"/>
                <a:gd name="connsiteY335" fmla="*/ 2290135 h 3690338"/>
                <a:gd name="connsiteX336" fmla="*/ 3550674 w 4878487"/>
                <a:gd name="connsiteY336" fmla="*/ 2288954 h 3690338"/>
                <a:gd name="connsiteX337" fmla="*/ 3547920 w 4878487"/>
                <a:gd name="connsiteY337" fmla="*/ 2287381 h 3690338"/>
                <a:gd name="connsiteX338" fmla="*/ 3545953 w 4878487"/>
                <a:gd name="connsiteY338" fmla="*/ 2288561 h 3690338"/>
                <a:gd name="connsiteX339" fmla="*/ 3539658 w 4878487"/>
                <a:gd name="connsiteY339" fmla="*/ 2289741 h 3690338"/>
                <a:gd name="connsiteX340" fmla="*/ 3526675 w 4878487"/>
                <a:gd name="connsiteY340" fmla="*/ 2280693 h 3690338"/>
                <a:gd name="connsiteX341" fmla="*/ 3526675 w 4878487"/>
                <a:gd name="connsiteY341" fmla="*/ 2280299 h 3690338"/>
                <a:gd name="connsiteX342" fmla="*/ 3526282 w 4878487"/>
                <a:gd name="connsiteY342" fmla="*/ 2280299 h 3690338"/>
                <a:gd name="connsiteX343" fmla="*/ 3521167 w 4878487"/>
                <a:gd name="connsiteY343" fmla="*/ 2276758 h 3690338"/>
                <a:gd name="connsiteX344" fmla="*/ 3521954 w 4878487"/>
                <a:gd name="connsiteY344" fmla="*/ 2277152 h 3690338"/>
                <a:gd name="connsiteX345" fmla="*/ 3521560 w 4878487"/>
                <a:gd name="connsiteY345" fmla="*/ 2274398 h 3690338"/>
                <a:gd name="connsiteX346" fmla="*/ 3519987 w 4878487"/>
                <a:gd name="connsiteY346" fmla="*/ 2271644 h 3690338"/>
                <a:gd name="connsiteX347" fmla="*/ 3518806 w 4878487"/>
                <a:gd name="connsiteY347" fmla="*/ 2268890 h 3690338"/>
                <a:gd name="connsiteX348" fmla="*/ 3518020 w 4878487"/>
                <a:gd name="connsiteY348" fmla="*/ 2266136 h 3690338"/>
                <a:gd name="connsiteX349" fmla="*/ 3517626 w 4878487"/>
                <a:gd name="connsiteY349" fmla="*/ 2262988 h 3690338"/>
                <a:gd name="connsiteX350" fmla="*/ 3517233 w 4878487"/>
                <a:gd name="connsiteY350" fmla="*/ 2260234 h 3690338"/>
                <a:gd name="connsiteX351" fmla="*/ 3516839 w 4878487"/>
                <a:gd name="connsiteY351" fmla="*/ 2257480 h 3690338"/>
                <a:gd name="connsiteX352" fmla="*/ 3516053 w 4878487"/>
                <a:gd name="connsiteY352" fmla="*/ 2254333 h 3690338"/>
                <a:gd name="connsiteX353" fmla="*/ 3515659 w 4878487"/>
                <a:gd name="connsiteY353" fmla="*/ 2253546 h 3690338"/>
                <a:gd name="connsiteX354" fmla="*/ 3514872 w 4878487"/>
                <a:gd name="connsiteY354" fmla="*/ 2250399 h 3690338"/>
                <a:gd name="connsiteX355" fmla="*/ 3514085 w 4878487"/>
                <a:gd name="connsiteY355" fmla="*/ 2247645 h 3690338"/>
                <a:gd name="connsiteX356" fmla="*/ 3513692 w 4878487"/>
                <a:gd name="connsiteY356" fmla="*/ 2244891 h 3690338"/>
                <a:gd name="connsiteX357" fmla="*/ 3512905 w 4878487"/>
                <a:gd name="connsiteY357" fmla="*/ 2242137 h 3690338"/>
                <a:gd name="connsiteX358" fmla="*/ 3512118 w 4878487"/>
                <a:gd name="connsiteY358" fmla="*/ 2238989 h 3690338"/>
                <a:gd name="connsiteX359" fmla="*/ 3510938 w 4878487"/>
                <a:gd name="connsiteY359" fmla="*/ 2236235 h 3690338"/>
                <a:gd name="connsiteX360" fmla="*/ 3509364 w 4878487"/>
                <a:gd name="connsiteY360" fmla="*/ 2238596 h 3690338"/>
                <a:gd name="connsiteX361" fmla="*/ 3505036 w 4878487"/>
                <a:gd name="connsiteY361" fmla="*/ 2233481 h 3690338"/>
                <a:gd name="connsiteX362" fmla="*/ 3504643 w 4878487"/>
                <a:gd name="connsiteY362" fmla="*/ 2233088 h 3690338"/>
                <a:gd name="connsiteX363" fmla="*/ 3503856 w 4878487"/>
                <a:gd name="connsiteY363" fmla="*/ 2232301 h 3690338"/>
                <a:gd name="connsiteX364" fmla="*/ 3501495 w 4878487"/>
                <a:gd name="connsiteY364" fmla="*/ 2225219 h 3690338"/>
                <a:gd name="connsiteX365" fmla="*/ 3501102 w 4878487"/>
                <a:gd name="connsiteY365" fmla="*/ 2223646 h 3690338"/>
                <a:gd name="connsiteX366" fmla="*/ 3500709 w 4878487"/>
                <a:gd name="connsiteY366" fmla="*/ 2220892 h 3690338"/>
                <a:gd name="connsiteX367" fmla="*/ 3500315 w 4878487"/>
                <a:gd name="connsiteY367" fmla="*/ 2217744 h 3690338"/>
                <a:gd name="connsiteX368" fmla="*/ 3499922 w 4878487"/>
                <a:gd name="connsiteY368" fmla="*/ 2214990 h 3690338"/>
                <a:gd name="connsiteX369" fmla="*/ 3498348 w 4878487"/>
                <a:gd name="connsiteY369" fmla="*/ 2212236 h 3690338"/>
                <a:gd name="connsiteX370" fmla="*/ 3497955 w 4878487"/>
                <a:gd name="connsiteY370" fmla="*/ 2209089 h 3690338"/>
                <a:gd name="connsiteX371" fmla="*/ 3495201 w 4878487"/>
                <a:gd name="connsiteY371" fmla="*/ 2206728 h 3690338"/>
                <a:gd name="connsiteX372" fmla="*/ 3492053 w 4878487"/>
                <a:gd name="connsiteY372" fmla="*/ 2207122 h 3690338"/>
                <a:gd name="connsiteX373" fmla="*/ 3489299 w 4878487"/>
                <a:gd name="connsiteY373" fmla="*/ 2208302 h 3690338"/>
                <a:gd name="connsiteX374" fmla="*/ 3488119 w 4878487"/>
                <a:gd name="connsiteY374" fmla="*/ 2209089 h 3690338"/>
                <a:gd name="connsiteX375" fmla="*/ 3483791 w 4878487"/>
                <a:gd name="connsiteY375" fmla="*/ 2210663 h 3690338"/>
                <a:gd name="connsiteX376" fmla="*/ 3475529 w 4878487"/>
                <a:gd name="connsiteY376" fmla="*/ 2190204 h 3690338"/>
                <a:gd name="connsiteX377" fmla="*/ 3475923 w 4878487"/>
                <a:gd name="connsiteY377" fmla="*/ 2187057 h 3690338"/>
                <a:gd name="connsiteX378" fmla="*/ 3475529 w 4878487"/>
                <a:gd name="connsiteY378" fmla="*/ 2184303 h 3690338"/>
                <a:gd name="connsiteX379" fmla="*/ 3475136 w 4878487"/>
                <a:gd name="connsiteY379" fmla="*/ 2183123 h 3690338"/>
                <a:gd name="connsiteX380" fmla="*/ 3483005 w 4878487"/>
                <a:gd name="connsiteY380" fmla="*/ 2150862 h 3690338"/>
                <a:gd name="connsiteX381" fmla="*/ 3483005 w 4878487"/>
                <a:gd name="connsiteY381" fmla="*/ 2150468 h 3690338"/>
                <a:gd name="connsiteX382" fmla="*/ 3483398 w 4878487"/>
                <a:gd name="connsiteY382" fmla="*/ 2148895 h 3690338"/>
                <a:gd name="connsiteX383" fmla="*/ 3494414 w 4878487"/>
                <a:gd name="connsiteY383" fmla="*/ 2111126 h 3690338"/>
                <a:gd name="connsiteX384" fmla="*/ 3494414 w 4878487"/>
                <a:gd name="connsiteY384" fmla="*/ 2111126 h 3690338"/>
                <a:gd name="connsiteX385" fmla="*/ 3494807 w 4878487"/>
                <a:gd name="connsiteY385" fmla="*/ 2109159 h 3690338"/>
                <a:gd name="connsiteX386" fmla="*/ 3494414 w 4878487"/>
                <a:gd name="connsiteY386" fmla="*/ 2106798 h 3690338"/>
                <a:gd name="connsiteX387" fmla="*/ 3494020 w 4878487"/>
                <a:gd name="connsiteY387" fmla="*/ 2104044 h 3690338"/>
                <a:gd name="connsiteX388" fmla="*/ 3493627 w 4878487"/>
                <a:gd name="connsiteY388" fmla="*/ 2101684 h 3690338"/>
                <a:gd name="connsiteX389" fmla="*/ 3492053 w 4878487"/>
                <a:gd name="connsiteY389" fmla="*/ 2093421 h 3690338"/>
                <a:gd name="connsiteX390" fmla="*/ 3492447 w 4878487"/>
                <a:gd name="connsiteY390" fmla="*/ 2087520 h 3690338"/>
                <a:gd name="connsiteX391" fmla="*/ 3492447 w 4878487"/>
                <a:gd name="connsiteY391" fmla="*/ 2087520 h 3690338"/>
                <a:gd name="connsiteX392" fmla="*/ 3492447 w 4878487"/>
                <a:gd name="connsiteY392" fmla="*/ 2087127 h 3690338"/>
                <a:gd name="connsiteX393" fmla="*/ 3493234 w 4878487"/>
                <a:gd name="connsiteY393" fmla="*/ 2084373 h 3690338"/>
                <a:gd name="connsiteX394" fmla="*/ 3493627 w 4878487"/>
                <a:gd name="connsiteY394" fmla="*/ 2081619 h 3690338"/>
                <a:gd name="connsiteX395" fmla="*/ 3494020 w 4878487"/>
                <a:gd name="connsiteY395" fmla="*/ 2078471 h 3690338"/>
                <a:gd name="connsiteX396" fmla="*/ 3493234 w 4878487"/>
                <a:gd name="connsiteY396" fmla="*/ 2075717 h 3690338"/>
                <a:gd name="connsiteX397" fmla="*/ 3491266 w 4878487"/>
                <a:gd name="connsiteY397" fmla="*/ 2074144 h 3690338"/>
                <a:gd name="connsiteX398" fmla="*/ 3489693 w 4878487"/>
                <a:gd name="connsiteY398" fmla="*/ 2071390 h 3690338"/>
                <a:gd name="connsiteX399" fmla="*/ 3490873 w 4878487"/>
                <a:gd name="connsiteY399" fmla="*/ 2070209 h 3690338"/>
                <a:gd name="connsiteX400" fmla="*/ 3491266 w 4878487"/>
                <a:gd name="connsiteY400" fmla="*/ 2068636 h 3690338"/>
                <a:gd name="connsiteX401" fmla="*/ 3493234 w 4878487"/>
                <a:gd name="connsiteY401" fmla="*/ 2066668 h 3690338"/>
                <a:gd name="connsiteX402" fmla="*/ 3495987 w 4878487"/>
                <a:gd name="connsiteY402" fmla="*/ 2065488 h 3690338"/>
                <a:gd name="connsiteX403" fmla="*/ 3498348 w 4878487"/>
                <a:gd name="connsiteY403" fmla="*/ 2063914 h 3690338"/>
                <a:gd name="connsiteX404" fmla="*/ 3501102 w 4878487"/>
                <a:gd name="connsiteY404" fmla="*/ 2064701 h 3690338"/>
                <a:gd name="connsiteX405" fmla="*/ 3502283 w 4878487"/>
                <a:gd name="connsiteY405" fmla="*/ 2064701 h 3690338"/>
                <a:gd name="connsiteX406" fmla="*/ 3504250 w 4878487"/>
                <a:gd name="connsiteY406" fmla="*/ 2064308 h 3690338"/>
                <a:gd name="connsiteX407" fmla="*/ 3515265 w 4878487"/>
                <a:gd name="connsiteY407" fmla="*/ 2064701 h 3690338"/>
                <a:gd name="connsiteX408" fmla="*/ 3518020 w 4878487"/>
                <a:gd name="connsiteY408" fmla="*/ 2065095 h 3690338"/>
                <a:gd name="connsiteX409" fmla="*/ 3519593 w 4878487"/>
                <a:gd name="connsiteY409" fmla="*/ 2063914 h 3690338"/>
                <a:gd name="connsiteX410" fmla="*/ 3519200 w 4878487"/>
                <a:gd name="connsiteY410" fmla="*/ 2065095 h 3690338"/>
                <a:gd name="connsiteX411" fmla="*/ 3518806 w 4878487"/>
                <a:gd name="connsiteY411" fmla="*/ 2069029 h 3690338"/>
                <a:gd name="connsiteX412" fmla="*/ 3517626 w 4878487"/>
                <a:gd name="connsiteY412" fmla="*/ 2070603 h 3690338"/>
                <a:gd name="connsiteX413" fmla="*/ 3518413 w 4878487"/>
                <a:gd name="connsiteY413" fmla="*/ 2072570 h 3690338"/>
                <a:gd name="connsiteX414" fmla="*/ 3518020 w 4878487"/>
                <a:gd name="connsiteY414" fmla="*/ 2075324 h 3690338"/>
                <a:gd name="connsiteX415" fmla="*/ 3518020 w 4878487"/>
                <a:gd name="connsiteY415" fmla="*/ 2078078 h 3690338"/>
                <a:gd name="connsiteX416" fmla="*/ 3518413 w 4878487"/>
                <a:gd name="connsiteY416" fmla="*/ 2081225 h 3690338"/>
                <a:gd name="connsiteX417" fmla="*/ 3517233 w 4878487"/>
                <a:gd name="connsiteY417" fmla="*/ 2083979 h 3690338"/>
                <a:gd name="connsiteX418" fmla="*/ 3518806 w 4878487"/>
                <a:gd name="connsiteY418" fmla="*/ 2086733 h 3690338"/>
                <a:gd name="connsiteX419" fmla="*/ 3516446 w 4878487"/>
                <a:gd name="connsiteY419" fmla="*/ 2089881 h 3690338"/>
                <a:gd name="connsiteX420" fmla="*/ 3519593 w 4878487"/>
                <a:gd name="connsiteY420" fmla="*/ 2092241 h 3690338"/>
                <a:gd name="connsiteX421" fmla="*/ 3521167 w 4878487"/>
                <a:gd name="connsiteY421" fmla="*/ 2092635 h 3690338"/>
                <a:gd name="connsiteX422" fmla="*/ 3529035 w 4878487"/>
                <a:gd name="connsiteY422" fmla="*/ 2092241 h 3690338"/>
                <a:gd name="connsiteX423" fmla="*/ 3531790 w 4878487"/>
                <a:gd name="connsiteY423" fmla="*/ 2093028 h 3690338"/>
                <a:gd name="connsiteX424" fmla="*/ 3534543 w 4878487"/>
                <a:gd name="connsiteY424" fmla="*/ 2093815 h 3690338"/>
                <a:gd name="connsiteX425" fmla="*/ 3537297 w 4878487"/>
                <a:gd name="connsiteY425" fmla="*/ 2093028 h 3690338"/>
                <a:gd name="connsiteX426" fmla="*/ 3540051 w 4878487"/>
                <a:gd name="connsiteY426" fmla="*/ 2092635 h 3690338"/>
                <a:gd name="connsiteX427" fmla="*/ 3541625 w 4878487"/>
                <a:gd name="connsiteY427" fmla="*/ 2091061 h 3690338"/>
                <a:gd name="connsiteX428" fmla="*/ 3544772 w 4878487"/>
                <a:gd name="connsiteY428" fmla="*/ 2090668 h 3690338"/>
                <a:gd name="connsiteX429" fmla="*/ 3547133 w 4878487"/>
                <a:gd name="connsiteY429" fmla="*/ 2093421 h 3690338"/>
                <a:gd name="connsiteX430" fmla="*/ 3549494 w 4878487"/>
                <a:gd name="connsiteY430" fmla="*/ 2096175 h 3690338"/>
                <a:gd name="connsiteX431" fmla="*/ 3549494 w 4878487"/>
                <a:gd name="connsiteY431" fmla="*/ 2093815 h 3690338"/>
                <a:gd name="connsiteX432" fmla="*/ 3551854 w 4878487"/>
                <a:gd name="connsiteY432" fmla="*/ 2096569 h 3690338"/>
                <a:gd name="connsiteX433" fmla="*/ 3552248 w 4878487"/>
                <a:gd name="connsiteY433" fmla="*/ 2096962 h 3690338"/>
                <a:gd name="connsiteX434" fmla="*/ 3552641 w 4878487"/>
                <a:gd name="connsiteY434" fmla="*/ 2096962 h 3690338"/>
                <a:gd name="connsiteX435" fmla="*/ 3553034 w 4878487"/>
                <a:gd name="connsiteY435" fmla="*/ 2096962 h 3690338"/>
                <a:gd name="connsiteX436" fmla="*/ 3554608 w 4878487"/>
                <a:gd name="connsiteY436" fmla="*/ 2100110 h 3690338"/>
                <a:gd name="connsiteX437" fmla="*/ 3557362 w 4878487"/>
                <a:gd name="connsiteY437" fmla="*/ 2102470 h 3690338"/>
                <a:gd name="connsiteX438" fmla="*/ 3557362 w 4878487"/>
                <a:gd name="connsiteY438" fmla="*/ 2099716 h 3690338"/>
                <a:gd name="connsiteX439" fmla="*/ 3559723 w 4878487"/>
                <a:gd name="connsiteY439" fmla="*/ 2102470 h 3690338"/>
                <a:gd name="connsiteX440" fmla="*/ 3561690 w 4878487"/>
                <a:gd name="connsiteY440" fmla="*/ 2101684 h 3690338"/>
                <a:gd name="connsiteX441" fmla="*/ 3559329 w 4878487"/>
                <a:gd name="connsiteY441" fmla="*/ 2104831 h 3690338"/>
                <a:gd name="connsiteX442" fmla="*/ 3560509 w 4878487"/>
                <a:gd name="connsiteY442" fmla="*/ 2107585 h 3690338"/>
                <a:gd name="connsiteX443" fmla="*/ 3563264 w 4878487"/>
                <a:gd name="connsiteY443" fmla="*/ 2107978 h 3690338"/>
                <a:gd name="connsiteX444" fmla="*/ 3563657 w 4878487"/>
                <a:gd name="connsiteY444" fmla="*/ 2107978 h 3690338"/>
                <a:gd name="connsiteX445" fmla="*/ 3566804 w 4878487"/>
                <a:gd name="connsiteY445" fmla="*/ 2109159 h 3690338"/>
                <a:gd name="connsiteX446" fmla="*/ 3568771 w 4878487"/>
                <a:gd name="connsiteY446" fmla="*/ 2111913 h 3690338"/>
                <a:gd name="connsiteX447" fmla="*/ 3568771 w 4878487"/>
                <a:gd name="connsiteY447" fmla="*/ 2109159 h 3690338"/>
                <a:gd name="connsiteX448" fmla="*/ 3568378 w 4878487"/>
                <a:gd name="connsiteY448" fmla="*/ 2106798 h 3690338"/>
                <a:gd name="connsiteX449" fmla="*/ 3575067 w 4878487"/>
                <a:gd name="connsiteY449" fmla="*/ 2113486 h 3690338"/>
                <a:gd name="connsiteX450" fmla="*/ 3575460 w 4878487"/>
                <a:gd name="connsiteY450" fmla="*/ 2116634 h 3690338"/>
                <a:gd name="connsiteX451" fmla="*/ 3577427 w 4878487"/>
                <a:gd name="connsiteY451" fmla="*/ 2118994 h 3690338"/>
                <a:gd name="connsiteX452" fmla="*/ 3580574 w 4878487"/>
                <a:gd name="connsiteY452" fmla="*/ 2126076 h 3690338"/>
                <a:gd name="connsiteX453" fmla="*/ 3582148 w 4878487"/>
                <a:gd name="connsiteY453" fmla="*/ 2123322 h 3690338"/>
                <a:gd name="connsiteX454" fmla="*/ 3582541 w 4878487"/>
                <a:gd name="connsiteY454" fmla="*/ 2123715 h 3690338"/>
                <a:gd name="connsiteX455" fmla="*/ 3582935 w 4878487"/>
                <a:gd name="connsiteY455" fmla="*/ 2123322 h 3690338"/>
                <a:gd name="connsiteX456" fmla="*/ 3584902 w 4878487"/>
                <a:gd name="connsiteY456" fmla="*/ 2123715 h 3690338"/>
                <a:gd name="connsiteX457" fmla="*/ 3582148 w 4878487"/>
                <a:gd name="connsiteY457" fmla="*/ 2124896 h 3690338"/>
                <a:gd name="connsiteX458" fmla="*/ 3582935 w 4878487"/>
                <a:gd name="connsiteY458" fmla="*/ 2127650 h 3690338"/>
                <a:gd name="connsiteX459" fmla="*/ 3585296 w 4878487"/>
                <a:gd name="connsiteY459" fmla="*/ 2130404 h 3690338"/>
                <a:gd name="connsiteX460" fmla="*/ 3588049 w 4878487"/>
                <a:gd name="connsiteY460" fmla="*/ 2132371 h 3690338"/>
                <a:gd name="connsiteX461" fmla="*/ 3586476 w 4878487"/>
                <a:gd name="connsiteY461" fmla="*/ 2135125 h 3690338"/>
                <a:gd name="connsiteX462" fmla="*/ 3586082 w 4878487"/>
                <a:gd name="connsiteY462" fmla="*/ 2137879 h 3690338"/>
                <a:gd name="connsiteX463" fmla="*/ 3586869 w 4878487"/>
                <a:gd name="connsiteY463" fmla="*/ 2140633 h 3690338"/>
                <a:gd name="connsiteX464" fmla="*/ 3587656 w 4878487"/>
                <a:gd name="connsiteY464" fmla="*/ 2143387 h 3690338"/>
                <a:gd name="connsiteX465" fmla="*/ 3587263 w 4878487"/>
                <a:gd name="connsiteY465" fmla="*/ 2146141 h 3690338"/>
                <a:gd name="connsiteX466" fmla="*/ 3587263 w 4878487"/>
                <a:gd name="connsiteY466" fmla="*/ 2149288 h 3690338"/>
                <a:gd name="connsiteX467" fmla="*/ 3590016 w 4878487"/>
                <a:gd name="connsiteY467" fmla="*/ 2152042 h 3690338"/>
                <a:gd name="connsiteX468" fmla="*/ 3592771 w 4878487"/>
                <a:gd name="connsiteY468" fmla="*/ 2150075 h 3690338"/>
                <a:gd name="connsiteX469" fmla="*/ 3595918 w 4878487"/>
                <a:gd name="connsiteY469" fmla="*/ 2151649 h 3690338"/>
                <a:gd name="connsiteX470" fmla="*/ 3596705 w 4878487"/>
                <a:gd name="connsiteY470" fmla="*/ 2148895 h 3690338"/>
                <a:gd name="connsiteX471" fmla="*/ 3597492 w 4878487"/>
                <a:gd name="connsiteY471" fmla="*/ 2144567 h 3690338"/>
                <a:gd name="connsiteX472" fmla="*/ 3605360 w 4878487"/>
                <a:gd name="connsiteY472" fmla="*/ 2156370 h 3690338"/>
                <a:gd name="connsiteX473" fmla="*/ 3602606 w 4878487"/>
                <a:gd name="connsiteY473" fmla="*/ 2156763 h 3690338"/>
                <a:gd name="connsiteX474" fmla="*/ 3601033 w 4878487"/>
                <a:gd name="connsiteY474" fmla="*/ 2159517 h 3690338"/>
                <a:gd name="connsiteX475" fmla="*/ 3602606 w 4878487"/>
                <a:gd name="connsiteY475" fmla="*/ 2162271 h 3690338"/>
                <a:gd name="connsiteX476" fmla="*/ 3605360 w 4878487"/>
                <a:gd name="connsiteY476" fmla="*/ 2165025 h 3690338"/>
                <a:gd name="connsiteX477" fmla="*/ 3608114 w 4878487"/>
                <a:gd name="connsiteY477" fmla="*/ 2163452 h 3690338"/>
                <a:gd name="connsiteX478" fmla="*/ 3610868 w 4878487"/>
                <a:gd name="connsiteY478" fmla="*/ 2161484 h 3690338"/>
                <a:gd name="connsiteX479" fmla="*/ 3610868 w 4878487"/>
                <a:gd name="connsiteY479" fmla="*/ 2158730 h 3690338"/>
                <a:gd name="connsiteX480" fmla="*/ 3611262 w 4878487"/>
                <a:gd name="connsiteY480" fmla="*/ 2158730 h 3690338"/>
                <a:gd name="connsiteX481" fmla="*/ 3613229 w 4878487"/>
                <a:gd name="connsiteY481" fmla="*/ 2161091 h 3690338"/>
                <a:gd name="connsiteX482" fmla="*/ 3616376 w 4878487"/>
                <a:gd name="connsiteY482" fmla="*/ 2161878 h 3690338"/>
                <a:gd name="connsiteX483" fmla="*/ 3619130 w 4878487"/>
                <a:gd name="connsiteY483" fmla="*/ 2162271 h 3690338"/>
                <a:gd name="connsiteX484" fmla="*/ 3619130 w 4878487"/>
                <a:gd name="connsiteY484" fmla="*/ 2162271 h 3690338"/>
                <a:gd name="connsiteX485" fmla="*/ 3624245 w 4878487"/>
                <a:gd name="connsiteY485" fmla="*/ 2164632 h 3690338"/>
                <a:gd name="connsiteX486" fmla="*/ 3624638 w 4878487"/>
                <a:gd name="connsiteY486" fmla="*/ 2165025 h 3690338"/>
                <a:gd name="connsiteX487" fmla="*/ 3626212 w 4878487"/>
                <a:gd name="connsiteY487" fmla="*/ 2165419 h 3690338"/>
                <a:gd name="connsiteX488" fmla="*/ 3628966 w 4878487"/>
                <a:gd name="connsiteY488" fmla="*/ 2166599 h 3690338"/>
                <a:gd name="connsiteX489" fmla="*/ 3630540 w 4878487"/>
                <a:gd name="connsiteY489" fmla="*/ 2168172 h 3690338"/>
                <a:gd name="connsiteX490" fmla="*/ 3631326 w 4878487"/>
                <a:gd name="connsiteY490" fmla="*/ 2166992 h 3690338"/>
                <a:gd name="connsiteX491" fmla="*/ 3630933 w 4878487"/>
                <a:gd name="connsiteY491" fmla="*/ 2168566 h 3690338"/>
                <a:gd name="connsiteX492" fmla="*/ 3632113 w 4878487"/>
                <a:gd name="connsiteY492" fmla="*/ 2171320 h 3690338"/>
                <a:gd name="connsiteX493" fmla="*/ 3634080 w 4878487"/>
                <a:gd name="connsiteY493" fmla="*/ 2174074 h 3690338"/>
                <a:gd name="connsiteX494" fmla="*/ 3636834 w 4878487"/>
                <a:gd name="connsiteY494" fmla="*/ 2174074 h 3690338"/>
                <a:gd name="connsiteX495" fmla="*/ 3639588 w 4878487"/>
                <a:gd name="connsiteY495" fmla="*/ 2173681 h 3690338"/>
                <a:gd name="connsiteX496" fmla="*/ 3639588 w 4878487"/>
                <a:gd name="connsiteY496" fmla="*/ 2173681 h 3690338"/>
                <a:gd name="connsiteX497" fmla="*/ 3641949 w 4878487"/>
                <a:gd name="connsiteY497" fmla="*/ 2176435 h 3690338"/>
                <a:gd name="connsiteX498" fmla="*/ 3644703 w 4878487"/>
                <a:gd name="connsiteY498" fmla="*/ 2177221 h 3690338"/>
                <a:gd name="connsiteX499" fmla="*/ 3646277 w 4878487"/>
                <a:gd name="connsiteY499" fmla="*/ 2177615 h 3690338"/>
                <a:gd name="connsiteX500" fmla="*/ 3648637 w 4878487"/>
                <a:gd name="connsiteY500" fmla="*/ 2180762 h 3690338"/>
                <a:gd name="connsiteX501" fmla="*/ 3649818 w 4878487"/>
                <a:gd name="connsiteY501" fmla="*/ 2182729 h 3690338"/>
                <a:gd name="connsiteX502" fmla="*/ 3650211 w 4878487"/>
                <a:gd name="connsiteY502" fmla="*/ 2185483 h 3690338"/>
                <a:gd name="connsiteX503" fmla="*/ 3649030 w 4878487"/>
                <a:gd name="connsiteY503" fmla="*/ 2182729 h 3690338"/>
                <a:gd name="connsiteX504" fmla="*/ 3646277 w 4878487"/>
                <a:gd name="connsiteY504" fmla="*/ 2185090 h 3690338"/>
                <a:gd name="connsiteX505" fmla="*/ 3643916 w 4878487"/>
                <a:gd name="connsiteY505" fmla="*/ 2188237 h 3690338"/>
                <a:gd name="connsiteX506" fmla="*/ 3643129 w 4878487"/>
                <a:gd name="connsiteY506" fmla="*/ 2190991 h 3690338"/>
                <a:gd name="connsiteX507" fmla="*/ 3642736 w 4878487"/>
                <a:gd name="connsiteY507" fmla="*/ 2196499 h 3690338"/>
                <a:gd name="connsiteX508" fmla="*/ 3643129 w 4878487"/>
                <a:gd name="connsiteY508" fmla="*/ 2205155 h 3690338"/>
                <a:gd name="connsiteX509" fmla="*/ 3643129 w 4878487"/>
                <a:gd name="connsiteY509" fmla="*/ 2211056 h 3690338"/>
                <a:gd name="connsiteX510" fmla="*/ 3643522 w 4878487"/>
                <a:gd name="connsiteY510" fmla="*/ 2213417 h 3690338"/>
                <a:gd name="connsiteX511" fmla="*/ 3643522 w 4878487"/>
                <a:gd name="connsiteY511" fmla="*/ 2216171 h 3690338"/>
                <a:gd name="connsiteX512" fmla="*/ 3643916 w 4878487"/>
                <a:gd name="connsiteY512" fmla="*/ 2219318 h 3690338"/>
                <a:gd name="connsiteX513" fmla="*/ 3643916 w 4878487"/>
                <a:gd name="connsiteY513" fmla="*/ 2222072 h 3690338"/>
                <a:gd name="connsiteX514" fmla="*/ 3646670 w 4878487"/>
                <a:gd name="connsiteY514" fmla="*/ 2221285 h 3690338"/>
                <a:gd name="connsiteX515" fmla="*/ 3647457 w 4878487"/>
                <a:gd name="connsiteY515" fmla="*/ 2220892 h 3690338"/>
                <a:gd name="connsiteX516" fmla="*/ 3647063 w 4878487"/>
                <a:gd name="connsiteY516" fmla="*/ 2223646 h 3690338"/>
                <a:gd name="connsiteX517" fmla="*/ 3648637 w 4878487"/>
                <a:gd name="connsiteY517" fmla="*/ 2224433 h 3690338"/>
                <a:gd name="connsiteX518" fmla="*/ 3645883 w 4878487"/>
                <a:gd name="connsiteY518" fmla="*/ 2225219 h 3690338"/>
                <a:gd name="connsiteX519" fmla="*/ 3643129 w 4878487"/>
                <a:gd name="connsiteY519" fmla="*/ 2227973 h 3690338"/>
                <a:gd name="connsiteX520" fmla="*/ 3645883 w 4878487"/>
                <a:gd name="connsiteY520" fmla="*/ 2229547 h 3690338"/>
                <a:gd name="connsiteX521" fmla="*/ 3648637 w 4878487"/>
                <a:gd name="connsiteY521" fmla="*/ 2229154 h 3690338"/>
                <a:gd name="connsiteX522" fmla="*/ 3651391 w 4878487"/>
                <a:gd name="connsiteY522" fmla="*/ 2227973 h 3690338"/>
                <a:gd name="connsiteX523" fmla="*/ 3654145 w 4878487"/>
                <a:gd name="connsiteY523" fmla="*/ 2226400 h 3690338"/>
                <a:gd name="connsiteX524" fmla="*/ 3656506 w 4878487"/>
                <a:gd name="connsiteY524" fmla="*/ 2223646 h 3690338"/>
                <a:gd name="connsiteX525" fmla="*/ 3659259 w 4878487"/>
                <a:gd name="connsiteY525" fmla="*/ 2221285 h 3690338"/>
                <a:gd name="connsiteX526" fmla="*/ 3660046 w 4878487"/>
                <a:gd name="connsiteY526" fmla="*/ 2218531 h 3690338"/>
                <a:gd name="connsiteX527" fmla="*/ 3661227 w 4878487"/>
                <a:gd name="connsiteY527" fmla="*/ 2215777 h 3690338"/>
                <a:gd name="connsiteX528" fmla="*/ 3661620 w 4878487"/>
                <a:gd name="connsiteY528" fmla="*/ 2214990 h 3690338"/>
                <a:gd name="connsiteX529" fmla="*/ 3673816 w 4878487"/>
                <a:gd name="connsiteY529" fmla="*/ 2206728 h 3690338"/>
                <a:gd name="connsiteX530" fmla="*/ 3676571 w 4878487"/>
                <a:gd name="connsiteY530" fmla="*/ 2205155 h 3690338"/>
                <a:gd name="connsiteX531" fmla="*/ 3679325 w 4878487"/>
                <a:gd name="connsiteY531" fmla="*/ 2203974 h 3690338"/>
                <a:gd name="connsiteX532" fmla="*/ 3682078 w 4878487"/>
                <a:gd name="connsiteY532" fmla="*/ 2202794 h 3690338"/>
                <a:gd name="connsiteX533" fmla="*/ 3682865 w 4878487"/>
                <a:gd name="connsiteY533" fmla="*/ 2200433 h 3690338"/>
                <a:gd name="connsiteX534" fmla="*/ 3684045 w 4878487"/>
                <a:gd name="connsiteY534" fmla="*/ 2197679 h 3690338"/>
                <a:gd name="connsiteX535" fmla="*/ 3682472 w 4878487"/>
                <a:gd name="connsiteY535" fmla="*/ 2194926 h 3690338"/>
                <a:gd name="connsiteX536" fmla="*/ 3680505 w 4878487"/>
                <a:gd name="connsiteY536" fmla="*/ 2192172 h 3690338"/>
                <a:gd name="connsiteX537" fmla="*/ 3678931 w 4878487"/>
                <a:gd name="connsiteY537" fmla="*/ 2189418 h 3690338"/>
                <a:gd name="connsiteX538" fmla="*/ 3676571 w 4878487"/>
                <a:gd name="connsiteY538" fmla="*/ 2186664 h 3690338"/>
                <a:gd name="connsiteX539" fmla="*/ 3673816 w 4878487"/>
                <a:gd name="connsiteY539" fmla="*/ 2183516 h 3690338"/>
                <a:gd name="connsiteX540" fmla="*/ 3673423 w 4878487"/>
                <a:gd name="connsiteY540" fmla="*/ 2183123 h 3690338"/>
                <a:gd name="connsiteX541" fmla="*/ 3671062 w 4878487"/>
                <a:gd name="connsiteY541" fmla="*/ 2180762 h 3690338"/>
                <a:gd name="connsiteX542" fmla="*/ 3671456 w 4878487"/>
                <a:gd name="connsiteY542" fmla="*/ 2180369 h 3690338"/>
                <a:gd name="connsiteX543" fmla="*/ 3671849 w 4878487"/>
                <a:gd name="connsiteY543" fmla="*/ 2180369 h 3690338"/>
                <a:gd name="connsiteX544" fmla="*/ 3671849 w 4878487"/>
                <a:gd name="connsiteY544" fmla="*/ 2180762 h 3690338"/>
                <a:gd name="connsiteX545" fmla="*/ 3673029 w 4878487"/>
                <a:gd name="connsiteY545" fmla="*/ 2181156 h 3690338"/>
                <a:gd name="connsiteX546" fmla="*/ 3676571 w 4878487"/>
                <a:gd name="connsiteY546" fmla="*/ 2183910 h 3690338"/>
                <a:gd name="connsiteX547" fmla="*/ 3678538 w 4878487"/>
                <a:gd name="connsiteY547" fmla="*/ 2186664 h 3690338"/>
                <a:gd name="connsiteX548" fmla="*/ 3684045 w 4878487"/>
                <a:gd name="connsiteY548" fmla="*/ 2192172 h 3690338"/>
                <a:gd name="connsiteX549" fmla="*/ 3686799 w 4878487"/>
                <a:gd name="connsiteY549" fmla="*/ 2194139 h 3690338"/>
                <a:gd name="connsiteX550" fmla="*/ 3689553 w 4878487"/>
                <a:gd name="connsiteY550" fmla="*/ 2196106 h 3690338"/>
                <a:gd name="connsiteX551" fmla="*/ 3692308 w 4878487"/>
                <a:gd name="connsiteY551" fmla="*/ 2195319 h 3690338"/>
                <a:gd name="connsiteX552" fmla="*/ 3694275 w 4878487"/>
                <a:gd name="connsiteY552" fmla="*/ 2192565 h 3690338"/>
                <a:gd name="connsiteX553" fmla="*/ 3694275 w 4878487"/>
                <a:gd name="connsiteY553" fmla="*/ 2189418 h 3690338"/>
                <a:gd name="connsiteX554" fmla="*/ 3691914 w 4878487"/>
                <a:gd name="connsiteY554" fmla="*/ 2186664 h 3690338"/>
                <a:gd name="connsiteX555" fmla="*/ 3689553 w 4878487"/>
                <a:gd name="connsiteY555" fmla="*/ 2183910 h 3690338"/>
                <a:gd name="connsiteX556" fmla="*/ 3686013 w 4878487"/>
                <a:gd name="connsiteY556" fmla="*/ 2180369 h 3690338"/>
                <a:gd name="connsiteX557" fmla="*/ 3686013 w 4878487"/>
                <a:gd name="connsiteY557" fmla="*/ 2180369 h 3690338"/>
                <a:gd name="connsiteX558" fmla="*/ 3683259 w 4878487"/>
                <a:gd name="connsiteY558" fmla="*/ 2177615 h 3690338"/>
                <a:gd name="connsiteX559" fmla="*/ 3678931 w 4878487"/>
                <a:gd name="connsiteY559" fmla="*/ 2172107 h 3690338"/>
                <a:gd name="connsiteX560" fmla="*/ 3679325 w 4878487"/>
                <a:gd name="connsiteY560" fmla="*/ 2171713 h 3690338"/>
                <a:gd name="connsiteX561" fmla="*/ 3683259 w 4878487"/>
                <a:gd name="connsiteY561" fmla="*/ 2175648 h 3690338"/>
                <a:gd name="connsiteX562" fmla="*/ 3684439 w 4878487"/>
                <a:gd name="connsiteY562" fmla="*/ 2177221 h 3690338"/>
                <a:gd name="connsiteX563" fmla="*/ 3687193 w 4878487"/>
                <a:gd name="connsiteY563" fmla="*/ 2179975 h 3690338"/>
                <a:gd name="connsiteX564" fmla="*/ 3689947 w 4878487"/>
                <a:gd name="connsiteY564" fmla="*/ 2182336 h 3690338"/>
                <a:gd name="connsiteX565" fmla="*/ 3692701 w 4878487"/>
                <a:gd name="connsiteY565" fmla="*/ 2184696 h 3690338"/>
                <a:gd name="connsiteX566" fmla="*/ 3695454 w 4878487"/>
                <a:gd name="connsiteY566" fmla="*/ 2186270 h 3690338"/>
                <a:gd name="connsiteX567" fmla="*/ 3696242 w 4878487"/>
                <a:gd name="connsiteY567" fmla="*/ 2183516 h 3690338"/>
                <a:gd name="connsiteX568" fmla="*/ 3693487 w 4878487"/>
                <a:gd name="connsiteY568" fmla="*/ 2181549 h 3690338"/>
                <a:gd name="connsiteX569" fmla="*/ 3690734 w 4878487"/>
                <a:gd name="connsiteY569" fmla="*/ 2180369 h 3690338"/>
                <a:gd name="connsiteX570" fmla="*/ 3684045 w 4878487"/>
                <a:gd name="connsiteY570" fmla="*/ 2171713 h 3690338"/>
                <a:gd name="connsiteX571" fmla="*/ 3684439 w 4878487"/>
                <a:gd name="connsiteY571" fmla="*/ 2171320 h 3690338"/>
                <a:gd name="connsiteX572" fmla="*/ 3686013 w 4878487"/>
                <a:gd name="connsiteY572" fmla="*/ 2172107 h 3690338"/>
                <a:gd name="connsiteX573" fmla="*/ 3687586 w 4878487"/>
                <a:gd name="connsiteY573" fmla="*/ 2174861 h 3690338"/>
                <a:gd name="connsiteX574" fmla="*/ 3689947 w 4878487"/>
                <a:gd name="connsiteY574" fmla="*/ 2177615 h 3690338"/>
                <a:gd name="connsiteX575" fmla="*/ 3692701 w 4878487"/>
                <a:gd name="connsiteY575" fmla="*/ 2179582 h 3690338"/>
                <a:gd name="connsiteX576" fmla="*/ 3693094 w 4878487"/>
                <a:gd name="connsiteY576" fmla="*/ 2179975 h 3690338"/>
                <a:gd name="connsiteX577" fmla="*/ 3695848 w 4878487"/>
                <a:gd name="connsiteY577" fmla="*/ 2179975 h 3690338"/>
                <a:gd name="connsiteX578" fmla="*/ 3696635 w 4878487"/>
                <a:gd name="connsiteY578" fmla="*/ 2177221 h 3690338"/>
                <a:gd name="connsiteX579" fmla="*/ 3699389 w 4878487"/>
                <a:gd name="connsiteY579" fmla="*/ 2176041 h 3690338"/>
                <a:gd name="connsiteX580" fmla="*/ 3697029 w 4878487"/>
                <a:gd name="connsiteY580" fmla="*/ 2173287 h 3690338"/>
                <a:gd name="connsiteX581" fmla="*/ 3693881 w 4878487"/>
                <a:gd name="connsiteY581" fmla="*/ 2172107 h 3690338"/>
                <a:gd name="connsiteX582" fmla="*/ 3691127 w 4878487"/>
                <a:gd name="connsiteY582" fmla="*/ 2171320 h 3690338"/>
                <a:gd name="connsiteX583" fmla="*/ 3688374 w 4878487"/>
                <a:gd name="connsiteY583" fmla="*/ 2169746 h 3690338"/>
                <a:gd name="connsiteX584" fmla="*/ 3687980 w 4878487"/>
                <a:gd name="connsiteY584" fmla="*/ 2169353 h 3690338"/>
                <a:gd name="connsiteX585" fmla="*/ 3687586 w 4878487"/>
                <a:gd name="connsiteY585" fmla="*/ 2168959 h 3690338"/>
                <a:gd name="connsiteX586" fmla="*/ 3687980 w 4878487"/>
                <a:gd name="connsiteY586" fmla="*/ 2168959 h 3690338"/>
                <a:gd name="connsiteX587" fmla="*/ 3691127 w 4878487"/>
                <a:gd name="connsiteY587" fmla="*/ 2169353 h 3690338"/>
                <a:gd name="connsiteX588" fmla="*/ 3693881 w 4878487"/>
                <a:gd name="connsiteY588" fmla="*/ 2169746 h 3690338"/>
                <a:gd name="connsiteX589" fmla="*/ 3696635 w 4878487"/>
                <a:gd name="connsiteY589" fmla="*/ 2170140 h 3690338"/>
                <a:gd name="connsiteX590" fmla="*/ 3698602 w 4878487"/>
                <a:gd name="connsiteY590" fmla="*/ 2166992 h 3690338"/>
                <a:gd name="connsiteX591" fmla="*/ 3697029 w 4878487"/>
                <a:gd name="connsiteY591" fmla="*/ 2164238 h 3690338"/>
                <a:gd name="connsiteX592" fmla="*/ 3694275 w 4878487"/>
                <a:gd name="connsiteY592" fmla="*/ 2163452 h 3690338"/>
                <a:gd name="connsiteX593" fmla="*/ 3693881 w 4878487"/>
                <a:gd name="connsiteY593" fmla="*/ 2163845 h 3690338"/>
                <a:gd name="connsiteX594" fmla="*/ 3692308 w 4878487"/>
                <a:gd name="connsiteY594" fmla="*/ 2165025 h 3690338"/>
                <a:gd name="connsiteX595" fmla="*/ 3691520 w 4878487"/>
                <a:gd name="connsiteY595" fmla="*/ 2163452 h 3690338"/>
                <a:gd name="connsiteX596" fmla="*/ 3693094 w 4878487"/>
                <a:gd name="connsiteY596" fmla="*/ 2163845 h 3690338"/>
                <a:gd name="connsiteX597" fmla="*/ 3695848 w 4878487"/>
                <a:gd name="connsiteY597" fmla="*/ 2162271 h 3690338"/>
                <a:gd name="connsiteX598" fmla="*/ 3696635 w 4878487"/>
                <a:gd name="connsiteY598" fmla="*/ 2159517 h 3690338"/>
                <a:gd name="connsiteX599" fmla="*/ 3696242 w 4878487"/>
                <a:gd name="connsiteY599" fmla="*/ 2157943 h 3690338"/>
                <a:gd name="connsiteX600" fmla="*/ 3696242 w 4878487"/>
                <a:gd name="connsiteY600" fmla="*/ 2156370 h 3690338"/>
                <a:gd name="connsiteX601" fmla="*/ 3696635 w 4878487"/>
                <a:gd name="connsiteY601" fmla="*/ 2156370 h 3690338"/>
                <a:gd name="connsiteX602" fmla="*/ 3697029 w 4878487"/>
                <a:gd name="connsiteY602" fmla="*/ 2156370 h 3690338"/>
                <a:gd name="connsiteX603" fmla="*/ 3699783 w 4878487"/>
                <a:gd name="connsiteY603" fmla="*/ 2157943 h 3690338"/>
                <a:gd name="connsiteX604" fmla="*/ 3700176 w 4878487"/>
                <a:gd name="connsiteY604" fmla="*/ 2158337 h 3690338"/>
                <a:gd name="connsiteX605" fmla="*/ 3699389 w 4878487"/>
                <a:gd name="connsiteY605" fmla="*/ 2158337 h 3690338"/>
                <a:gd name="connsiteX606" fmla="*/ 3701750 w 4878487"/>
                <a:gd name="connsiteY606" fmla="*/ 2161091 h 3690338"/>
                <a:gd name="connsiteX607" fmla="*/ 3700963 w 4878487"/>
                <a:gd name="connsiteY607" fmla="*/ 2158730 h 3690338"/>
                <a:gd name="connsiteX608" fmla="*/ 3702536 w 4878487"/>
                <a:gd name="connsiteY608" fmla="*/ 2160304 h 3690338"/>
                <a:gd name="connsiteX609" fmla="*/ 3702930 w 4878487"/>
                <a:gd name="connsiteY609" fmla="*/ 2163452 h 3690338"/>
                <a:gd name="connsiteX610" fmla="*/ 3703323 w 4878487"/>
                <a:gd name="connsiteY610" fmla="*/ 2160304 h 3690338"/>
                <a:gd name="connsiteX611" fmla="*/ 3703717 w 4878487"/>
                <a:gd name="connsiteY611" fmla="*/ 2157157 h 3690338"/>
                <a:gd name="connsiteX612" fmla="*/ 3704111 w 4878487"/>
                <a:gd name="connsiteY612" fmla="*/ 2158337 h 3690338"/>
                <a:gd name="connsiteX613" fmla="*/ 3704503 w 4878487"/>
                <a:gd name="connsiteY613" fmla="*/ 2161484 h 3690338"/>
                <a:gd name="connsiteX614" fmla="*/ 3707257 w 4878487"/>
                <a:gd name="connsiteY614" fmla="*/ 2163058 h 3690338"/>
                <a:gd name="connsiteX615" fmla="*/ 3708832 w 4878487"/>
                <a:gd name="connsiteY615" fmla="*/ 2163452 h 3690338"/>
                <a:gd name="connsiteX616" fmla="*/ 3711191 w 4878487"/>
                <a:gd name="connsiteY616" fmla="*/ 2166205 h 3690338"/>
                <a:gd name="connsiteX617" fmla="*/ 3713552 w 4878487"/>
                <a:gd name="connsiteY617" fmla="*/ 2164238 h 3690338"/>
                <a:gd name="connsiteX618" fmla="*/ 3716700 w 4878487"/>
                <a:gd name="connsiteY618" fmla="*/ 2163845 h 3690338"/>
                <a:gd name="connsiteX619" fmla="*/ 3719454 w 4878487"/>
                <a:gd name="connsiteY619" fmla="*/ 2162271 h 3690338"/>
                <a:gd name="connsiteX620" fmla="*/ 3721027 w 4878487"/>
                <a:gd name="connsiteY620" fmla="*/ 2159911 h 3690338"/>
                <a:gd name="connsiteX621" fmla="*/ 3723782 w 4878487"/>
                <a:gd name="connsiteY621" fmla="*/ 2158337 h 3690338"/>
                <a:gd name="connsiteX622" fmla="*/ 3726536 w 4878487"/>
                <a:gd name="connsiteY622" fmla="*/ 2157157 h 3690338"/>
                <a:gd name="connsiteX623" fmla="*/ 3729289 w 4878487"/>
                <a:gd name="connsiteY623" fmla="*/ 2155189 h 3690338"/>
                <a:gd name="connsiteX624" fmla="*/ 3732437 w 4878487"/>
                <a:gd name="connsiteY624" fmla="*/ 2155583 h 3690338"/>
                <a:gd name="connsiteX625" fmla="*/ 3733618 w 4878487"/>
                <a:gd name="connsiteY625" fmla="*/ 2152829 h 3690338"/>
                <a:gd name="connsiteX626" fmla="*/ 3734404 w 4878487"/>
                <a:gd name="connsiteY626" fmla="*/ 2150075 h 3690338"/>
                <a:gd name="connsiteX627" fmla="*/ 3734404 w 4878487"/>
                <a:gd name="connsiteY627" fmla="*/ 2149682 h 3690338"/>
                <a:gd name="connsiteX628" fmla="*/ 3737158 w 4878487"/>
                <a:gd name="connsiteY628" fmla="*/ 2148108 h 3690338"/>
                <a:gd name="connsiteX629" fmla="*/ 3739912 w 4878487"/>
                <a:gd name="connsiteY629" fmla="*/ 2147715 h 3690338"/>
                <a:gd name="connsiteX630" fmla="*/ 3743059 w 4878487"/>
                <a:gd name="connsiteY630" fmla="*/ 2144960 h 3690338"/>
                <a:gd name="connsiteX631" fmla="*/ 3745813 w 4878487"/>
                <a:gd name="connsiteY631" fmla="*/ 2144174 h 3690338"/>
                <a:gd name="connsiteX632" fmla="*/ 3746600 w 4878487"/>
                <a:gd name="connsiteY632" fmla="*/ 2141420 h 3690338"/>
                <a:gd name="connsiteX633" fmla="*/ 3748174 w 4878487"/>
                <a:gd name="connsiteY633" fmla="*/ 2139846 h 3690338"/>
                <a:gd name="connsiteX634" fmla="*/ 3750928 w 4878487"/>
                <a:gd name="connsiteY634" fmla="*/ 2139452 h 3690338"/>
                <a:gd name="connsiteX635" fmla="*/ 3752501 w 4878487"/>
                <a:gd name="connsiteY635" fmla="*/ 2137485 h 3690338"/>
                <a:gd name="connsiteX636" fmla="*/ 3757223 w 4878487"/>
                <a:gd name="connsiteY636" fmla="*/ 2134731 h 3690338"/>
                <a:gd name="connsiteX637" fmla="*/ 3759977 w 4878487"/>
                <a:gd name="connsiteY637" fmla="*/ 2133945 h 3690338"/>
                <a:gd name="connsiteX638" fmla="*/ 3760370 w 4878487"/>
                <a:gd name="connsiteY638" fmla="*/ 2131191 h 3690338"/>
                <a:gd name="connsiteX639" fmla="*/ 3759977 w 4878487"/>
                <a:gd name="connsiteY639" fmla="*/ 2128437 h 3690338"/>
                <a:gd name="connsiteX640" fmla="*/ 3759583 w 4878487"/>
                <a:gd name="connsiteY640" fmla="*/ 2127256 h 3690338"/>
                <a:gd name="connsiteX641" fmla="*/ 3759977 w 4878487"/>
                <a:gd name="connsiteY641" fmla="*/ 2126076 h 3690338"/>
                <a:gd name="connsiteX642" fmla="*/ 3763125 w 4878487"/>
                <a:gd name="connsiteY642" fmla="*/ 2126076 h 3690338"/>
                <a:gd name="connsiteX643" fmla="*/ 3764304 w 4878487"/>
                <a:gd name="connsiteY643" fmla="*/ 2123322 h 3690338"/>
                <a:gd name="connsiteX644" fmla="*/ 3765878 w 4878487"/>
                <a:gd name="connsiteY644" fmla="*/ 2120175 h 3690338"/>
                <a:gd name="connsiteX645" fmla="*/ 3764304 w 4878487"/>
                <a:gd name="connsiteY645" fmla="*/ 2117421 h 3690338"/>
                <a:gd name="connsiteX646" fmla="*/ 3762337 w 4878487"/>
                <a:gd name="connsiteY646" fmla="*/ 2117421 h 3690338"/>
                <a:gd name="connsiteX647" fmla="*/ 3763125 w 4878487"/>
                <a:gd name="connsiteY647" fmla="*/ 2114667 h 3690338"/>
                <a:gd name="connsiteX648" fmla="*/ 3763911 w 4878487"/>
                <a:gd name="connsiteY648" fmla="*/ 2111913 h 3690338"/>
                <a:gd name="connsiteX649" fmla="*/ 3762731 w 4878487"/>
                <a:gd name="connsiteY649" fmla="*/ 2109159 h 3690338"/>
                <a:gd name="connsiteX650" fmla="*/ 3764304 w 4878487"/>
                <a:gd name="connsiteY650" fmla="*/ 2111913 h 3690338"/>
                <a:gd name="connsiteX651" fmla="*/ 3764698 w 4878487"/>
                <a:gd name="connsiteY651" fmla="*/ 2114667 h 3690338"/>
                <a:gd name="connsiteX652" fmla="*/ 3765092 w 4878487"/>
                <a:gd name="connsiteY652" fmla="*/ 2111913 h 3690338"/>
                <a:gd name="connsiteX653" fmla="*/ 3763517 w 4878487"/>
                <a:gd name="connsiteY653" fmla="*/ 2108765 h 3690338"/>
                <a:gd name="connsiteX654" fmla="*/ 3763517 w 4878487"/>
                <a:gd name="connsiteY654" fmla="*/ 2106011 h 3690338"/>
                <a:gd name="connsiteX655" fmla="*/ 3763125 w 4878487"/>
                <a:gd name="connsiteY655" fmla="*/ 2103257 h 3690338"/>
                <a:gd name="connsiteX656" fmla="*/ 3762731 w 4878487"/>
                <a:gd name="connsiteY656" fmla="*/ 2103257 h 3690338"/>
                <a:gd name="connsiteX657" fmla="*/ 3761944 w 4878487"/>
                <a:gd name="connsiteY657" fmla="*/ 2102864 h 3690338"/>
                <a:gd name="connsiteX658" fmla="*/ 3762731 w 4878487"/>
                <a:gd name="connsiteY658" fmla="*/ 2103257 h 3690338"/>
                <a:gd name="connsiteX659" fmla="*/ 3763517 w 4878487"/>
                <a:gd name="connsiteY659" fmla="*/ 2098143 h 3690338"/>
                <a:gd name="connsiteX660" fmla="*/ 3763517 w 4878487"/>
                <a:gd name="connsiteY660" fmla="*/ 2098143 h 3690338"/>
                <a:gd name="connsiteX661" fmla="*/ 3766271 w 4878487"/>
                <a:gd name="connsiteY661" fmla="*/ 2099716 h 3690338"/>
                <a:gd name="connsiteX662" fmla="*/ 3765092 w 4878487"/>
                <a:gd name="connsiteY662" fmla="*/ 2096962 h 3690338"/>
                <a:gd name="connsiteX663" fmla="*/ 3763517 w 4878487"/>
                <a:gd name="connsiteY663" fmla="*/ 2095389 h 3690338"/>
                <a:gd name="connsiteX664" fmla="*/ 3762731 w 4878487"/>
                <a:gd name="connsiteY664" fmla="*/ 2092635 h 3690338"/>
                <a:gd name="connsiteX665" fmla="*/ 3762337 w 4878487"/>
                <a:gd name="connsiteY665" fmla="*/ 2092241 h 3690338"/>
                <a:gd name="connsiteX666" fmla="*/ 3761550 w 4878487"/>
                <a:gd name="connsiteY666" fmla="*/ 2089487 h 3690338"/>
                <a:gd name="connsiteX667" fmla="*/ 3763911 w 4878487"/>
                <a:gd name="connsiteY667" fmla="*/ 2086733 h 3690338"/>
                <a:gd name="connsiteX668" fmla="*/ 3765092 w 4878487"/>
                <a:gd name="connsiteY668" fmla="*/ 2089487 h 3690338"/>
                <a:gd name="connsiteX669" fmla="*/ 3767452 w 4878487"/>
                <a:gd name="connsiteY669" fmla="*/ 2092241 h 3690338"/>
                <a:gd name="connsiteX670" fmla="*/ 3767452 w 4878487"/>
                <a:gd name="connsiteY670" fmla="*/ 2091061 h 3690338"/>
                <a:gd name="connsiteX671" fmla="*/ 3765878 w 4878487"/>
                <a:gd name="connsiteY671" fmla="*/ 2088307 h 3690338"/>
                <a:gd name="connsiteX672" fmla="*/ 3766271 w 4878487"/>
                <a:gd name="connsiteY672" fmla="*/ 2085553 h 3690338"/>
                <a:gd name="connsiteX673" fmla="*/ 3767845 w 4878487"/>
                <a:gd name="connsiteY673" fmla="*/ 2084373 h 3690338"/>
                <a:gd name="connsiteX674" fmla="*/ 3766271 w 4878487"/>
                <a:gd name="connsiteY674" fmla="*/ 2081619 h 3690338"/>
                <a:gd name="connsiteX675" fmla="*/ 3764304 w 4878487"/>
                <a:gd name="connsiteY675" fmla="*/ 2078865 h 3690338"/>
                <a:gd name="connsiteX676" fmla="*/ 3763125 w 4878487"/>
                <a:gd name="connsiteY676" fmla="*/ 2077684 h 3690338"/>
                <a:gd name="connsiteX677" fmla="*/ 3761944 w 4878487"/>
                <a:gd name="connsiteY677" fmla="*/ 2072963 h 3690338"/>
                <a:gd name="connsiteX678" fmla="*/ 3761944 w 4878487"/>
                <a:gd name="connsiteY678" fmla="*/ 2071783 h 3690338"/>
                <a:gd name="connsiteX679" fmla="*/ 3761157 w 4878487"/>
                <a:gd name="connsiteY679" fmla="*/ 2068636 h 3690338"/>
                <a:gd name="connsiteX680" fmla="*/ 3760764 w 4878487"/>
                <a:gd name="connsiteY680" fmla="*/ 2068242 h 3690338"/>
                <a:gd name="connsiteX681" fmla="*/ 3759977 w 4878487"/>
                <a:gd name="connsiteY681" fmla="*/ 2065488 h 3690338"/>
                <a:gd name="connsiteX682" fmla="*/ 3761944 w 4878487"/>
                <a:gd name="connsiteY682" fmla="*/ 2064701 h 3690338"/>
                <a:gd name="connsiteX683" fmla="*/ 3759190 w 4878487"/>
                <a:gd name="connsiteY683" fmla="*/ 2061947 h 3690338"/>
                <a:gd name="connsiteX684" fmla="*/ 3759190 w 4878487"/>
                <a:gd name="connsiteY684" fmla="*/ 2061554 h 3690338"/>
                <a:gd name="connsiteX685" fmla="*/ 3758796 w 4878487"/>
                <a:gd name="connsiteY685" fmla="*/ 2060374 h 3690338"/>
                <a:gd name="connsiteX686" fmla="*/ 3759977 w 4878487"/>
                <a:gd name="connsiteY686" fmla="*/ 2061947 h 3690338"/>
                <a:gd name="connsiteX687" fmla="*/ 3758403 w 4878487"/>
                <a:gd name="connsiteY687" fmla="*/ 2058800 h 3690338"/>
                <a:gd name="connsiteX688" fmla="*/ 3758010 w 4878487"/>
                <a:gd name="connsiteY688" fmla="*/ 2056439 h 3690338"/>
                <a:gd name="connsiteX689" fmla="*/ 3757616 w 4878487"/>
                <a:gd name="connsiteY689" fmla="*/ 2053292 h 3690338"/>
                <a:gd name="connsiteX690" fmla="*/ 3757616 w 4878487"/>
                <a:gd name="connsiteY690" fmla="*/ 2050538 h 3690338"/>
                <a:gd name="connsiteX691" fmla="*/ 3758796 w 4878487"/>
                <a:gd name="connsiteY691" fmla="*/ 2053292 h 3690338"/>
                <a:gd name="connsiteX692" fmla="*/ 3759583 w 4878487"/>
                <a:gd name="connsiteY692" fmla="*/ 2050538 h 3690338"/>
                <a:gd name="connsiteX693" fmla="*/ 3758010 w 4878487"/>
                <a:gd name="connsiteY693" fmla="*/ 2047784 h 3690338"/>
                <a:gd name="connsiteX694" fmla="*/ 3757616 w 4878487"/>
                <a:gd name="connsiteY694" fmla="*/ 2045030 h 3690338"/>
                <a:gd name="connsiteX695" fmla="*/ 3756043 w 4878487"/>
                <a:gd name="connsiteY695" fmla="*/ 2042276 h 3690338"/>
                <a:gd name="connsiteX696" fmla="*/ 3755256 w 4878487"/>
                <a:gd name="connsiteY696" fmla="*/ 2039129 h 3690338"/>
                <a:gd name="connsiteX697" fmla="*/ 3754862 w 4878487"/>
                <a:gd name="connsiteY697" fmla="*/ 2036375 h 3690338"/>
                <a:gd name="connsiteX698" fmla="*/ 3752895 w 4878487"/>
                <a:gd name="connsiteY698" fmla="*/ 2033621 h 3690338"/>
                <a:gd name="connsiteX699" fmla="*/ 3752501 w 4878487"/>
                <a:gd name="connsiteY699" fmla="*/ 2030867 h 3690338"/>
                <a:gd name="connsiteX700" fmla="*/ 3751715 w 4878487"/>
                <a:gd name="connsiteY700" fmla="*/ 2029293 h 3690338"/>
                <a:gd name="connsiteX701" fmla="*/ 3750534 w 4878487"/>
                <a:gd name="connsiteY701" fmla="*/ 2025359 h 3690338"/>
                <a:gd name="connsiteX702" fmla="*/ 3750141 w 4878487"/>
                <a:gd name="connsiteY702" fmla="*/ 2023785 h 3690338"/>
                <a:gd name="connsiteX703" fmla="*/ 3749355 w 4878487"/>
                <a:gd name="connsiteY703" fmla="*/ 2021031 h 3690338"/>
                <a:gd name="connsiteX704" fmla="*/ 3747387 w 4878487"/>
                <a:gd name="connsiteY704" fmla="*/ 2019064 h 3690338"/>
                <a:gd name="connsiteX705" fmla="*/ 3745813 w 4878487"/>
                <a:gd name="connsiteY705" fmla="*/ 2015917 h 3690338"/>
                <a:gd name="connsiteX706" fmla="*/ 3745813 w 4878487"/>
                <a:gd name="connsiteY706" fmla="*/ 2015523 h 3690338"/>
                <a:gd name="connsiteX707" fmla="*/ 3744240 w 4878487"/>
                <a:gd name="connsiteY707" fmla="*/ 2012769 h 3690338"/>
                <a:gd name="connsiteX708" fmla="*/ 3743453 w 4878487"/>
                <a:gd name="connsiteY708" fmla="*/ 2010015 h 3690338"/>
                <a:gd name="connsiteX709" fmla="*/ 3741879 w 4878487"/>
                <a:gd name="connsiteY709" fmla="*/ 2008048 h 3690338"/>
                <a:gd name="connsiteX710" fmla="*/ 3743453 w 4878487"/>
                <a:gd name="connsiteY710" fmla="*/ 2005294 h 3690338"/>
                <a:gd name="connsiteX711" fmla="*/ 3741092 w 4878487"/>
                <a:gd name="connsiteY711" fmla="*/ 2002147 h 3690338"/>
                <a:gd name="connsiteX712" fmla="*/ 3739519 w 4878487"/>
                <a:gd name="connsiteY712" fmla="*/ 1999393 h 3690338"/>
                <a:gd name="connsiteX713" fmla="*/ 3737945 w 4878487"/>
                <a:gd name="connsiteY713" fmla="*/ 2002147 h 3690338"/>
                <a:gd name="connsiteX714" fmla="*/ 3737552 w 4878487"/>
                <a:gd name="connsiteY714" fmla="*/ 1999393 h 3690338"/>
                <a:gd name="connsiteX715" fmla="*/ 3735191 w 4878487"/>
                <a:gd name="connsiteY715" fmla="*/ 1996639 h 3690338"/>
                <a:gd name="connsiteX716" fmla="*/ 3733224 w 4878487"/>
                <a:gd name="connsiteY716" fmla="*/ 1997032 h 3690338"/>
                <a:gd name="connsiteX717" fmla="*/ 3731650 w 4878487"/>
                <a:gd name="connsiteY717" fmla="*/ 1994278 h 3690338"/>
                <a:gd name="connsiteX718" fmla="*/ 3729289 w 4878487"/>
                <a:gd name="connsiteY718" fmla="*/ 1991131 h 3690338"/>
                <a:gd name="connsiteX719" fmla="*/ 3727322 w 4878487"/>
                <a:gd name="connsiteY719" fmla="*/ 1988377 h 3690338"/>
                <a:gd name="connsiteX720" fmla="*/ 3725749 w 4878487"/>
                <a:gd name="connsiteY720" fmla="*/ 1985623 h 3690338"/>
                <a:gd name="connsiteX721" fmla="*/ 3724175 w 4878487"/>
                <a:gd name="connsiteY721" fmla="*/ 1984049 h 3690338"/>
                <a:gd name="connsiteX722" fmla="*/ 3723782 w 4878487"/>
                <a:gd name="connsiteY722" fmla="*/ 1983656 h 3690338"/>
                <a:gd name="connsiteX723" fmla="*/ 3723782 w 4878487"/>
                <a:gd name="connsiteY723" fmla="*/ 1983262 h 3690338"/>
                <a:gd name="connsiteX724" fmla="*/ 3720240 w 4878487"/>
                <a:gd name="connsiteY724" fmla="*/ 1977361 h 3690338"/>
                <a:gd name="connsiteX725" fmla="*/ 3721815 w 4878487"/>
                <a:gd name="connsiteY725" fmla="*/ 1974607 h 3690338"/>
                <a:gd name="connsiteX726" fmla="*/ 3719060 w 4878487"/>
                <a:gd name="connsiteY726" fmla="*/ 1973820 h 3690338"/>
                <a:gd name="connsiteX727" fmla="*/ 3718667 w 4878487"/>
                <a:gd name="connsiteY727" fmla="*/ 1974607 h 3690338"/>
                <a:gd name="connsiteX728" fmla="*/ 3719454 w 4878487"/>
                <a:gd name="connsiteY728" fmla="*/ 1977361 h 3690338"/>
                <a:gd name="connsiteX729" fmla="*/ 3719848 w 4878487"/>
                <a:gd name="connsiteY729" fmla="*/ 1977754 h 3690338"/>
                <a:gd name="connsiteX730" fmla="*/ 3718667 w 4878487"/>
                <a:gd name="connsiteY730" fmla="*/ 1979328 h 3690338"/>
                <a:gd name="connsiteX731" fmla="*/ 3718273 w 4878487"/>
                <a:gd name="connsiteY731" fmla="*/ 1979328 h 3690338"/>
                <a:gd name="connsiteX732" fmla="*/ 3718667 w 4878487"/>
                <a:gd name="connsiteY732" fmla="*/ 1978934 h 3690338"/>
                <a:gd name="connsiteX733" fmla="*/ 3719454 w 4878487"/>
                <a:gd name="connsiteY733" fmla="*/ 1977754 h 3690338"/>
                <a:gd name="connsiteX734" fmla="*/ 3719060 w 4878487"/>
                <a:gd name="connsiteY734" fmla="*/ 1977361 h 3690338"/>
                <a:gd name="connsiteX735" fmla="*/ 3716700 w 4878487"/>
                <a:gd name="connsiteY735" fmla="*/ 1972640 h 3690338"/>
                <a:gd name="connsiteX736" fmla="*/ 3713946 w 4878487"/>
                <a:gd name="connsiteY736" fmla="*/ 1971066 h 3690338"/>
                <a:gd name="connsiteX737" fmla="*/ 3713946 w 4878487"/>
                <a:gd name="connsiteY737" fmla="*/ 1970673 h 3690338"/>
                <a:gd name="connsiteX738" fmla="*/ 3712372 w 4878487"/>
                <a:gd name="connsiteY738" fmla="*/ 1967919 h 3690338"/>
                <a:gd name="connsiteX739" fmla="*/ 3709224 w 4878487"/>
                <a:gd name="connsiteY739" fmla="*/ 1967132 h 3690338"/>
                <a:gd name="connsiteX740" fmla="*/ 3708438 w 4878487"/>
                <a:gd name="connsiteY740" fmla="*/ 1967525 h 3690338"/>
                <a:gd name="connsiteX741" fmla="*/ 3703323 w 4878487"/>
                <a:gd name="connsiteY741" fmla="*/ 1964378 h 3690338"/>
                <a:gd name="connsiteX742" fmla="*/ 3702536 w 4878487"/>
                <a:gd name="connsiteY742" fmla="*/ 1963197 h 3690338"/>
                <a:gd name="connsiteX743" fmla="*/ 3700176 w 4878487"/>
                <a:gd name="connsiteY743" fmla="*/ 1962411 h 3690338"/>
                <a:gd name="connsiteX744" fmla="*/ 3698209 w 4878487"/>
                <a:gd name="connsiteY744" fmla="*/ 1960837 h 3690338"/>
                <a:gd name="connsiteX745" fmla="*/ 3693487 w 4878487"/>
                <a:gd name="connsiteY745" fmla="*/ 1957296 h 3690338"/>
                <a:gd name="connsiteX746" fmla="*/ 3693094 w 4878487"/>
                <a:gd name="connsiteY746" fmla="*/ 1956903 h 3690338"/>
                <a:gd name="connsiteX747" fmla="*/ 3693487 w 4878487"/>
                <a:gd name="connsiteY747" fmla="*/ 1956509 h 3690338"/>
                <a:gd name="connsiteX748" fmla="*/ 3696635 w 4878487"/>
                <a:gd name="connsiteY748" fmla="*/ 1958083 h 3690338"/>
                <a:gd name="connsiteX749" fmla="*/ 3693881 w 4878487"/>
                <a:gd name="connsiteY749" fmla="*/ 1955722 h 3690338"/>
                <a:gd name="connsiteX750" fmla="*/ 3688374 w 4878487"/>
                <a:gd name="connsiteY750" fmla="*/ 1951001 h 3690338"/>
                <a:gd name="connsiteX751" fmla="*/ 3685619 w 4878487"/>
                <a:gd name="connsiteY751" fmla="*/ 1948641 h 3690338"/>
                <a:gd name="connsiteX752" fmla="*/ 3683652 w 4878487"/>
                <a:gd name="connsiteY752" fmla="*/ 1949427 h 3690338"/>
                <a:gd name="connsiteX753" fmla="*/ 3683259 w 4878487"/>
                <a:gd name="connsiteY753" fmla="*/ 1949427 h 3690338"/>
                <a:gd name="connsiteX754" fmla="*/ 3683652 w 4878487"/>
                <a:gd name="connsiteY754" fmla="*/ 1946280 h 3690338"/>
                <a:gd name="connsiteX755" fmla="*/ 3682472 w 4878487"/>
                <a:gd name="connsiteY755" fmla="*/ 1944706 h 3690338"/>
                <a:gd name="connsiteX756" fmla="*/ 3682078 w 4878487"/>
                <a:gd name="connsiteY756" fmla="*/ 1944313 h 3690338"/>
                <a:gd name="connsiteX757" fmla="*/ 3682078 w 4878487"/>
                <a:gd name="connsiteY757" fmla="*/ 1942739 h 3690338"/>
                <a:gd name="connsiteX758" fmla="*/ 3681685 w 4878487"/>
                <a:gd name="connsiteY758" fmla="*/ 1942346 h 3690338"/>
                <a:gd name="connsiteX759" fmla="*/ 3678931 w 4878487"/>
                <a:gd name="connsiteY759" fmla="*/ 1939985 h 3690338"/>
                <a:gd name="connsiteX760" fmla="*/ 3677750 w 4878487"/>
                <a:gd name="connsiteY760" fmla="*/ 1939198 h 3690338"/>
                <a:gd name="connsiteX761" fmla="*/ 3665161 w 4878487"/>
                <a:gd name="connsiteY761" fmla="*/ 1928576 h 3690338"/>
                <a:gd name="connsiteX762" fmla="*/ 3663587 w 4878487"/>
                <a:gd name="connsiteY762" fmla="*/ 1925822 h 3690338"/>
                <a:gd name="connsiteX763" fmla="*/ 3661620 w 4878487"/>
                <a:gd name="connsiteY763" fmla="*/ 1923068 h 3690338"/>
                <a:gd name="connsiteX764" fmla="*/ 3660046 w 4878487"/>
                <a:gd name="connsiteY764" fmla="*/ 1921101 h 3690338"/>
                <a:gd name="connsiteX765" fmla="*/ 3657686 w 4878487"/>
                <a:gd name="connsiteY765" fmla="*/ 1921494 h 3690338"/>
                <a:gd name="connsiteX766" fmla="*/ 3656899 w 4878487"/>
                <a:gd name="connsiteY766" fmla="*/ 1921101 h 3690338"/>
                <a:gd name="connsiteX767" fmla="*/ 3656506 w 4878487"/>
                <a:gd name="connsiteY767" fmla="*/ 1920707 h 3690338"/>
                <a:gd name="connsiteX768" fmla="*/ 3656899 w 4878487"/>
                <a:gd name="connsiteY768" fmla="*/ 1919527 h 3690338"/>
                <a:gd name="connsiteX769" fmla="*/ 3653358 w 4878487"/>
                <a:gd name="connsiteY769" fmla="*/ 1918347 h 3690338"/>
                <a:gd name="connsiteX770" fmla="*/ 3656899 w 4878487"/>
                <a:gd name="connsiteY770" fmla="*/ 1919134 h 3690338"/>
                <a:gd name="connsiteX771" fmla="*/ 3658079 w 4878487"/>
                <a:gd name="connsiteY771" fmla="*/ 1919527 h 3690338"/>
                <a:gd name="connsiteX772" fmla="*/ 3659653 w 4878487"/>
                <a:gd name="connsiteY772" fmla="*/ 1920707 h 3690338"/>
                <a:gd name="connsiteX773" fmla="*/ 3659653 w 4878487"/>
                <a:gd name="connsiteY773" fmla="*/ 1912052 h 3690338"/>
                <a:gd name="connsiteX774" fmla="*/ 3656899 w 4878487"/>
                <a:gd name="connsiteY774" fmla="*/ 1908905 h 3690338"/>
                <a:gd name="connsiteX775" fmla="*/ 3654538 w 4878487"/>
                <a:gd name="connsiteY775" fmla="*/ 1907724 h 3690338"/>
                <a:gd name="connsiteX776" fmla="*/ 3653752 w 4878487"/>
                <a:gd name="connsiteY776" fmla="*/ 1906937 h 3690338"/>
                <a:gd name="connsiteX777" fmla="*/ 3651785 w 4878487"/>
                <a:gd name="connsiteY777" fmla="*/ 1904577 h 3690338"/>
                <a:gd name="connsiteX778" fmla="*/ 3649030 w 4878487"/>
                <a:gd name="connsiteY778" fmla="*/ 1902216 h 3690338"/>
                <a:gd name="connsiteX779" fmla="*/ 3648244 w 4878487"/>
                <a:gd name="connsiteY779" fmla="*/ 1902216 h 3690338"/>
                <a:gd name="connsiteX780" fmla="*/ 3639588 w 4878487"/>
                <a:gd name="connsiteY780" fmla="*/ 1894741 h 3690338"/>
                <a:gd name="connsiteX781" fmla="*/ 3639195 w 4878487"/>
                <a:gd name="connsiteY781" fmla="*/ 1894348 h 3690338"/>
                <a:gd name="connsiteX782" fmla="*/ 3636834 w 4878487"/>
                <a:gd name="connsiteY782" fmla="*/ 1891594 h 3690338"/>
                <a:gd name="connsiteX783" fmla="*/ 3635260 w 4878487"/>
                <a:gd name="connsiteY783" fmla="*/ 1888840 h 3690338"/>
                <a:gd name="connsiteX784" fmla="*/ 3634080 w 4878487"/>
                <a:gd name="connsiteY784" fmla="*/ 1885692 h 3690338"/>
                <a:gd name="connsiteX785" fmla="*/ 3633293 w 4878487"/>
                <a:gd name="connsiteY785" fmla="*/ 1888053 h 3690338"/>
                <a:gd name="connsiteX786" fmla="*/ 3632113 w 4878487"/>
                <a:gd name="connsiteY786" fmla="*/ 1867201 h 3690338"/>
                <a:gd name="connsiteX787" fmla="*/ 3631326 w 4878487"/>
                <a:gd name="connsiteY787" fmla="*/ 1861693 h 3690338"/>
                <a:gd name="connsiteX788" fmla="*/ 3631326 w 4878487"/>
                <a:gd name="connsiteY788" fmla="*/ 1861693 h 3690338"/>
                <a:gd name="connsiteX789" fmla="*/ 3630933 w 4878487"/>
                <a:gd name="connsiteY789" fmla="*/ 1858939 h 3690338"/>
                <a:gd name="connsiteX790" fmla="*/ 3630540 w 4878487"/>
                <a:gd name="connsiteY790" fmla="*/ 1856579 h 3690338"/>
                <a:gd name="connsiteX791" fmla="*/ 3630540 w 4878487"/>
                <a:gd name="connsiteY791" fmla="*/ 1855005 h 3690338"/>
                <a:gd name="connsiteX792" fmla="*/ 3631326 w 4878487"/>
                <a:gd name="connsiteY792" fmla="*/ 1852251 h 3690338"/>
                <a:gd name="connsiteX793" fmla="*/ 3631720 w 4878487"/>
                <a:gd name="connsiteY793" fmla="*/ 1849891 h 3690338"/>
                <a:gd name="connsiteX794" fmla="*/ 3633293 w 4878487"/>
                <a:gd name="connsiteY794" fmla="*/ 1847137 h 3690338"/>
                <a:gd name="connsiteX795" fmla="*/ 3633293 w 4878487"/>
                <a:gd name="connsiteY795" fmla="*/ 1847137 h 3690338"/>
                <a:gd name="connsiteX796" fmla="*/ 3635654 w 4878487"/>
                <a:gd name="connsiteY796" fmla="*/ 1842415 h 3690338"/>
                <a:gd name="connsiteX797" fmla="*/ 3637228 w 4878487"/>
                <a:gd name="connsiteY797" fmla="*/ 1842022 h 3690338"/>
                <a:gd name="connsiteX798" fmla="*/ 3637621 w 4878487"/>
                <a:gd name="connsiteY798" fmla="*/ 1841235 h 3690338"/>
                <a:gd name="connsiteX799" fmla="*/ 3637621 w 4878487"/>
                <a:gd name="connsiteY799" fmla="*/ 1842022 h 3690338"/>
                <a:gd name="connsiteX800" fmla="*/ 3639982 w 4878487"/>
                <a:gd name="connsiteY800" fmla="*/ 1842022 h 3690338"/>
                <a:gd name="connsiteX801" fmla="*/ 3640375 w 4878487"/>
                <a:gd name="connsiteY801" fmla="*/ 1840448 h 3690338"/>
                <a:gd name="connsiteX802" fmla="*/ 3643129 w 4878487"/>
                <a:gd name="connsiteY802" fmla="*/ 1838088 h 3690338"/>
                <a:gd name="connsiteX803" fmla="*/ 3643916 w 4878487"/>
                <a:gd name="connsiteY803" fmla="*/ 1836514 h 3690338"/>
                <a:gd name="connsiteX804" fmla="*/ 3645096 w 4878487"/>
                <a:gd name="connsiteY804" fmla="*/ 1835334 h 3690338"/>
                <a:gd name="connsiteX805" fmla="*/ 3647457 w 4878487"/>
                <a:gd name="connsiteY805" fmla="*/ 1834940 h 3690338"/>
                <a:gd name="connsiteX806" fmla="*/ 3648637 w 4878487"/>
                <a:gd name="connsiteY806" fmla="*/ 1832186 h 3690338"/>
                <a:gd name="connsiteX807" fmla="*/ 3647850 w 4878487"/>
                <a:gd name="connsiteY807" fmla="*/ 1832580 h 3690338"/>
                <a:gd name="connsiteX808" fmla="*/ 3647457 w 4878487"/>
                <a:gd name="connsiteY808" fmla="*/ 1832186 h 3690338"/>
                <a:gd name="connsiteX809" fmla="*/ 3649818 w 4878487"/>
                <a:gd name="connsiteY809" fmla="*/ 1829432 h 3690338"/>
                <a:gd name="connsiteX810" fmla="*/ 3648244 w 4878487"/>
                <a:gd name="connsiteY810" fmla="*/ 1826678 h 3690338"/>
                <a:gd name="connsiteX811" fmla="*/ 3648244 w 4878487"/>
                <a:gd name="connsiteY811" fmla="*/ 1824318 h 3690338"/>
                <a:gd name="connsiteX812" fmla="*/ 3649030 w 4878487"/>
                <a:gd name="connsiteY812" fmla="*/ 1821564 h 3690338"/>
                <a:gd name="connsiteX813" fmla="*/ 3648637 w 4878487"/>
                <a:gd name="connsiteY813" fmla="*/ 1821170 h 3690338"/>
                <a:gd name="connsiteX814" fmla="*/ 3648244 w 4878487"/>
                <a:gd name="connsiteY814" fmla="*/ 1820384 h 3690338"/>
                <a:gd name="connsiteX815" fmla="*/ 3650998 w 4878487"/>
                <a:gd name="connsiteY815" fmla="*/ 1821170 h 3690338"/>
                <a:gd name="connsiteX816" fmla="*/ 3653752 w 4878487"/>
                <a:gd name="connsiteY816" fmla="*/ 1819203 h 3690338"/>
                <a:gd name="connsiteX817" fmla="*/ 3652178 w 4878487"/>
                <a:gd name="connsiteY817" fmla="*/ 1816449 h 3690338"/>
                <a:gd name="connsiteX818" fmla="*/ 3651391 w 4878487"/>
                <a:gd name="connsiteY818" fmla="*/ 1813695 h 3690338"/>
                <a:gd name="connsiteX819" fmla="*/ 3650604 w 4878487"/>
                <a:gd name="connsiteY819" fmla="*/ 1813302 h 3690338"/>
                <a:gd name="connsiteX820" fmla="*/ 3652178 w 4878487"/>
                <a:gd name="connsiteY820" fmla="*/ 1811335 h 3690338"/>
                <a:gd name="connsiteX821" fmla="*/ 3648244 w 4878487"/>
                <a:gd name="connsiteY821" fmla="*/ 1808581 h 3690338"/>
                <a:gd name="connsiteX822" fmla="*/ 3651391 w 4878487"/>
                <a:gd name="connsiteY822" fmla="*/ 1808974 h 3690338"/>
                <a:gd name="connsiteX823" fmla="*/ 3652571 w 4878487"/>
                <a:gd name="connsiteY823" fmla="*/ 1810941 h 3690338"/>
                <a:gd name="connsiteX824" fmla="*/ 3655325 w 4878487"/>
                <a:gd name="connsiteY824" fmla="*/ 1813302 h 3690338"/>
                <a:gd name="connsiteX825" fmla="*/ 3655719 w 4878487"/>
                <a:gd name="connsiteY825" fmla="*/ 1810548 h 3690338"/>
                <a:gd name="connsiteX826" fmla="*/ 3658473 w 4878487"/>
                <a:gd name="connsiteY826" fmla="*/ 1810941 h 3690338"/>
                <a:gd name="connsiteX827" fmla="*/ 3658473 w 4878487"/>
                <a:gd name="connsiteY827" fmla="*/ 1810548 h 3690338"/>
                <a:gd name="connsiteX828" fmla="*/ 3660834 w 4878487"/>
                <a:gd name="connsiteY828" fmla="*/ 1810941 h 3690338"/>
                <a:gd name="connsiteX829" fmla="*/ 3663980 w 4878487"/>
                <a:gd name="connsiteY829" fmla="*/ 1811335 h 3690338"/>
                <a:gd name="connsiteX830" fmla="*/ 3666735 w 4878487"/>
                <a:gd name="connsiteY830" fmla="*/ 1808974 h 3690338"/>
                <a:gd name="connsiteX831" fmla="*/ 3669095 w 4878487"/>
                <a:gd name="connsiteY831" fmla="*/ 1806220 h 3690338"/>
                <a:gd name="connsiteX832" fmla="*/ 3669095 w 4878487"/>
                <a:gd name="connsiteY832" fmla="*/ 1803860 h 3690338"/>
                <a:gd name="connsiteX833" fmla="*/ 3669882 w 4878487"/>
                <a:gd name="connsiteY833" fmla="*/ 1803466 h 3690338"/>
                <a:gd name="connsiteX834" fmla="*/ 3669882 w 4878487"/>
                <a:gd name="connsiteY834" fmla="*/ 1803466 h 3690338"/>
                <a:gd name="connsiteX835" fmla="*/ 3669489 w 4878487"/>
                <a:gd name="connsiteY835" fmla="*/ 1806220 h 3690338"/>
                <a:gd name="connsiteX836" fmla="*/ 3672243 w 4878487"/>
                <a:gd name="connsiteY836" fmla="*/ 1803860 h 3690338"/>
                <a:gd name="connsiteX837" fmla="*/ 3673816 w 4878487"/>
                <a:gd name="connsiteY837" fmla="*/ 1801106 h 3690338"/>
                <a:gd name="connsiteX838" fmla="*/ 3673423 w 4878487"/>
                <a:gd name="connsiteY838" fmla="*/ 1800712 h 3690338"/>
                <a:gd name="connsiteX839" fmla="*/ 3686799 w 4878487"/>
                <a:gd name="connsiteY839" fmla="*/ 1791270 h 3690338"/>
                <a:gd name="connsiteX840" fmla="*/ 3686799 w 4878487"/>
                <a:gd name="connsiteY840" fmla="*/ 1790877 h 3690338"/>
                <a:gd name="connsiteX841" fmla="*/ 3684439 w 4878487"/>
                <a:gd name="connsiteY841" fmla="*/ 1789303 h 3690338"/>
                <a:gd name="connsiteX842" fmla="*/ 3690341 w 4878487"/>
                <a:gd name="connsiteY842" fmla="*/ 1788910 h 3690338"/>
                <a:gd name="connsiteX843" fmla="*/ 3690734 w 4878487"/>
                <a:gd name="connsiteY843" fmla="*/ 1790877 h 3690338"/>
                <a:gd name="connsiteX844" fmla="*/ 3692701 w 4878487"/>
                <a:gd name="connsiteY844" fmla="*/ 1788910 h 3690338"/>
                <a:gd name="connsiteX845" fmla="*/ 3698602 w 4878487"/>
                <a:gd name="connsiteY845" fmla="*/ 1788516 h 3690338"/>
                <a:gd name="connsiteX846" fmla="*/ 3700176 w 4878487"/>
                <a:gd name="connsiteY846" fmla="*/ 1785369 h 3690338"/>
                <a:gd name="connsiteX847" fmla="*/ 3698209 w 4878487"/>
                <a:gd name="connsiteY847" fmla="*/ 1782615 h 3690338"/>
                <a:gd name="connsiteX848" fmla="*/ 3696635 w 4878487"/>
                <a:gd name="connsiteY848" fmla="*/ 1779861 h 3690338"/>
                <a:gd name="connsiteX849" fmla="*/ 3696242 w 4878487"/>
                <a:gd name="connsiteY849" fmla="*/ 1779467 h 3690338"/>
                <a:gd name="connsiteX850" fmla="*/ 3695848 w 4878487"/>
                <a:gd name="connsiteY850" fmla="*/ 1777500 h 3690338"/>
                <a:gd name="connsiteX851" fmla="*/ 3696242 w 4878487"/>
                <a:gd name="connsiteY851" fmla="*/ 1777107 h 3690338"/>
                <a:gd name="connsiteX852" fmla="*/ 3696635 w 4878487"/>
                <a:gd name="connsiteY852" fmla="*/ 1779467 h 3690338"/>
                <a:gd name="connsiteX853" fmla="*/ 3700963 w 4878487"/>
                <a:gd name="connsiteY853" fmla="*/ 1778287 h 3690338"/>
                <a:gd name="connsiteX854" fmla="*/ 3699783 w 4878487"/>
                <a:gd name="connsiteY854" fmla="*/ 1781041 h 3690338"/>
                <a:gd name="connsiteX855" fmla="*/ 3702143 w 4878487"/>
                <a:gd name="connsiteY855" fmla="*/ 1781041 h 3690338"/>
                <a:gd name="connsiteX856" fmla="*/ 3702536 w 4878487"/>
                <a:gd name="connsiteY856" fmla="*/ 1781434 h 3690338"/>
                <a:gd name="connsiteX857" fmla="*/ 3702536 w 4878487"/>
                <a:gd name="connsiteY857" fmla="*/ 1783795 h 3690338"/>
                <a:gd name="connsiteX858" fmla="*/ 3704111 w 4878487"/>
                <a:gd name="connsiteY858" fmla="*/ 1784582 h 3690338"/>
                <a:gd name="connsiteX859" fmla="*/ 3704897 w 4878487"/>
                <a:gd name="connsiteY859" fmla="*/ 1786549 h 3690338"/>
                <a:gd name="connsiteX860" fmla="*/ 3708045 w 4878487"/>
                <a:gd name="connsiteY860" fmla="*/ 1786942 h 3690338"/>
                <a:gd name="connsiteX861" fmla="*/ 3706864 w 4878487"/>
                <a:gd name="connsiteY861" fmla="*/ 1784582 h 3690338"/>
                <a:gd name="connsiteX862" fmla="*/ 3709224 w 4878487"/>
                <a:gd name="connsiteY862" fmla="*/ 1782221 h 3690338"/>
                <a:gd name="connsiteX863" fmla="*/ 3709224 w 4878487"/>
                <a:gd name="connsiteY863" fmla="*/ 1782221 h 3690338"/>
                <a:gd name="connsiteX864" fmla="*/ 3709618 w 4878487"/>
                <a:gd name="connsiteY864" fmla="*/ 1781828 h 3690338"/>
                <a:gd name="connsiteX865" fmla="*/ 3708438 w 4878487"/>
                <a:gd name="connsiteY865" fmla="*/ 1784975 h 3690338"/>
                <a:gd name="connsiteX866" fmla="*/ 3711191 w 4878487"/>
                <a:gd name="connsiteY866" fmla="*/ 1787336 h 3690338"/>
                <a:gd name="connsiteX867" fmla="*/ 3714339 w 4878487"/>
                <a:gd name="connsiteY867" fmla="*/ 1786549 h 3690338"/>
                <a:gd name="connsiteX868" fmla="*/ 3714733 w 4878487"/>
                <a:gd name="connsiteY868" fmla="*/ 1786156 h 3690338"/>
                <a:gd name="connsiteX869" fmla="*/ 3717487 w 4878487"/>
                <a:gd name="connsiteY869" fmla="*/ 1788910 h 3690338"/>
                <a:gd name="connsiteX870" fmla="*/ 3715520 w 4878487"/>
                <a:gd name="connsiteY870" fmla="*/ 1791664 h 3690338"/>
                <a:gd name="connsiteX871" fmla="*/ 3718273 w 4878487"/>
                <a:gd name="connsiteY871" fmla="*/ 1794024 h 3690338"/>
                <a:gd name="connsiteX872" fmla="*/ 3720240 w 4878487"/>
                <a:gd name="connsiteY872" fmla="*/ 1791664 h 3690338"/>
                <a:gd name="connsiteX873" fmla="*/ 3721421 w 4878487"/>
                <a:gd name="connsiteY873" fmla="*/ 1792844 h 3690338"/>
                <a:gd name="connsiteX874" fmla="*/ 3724175 w 4878487"/>
                <a:gd name="connsiteY874" fmla="*/ 1792450 h 3690338"/>
                <a:gd name="connsiteX875" fmla="*/ 3724175 w 4878487"/>
                <a:gd name="connsiteY875" fmla="*/ 1792450 h 3690338"/>
                <a:gd name="connsiteX876" fmla="*/ 3734404 w 4878487"/>
                <a:gd name="connsiteY876" fmla="*/ 1791270 h 3690338"/>
                <a:gd name="connsiteX877" fmla="*/ 3734404 w 4878487"/>
                <a:gd name="connsiteY877" fmla="*/ 1791270 h 3690338"/>
                <a:gd name="connsiteX878" fmla="*/ 3736371 w 4878487"/>
                <a:gd name="connsiteY878" fmla="*/ 1790877 h 3690338"/>
                <a:gd name="connsiteX879" fmla="*/ 3734797 w 4878487"/>
                <a:gd name="connsiteY879" fmla="*/ 1787729 h 3690338"/>
                <a:gd name="connsiteX880" fmla="*/ 3736371 w 4878487"/>
                <a:gd name="connsiteY880" fmla="*/ 1788516 h 3690338"/>
                <a:gd name="connsiteX881" fmla="*/ 3738338 w 4878487"/>
                <a:gd name="connsiteY881" fmla="*/ 1790877 h 3690338"/>
                <a:gd name="connsiteX882" fmla="*/ 3741092 w 4878487"/>
                <a:gd name="connsiteY882" fmla="*/ 1790877 h 3690338"/>
                <a:gd name="connsiteX883" fmla="*/ 3741486 w 4878487"/>
                <a:gd name="connsiteY883" fmla="*/ 1792057 h 3690338"/>
                <a:gd name="connsiteX884" fmla="*/ 3739519 w 4878487"/>
                <a:gd name="connsiteY884" fmla="*/ 1795598 h 3690338"/>
                <a:gd name="connsiteX885" fmla="*/ 3737158 w 4878487"/>
                <a:gd name="connsiteY885" fmla="*/ 1796778 h 3690338"/>
                <a:gd name="connsiteX886" fmla="*/ 3737552 w 4878487"/>
                <a:gd name="connsiteY886" fmla="*/ 1799532 h 3690338"/>
                <a:gd name="connsiteX887" fmla="*/ 3737158 w 4878487"/>
                <a:gd name="connsiteY887" fmla="*/ 1801499 h 3690338"/>
                <a:gd name="connsiteX888" fmla="*/ 3735191 w 4878487"/>
                <a:gd name="connsiteY888" fmla="*/ 1803860 h 3690338"/>
                <a:gd name="connsiteX889" fmla="*/ 3736371 w 4878487"/>
                <a:gd name="connsiteY889" fmla="*/ 1806614 h 3690338"/>
                <a:gd name="connsiteX890" fmla="*/ 3736764 w 4878487"/>
                <a:gd name="connsiteY890" fmla="*/ 1808974 h 3690338"/>
                <a:gd name="connsiteX891" fmla="*/ 3736371 w 4878487"/>
                <a:gd name="connsiteY891" fmla="*/ 1811728 h 3690338"/>
                <a:gd name="connsiteX892" fmla="*/ 3738731 w 4878487"/>
                <a:gd name="connsiteY892" fmla="*/ 1812515 h 3690338"/>
                <a:gd name="connsiteX893" fmla="*/ 3739912 w 4878487"/>
                <a:gd name="connsiteY893" fmla="*/ 1815663 h 3690338"/>
                <a:gd name="connsiteX894" fmla="*/ 3741092 w 4878487"/>
                <a:gd name="connsiteY894" fmla="*/ 1818023 h 3690338"/>
                <a:gd name="connsiteX895" fmla="*/ 3742273 w 4878487"/>
                <a:gd name="connsiteY895" fmla="*/ 1819597 h 3690338"/>
                <a:gd name="connsiteX896" fmla="*/ 3741879 w 4878487"/>
                <a:gd name="connsiteY896" fmla="*/ 1821170 h 3690338"/>
                <a:gd name="connsiteX897" fmla="*/ 3743059 w 4878487"/>
                <a:gd name="connsiteY897" fmla="*/ 1823925 h 3690338"/>
                <a:gd name="connsiteX898" fmla="*/ 3745813 w 4878487"/>
                <a:gd name="connsiteY898" fmla="*/ 1825892 h 3690338"/>
                <a:gd name="connsiteX899" fmla="*/ 3748567 w 4878487"/>
                <a:gd name="connsiteY899" fmla="*/ 1826678 h 3690338"/>
                <a:gd name="connsiteX900" fmla="*/ 3748961 w 4878487"/>
                <a:gd name="connsiteY900" fmla="*/ 1828252 h 3690338"/>
                <a:gd name="connsiteX901" fmla="*/ 3746207 w 4878487"/>
                <a:gd name="connsiteY901" fmla="*/ 1827465 h 3690338"/>
                <a:gd name="connsiteX902" fmla="*/ 3746994 w 4878487"/>
                <a:gd name="connsiteY902" fmla="*/ 1830219 h 3690338"/>
                <a:gd name="connsiteX903" fmla="*/ 3746994 w 4878487"/>
                <a:gd name="connsiteY903" fmla="*/ 1832973 h 3690338"/>
                <a:gd name="connsiteX904" fmla="*/ 3749355 w 4878487"/>
                <a:gd name="connsiteY904" fmla="*/ 1832186 h 3690338"/>
                <a:gd name="connsiteX905" fmla="*/ 3752108 w 4878487"/>
                <a:gd name="connsiteY905" fmla="*/ 1832580 h 3690338"/>
                <a:gd name="connsiteX906" fmla="*/ 3754862 w 4878487"/>
                <a:gd name="connsiteY906" fmla="*/ 1832186 h 3690338"/>
                <a:gd name="connsiteX907" fmla="*/ 3755649 w 4878487"/>
                <a:gd name="connsiteY907" fmla="*/ 1832186 h 3690338"/>
                <a:gd name="connsiteX908" fmla="*/ 3758403 w 4878487"/>
                <a:gd name="connsiteY908" fmla="*/ 1832580 h 3690338"/>
                <a:gd name="connsiteX909" fmla="*/ 3761157 w 4878487"/>
                <a:gd name="connsiteY909" fmla="*/ 1830219 h 3690338"/>
                <a:gd name="connsiteX910" fmla="*/ 3762731 w 4878487"/>
                <a:gd name="connsiteY910" fmla="*/ 1827465 h 3690338"/>
                <a:gd name="connsiteX911" fmla="*/ 3763517 w 4878487"/>
                <a:gd name="connsiteY911" fmla="*/ 1824711 h 3690338"/>
                <a:gd name="connsiteX912" fmla="*/ 3760764 w 4878487"/>
                <a:gd name="connsiteY912" fmla="*/ 1821957 h 3690338"/>
                <a:gd name="connsiteX913" fmla="*/ 3758403 w 4878487"/>
                <a:gd name="connsiteY913" fmla="*/ 1816449 h 3690338"/>
                <a:gd name="connsiteX914" fmla="*/ 3757616 w 4878487"/>
                <a:gd name="connsiteY914" fmla="*/ 1813695 h 3690338"/>
                <a:gd name="connsiteX915" fmla="*/ 3757223 w 4878487"/>
                <a:gd name="connsiteY915" fmla="*/ 1813302 h 3690338"/>
                <a:gd name="connsiteX916" fmla="*/ 3755256 w 4878487"/>
                <a:gd name="connsiteY916" fmla="*/ 1808187 h 3690338"/>
                <a:gd name="connsiteX917" fmla="*/ 3758010 w 4878487"/>
                <a:gd name="connsiteY917" fmla="*/ 1807794 h 3690338"/>
                <a:gd name="connsiteX918" fmla="*/ 3760764 w 4878487"/>
                <a:gd name="connsiteY918" fmla="*/ 1810155 h 3690338"/>
                <a:gd name="connsiteX919" fmla="*/ 3761157 w 4878487"/>
                <a:gd name="connsiteY919" fmla="*/ 1807007 h 3690338"/>
                <a:gd name="connsiteX920" fmla="*/ 3758796 w 4878487"/>
                <a:gd name="connsiteY920" fmla="*/ 1805433 h 3690338"/>
                <a:gd name="connsiteX921" fmla="*/ 3756043 w 4878487"/>
                <a:gd name="connsiteY921" fmla="*/ 1804647 h 3690338"/>
                <a:gd name="connsiteX922" fmla="*/ 3754468 w 4878487"/>
                <a:gd name="connsiteY922" fmla="*/ 1805040 h 3690338"/>
                <a:gd name="connsiteX923" fmla="*/ 3754468 w 4878487"/>
                <a:gd name="connsiteY923" fmla="*/ 1805433 h 3690338"/>
                <a:gd name="connsiteX924" fmla="*/ 3754076 w 4878487"/>
                <a:gd name="connsiteY924" fmla="*/ 1804253 h 3690338"/>
                <a:gd name="connsiteX925" fmla="*/ 3756436 w 4878487"/>
                <a:gd name="connsiteY925" fmla="*/ 1801106 h 3690338"/>
                <a:gd name="connsiteX926" fmla="*/ 3756436 w 4878487"/>
                <a:gd name="connsiteY926" fmla="*/ 1800712 h 3690338"/>
                <a:gd name="connsiteX927" fmla="*/ 3755256 w 4878487"/>
                <a:gd name="connsiteY927" fmla="*/ 1794418 h 3690338"/>
                <a:gd name="connsiteX928" fmla="*/ 3757223 w 4878487"/>
                <a:gd name="connsiteY928" fmla="*/ 1799925 h 3690338"/>
                <a:gd name="connsiteX929" fmla="*/ 3759977 w 4878487"/>
                <a:gd name="connsiteY929" fmla="*/ 1800319 h 3690338"/>
                <a:gd name="connsiteX930" fmla="*/ 3762731 w 4878487"/>
                <a:gd name="connsiteY930" fmla="*/ 1799925 h 3690338"/>
                <a:gd name="connsiteX931" fmla="*/ 3761944 w 4878487"/>
                <a:gd name="connsiteY931" fmla="*/ 1797171 h 3690338"/>
                <a:gd name="connsiteX932" fmla="*/ 3763517 w 4878487"/>
                <a:gd name="connsiteY932" fmla="*/ 1794418 h 3690338"/>
                <a:gd name="connsiteX933" fmla="*/ 3765485 w 4878487"/>
                <a:gd name="connsiteY933" fmla="*/ 1792844 h 3690338"/>
                <a:gd name="connsiteX934" fmla="*/ 3763911 w 4878487"/>
                <a:gd name="connsiteY934" fmla="*/ 1794418 h 3690338"/>
                <a:gd name="connsiteX935" fmla="*/ 3762731 w 4878487"/>
                <a:gd name="connsiteY935" fmla="*/ 1797171 h 3690338"/>
                <a:gd name="connsiteX936" fmla="*/ 3765485 w 4878487"/>
                <a:gd name="connsiteY936" fmla="*/ 1794811 h 3690338"/>
                <a:gd name="connsiteX937" fmla="*/ 3768238 w 4878487"/>
                <a:gd name="connsiteY937" fmla="*/ 1794811 h 3690338"/>
                <a:gd name="connsiteX938" fmla="*/ 3770993 w 4878487"/>
                <a:gd name="connsiteY938" fmla="*/ 1793237 h 3690338"/>
                <a:gd name="connsiteX939" fmla="*/ 3775714 w 4878487"/>
                <a:gd name="connsiteY939" fmla="*/ 1791664 h 3690338"/>
                <a:gd name="connsiteX940" fmla="*/ 3776501 w 4878487"/>
                <a:gd name="connsiteY940" fmla="*/ 1791664 h 3690338"/>
                <a:gd name="connsiteX941" fmla="*/ 3777681 w 4878487"/>
                <a:gd name="connsiteY941" fmla="*/ 1791270 h 3690338"/>
                <a:gd name="connsiteX942" fmla="*/ 3779254 w 4878487"/>
                <a:gd name="connsiteY942" fmla="*/ 1793237 h 3690338"/>
                <a:gd name="connsiteX943" fmla="*/ 3782402 w 4878487"/>
                <a:gd name="connsiteY943" fmla="*/ 1790877 h 3690338"/>
                <a:gd name="connsiteX944" fmla="*/ 3782796 w 4878487"/>
                <a:gd name="connsiteY944" fmla="*/ 1789696 h 3690338"/>
                <a:gd name="connsiteX945" fmla="*/ 3782796 w 4878487"/>
                <a:gd name="connsiteY945" fmla="*/ 1789303 h 3690338"/>
                <a:gd name="connsiteX946" fmla="*/ 3783189 w 4878487"/>
                <a:gd name="connsiteY946" fmla="*/ 1788516 h 3690338"/>
                <a:gd name="connsiteX947" fmla="*/ 3783583 w 4878487"/>
                <a:gd name="connsiteY947" fmla="*/ 1788123 h 3690338"/>
                <a:gd name="connsiteX948" fmla="*/ 3786336 w 4878487"/>
                <a:gd name="connsiteY948" fmla="*/ 1790483 h 3690338"/>
                <a:gd name="connsiteX949" fmla="*/ 3789090 w 4878487"/>
                <a:gd name="connsiteY949" fmla="*/ 1789696 h 3690338"/>
                <a:gd name="connsiteX950" fmla="*/ 3792238 w 4878487"/>
                <a:gd name="connsiteY950" fmla="*/ 1787336 h 3690338"/>
                <a:gd name="connsiteX951" fmla="*/ 3793024 w 4878487"/>
                <a:gd name="connsiteY951" fmla="*/ 1785369 h 3690338"/>
                <a:gd name="connsiteX952" fmla="*/ 3796959 w 4878487"/>
                <a:gd name="connsiteY952" fmla="*/ 1784188 h 3690338"/>
                <a:gd name="connsiteX953" fmla="*/ 3797352 w 4878487"/>
                <a:gd name="connsiteY953" fmla="*/ 1781828 h 3690338"/>
                <a:gd name="connsiteX954" fmla="*/ 3795778 w 4878487"/>
                <a:gd name="connsiteY954" fmla="*/ 1779074 h 3690338"/>
                <a:gd name="connsiteX955" fmla="*/ 3797352 w 4878487"/>
                <a:gd name="connsiteY955" fmla="*/ 1779467 h 3690338"/>
                <a:gd name="connsiteX956" fmla="*/ 3797745 w 4878487"/>
                <a:gd name="connsiteY956" fmla="*/ 1779861 h 3690338"/>
                <a:gd name="connsiteX957" fmla="*/ 3799320 w 4878487"/>
                <a:gd name="connsiteY957" fmla="*/ 1780254 h 3690338"/>
                <a:gd name="connsiteX958" fmla="*/ 3799712 w 4878487"/>
                <a:gd name="connsiteY958" fmla="*/ 1780254 h 3690338"/>
                <a:gd name="connsiteX959" fmla="*/ 3805221 w 4878487"/>
                <a:gd name="connsiteY959" fmla="*/ 1783795 h 3690338"/>
                <a:gd name="connsiteX960" fmla="*/ 3807975 w 4878487"/>
                <a:gd name="connsiteY960" fmla="*/ 1784975 h 3690338"/>
                <a:gd name="connsiteX961" fmla="*/ 3810336 w 4878487"/>
                <a:gd name="connsiteY961" fmla="*/ 1782221 h 3690338"/>
                <a:gd name="connsiteX962" fmla="*/ 3809942 w 4878487"/>
                <a:gd name="connsiteY962" fmla="*/ 1779467 h 3690338"/>
                <a:gd name="connsiteX963" fmla="*/ 3809155 w 4878487"/>
                <a:gd name="connsiteY963" fmla="*/ 1777500 h 3690338"/>
                <a:gd name="connsiteX964" fmla="*/ 3809155 w 4878487"/>
                <a:gd name="connsiteY964" fmla="*/ 1776320 h 3690338"/>
                <a:gd name="connsiteX965" fmla="*/ 3810729 w 4878487"/>
                <a:gd name="connsiteY965" fmla="*/ 1778680 h 3690338"/>
                <a:gd name="connsiteX966" fmla="*/ 3813482 w 4878487"/>
                <a:gd name="connsiteY966" fmla="*/ 1781434 h 3690338"/>
                <a:gd name="connsiteX967" fmla="*/ 3816237 w 4878487"/>
                <a:gd name="connsiteY967" fmla="*/ 1782615 h 3690338"/>
                <a:gd name="connsiteX968" fmla="*/ 3818597 w 4878487"/>
                <a:gd name="connsiteY968" fmla="*/ 1779467 h 3690338"/>
                <a:gd name="connsiteX969" fmla="*/ 3820171 w 4878487"/>
                <a:gd name="connsiteY969" fmla="*/ 1776713 h 3690338"/>
                <a:gd name="connsiteX970" fmla="*/ 3822925 w 4878487"/>
                <a:gd name="connsiteY970" fmla="*/ 1776713 h 3690338"/>
                <a:gd name="connsiteX971" fmla="*/ 3826073 w 4878487"/>
                <a:gd name="connsiteY971" fmla="*/ 1779074 h 3690338"/>
                <a:gd name="connsiteX972" fmla="*/ 3827646 w 4878487"/>
                <a:gd name="connsiteY972" fmla="*/ 1775926 h 3690338"/>
                <a:gd name="connsiteX973" fmla="*/ 3826466 w 4878487"/>
                <a:gd name="connsiteY973" fmla="*/ 1773173 h 3690338"/>
                <a:gd name="connsiteX974" fmla="*/ 3826466 w 4878487"/>
                <a:gd name="connsiteY974" fmla="*/ 1770419 h 3690338"/>
                <a:gd name="connsiteX975" fmla="*/ 3828040 w 4878487"/>
                <a:gd name="connsiteY975" fmla="*/ 1768058 h 3690338"/>
                <a:gd name="connsiteX976" fmla="*/ 3829219 w 4878487"/>
                <a:gd name="connsiteY976" fmla="*/ 1767271 h 3690338"/>
                <a:gd name="connsiteX977" fmla="*/ 3829613 w 4878487"/>
                <a:gd name="connsiteY977" fmla="*/ 1770025 h 3690338"/>
                <a:gd name="connsiteX978" fmla="*/ 3832761 w 4878487"/>
                <a:gd name="connsiteY978" fmla="*/ 1772386 h 3690338"/>
                <a:gd name="connsiteX979" fmla="*/ 3833941 w 4878487"/>
                <a:gd name="connsiteY979" fmla="*/ 1769632 h 3690338"/>
                <a:gd name="connsiteX980" fmla="*/ 3836695 w 4878487"/>
                <a:gd name="connsiteY980" fmla="*/ 1768058 h 3690338"/>
                <a:gd name="connsiteX981" fmla="*/ 3833154 w 4878487"/>
                <a:gd name="connsiteY981" fmla="*/ 1762550 h 3690338"/>
                <a:gd name="connsiteX982" fmla="*/ 3830794 w 4878487"/>
                <a:gd name="connsiteY982" fmla="*/ 1759796 h 3690338"/>
                <a:gd name="connsiteX983" fmla="*/ 3828040 w 4878487"/>
                <a:gd name="connsiteY983" fmla="*/ 1755075 h 3690338"/>
                <a:gd name="connsiteX984" fmla="*/ 3828040 w 4878487"/>
                <a:gd name="connsiteY984" fmla="*/ 1754681 h 3690338"/>
                <a:gd name="connsiteX985" fmla="*/ 3828433 w 4878487"/>
                <a:gd name="connsiteY985" fmla="*/ 1755075 h 3690338"/>
                <a:gd name="connsiteX986" fmla="*/ 3831187 w 4878487"/>
                <a:gd name="connsiteY986" fmla="*/ 1759796 h 3690338"/>
                <a:gd name="connsiteX987" fmla="*/ 3833154 w 4878487"/>
                <a:gd name="connsiteY987" fmla="*/ 1762550 h 3690338"/>
                <a:gd name="connsiteX988" fmla="*/ 3835908 w 4878487"/>
                <a:gd name="connsiteY988" fmla="*/ 1765304 h 3690338"/>
                <a:gd name="connsiteX989" fmla="*/ 3837876 w 4878487"/>
                <a:gd name="connsiteY989" fmla="*/ 1767664 h 3690338"/>
                <a:gd name="connsiteX990" fmla="*/ 3840629 w 4878487"/>
                <a:gd name="connsiteY990" fmla="*/ 1768058 h 3690338"/>
                <a:gd name="connsiteX991" fmla="*/ 3841022 w 4878487"/>
                <a:gd name="connsiteY991" fmla="*/ 1767664 h 3690338"/>
                <a:gd name="connsiteX992" fmla="*/ 3841810 w 4878487"/>
                <a:gd name="connsiteY992" fmla="*/ 1770419 h 3690338"/>
                <a:gd name="connsiteX993" fmla="*/ 3842597 w 4878487"/>
                <a:gd name="connsiteY993" fmla="*/ 1767664 h 3690338"/>
                <a:gd name="connsiteX994" fmla="*/ 3841810 w 4878487"/>
                <a:gd name="connsiteY994" fmla="*/ 1767271 h 3690338"/>
                <a:gd name="connsiteX995" fmla="*/ 3841810 w 4878487"/>
                <a:gd name="connsiteY995" fmla="*/ 1764517 h 3690338"/>
                <a:gd name="connsiteX996" fmla="*/ 3840236 w 4878487"/>
                <a:gd name="connsiteY996" fmla="*/ 1761763 h 3690338"/>
                <a:gd name="connsiteX997" fmla="*/ 3839843 w 4878487"/>
                <a:gd name="connsiteY997" fmla="*/ 1760976 h 3690338"/>
                <a:gd name="connsiteX998" fmla="*/ 3840236 w 4878487"/>
                <a:gd name="connsiteY998" fmla="*/ 1757829 h 3690338"/>
                <a:gd name="connsiteX999" fmla="*/ 3839449 w 4878487"/>
                <a:gd name="connsiteY999" fmla="*/ 1755468 h 3690338"/>
                <a:gd name="connsiteX1000" fmla="*/ 3837876 w 4878487"/>
                <a:gd name="connsiteY1000" fmla="*/ 1752321 h 3690338"/>
                <a:gd name="connsiteX1001" fmla="*/ 3834728 w 4878487"/>
                <a:gd name="connsiteY1001" fmla="*/ 1749960 h 3690338"/>
                <a:gd name="connsiteX1002" fmla="*/ 3833154 w 4878487"/>
                <a:gd name="connsiteY1002" fmla="*/ 1748780 h 3690338"/>
                <a:gd name="connsiteX1003" fmla="*/ 3834728 w 4878487"/>
                <a:gd name="connsiteY1003" fmla="*/ 1749567 h 3690338"/>
                <a:gd name="connsiteX1004" fmla="*/ 3835515 w 4878487"/>
                <a:gd name="connsiteY1004" fmla="*/ 1747993 h 3690338"/>
                <a:gd name="connsiteX1005" fmla="*/ 3832761 w 4878487"/>
                <a:gd name="connsiteY1005" fmla="*/ 1745633 h 3690338"/>
                <a:gd name="connsiteX1006" fmla="*/ 3830007 w 4878487"/>
                <a:gd name="connsiteY1006" fmla="*/ 1744846 h 3690338"/>
                <a:gd name="connsiteX1007" fmla="*/ 3829613 w 4878487"/>
                <a:gd name="connsiteY1007" fmla="*/ 1744846 h 3690338"/>
                <a:gd name="connsiteX1008" fmla="*/ 3827646 w 4878487"/>
                <a:gd name="connsiteY1008" fmla="*/ 1744059 h 3690338"/>
                <a:gd name="connsiteX1009" fmla="*/ 3830007 w 4878487"/>
                <a:gd name="connsiteY1009" fmla="*/ 1744452 h 3690338"/>
                <a:gd name="connsiteX1010" fmla="*/ 3830400 w 4878487"/>
                <a:gd name="connsiteY1010" fmla="*/ 1744846 h 3690338"/>
                <a:gd name="connsiteX1011" fmla="*/ 3833154 w 4878487"/>
                <a:gd name="connsiteY1011" fmla="*/ 1743666 h 3690338"/>
                <a:gd name="connsiteX1012" fmla="*/ 3833548 w 4878487"/>
                <a:gd name="connsiteY1012" fmla="*/ 1743272 h 3690338"/>
                <a:gd name="connsiteX1013" fmla="*/ 3835515 w 4878487"/>
                <a:gd name="connsiteY1013" fmla="*/ 1740518 h 3690338"/>
                <a:gd name="connsiteX1014" fmla="*/ 3833154 w 4878487"/>
                <a:gd name="connsiteY1014" fmla="*/ 1738944 h 3690338"/>
                <a:gd name="connsiteX1015" fmla="*/ 3832367 w 4878487"/>
                <a:gd name="connsiteY1015" fmla="*/ 1738551 h 3690338"/>
                <a:gd name="connsiteX1016" fmla="*/ 3835121 w 4878487"/>
                <a:gd name="connsiteY1016" fmla="*/ 1738944 h 3690338"/>
                <a:gd name="connsiteX1017" fmla="*/ 3838662 w 4878487"/>
                <a:gd name="connsiteY1017" fmla="*/ 1737371 h 3690338"/>
                <a:gd name="connsiteX1018" fmla="*/ 3839449 w 4878487"/>
                <a:gd name="connsiteY1018" fmla="*/ 1737371 h 3690338"/>
                <a:gd name="connsiteX1019" fmla="*/ 3839055 w 4878487"/>
                <a:gd name="connsiteY1019" fmla="*/ 1737764 h 3690338"/>
                <a:gd name="connsiteX1020" fmla="*/ 3836301 w 4878487"/>
                <a:gd name="connsiteY1020" fmla="*/ 1740518 h 3690338"/>
                <a:gd name="connsiteX1021" fmla="*/ 3837876 w 4878487"/>
                <a:gd name="connsiteY1021" fmla="*/ 1740912 h 3690338"/>
                <a:gd name="connsiteX1022" fmla="*/ 3838662 w 4878487"/>
                <a:gd name="connsiteY1022" fmla="*/ 1743666 h 3690338"/>
                <a:gd name="connsiteX1023" fmla="*/ 3839055 w 4878487"/>
                <a:gd name="connsiteY1023" fmla="*/ 1740912 h 3690338"/>
                <a:gd name="connsiteX1024" fmla="*/ 3839449 w 4878487"/>
                <a:gd name="connsiteY1024" fmla="*/ 1740518 h 3690338"/>
                <a:gd name="connsiteX1025" fmla="*/ 3839055 w 4878487"/>
                <a:gd name="connsiteY1025" fmla="*/ 1743272 h 3690338"/>
                <a:gd name="connsiteX1026" fmla="*/ 3839055 w 4878487"/>
                <a:gd name="connsiteY1026" fmla="*/ 1746026 h 3690338"/>
                <a:gd name="connsiteX1027" fmla="*/ 3841416 w 4878487"/>
                <a:gd name="connsiteY1027" fmla="*/ 1748387 h 3690338"/>
                <a:gd name="connsiteX1028" fmla="*/ 3841810 w 4878487"/>
                <a:gd name="connsiteY1028" fmla="*/ 1749960 h 3690338"/>
                <a:gd name="connsiteX1029" fmla="*/ 3844170 w 4878487"/>
                <a:gd name="connsiteY1029" fmla="*/ 1749567 h 3690338"/>
                <a:gd name="connsiteX1030" fmla="*/ 3848891 w 4878487"/>
                <a:gd name="connsiteY1030" fmla="*/ 1759403 h 3690338"/>
                <a:gd name="connsiteX1031" fmla="*/ 3849285 w 4878487"/>
                <a:gd name="connsiteY1031" fmla="*/ 1762550 h 3690338"/>
                <a:gd name="connsiteX1032" fmla="*/ 3849285 w 4878487"/>
                <a:gd name="connsiteY1032" fmla="*/ 1763337 h 3690338"/>
                <a:gd name="connsiteX1033" fmla="*/ 3849678 w 4878487"/>
                <a:gd name="connsiteY1033" fmla="*/ 1766484 h 3690338"/>
                <a:gd name="connsiteX1034" fmla="*/ 3849285 w 4878487"/>
                <a:gd name="connsiteY1034" fmla="*/ 1766878 h 3690338"/>
                <a:gd name="connsiteX1035" fmla="*/ 3849285 w 4878487"/>
                <a:gd name="connsiteY1035" fmla="*/ 1768451 h 3690338"/>
                <a:gd name="connsiteX1036" fmla="*/ 3852038 w 4878487"/>
                <a:gd name="connsiteY1036" fmla="*/ 1770025 h 3690338"/>
                <a:gd name="connsiteX1037" fmla="*/ 3866202 w 4878487"/>
                <a:gd name="connsiteY1037" fmla="*/ 1770025 h 3690338"/>
                <a:gd name="connsiteX1038" fmla="*/ 3869350 w 4878487"/>
                <a:gd name="connsiteY1038" fmla="*/ 1768451 h 3690338"/>
                <a:gd name="connsiteX1039" fmla="*/ 3868956 w 4878487"/>
                <a:gd name="connsiteY1039" fmla="*/ 1765304 h 3690338"/>
                <a:gd name="connsiteX1040" fmla="*/ 3867775 w 4878487"/>
                <a:gd name="connsiteY1040" fmla="*/ 1759796 h 3690338"/>
                <a:gd name="connsiteX1041" fmla="*/ 3870529 w 4878487"/>
                <a:gd name="connsiteY1041" fmla="*/ 1758222 h 3690338"/>
                <a:gd name="connsiteX1042" fmla="*/ 3867775 w 4878487"/>
                <a:gd name="connsiteY1042" fmla="*/ 1756649 h 3690338"/>
                <a:gd name="connsiteX1043" fmla="*/ 3868956 w 4878487"/>
                <a:gd name="connsiteY1043" fmla="*/ 1753501 h 3690338"/>
                <a:gd name="connsiteX1044" fmla="*/ 3866595 w 4878487"/>
                <a:gd name="connsiteY1044" fmla="*/ 1752714 h 3690338"/>
                <a:gd name="connsiteX1045" fmla="*/ 3874857 w 4878487"/>
                <a:gd name="connsiteY1045" fmla="*/ 1755468 h 3690338"/>
                <a:gd name="connsiteX1046" fmla="*/ 3878005 w 4878487"/>
                <a:gd name="connsiteY1046" fmla="*/ 1755468 h 3690338"/>
                <a:gd name="connsiteX1047" fmla="*/ 3879972 w 4878487"/>
                <a:gd name="connsiteY1047" fmla="*/ 1752714 h 3690338"/>
                <a:gd name="connsiteX1048" fmla="*/ 3879578 w 4878487"/>
                <a:gd name="connsiteY1048" fmla="*/ 1752321 h 3690338"/>
                <a:gd name="connsiteX1049" fmla="*/ 3881152 w 4878487"/>
                <a:gd name="connsiteY1049" fmla="*/ 1751534 h 3690338"/>
                <a:gd name="connsiteX1050" fmla="*/ 3888233 w 4878487"/>
                <a:gd name="connsiteY1050" fmla="*/ 1748780 h 3690338"/>
                <a:gd name="connsiteX1051" fmla="*/ 3890988 w 4878487"/>
                <a:gd name="connsiteY1051" fmla="*/ 1749174 h 3690338"/>
                <a:gd name="connsiteX1052" fmla="*/ 3891381 w 4878487"/>
                <a:gd name="connsiteY1052" fmla="*/ 1749174 h 3690338"/>
                <a:gd name="connsiteX1053" fmla="*/ 3894135 w 4878487"/>
                <a:gd name="connsiteY1053" fmla="*/ 1751534 h 3690338"/>
                <a:gd name="connsiteX1054" fmla="*/ 3896890 w 4878487"/>
                <a:gd name="connsiteY1054" fmla="*/ 1752714 h 3690338"/>
                <a:gd name="connsiteX1055" fmla="*/ 3897676 w 4878487"/>
                <a:gd name="connsiteY1055" fmla="*/ 1752321 h 3690338"/>
                <a:gd name="connsiteX1056" fmla="*/ 3903970 w 4878487"/>
                <a:gd name="connsiteY1056" fmla="*/ 1747600 h 3690338"/>
                <a:gd name="connsiteX1057" fmla="*/ 3907118 w 4878487"/>
                <a:gd name="connsiteY1057" fmla="*/ 1747600 h 3690338"/>
                <a:gd name="connsiteX1058" fmla="*/ 3909872 w 4878487"/>
                <a:gd name="connsiteY1058" fmla="*/ 1746026 h 3690338"/>
                <a:gd name="connsiteX1059" fmla="*/ 3911052 w 4878487"/>
                <a:gd name="connsiteY1059" fmla="*/ 1744846 h 3690338"/>
                <a:gd name="connsiteX1060" fmla="*/ 3909479 w 4878487"/>
                <a:gd name="connsiteY1060" fmla="*/ 1743272 h 3690338"/>
                <a:gd name="connsiteX1061" fmla="*/ 3911446 w 4878487"/>
                <a:gd name="connsiteY1061" fmla="*/ 1744059 h 3690338"/>
                <a:gd name="connsiteX1062" fmla="*/ 3911839 w 4878487"/>
                <a:gd name="connsiteY1062" fmla="*/ 1744059 h 3690338"/>
                <a:gd name="connsiteX1063" fmla="*/ 3914594 w 4878487"/>
                <a:gd name="connsiteY1063" fmla="*/ 1743666 h 3690338"/>
                <a:gd name="connsiteX1064" fmla="*/ 3918134 w 4878487"/>
                <a:gd name="connsiteY1064" fmla="*/ 1742879 h 3690338"/>
                <a:gd name="connsiteX1065" fmla="*/ 3920495 w 4878487"/>
                <a:gd name="connsiteY1065" fmla="*/ 1743272 h 3690338"/>
                <a:gd name="connsiteX1066" fmla="*/ 3922855 w 4878487"/>
                <a:gd name="connsiteY1066" fmla="*/ 1741698 h 3690338"/>
                <a:gd name="connsiteX1067" fmla="*/ 3922855 w 4878487"/>
                <a:gd name="connsiteY1067" fmla="*/ 1740912 h 3690338"/>
                <a:gd name="connsiteX1068" fmla="*/ 3923642 w 4878487"/>
                <a:gd name="connsiteY1068" fmla="*/ 1733830 h 3690338"/>
                <a:gd name="connsiteX1069" fmla="*/ 3924036 w 4878487"/>
                <a:gd name="connsiteY1069" fmla="*/ 1733830 h 3690338"/>
                <a:gd name="connsiteX1070" fmla="*/ 3924429 w 4878487"/>
                <a:gd name="connsiteY1070" fmla="*/ 1735010 h 3690338"/>
                <a:gd name="connsiteX1071" fmla="*/ 3926397 w 4878487"/>
                <a:gd name="connsiteY1071" fmla="*/ 1732256 h 3690338"/>
                <a:gd name="connsiteX1072" fmla="*/ 3929150 w 4878487"/>
                <a:gd name="connsiteY1072" fmla="*/ 1734223 h 3690338"/>
                <a:gd name="connsiteX1073" fmla="*/ 3927576 w 4878487"/>
                <a:gd name="connsiteY1073" fmla="*/ 1731076 h 3690338"/>
                <a:gd name="connsiteX1074" fmla="*/ 3924822 w 4878487"/>
                <a:gd name="connsiteY1074" fmla="*/ 1729502 h 3690338"/>
                <a:gd name="connsiteX1075" fmla="*/ 3923642 w 4878487"/>
                <a:gd name="connsiteY1075" fmla="*/ 1729896 h 3690338"/>
                <a:gd name="connsiteX1076" fmla="*/ 3925216 w 4878487"/>
                <a:gd name="connsiteY1076" fmla="*/ 1728715 h 3690338"/>
                <a:gd name="connsiteX1077" fmla="*/ 3927970 w 4878487"/>
                <a:gd name="connsiteY1077" fmla="*/ 1727929 h 3690338"/>
                <a:gd name="connsiteX1078" fmla="*/ 3928364 w 4878487"/>
                <a:gd name="connsiteY1078" fmla="*/ 1727535 h 3690338"/>
                <a:gd name="connsiteX1079" fmla="*/ 3929150 w 4878487"/>
                <a:gd name="connsiteY1079" fmla="*/ 1725174 h 3690338"/>
                <a:gd name="connsiteX1080" fmla="*/ 3934658 w 4878487"/>
                <a:gd name="connsiteY1080" fmla="*/ 1721634 h 3690338"/>
                <a:gd name="connsiteX1081" fmla="*/ 3935052 w 4878487"/>
                <a:gd name="connsiteY1081" fmla="*/ 1722027 h 3690338"/>
                <a:gd name="connsiteX1082" fmla="*/ 3937806 w 4878487"/>
                <a:gd name="connsiteY1082" fmla="*/ 1719667 h 3690338"/>
                <a:gd name="connsiteX1083" fmla="*/ 3942920 w 4878487"/>
                <a:gd name="connsiteY1083" fmla="*/ 1714159 h 3690338"/>
                <a:gd name="connsiteX1084" fmla="*/ 3945280 w 4878487"/>
                <a:gd name="connsiteY1084" fmla="*/ 1711405 h 3690338"/>
                <a:gd name="connsiteX1085" fmla="*/ 3948428 w 4878487"/>
                <a:gd name="connsiteY1085" fmla="*/ 1711011 h 3690338"/>
                <a:gd name="connsiteX1086" fmla="*/ 3949214 w 4878487"/>
                <a:gd name="connsiteY1086" fmla="*/ 1713765 h 3690338"/>
                <a:gd name="connsiteX1087" fmla="*/ 3949608 w 4878487"/>
                <a:gd name="connsiteY1087" fmla="*/ 1711011 h 3690338"/>
                <a:gd name="connsiteX1088" fmla="*/ 3950789 w 4878487"/>
                <a:gd name="connsiteY1088" fmla="*/ 1708257 h 3690338"/>
                <a:gd name="connsiteX1089" fmla="*/ 3950395 w 4878487"/>
                <a:gd name="connsiteY1089" fmla="*/ 1705897 h 3690338"/>
                <a:gd name="connsiteX1090" fmla="*/ 3950395 w 4878487"/>
                <a:gd name="connsiteY1090" fmla="*/ 1705503 h 3690338"/>
                <a:gd name="connsiteX1091" fmla="*/ 3953149 w 4878487"/>
                <a:gd name="connsiteY1091" fmla="*/ 1705897 h 3690338"/>
                <a:gd name="connsiteX1092" fmla="*/ 3952756 w 4878487"/>
                <a:gd name="connsiteY1092" fmla="*/ 1708651 h 3690338"/>
                <a:gd name="connsiteX1093" fmla="*/ 3955510 w 4878487"/>
                <a:gd name="connsiteY1093" fmla="*/ 1706290 h 3690338"/>
                <a:gd name="connsiteX1094" fmla="*/ 3956690 w 4878487"/>
                <a:gd name="connsiteY1094" fmla="*/ 1703536 h 3690338"/>
                <a:gd name="connsiteX1095" fmla="*/ 3956296 w 4878487"/>
                <a:gd name="connsiteY1095" fmla="*/ 1700782 h 3690338"/>
                <a:gd name="connsiteX1096" fmla="*/ 3959050 w 4878487"/>
                <a:gd name="connsiteY1096" fmla="*/ 1700389 h 3690338"/>
                <a:gd name="connsiteX1097" fmla="*/ 3961017 w 4878487"/>
                <a:gd name="connsiteY1097" fmla="*/ 1697635 h 3690338"/>
                <a:gd name="connsiteX1098" fmla="*/ 3958263 w 4878487"/>
                <a:gd name="connsiteY1098" fmla="*/ 1696848 h 3690338"/>
                <a:gd name="connsiteX1099" fmla="*/ 3958263 w 4878487"/>
                <a:gd name="connsiteY1099" fmla="*/ 1694094 h 3690338"/>
                <a:gd name="connsiteX1100" fmla="*/ 3955510 w 4878487"/>
                <a:gd name="connsiteY1100" fmla="*/ 1694487 h 3690338"/>
                <a:gd name="connsiteX1101" fmla="*/ 3952756 w 4878487"/>
                <a:gd name="connsiteY1101" fmla="*/ 1693700 h 3690338"/>
                <a:gd name="connsiteX1102" fmla="*/ 3950789 w 4878487"/>
                <a:gd name="connsiteY1102" fmla="*/ 1692127 h 3690338"/>
                <a:gd name="connsiteX1103" fmla="*/ 3955510 w 4878487"/>
                <a:gd name="connsiteY1103" fmla="*/ 1692520 h 3690338"/>
                <a:gd name="connsiteX1104" fmla="*/ 3957083 w 4878487"/>
                <a:gd name="connsiteY1104" fmla="*/ 1692520 h 3690338"/>
                <a:gd name="connsiteX1105" fmla="*/ 3956690 w 4878487"/>
                <a:gd name="connsiteY1105" fmla="*/ 1691340 h 3690338"/>
                <a:gd name="connsiteX1106" fmla="*/ 3959050 w 4878487"/>
                <a:gd name="connsiteY1106" fmla="*/ 1688979 h 3690338"/>
                <a:gd name="connsiteX1107" fmla="*/ 3959444 w 4878487"/>
                <a:gd name="connsiteY1107" fmla="*/ 1688979 h 3690338"/>
                <a:gd name="connsiteX1108" fmla="*/ 3963378 w 4878487"/>
                <a:gd name="connsiteY1108" fmla="*/ 1688586 h 3690338"/>
                <a:gd name="connsiteX1109" fmla="*/ 3964165 w 4878487"/>
                <a:gd name="connsiteY1109" fmla="*/ 1689373 h 3690338"/>
                <a:gd name="connsiteX1110" fmla="*/ 3967312 w 4878487"/>
                <a:gd name="connsiteY1110" fmla="*/ 1688192 h 3690338"/>
                <a:gd name="connsiteX1111" fmla="*/ 3972427 w 4878487"/>
                <a:gd name="connsiteY1111" fmla="*/ 1687799 h 3690338"/>
                <a:gd name="connsiteX1112" fmla="*/ 3974394 w 4878487"/>
                <a:gd name="connsiteY1112" fmla="*/ 1689766 h 3690338"/>
                <a:gd name="connsiteX1113" fmla="*/ 3975968 w 4878487"/>
                <a:gd name="connsiteY1113" fmla="*/ 1687012 h 3690338"/>
                <a:gd name="connsiteX1114" fmla="*/ 3977148 w 4878487"/>
                <a:gd name="connsiteY1114" fmla="*/ 1683865 h 3690338"/>
                <a:gd name="connsiteX1115" fmla="*/ 3975968 w 4878487"/>
                <a:gd name="connsiteY1115" fmla="*/ 1681111 h 3690338"/>
                <a:gd name="connsiteX1116" fmla="*/ 3973214 w 4878487"/>
                <a:gd name="connsiteY1116" fmla="*/ 1680717 h 3690338"/>
                <a:gd name="connsiteX1117" fmla="*/ 3977148 w 4878487"/>
                <a:gd name="connsiteY1117" fmla="*/ 1677963 h 3690338"/>
                <a:gd name="connsiteX1118" fmla="*/ 3978329 w 4878487"/>
                <a:gd name="connsiteY1118" fmla="*/ 1677570 h 3690338"/>
                <a:gd name="connsiteX1119" fmla="*/ 3981476 w 4878487"/>
                <a:gd name="connsiteY1119" fmla="*/ 1676390 h 3690338"/>
                <a:gd name="connsiteX1120" fmla="*/ 3983050 w 4878487"/>
                <a:gd name="connsiteY1120" fmla="*/ 1673636 h 3690338"/>
                <a:gd name="connsiteX1121" fmla="*/ 3980689 w 4878487"/>
                <a:gd name="connsiteY1121" fmla="*/ 1670095 h 3690338"/>
                <a:gd name="connsiteX1122" fmla="*/ 3980296 w 4878487"/>
                <a:gd name="connsiteY1122" fmla="*/ 1667341 h 3690338"/>
                <a:gd name="connsiteX1123" fmla="*/ 3978329 w 4878487"/>
                <a:gd name="connsiteY1123" fmla="*/ 1666554 h 3690338"/>
                <a:gd name="connsiteX1124" fmla="*/ 3981082 w 4878487"/>
                <a:gd name="connsiteY1124" fmla="*/ 1664193 h 3690338"/>
                <a:gd name="connsiteX1125" fmla="*/ 3983443 w 4878487"/>
                <a:gd name="connsiteY1125" fmla="*/ 1666947 h 3690338"/>
                <a:gd name="connsiteX1126" fmla="*/ 3984623 w 4878487"/>
                <a:gd name="connsiteY1126" fmla="*/ 1670095 h 3690338"/>
                <a:gd name="connsiteX1127" fmla="*/ 3984623 w 4878487"/>
                <a:gd name="connsiteY1127" fmla="*/ 1667341 h 3690338"/>
                <a:gd name="connsiteX1128" fmla="*/ 3987378 w 4878487"/>
                <a:gd name="connsiteY1128" fmla="*/ 1667734 h 3690338"/>
                <a:gd name="connsiteX1129" fmla="*/ 3990524 w 4878487"/>
                <a:gd name="connsiteY1129" fmla="*/ 1665767 h 3690338"/>
                <a:gd name="connsiteX1130" fmla="*/ 3988951 w 4878487"/>
                <a:gd name="connsiteY1130" fmla="*/ 1663013 h 3690338"/>
                <a:gd name="connsiteX1131" fmla="*/ 3986197 w 4878487"/>
                <a:gd name="connsiteY1131" fmla="*/ 1661833 h 3690338"/>
                <a:gd name="connsiteX1132" fmla="*/ 3983443 w 4878487"/>
                <a:gd name="connsiteY1132" fmla="*/ 1660653 h 3690338"/>
                <a:gd name="connsiteX1133" fmla="*/ 3984623 w 4878487"/>
                <a:gd name="connsiteY1133" fmla="*/ 1659472 h 3690338"/>
                <a:gd name="connsiteX1134" fmla="*/ 3986197 w 4878487"/>
                <a:gd name="connsiteY1134" fmla="*/ 1657899 h 3690338"/>
                <a:gd name="connsiteX1135" fmla="*/ 3986197 w 4878487"/>
                <a:gd name="connsiteY1135" fmla="*/ 1657505 h 3690338"/>
                <a:gd name="connsiteX1136" fmla="*/ 3994459 w 4878487"/>
                <a:gd name="connsiteY1136" fmla="*/ 1661046 h 3690338"/>
                <a:gd name="connsiteX1137" fmla="*/ 3996033 w 4878487"/>
                <a:gd name="connsiteY1137" fmla="*/ 1658292 h 3690338"/>
                <a:gd name="connsiteX1138" fmla="*/ 3997606 w 4878487"/>
                <a:gd name="connsiteY1138" fmla="*/ 1661046 h 3690338"/>
                <a:gd name="connsiteX1139" fmla="*/ 3998000 w 4878487"/>
                <a:gd name="connsiteY1139" fmla="*/ 1658292 h 3690338"/>
                <a:gd name="connsiteX1140" fmla="*/ 3995639 w 4878487"/>
                <a:gd name="connsiteY1140" fmla="*/ 1655538 h 3690338"/>
                <a:gd name="connsiteX1141" fmla="*/ 3992885 w 4878487"/>
                <a:gd name="connsiteY1141" fmla="*/ 1654358 h 3690338"/>
                <a:gd name="connsiteX1142" fmla="*/ 3992491 w 4878487"/>
                <a:gd name="connsiteY1142" fmla="*/ 1652784 h 3690338"/>
                <a:gd name="connsiteX1143" fmla="*/ 3993672 w 4878487"/>
                <a:gd name="connsiteY1143" fmla="*/ 1650030 h 3690338"/>
                <a:gd name="connsiteX1144" fmla="*/ 3995246 w 4878487"/>
                <a:gd name="connsiteY1144" fmla="*/ 1646883 h 3690338"/>
                <a:gd name="connsiteX1145" fmla="*/ 3993279 w 4878487"/>
                <a:gd name="connsiteY1145" fmla="*/ 1644129 h 3690338"/>
                <a:gd name="connsiteX1146" fmla="*/ 3996033 w 4878487"/>
                <a:gd name="connsiteY1146" fmla="*/ 1641768 h 3690338"/>
                <a:gd name="connsiteX1147" fmla="*/ 3993279 w 4878487"/>
                <a:gd name="connsiteY1147" fmla="*/ 1639014 h 3690338"/>
                <a:gd name="connsiteX1148" fmla="*/ 3990524 w 4878487"/>
                <a:gd name="connsiteY1148" fmla="*/ 1638621 h 3690338"/>
                <a:gd name="connsiteX1149" fmla="*/ 3989345 w 4878487"/>
                <a:gd name="connsiteY1149" fmla="*/ 1640981 h 3690338"/>
                <a:gd name="connsiteX1150" fmla="*/ 3986984 w 4878487"/>
                <a:gd name="connsiteY1150" fmla="*/ 1642161 h 3690338"/>
                <a:gd name="connsiteX1151" fmla="*/ 3984230 w 4878487"/>
                <a:gd name="connsiteY1151" fmla="*/ 1641375 h 3690338"/>
                <a:gd name="connsiteX1152" fmla="*/ 3983050 w 4878487"/>
                <a:gd name="connsiteY1152" fmla="*/ 1640981 h 3690338"/>
                <a:gd name="connsiteX1153" fmla="*/ 3981476 w 4878487"/>
                <a:gd name="connsiteY1153" fmla="*/ 1638227 h 3690338"/>
                <a:gd name="connsiteX1154" fmla="*/ 3978721 w 4878487"/>
                <a:gd name="connsiteY1154" fmla="*/ 1635867 h 3690338"/>
                <a:gd name="connsiteX1155" fmla="*/ 3977542 w 4878487"/>
                <a:gd name="connsiteY1155" fmla="*/ 1635080 h 3690338"/>
                <a:gd name="connsiteX1156" fmla="*/ 3981082 w 4878487"/>
                <a:gd name="connsiteY1156" fmla="*/ 1636654 h 3690338"/>
                <a:gd name="connsiteX1157" fmla="*/ 3983050 w 4878487"/>
                <a:gd name="connsiteY1157" fmla="*/ 1637834 h 3690338"/>
                <a:gd name="connsiteX1158" fmla="*/ 3981476 w 4878487"/>
                <a:gd name="connsiteY1158" fmla="*/ 1637047 h 3690338"/>
                <a:gd name="connsiteX1159" fmla="*/ 3983443 w 4878487"/>
                <a:gd name="connsiteY1159" fmla="*/ 1639408 h 3690338"/>
                <a:gd name="connsiteX1160" fmla="*/ 3986197 w 4878487"/>
                <a:gd name="connsiteY1160" fmla="*/ 1640194 h 3690338"/>
                <a:gd name="connsiteX1161" fmla="*/ 3987378 w 4878487"/>
                <a:gd name="connsiteY1161" fmla="*/ 1639408 h 3690338"/>
                <a:gd name="connsiteX1162" fmla="*/ 3984623 w 4878487"/>
                <a:gd name="connsiteY1162" fmla="*/ 1638227 h 3690338"/>
                <a:gd name="connsiteX1163" fmla="*/ 3983443 w 4878487"/>
                <a:gd name="connsiteY1163" fmla="*/ 1637834 h 3690338"/>
                <a:gd name="connsiteX1164" fmla="*/ 3984230 w 4878487"/>
                <a:gd name="connsiteY1164" fmla="*/ 1637834 h 3690338"/>
                <a:gd name="connsiteX1165" fmla="*/ 3988951 w 4878487"/>
                <a:gd name="connsiteY1165" fmla="*/ 1640194 h 3690338"/>
                <a:gd name="connsiteX1166" fmla="*/ 3990918 w 4878487"/>
                <a:gd name="connsiteY1166" fmla="*/ 1635473 h 3690338"/>
                <a:gd name="connsiteX1167" fmla="*/ 3992491 w 4878487"/>
                <a:gd name="connsiteY1167" fmla="*/ 1632719 h 3690338"/>
                <a:gd name="connsiteX1168" fmla="*/ 3995246 w 4878487"/>
                <a:gd name="connsiteY1168" fmla="*/ 1630359 h 3690338"/>
                <a:gd name="connsiteX1169" fmla="*/ 3998393 w 4878487"/>
                <a:gd name="connsiteY1169" fmla="*/ 1628785 h 3690338"/>
                <a:gd name="connsiteX1170" fmla="*/ 3996819 w 4878487"/>
                <a:gd name="connsiteY1170" fmla="*/ 1625638 h 3690338"/>
                <a:gd name="connsiteX1171" fmla="*/ 3995246 w 4878487"/>
                <a:gd name="connsiteY1171" fmla="*/ 1628392 h 3690338"/>
                <a:gd name="connsiteX1172" fmla="*/ 3992491 w 4878487"/>
                <a:gd name="connsiteY1172" fmla="*/ 1627605 h 3690338"/>
                <a:gd name="connsiteX1173" fmla="*/ 3992885 w 4878487"/>
                <a:gd name="connsiteY1173" fmla="*/ 1624457 h 3690338"/>
                <a:gd name="connsiteX1174" fmla="*/ 3993672 w 4878487"/>
                <a:gd name="connsiteY1174" fmla="*/ 1624457 h 3690338"/>
                <a:gd name="connsiteX1175" fmla="*/ 3994066 w 4878487"/>
                <a:gd name="connsiteY1175" fmla="*/ 1621703 h 3690338"/>
                <a:gd name="connsiteX1176" fmla="*/ 3993672 w 4878487"/>
                <a:gd name="connsiteY1176" fmla="*/ 1620523 h 3690338"/>
                <a:gd name="connsiteX1177" fmla="*/ 3998787 w 4878487"/>
                <a:gd name="connsiteY1177" fmla="*/ 1612655 h 3690338"/>
                <a:gd name="connsiteX1178" fmla="*/ 3999180 w 4878487"/>
                <a:gd name="connsiteY1178" fmla="*/ 1615015 h 3690338"/>
                <a:gd name="connsiteX1179" fmla="*/ 3998787 w 4878487"/>
                <a:gd name="connsiteY1179" fmla="*/ 1617769 h 3690338"/>
                <a:gd name="connsiteX1180" fmla="*/ 3995639 w 4878487"/>
                <a:gd name="connsiteY1180" fmla="*/ 1620130 h 3690338"/>
                <a:gd name="connsiteX1181" fmla="*/ 3998787 w 4878487"/>
                <a:gd name="connsiteY1181" fmla="*/ 1620523 h 3690338"/>
                <a:gd name="connsiteX1182" fmla="*/ 4000360 w 4878487"/>
                <a:gd name="connsiteY1182" fmla="*/ 1618949 h 3690338"/>
                <a:gd name="connsiteX1183" fmla="*/ 4003508 w 4878487"/>
                <a:gd name="connsiteY1183" fmla="*/ 1618162 h 3690338"/>
                <a:gd name="connsiteX1184" fmla="*/ 4003901 w 4878487"/>
                <a:gd name="connsiteY1184" fmla="*/ 1615409 h 3690338"/>
                <a:gd name="connsiteX1185" fmla="*/ 4001934 w 4878487"/>
                <a:gd name="connsiteY1185" fmla="*/ 1612261 h 3690338"/>
                <a:gd name="connsiteX1186" fmla="*/ 4001934 w 4878487"/>
                <a:gd name="connsiteY1186" fmla="*/ 1612261 h 3690338"/>
                <a:gd name="connsiteX1187" fmla="*/ 4002721 w 4878487"/>
                <a:gd name="connsiteY1187" fmla="*/ 1607933 h 3690338"/>
                <a:gd name="connsiteX1188" fmla="*/ 4008228 w 4878487"/>
                <a:gd name="connsiteY1188" fmla="*/ 1600852 h 3690338"/>
                <a:gd name="connsiteX1189" fmla="*/ 4007836 w 4878487"/>
                <a:gd name="connsiteY1189" fmla="*/ 1599278 h 3690338"/>
                <a:gd name="connsiteX1190" fmla="*/ 4008228 w 4878487"/>
                <a:gd name="connsiteY1190" fmla="*/ 1599672 h 3690338"/>
                <a:gd name="connsiteX1191" fmla="*/ 4007836 w 4878487"/>
                <a:gd name="connsiteY1191" fmla="*/ 1598098 h 3690338"/>
                <a:gd name="connsiteX1192" fmla="*/ 4010983 w 4878487"/>
                <a:gd name="connsiteY1192" fmla="*/ 1598491 h 3690338"/>
                <a:gd name="connsiteX1193" fmla="*/ 4010983 w 4878487"/>
                <a:gd name="connsiteY1193" fmla="*/ 1595737 h 3690338"/>
                <a:gd name="connsiteX1194" fmla="*/ 4010196 w 4878487"/>
                <a:gd name="connsiteY1194" fmla="*/ 1592983 h 3690338"/>
                <a:gd name="connsiteX1195" fmla="*/ 4013343 w 4878487"/>
                <a:gd name="connsiteY1195" fmla="*/ 1590229 h 3690338"/>
                <a:gd name="connsiteX1196" fmla="*/ 4010589 w 4878487"/>
                <a:gd name="connsiteY1196" fmla="*/ 1587475 h 3690338"/>
                <a:gd name="connsiteX1197" fmla="*/ 4011376 w 4878487"/>
                <a:gd name="connsiteY1197" fmla="*/ 1584328 h 3690338"/>
                <a:gd name="connsiteX1198" fmla="*/ 4012950 w 4878487"/>
                <a:gd name="connsiteY1198" fmla="*/ 1577640 h 3690338"/>
                <a:gd name="connsiteX1199" fmla="*/ 4014524 w 4878487"/>
                <a:gd name="connsiteY1199" fmla="*/ 1574492 h 3690338"/>
                <a:gd name="connsiteX1200" fmla="*/ 4011770 w 4878487"/>
                <a:gd name="connsiteY1200" fmla="*/ 1572132 h 3690338"/>
                <a:gd name="connsiteX1201" fmla="*/ 4008622 w 4878487"/>
                <a:gd name="connsiteY1201" fmla="*/ 1570558 h 3690338"/>
                <a:gd name="connsiteX1202" fmla="*/ 4006655 w 4878487"/>
                <a:gd name="connsiteY1202" fmla="*/ 1570165 h 3690338"/>
                <a:gd name="connsiteX1203" fmla="*/ 4004294 w 4878487"/>
                <a:gd name="connsiteY1203" fmla="*/ 1567410 h 3690338"/>
                <a:gd name="connsiteX1204" fmla="*/ 4007049 w 4878487"/>
                <a:gd name="connsiteY1204" fmla="*/ 1569771 h 3690338"/>
                <a:gd name="connsiteX1205" fmla="*/ 4010196 w 4878487"/>
                <a:gd name="connsiteY1205" fmla="*/ 1570165 h 3690338"/>
                <a:gd name="connsiteX1206" fmla="*/ 4012950 w 4878487"/>
                <a:gd name="connsiteY1206" fmla="*/ 1571738 h 3690338"/>
                <a:gd name="connsiteX1207" fmla="*/ 4014917 w 4878487"/>
                <a:gd name="connsiteY1207" fmla="*/ 1571738 h 3690338"/>
                <a:gd name="connsiteX1208" fmla="*/ 4016491 w 4878487"/>
                <a:gd name="connsiteY1208" fmla="*/ 1568591 h 3690338"/>
                <a:gd name="connsiteX1209" fmla="*/ 4018064 w 4878487"/>
                <a:gd name="connsiteY1209" fmla="*/ 1565837 h 3690338"/>
                <a:gd name="connsiteX1210" fmla="*/ 4018852 w 4878487"/>
                <a:gd name="connsiteY1210" fmla="*/ 1563083 h 3690338"/>
                <a:gd name="connsiteX1211" fmla="*/ 4017277 w 4878487"/>
                <a:gd name="connsiteY1211" fmla="*/ 1562296 h 3690338"/>
                <a:gd name="connsiteX1212" fmla="*/ 4017277 w 4878487"/>
                <a:gd name="connsiteY1212" fmla="*/ 1561509 h 3690338"/>
                <a:gd name="connsiteX1213" fmla="*/ 4020425 w 4878487"/>
                <a:gd name="connsiteY1213" fmla="*/ 1559149 h 3690338"/>
                <a:gd name="connsiteX1214" fmla="*/ 4023573 w 4878487"/>
                <a:gd name="connsiteY1214" fmla="*/ 1564657 h 3690338"/>
                <a:gd name="connsiteX1215" fmla="*/ 4026326 w 4878487"/>
                <a:gd name="connsiteY1215" fmla="*/ 1566624 h 3690338"/>
                <a:gd name="connsiteX1216" fmla="*/ 4025933 w 4878487"/>
                <a:gd name="connsiteY1216" fmla="*/ 1563870 h 3690338"/>
                <a:gd name="connsiteX1217" fmla="*/ 4027507 w 4878487"/>
                <a:gd name="connsiteY1217" fmla="*/ 1560722 h 3690338"/>
                <a:gd name="connsiteX1218" fmla="*/ 4030655 w 4878487"/>
                <a:gd name="connsiteY1218" fmla="*/ 1560722 h 3690338"/>
                <a:gd name="connsiteX1219" fmla="*/ 4031047 w 4878487"/>
                <a:gd name="connsiteY1219" fmla="*/ 1557968 h 3690338"/>
                <a:gd name="connsiteX1220" fmla="*/ 4029474 w 4878487"/>
                <a:gd name="connsiteY1220" fmla="*/ 1555214 h 3690338"/>
                <a:gd name="connsiteX1221" fmla="*/ 4027113 w 4878487"/>
                <a:gd name="connsiteY1221" fmla="*/ 1552067 h 3690338"/>
                <a:gd name="connsiteX1222" fmla="*/ 4025540 w 4878487"/>
                <a:gd name="connsiteY1222" fmla="*/ 1549313 h 3690338"/>
                <a:gd name="connsiteX1223" fmla="*/ 4024753 w 4878487"/>
                <a:gd name="connsiteY1223" fmla="*/ 1548526 h 3690338"/>
                <a:gd name="connsiteX1224" fmla="*/ 4023179 w 4878487"/>
                <a:gd name="connsiteY1224" fmla="*/ 1547739 h 3690338"/>
                <a:gd name="connsiteX1225" fmla="*/ 4026720 w 4878487"/>
                <a:gd name="connsiteY1225" fmla="*/ 1547739 h 3690338"/>
                <a:gd name="connsiteX1226" fmla="*/ 4029474 w 4878487"/>
                <a:gd name="connsiteY1226" fmla="*/ 1544985 h 3690338"/>
                <a:gd name="connsiteX1227" fmla="*/ 4027900 w 4878487"/>
                <a:gd name="connsiteY1227" fmla="*/ 1541838 h 3690338"/>
                <a:gd name="connsiteX1228" fmla="*/ 4024753 w 4878487"/>
                <a:gd name="connsiteY1228" fmla="*/ 1541444 h 3690338"/>
                <a:gd name="connsiteX1229" fmla="*/ 4025933 w 4878487"/>
                <a:gd name="connsiteY1229" fmla="*/ 1539477 h 3690338"/>
                <a:gd name="connsiteX1230" fmla="*/ 4028687 w 4878487"/>
                <a:gd name="connsiteY1230" fmla="*/ 1541051 h 3690338"/>
                <a:gd name="connsiteX1231" fmla="*/ 4027507 w 4878487"/>
                <a:gd name="connsiteY1231" fmla="*/ 1538297 h 3690338"/>
                <a:gd name="connsiteX1232" fmla="*/ 4025146 w 4878487"/>
                <a:gd name="connsiteY1232" fmla="*/ 1537117 h 3690338"/>
                <a:gd name="connsiteX1233" fmla="*/ 4025146 w 4878487"/>
                <a:gd name="connsiteY1233" fmla="*/ 1536723 h 3690338"/>
                <a:gd name="connsiteX1234" fmla="*/ 4022392 w 4878487"/>
                <a:gd name="connsiteY1234" fmla="*/ 1534756 h 3690338"/>
                <a:gd name="connsiteX1235" fmla="*/ 4020819 w 4878487"/>
                <a:gd name="connsiteY1235" fmla="*/ 1534756 h 3690338"/>
                <a:gd name="connsiteX1236" fmla="*/ 4019638 w 4878487"/>
                <a:gd name="connsiteY1236" fmla="*/ 1534363 h 3690338"/>
                <a:gd name="connsiteX1237" fmla="*/ 4031441 w 4878487"/>
                <a:gd name="connsiteY1237" fmla="*/ 1532789 h 3690338"/>
                <a:gd name="connsiteX1238" fmla="*/ 4033801 w 4878487"/>
                <a:gd name="connsiteY1238" fmla="*/ 1530035 h 3690338"/>
                <a:gd name="connsiteX1239" fmla="*/ 4032622 w 4878487"/>
                <a:gd name="connsiteY1239" fmla="*/ 1527281 h 3690338"/>
                <a:gd name="connsiteX1240" fmla="*/ 4031047 w 4878487"/>
                <a:gd name="connsiteY1240" fmla="*/ 1524527 h 3690338"/>
                <a:gd name="connsiteX1241" fmla="*/ 4031047 w 4878487"/>
                <a:gd name="connsiteY1241" fmla="*/ 1521380 h 3690338"/>
                <a:gd name="connsiteX1242" fmla="*/ 4031441 w 4878487"/>
                <a:gd name="connsiteY1242" fmla="*/ 1518626 h 3690338"/>
                <a:gd name="connsiteX1243" fmla="*/ 4028294 w 4878487"/>
                <a:gd name="connsiteY1243" fmla="*/ 1517052 h 3690338"/>
                <a:gd name="connsiteX1244" fmla="*/ 4025540 w 4878487"/>
                <a:gd name="connsiteY1244" fmla="*/ 1518626 h 3690338"/>
                <a:gd name="connsiteX1245" fmla="*/ 4027113 w 4878487"/>
                <a:gd name="connsiteY1245" fmla="*/ 1521773 h 3690338"/>
                <a:gd name="connsiteX1246" fmla="*/ 4024359 w 4878487"/>
                <a:gd name="connsiteY1246" fmla="*/ 1520199 h 3690338"/>
                <a:gd name="connsiteX1247" fmla="*/ 4021606 w 4878487"/>
                <a:gd name="connsiteY1247" fmla="*/ 1521773 h 3690338"/>
                <a:gd name="connsiteX1248" fmla="*/ 4019638 w 4878487"/>
                <a:gd name="connsiteY1248" fmla="*/ 1523740 h 3690338"/>
                <a:gd name="connsiteX1249" fmla="*/ 4016885 w 4878487"/>
                <a:gd name="connsiteY1249" fmla="*/ 1521773 h 3690338"/>
                <a:gd name="connsiteX1250" fmla="*/ 4021212 w 4878487"/>
                <a:gd name="connsiteY1250" fmla="*/ 1519806 h 3690338"/>
                <a:gd name="connsiteX1251" fmla="*/ 4022392 w 4878487"/>
                <a:gd name="connsiteY1251" fmla="*/ 1519806 h 3690338"/>
                <a:gd name="connsiteX1252" fmla="*/ 4023966 w 4878487"/>
                <a:gd name="connsiteY1252" fmla="*/ 1518626 h 3690338"/>
                <a:gd name="connsiteX1253" fmla="*/ 4029474 w 4878487"/>
                <a:gd name="connsiteY1253" fmla="*/ 1510364 h 3690338"/>
                <a:gd name="connsiteX1254" fmla="*/ 4032228 w 4878487"/>
                <a:gd name="connsiteY1254" fmla="*/ 1508790 h 3690338"/>
                <a:gd name="connsiteX1255" fmla="*/ 4029474 w 4878487"/>
                <a:gd name="connsiteY1255" fmla="*/ 1508397 h 3690338"/>
                <a:gd name="connsiteX1256" fmla="*/ 4026326 w 4878487"/>
                <a:gd name="connsiteY1256" fmla="*/ 1508003 h 3690338"/>
                <a:gd name="connsiteX1257" fmla="*/ 4023573 w 4878487"/>
                <a:gd name="connsiteY1257" fmla="*/ 1506823 h 3690338"/>
                <a:gd name="connsiteX1258" fmla="*/ 4020819 w 4878487"/>
                <a:gd name="connsiteY1258" fmla="*/ 1505643 h 3690338"/>
                <a:gd name="connsiteX1259" fmla="*/ 4018852 w 4878487"/>
                <a:gd name="connsiteY1259" fmla="*/ 1505249 h 3690338"/>
                <a:gd name="connsiteX1260" fmla="*/ 4017277 w 4878487"/>
                <a:gd name="connsiteY1260" fmla="*/ 1504069 h 3690338"/>
                <a:gd name="connsiteX1261" fmla="*/ 4016885 w 4878487"/>
                <a:gd name="connsiteY1261" fmla="*/ 1503282 h 3690338"/>
                <a:gd name="connsiteX1262" fmla="*/ 4011376 w 4878487"/>
                <a:gd name="connsiteY1262" fmla="*/ 1497774 h 3690338"/>
                <a:gd name="connsiteX1263" fmla="*/ 4008622 w 4878487"/>
                <a:gd name="connsiteY1263" fmla="*/ 1495807 h 3690338"/>
                <a:gd name="connsiteX1264" fmla="*/ 4005475 w 4878487"/>
                <a:gd name="connsiteY1264" fmla="*/ 1494233 h 3690338"/>
                <a:gd name="connsiteX1265" fmla="*/ 4002721 w 4878487"/>
                <a:gd name="connsiteY1265" fmla="*/ 1493840 h 3690338"/>
                <a:gd name="connsiteX1266" fmla="*/ 3999967 w 4878487"/>
                <a:gd name="connsiteY1266" fmla="*/ 1495020 h 3690338"/>
                <a:gd name="connsiteX1267" fmla="*/ 3997213 w 4878487"/>
                <a:gd name="connsiteY1267" fmla="*/ 1496987 h 3690338"/>
                <a:gd name="connsiteX1268" fmla="*/ 3995639 w 4878487"/>
                <a:gd name="connsiteY1268" fmla="*/ 1498561 h 3690338"/>
                <a:gd name="connsiteX1269" fmla="*/ 3992491 w 4878487"/>
                <a:gd name="connsiteY1269" fmla="*/ 1500135 h 3690338"/>
                <a:gd name="connsiteX1270" fmla="*/ 3989345 w 4878487"/>
                <a:gd name="connsiteY1270" fmla="*/ 1500135 h 3690338"/>
                <a:gd name="connsiteX1271" fmla="*/ 3992491 w 4878487"/>
                <a:gd name="connsiteY1271" fmla="*/ 1501315 h 3690338"/>
                <a:gd name="connsiteX1272" fmla="*/ 3993279 w 4878487"/>
                <a:gd name="connsiteY1272" fmla="*/ 1502102 h 3690338"/>
                <a:gd name="connsiteX1273" fmla="*/ 3988557 w 4878487"/>
                <a:gd name="connsiteY1273" fmla="*/ 1499741 h 3690338"/>
                <a:gd name="connsiteX1274" fmla="*/ 3987770 w 4878487"/>
                <a:gd name="connsiteY1274" fmla="*/ 1496987 h 3690338"/>
                <a:gd name="connsiteX1275" fmla="*/ 3986197 w 4878487"/>
                <a:gd name="connsiteY1275" fmla="*/ 1493840 h 3690338"/>
                <a:gd name="connsiteX1276" fmla="*/ 3983836 w 4878487"/>
                <a:gd name="connsiteY1276" fmla="*/ 1492266 h 3690338"/>
                <a:gd name="connsiteX1277" fmla="*/ 3989345 w 4878487"/>
                <a:gd name="connsiteY1277" fmla="*/ 1492266 h 3690338"/>
                <a:gd name="connsiteX1278" fmla="*/ 3990131 w 4878487"/>
                <a:gd name="connsiteY1278" fmla="*/ 1492659 h 3690338"/>
                <a:gd name="connsiteX1279" fmla="*/ 3991705 w 4878487"/>
                <a:gd name="connsiteY1279" fmla="*/ 1492266 h 3690338"/>
                <a:gd name="connsiteX1280" fmla="*/ 4000754 w 4878487"/>
                <a:gd name="connsiteY1280" fmla="*/ 1480857 h 3690338"/>
                <a:gd name="connsiteX1281" fmla="*/ 4003508 w 4878487"/>
                <a:gd name="connsiteY1281" fmla="*/ 1478103 h 3690338"/>
                <a:gd name="connsiteX1282" fmla="*/ 4006261 w 4878487"/>
                <a:gd name="connsiteY1282" fmla="*/ 1476136 h 3690338"/>
                <a:gd name="connsiteX1283" fmla="*/ 4009016 w 4878487"/>
                <a:gd name="connsiteY1283" fmla="*/ 1475349 h 3690338"/>
                <a:gd name="connsiteX1284" fmla="*/ 4012163 w 4878487"/>
                <a:gd name="connsiteY1284" fmla="*/ 1474955 h 3690338"/>
                <a:gd name="connsiteX1285" fmla="*/ 4015310 w 4878487"/>
                <a:gd name="connsiteY1285" fmla="*/ 1475349 h 3690338"/>
                <a:gd name="connsiteX1286" fmla="*/ 4015704 w 4878487"/>
                <a:gd name="connsiteY1286" fmla="*/ 1472595 h 3690338"/>
                <a:gd name="connsiteX1287" fmla="*/ 4014130 w 4878487"/>
                <a:gd name="connsiteY1287" fmla="*/ 1469841 h 3690338"/>
                <a:gd name="connsiteX1288" fmla="*/ 4011770 w 4878487"/>
                <a:gd name="connsiteY1288" fmla="*/ 1466693 h 3690338"/>
                <a:gd name="connsiteX1289" fmla="*/ 4009409 w 4878487"/>
                <a:gd name="connsiteY1289" fmla="*/ 1463939 h 3690338"/>
                <a:gd name="connsiteX1290" fmla="*/ 4007049 w 4878487"/>
                <a:gd name="connsiteY1290" fmla="*/ 1461185 h 3690338"/>
                <a:gd name="connsiteX1291" fmla="*/ 4004294 w 4878487"/>
                <a:gd name="connsiteY1291" fmla="*/ 1459218 h 3690338"/>
                <a:gd name="connsiteX1292" fmla="*/ 4001148 w 4878487"/>
                <a:gd name="connsiteY1292" fmla="*/ 1458431 h 3690338"/>
                <a:gd name="connsiteX1293" fmla="*/ 4000360 w 4878487"/>
                <a:gd name="connsiteY1293" fmla="*/ 1458038 h 3690338"/>
                <a:gd name="connsiteX1294" fmla="*/ 3997213 w 4878487"/>
                <a:gd name="connsiteY1294" fmla="*/ 1455677 h 3690338"/>
                <a:gd name="connsiteX1295" fmla="*/ 3994459 w 4878487"/>
                <a:gd name="connsiteY1295" fmla="*/ 1454104 h 3690338"/>
                <a:gd name="connsiteX1296" fmla="*/ 3994066 w 4878487"/>
                <a:gd name="connsiteY1296" fmla="*/ 1453710 h 3690338"/>
                <a:gd name="connsiteX1297" fmla="*/ 3991312 w 4878487"/>
                <a:gd name="connsiteY1297" fmla="*/ 1450956 h 3690338"/>
                <a:gd name="connsiteX1298" fmla="*/ 3988557 w 4878487"/>
                <a:gd name="connsiteY1298" fmla="*/ 1448596 h 3690338"/>
                <a:gd name="connsiteX1299" fmla="*/ 3985803 w 4878487"/>
                <a:gd name="connsiteY1299" fmla="*/ 1447022 h 3690338"/>
                <a:gd name="connsiteX1300" fmla="*/ 3985017 w 4878487"/>
                <a:gd name="connsiteY1300" fmla="*/ 1446629 h 3690338"/>
                <a:gd name="connsiteX1301" fmla="*/ 3982263 w 4878487"/>
                <a:gd name="connsiteY1301" fmla="*/ 1445448 h 3690338"/>
                <a:gd name="connsiteX1302" fmla="*/ 3981869 w 4878487"/>
                <a:gd name="connsiteY1302" fmla="*/ 1445448 h 3690338"/>
                <a:gd name="connsiteX1303" fmla="*/ 3974394 w 4878487"/>
                <a:gd name="connsiteY1303" fmla="*/ 1442694 h 3690338"/>
                <a:gd name="connsiteX1304" fmla="*/ 3974394 w 4878487"/>
                <a:gd name="connsiteY1304" fmla="*/ 1440334 h 3690338"/>
                <a:gd name="connsiteX1305" fmla="*/ 3972033 w 4878487"/>
                <a:gd name="connsiteY1305" fmla="*/ 1437580 h 3690338"/>
                <a:gd name="connsiteX1306" fmla="*/ 3969280 w 4878487"/>
                <a:gd name="connsiteY1306" fmla="*/ 1437186 h 3690338"/>
                <a:gd name="connsiteX1307" fmla="*/ 3966132 w 4878487"/>
                <a:gd name="connsiteY1307" fmla="*/ 1436793 h 3690338"/>
                <a:gd name="connsiteX1308" fmla="*/ 3963378 w 4878487"/>
                <a:gd name="connsiteY1308" fmla="*/ 1436400 h 3690338"/>
                <a:gd name="connsiteX1309" fmla="*/ 3962198 w 4878487"/>
                <a:gd name="connsiteY1309" fmla="*/ 1438760 h 3690338"/>
                <a:gd name="connsiteX1310" fmla="*/ 3959050 w 4878487"/>
                <a:gd name="connsiteY1310" fmla="*/ 1440334 h 3690338"/>
                <a:gd name="connsiteX1311" fmla="*/ 3958263 w 4878487"/>
                <a:gd name="connsiteY1311" fmla="*/ 1440727 h 3690338"/>
                <a:gd name="connsiteX1312" fmla="*/ 3951575 w 4878487"/>
                <a:gd name="connsiteY1312" fmla="*/ 1439153 h 3690338"/>
                <a:gd name="connsiteX1313" fmla="*/ 3951575 w 4878487"/>
                <a:gd name="connsiteY1313" fmla="*/ 1439547 h 3690338"/>
                <a:gd name="connsiteX1314" fmla="*/ 3946461 w 4878487"/>
                <a:gd name="connsiteY1314" fmla="*/ 1435613 h 3690338"/>
                <a:gd name="connsiteX1315" fmla="*/ 3943707 w 4878487"/>
                <a:gd name="connsiteY1315" fmla="*/ 1434039 h 3690338"/>
                <a:gd name="connsiteX1316" fmla="*/ 3943707 w 4878487"/>
                <a:gd name="connsiteY1316" fmla="*/ 1433646 h 3690338"/>
                <a:gd name="connsiteX1317" fmla="*/ 3946855 w 4878487"/>
                <a:gd name="connsiteY1317" fmla="*/ 1434432 h 3690338"/>
                <a:gd name="connsiteX1318" fmla="*/ 3946855 w 4878487"/>
                <a:gd name="connsiteY1318" fmla="*/ 1434432 h 3690338"/>
                <a:gd name="connsiteX1319" fmla="*/ 3951182 w 4878487"/>
                <a:gd name="connsiteY1319" fmla="*/ 1437973 h 3690338"/>
                <a:gd name="connsiteX1320" fmla="*/ 3954329 w 4878487"/>
                <a:gd name="connsiteY1320" fmla="*/ 1439547 h 3690338"/>
                <a:gd name="connsiteX1321" fmla="*/ 3957083 w 4878487"/>
                <a:gd name="connsiteY1321" fmla="*/ 1439940 h 3690338"/>
                <a:gd name="connsiteX1322" fmla="*/ 3958657 w 4878487"/>
                <a:gd name="connsiteY1322" fmla="*/ 1439940 h 3690338"/>
                <a:gd name="connsiteX1323" fmla="*/ 3964165 w 4878487"/>
                <a:gd name="connsiteY1323" fmla="*/ 1434432 h 3690338"/>
                <a:gd name="connsiteX1324" fmla="*/ 3972427 w 4878487"/>
                <a:gd name="connsiteY1324" fmla="*/ 1436006 h 3690338"/>
                <a:gd name="connsiteX1325" fmla="*/ 3975181 w 4878487"/>
                <a:gd name="connsiteY1325" fmla="*/ 1437580 h 3690338"/>
                <a:gd name="connsiteX1326" fmla="*/ 3977935 w 4878487"/>
                <a:gd name="connsiteY1326" fmla="*/ 1440334 h 3690338"/>
                <a:gd name="connsiteX1327" fmla="*/ 3979902 w 4878487"/>
                <a:gd name="connsiteY1327" fmla="*/ 1443088 h 3690338"/>
                <a:gd name="connsiteX1328" fmla="*/ 3982656 w 4878487"/>
                <a:gd name="connsiteY1328" fmla="*/ 1443088 h 3690338"/>
                <a:gd name="connsiteX1329" fmla="*/ 3986197 w 4878487"/>
                <a:gd name="connsiteY1329" fmla="*/ 1443481 h 3690338"/>
                <a:gd name="connsiteX1330" fmla="*/ 3989345 w 4878487"/>
                <a:gd name="connsiteY1330" fmla="*/ 1441908 h 3690338"/>
                <a:gd name="connsiteX1331" fmla="*/ 3992099 w 4878487"/>
                <a:gd name="connsiteY1331" fmla="*/ 1442301 h 3690338"/>
                <a:gd name="connsiteX1332" fmla="*/ 3995246 w 4878487"/>
                <a:gd name="connsiteY1332" fmla="*/ 1443088 h 3690338"/>
                <a:gd name="connsiteX1333" fmla="*/ 3998000 w 4878487"/>
                <a:gd name="connsiteY1333" fmla="*/ 1444662 h 3690338"/>
                <a:gd name="connsiteX1334" fmla="*/ 4001148 w 4878487"/>
                <a:gd name="connsiteY1334" fmla="*/ 1446235 h 3690338"/>
                <a:gd name="connsiteX1335" fmla="*/ 4004294 w 4878487"/>
                <a:gd name="connsiteY1335" fmla="*/ 1447415 h 3690338"/>
                <a:gd name="connsiteX1336" fmla="*/ 4007049 w 4878487"/>
                <a:gd name="connsiteY1336" fmla="*/ 1448202 h 3690338"/>
                <a:gd name="connsiteX1337" fmla="*/ 4007836 w 4878487"/>
                <a:gd name="connsiteY1337" fmla="*/ 1445448 h 3690338"/>
                <a:gd name="connsiteX1338" fmla="*/ 4006261 w 4878487"/>
                <a:gd name="connsiteY1338" fmla="*/ 1442694 h 3690338"/>
                <a:gd name="connsiteX1339" fmla="*/ 4003508 w 4878487"/>
                <a:gd name="connsiteY1339" fmla="*/ 1439547 h 3690338"/>
                <a:gd name="connsiteX1340" fmla="*/ 4000754 w 4878487"/>
                <a:gd name="connsiteY1340" fmla="*/ 1437186 h 3690338"/>
                <a:gd name="connsiteX1341" fmla="*/ 3999573 w 4878487"/>
                <a:gd name="connsiteY1341" fmla="*/ 1436793 h 3690338"/>
                <a:gd name="connsiteX1342" fmla="*/ 3997213 w 4878487"/>
                <a:gd name="connsiteY1342" fmla="*/ 1435613 h 3690338"/>
                <a:gd name="connsiteX1343" fmla="*/ 3988557 w 4878487"/>
                <a:gd name="connsiteY1343" fmla="*/ 1429318 h 3690338"/>
                <a:gd name="connsiteX1344" fmla="*/ 3988164 w 4878487"/>
                <a:gd name="connsiteY1344" fmla="*/ 1428138 h 3690338"/>
                <a:gd name="connsiteX1345" fmla="*/ 3987378 w 4878487"/>
                <a:gd name="connsiteY1345" fmla="*/ 1424990 h 3690338"/>
                <a:gd name="connsiteX1346" fmla="*/ 3984230 w 4878487"/>
                <a:gd name="connsiteY1346" fmla="*/ 1423023 h 3690338"/>
                <a:gd name="connsiteX1347" fmla="*/ 3981476 w 4878487"/>
                <a:gd name="connsiteY1347" fmla="*/ 1421843 h 3690338"/>
                <a:gd name="connsiteX1348" fmla="*/ 3978721 w 4878487"/>
                <a:gd name="connsiteY1348" fmla="*/ 1420663 h 3690338"/>
                <a:gd name="connsiteX1349" fmla="*/ 3975968 w 4878487"/>
                <a:gd name="connsiteY1349" fmla="*/ 1419089 h 3690338"/>
                <a:gd name="connsiteX1350" fmla="*/ 3974394 w 4878487"/>
                <a:gd name="connsiteY1350" fmla="*/ 1418695 h 3690338"/>
                <a:gd name="connsiteX1351" fmla="*/ 3969673 w 4878487"/>
                <a:gd name="connsiteY1351" fmla="*/ 1416728 h 3690338"/>
                <a:gd name="connsiteX1352" fmla="*/ 3966919 w 4878487"/>
                <a:gd name="connsiteY1352" fmla="*/ 1408466 h 3690338"/>
                <a:gd name="connsiteX1353" fmla="*/ 3966919 w 4878487"/>
                <a:gd name="connsiteY1353" fmla="*/ 1407679 h 3690338"/>
                <a:gd name="connsiteX1354" fmla="*/ 3965739 w 4878487"/>
                <a:gd name="connsiteY1354" fmla="*/ 1404925 h 3690338"/>
                <a:gd name="connsiteX1355" fmla="*/ 3965345 w 4878487"/>
                <a:gd name="connsiteY1355" fmla="*/ 1404532 h 3690338"/>
                <a:gd name="connsiteX1356" fmla="*/ 3957871 w 4878487"/>
                <a:gd name="connsiteY1356" fmla="*/ 1394696 h 3690338"/>
                <a:gd name="connsiteX1357" fmla="*/ 3957871 w 4878487"/>
                <a:gd name="connsiteY1357" fmla="*/ 1393909 h 3690338"/>
                <a:gd name="connsiteX1358" fmla="*/ 3957083 w 4878487"/>
                <a:gd name="connsiteY1358" fmla="*/ 1393516 h 3690338"/>
                <a:gd name="connsiteX1359" fmla="*/ 3938199 w 4878487"/>
                <a:gd name="connsiteY1359" fmla="*/ 1369517 h 3690338"/>
                <a:gd name="connsiteX1360" fmla="*/ 3935838 w 4878487"/>
                <a:gd name="connsiteY1360" fmla="*/ 1365583 h 3690338"/>
                <a:gd name="connsiteX1361" fmla="*/ 3933477 w 4878487"/>
                <a:gd name="connsiteY1361" fmla="*/ 1362829 h 3690338"/>
                <a:gd name="connsiteX1362" fmla="*/ 3931510 w 4878487"/>
                <a:gd name="connsiteY1362" fmla="*/ 1359681 h 3690338"/>
                <a:gd name="connsiteX1363" fmla="*/ 3928364 w 4878487"/>
                <a:gd name="connsiteY1363" fmla="*/ 1358108 h 3690338"/>
                <a:gd name="connsiteX1364" fmla="*/ 3925609 w 4878487"/>
                <a:gd name="connsiteY1364" fmla="*/ 1356534 h 3690338"/>
                <a:gd name="connsiteX1365" fmla="*/ 3922855 w 4878487"/>
                <a:gd name="connsiteY1365" fmla="*/ 1354960 h 3690338"/>
                <a:gd name="connsiteX1366" fmla="*/ 3922462 w 4878487"/>
                <a:gd name="connsiteY1366" fmla="*/ 1354567 h 3690338"/>
                <a:gd name="connsiteX1367" fmla="*/ 3919708 w 4878487"/>
                <a:gd name="connsiteY1367" fmla="*/ 1353387 h 3690338"/>
                <a:gd name="connsiteX1368" fmla="*/ 3917740 w 4878487"/>
                <a:gd name="connsiteY1368" fmla="*/ 1353387 h 3690338"/>
                <a:gd name="connsiteX1369" fmla="*/ 3915380 w 4878487"/>
                <a:gd name="connsiteY1369" fmla="*/ 1352600 h 3690338"/>
                <a:gd name="connsiteX1370" fmla="*/ 3912627 w 4878487"/>
                <a:gd name="connsiteY1370" fmla="*/ 1351026 h 3690338"/>
                <a:gd name="connsiteX1371" fmla="*/ 3909479 w 4878487"/>
                <a:gd name="connsiteY1371" fmla="*/ 1349846 h 3690338"/>
                <a:gd name="connsiteX1372" fmla="*/ 3906331 w 4878487"/>
                <a:gd name="connsiteY1372" fmla="*/ 1347879 h 3690338"/>
                <a:gd name="connsiteX1373" fmla="*/ 3903970 w 4878487"/>
                <a:gd name="connsiteY1373" fmla="*/ 1345125 h 3690338"/>
                <a:gd name="connsiteX1374" fmla="*/ 3901217 w 4878487"/>
                <a:gd name="connsiteY1374" fmla="*/ 1343551 h 3690338"/>
                <a:gd name="connsiteX1375" fmla="*/ 3898069 w 4878487"/>
                <a:gd name="connsiteY1375" fmla="*/ 1343551 h 3690338"/>
                <a:gd name="connsiteX1376" fmla="*/ 3896102 w 4878487"/>
                <a:gd name="connsiteY1376" fmla="*/ 1345125 h 3690338"/>
                <a:gd name="connsiteX1377" fmla="*/ 3894922 w 4878487"/>
                <a:gd name="connsiteY1377" fmla="*/ 1341977 h 3690338"/>
                <a:gd name="connsiteX1378" fmla="*/ 3894922 w 4878487"/>
                <a:gd name="connsiteY1378" fmla="*/ 1341977 h 3690338"/>
                <a:gd name="connsiteX1379" fmla="*/ 3892955 w 4878487"/>
                <a:gd name="connsiteY1379" fmla="*/ 1336863 h 3690338"/>
                <a:gd name="connsiteX1380" fmla="*/ 3892955 w 4878487"/>
                <a:gd name="connsiteY1380" fmla="*/ 1336469 h 3690338"/>
                <a:gd name="connsiteX1381" fmla="*/ 3892561 w 4878487"/>
                <a:gd name="connsiteY1381" fmla="*/ 1335289 h 3690338"/>
                <a:gd name="connsiteX1382" fmla="*/ 3894135 w 4878487"/>
                <a:gd name="connsiteY1382" fmla="*/ 1332928 h 3690338"/>
                <a:gd name="connsiteX1383" fmla="*/ 3895709 w 4878487"/>
                <a:gd name="connsiteY1383" fmla="*/ 1330174 h 3690338"/>
                <a:gd name="connsiteX1384" fmla="*/ 3895315 w 4878487"/>
                <a:gd name="connsiteY1384" fmla="*/ 1327814 h 3690338"/>
                <a:gd name="connsiteX1385" fmla="*/ 3895709 w 4878487"/>
                <a:gd name="connsiteY1385" fmla="*/ 1326240 h 3690338"/>
                <a:gd name="connsiteX1386" fmla="*/ 3896496 w 4878487"/>
                <a:gd name="connsiteY1386" fmla="*/ 1324667 h 3690338"/>
                <a:gd name="connsiteX1387" fmla="*/ 3898069 w 4878487"/>
                <a:gd name="connsiteY1387" fmla="*/ 1321912 h 3690338"/>
                <a:gd name="connsiteX1388" fmla="*/ 3898463 w 4878487"/>
                <a:gd name="connsiteY1388" fmla="*/ 1319158 h 3690338"/>
                <a:gd name="connsiteX1389" fmla="*/ 3898463 w 4878487"/>
                <a:gd name="connsiteY1389" fmla="*/ 1316011 h 3690338"/>
                <a:gd name="connsiteX1390" fmla="*/ 3901217 w 4878487"/>
                <a:gd name="connsiteY1390" fmla="*/ 1316405 h 3690338"/>
                <a:gd name="connsiteX1391" fmla="*/ 3903970 w 4878487"/>
                <a:gd name="connsiteY1391" fmla="*/ 1315224 h 3690338"/>
                <a:gd name="connsiteX1392" fmla="*/ 3904364 w 4878487"/>
                <a:gd name="connsiteY1392" fmla="*/ 1312470 h 3690338"/>
                <a:gd name="connsiteX1393" fmla="*/ 3906725 w 4878487"/>
                <a:gd name="connsiteY1393" fmla="*/ 1311290 h 3690338"/>
                <a:gd name="connsiteX1394" fmla="*/ 3908299 w 4878487"/>
                <a:gd name="connsiteY1394" fmla="*/ 1304208 h 3690338"/>
                <a:gd name="connsiteX1395" fmla="*/ 3911446 w 4878487"/>
                <a:gd name="connsiteY1395" fmla="*/ 1303028 h 3690338"/>
                <a:gd name="connsiteX1396" fmla="*/ 3908692 w 4878487"/>
                <a:gd name="connsiteY1396" fmla="*/ 1302635 h 3690338"/>
                <a:gd name="connsiteX1397" fmla="*/ 3907118 w 4878487"/>
                <a:gd name="connsiteY1397" fmla="*/ 1300274 h 3690338"/>
                <a:gd name="connsiteX1398" fmla="*/ 3903578 w 4878487"/>
                <a:gd name="connsiteY1398" fmla="*/ 1296733 h 3690338"/>
                <a:gd name="connsiteX1399" fmla="*/ 3903184 w 4878487"/>
                <a:gd name="connsiteY1399" fmla="*/ 1294373 h 3690338"/>
                <a:gd name="connsiteX1400" fmla="*/ 3906331 w 4878487"/>
                <a:gd name="connsiteY1400" fmla="*/ 1294373 h 3690338"/>
                <a:gd name="connsiteX1401" fmla="*/ 3909085 w 4878487"/>
                <a:gd name="connsiteY1401" fmla="*/ 1295946 h 3690338"/>
                <a:gd name="connsiteX1402" fmla="*/ 3907905 w 4878487"/>
                <a:gd name="connsiteY1402" fmla="*/ 1293192 h 3690338"/>
                <a:gd name="connsiteX1403" fmla="*/ 3907905 w 4878487"/>
                <a:gd name="connsiteY1403" fmla="*/ 1293192 h 3690338"/>
                <a:gd name="connsiteX1404" fmla="*/ 3910659 w 4878487"/>
                <a:gd name="connsiteY1404" fmla="*/ 1295553 h 3690338"/>
                <a:gd name="connsiteX1405" fmla="*/ 3910266 w 4878487"/>
                <a:gd name="connsiteY1405" fmla="*/ 1298307 h 3690338"/>
                <a:gd name="connsiteX1406" fmla="*/ 3913413 w 4878487"/>
                <a:gd name="connsiteY1406" fmla="*/ 1300274 h 3690338"/>
                <a:gd name="connsiteX1407" fmla="*/ 3916167 w 4878487"/>
                <a:gd name="connsiteY1407" fmla="*/ 1299094 h 3690338"/>
                <a:gd name="connsiteX1408" fmla="*/ 3918921 w 4878487"/>
                <a:gd name="connsiteY1408" fmla="*/ 1297913 h 3690338"/>
                <a:gd name="connsiteX1409" fmla="*/ 3919315 w 4878487"/>
                <a:gd name="connsiteY1409" fmla="*/ 1294766 h 3690338"/>
                <a:gd name="connsiteX1410" fmla="*/ 3917348 w 4878487"/>
                <a:gd name="connsiteY1410" fmla="*/ 1292012 h 3690338"/>
                <a:gd name="connsiteX1411" fmla="*/ 3916561 w 4878487"/>
                <a:gd name="connsiteY1411" fmla="*/ 1290832 h 3690338"/>
                <a:gd name="connsiteX1412" fmla="*/ 3916954 w 4878487"/>
                <a:gd name="connsiteY1412" fmla="*/ 1288078 h 3690338"/>
                <a:gd name="connsiteX1413" fmla="*/ 3919708 w 4878487"/>
                <a:gd name="connsiteY1413" fmla="*/ 1286504 h 3690338"/>
                <a:gd name="connsiteX1414" fmla="*/ 3922068 w 4878487"/>
                <a:gd name="connsiteY1414" fmla="*/ 1289258 h 3690338"/>
                <a:gd name="connsiteX1415" fmla="*/ 3923249 w 4878487"/>
                <a:gd name="connsiteY1415" fmla="*/ 1286111 h 3690338"/>
                <a:gd name="connsiteX1416" fmla="*/ 3922462 w 4878487"/>
                <a:gd name="connsiteY1416" fmla="*/ 1283357 h 3690338"/>
                <a:gd name="connsiteX1417" fmla="*/ 3919708 w 4878487"/>
                <a:gd name="connsiteY1417" fmla="*/ 1282176 h 3690338"/>
                <a:gd name="connsiteX1418" fmla="*/ 3916954 w 4878487"/>
                <a:gd name="connsiteY1418" fmla="*/ 1283750 h 3690338"/>
                <a:gd name="connsiteX1419" fmla="*/ 3916561 w 4878487"/>
                <a:gd name="connsiteY1419" fmla="*/ 1282176 h 3690338"/>
                <a:gd name="connsiteX1420" fmla="*/ 3917740 w 4878487"/>
                <a:gd name="connsiteY1420" fmla="*/ 1280209 h 3690338"/>
                <a:gd name="connsiteX1421" fmla="*/ 3922068 w 4878487"/>
                <a:gd name="connsiteY1421" fmla="*/ 1282570 h 3690338"/>
                <a:gd name="connsiteX1422" fmla="*/ 3925216 w 4878487"/>
                <a:gd name="connsiteY1422" fmla="*/ 1281783 h 3690338"/>
                <a:gd name="connsiteX1423" fmla="*/ 3927576 w 4878487"/>
                <a:gd name="connsiteY1423" fmla="*/ 1279423 h 3690338"/>
                <a:gd name="connsiteX1424" fmla="*/ 3929150 w 4878487"/>
                <a:gd name="connsiteY1424" fmla="*/ 1278636 h 3690338"/>
                <a:gd name="connsiteX1425" fmla="*/ 3931117 w 4878487"/>
                <a:gd name="connsiteY1425" fmla="*/ 1278242 h 3690338"/>
                <a:gd name="connsiteX1426" fmla="*/ 3933871 w 4878487"/>
                <a:gd name="connsiteY1426" fmla="*/ 1276668 h 3690338"/>
                <a:gd name="connsiteX1427" fmla="*/ 3934265 w 4878487"/>
                <a:gd name="connsiteY1427" fmla="*/ 1275488 h 3690338"/>
                <a:gd name="connsiteX1428" fmla="*/ 3936625 w 4878487"/>
                <a:gd name="connsiteY1428" fmla="*/ 1274308 h 3690338"/>
                <a:gd name="connsiteX1429" fmla="*/ 3935838 w 4878487"/>
                <a:gd name="connsiteY1429" fmla="*/ 1275882 h 3690338"/>
                <a:gd name="connsiteX1430" fmla="*/ 3938592 w 4878487"/>
                <a:gd name="connsiteY1430" fmla="*/ 1276275 h 3690338"/>
                <a:gd name="connsiteX1431" fmla="*/ 3939379 w 4878487"/>
                <a:gd name="connsiteY1431" fmla="*/ 1273521 h 3690338"/>
                <a:gd name="connsiteX1432" fmla="*/ 3940953 w 4878487"/>
                <a:gd name="connsiteY1432" fmla="*/ 1272341 h 3690338"/>
                <a:gd name="connsiteX1433" fmla="*/ 3943707 w 4878487"/>
                <a:gd name="connsiteY1433" fmla="*/ 1271161 h 3690338"/>
                <a:gd name="connsiteX1434" fmla="*/ 3948428 w 4878487"/>
                <a:gd name="connsiteY1434" fmla="*/ 1271554 h 3690338"/>
                <a:gd name="connsiteX1435" fmla="*/ 3950395 w 4878487"/>
                <a:gd name="connsiteY1435" fmla="*/ 1268406 h 3690338"/>
                <a:gd name="connsiteX1436" fmla="*/ 3950789 w 4878487"/>
                <a:gd name="connsiteY1436" fmla="*/ 1267226 h 3690338"/>
                <a:gd name="connsiteX1437" fmla="*/ 3952362 w 4878487"/>
                <a:gd name="connsiteY1437" fmla="*/ 1269980 h 3690338"/>
                <a:gd name="connsiteX1438" fmla="*/ 3953543 w 4878487"/>
                <a:gd name="connsiteY1438" fmla="*/ 1273128 h 3690338"/>
                <a:gd name="connsiteX1439" fmla="*/ 3956690 w 4878487"/>
                <a:gd name="connsiteY1439" fmla="*/ 1273521 h 3690338"/>
                <a:gd name="connsiteX1440" fmla="*/ 3959838 w 4878487"/>
                <a:gd name="connsiteY1440" fmla="*/ 1272734 h 3690338"/>
                <a:gd name="connsiteX1441" fmla="*/ 3961411 w 4878487"/>
                <a:gd name="connsiteY1441" fmla="*/ 1269980 h 3690338"/>
                <a:gd name="connsiteX1442" fmla="*/ 3961017 w 4878487"/>
                <a:gd name="connsiteY1442" fmla="*/ 1268013 h 3690338"/>
                <a:gd name="connsiteX1443" fmla="*/ 3957477 w 4878487"/>
                <a:gd name="connsiteY1443" fmla="*/ 1263685 h 3690338"/>
                <a:gd name="connsiteX1444" fmla="*/ 3959838 w 4878487"/>
                <a:gd name="connsiteY1444" fmla="*/ 1262899 h 3690338"/>
                <a:gd name="connsiteX1445" fmla="*/ 3959444 w 4878487"/>
                <a:gd name="connsiteY1445" fmla="*/ 1260145 h 3690338"/>
                <a:gd name="connsiteX1446" fmla="*/ 3956690 w 4878487"/>
                <a:gd name="connsiteY1446" fmla="*/ 1256997 h 3690338"/>
                <a:gd name="connsiteX1447" fmla="*/ 3959838 w 4878487"/>
                <a:gd name="connsiteY1447" fmla="*/ 1255423 h 3690338"/>
                <a:gd name="connsiteX1448" fmla="*/ 3957083 w 4878487"/>
                <a:gd name="connsiteY1448" fmla="*/ 1253850 h 3690338"/>
                <a:gd name="connsiteX1449" fmla="*/ 3954329 w 4878487"/>
                <a:gd name="connsiteY1449" fmla="*/ 1254243 h 3690338"/>
                <a:gd name="connsiteX1450" fmla="*/ 3951182 w 4878487"/>
                <a:gd name="connsiteY1450" fmla="*/ 1253850 h 3690338"/>
                <a:gd name="connsiteX1451" fmla="*/ 3948822 w 4878487"/>
                <a:gd name="connsiteY1451" fmla="*/ 1253850 h 3690338"/>
                <a:gd name="connsiteX1452" fmla="*/ 3946068 w 4878487"/>
                <a:gd name="connsiteY1452" fmla="*/ 1252669 h 3690338"/>
                <a:gd name="connsiteX1453" fmla="*/ 3942920 w 4878487"/>
                <a:gd name="connsiteY1453" fmla="*/ 1251489 h 3690338"/>
                <a:gd name="connsiteX1454" fmla="*/ 3940166 w 4878487"/>
                <a:gd name="connsiteY1454" fmla="*/ 1249916 h 3690338"/>
                <a:gd name="connsiteX1455" fmla="*/ 3939773 w 4878487"/>
                <a:gd name="connsiteY1455" fmla="*/ 1252669 h 3690338"/>
                <a:gd name="connsiteX1456" fmla="*/ 3939379 w 4878487"/>
                <a:gd name="connsiteY1456" fmla="*/ 1253456 h 3690338"/>
                <a:gd name="connsiteX1457" fmla="*/ 3938199 w 4878487"/>
                <a:gd name="connsiteY1457" fmla="*/ 1252276 h 3690338"/>
                <a:gd name="connsiteX1458" fmla="*/ 3921675 w 4878487"/>
                <a:gd name="connsiteY1458" fmla="*/ 1248342 h 3690338"/>
                <a:gd name="connsiteX1459" fmla="*/ 3920888 w 4878487"/>
                <a:gd name="connsiteY1459" fmla="*/ 1247161 h 3690338"/>
                <a:gd name="connsiteX1460" fmla="*/ 3919315 w 4878487"/>
                <a:gd name="connsiteY1460" fmla="*/ 1247555 h 3690338"/>
                <a:gd name="connsiteX1461" fmla="*/ 3913413 w 4878487"/>
                <a:gd name="connsiteY1461" fmla="*/ 1245981 h 3690338"/>
                <a:gd name="connsiteX1462" fmla="*/ 3912627 w 4878487"/>
                <a:gd name="connsiteY1462" fmla="*/ 1245194 h 3690338"/>
                <a:gd name="connsiteX1463" fmla="*/ 3909872 w 4878487"/>
                <a:gd name="connsiteY1463" fmla="*/ 1243621 h 3690338"/>
                <a:gd name="connsiteX1464" fmla="*/ 3907118 w 4878487"/>
                <a:gd name="connsiteY1464" fmla="*/ 1242047 h 3690338"/>
                <a:gd name="connsiteX1465" fmla="*/ 3903970 w 4878487"/>
                <a:gd name="connsiteY1465" fmla="*/ 1239686 h 3690338"/>
                <a:gd name="connsiteX1466" fmla="*/ 3901217 w 4878487"/>
                <a:gd name="connsiteY1466" fmla="*/ 1239686 h 3690338"/>
                <a:gd name="connsiteX1467" fmla="*/ 3898463 w 4878487"/>
                <a:gd name="connsiteY1467" fmla="*/ 1240473 h 3690338"/>
                <a:gd name="connsiteX1468" fmla="*/ 3896102 w 4878487"/>
                <a:gd name="connsiteY1468" fmla="*/ 1241654 h 3690338"/>
                <a:gd name="connsiteX1469" fmla="*/ 3893348 w 4878487"/>
                <a:gd name="connsiteY1469" fmla="*/ 1242440 h 3690338"/>
                <a:gd name="connsiteX1470" fmla="*/ 3890201 w 4878487"/>
                <a:gd name="connsiteY1470" fmla="*/ 1244407 h 3690338"/>
                <a:gd name="connsiteX1471" fmla="*/ 3887054 w 4878487"/>
                <a:gd name="connsiteY1471" fmla="*/ 1244407 h 3690338"/>
                <a:gd name="connsiteX1472" fmla="*/ 3890201 w 4878487"/>
                <a:gd name="connsiteY1472" fmla="*/ 1245194 h 3690338"/>
                <a:gd name="connsiteX1473" fmla="*/ 3889808 w 4878487"/>
                <a:gd name="connsiteY1473" fmla="*/ 1247948 h 3690338"/>
                <a:gd name="connsiteX1474" fmla="*/ 3889414 w 4878487"/>
                <a:gd name="connsiteY1474" fmla="*/ 1248342 h 3690338"/>
                <a:gd name="connsiteX1475" fmla="*/ 3887841 w 4878487"/>
                <a:gd name="connsiteY1475" fmla="*/ 1251096 h 3690338"/>
                <a:gd name="connsiteX1476" fmla="*/ 3884693 w 4878487"/>
                <a:gd name="connsiteY1476" fmla="*/ 1253063 h 3690338"/>
                <a:gd name="connsiteX1477" fmla="*/ 3881545 w 4878487"/>
                <a:gd name="connsiteY1477" fmla="*/ 1255030 h 3690338"/>
                <a:gd name="connsiteX1478" fmla="*/ 3882332 w 4878487"/>
                <a:gd name="connsiteY1478" fmla="*/ 1255817 h 3690338"/>
                <a:gd name="connsiteX1479" fmla="*/ 3876431 w 4878487"/>
                <a:gd name="connsiteY1479" fmla="*/ 1262505 h 3690338"/>
                <a:gd name="connsiteX1480" fmla="*/ 3856759 w 4878487"/>
                <a:gd name="connsiteY1480" fmla="*/ 1256997 h 3690338"/>
                <a:gd name="connsiteX1481" fmla="*/ 3854005 w 4878487"/>
                <a:gd name="connsiteY1481" fmla="*/ 1250309 h 3690338"/>
                <a:gd name="connsiteX1482" fmla="*/ 3853613 w 4878487"/>
                <a:gd name="connsiteY1482" fmla="*/ 1242440 h 3690338"/>
                <a:gd name="connsiteX1483" fmla="*/ 3854005 w 4878487"/>
                <a:gd name="connsiteY1483" fmla="*/ 1241260 h 3690338"/>
                <a:gd name="connsiteX1484" fmla="*/ 3853613 w 4878487"/>
                <a:gd name="connsiteY1484" fmla="*/ 1238506 h 3690338"/>
                <a:gd name="connsiteX1485" fmla="*/ 3850071 w 4878487"/>
                <a:gd name="connsiteY1485" fmla="*/ 1236146 h 3690338"/>
                <a:gd name="connsiteX1486" fmla="*/ 3846924 w 4878487"/>
                <a:gd name="connsiteY1486" fmla="*/ 1232605 h 3690338"/>
                <a:gd name="connsiteX1487" fmla="*/ 3845350 w 4878487"/>
                <a:gd name="connsiteY1487" fmla="*/ 1229851 h 3690338"/>
                <a:gd name="connsiteX1488" fmla="*/ 3842203 w 4878487"/>
                <a:gd name="connsiteY1488" fmla="*/ 1228277 h 3690338"/>
                <a:gd name="connsiteX1489" fmla="*/ 3836695 w 4878487"/>
                <a:gd name="connsiteY1489" fmla="*/ 1228277 h 3690338"/>
                <a:gd name="connsiteX1490" fmla="*/ 3823318 w 4878487"/>
                <a:gd name="connsiteY1490" fmla="*/ 1228670 h 3690338"/>
                <a:gd name="connsiteX1491" fmla="*/ 3819384 w 4878487"/>
                <a:gd name="connsiteY1491" fmla="*/ 1229064 h 3690338"/>
                <a:gd name="connsiteX1492" fmla="*/ 3816630 w 4878487"/>
                <a:gd name="connsiteY1492" fmla="*/ 1227097 h 3690338"/>
                <a:gd name="connsiteX1493" fmla="*/ 3813876 w 4878487"/>
                <a:gd name="connsiteY1493" fmla="*/ 1225523 h 3690338"/>
                <a:gd name="connsiteX1494" fmla="*/ 3811909 w 4878487"/>
                <a:gd name="connsiteY1494" fmla="*/ 1224736 h 3690338"/>
                <a:gd name="connsiteX1495" fmla="*/ 3799320 w 4878487"/>
                <a:gd name="connsiteY1495" fmla="*/ 1212933 h 3690338"/>
                <a:gd name="connsiteX1496" fmla="*/ 3797745 w 4878487"/>
                <a:gd name="connsiteY1496" fmla="*/ 1207819 h 3690338"/>
                <a:gd name="connsiteX1497" fmla="*/ 3797745 w 4878487"/>
                <a:gd name="connsiteY1497" fmla="*/ 1204278 h 3690338"/>
                <a:gd name="connsiteX1498" fmla="*/ 3798139 w 4878487"/>
                <a:gd name="connsiteY1498" fmla="*/ 1202311 h 3690338"/>
                <a:gd name="connsiteX1499" fmla="*/ 3797745 w 4878487"/>
                <a:gd name="connsiteY1499" fmla="*/ 1200737 h 3690338"/>
                <a:gd name="connsiteX1500" fmla="*/ 3803254 w 4878487"/>
                <a:gd name="connsiteY1500" fmla="*/ 1192869 h 3690338"/>
                <a:gd name="connsiteX1501" fmla="*/ 3806008 w 4878487"/>
                <a:gd name="connsiteY1501" fmla="*/ 1193262 h 3690338"/>
                <a:gd name="connsiteX1502" fmla="*/ 3809155 w 4878487"/>
                <a:gd name="connsiteY1502" fmla="*/ 1194836 h 3690338"/>
                <a:gd name="connsiteX1503" fmla="*/ 3811515 w 4878487"/>
                <a:gd name="connsiteY1503" fmla="*/ 1197983 h 3690338"/>
                <a:gd name="connsiteX1504" fmla="*/ 3814270 w 4878487"/>
                <a:gd name="connsiteY1504" fmla="*/ 1199163 h 3690338"/>
                <a:gd name="connsiteX1505" fmla="*/ 3817417 w 4878487"/>
                <a:gd name="connsiteY1505" fmla="*/ 1196803 h 3690338"/>
                <a:gd name="connsiteX1506" fmla="*/ 3820171 w 4878487"/>
                <a:gd name="connsiteY1506" fmla="*/ 1194049 h 3690338"/>
                <a:gd name="connsiteX1507" fmla="*/ 3825679 w 4878487"/>
                <a:gd name="connsiteY1507" fmla="*/ 1195229 h 3690338"/>
                <a:gd name="connsiteX1508" fmla="*/ 3828433 w 4878487"/>
                <a:gd name="connsiteY1508" fmla="*/ 1194442 h 3690338"/>
                <a:gd name="connsiteX1509" fmla="*/ 3831187 w 4878487"/>
                <a:gd name="connsiteY1509" fmla="*/ 1194049 h 3690338"/>
                <a:gd name="connsiteX1510" fmla="*/ 3831974 w 4878487"/>
                <a:gd name="connsiteY1510" fmla="*/ 1190902 h 3690338"/>
                <a:gd name="connsiteX1511" fmla="*/ 3833548 w 4878487"/>
                <a:gd name="connsiteY1511" fmla="*/ 1188148 h 3690338"/>
                <a:gd name="connsiteX1512" fmla="*/ 3834728 w 4878487"/>
                <a:gd name="connsiteY1512" fmla="*/ 1186967 h 3690338"/>
                <a:gd name="connsiteX1513" fmla="*/ 3842203 w 4878487"/>
                <a:gd name="connsiteY1513" fmla="*/ 1167296 h 3690338"/>
                <a:gd name="connsiteX1514" fmla="*/ 3842597 w 4878487"/>
                <a:gd name="connsiteY1514" fmla="*/ 1167296 h 3690338"/>
                <a:gd name="connsiteX1515" fmla="*/ 3843777 w 4878487"/>
                <a:gd name="connsiteY1515" fmla="*/ 1166903 h 3690338"/>
                <a:gd name="connsiteX1516" fmla="*/ 3845744 w 4878487"/>
                <a:gd name="connsiteY1516" fmla="*/ 1164935 h 3690338"/>
                <a:gd name="connsiteX1517" fmla="*/ 3847317 w 4878487"/>
                <a:gd name="connsiteY1517" fmla="*/ 1164149 h 3690338"/>
                <a:gd name="connsiteX1518" fmla="*/ 3850071 w 4878487"/>
                <a:gd name="connsiteY1518" fmla="*/ 1162575 h 3690338"/>
                <a:gd name="connsiteX1519" fmla="*/ 3852825 w 4878487"/>
                <a:gd name="connsiteY1519" fmla="*/ 1160608 h 3690338"/>
                <a:gd name="connsiteX1520" fmla="*/ 3855580 w 4878487"/>
                <a:gd name="connsiteY1520" fmla="*/ 1160214 h 3690338"/>
                <a:gd name="connsiteX1521" fmla="*/ 3855186 w 4878487"/>
                <a:gd name="connsiteY1521" fmla="*/ 1157067 h 3690338"/>
                <a:gd name="connsiteX1522" fmla="*/ 3855973 w 4878487"/>
                <a:gd name="connsiteY1522" fmla="*/ 1155887 h 3690338"/>
                <a:gd name="connsiteX1523" fmla="*/ 3856366 w 4878487"/>
                <a:gd name="connsiteY1523" fmla="*/ 1153526 h 3690338"/>
                <a:gd name="connsiteX1524" fmla="*/ 3857940 w 4878487"/>
                <a:gd name="connsiteY1524" fmla="*/ 1148411 h 3690338"/>
                <a:gd name="connsiteX1525" fmla="*/ 3858726 w 4878487"/>
                <a:gd name="connsiteY1525" fmla="*/ 1147231 h 3690338"/>
                <a:gd name="connsiteX1526" fmla="*/ 3859120 w 4878487"/>
                <a:gd name="connsiteY1526" fmla="*/ 1144084 h 3690338"/>
                <a:gd name="connsiteX1527" fmla="*/ 3860694 w 4878487"/>
                <a:gd name="connsiteY1527" fmla="*/ 1144084 h 3690338"/>
                <a:gd name="connsiteX1528" fmla="*/ 3863841 w 4878487"/>
                <a:gd name="connsiteY1528" fmla="*/ 1142904 h 3690338"/>
                <a:gd name="connsiteX1529" fmla="*/ 3861087 w 4878487"/>
                <a:gd name="connsiteY1529" fmla="*/ 1140543 h 3690338"/>
                <a:gd name="connsiteX1530" fmla="*/ 3862661 w 4878487"/>
                <a:gd name="connsiteY1530" fmla="*/ 1137396 h 3690338"/>
                <a:gd name="connsiteX1531" fmla="*/ 3876431 w 4878487"/>
                <a:gd name="connsiteY1531" fmla="*/ 1138576 h 3690338"/>
                <a:gd name="connsiteX1532" fmla="*/ 3878792 w 4878487"/>
                <a:gd name="connsiteY1532" fmla="*/ 1138576 h 3690338"/>
                <a:gd name="connsiteX1533" fmla="*/ 3881939 w 4878487"/>
                <a:gd name="connsiteY1533" fmla="*/ 1136215 h 3690338"/>
                <a:gd name="connsiteX1534" fmla="*/ 3882332 w 4878487"/>
                <a:gd name="connsiteY1534" fmla="*/ 1133461 h 3690338"/>
                <a:gd name="connsiteX1535" fmla="*/ 3882726 w 4878487"/>
                <a:gd name="connsiteY1535" fmla="*/ 1134248 h 3690338"/>
                <a:gd name="connsiteX1536" fmla="*/ 3883512 w 4878487"/>
                <a:gd name="connsiteY1536" fmla="*/ 1137002 h 3690338"/>
                <a:gd name="connsiteX1537" fmla="*/ 3886266 w 4878487"/>
                <a:gd name="connsiteY1537" fmla="*/ 1139363 h 3690338"/>
                <a:gd name="connsiteX1538" fmla="*/ 3889414 w 4878487"/>
                <a:gd name="connsiteY1538" fmla="*/ 1140543 h 3690338"/>
                <a:gd name="connsiteX1539" fmla="*/ 3892168 w 4878487"/>
                <a:gd name="connsiteY1539" fmla="*/ 1141723 h 3690338"/>
                <a:gd name="connsiteX1540" fmla="*/ 3895709 w 4878487"/>
                <a:gd name="connsiteY1540" fmla="*/ 1143297 h 3690338"/>
                <a:gd name="connsiteX1541" fmla="*/ 3899250 w 4878487"/>
                <a:gd name="connsiteY1541" fmla="*/ 1162575 h 3690338"/>
                <a:gd name="connsiteX1542" fmla="*/ 3898857 w 4878487"/>
                <a:gd name="connsiteY1542" fmla="*/ 1163362 h 3690338"/>
                <a:gd name="connsiteX1543" fmla="*/ 3899250 w 4878487"/>
                <a:gd name="connsiteY1543" fmla="*/ 1166509 h 3690338"/>
                <a:gd name="connsiteX1544" fmla="*/ 3896496 w 4878487"/>
                <a:gd name="connsiteY1544" fmla="*/ 1169263 h 3690338"/>
                <a:gd name="connsiteX1545" fmla="*/ 3893742 w 4878487"/>
                <a:gd name="connsiteY1545" fmla="*/ 1170837 h 3690338"/>
                <a:gd name="connsiteX1546" fmla="*/ 3890988 w 4878487"/>
                <a:gd name="connsiteY1546" fmla="*/ 1173197 h 3690338"/>
                <a:gd name="connsiteX1547" fmla="*/ 3892561 w 4878487"/>
                <a:gd name="connsiteY1547" fmla="*/ 1175951 h 3690338"/>
                <a:gd name="connsiteX1548" fmla="*/ 3894529 w 4878487"/>
                <a:gd name="connsiteY1548" fmla="*/ 1179099 h 3690338"/>
                <a:gd name="connsiteX1549" fmla="*/ 3891381 w 4878487"/>
                <a:gd name="connsiteY1549" fmla="*/ 1180279 h 3690338"/>
                <a:gd name="connsiteX1550" fmla="*/ 3888627 w 4878487"/>
                <a:gd name="connsiteY1550" fmla="*/ 1183033 h 3690338"/>
                <a:gd name="connsiteX1551" fmla="*/ 3891381 w 4878487"/>
                <a:gd name="connsiteY1551" fmla="*/ 1183426 h 3690338"/>
                <a:gd name="connsiteX1552" fmla="*/ 3894135 w 4878487"/>
                <a:gd name="connsiteY1552" fmla="*/ 1183033 h 3690338"/>
                <a:gd name="connsiteX1553" fmla="*/ 3895709 w 4878487"/>
                <a:gd name="connsiteY1553" fmla="*/ 1184607 h 3690338"/>
                <a:gd name="connsiteX1554" fmla="*/ 3898069 w 4878487"/>
                <a:gd name="connsiteY1554" fmla="*/ 1187361 h 3690338"/>
                <a:gd name="connsiteX1555" fmla="*/ 3900824 w 4878487"/>
                <a:gd name="connsiteY1555" fmla="*/ 1187754 h 3690338"/>
                <a:gd name="connsiteX1556" fmla="*/ 3903578 w 4878487"/>
                <a:gd name="connsiteY1556" fmla="*/ 1186180 h 3690338"/>
                <a:gd name="connsiteX1557" fmla="*/ 3906331 w 4878487"/>
                <a:gd name="connsiteY1557" fmla="*/ 1186574 h 3690338"/>
                <a:gd name="connsiteX1558" fmla="*/ 3909479 w 4878487"/>
                <a:gd name="connsiteY1558" fmla="*/ 1185787 h 3690338"/>
                <a:gd name="connsiteX1559" fmla="*/ 3907905 w 4878487"/>
                <a:gd name="connsiteY1559" fmla="*/ 1187361 h 3690338"/>
                <a:gd name="connsiteX1560" fmla="*/ 3905151 w 4878487"/>
                <a:gd name="connsiteY1560" fmla="*/ 1188934 h 3690338"/>
                <a:gd name="connsiteX1561" fmla="*/ 3903578 w 4878487"/>
                <a:gd name="connsiteY1561" fmla="*/ 1191688 h 3690338"/>
                <a:gd name="connsiteX1562" fmla="*/ 3905545 w 4878487"/>
                <a:gd name="connsiteY1562" fmla="*/ 1194836 h 3690338"/>
                <a:gd name="connsiteX1563" fmla="*/ 3905151 w 4878487"/>
                <a:gd name="connsiteY1563" fmla="*/ 1197590 h 3690338"/>
                <a:gd name="connsiteX1564" fmla="*/ 3902397 w 4878487"/>
                <a:gd name="connsiteY1564" fmla="*/ 1199163 h 3690338"/>
                <a:gd name="connsiteX1565" fmla="*/ 3899643 w 4878487"/>
                <a:gd name="connsiteY1565" fmla="*/ 1197983 h 3690338"/>
                <a:gd name="connsiteX1566" fmla="*/ 3898463 w 4878487"/>
                <a:gd name="connsiteY1566" fmla="*/ 1200737 h 3690338"/>
                <a:gd name="connsiteX1567" fmla="*/ 3895315 w 4878487"/>
                <a:gd name="connsiteY1567" fmla="*/ 1203098 h 3690338"/>
                <a:gd name="connsiteX1568" fmla="*/ 3896102 w 4878487"/>
                <a:gd name="connsiteY1568" fmla="*/ 1205852 h 3690338"/>
                <a:gd name="connsiteX1569" fmla="*/ 3898069 w 4878487"/>
                <a:gd name="connsiteY1569" fmla="*/ 1208999 h 3690338"/>
                <a:gd name="connsiteX1570" fmla="*/ 3901217 w 4878487"/>
                <a:gd name="connsiteY1570" fmla="*/ 1207032 h 3690338"/>
                <a:gd name="connsiteX1571" fmla="*/ 3903970 w 4878487"/>
                <a:gd name="connsiteY1571" fmla="*/ 1206245 h 3690338"/>
                <a:gd name="connsiteX1572" fmla="*/ 3906725 w 4878487"/>
                <a:gd name="connsiteY1572" fmla="*/ 1205065 h 3690338"/>
                <a:gd name="connsiteX1573" fmla="*/ 3909479 w 4878487"/>
                <a:gd name="connsiteY1573" fmla="*/ 1202311 h 3690338"/>
                <a:gd name="connsiteX1574" fmla="*/ 3908299 w 4878487"/>
                <a:gd name="connsiteY1574" fmla="*/ 1199557 h 3690338"/>
                <a:gd name="connsiteX1575" fmla="*/ 3911446 w 4878487"/>
                <a:gd name="connsiteY1575" fmla="*/ 1199557 h 3690338"/>
                <a:gd name="connsiteX1576" fmla="*/ 3911839 w 4878487"/>
                <a:gd name="connsiteY1576" fmla="*/ 1199950 h 3690338"/>
                <a:gd name="connsiteX1577" fmla="*/ 3914594 w 4878487"/>
                <a:gd name="connsiteY1577" fmla="*/ 1201131 h 3690338"/>
                <a:gd name="connsiteX1578" fmla="*/ 3914594 w 4878487"/>
                <a:gd name="connsiteY1578" fmla="*/ 1194049 h 3690338"/>
                <a:gd name="connsiteX1579" fmla="*/ 3917740 w 4878487"/>
                <a:gd name="connsiteY1579" fmla="*/ 1193262 h 3690338"/>
                <a:gd name="connsiteX1580" fmla="*/ 3918134 w 4878487"/>
                <a:gd name="connsiteY1580" fmla="*/ 1190508 h 3690338"/>
                <a:gd name="connsiteX1581" fmla="*/ 3947641 w 4878487"/>
                <a:gd name="connsiteY1581" fmla="*/ 1168476 h 3690338"/>
                <a:gd name="connsiteX1582" fmla="*/ 3948035 w 4878487"/>
                <a:gd name="connsiteY1582" fmla="*/ 1168476 h 3690338"/>
                <a:gd name="connsiteX1583" fmla="*/ 3959838 w 4878487"/>
                <a:gd name="connsiteY1583" fmla="*/ 1167689 h 3690338"/>
                <a:gd name="connsiteX1584" fmla="*/ 3961017 w 4878487"/>
                <a:gd name="connsiteY1584" fmla="*/ 1168083 h 3690338"/>
                <a:gd name="connsiteX1585" fmla="*/ 3964165 w 4878487"/>
                <a:gd name="connsiteY1585" fmla="*/ 1167689 h 3690338"/>
                <a:gd name="connsiteX1586" fmla="*/ 3967706 w 4878487"/>
                <a:gd name="connsiteY1586" fmla="*/ 1162181 h 3690338"/>
                <a:gd name="connsiteX1587" fmla="*/ 3968886 w 4878487"/>
                <a:gd name="connsiteY1587" fmla="*/ 1160608 h 3690338"/>
                <a:gd name="connsiteX1588" fmla="*/ 3969673 w 4878487"/>
                <a:gd name="connsiteY1588" fmla="*/ 1161001 h 3690338"/>
                <a:gd name="connsiteX1589" fmla="*/ 3970460 w 4878487"/>
                <a:gd name="connsiteY1589" fmla="*/ 1161395 h 3690338"/>
                <a:gd name="connsiteX1590" fmla="*/ 3970066 w 4878487"/>
                <a:gd name="connsiteY1590" fmla="*/ 1161395 h 3690338"/>
                <a:gd name="connsiteX1591" fmla="*/ 3968099 w 4878487"/>
                <a:gd name="connsiteY1591" fmla="*/ 1161788 h 3690338"/>
                <a:gd name="connsiteX1592" fmla="*/ 3968493 w 4878487"/>
                <a:gd name="connsiteY1592" fmla="*/ 1162181 h 3690338"/>
                <a:gd name="connsiteX1593" fmla="*/ 3968886 w 4878487"/>
                <a:gd name="connsiteY1593" fmla="*/ 1165329 h 3690338"/>
                <a:gd name="connsiteX1594" fmla="*/ 3972033 w 4878487"/>
                <a:gd name="connsiteY1594" fmla="*/ 1167689 h 3690338"/>
                <a:gd name="connsiteX1595" fmla="*/ 3974787 w 4878487"/>
                <a:gd name="connsiteY1595" fmla="*/ 1168083 h 3690338"/>
                <a:gd name="connsiteX1596" fmla="*/ 3977935 w 4878487"/>
                <a:gd name="connsiteY1596" fmla="*/ 1170050 h 3690338"/>
                <a:gd name="connsiteX1597" fmla="*/ 3980689 w 4878487"/>
                <a:gd name="connsiteY1597" fmla="*/ 1172410 h 3690338"/>
                <a:gd name="connsiteX1598" fmla="*/ 3981869 w 4878487"/>
                <a:gd name="connsiteY1598" fmla="*/ 1175165 h 3690338"/>
                <a:gd name="connsiteX1599" fmla="*/ 3983443 w 4878487"/>
                <a:gd name="connsiteY1599" fmla="*/ 1172410 h 3690338"/>
                <a:gd name="connsiteX1600" fmla="*/ 3982263 w 4878487"/>
                <a:gd name="connsiteY1600" fmla="*/ 1169656 h 3690338"/>
                <a:gd name="connsiteX1601" fmla="*/ 3985017 w 4878487"/>
                <a:gd name="connsiteY1601" fmla="*/ 1171230 h 3690338"/>
                <a:gd name="connsiteX1602" fmla="*/ 3987770 w 4878487"/>
                <a:gd name="connsiteY1602" fmla="*/ 1173591 h 3690338"/>
                <a:gd name="connsiteX1603" fmla="*/ 3990524 w 4878487"/>
                <a:gd name="connsiteY1603" fmla="*/ 1173984 h 3690338"/>
                <a:gd name="connsiteX1604" fmla="*/ 3992491 w 4878487"/>
                <a:gd name="connsiteY1604" fmla="*/ 1175165 h 3690338"/>
                <a:gd name="connsiteX1605" fmla="*/ 3995246 w 4878487"/>
                <a:gd name="connsiteY1605" fmla="*/ 1176738 h 3690338"/>
                <a:gd name="connsiteX1606" fmla="*/ 3998393 w 4878487"/>
                <a:gd name="connsiteY1606" fmla="*/ 1176738 h 3690338"/>
                <a:gd name="connsiteX1607" fmla="*/ 4001148 w 4878487"/>
                <a:gd name="connsiteY1607" fmla="*/ 1177525 h 3690338"/>
                <a:gd name="connsiteX1608" fmla="*/ 4003901 w 4878487"/>
                <a:gd name="connsiteY1608" fmla="*/ 1176345 h 3690338"/>
                <a:gd name="connsiteX1609" fmla="*/ 4003508 w 4878487"/>
                <a:gd name="connsiteY1609" fmla="*/ 1179099 h 3690338"/>
                <a:gd name="connsiteX1610" fmla="*/ 4003901 w 4878487"/>
                <a:gd name="connsiteY1610" fmla="*/ 1181853 h 3690338"/>
                <a:gd name="connsiteX1611" fmla="*/ 4005475 w 4878487"/>
                <a:gd name="connsiteY1611" fmla="*/ 1182246 h 3690338"/>
                <a:gd name="connsiteX1612" fmla="*/ 4007049 w 4878487"/>
                <a:gd name="connsiteY1612" fmla="*/ 1188148 h 3690338"/>
                <a:gd name="connsiteX1613" fmla="*/ 4007049 w 4878487"/>
                <a:gd name="connsiteY1613" fmla="*/ 1188541 h 3690338"/>
                <a:gd name="connsiteX1614" fmla="*/ 4006655 w 4878487"/>
                <a:gd name="connsiteY1614" fmla="*/ 1191295 h 3690338"/>
                <a:gd name="connsiteX1615" fmla="*/ 4007049 w 4878487"/>
                <a:gd name="connsiteY1615" fmla="*/ 1194049 h 3690338"/>
                <a:gd name="connsiteX1616" fmla="*/ 4007049 w 4878487"/>
                <a:gd name="connsiteY1616" fmla="*/ 1196803 h 3690338"/>
                <a:gd name="connsiteX1617" fmla="*/ 4006655 w 4878487"/>
                <a:gd name="connsiteY1617" fmla="*/ 1199950 h 3690338"/>
                <a:gd name="connsiteX1618" fmla="*/ 4008228 w 4878487"/>
                <a:gd name="connsiteY1618" fmla="*/ 1202704 h 3690338"/>
                <a:gd name="connsiteX1619" fmla="*/ 4011376 w 4878487"/>
                <a:gd name="connsiteY1619" fmla="*/ 1203098 h 3690338"/>
                <a:gd name="connsiteX1620" fmla="*/ 4011770 w 4878487"/>
                <a:gd name="connsiteY1620" fmla="*/ 1204672 h 3690338"/>
                <a:gd name="connsiteX1621" fmla="*/ 4014524 w 4878487"/>
                <a:gd name="connsiteY1621" fmla="*/ 1204278 h 3690338"/>
                <a:gd name="connsiteX1622" fmla="*/ 4014917 w 4878487"/>
                <a:gd name="connsiteY1622" fmla="*/ 1204278 h 3690338"/>
                <a:gd name="connsiteX1623" fmla="*/ 4023179 w 4878487"/>
                <a:gd name="connsiteY1623" fmla="*/ 1207032 h 3690338"/>
                <a:gd name="connsiteX1624" fmla="*/ 4024359 w 4878487"/>
                <a:gd name="connsiteY1624" fmla="*/ 1208212 h 3690338"/>
                <a:gd name="connsiteX1625" fmla="*/ 4023573 w 4878487"/>
                <a:gd name="connsiteY1625" fmla="*/ 1208212 h 3690338"/>
                <a:gd name="connsiteX1626" fmla="*/ 4020819 w 4878487"/>
                <a:gd name="connsiteY1626" fmla="*/ 1206639 h 3690338"/>
                <a:gd name="connsiteX1627" fmla="*/ 4018064 w 4878487"/>
                <a:gd name="connsiteY1627" fmla="*/ 1205458 h 3690338"/>
                <a:gd name="connsiteX1628" fmla="*/ 4015310 w 4878487"/>
                <a:gd name="connsiteY1628" fmla="*/ 1206639 h 3690338"/>
                <a:gd name="connsiteX1629" fmla="*/ 4012557 w 4878487"/>
                <a:gd name="connsiteY1629" fmla="*/ 1207032 h 3690338"/>
                <a:gd name="connsiteX1630" fmla="*/ 4009409 w 4878487"/>
                <a:gd name="connsiteY1630" fmla="*/ 1207819 h 3690338"/>
                <a:gd name="connsiteX1631" fmla="*/ 4009409 w 4878487"/>
                <a:gd name="connsiteY1631" fmla="*/ 1208999 h 3690338"/>
                <a:gd name="connsiteX1632" fmla="*/ 4006261 w 4878487"/>
                <a:gd name="connsiteY1632" fmla="*/ 1208999 h 3690338"/>
                <a:gd name="connsiteX1633" fmla="*/ 4007442 w 4878487"/>
                <a:gd name="connsiteY1633" fmla="*/ 1210966 h 3690338"/>
                <a:gd name="connsiteX1634" fmla="*/ 4008228 w 4878487"/>
                <a:gd name="connsiteY1634" fmla="*/ 1212933 h 3690338"/>
                <a:gd name="connsiteX1635" fmla="*/ 4007442 w 4878487"/>
                <a:gd name="connsiteY1635" fmla="*/ 1214507 h 3690338"/>
                <a:gd name="connsiteX1636" fmla="*/ 4007049 w 4878487"/>
                <a:gd name="connsiteY1636" fmla="*/ 1217261 h 3690338"/>
                <a:gd name="connsiteX1637" fmla="*/ 4007836 w 4878487"/>
                <a:gd name="connsiteY1637" fmla="*/ 1220015 h 3690338"/>
                <a:gd name="connsiteX1638" fmla="*/ 4010589 w 4878487"/>
                <a:gd name="connsiteY1638" fmla="*/ 1222769 h 3690338"/>
                <a:gd name="connsiteX1639" fmla="*/ 4007442 w 4878487"/>
                <a:gd name="connsiteY1639" fmla="*/ 1222376 h 3690338"/>
                <a:gd name="connsiteX1640" fmla="*/ 4005868 w 4878487"/>
                <a:gd name="connsiteY1640" fmla="*/ 1225130 h 3690338"/>
                <a:gd name="connsiteX1641" fmla="*/ 4008622 w 4878487"/>
                <a:gd name="connsiteY1641" fmla="*/ 1225523 h 3690338"/>
                <a:gd name="connsiteX1642" fmla="*/ 4011376 w 4878487"/>
                <a:gd name="connsiteY1642" fmla="*/ 1225130 h 3690338"/>
                <a:gd name="connsiteX1643" fmla="*/ 4014130 w 4878487"/>
                <a:gd name="connsiteY1643" fmla="*/ 1226703 h 3690338"/>
                <a:gd name="connsiteX1644" fmla="*/ 4015704 w 4878487"/>
                <a:gd name="connsiteY1644" fmla="*/ 1230244 h 3690338"/>
                <a:gd name="connsiteX1645" fmla="*/ 4016097 w 4878487"/>
                <a:gd name="connsiteY1645" fmla="*/ 1231031 h 3690338"/>
                <a:gd name="connsiteX1646" fmla="*/ 4018852 w 4878487"/>
                <a:gd name="connsiteY1646" fmla="*/ 1232605 h 3690338"/>
                <a:gd name="connsiteX1647" fmla="*/ 4021606 w 4878487"/>
                <a:gd name="connsiteY1647" fmla="*/ 1232998 h 3690338"/>
                <a:gd name="connsiteX1648" fmla="*/ 4024359 w 4878487"/>
                <a:gd name="connsiteY1648" fmla="*/ 1231818 h 3690338"/>
                <a:gd name="connsiteX1649" fmla="*/ 4026720 w 4878487"/>
                <a:gd name="connsiteY1649" fmla="*/ 1234572 h 3690338"/>
                <a:gd name="connsiteX1650" fmla="*/ 4027507 w 4878487"/>
                <a:gd name="connsiteY1650" fmla="*/ 1231818 h 3690338"/>
                <a:gd name="connsiteX1651" fmla="*/ 4030261 w 4878487"/>
                <a:gd name="connsiteY1651" fmla="*/ 1231818 h 3690338"/>
                <a:gd name="connsiteX1652" fmla="*/ 4031441 w 4878487"/>
                <a:gd name="connsiteY1652" fmla="*/ 1234965 h 3690338"/>
                <a:gd name="connsiteX1653" fmla="*/ 4028687 w 4878487"/>
                <a:gd name="connsiteY1653" fmla="*/ 1236539 h 3690338"/>
                <a:gd name="connsiteX1654" fmla="*/ 4029474 w 4878487"/>
                <a:gd name="connsiteY1654" fmla="*/ 1239293 h 3690338"/>
                <a:gd name="connsiteX1655" fmla="*/ 4032228 w 4878487"/>
                <a:gd name="connsiteY1655" fmla="*/ 1236932 h 3690338"/>
                <a:gd name="connsiteX1656" fmla="*/ 4034589 w 4878487"/>
                <a:gd name="connsiteY1656" fmla="*/ 1234178 h 3690338"/>
                <a:gd name="connsiteX1657" fmla="*/ 4033408 w 4878487"/>
                <a:gd name="connsiteY1657" fmla="*/ 1231424 h 3690338"/>
                <a:gd name="connsiteX1658" fmla="*/ 4040096 w 4878487"/>
                <a:gd name="connsiteY1658" fmla="*/ 1231818 h 3690338"/>
                <a:gd name="connsiteX1659" fmla="*/ 4042064 w 4878487"/>
                <a:gd name="connsiteY1659" fmla="*/ 1233785 h 3690338"/>
                <a:gd name="connsiteX1660" fmla="*/ 4044817 w 4878487"/>
                <a:gd name="connsiteY1660" fmla="*/ 1233392 h 3690338"/>
                <a:gd name="connsiteX1661" fmla="*/ 4047571 w 4878487"/>
                <a:gd name="connsiteY1661" fmla="*/ 1235359 h 3690338"/>
                <a:gd name="connsiteX1662" fmla="*/ 4050719 w 4878487"/>
                <a:gd name="connsiteY1662" fmla="*/ 1237326 h 3690338"/>
                <a:gd name="connsiteX1663" fmla="*/ 4049538 w 4878487"/>
                <a:gd name="connsiteY1663" fmla="*/ 1234572 h 3690338"/>
                <a:gd name="connsiteX1664" fmla="*/ 4052293 w 4878487"/>
                <a:gd name="connsiteY1664" fmla="*/ 1234178 h 3690338"/>
                <a:gd name="connsiteX1665" fmla="*/ 4055047 w 4878487"/>
                <a:gd name="connsiteY1665" fmla="*/ 1232605 h 3690338"/>
                <a:gd name="connsiteX1666" fmla="*/ 4057801 w 4878487"/>
                <a:gd name="connsiteY1666" fmla="*/ 1234572 h 3690338"/>
                <a:gd name="connsiteX1667" fmla="*/ 4060948 w 4878487"/>
                <a:gd name="connsiteY1667" fmla="*/ 1235752 h 3690338"/>
                <a:gd name="connsiteX1668" fmla="*/ 4063702 w 4878487"/>
                <a:gd name="connsiteY1668" fmla="*/ 1234178 h 3690338"/>
                <a:gd name="connsiteX1669" fmla="*/ 4064096 w 4878487"/>
                <a:gd name="connsiteY1669" fmla="*/ 1234178 h 3690338"/>
                <a:gd name="connsiteX1670" fmla="*/ 4065275 w 4878487"/>
                <a:gd name="connsiteY1670" fmla="*/ 1236932 h 3690338"/>
                <a:gd name="connsiteX1671" fmla="*/ 4066850 w 4878487"/>
                <a:gd name="connsiteY1671" fmla="*/ 1239686 h 3690338"/>
                <a:gd name="connsiteX1672" fmla="*/ 4068817 w 4878487"/>
                <a:gd name="connsiteY1672" fmla="*/ 1240867 h 3690338"/>
                <a:gd name="connsiteX1673" fmla="*/ 4066063 w 4878487"/>
                <a:gd name="connsiteY1673" fmla="*/ 1239686 h 3690338"/>
                <a:gd name="connsiteX1674" fmla="*/ 4064882 w 4878487"/>
                <a:gd name="connsiteY1674" fmla="*/ 1236932 h 3690338"/>
                <a:gd name="connsiteX1675" fmla="*/ 4062129 w 4878487"/>
                <a:gd name="connsiteY1675" fmla="*/ 1236539 h 3690338"/>
                <a:gd name="connsiteX1676" fmla="*/ 4061735 w 4878487"/>
                <a:gd name="connsiteY1676" fmla="*/ 1237719 h 3690338"/>
                <a:gd name="connsiteX1677" fmla="*/ 4063702 w 4878487"/>
                <a:gd name="connsiteY1677" fmla="*/ 1240867 h 3690338"/>
                <a:gd name="connsiteX1678" fmla="*/ 4066456 w 4878487"/>
                <a:gd name="connsiteY1678" fmla="*/ 1242047 h 3690338"/>
                <a:gd name="connsiteX1679" fmla="*/ 4067242 w 4878487"/>
                <a:gd name="connsiteY1679" fmla="*/ 1242834 h 3690338"/>
                <a:gd name="connsiteX1680" fmla="*/ 4067636 w 4878487"/>
                <a:gd name="connsiteY1680" fmla="*/ 1245588 h 3690338"/>
                <a:gd name="connsiteX1681" fmla="*/ 4070390 w 4878487"/>
                <a:gd name="connsiteY1681" fmla="*/ 1248342 h 3690338"/>
                <a:gd name="connsiteX1682" fmla="*/ 4072357 w 4878487"/>
                <a:gd name="connsiteY1682" fmla="*/ 1248735 h 3690338"/>
                <a:gd name="connsiteX1683" fmla="*/ 4074324 w 4878487"/>
                <a:gd name="connsiteY1683" fmla="*/ 1254637 h 3690338"/>
                <a:gd name="connsiteX1684" fmla="*/ 4073538 w 4878487"/>
                <a:gd name="connsiteY1684" fmla="*/ 1256604 h 3690338"/>
                <a:gd name="connsiteX1685" fmla="*/ 4075111 w 4878487"/>
                <a:gd name="connsiteY1685" fmla="*/ 1257784 h 3690338"/>
                <a:gd name="connsiteX1686" fmla="*/ 4077866 w 4878487"/>
                <a:gd name="connsiteY1686" fmla="*/ 1259358 h 3690338"/>
                <a:gd name="connsiteX1687" fmla="*/ 4077866 w 4878487"/>
                <a:gd name="connsiteY1687" fmla="*/ 1260538 h 3690338"/>
                <a:gd name="connsiteX1688" fmla="*/ 4079045 w 4878487"/>
                <a:gd name="connsiteY1688" fmla="*/ 1260145 h 3690338"/>
                <a:gd name="connsiteX1689" fmla="*/ 4080620 w 4878487"/>
                <a:gd name="connsiteY1689" fmla="*/ 1260931 h 3690338"/>
                <a:gd name="connsiteX1690" fmla="*/ 4080620 w 4878487"/>
                <a:gd name="connsiteY1690" fmla="*/ 1262112 h 3690338"/>
                <a:gd name="connsiteX1691" fmla="*/ 4083373 w 4878487"/>
                <a:gd name="connsiteY1691" fmla="*/ 1264079 h 3690338"/>
                <a:gd name="connsiteX1692" fmla="*/ 4086127 w 4878487"/>
                <a:gd name="connsiteY1692" fmla="*/ 1264079 h 3690338"/>
                <a:gd name="connsiteX1693" fmla="*/ 4081800 w 4878487"/>
                <a:gd name="connsiteY1693" fmla="*/ 1266046 h 3690338"/>
                <a:gd name="connsiteX1694" fmla="*/ 4080226 w 4878487"/>
                <a:gd name="connsiteY1694" fmla="*/ 1264079 h 3690338"/>
                <a:gd name="connsiteX1695" fmla="*/ 4077472 w 4878487"/>
                <a:gd name="connsiteY1695" fmla="*/ 1262899 h 3690338"/>
                <a:gd name="connsiteX1696" fmla="*/ 4074718 w 4878487"/>
                <a:gd name="connsiteY1696" fmla="*/ 1262505 h 3690338"/>
                <a:gd name="connsiteX1697" fmla="*/ 4071571 w 4878487"/>
                <a:gd name="connsiteY1697" fmla="*/ 1260931 h 3690338"/>
                <a:gd name="connsiteX1698" fmla="*/ 4073538 w 4878487"/>
                <a:gd name="connsiteY1698" fmla="*/ 1263685 h 3690338"/>
                <a:gd name="connsiteX1699" fmla="*/ 4071964 w 4878487"/>
                <a:gd name="connsiteY1699" fmla="*/ 1266439 h 3690338"/>
                <a:gd name="connsiteX1700" fmla="*/ 4070390 w 4878487"/>
                <a:gd name="connsiteY1700" fmla="*/ 1263685 h 3690338"/>
                <a:gd name="connsiteX1701" fmla="*/ 4067242 w 4878487"/>
                <a:gd name="connsiteY1701" fmla="*/ 1263292 h 3690338"/>
                <a:gd name="connsiteX1702" fmla="*/ 4067636 w 4878487"/>
                <a:gd name="connsiteY1702" fmla="*/ 1266439 h 3690338"/>
                <a:gd name="connsiteX1703" fmla="*/ 4065669 w 4878487"/>
                <a:gd name="connsiteY1703" fmla="*/ 1263292 h 3690338"/>
                <a:gd name="connsiteX1704" fmla="*/ 4066850 w 4878487"/>
                <a:gd name="connsiteY1704" fmla="*/ 1266439 h 3690338"/>
                <a:gd name="connsiteX1705" fmla="*/ 4063702 w 4878487"/>
                <a:gd name="connsiteY1705" fmla="*/ 1267226 h 3690338"/>
                <a:gd name="connsiteX1706" fmla="*/ 4065275 w 4878487"/>
                <a:gd name="connsiteY1706" fmla="*/ 1270374 h 3690338"/>
                <a:gd name="connsiteX1707" fmla="*/ 4068030 w 4878487"/>
                <a:gd name="connsiteY1707" fmla="*/ 1271947 h 3690338"/>
                <a:gd name="connsiteX1708" fmla="*/ 4068423 w 4878487"/>
                <a:gd name="connsiteY1708" fmla="*/ 1271947 h 3690338"/>
                <a:gd name="connsiteX1709" fmla="*/ 4068817 w 4878487"/>
                <a:gd name="connsiteY1709" fmla="*/ 1272341 h 3690338"/>
                <a:gd name="connsiteX1710" fmla="*/ 4071177 w 4878487"/>
                <a:gd name="connsiteY1710" fmla="*/ 1274701 h 3690338"/>
                <a:gd name="connsiteX1711" fmla="*/ 4071177 w 4878487"/>
                <a:gd name="connsiteY1711" fmla="*/ 1273914 h 3690338"/>
                <a:gd name="connsiteX1712" fmla="*/ 4076685 w 4878487"/>
                <a:gd name="connsiteY1712" fmla="*/ 1277455 h 3690338"/>
                <a:gd name="connsiteX1713" fmla="*/ 4076685 w 4878487"/>
                <a:gd name="connsiteY1713" fmla="*/ 1277849 h 3690338"/>
                <a:gd name="connsiteX1714" fmla="*/ 4078259 w 4878487"/>
                <a:gd name="connsiteY1714" fmla="*/ 1280603 h 3690338"/>
                <a:gd name="connsiteX1715" fmla="*/ 4081012 w 4878487"/>
                <a:gd name="connsiteY1715" fmla="*/ 1280209 h 3690338"/>
                <a:gd name="connsiteX1716" fmla="*/ 4081012 w 4878487"/>
                <a:gd name="connsiteY1716" fmla="*/ 1280603 h 3690338"/>
                <a:gd name="connsiteX1717" fmla="*/ 4080620 w 4878487"/>
                <a:gd name="connsiteY1717" fmla="*/ 1280603 h 3690338"/>
                <a:gd name="connsiteX1718" fmla="*/ 4080226 w 4878487"/>
                <a:gd name="connsiteY1718" fmla="*/ 1283750 h 3690338"/>
                <a:gd name="connsiteX1719" fmla="*/ 4082979 w 4878487"/>
                <a:gd name="connsiteY1719" fmla="*/ 1286111 h 3690338"/>
                <a:gd name="connsiteX1720" fmla="*/ 4082979 w 4878487"/>
                <a:gd name="connsiteY1720" fmla="*/ 1292012 h 3690338"/>
                <a:gd name="connsiteX1721" fmla="*/ 4085734 w 4878487"/>
                <a:gd name="connsiteY1721" fmla="*/ 1292012 h 3690338"/>
                <a:gd name="connsiteX1722" fmla="*/ 4088488 w 4878487"/>
                <a:gd name="connsiteY1722" fmla="*/ 1294766 h 3690338"/>
                <a:gd name="connsiteX1723" fmla="*/ 4091636 w 4878487"/>
                <a:gd name="connsiteY1723" fmla="*/ 1295553 h 3690338"/>
                <a:gd name="connsiteX1724" fmla="*/ 4094389 w 4878487"/>
                <a:gd name="connsiteY1724" fmla="*/ 1293979 h 3690338"/>
                <a:gd name="connsiteX1725" fmla="*/ 4091242 w 4878487"/>
                <a:gd name="connsiteY1725" fmla="*/ 1296340 h 3690338"/>
                <a:gd name="connsiteX1726" fmla="*/ 4089669 w 4878487"/>
                <a:gd name="connsiteY1726" fmla="*/ 1299094 h 3690338"/>
                <a:gd name="connsiteX1727" fmla="*/ 4092422 w 4878487"/>
                <a:gd name="connsiteY1727" fmla="*/ 1299487 h 3690338"/>
                <a:gd name="connsiteX1728" fmla="*/ 4093603 w 4878487"/>
                <a:gd name="connsiteY1728" fmla="*/ 1299487 h 3690338"/>
                <a:gd name="connsiteX1729" fmla="*/ 4092815 w 4878487"/>
                <a:gd name="connsiteY1729" fmla="*/ 1305389 h 3690338"/>
                <a:gd name="connsiteX1730" fmla="*/ 4091242 w 4878487"/>
                <a:gd name="connsiteY1730" fmla="*/ 1306175 h 3690338"/>
                <a:gd name="connsiteX1731" fmla="*/ 4089669 w 4878487"/>
                <a:gd name="connsiteY1731" fmla="*/ 1308929 h 3690338"/>
                <a:gd name="connsiteX1732" fmla="*/ 4092028 w 4878487"/>
                <a:gd name="connsiteY1732" fmla="*/ 1309323 h 3690338"/>
                <a:gd name="connsiteX1733" fmla="*/ 4091242 w 4878487"/>
                <a:gd name="connsiteY1733" fmla="*/ 1314437 h 3690338"/>
                <a:gd name="connsiteX1734" fmla="*/ 4091242 w 4878487"/>
                <a:gd name="connsiteY1734" fmla="*/ 1314437 h 3690338"/>
                <a:gd name="connsiteX1735" fmla="*/ 4091242 w 4878487"/>
                <a:gd name="connsiteY1735" fmla="*/ 1314831 h 3690338"/>
                <a:gd name="connsiteX1736" fmla="*/ 4091636 w 4878487"/>
                <a:gd name="connsiteY1736" fmla="*/ 1319945 h 3690338"/>
                <a:gd name="connsiteX1737" fmla="*/ 4091242 w 4878487"/>
                <a:gd name="connsiteY1737" fmla="*/ 1321126 h 3690338"/>
                <a:gd name="connsiteX1738" fmla="*/ 4092028 w 4878487"/>
                <a:gd name="connsiteY1738" fmla="*/ 1322306 h 3690338"/>
                <a:gd name="connsiteX1739" fmla="*/ 4092422 w 4878487"/>
                <a:gd name="connsiteY1739" fmla="*/ 1325847 h 3690338"/>
                <a:gd name="connsiteX1740" fmla="*/ 4090061 w 4878487"/>
                <a:gd name="connsiteY1740" fmla="*/ 1325060 h 3690338"/>
                <a:gd name="connsiteX1741" fmla="*/ 4092422 w 4878487"/>
                <a:gd name="connsiteY1741" fmla="*/ 1327420 h 3690338"/>
                <a:gd name="connsiteX1742" fmla="*/ 4094782 w 4878487"/>
                <a:gd name="connsiteY1742" fmla="*/ 1330174 h 3690338"/>
                <a:gd name="connsiteX1743" fmla="*/ 4097537 w 4878487"/>
                <a:gd name="connsiteY1743" fmla="*/ 1332928 h 3690338"/>
                <a:gd name="connsiteX1744" fmla="*/ 4097930 w 4878487"/>
                <a:gd name="connsiteY1744" fmla="*/ 1336076 h 3690338"/>
                <a:gd name="connsiteX1745" fmla="*/ 4100291 w 4878487"/>
                <a:gd name="connsiteY1745" fmla="*/ 1336076 h 3690338"/>
                <a:gd name="connsiteX1746" fmla="*/ 4101864 w 4878487"/>
                <a:gd name="connsiteY1746" fmla="*/ 1337650 h 3690338"/>
                <a:gd name="connsiteX1747" fmla="*/ 4099110 w 4878487"/>
                <a:gd name="connsiteY1747" fmla="*/ 1337650 h 3690338"/>
                <a:gd name="connsiteX1748" fmla="*/ 4101864 w 4878487"/>
                <a:gd name="connsiteY1748" fmla="*/ 1338830 h 3690338"/>
                <a:gd name="connsiteX1749" fmla="*/ 4103045 w 4878487"/>
                <a:gd name="connsiteY1749" fmla="*/ 1339617 h 3690338"/>
                <a:gd name="connsiteX1750" fmla="*/ 4103438 w 4878487"/>
                <a:gd name="connsiteY1750" fmla="*/ 1340404 h 3690338"/>
                <a:gd name="connsiteX1751" fmla="*/ 4101471 w 4878487"/>
                <a:gd name="connsiteY1751" fmla="*/ 1340010 h 3690338"/>
                <a:gd name="connsiteX1752" fmla="*/ 4102651 w 4878487"/>
                <a:gd name="connsiteY1752" fmla="*/ 1342764 h 3690338"/>
                <a:gd name="connsiteX1753" fmla="*/ 4099897 w 4878487"/>
                <a:gd name="connsiteY1753" fmla="*/ 1341977 h 3690338"/>
                <a:gd name="connsiteX1754" fmla="*/ 4098324 w 4878487"/>
                <a:gd name="connsiteY1754" fmla="*/ 1339223 h 3690338"/>
                <a:gd name="connsiteX1755" fmla="*/ 4097537 w 4878487"/>
                <a:gd name="connsiteY1755" fmla="*/ 1341977 h 3690338"/>
                <a:gd name="connsiteX1756" fmla="*/ 4100291 w 4878487"/>
                <a:gd name="connsiteY1756" fmla="*/ 1343551 h 3690338"/>
                <a:gd name="connsiteX1757" fmla="*/ 4103438 w 4878487"/>
                <a:gd name="connsiteY1757" fmla="*/ 1345125 h 3690338"/>
                <a:gd name="connsiteX1758" fmla="*/ 4106585 w 4878487"/>
                <a:gd name="connsiteY1758" fmla="*/ 1345518 h 3690338"/>
                <a:gd name="connsiteX1759" fmla="*/ 4105798 w 4878487"/>
                <a:gd name="connsiteY1759" fmla="*/ 1348665 h 3690338"/>
                <a:gd name="connsiteX1760" fmla="*/ 4107373 w 4878487"/>
                <a:gd name="connsiteY1760" fmla="*/ 1351419 h 3690338"/>
                <a:gd name="connsiteX1761" fmla="*/ 4110126 w 4878487"/>
                <a:gd name="connsiteY1761" fmla="*/ 1352993 h 3690338"/>
                <a:gd name="connsiteX1762" fmla="*/ 4110913 w 4878487"/>
                <a:gd name="connsiteY1762" fmla="*/ 1350633 h 3690338"/>
                <a:gd name="connsiteX1763" fmla="*/ 4115634 w 4878487"/>
                <a:gd name="connsiteY1763" fmla="*/ 1347879 h 3690338"/>
                <a:gd name="connsiteX1764" fmla="*/ 4117995 w 4878487"/>
                <a:gd name="connsiteY1764" fmla="*/ 1349059 h 3690338"/>
                <a:gd name="connsiteX1765" fmla="*/ 4118388 w 4878487"/>
                <a:gd name="connsiteY1765" fmla="*/ 1346305 h 3690338"/>
                <a:gd name="connsiteX1766" fmla="*/ 4118388 w 4878487"/>
                <a:gd name="connsiteY1766" fmla="*/ 1346305 h 3690338"/>
                <a:gd name="connsiteX1767" fmla="*/ 4123896 w 4878487"/>
                <a:gd name="connsiteY1767" fmla="*/ 1343157 h 3690338"/>
                <a:gd name="connsiteX1768" fmla="*/ 4127044 w 4878487"/>
                <a:gd name="connsiteY1768" fmla="*/ 1345518 h 3690338"/>
                <a:gd name="connsiteX1769" fmla="*/ 4129798 w 4878487"/>
                <a:gd name="connsiteY1769" fmla="*/ 1347879 h 3690338"/>
                <a:gd name="connsiteX1770" fmla="*/ 4131765 w 4878487"/>
                <a:gd name="connsiteY1770" fmla="*/ 1345518 h 3690338"/>
                <a:gd name="connsiteX1771" fmla="*/ 4133338 w 4878487"/>
                <a:gd name="connsiteY1771" fmla="*/ 1343551 h 3690338"/>
                <a:gd name="connsiteX1772" fmla="*/ 4132552 w 4878487"/>
                <a:gd name="connsiteY1772" fmla="*/ 1341977 h 3690338"/>
                <a:gd name="connsiteX1773" fmla="*/ 4129011 w 4878487"/>
                <a:gd name="connsiteY1773" fmla="*/ 1333322 h 3690338"/>
                <a:gd name="connsiteX1774" fmla="*/ 4131765 w 4878487"/>
                <a:gd name="connsiteY1774" fmla="*/ 1336076 h 3690338"/>
                <a:gd name="connsiteX1775" fmla="*/ 4132945 w 4878487"/>
                <a:gd name="connsiteY1775" fmla="*/ 1338830 h 3690338"/>
                <a:gd name="connsiteX1776" fmla="*/ 4135699 w 4878487"/>
                <a:gd name="connsiteY1776" fmla="*/ 1341584 h 3690338"/>
                <a:gd name="connsiteX1777" fmla="*/ 4134913 w 4878487"/>
                <a:gd name="connsiteY1777" fmla="*/ 1338436 h 3690338"/>
                <a:gd name="connsiteX1778" fmla="*/ 4137273 w 4878487"/>
                <a:gd name="connsiteY1778" fmla="*/ 1338043 h 3690338"/>
                <a:gd name="connsiteX1779" fmla="*/ 4137273 w 4878487"/>
                <a:gd name="connsiteY1779" fmla="*/ 1335289 h 3690338"/>
                <a:gd name="connsiteX1780" fmla="*/ 4136486 w 4878487"/>
                <a:gd name="connsiteY1780" fmla="*/ 1335289 h 3690338"/>
                <a:gd name="connsiteX1781" fmla="*/ 4135305 w 4878487"/>
                <a:gd name="connsiteY1781" fmla="*/ 1329781 h 3690338"/>
                <a:gd name="connsiteX1782" fmla="*/ 4137666 w 4878487"/>
                <a:gd name="connsiteY1782" fmla="*/ 1330568 h 3690338"/>
                <a:gd name="connsiteX1783" fmla="*/ 4154977 w 4878487"/>
                <a:gd name="connsiteY1783" fmla="*/ 1334109 h 3690338"/>
                <a:gd name="connsiteX1784" fmla="*/ 4155763 w 4878487"/>
                <a:gd name="connsiteY1784" fmla="*/ 1332928 h 3690338"/>
                <a:gd name="connsiteX1785" fmla="*/ 4165206 w 4878487"/>
                <a:gd name="connsiteY1785" fmla="*/ 1324273 h 3690338"/>
                <a:gd name="connsiteX1786" fmla="*/ 4166780 w 4878487"/>
                <a:gd name="connsiteY1786" fmla="*/ 1323880 h 3690338"/>
                <a:gd name="connsiteX1787" fmla="*/ 4167173 w 4878487"/>
                <a:gd name="connsiteY1787" fmla="*/ 1323880 h 3690338"/>
                <a:gd name="connsiteX1788" fmla="*/ 4168354 w 4878487"/>
                <a:gd name="connsiteY1788" fmla="*/ 1327027 h 3690338"/>
                <a:gd name="connsiteX1789" fmla="*/ 4171500 w 4878487"/>
                <a:gd name="connsiteY1789" fmla="*/ 1325060 h 3690338"/>
                <a:gd name="connsiteX1790" fmla="*/ 4173861 w 4878487"/>
                <a:gd name="connsiteY1790" fmla="*/ 1322306 h 3690338"/>
                <a:gd name="connsiteX1791" fmla="*/ 4173861 w 4878487"/>
                <a:gd name="connsiteY1791" fmla="*/ 1319158 h 3690338"/>
                <a:gd name="connsiteX1792" fmla="*/ 4175042 w 4878487"/>
                <a:gd name="connsiteY1792" fmla="*/ 1316405 h 3690338"/>
                <a:gd name="connsiteX1793" fmla="*/ 4173861 w 4878487"/>
                <a:gd name="connsiteY1793" fmla="*/ 1314044 h 3690338"/>
                <a:gd name="connsiteX1794" fmla="*/ 4173861 w 4878487"/>
                <a:gd name="connsiteY1794" fmla="*/ 1311683 h 3690338"/>
                <a:gd name="connsiteX1795" fmla="*/ 4175042 w 4878487"/>
                <a:gd name="connsiteY1795" fmla="*/ 1312864 h 3690338"/>
                <a:gd name="connsiteX1796" fmla="*/ 4175435 w 4878487"/>
                <a:gd name="connsiteY1796" fmla="*/ 1310110 h 3690338"/>
                <a:gd name="connsiteX1797" fmla="*/ 4173861 w 4878487"/>
                <a:gd name="connsiteY1797" fmla="*/ 1306962 h 3690338"/>
                <a:gd name="connsiteX1798" fmla="*/ 4173468 w 4878487"/>
                <a:gd name="connsiteY1798" fmla="*/ 1304208 h 3690338"/>
                <a:gd name="connsiteX1799" fmla="*/ 4173075 w 4878487"/>
                <a:gd name="connsiteY1799" fmla="*/ 1301061 h 3690338"/>
                <a:gd name="connsiteX1800" fmla="*/ 4172288 w 4878487"/>
                <a:gd name="connsiteY1800" fmla="*/ 1298307 h 3690338"/>
                <a:gd name="connsiteX1801" fmla="*/ 4172288 w 4878487"/>
                <a:gd name="connsiteY1801" fmla="*/ 1295553 h 3690338"/>
                <a:gd name="connsiteX1802" fmla="*/ 4170714 w 4878487"/>
                <a:gd name="connsiteY1802" fmla="*/ 1292799 h 3690338"/>
                <a:gd name="connsiteX1803" fmla="*/ 4169140 w 4878487"/>
                <a:gd name="connsiteY1803" fmla="*/ 1295160 h 3690338"/>
                <a:gd name="connsiteX1804" fmla="*/ 4162452 w 4878487"/>
                <a:gd name="connsiteY1804" fmla="*/ 1281783 h 3690338"/>
                <a:gd name="connsiteX1805" fmla="*/ 4161665 w 4878487"/>
                <a:gd name="connsiteY1805" fmla="*/ 1279423 h 3690338"/>
                <a:gd name="connsiteX1806" fmla="*/ 4160091 w 4878487"/>
                <a:gd name="connsiteY1806" fmla="*/ 1276668 h 3690338"/>
                <a:gd name="connsiteX1807" fmla="*/ 4158518 w 4878487"/>
                <a:gd name="connsiteY1807" fmla="*/ 1273914 h 3690338"/>
                <a:gd name="connsiteX1808" fmla="*/ 4158911 w 4878487"/>
                <a:gd name="connsiteY1808" fmla="*/ 1270767 h 3690338"/>
                <a:gd name="connsiteX1809" fmla="*/ 4157338 w 4878487"/>
                <a:gd name="connsiteY1809" fmla="*/ 1268013 h 3690338"/>
                <a:gd name="connsiteX1810" fmla="*/ 4154977 w 4878487"/>
                <a:gd name="connsiteY1810" fmla="*/ 1264866 h 3690338"/>
                <a:gd name="connsiteX1811" fmla="*/ 4153403 w 4878487"/>
                <a:gd name="connsiteY1811" fmla="*/ 1262112 h 3690338"/>
                <a:gd name="connsiteX1812" fmla="*/ 4152617 w 4878487"/>
                <a:gd name="connsiteY1812" fmla="*/ 1259358 h 3690338"/>
                <a:gd name="connsiteX1813" fmla="*/ 4149862 w 4878487"/>
                <a:gd name="connsiteY1813" fmla="*/ 1256604 h 3690338"/>
                <a:gd name="connsiteX1814" fmla="*/ 4149469 w 4878487"/>
                <a:gd name="connsiteY1814" fmla="*/ 1256604 h 3690338"/>
                <a:gd name="connsiteX1815" fmla="*/ 4147895 w 4878487"/>
                <a:gd name="connsiteY1815" fmla="*/ 1253850 h 3690338"/>
                <a:gd name="connsiteX1816" fmla="*/ 4145141 w 4878487"/>
                <a:gd name="connsiteY1816" fmla="*/ 1251096 h 3690338"/>
                <a:gd name="connsiteX1817" fmla="*/ 4141993 w 4878487"/>
                <a:gd name="connsiteY1817" fmla="*/ 1248342 h 3690338"/>
                <a:gd name="connsiteX1818" fmla="*/ 4140420 w 4878487"/>
                <a:gd name="connsiteY1818" fmla="*/ 1247161 h 3690338"/>
                <a:gd name="connsiteX1819" fmla="*/ 4136880 w 4878487"/>
                <a:gd name="connsiteY1819" fmla="*/ 1243621 h 3690338"/>
                <a:gd name="connsiteX1820" fmla="*/ 4135305 w 4878487"/>
                <a:gd name="connsiteY1820" fmla="*/ 1241654 h 3690338"/>
                <a:gd name="connsiteX1821" fmla="*/ 4132945 w 4878487"/>
                <a:gd name="connsiteY1821" fmla="*/ 1238900 h 3690338"/>
                <a:gd name="connsiteX1822" fmla="*/ 4130191 w 4878487"/>
                <a:gd name="connsiteY1822" fmla="*/ 1236539 h 3690338"/>
                <a:gd name="connsiteX1823" fmla="*/ 4127437 w 4878487"/>
                <a:gd name="connsiteY1823" fmla="*/ 1234572 h 3690338"/>
                <a:gd name="connsiteX1824" fmla="*/ 4108946 w 4878487"/>
                <a:gd name="connsiteY1824" fmla="*/ 1217261 h 3690338"/>
                <a:gd name="connsiteX1825" fmla="*/ 4102258 w 4878487"/>
                <a:gd name="connsiteY1825" fmla="*/ 1210573 h 3690338"/>
                <a:gd name="connsiteX1826" fmla="*/ 4100684 w 4878487"/>
                <a:gd name="connsiteY1826" fmla="*/ 1208606 h 3690338"/>
                <a:gd name="connsiteX1827" fmla="*/ 4098717 w 4878487"/>
                <a:gd name="connsiteY1827" fmla="*/ 1207032 h 3690338"/>
                <a:gd name="connsiteX1828" fmla="*/ 4096357 w 4878487"/>
                <a:gd name="connsiteY1828" fmla="*/ 1204278 h 3690338"/>
                <a:gd name="connsiteX1829" fmla="*/ 4093603 w 4878487"/>
                <a:gd name="connsiteY1829" fmla="*/ 1203098 h 3690338"/>
                <a:gd name="connsiteX1830" fmla="*/ 4090848 w 4878487"/>
                <a:gd name="connsiteY1830" fmla="*/ 1201524 h 3690338"/>
                <a:gd name="connsiteX1831" fmla="*/ 4088094 w 4878487"/>
                <a:gd name="connsiteY1831" fmla="*/ 1199557 h 3690338"/>
                <a:gd name="connsiteX1832" fmla="*/ 4084947 w 4878487"/>
                <a:gd name="connsiteY1832" fmla="*/ 1198770 h 3690338"/>
                <a:gd name="connsiteX1833" fmla="*/ 4082193 w 4878487"/>
                <a:gd name="connsiteY1833" fmla="*/ 1196410 h 3690338"/>
                <a:gd name="connsiteX1834" fmla="*/ 4079045 w 4878487"/>
                <a:gd name="connsiteY1834" fmla="*/ 1194442 h 3690338"/>
                <a:gd name="connsiteX1835" fmla="*/ 4076291 w 4878487"/>
                <a:gd name="connsiteY1835" fmla="*/ 1191688 h 3690338"/>
                <a:gd name="connsiteX1836" fmla="*/ 4073144 w 4878487"/>
                <a:gd name="connsiteY1836" fmla="*/ 1190115 h 3690338"/>
                <a:gd name="connsiteX1837" fmla="*/ 4070390 w 4878487"/>
                <a:gd name="connsiteY1837" fmla="*/ 1189328 h 3690338"/>
                <a:gd name="connsiteX1838" fmla="*/ 4068030 w 4878487"/>
                <a:gd name="connsiteY1838" fmla="*/ 1189328 h 3690338"/>
                <a:gd name="connsiteX1839" fmla="*/ 4066063 w 4878487"/>
                <a:gd name="connsiteY1839" fmla="*/ 1188148 h 3690338"/>
                <a:gd name="connsiteX1840" fmla="*/ 4060554 w 4878487"/>
                <a:gd name="connsiteY1840" fmla="*/ 1180672 h 3690338"/>
                <a:gd name="connsiteX1841" fmla="*/ 4062129 w 4878487"/>
                <a:gd name="connsiteY1841" fmla="*/ 1179886 h 3690338"/>
                <a:gd name="connsiteX1842" fmla="*/ 4064096 w 4878487"/>
                <a:gd name="connsiteY1842" fmla="*/ 1183033 h 3690338"/>
                <a:gd name="connsiteX1843" fmla="*/ 4063308 w 4878487"/>
                <a:gd name="connsiteY1843" fmla="*/ 1179886 h 3690338"/>
                <a:gd name="connsiteX1844" fmla="*/ 4062521 w 4878487"/>
                <a:gd name="connsiteY1844" fmla="*/ 1178312 h 3690338"/>
                <a:gd name="connsiteX1845" fmla="*/ 4066063 w 4878487"/>
                <a:gd name="connsiteY1845" fmla="*/ 1160608 h 3690338"/>
                <a:gd name="connsiteX1846" fmla="*/ 4068817 w 4878487"/>
                <a:gd name="connsiteY1846" fmla="*/ 1159427 h 3690338"/>
                <a:gd name="connsiteX1847" fmla="*/ 4071964 w 4878487"/>
                <a:gd name="connsiteY1847" fmla="*/ 1159821 h 3690338"/>
                <a:gd name="connsiteX1848" fmla="*/ 4074718 w 4878487"/>
                <a:gd name="connsiteY1848" fmla="*/ 1159427 h 3690338"/>
                <a:gd name="connsiteX1849" fmla="*/ 4077472 w 4878487"/>
                <a:gd name="connsiteY1849" fmla="*/ 1157067 h 3690338"/>
                <a:gd name="connsiteX1850" fmla="*/ 4080226 w 4878487"/>
                <a:gd name="connsiteY1850" fmla="*/ 1154706 h 3690338"/>
                <a:gd name="connsiteX1851" fmla="*/ 4080226 w 4878487"/>
                <a:gd name="connsiteY1851" fmla="*/ 1151952 h 3690338"/>
                <a:gd name="connsiteX1852" fmla="*/ 4082979 w 4878487"/>
                <a:gd name="connsiteY1852" fmla="*/ 1149592 h 3690338"/>
                <a:gd name="connsiteX1853" fmla="*/ 4085340 w 4878487"/>
                <a:gd name="connsiteY1853" fmla="*/ 1146444 h 3690338"/>
                <a:gd name="connsiteX1854" fmla="*/ 4088488 w 4878487"/>
                <a:gd name="connsiteY1854" fmla="*/ 1145264 h 3690338"/>
                <a:gd name="connsiteX1855" fmla="*/ 4089669 w 4878487"/>
                <a:gd name="connsiteY1855" fmla="*/ 1142117 h 3690338"/>
                <a:gd name="connsiteX1856" fmla="*/ 4089669 w 4878487"/>
                <a:gd name="connsiteY1856" fmla="*/ 1141723 h 3690338"/>
                <a:gd name="connsiteX1857" fmla="*/ 4090455 w 4878487"/>
                <a:gd name="connsiteY1857" fmla="*/ 1137789 h 3690338"/>
                <a:gd name="connsiteX1858" fmla="*/ 4092028 w 4878487"/>
                <a:gd name="connsiteY1858" fmla="*/ 1135822 h 3690338"/>
                <a:gd name="connsiteX1859" fmla="*/ 4094782 w 4878487"/>
                <a:gd name="connsiteY1859" fmla="*/ 1134248 h 3690338"/>
                <a:gd name="connsiteX1860" fmla="*/ 4097537 w 4878487"/>
                <a:gd name="connsiteY1860" fmla="*/ 1132674 h 3690338"/>
                <a:gd name="connsiteX1861" fmla="*/ 4099110 w 4878487"/>
                <a:gd name="connsiteY1861" fmla="*/ 1129921 h 3690338"/>
                <a:gd name="connsiteX1862" fmla="*/ 4097143 w 4878487"/>
                <a:gd name="connsiteY1862" fmla="*/ 1126773 h 3690338"/>
                <a:gd name="connsiteX1863" fmla="*/ 4095570 w 4878487"/>
                <a:gd name="connsiteY1863" fmla="*/ 1124019 h 3690338"/>
                <a:gd name="connsiteX1864" fmla="*/ 4093996 w 4878487"/>
                <a:gd name="connsiteY1864" fmla="*/ 1121265 h 3690338"/>
                <a:gd name="connsiteX1865" fmla="*/ 4093603 w 4878487"/>
                <a:gd name="connsiteY1865" fmla="*/ 1118511 h 3690338"/>
                <a:gd name="connsiteX1866" fmla="*/ 4093209 w 4878487"/>
                <a:gd name="connsiteY1866" fmla="*/ 1116151 h 3690338"/>
                <a:gd name="connsiteX1867" fmla="*/ 4092422 w 4878487"/>
                <a:gd name="connsiteY1867" fmla="*/ 1114183 h 3690338"/>
                <a:gd name="connsiteX1868" fmla="*/ 4088094 w 4878487"/>
                <a:gd name="connsiteY1868" fmla="*/ 1094512 h 3690338"/>
                <a:gd name="connsiteX1869" fmla="*/ 4087701 w 4878487"/>
                <a:gd name="connsiteY1869" fmla="*/ 1093725 h 3690338"/>
                <a:gd name="connsiteX1870" fmla="*/ 4088488 w 4878487"/>
                <a:gd name="connsiteY1870" fmla="*/ 1093332 h 3690338"/>
                <a:gd name="connsiteX1871" fmla="*/ 4101077 w 4878487"/>
                <a:gd name="connsiteY1871" fmla="*/ 1083890 h 3690338"/>
                <a:gd name="connsiteX1872" fmla="*/ 4105012 w 4878487"/>
                <a:gd name="connsiteY1872" fmla="*/ 1072480 h 3690338"/>
                <a:gd name="connsiteX1873" fmla="*/ 4106192 w 4878487"/>
                <a:gd name="connsiteY1873" fmla="*/ 1072874 h 3690338"/>
                <a:gd name="connsiteX1874" fmla="*/ 4108946 w 4878487"/>
                <a:gd name="connsiteY1874" fmla="*/ 1074054 h 3690338"/>
                <a:gd name="connsiteX1875" fmla="*/ 4109340 w 4878487"/>
                <a:gd name="connsiteY1875" fmla="*/ 1071300 h 3690338"/>
                <a:gd name="connsiteX1876" fmla="*/ 4108159 w 4878487"/>
                <a:gd name="connsiteY1876" fmla="*/ 1068546 h 3690338"/>
                <a:gd name="connsiteX1877" fmla="*/ 4110519 w 4878487"/>
                <a:gd name="connsiteY1877" fmla="*/ 1065398 h 3690338"/>
                <a:gd name="connsiteX1878" fmla="*/ 4108159 w 4878487"/>
                <a:gd name="connsiteY1878" fmla="*/ 1063038 h 3690338"/>
                <a:gd name="connsiteX1879" fmla="*/ 4108159 w 4878487"/>
                <a:gd name="connsiteY1879" fmla="*/ 1062645 h 3690338"/>
                <a:gd name="connsiteX1880" fmla="*/ 4110913 w 4878487"/>
                <a:gd name="connsiteY1880" fmla="*/ 1062251 h 3690338"/>
                <a:gd name="connsiteX1881" fmla="*/ 4110913 w 4878487"/>
                <a:gd name="connsiteY1881" fmla="*/ 1059497 h 3690338"/>
                <a:gd name="connsiteX1882" fmla="*/ 4111700 w 4878487"/>
                <a:gd name="connsiteY1882" fmla="*/ 1056743 h 3690338"/>
                <a:gd name="connsiteX1883" fmla="*/ 4111307 w 4878487"/>
                <a:gd name="connsiteY1883" fmla="*/ 1053989 h 3690338"/>
                <a:gd name="connsiteX1884" fmla="*/ 4111700 w 4878487"/>
                <a:gd name="connsiteY1884" fmla="*/ 1051235 h 3690338"/>
                <a:gd name="connsiteX1885" fmla="*/ 4111700 w 4878487"/>
                <a:gd name="connsiteY1885" fmla="*/ 1050842 h 3690338"/>
                <a:gd name="connsiteX1886" fmla="*/ 4117601 w 4878487"/>
                <a:gd name="connsiteY1886" fmla="*/ 1053202 h 3690338"/>
                <a:gd name="connsiteX1887" fmla="*/ 4117601 w 4878487"/>
                <a:gd name="connsiteY1887" fmla="*/ 1053989 h 3690338"/>
                <a:gd name="connsiteX1888" fmla="*/ 4117995 w 4878487"/>
                <a:gd name="connsiteY1888" fmla="*/ 1056743 h 3690338"/>
                <a:gd name="connsiteX1889" fmla="*/ 4120749 w 4878487"/>
                <a:gd name="connsiteY1889" fmla="*/ 1058317 h 3690338"/>
                <a:gd name="connsiteX1890" fmla="*/ 4122716 w 4878487"/>
                <a:gd name="connsiteY1890" fmla="*/ 1055563 h 3690338"/>
                <a:gd name="connsiteX1891" fmla="*/ 4123110 w 4878487"/>
                <a:gd name="connsiteY1891" fmla="*/ 1055170 h 3690338"/>
                <a:gd name="connsiteX1892" fmla="*/ 4130978 w 4878487"/>
                <a:gd name="connsiteY1892" fmla="*/ 1058317 h 3690338"/>
                <a:gd name="connsiteX1893" fmla="*/ 4130978 w 4878487"/>
                <a:gd name="connsiteY1893" fmla="*/ 1058317 h 3690338"/>
                <a:gd name="connsiteX1894" fmla="*/ 4132158 w 4878487"/>
                <a:gd name="connsiteY1894" fmla="*/ 1061071 h 3690338"/>
                <a:gd name="connsiteX1895" fmla="*/ 4133732 w 4878487"/>
                <a:gd name="connsiteY1895" fmla="*/ 1063825 h 3690338"/>
                <a:gd name="connsiteX1896" fmla="*/ 4136880 w 4878487"/>
                <a:gd name="connsiteY1896" fmla="*/ 1062251 h 3690338"/>
                <a:gd name="connsiteX1897" fmla="*/ 4139633 w 4878487"/>
                <a:gd name="connsiteY1897" fmla="*/ 1063431 h 3690338"/>
                <a:gd name="connsiteX1898" fmla="*/ 4142387 w 4878487"/>
                <a:gd name="connsiteY1898" fmla="*/ 1065398 h 3690338"/>
                <a:gd name="connsiteX1899" fmla="*/ 4145535 w 4878487"/>
                <a:gd name="connsiteY1899" fmla="*/ 1065005 h 3690338"/>
                <a:gd name="connsiteX1900" fmla="*/ 4147502 w 4878487"/>
                <a:gd name="connsiteY1900" fmla="*/ 1065005 h 3690338"/>
                <a:gd name="connsiteX1901" fmla="*/ 4149862 w 4878487"/>
                <a:gd name="connsiteY1901" fmla="*/ 1067759 h 3690338"/>
                <a:gd name="connsiteX1902" fmla="*/ 4153010 w 4878487"/>
                <a:gd name="connsiteY1902" fmla="*/ 1066185 h 3690338"/>
                <a:gd name="connsiteX1903" fmla="*/ 4155763 w 4878487"/>
                <a:gd name="connsiteY1903" fmla="*/ 1067366 h 3690338"/>
                <a:gd name="connsiteX1904" fmla="*/ 4157338 w 4878487"/>
                <a:gd name="connsiteY1904" fmla="*/ 1070120 h 3690338"/>
                <a:gd name="connsiteX1905" fmla="*/ 4160091 w 4878487"/>
                <a:gd name="connsiteY1905" fmla="*/ 1070513 h 3690338"/>
                <a:gd name="connsiteX1906" fmla="*/ 4163239 w 4878487"/>
                <a:gd name="connsiteY1906" fmla="*/ 1068546 h 3690338"/>
                <a:gd name="connsiteX1907" fmla="*/ 4165993 w 4878487"/>
                <a:gd name="connsiteY1907" fmla="*/ 1068153 h 3690338"/>
                <a:gd name="connsiteX1908" fmla="*/ 4168747 w 4878487"/>
                <a:gd name="connsiteY1908" fmla="*/ 1066185 h 3690338"/>
                <a:gd name="connsiteX1909" fmla="*/ 4171500 w 4878487"/>
                <a:gd name="connsiteY1909" fmla="*/ 1065005 h 3690338"/>
                <a:gd name="connsiteX1910" fmla="*/ 4174255 w 4878487"/>
                <a:gd name="connsiteY1910" fmla="*/ 1065005 h 3690338"/>
                <a:gd name="connsiteX1911" fmla="*/ 4177009 w 4878487"/>
                <a:gd name="connsiteY1911" fmla="*/ 1063825 h 3690338"/>
                <a:gd name="connsiteX1912" fmla="*/ 4179763 w 4878487"/>
                <a:gd name="connsiteY1912" fmla="*/ 1061071 h 3690338"/>
                <a:gd name="connsiteX1913" fmla="*/ 4181730 w 4878487"/>
                <a:gd name="connsiteY1913" fmla="*/ 1058317 h 3690338"/>
                <a:gd name="connsiteX1914" fmla="*/ 4184878 w 4878487"/>
                <a:gd name="connsiteY1914" fmla="*/ 1055956 h 3690338"/>
                <a:gd name="connsiteX1915" fmla="*/ 4187631 w 4878487"/>
                <a:gd name="connsiteY1915" fmla="*/ 1053989 h 3690338"/>
                <a:gd name="connsiteX1916" fmla="*/ 4190385 w 4878487"/>
                <a:gd name="connsiteY1916" fmla="*/ 1051629 h 3690338"/>
                <a:gd name="connsiteX1917" fmla="*/ 4193139 w 4878487"/>
                <a:gd name="connsiteY1917" fmla="*/ 1048875 h 3690338"/>
                <a:gd name="connsiteX1918" fmla="*/ 4195500 w 4878487"/>
                <a:gd name="connsiteY1918" fmla="*/ 1046121 h 3690338"/>
                <a:gd name="connsiteX1919" fmla="*/ 4198254 w 4878487"/>
                <a:gd name="connsiteY1919" fmla="*/ 1043760 h 3690338"/>
                <a:gd name="connsiteX1920" fmla="*/ 4198648 w 4878487"/>
                <a:gd name="connsiteY1920" fmla="*/ 1041006 h 3690338"/>
                <a:gd name="connsiteX1921" fmla="*/ 4198254 w 4878487"/>
                <a:gd name="connsiteY1921" fmla="*/ 1037859 h 3690338"/>
                <a:gd name="connsiteX1922" fmla="*/ 4201008 w 4878487"/>
                <a:gd name="connsiteY1922" fmla="*/ 1036285 h 3690338"/>
                <a:gd name="connsiteX1923" fmla="*/ 4201401 w 4878487"/>
                <a:gd name="connsiteY1923" fmla="*/ 1034318 h 3690338"/>
                <a:gd name="connsiteX1924" fmla="*/ 4201795 w 4878487"/>
                <a:gd name="connsiteY1924" fmla="*/ 1031564 h 3690338"/>
                <a:gd name="connsiteX1925" fmla="*/ 4201795 w 4878487"/>
                <a:gd name="connsiteY1925" fmla="*/ 1031564 h 3690338"/>
                <a:gd name="connsiteX1926" fmla="*/ 4205336 w 4878487"/>
                <a:gd name="connsiteY1926" fmla="*/ 1011499 h 3690338"/>
                <a:gd name="connsiteX1927" fmla="*/ 4206122 w 4878487"/>
                <a:gd name="connsiteY1927" fmla="*/ 1011499 h 3690338"/>
                <a:gd name="connsiteX1928" fmla="*/ 4206516 w 4878487"/>
                <a:gd name="connsiteY1928" fmla="*/ 1008352 h 3690338"/>
                <a:gd name="connsiteX1929" fmla="*/ 4206122 w 4878487"/>
                <a:gd name="connsiteY1929" fmla="*/ 1007565 h 3690338"/>
                <a:gd name="connsiteX1930" fmla="*/ 4207303 w 4878487"/>
                <a:gd name="connsiteY1930" fmla="*/ 1002057 h 3690338"/>
                <a:gd name="connsiteX1931" fmla="*/ 4208876 w 4878487"/>
                <a:gd name="connsiteY1931" fmla="*/ 1001663 h 3690338"/>
                <a:gd name="connsiteX1932" fmla="*/ 4208483 w 4878487"/>
                <a:gd name="connsiteY1932" fmla="*/ 998516 h 3690338"/>
                <a:gd name="connsiteX1933" fmla="*/ 4208483 w 4878487"/>
                <a:gd name="connsiteY1933" fmla="*/ 996549 h 3690338"/>
                <a:gd name="connsiteX1934" fmla="*/ 4208876 w 4878487"/>
                <a:gd name="connsiteY1934" fmla="*/ 993795 h 3690338"/>
                <a:gd name="connsiteX1935" fmla="*/ 4210843 w 4878487"/>
                <a:gd name="connsiteY1935" fmla="*/ 990647 h 3690338"/>
                <a:gd name="connsiteX1936" fmla="*/ 4210057 w 4878487"/>
                <a:gd name="connsiteY1936" fmla="*/ 987894 h 3690338"/>
                <a:gd name="connsiteX1937" fmla="*/ 4212024 w 4878487"/>
                <a:gd name="connsiteY1937" fmla="*/ 985140 h 3690338"/>
                <a:gd name="connsiteX1938" fmla="*/ 4213991 w 4878487"/>
                <a:gd name="connsiteY1938" fmla="*/ 982386 h 3690338"/>
                <a:gd name="connsiteX1939" fmla="*/ 4215565 w 4878487"/>
                <a:gd name="connsiteY1939" fmla="*/ 979238 h 3690338"/>
                <a:gd name="connsiteX1940" fmla="*/ 4215958 w 4878487"/>
                <a:gd name="connsiteY1940" fmla="*/ 976484 h 3690338"/>
                <a:gd name="connsiteX1941" fmla="*/ 4216745 w 4878487"/>
                <a:gd name="connsiteY1941" fmla="*/ 973730 h 3690338"/>
                <a:gd name="connsiteX1942" fmla="*/ 4219106 w 4878487"/>
                <a:gd name="connsiteY1942" fmla="*/ 970976 h 3690338"/>
                <a:gd name="connsiteX1943" fmla="*/ 4220679 w 4878487"/>
                <a:gd name="connsiteY1943" fmla="*/ 968222 h 3690338"/>
                <a:gd name="connsiteX1944" fmla="*/ 4220679 w 4878487"/>
                <a:gd name="connsiteY1944" fmla="*/ 965075 h 3690338"/>
                <a:gd name="connsiteX1945" fmla="*/ 4221073 w 4878487"/>
                <a:gd name="connsiteY1945" fmla="*/ 962321 h 3690338"/>
                <a:gd name="connsiteX1946" fmla="*/ 4222253 w 4878487"/>
                <a:gd name="connsiteY1946" fmla="*/ 959567 h 3690338"/>
                <a:gd name="connsiteX1947" fmla="*/ 4222646 w 4878487"/>
                <a:gd name="connsiteY1947" fmla="*/ 956813 h 3690338"/>
                <a:gd name="connsiteX1948" fmla="*/ 4223826 w 4878487"/>
                <a:gd name="connsiteY1948" fmla="*/ 954059 h 3690338"/>
                <a:gd name="connsiteX1949" fmla="*/ 4222646 w 4878487"/>
                <a:gd name="connsiteY1949" fmla="*/ 951305 h 3690338"/>
                <a:gd name="connsiteX1950" fmla="*/ 4221859 w 4878487"/>
                <a:gd name="connsiteY1950" fmla="*/ 948551 h 3690338"/>
                <a:gd name="connsiteX1951" fmla="*/ 4221859 w 4878487"/>
                <a:gd name="connsiteY1951" fmla="*/ 945403 h 3690338"/>
                <a:gd name="connsiteX1952" fmla="*/ 4223434 w 4878487"/>
                <a:gd name="connsiteY1952" fmla="*/ 942650 h 3690338"/>
                <a:gd name="connsiteX1953" fmla="*/ 4221466 w 4878487"/>
                <a:gd name="connsiteY1953" fmla="*/ 939895 h 3690338"/>
                <a:gd name="connsiteX1954" fmla="*/ 4220679 w 4878487"/>
                <a:gd name="connsiteY1954" fmla="*/ 936748 h 3690338"/>
                <a:gd name="connsiteX1955" fmla="*/ 4220286 w 4878487"/>
                <a:gd name="connsiteY1955" fmla="*/ 933994 h 3690338"/>
                <a:gd name="connsiteX1956" fmla="*/ 4220286 w 4878487"/>
                <a:gd name="connsiteY1956" fmla="*/ 933601 h 3690338"/>
                <a:gd name="connsiteX1957" fmla="*/ 4223434 w 4878487"/>
                <a:gd name="connsiteY1957" fmla="*/ 915110 h 3690338"/>
                <a:gd name="connsiteX1958" fmla="*/ 4228547 w 4878487"/>
                <a:gd name="connsiteY1958" fmla="*/ 884422 h 3690338"/>
                <a:gd name="connsiteX1959" fmla="*/ 4228941 w 4878487"/>
                <a:gd name="connsiteY1959" fmla="*/ 881668 h 3690338"/>
                <a:gd name="connsiteX1960" fmla="*/ 4229728 w 4878487"/>
                <a:gd name="connsiteY1960" fmla="*/ 878521 h 3690338"/>
                <a:gd name="connsiteX1961" fmla="*/ 4227368 w 4878487"/>
                <a:gd name="connsiteY1961" fmla="*/ 876160 h 3690338"/>
                <a:gd name="connsiteX1962" fmla="*/ 4223434 w 4878487"/>
                <a:gd name="connsiteY1962" fmla="*/ 866718 h 3690338"/>
                <a:gd name="connsiteX1963" fmla="*/ 4224220 w 4878487"/>
                <a:gd name="connsiteY1963" fmla="*/ 864358 h 3690338"/>
                <a:gd name="connsiteX1964" fmla="*/ 4222253 w 4878487"/>
                <a:gd name="connsiteY1964" fmla="*/ 861210 h 3690338"/>
                <a:gd name="connsiteX1965" fmla="*/ 4221073 w 4878487"/>
                <a:gd name="connsiteY1965" fmla="*/ 861210 h 3690338"/>
                <a:gd name="connsiteX1966" fmla="*/ 4221073 w 4878487"/>
                <a:gd name="connsiteY1966" fmla="*/ 860817 h 3690338"/>
                <a:gd name="connsiteX1967" fmla="*/ 4219892 w 4878487"/>
                <a:gd name="connsiteY1967" fmla="*/ 858063 h 3690338"/>
                <a:gd name="connsiteX1968" fmla="*/ 4218319 w 4878487"/>
                <a:gd name="connsiteY1968" fmla="*/ 854915 h 3690338"/>
                <a:gd name="connsiteX1969" fmla="*/ 4217138 w 4878487"/>
                <a:gd name="connsiteY1969" fmla="*/ 852555 h 3690338"/>
                <a:gd name="connsiteX1970" fmla="*/ 4215565 w 4878487"/>
                <a:gd name="connsiteY1970" fmla="*/ 852555 h 3690338"/>
                <a:gd name="connsiteX1971" fmla="*/ 4215958 w 4878487"/>
                <a:gd name="connsiteY1971" fmla="*/ 849801 h 3690338"/>
                <a:gd name="connsiteX1972" fmla="*/ 4214777 w 4878487"/>
                <a:gd name="connsiteY1972" fmla="*/ 847047 h 3690338"/>
                <a:gd name="connsiteX1973" fmla="*/ 4214777 w 4878487"/>
                <a:gd name="connsiteY1973" fmla="*/ 843899 h 3690338"/>
                <a:gd name="connsiteX1974" fmla="*/ 4212417 w 4878487"/>
                <a:gd name="connsiteY1974" fmla="*/ 841146 h 3690338"/>
                <a:gd name="connsiteX1975" fmla="*/ 4210057 w 4878487"/>
                <a:gd name="connsiteY1975" fmla="*/ 837998 h 3690338"/>
                <a:gd name="connsiteX1976" fmla="*/ 4207697 w 4878487"/>
                <a:gd name="connsiteY1976" fmla="*/ 836424 h 3690338"/>
                <a:gd name="connsiteX1977" fmla="*/ 4204155 w 4878487"/>
                <a:gd name="connsiteY1977" fmla="*/ 828949 h 3690338"/>
                <a:gd name="connsiteX1978" fmla="*/ 4205729 w 4878487"/>
                <a:gd name="connsiteY1978" fmla="*/ 826195 h 3690338"/>
                <a:gd name="connsiteX1979" fmla="*/ 4203368 w 4878487"/>
                <a:gd name="connsiteY1979" fmla="*/ 826589 h 3690338"/>
                <a:gd name="connsiteX1980" fmla="*/ 4178582 w 4878487"/>
                <a:gd name="connsiteY1980" fmla="*/ 766395 h 3690338"/>
                <a:gd name="connsiteX1981" fmla="*/ 4178976 w 4878487"/>
                <a:gd name="connsiteY1981" fmla="*/ 766001 h 3690338"/>
                <a:gd name="connsiteX1982" fmla="*/ 4178189 w 4878487"/>
                <a:gd name="connsiteY1982" fmla="*/ 765608 h 3690338"/>
                <a:gd name="connsiteX1983" fmla="*/ 4174648 w 4878487"/>
                <a:gd name="connsiteY1983" fmla="*/ 756952 h 3690338"/>
                <a:gd name="connsiteX1984" fmla="*/ 4158518 w 4878487"/>
                <a:gd name="connsiteY1984" fmla="*/ 746330 h 3690338"/>
                <a:gd name="connsiteX1985" fmla="*/ 4158911 w 4878487"/>
                <a:gd name="connsiteY1985" fmla="*/ 745149 h 3690338"/>
                <a:gd name="connsiteX1986" fmla="*/ 4156944 w 4878487"/>
                <a:gd name="connsiteY1986" fmla="*/ 742395 h 3690338"/>
                <a:gd name="connsiteX1987" fmla="*/ 4154190 w 4878487"/>
                <a:gd name="connsiteY1987" fmla="*/ 740035 h 3690338"/>
                <a:gd name="connsiteX1988" fmla="*/ 4151829 w 4878487"/>
                <a:gd name="connsiteY1988" fmla="*/ 737281 h 3690338"/>
                <a:gd name="connsiteX1989" fmla="*/ 4149075 w 4878487"/>
                <a:gd name="connsiteY1989" fmla="*/ 736101 h 3690338"/>
                <a:gd name="connsiteX1990" fmla="*/ 4145928 w 4878487"/>
                <a:gd name="connsiteY1990" fmla="*/ 735314 h 3690338"/>
                <a:gd name="connsiteX1991" fmla="*/ 4142781 w 4878487"/>
                <a:gd name="connsiteY1991" fmla="*/ 734134 h 3690338"/>
                <a:gd name="connsiteX1992" fmla="*/ 4140026 w 4878487"/>
                <a:gd name="connsiteY1992" fmla="*/ 732166 h 3690338"/>
                <a:gd name="connsiteX1993" fmla="*/ 4137273 w 4878487"/>
                <a:gd name="connsiteY1993" fmla="*/ 730593 h 3690338"/>
                <a:gd name="connsiteX1994" fmla="*/ 4134125 w 4878487"/>
                <a:gd name="connsiteY1994" fmla="*/ 729412 h 3690338"/>
                <a:gd name="connsiteX1995" fmla="*/ 4130978 w 4878487"/>
                <a:gd name="connsiteY1995" fmla="*/ 728232 h 3690338"/>
                <a:gd name="connsiteX1996" fmla="*/ 4130978 w 4878487"/>
                <a:gd name="connsiteY1996" fmla="*/ 727839 h 3690338"/>
                <a:gd name="connsiteX1997" fmla="*/ 4130584 w 4878487"/>
                <a:gd name="connsiteY1997" fmla="*/ 727445 h 3690338"/>
                <a:gd name="connsiteX1998" fmla="*/ 4133732 w 4878487"/>
                <a:gd name="connsiteY1998" fmla="*/ 727445 h 3690338"/>
                <a:gd name="connsiteX1999" fmla="*/ 4136486 w 4878487"/>
                <a:gd name="connsiteY1999" fmla="*/ 729019 h 3690338"/>
                <a:gd name="connsiteX2000" fmla="*/ 4139240 w 4878487"/>
                <a:gd name="connsiteY2000" fmla="*/ 729412 h 3690338"/>
                <a:gd name="connsiteX2001" fmla="*/ 4142387 w 4878487"/>
                <a:gd name="connsiteY2001" fmla="*/ 730593 h 3690338"/>
                <a:gd name="connsiteX2002" fmla="*/ 4145141 w 4878487"/>
                <a:gd name="connsiteY2002" fmla="*/ 731773 h 3690338"/>
                <a:gd name="connsiteX2003" fmla="*/ 4144748 w 4878487"/>
                <a:gd name="connsiteY2003" fmla="*/ 729019 h 3690338"/>
                <a:gd name="connsiteX2004" fmla="*/ 4147502 w 4878487"/>
                <a:gd name="connsiteY2004" fmla="*/ 729019 h 3690338"/>
                <a:gd name="connsiteX2005" fmla="*/ 4147502 w 4878487"/>
                <a:gd name="connsiteY2005" fmla="*/ 726265 h 3690338"/>
                <a:gd name="connsiteX2006" fmla="*/ 4144748 w 4878487"/>
                <a:gd name="connsiteY2006" fmla="*/ 724691 h 3690338"/>
                <a:gd name="connsiteX2007" fmla="*/ 4143174 w 4878487"/>
                <a:gd name="connsiteY2007" fmla="*/ 721544 h 3690338"/>
                <a:gd name="connsiteX2008" fmla="*/ 4140026 w 4878487"/>
                <a:gd name="connsiteY2008" fmla="*/ 721150 h 3690338"/>
                <a:gd name="connsiteX2009" fmla="*/ 4136880 w 4878487"/>
                <a:gd name="connsiteY2009" fmla="*/ 720757 h 3690338"/>
                <a:gd name="connsiteX2010" fmla="*/ 4133732 w 4878487"/>
                <a:gd name="connsiteY2010" fmla="*/ 719577 h 3690338"/>
                <a:gd name="connsiteX2011" fmla="*/ 4130978 w 4878487"/>
                <a:gd name="connsiteY2011" fmla="*/ 718397 h 3690338"/>
                <a:gd name="connsiteX2012" fmla="*/ 4128224 w 4878487"/>
                <a:gd name="connsiteY2012" fmla="*/ 717610 h 3690338"/>
                <a:gd name="connsiteX2013" fmla="*/ 4125077 w 4878487"/>
                <a:gd name="connsiteY2013" fmla="*/ 714856 h 3690338"/>
                <a:gd name="connsiteX2014" fmla="*/ 4122322 w 4878487"/>
                <a:gd name="connsiteY2014" fmla="*/ 714069 h 3690338"/>
                <a:gd name="connsiteX2015" fmla="*/ 4119175 w 4878487"/>
                <a:gd name="connsiteY2015" fmla="*/ 713282 h 3690338"/>
                <a:gd name="connsiteX2016" fmla="*/ 4116421 w 4878487"/>
                <a:gd name="connsiteY2016" fmla="*/ 711708 h 3690338"/>
                <a:gd name="connsiteX2017" fmla="*/ 4113274 w 4878487"/>
                <a:gd name="connsiteY2017" fmla="*/ 710921 h 3690338"/>
                <a:gd name="connsiteX2018" fmla="*/ 4110519 w 4878487"/>
                <a:gd name="connsiteY2018" fmla="*/ 708954 h 3690338"/>
                <a:gd name="connsiteX2019" fmla="*/ 4107373 w 4878487"/>
                <a:gd name="connsiteY2019" fmla="*/ 707381 h 3690338"/>
                <a:gd name="connsiteX2020" fmla="*/ 4104225 w 4878487"/>
                <a:gd name="connsiteY2020" fmla="*/ 706594 h 3690338"/>
                <a:gd name="connsiteX2021" fmla="*/ 4101077 w 4878487"/>
                <a:gd name="connsiteY2021" fmla="*/ 705020 h 3690338"/>
                <a:gd name="connsiteX2022" fmla="*/ 4098324 w 4878487"/>
                <a:gd name="connsiteY2022" fmla="*/ 703053 h 3690338"/>
                <a:gd name="connsiteX2023" fmla="*/ 4095963 w 4878487"/>
                <a:gd name="connsiteY2023" fmla="*/ 699905 h 3690338"/>
                <a:gd name="connsiteX2024" fmla="*/ 4092815 w 4878487"/>
                <a:gd name="connsiteY2024" fmla="*/ 697545 h 3690338"/>
                <a:gd name="connsiteX2025" fmla="*/ 4090061 w 4878487"/>
                <a:gd name="connsiteY2025" fmla="*/ 696365 h 3690338"/>
                <a:gd name="connsiteX2026" fmla="*/ 4086914 w 4878487"/>
                <a:gd name="connsiteY2026" fmla="*/ 695971 h 3690338"/>
                <a:gd name="connsiteX2027" fmla="*/ 4085734 w 4878487"/>
                <a:gd name="connsiteY2027" fmla="*/ 695578 h 3690338"/>
                <a:gd name="connsiteX2028" fmla="*/ 4082587 w 4878487"/>
                <a:gd name="connsiteY2028" fmla="*/ 694004 h 3690338"/>
                <a:gd name="connsiteX2029" fmla="*/ 4079439 w 4878487"/>
                <a:gd name="connsiteY2029" fmla="*/ 692824 h 3690338"/>
                <a:gd name="connsiteX2030" fmla="*/ 4076685 w 4878487"/>
                <a:gd name="connsiteY2030" fmla="*/ 690463 h 3690338"/>
                <a:gd name="connsiteX2031" fmla="*/ 4073538 w 4878487"/>
                <a:gd name="connsiteY2031" fmla="*/ 689676 h 3690338"/>
                <a:gd name="connsiteX2032" fmla="*/ 4070390 w 4878487"/>
                <a:gd name="connsiteY2032" fmla="*/ 692037 h 3690338"/>
                <a:gd name="connsiteX2033" fmla="*/ 4067636 w 4878487"/>
                <a:gd name="connsiteY2033" fmla="*/ 693217 h 3690338"/>
                <a:gd name="connsiteX2034" fmla="*/ 4064882 w 4878487"/>
                <a:gd name="connsiteY2034" fmla="*/ 693611 h 3690338"/>
                <a:gd name="connsiteX2035" fmla="*/ 4061735 w 4878487"/>
                <a:gd name="connsiteY2035" fmla="*/ 693217 h 3690338"/>
                <a:gd name="connsiteX2036" fmla="*/ 4058981 w 4878487"/>
                <a:gd name="connsiteY2036" fmla="*/ 692824 h 3690338"/>
                <a:gd name="connsiteX2037" fmla="*/ 4056227 w 4878487"/>
                <a:gd name="connsiteY2037" fmla="*/ 692430 h 3690338"/>
                <a:gd name="connsiteX2038" fmla="*/ 4053080 w 4878487"/>
                <a:gd name="connsiteY2038" fmla="*/ 691644 h 3690338"/>
                <a:gd name="connsiteX2039" fmla="*/ 4049932 w 4878487"/>
                <a:gd name="connsiteY2039" fmla="*/ 690463 h 3690338"/>
                <a:gd name="connsiteX2040" fmla="*/ 4047178 w 4878487"/>
                <a:gd name="connsiteY2040" fmla="*/ 690857 h 3690338"/>
                <a:gd name="connsiteX2041" fmla="*/ 4050326 w 4878487"/>
                <a:gd name="connsiteY2041" fmla="*/ 692037 h 3690338"/>
                <a:gd name="connsiteX2042" fmla="*/ 4052686 w 4878487"/>
                <a:gd name="connsiteY2042" fmla="*/ 694791 h 3690338"/>
                <a:gd name="connsiteX2043" fmla="*/ 4053472 w 4878487"/>
                <a:gd name="connsiteY2043" fmla="*/ 697938 h 3690338"/>
                <a:gd name="connsiteX2044" fmla="*/ 4056227 w 4878487"/>
                <a:gd name="connsiteY2044" fmla="*/ 698332 h 3690338"/>
                <a:gd name="connsiteX2045" fmla="*/ 4058194 w 4878487"/>
                <a:gd name="connsiteY2045" fmla="*/ 701086 h 3690338"/>
                <a:gd name="connsiteX2046" fmla="*/ 4033801 w 4878487"/>
                <a:gd name="connsiteY2046" fmla="*/ 705020 h 3690338"/>
                <a:gd name="connsiteX2047" fmla="*/ 4035375 w 4878487"/>
                <a:gd name="connsiteY2047" fmla="*/ 702659 h 3690338"/>
                <a:gd name="connsiteX2048" fmla="*/ 4032228 w 4878487"/>
                <a:gd name="connsiteY2048" fmla="*/ 702266 h 3690338"/>
                <a:gd name="connsiteX2049" fmla="*/ 4029474 w 4878487"/>
                <a:gd name="connsiteY2049" fmla="*/ 702266 h 3690338"/>
                <a:gd name="connsiteX2050" fmla="*/ 4026326 w 4878487"/>
                <a:gd name="connsiteY2050" fmla="*/ 701086 h 3690338"/>
                <a:gd name="connsiteX2051" fmla="*/ 4023573 w 4878487"/>
                <a:gd name="connsiteY2051" fmla="*/ 699512 h 3690338"/>
                <a:gd name="connsiteX2052" fmla="*/ 4020819 w 4878487"/>
                <a:gd name="connsiteY2052" fmla="*/ 699119 h 3690338"/>
                <a:gd name="connsiteX2053" fmla="*/ 4018064 w 4878487"/>
                <a:gd name="connsiteY2053" fmla="*/ 696758 h 3690338"/>
                <a:gd name="connsiteX2054" fmla="*/ 4021212 w 4878487"/>
                <a:gd name="connsiteY2054" fmla="*/ 696365 h 3690338"/>
                <a:gd name="connsiteX2055" fmla="*/ 4022786 w 4878487"/>
                <a:gd name="connsiteY2055" fmla="*/ 693217 h 3690338"/>
                <a:gd name="connsiteX2056" fmla="*/ 4023573 w 4878487"/>
                <a:gd name="connsiteY2056" fmla="*/ 690070 h 3690338"/>
                <a:gd name="connsiteX2057" fmla="*/ 4020425 w 4878487"/>
                <a:gd name="connsiteY2057" fmla="*/ 690463 h 3690338"/>
                <a:gd name="connsiteX2058" fmla="*/ 4017277 w 4878487"/>
                <a:gd name="connsiteY2058" fmla="*/ 690070 h 3690338"/>
                <a:gd name="connsiteX2059" fmla="*/ 4014524 w 4878487"/>
                <a:gd name="connsiteY2059" fmla="*/ 691250 h 3690338"/>
                <a:gd name="connsiteX2060" fmla="*/ 4012163 w 4878487"/>
                <a:gd name="connsiteY2060" fmla="*/ 694004 h 3690338"/>
                <a:gd name="connsiteX2061" fmla="*/ 4013343 w 4878487"/>
                <a:gd name="connsiteY2061" fmla="*/ 696758 h 3690338"/>
                <a:gd name="connsiteX2062" fmla="*/ 4016491 w 4878487"/>
                <a:gd name="connsiteY2062" fmla="*/ 698725 h 3690338"/>
                <a:gd name="connsiteX2063" fmla="*/ 4019638 w 4878487"/>
                <a:gd name="connsiteY2063" fmla="*/ 699119 h 3690338"/>
                <a:gd name="connsiteX2064" fmla="*/ 4020819 w 4878487"/>
                <a:gd name="connsiteY2064" fmla="*/ 701873 h 3690338"/>
                <a:gd name="connsiteX2065" fmla="*/ 4021606 w 4878487"/>
                <a:gd name="connsiteY2065" fmla="*/ 705020 h 3690338"/>
                <a:gd name="connsiteX2066" fmla="*/ 4018852 w 4878487"/>
                <a:gd name="connsiteY2066" fmla="*/ 705413 h 3690338"/>
                <a:gd name="connsiteX2067" fmla="*/ 4016097 w 4878487"/>
                <a:gd name="connsiteY2067" fmla="*/ 705020 h 3690338"/>
                <a:gd name="connsiteX2068" fmla="*/ 4014130 w 4878487"/>
                <a:gd name="connsiteY2068" fmla="*/ 707774 h 3690338"/>
                <a:gd name="connsiteX2069" fmla="*/ 4009409 w 4878487"/>
                <a:gd name="connsiteY2069" fmla="*/ 705413 h 3690338"/>
                <a:gd name="connsiteX2070" fmla="*/ 4008228 w 4878487"/>
                <a:gd name="connsiteY2070" fmla="*/ 704233 h 3690338"/>
                <a:gd name="connsiteX2071" fmla="*/ 4006261 w 4878487"/>
                <a:gd name="connsiteY2071" fmla="*/ 701086 h 3690338"/>
                <a:gd name="connsiteX2072" fmla="*/ 4006261 w 4878487"/>
                <a:gd name="connsiteY2072" fmla="*/ 698332 h 3690338"/>
                <a:gd name="connsiteX2073" fmla="*/ 4004688 w 4878487"/>
                <a:gd name="connsiteY2073" fmla="*/ 695578 h 3690338"/>
                <a:gd name="connsiteX2074" fmla="*/ 4001540 w 4878487"/>
                <a:gd name="connsiteY2074" fmla="*/ 693611 h 3690338"/>
                <a:gd name="connsiteX2075" fmla="*/ 4000754 w 4878487"/>
                <a:gd name="connsiteY2075" fmla="*/ 690463 h 3690338"/>
                <a:gd name="connsiteX2076" fmla="*/ 3997606 w 4878487"/>
                <a:gd name="connsiteY2076" fmla="*/ 688890 h 3690338"/>
                <a:gd name="connsiteX2077" fmla="*/ 3997213 w 4878487"/>
                <a:gd name="connsiteY2077" fmla="*/ 686136 h 3690338"/>
                <a:gd name="connsiteX2078" fmla="*/ 3994852 w 4878487"/>
                <a:gd name="connsiteY2078" fmla="*/ 682988 h 3690338"/>
                <a:gd name="connsiteX2079" fmla="*/ 3991705 w 4878487"/>
                <a:gd name="connsiteY2079" fmla="*/ 680234 h 3690338"/>
                <a:gd name="connsiteX2080" fmla="*/ 3988951 w 4878487"/>
                <a:gd name="connsiteY2080" fmla="*/ 680628 h 3690338"/>
                <a:gd name="connsiteX2081" fmla="*/ 3986197 w 4878487"/>
                <a:gd name="connsiteY2081" fmla="*/ 681021 h 3690338"/>
                <a:gd name="connsiteX2082" fmla="*/ 3983050 w 4878487"/>
                <a:gd name="connsiteY2082" fmla="*/ 680628 h 3690338"/>
                <a:gd name="connsiteX2083" fmla="*/ 3979902 w 4878487"/>
                <a:gd name="connsiteY2083" fmla="*/ 680234 h 3690338"/>
                <a:gd name="connsiteX2084" fmla="*/ 3976754 w 4878487"/>
                <a:gd name="connsiteY2084" fmla="*/ 679841 h 3690338"/>
                <a:gd name="connsiteX2085" fmla="*/ 3974001 w 4878487"/>
                <a:gd name="connsiteY2085" fmla="*/ 680234 h 3690338"/>
                <a:gd name="connsiteX2086" fmla="*/ 3971247 w 4878487"/>
                <a:gd name="connsiteY2086" fmla="*/ 681021 h 3690338"/>
                <a:gd name="connsiteX2087" fmla="*/ 3968493 w 4878487"/>
                <a:gd name="connsiteY2087" fmla="*/ 681021 h 3690338"/>
                <a:gd name="connsiteX2088" fmla="*/ 3965345 w 4878487"/>
                <a:gd name="connsiteY2088" fmla="*/ 680628 h 3690338"/>
                <a:gd name="connsiteX2089" fmla="*/ 3962198 w 4878487"/>
                <a:gd name="connsiteY2089" fmla="*/ 678267 h 3690338"/>
                <a:gd name="connsiteX2090" fmla="*/ 3959050 w 4878487"/>
                <a:gd name="connsiteY2090" fmla="*/ 677874 h 3690338"/>
                <a:gd name="connsiteX2091" fmla="*/ 3956296 w 4878487"/>
                <a:gd name="connsiteY2091" fmla="*/ 677480 h 3690338"/>
                <a:gd name="connsiteX2092" fmla="*/ 3953543 w 4878487"/>
                <a:gd name="connsiteY2092" fmla="*/ 676693 h 3690338"/>
                <a:gd name="connsiteX2093" fmla="*/ 3950395 w 4878487"/>
                <a:gd name="connsiteY2093" fmla="*/ 677087 h 3690338"/>
                <a:gd name="connsiteX2094" fmla="*/ 3944887 w 4878487"/>
                <a:gd name="connsiteY2094" fmla="*/ 667644 h 3690338"/>
                <a:gd name="connsiteX2095" fmla="*/ 3946461 w 4878487"/>
                <a:gd name="connsiteY2095" fmla="*/ 664497 h 3690338"/>
                <a:gd name="connsiteX2096" fmla="*/ 3949608 w 4878487"/>
                <a:gd name="connsiteY2096" fmla="*/ 662923 h 3690338"/>
                <a:gd name="connsiteX2097" fmla="*/ 3952362 w 4878487"/>
                <a:gd name="connsiteY2097" fmla="*/ 660956 h 3690338"/>
                <a:gd name="connsiteX2098" fmla="*/ 3954723 w 4878487"/>
                <a:gd name="connsiteY2098" fmla="*/ 658202 h 3690338"/>
                <a:gd name="connsiteX2099" fmla="*/ 3957083 w 4878487"/>
                <a:gd name="connsiteY2099" fmla="*/ 655448 h 3690338"/>
                <a:gd name="connsiteX2100" fmla="*/ 3956296 w 4878487"/>
                <a:gd name="connsiteY2100" fmla="*/ 652301 h 3690338"/>
                <a:gd name="connsiteX2101" fmla="*/ 3956690 w 4878487"/>
                <a:gd name="connsiteY2101" fmla="*/ 649547 h 3690338"/>
                <a:gd name="connsiteX2102" fmla="*/ 3959444 w 4878487"/>
                <a:gd name="connsiteY2102" fmla="*/ 647580 h 3690338"/>
                <a:gd name="connsiteX2103" fmla="*/ 3962592 w 4878487"/>
                <a:gd name="connsiteY2103" fmla="*/ 646793 h 3690338"/>
                <a:gd name="connsiteX2104" fmla="*/ 3963772 w 4878487"/>
                <a:gd name="connsiteY2104" fmla="*/ 644039 h 3690338"/>
                <a:gd name="connsiteX2105" fmla="*/ 3966526 w 4878487"/>
                <a:gd name="connsiteY2105" fmla="*/ 642465 h 3690338"/>
                <a:gd name="connsiteX2106" fmla="*/ 3966919 w 4878487"/>
                <a:gd name="connsiteY2106" fmla="*/ 639711 h 3690338"/>
                <a:gd name="connsiteX2107" fmla="*/ 3969673 w 4878487"/>
                <a:gd name="connsiteY2107" fmla="*/ 637351 h 3690338"/>
                <a:gd name="connsiteX2108" fmla="*/ 3969673 w 4878487"/>
                <a:gd name="connsiteY2108" fmla="*/ 634597 h 3690338"/>
                <a:gd name="connsiteX2109" fmla="*/ 3972820 w 4878487"/>
                <a:gd name="connsiteY2109" fmla="*/ 631843 h 3690338"/>
                <a:gd name="connsiteX2110" fmla="*/ 3972427 w 4878487"/>
                <a:gd name="connsiteY2110" fmla="*/ 629089 h 3690338"/>
                <a:gd name="connsiteX2111" fmla="*/ 3973214 w 4878487"/>
                <a:gd name="connsiteY2111" fmla="*/ 626335 h 3690338"/>
                <a:gd name="connsiteX2112" fmla="*/ 3974787 w 4878487"/>
                <a:gd name="connsiteY2112" fmla="*/ 623187 h 3690338"/>
                <a:gd name="connsiteX2113" fmla="*/ 3977542 w 4878487"/>
                <a:gd name="connsiteY2113" fmla="*/ 622400 h 3690338"/>
                <a:gd name="connsiteX2114" fmla="*/ 3974394 w 4878487"/>
                <a:gd name="connsiteY2114" fmla="*/ 620827 h 3690338"/>
                <a:gd name="connsiteX2115" fmla="*/ 3971641 w 4878487"/>
                <a:gd name="connsiteY2115" fmla="*/ 618466 h 3690338"/>
                <a:gd name="connsiteX2116" fmla="*/ 3973214 w 4878487"/>
                <a:gd name="connsiteY2116" fmla="*/ 615319 h 3690338"/>
                <a:gd name="connsiteX2117" fmla="*/ 3974001 w 4878487"/>
                <a:gd name="connsiteY2117" fmla="*/ 612565 h 3690338"/>
                <a:gd name="connsiteX2118" fmla="*/ 3973214 w 4878487"/>
                <a:gd name="connsiteY2118" fmla="*/ 610204 h 3690338"/>
                <a:gd name="connsiteX2119" fmla="*/ 3975968 w 4878487"/>
                <a:gd name="connsiteY2119" fmla="*/ 604696 h 3690338"/>
                <a:gd name="connsiteX2120" fmla="*/ 3976754 w 4878487"/>
                <a:gd name="connsiteY2120" fmla="*/ 603909 h 3690338"/>
                <a:gd name="connsiteX2121" fmla="*/ 3977148 w 4878487"/>
                <a:gd name="connsiteY2121" fmla="*/ 602729 h 3690338"/>
                <a:gd name="connsiteX2122" fmla="*/ 3979902 w 4878487"/>
                <a:gd name="connsiteY2122" fmla="*/ 597221 h 3690338"/>
                <a:gd name="connsiteX2123" fmla="*/ 3981476 w 4878487"/>
                <a:gd name="connsiteY2123" fmla="*/ 595647 h 3690338"/>
                <a:gd name="connsiteX2124" fmla="*/ 3984623 w 4878487"/>
                <a:gd name="connsiteY2124" fmla="*/ 594467 h 3690338"/>
                <a:gd name="connsiteX2125" fmla="*/ 3984623 w 4878487"/>
                <a:gd name="connsiteY2125" fmla="*/ 591713 h 3690338"/>
                <a:gd name="connsiteX2126" fmla="*/ 3987378 w 4878487"/>
                <a:gd name="connsiteY2126" fmla="*/ 588959 h 3690338"/>
                <a:gd name="connsiteX2127" fmla="*/ 3986984 w 4878487"/>
                <a:gd name="connsiteY2127" fmla="*/ 583451 h 3690338"/>
                <a:gd name="connsiteX2128" fmla="*/ 3986984 w 4878487"/>
                <a:gd name="connsiteY2128" fmla="*/ 583058 h 3690338"/>
                <a:gd name="connsiteX2129" fmla="*/ 3989738 w 4878487"/>
                <a:gd name="connsiteY2129" fmla="*/ 581484 h 3690338"/>
                <a:gd name="connsiteX2130" fmla="*/ 3993279 w 4878487"/>
                <a:gd name="connsiteY2130" fmla="*/ 581091 h 3690338"/>
                <a:gd name="connsiteX2131" fmla="*/ 3995246 w 4878487"/>
                <a:gd name="connsiteY2131" fmla="*/ 578337 h 3690338"/>
                <a:gd name="connsiteX2132" fmla="*/ 3992885 w 4878487"/>
                <a:gd name="connsiteY2132" fmla="*/ 575189 h 3690338"/>
                <a:gd name="connsiteX2133" fmla="*/ 3992099 w 4878487"/>
                <a:gd name="connsiteY2133" fmla="*/ 574009 h 3690338"/>
                <a:gd name="connsiteX2134" fmla="*/ 4015704 w 4878487"/>
                <a:gd name="connsiteY2134" fmla="*/ 529945 h 3690338"/>
                <a:gd name="connsiteX2135" fmla="*/ 4018458 w 4878487"/>
                <a:gd name="connsiteY2135" fmla="*/ 530339 h 3690338"/>
                <a:gd name="connsiteX2136" fmla="*/ 4021606 w 4878487"/>
                <a:gd name="connsiteY2136" fmla="*/ 531126 h 3690338"/>
                <a:gd name="connsiteX2137" fmla="*/ 4024753 w 4878487"/>
                <a:gd name="connsiteY2137" fmla="*/ 531126 h 3690338"/>
                <a:gd name="connsiteX2138" fmla="*/ 4027507 w 4878487"/>
                <a:gd name="connsiteY2138" fmla="*/ 529945 h 3690338"/>
                <a:gd name="connsiteX2139" fmla="*/ 4047571 w 4878487"/>
                <a:gd name="connsiteY2139" fmla="*/ 529945 h 3690338"/>
                <a:gd name="connsiteX2140" fmla="*/ 4048359 w 4878487"/>
                <a:gd name="connsiteY2140" fmla="*/ 529945 h 3690338"/>
                <a:gd name="connsiteX2141" fmla="*/ 4051505 w 4878487"/>
                <a:gd name="connsiteY2141" fmla="*/ 529945 h 3690338"/>
                <a:gd name="connsiteX2142" fmla="*/ 4051899 w 4878487"/>
                <a:gd name="connsiteY2142" fmla="*/ 529945 h 3690338"/>
                <a:gd name="connsiteX2143" fmla="*/ 4081406 w 4878487"/>
                <a:gd name="connsiteY2143" fmla="*/ 529945 h 3690338"/>
                <a:gd name="connsiteX2144" fmla="*/ 4081800 w 4878487"/>
                <a:gd name="connsiteY2144" fmla="*/ 532699 h 3690338"/>
                <a:gd name="connsiteX2145" fmla="*/ 4084947 w 4878487"/>
                <a:gd name="connsiteY2145" fmla="*/ 534666 h 3690338"/>
                <a:gd name="connsiteX2146" fmla="*/ 4087701 w 4878487"/>
                <a:gd name="connsiteY2146" fmla="*/ 535060 h 3690338"/>
                <a:gd name="connsiteX2147" fmla="*/ 4090455 w 4878487"/>
                <a:gd name="connsiteY2147" fmla="*/ 536634 h 3690338"/>
                <a:gd name="connsiteX2148" fmla="*/ 4093209 w 4878487"/>
                <a:gd name="connsiteY2148" fmla="*/ 535060 h 3690338"/>
                <a:gd name="connsiteX2149" fmla="*/ 4096357 w 4878487"/>
                <a:gd name="connsiteY2149" fmla="*/ 535453 h 3690338"/>
                <a:gd name="connsiteX2150" fmla="*/ 4091242 w 4878487"/>
                <a:gd name="connsiteY2150" fmla="*/ 529945 h 3690338"/>
                <a:gd name="connsiteX2151" fmla="*/ 4091242 w 4878487"/>
                <a:gd name="connsiteY2151" fmla="*/ 529945 h 3690338"/>
                <a:gd name="connsiteX2152" fmla="*/ 4104618 w 4878487"/>
                <a:gd name="connsiteY2152" fmla="*/ 529945 h 3690338"/>
                <a:gd name="connsiteX2153" fmla="*/ 4104618 w 4878487"/>
                <a:gd name="connsiteY2153" fmla="*/ 529945 h 3690338"/>
                <a:gd name="connsiteX2154" fmla="*/ 4105012 w 4878487"/>
                <a:gd name="connsiteY2154" fmla="*/ 529945 h 3690338"/>
                <a:gd name="connsiteX2155" fmla="*/ 4108159 w 4878487"/>
                <a:gd name="connsiteY2155" fmla="*/ 529552 h 3690338"/>
                <a:gd name="connsiteX2156" fmla="*/ 4110913 w 4878487"/>
                <a:gd name="connsiteY2156" fmla="*/ 530339 h 3690338"/>
                <a:gd name="connsiteX2157" fmla="*/ 4114061 w 4878487"/>
                <a:gd name="connsiteY2157" fmla="*/ 530732 h 3690338"/>
                <a:gd name="connsiteX2158" fmla="*/ 4117208 w 4878487"/>
                <a:gd name="connsiteY2158" fmla="*/ 531126 h 3690338"/>
                <a:gd name="connsiteX2159" fmla="*/ 4119962 w 4878487"/>
                <a:gd name="connsiteY2159" fmla="*/ 531912 h 3690338"/>
                <a:gd name="connsiteX2160" fmla="*/ 4122716 w 4878487"/>
                <a:gd name="connsiteY2160" fmla="*/ 533486 h 3690338"/>
                <a:gd name="connsiteX2161" fmla="*/ 4125864 w 4878487"/>
                <a:gd name="connsiteY2161" fmla="*/ 531912 h 3690338"/>
                <a:gd name="connsiteX2162" fmla="*/ 4129011 w 4878487"/>
                <a:gd name="connsiteY2162" fmla="*/ 533093 h 3690338"/>
                <a:gd name="connsiteX2163" fmla="*/ 4127044 w 4878487"/>
                <a:gd name="connsiteY2163" fmla="*/ 529945 h 3690338"/>
                <a:gd name="connsiteX2164" fmla="*/ 4129798 w 4878487"/>
                <a:gd name="connsiteY2164" fmla="*/ 529158 h 3690338"/>
                <a:gd name="connsiteX2165" fmla="*/ 4132552 w 4878487"/>
                <a:gd name="connsiteY2165" fmla="*/ 528765 h 3690338"/>
                <a:gd name="connsiteX2166" fmla="*/ 4135699 w 4878487"/>
                <a:gd name="connsiteY2166" fmla="*/ 528372 h 3690338"/>
                <a:gd name="connsiteX2167" fmla="*/ 4138847 w 4878487"/>
                <a:gd name="connsiteY2167" fmla="*/ 528765 h 3690338"/>
                <a:gd name="connsiteX2168" fmla="*/ 4141601 w 4878487"/>
                <a:gd name="connsiteY2168" fmla="*/ 529945 h 3690338"/>
                <a:gd name="connsiteX2169" fmla="*/ 4144748 w 4878487"/>
                <a:gd name="connsiteY2169" fmla="*/ 533093 h 3690338"/>
                <a:gd name="connsiteX2170" fmla="*/ 4147895 w 4878487"/>
                <a:gd name="connsiteY2170" fmla="*/ 533486 h 3690338"/>
                <a:gd name="connsiteX2171" fmla="*/ 4150650 w 4878487"/>
                <a:gd name="connsiteY2171" fmla="*/ 533093 h 3690338"/>
                <a:gd name="connsiteX2172" fmla="*/ 4153796 w 4878487"/>
                <a:gd name="connsiteY2172" fmla="*/ 532699 h 3690338"/>
                <a:gd name="connsiteX2173" fmla="*/ 4156944 w 4878487"/>
                <a:gd name="connsiteY2173" fmla="*/ 533880 h 3690338"/>
                <a:gd name="connsiteX2174" fmla="*/ 4154977 w 4878487"/>
                <a:gd name="connsiteY2174" fmla="*/ 530732 h 3690338"/>
                <a:gd name="connsiteX2175" fmla="*/ 4152223 w 4878487"/>
                <a:gd name="connsiteY2175" fmla="*/ 529552 h 3690338"/>
                <a:gd name="connsiteX2176" fmla="*/ 4149469 w 4878487"/>
                <a:gd name="connsiteY2176" fmla="*/ 529945 h 3690338"/>
                <a:gd name="connsiteX2177" fmla="*/ 4146322 w 4878487"/>
                <a:gd name="connsiteY2177" fmla="*/ 527978 h 3690338"/>
                <a:gd name="connsiteX2178" fmla="*/ 4145928 w 4878487"/>
                <a:gd name="connsiteY2178" fmla="*/ 525224 h 3690338"/>
                <a:gd name="connsiteX2179" fmla="*/ 4149075 w 4878487"/>
                <a:gd name="connsiteY2179" fmla="*/ 526798 h 3690338"/>
                <a:gd name="connsiteX2180" fmla="*/ 4151829 w 4878487"/>
                <a:gd name="connsiteY2180" fmla="*/ 527191 h 3690338"/>
                <a:gd name="connsiteX2181" fmla="*/ 4154977 w 4878487"/>
                <a:gd name="connsiteY2181" fmla="*/ 526011 h 3690338"/>
                <a:gd name="connsiteX2182" fmla="*/ 4157731 w 4878487"/>
                <a:gd name="connsiteY2182" fmla="*/ 527191 h 3690338"/>
                <a:gd name="connsiteX2183" fmla="*/ 4154584 w 4878487"/>
                <a:gd name="connsiteY2183" fmla="*/ 524831 h 3690338"/>
                <a:gd name="connsiteX2184" fmla="*/ 4151829 w 4878487"/>
                <a:gd name="connsiteY2184" fmla="*/ 524437 h 3690338"/>
                <a:gd name="connsiteX2185" fmla="*/ 4149862 w 4878487"/>
                <a:gd name="connsiteY2185" fmla="*/ 523257 h 3690338"/>
                <a:gd name="connsiteX2186" fmla="*/ 4169533 w 4878487"/>
                <a:gd name="connsiteY2186" fmla="*/ 520110 h 3690338"/>
                <a:gd name="connsiteX2187" fmla="*/ 4171108 w 4878487"/>
                <a:gd name="connsiteY2187" fmla="*/ 520503 h 3690338"/>
                <a:gd name="connsiteX2188" fmla="*/ 4174255 w 4878487"/>
                <a:gd name="connsiteY2188" fmla="*/ 521683 h 3690338"/>
                <a:gd name="connsiteX2189" fmla="*/ 4177009 w 4878487"/>
                <a:gd name="connsiteY2189" fmla="*/ 521683 h 3690338"/>
                <a:gd name="connsiteX2190" fmla="*/ 4180157 w 4878487"/>
                <a:gd name="connsiteY2190" fmla="*/ 522470 h 3690338"/>
                <a:gd name="connsiteX2191" fmla="*/ 4182910 w 4878487"/>
                <a:gd name="connsiteY2191" fmla="*/ 522864 h 3690338"/>
                <a:gd name="connsiteX2192" fmla="*/ 4186058 w 4878487"/>
                <a:gd name="connsiteY2192" fmla="*/ 524437 h 3690338"/>
                <a:gd name="connsiteX2193" fmla="*/ 4189205 w 4878487"/>
                <a:gd name="connsiteY2193" fmla="*/ 526011 h 3690338"/>
                <a:gd name="connsiteX2194" fmla="*/ 4192352 w 4878487"/>
                <a:gd name="connsiteY2194" fmla="*/ 526011 h 3690338"/>
                <a:gd name="connsiteX2195" fmla="*/ 4195106 w 4878487"/>
                <a:gd name="connsiteY2195" fmla="*/ 527978 h 3690338"/>
                <a:gd name="connsiteX2196" fmla="*/ 4197861 w 4878487"/>
                <a:gd name="connsiteY2196" fmla="*/ 526404 h 3690338"/>
                <a:gd name="connsiteX2197" fmla="*/ 4197467 w 4878487"/>
                <a:gd name="connsiteY2197" fmla="*/ 523650 h 3690338"/>
                <a:gd name="connsiteX2198" fmla="*/ 4200221 w 4878487"/>
                <a:gd name="connsiteY2198" fmla="*/ 523257 h 3690338"/>
                <a:gd name="connsiteX2199" fmla="*/ 4203368 w 4878487"/>
                <a:gd name="connsiteY2199" fmla="*/ 523650 h 3690338"/>
                <a:gd name="connsiteX2200" fmla="*/ 4206516 w 4878487"/>
                <a:gd name="connsiteY2200" fmla="*/ 523257 h 3690338"/>
                <a:gd name="connsiteX2201" fmla="*/ 4209270 w 4878487"/>
                <a:gd name="connsiteY2201" fmla="*/ 524831 h 3690338"/>
                <a:gd name="connsiteX2202" fmla="*/ 4212024 w 4878487"/>
                <a:gd name="connsiteY2202" fmla="*/ 526011 h 3690338"/>
                <a:gd name="connsiteX2203" fmla="*/ 4214777 w 4878487"/>
                <a:gd name="connsiteY2203" fmla="*/ 526798 h 3690338"/>
                <a:gd name="connsiteX2204" fmla="*/ 4217925 w 4878487"/>
                <a:gd name="connsiteY2204" fmla="*/ 528372 h 3690338"/>
                <a:gd name="connsiteX2205" fmla="*/ 4220679 w 4878487"/>
                <a:gd name="connsiteY2205" fmla="*/ 529945 h 3690338"/>
                <a:gd name="connsiteX2206" fmla="*/ 4223434 w 4878487"/>
                <a:gd name="connsiteY2206" fmla="*/ 532306 h 3690338"/>
                <a:gd name="connsiteX2207" fmla="*/ 4226187 w 4878487"/>
                <a:gd name="connsiteY2207" fmla="*/ 531912 h 3690338"/>
                <a:gd name="connsiteX2208" fmla="*/ 4229728 w 4878487"/>
                <a:gd name="connsiteY2208" fmla="*/ 533093 h 3690338"/>
                <a:gd name="connsiteX2209" fmla="*/ 4232875 w 4878487"/>
                <a:gd name="connsiteY2209" fmla="*/ 532306 h 3690338"/>
                <a:gd name="connsiteX2210" fmla="*/ 4235629 w 4878487"/>
                <a:gd name="connsiteY2210" fmla="*/ 533093 h 3690338"/>
                <a:gd name="connsiteX2211" fmla="*/ 4238777 w 4878487"/>
                <a:gd name="connsiteY2211" fmla="*/ 535060 h 3690338"/>
                <a:gd name="connsiteX2212" fmla="*/ 4235629 w 4878487"/>
                <a:gd name="connsiteY2212" fmla="*/ 536634 h 3690338"/>
                <a:gd name="connsiteX2213" fmla="*/ 4226580 w 4878487"/>
                <a:gd name="connsiteY2213" fmla="*/ 536634 h 3690338"/>
                <a:gd name="connsiteX2214" fmla="*/ 4223826 w 4878487"/>
                <a:gd name="connsiteY2214" fmla="*/ 536240 h 3690338"/>
                <a:gd name="connsiteX2215" fmla="*/ 4221073 w 4878487"/>
                <a:gd name="connsiteY2215" fmla="*/ 536240 h 3690338"/>
                <a:gd name="connsiteX2216" fmla="*/ 4217925 w 4878487"/>
                <a:gd name="connsiteY2216" fmla="*/ 537814 h 3690338"/>
                <a:gd name="connsiteX2217" fmla="*/ 4214777 w 4878487"/>
                <a:gd name="connsiteY2217" fmla="*/ 538207 h 3690338"/>
                <a:gd name="connsiteX2218" fmla="*/ 4217925 w 4878487"/>
                <a:gd name="connsiteY2218" fmla="*/ 540174 h 3690338"/>
                <a:gd name="connsiteX2219" fmla="*/ 4220679 w 4878487"/>
                <a:gd name="connsiteY2219" fmla="*/ 541748 h 3690338"/>
                <a:gd name="connsiteX2220" fmla="*/ 4223826 w 4878487"/>
                <a:gd name="connsiteY2220" fmla="*/ 543322 h 3690338"/>
                <a:gd name="connsiteX2221" fmla="*/ 4226580 w 4878487"/>
                <a:gd name="connsiteY2221" fmla="*/ 544895 h 3690338"/>
                <a:gd name="connsiteX2222" fmla="*/ 4229728 w 4878487"/>
                <a:gd name="connsiteY2222" fmla="*/ 545289 h 3690338"/>
                <a:gd name="connsiteX2223" fmla="*/ 4232482 w 4878487"/>
                <a:gd name="connsiteY2223" fmla="*/ 545682 h 3690338"/>
                <a:gd name="connsiteX2224" fmla="*/ 4236023 w 4878487"/>
                <a:gd name="connsiteY2224" fmla="*/ 546076 h 3690338"/>
                <a:gd name="connsiteX2225" fmla="*/ 4239171 w 4878487"/>
                <a:gd name="connsiteY2225" fmla="*/ 545289 h 3690338"/>
                <a:gd name="connsiteX2226" fmla="*/ 4241924 w 4878487"/>
                <a:gd name="connsiteY2226" fmla="*/ 544895 h 3690338"/>
                <a:gd name="connsiteX2227" fmla="*/ 4245072 w 4878487"/>
                <a:gd name="connsiteY2227" fmla="*/ 544502 h 3690338"/>
                <a:gd name="connsiteX2228" fmla="*/ 4243105 w 4878487"/>
                <a:gd name="connsiteY2228" fmla="*/ 541748 h 3690338"/>
                <a:gd name="connsiteX2229" fmla="*/ 4246252 w 4878487"/>
                <a:gd name="connsiteY2229" fmla="*/ 540961 h 3690338"/>
                <a:gd name="connsiteX2230" fmla="*/ 4249006 w 4878487"/>
                <a:gd name="connsiteY2230" fmla="*/ 540961 h 3690338"/>
                <a:gd name="connsiteX2231" fmla="*/ 4252153 w 4878487"/>
                <a:gd name="connsiteY2231" fmla="*/ 541748 h 3690338"/>
                <a:gd name="connsiteX2232" fmla="*/ 4255301 w 4878487"/>
                <a:gd name="connsiteY2232" fmla="*/ 542928 h 3690338"/>
                <a:gd name="connsiteX2233" fmla="*/ 4258448 w 4878487"/>
                <a:gd name="connsiteY2233" fmla="*/ 543715 h 3690338"/>
                <a:gd name="connsiteX2234" fmla="*/ 4261989 w 4878487"/>
                <a:gd name="connsiteY2234" fmla="*/ 543322 h 3690338"/>
                <a:gd name="connsiteX2235" fmla="*/ 4265136 w 4878487"/>
                <a:gd name="connsiteY2235" fmla="*/ 544502 h 3690338"/>
                <a:gd name="connsiteX2236" fmla="*/ 4262382 w 4878487"/>
                <a:gd name="connsiteY2236" fmla="*/ 541748 h 3690338"/>
                <a:gd name="connsiteX2237" fmla="*/ 4263169 w 4878487"/>
                <a:gd name="connsiteY2237" fmla="*/ 538601 h 3690338"/>
                <a:gd name="connsiteX2238" fmla="*/ 4266317 w 4878487"/>
                <a:gd name="connsiteY2238" fmla="*/ 537027 h 3690338"/>
                <a:gd name="connsiteX2239" fmla="*/ 4267890 w 4878487"/>
                <a:gd name="connsiteY2239" fmla="*/ 534273 h 3690338"/>
                <a:gd name="connsiteX2240" fmla="*/ 4271038 w 4878487"/>
                <a:gd name="connsiteY2240" fmla="*/ 535060 h 3690338"/>
                <a:gd name="connsiteX2241" fmla="*/ 4274579 w 4878487"/>
                <a:gd name="connsiteY2241" fmla="*/ 535453 h 3690338"/>
                <a:gd name="connsiteX2242" fmla="*/ 4277726 w 4878487"/>
                <a:gd name="connsiteY2242" fmla="*/ 535847 h 3690338"/>
                <a:gd name="connsiteX2243" fmla="*/ 4280480 w 4878487"/>
                <a:gd name="connsiteY2243" fmla="*/ 537027 h 3690338"/>
                <a:gd name="connsiteX2244" fmla="*/ 4283234 w 4878487"/>
                <a:gd name="connsiteY2244" fmla="*/ 538601 h 3690338"/>
                <a:gd name="connsiteX2245" fmla="*/ 4286382 w 4878487"/>
                <a:gd name="connsiteY2245" fmla="*/ 539388 h 3690338"/>
                <a:gd name="connsiteX2246" fmla="*/ 4289922 w 4878487"/>
                <a:gd name="connsiteY2246" fmla="*/ 538207 h 3690338"/>
                <a:gd name="connsiteX2247" fmla="*/ 4292676 w 4878487"/>
                <a:gd name="connsiteY2247" fmla="*/ 537814 h 3690338"/>
                <a:gd name="connsiteX2248" fmla="*/ 4291103 w 4878487"/>
                <a:gd name="connsiteY2248" fmla="*/ 535060 h 3690338"/>
                <a:gd name="connsiteX2249" fmla="*/ 4294250 w 4878487"/>
                <a:gd name="connsiteY2249" fmla="*/ 534666 h 3690338"/>
                <a:gd name="connsiteX2250" fmla="*/ 4297397 w 4878487"/>
                <a:gd name="connsiteY2250" fmla="*/ 535847 h 3690338"/>
                <a:gd name="connsiteX2251" fmla="*/ 4300545 w 4878487"/>
                <a:gd name="connsiteY2251" fmla="*/ 537027 h 3690338"/>
                <a:gd name="connsiteX2252" fmla="*/ 4303692 w 4878487"/>
                <a:gd name="connsiteY2252" fmla="*/ 535453 h 3690338"/>
                <a:gd name="connsiteX2253" fmla="*/ 4306446 w 4878487"/>
                <a:gd name="connsiteY2253" fmla="*/ 535453 h 3690338"/>
                <a:gd name="connsiteX2254" fmla="*/ 4309594 w 4878487"/>
                <a:gd name="connsiteY2254" fmla="*/ 533880 h 3690338"/>
                <a:gd name="connsiteX2255" fmla="*/ 4306446 w 4878487"/>
                <a:gd name="connsiteY2255" fmla="*/ 532306 h 3690338"/>
                <a:gd name="connsiteX2256" fmla="*/ 4304086 w 4878487"/>
                <a:gd name="connsiteY2256" fmla="*/ 529158 h 3690338"/>
                <a:gd name="connsiteX2257" fmla="*/ 4301331 w 4878487"/>
                <a:gd name="connsiteY2257" fmla="*/ 528765 h 3690338"/>
                <a:gd name="connsiteX2258" fmla="*/ 4298577 w 4878487"/>
                <a:gd name="connsiteY2258" fmla="*/ 527191 h 3690338"/>
                <a:gd name="connsiteX2259" fmla="*/ 4295430 w 4878487"/>
                <a:gd name="connsiteY2259" fmla="*/ 525618 h 3690338"/>
                <a:gd name="connsiteX2260" fmla="*/ 4292676 w 4878487"/>
                <a:gd name="connsiteY2260" fmla="*/ 526011 h 3690338"/>
                <a:gd name="connsiteX2261" fmla="*/ 4289922 w 4878487"/>
                <a:gd name="connsiteY2261" fmla="*/ 525224 h 3690338"/>
                <a:gd name="connsiteX2262" fmla="*/ 4286775 w 4878487"/>
                <a:gd name="connsiteY2262" fmla="*/ 523650 h 3690338"/>
                <a:gd name="connsiteX2263" fmla="*/ 4283627 w 4878487"/>
                <a:gd name="connsiteY2263" fmla="*/ 525618 h 3690338"/>
                <a:gd name="connsiteX2264" fmla="*/ 4286775 w 4878487"/>
                <a:gd name="connsiteY2264" fmla="*/ 527585 h 3690338"/>
                <a:gd name="connsiteX2265" fmla="*/ 4284021 w 4878487"/>
                <a:gd name="connsiteY2265" fmla="*/ 526798 h 3690338"/>
                <a:gd name="connsiteX2266" fmla="*/ 4280873 w 4878487"/>
                <a:gd name="connsiteY2266" fmla="*/ 527191 h 3690338"/>
                <a:gd name="connsiteX2267" fmla="*/ 4277726 w 4878487"/>
                <a:gd name="connsiteY2267" fmla="*/ 526798 h 3690338"/>
                <a:gd name="connsiteX2268" fmla="*/ 4274972 w 4878487"/>
                <a:gd name="connsiteY2268" fmla="*/ 524437 h 3690338"/>
                <a:gd name="connsiteX2269" fmla="*/ 4274972 w 4878487"/>
                <a:gd name="connsiteY2269" fmla="*/ 517356 h 3690338"/>
                <a:gd name="connsiteX2270" fmla="*/ 4277726 w 4878487"/>
                <a:gd name="connsiteY2270" fmla="*/ 518142 h 3690338"/>
                <a:gd name="connsiteX2271" fmla="*/ 4274972 w 4878487"/>
                <a:gd name="connsiteY2271" fmla="*/ 516569 h 3690338"/>
                <a:gd name="connsiteX2272" fmla="*/ 4271824 w 4878487"/>
                <a:gd name="connsiteY2272" fmla="*/ 514602 h 3690338"/>
                <a:gd name="connsiteX2273" fmla="*/ 4268678 w 4878487"/>
                <a:gd name="connsiteY2273" fmla="*/ 512241 h 3690338"/>
                <a:gd name="connsiteX2274" fmla="*/ 4267890 w 4878487"/>
                <a:gd name="connsiteY2274" fmla="*/ 509094 h 3690338"/>
                <a:gd name="connsiteX2275" fmla="*/ 4271038 w 4878487"/>
                <a:gd name="connsiteY2275" fmla="*/ 508700 h 3690338"/>
                <a:gd name="connsiteX2276" fmla="*/ 4268678 w 4878487"/>
                <a:gd name="connsiteY2276" fmla="*/ 505553 h 3690338"/>
                <a:gd name="connsiteX2277" fmla="*/ 4331626 w 4878487"/>
                <a:gd name="connsiteY2277" fmla="*/ 453621 h 3690338"/>
                <a:gd name="connsiteX2278" fmla="*/ 4332413 w 4878487"/>
                <a:gd name="connsiteY2278" fmla="*/ 454014 h 3690338"/>
                <a:gd name="connsiteX2279" fmla="*/ 4335560 w 4878487"/>
                <a:gd name="connsiteY2279" fmla="*/ 452834 h 3690338"/>
                <a:gd name="connsiteX2280" fmla="*/ 4337133 w 4878487"/>
                <a:gd name="connsiteY2280" fmla="*/ 450080 h 3690338"/>
                <a:gd name="connsiteX2281" fmla="*/ 4337920 w 4878487"/>
                <a:gd name="connsiteY2281" fmla="*/ 448899 h 3690338"/>
                <a:gd name="connsiteX2282" fmla="*/ 4353264 w 4878487"/>
                <a:gd name="connsiteY2282" fmla="*/ 462669 h 3690338"/>
                <a:gd name="connsiteX2283" fmla="*/ 4355624 w 4878487"/>
                <a:gd name="connsiteY2283" fmla="*/ 465423 h 3690338"/>
                <a:gd name="connsiteX2284" fmla="*/ 4352477 w 4878487"/>
                <a:gd name="connsiteY2284" fmla="*/ 465030 h 3690338"/>
                <a:gd name="connsiteX2285" fmla="*/ 4355231 w 4878487"/>
                <a:gd name="connsiteY2285" fmla="*/ 466604 h 3690338"/>
                <a:gd name="connsiteX2286" fmla="*/ 4358378 w 4878487"/>
                <a:gd name="connsiteY2286" fmla="*/ 468571 h 3690338"/>
                <a:gd name="connsiteX2287" fmla="*/ 4361526 w 4878487"/>
                <a:gd name="connsiteY2287" fmla="*/ 470538 h 3690338"/>
                <a:gd name="connsiteX2288" fmla="*/ 4364280 w 4878487"/>
                <a:gd name="connsiteY2288" fmla="*/ 476046 h 3690338"/>
                <a:gd name="connsiteX2289" fmla="*/ 4366640 w 4878487"/>
                <a:gd name="connsiteY2289" fmla="*/ 474472 h 3690338"/>
                <a:gd name="connsiteX2290" fmla="*/ 4370181 w 4878487"/>
                <a:gd name="connsiteY2290" fmla="*/ 472505 h 3690338"/>
                <a:gd name="connsiteX2291" fmla="*/ 4372542 w 4878487"/>
                <a:gd name="connsiteY2291" fmla="*/ 472505 h 3690338"/>
                <a:gd name="connsiteX2292" fmla="*/ 4376082 w 4878487"/>
                <a:gd name="connsiteY2292" fmla="*/ 474079 h 3690338"/>
                <a:gd name="connsiteX2293" fmla="*/ 4377657 w 4878487"/>
                <a:gd name="connsiteY2293" fmla="*/ 476833 h 3690338"/>
                <a:gd name="connsiteX2294" fmla="*/ 4377263 w 4878487"/>
                <a:gd name="connsiteY2294" fmla="*/ 479980 h 3690338"/>
                <a:gd name="connsiteX2295" fmla="*/ 4380017 w 4878487"/>
                <a:gd name="connsiteY2295" fmla="*/ 481554 h 3690338"/>
                <a:gd name="connsiteX2296" fmla="*/ 4380804 w 4878487"/>
                <a:gd name="connsiteY2296" fmla="*/ 484308 h 3690338"/>
                <a:gd name="connsiteX2297" fmla="*/ 4383951 w 4878487"/>
                <a:gd name="connsiteY2297" fmla="*/ 486668 h 3690338"/>
                <a:gd name="connsiteX2298" fmla="*/ 4385525 w 4878487"/>
                <a:gd name="connsiteY2298" fmla="*/ 483914 h 3690338"/>
                <a:gd name="connsiteX2299" fmla="*/ 4388673 w 4878487"/>
                <a:gd name="connsiteY2299" fmla="*/ 481554 h 3690338"/>
                <a:gd name="connsiteX2300" fmla="*/ 4391427 w 4878487"/>
                <a:gd name="connsiteY2300" fmla="*/ 481160 h 3690338"/>
                <a:gd name="connsiteX2301" fmla="*/ 4394180 w 4878487"/>
                <a:gd name="connsiteY2301" fmla="*/ 481947 h 3690338"/>
                <a:gd name="connsiteX2302" fmla="*/ 4392213 w 4878487"/>
                <a:gd name="connsiteY2302" fmla="*/ 478800 h 3690338"/>
                <a:gd name="connsiteX2303" fmla="*/ 4392213 w 4878487"/>
                <a:gd name="connsiteY2303" fmla="*/ 476046 h 3690338"/>
                <a:gd name="connsiteX2304" fmla="*/ 4393786 w 4878487"/>
                <a:gd name="connsiteY2304" fmla="*/ 472898 h 3690338"/>
                <a:gd name="connsiteX2305" fmla="*/ 4394967 w 4878487"/>
                <a:gd name="connsiteY2305" fmla="*/ 470144 h 3690338"/>
                <a:gd name="connsiteX2306" fmla="*/ 4396541 w 4878487"/>
                <a:gd name="connsiteY2306" fmla="*/ 466997 h 3690338"/>
                <a:gd name="connsiteX2307" fmla="*/ 4396934 w 4878487"/>
                <a:gd name="connsiteY2307" fmla="*/ 464243 h 3690338"/>
                <a:gd name="connsiteX2308" fmla="*/ 4396934 w 4878487"/>
                <a:gd name="connsiteY2308" fmla="*/ 461489 h 3690338"/>
                <a:gd name="connsiteX2309" fmla="*/ 4399688 w 4878487"/>
                <a:gd name="connsiteY2309" fmla="*/ 458735 h 3690338"/>
                <a:gd name="connsiteX2310" fmla="*/ 4400082 w 4878487"/>
                <a:gd name="connsiteY2310" fmla="*/ 455588 h 3690338"/>
                <a:gd name="connsiteX2311" fmla="*/ 4402443 w 4878487"/>
                <a:gd name="connsiteY2311" fmla="*/ 453227 h 3690338"/>
                <a:gd name="connsiteX2312" fmla="*/ 4405589 w 4878487"/>
                <a:gd name="connsiteY2312" fmla="*/ 454014 h 3690338"/>
                <a:gd name="connsiteX2313" fmla="*/ 4408737 w 4878487"/>
                <a:gd name="connsiteY2313" fmla="*/ 454801 h 3690338"/>
                <a:gd name="connsiteX2314" fmla="*/ 4405589 w 4878487"/>
                <a:gd name="connsiteY2314" fmla="*/ 453227 h 3690338"/>
                <a:gd name="connsiteX2315" fmla="*/ 4408344 w 4878487"/>
                <a:gd name="connsiteY2315" fmla="*/ 451653 h 3690338"/>
                <a:gd name="connsiteX2316" fmla="*/ 4411491 w 4878487"/>
                <a:gd name="connsiteY2316" fmla="*/ 452834 h 3690338"/>
                <a:gd name="connsiteX2317" fmla="*/ 4413852 w 4878487"/>
                <a:gd name="connsiteY2317" fmla="*/ 455588 h 3690338"/>
                <a:gd name="connsiteX2318" fmla="*/ 4416605 w 4878487"/>
                <a:gd name="connsiteY2318" fmla="*/ 456768 h 3690338"/>
                <a:gd name="connsiteX2319" fmla="*/ 4419753 w 4878487"/>
                <a:gd name="connsiteY2319" fmla="*/ 457948 h 3690338"/>
                <a:gd name="connsiteX2320" fmla="*/ 4418180 w 4878487"/>
                <a:gd name="connsiteY2320" fmla="*/ 455194 h 3690338"/>
                <a:gd name="connsiteX2321" fmla="*/ 4420934 w 4878487"/>
                <a:gd name="connsiteY2321" fmla="*/ 453621 h 3690338"/>
                <a:gd name="connsiteX2322" fmla="*/ 4417786 w 4878487"/>
                <a:gd name="connsiteY2322" fmla="*/ 451260 h 3690338"/>
                <a:gd name="connsiteX2323" fmla="*/ 4414638 w 4878487"/>
                <a:gd name="connsiteY2323" fmla="*/ 450867 h 3690338"/>
                <a:gd name="connsiteX2324" fmla="*/ 4411884 w 4878487"/>
                <a:gd name="connsiteY2324" fmla="*/ 450473 h 3690338"/>
                <a:gd name="connsiteX2325" fmla="*/ 4409131 w 4878487"/>
                <a:gd name="connsiteY2325" fmla="*/ 450080 h 3690338"/>
                <a:gd name="connsiteX2326" fmla="*/ 4425261 w 4878487"/>
                <a:gd name="connsiteY2326" fmla="*/ 441424 h 3690338"/>
                <a:gd name="connsiteX2327" fmla="*/ 4428802 w 4878487"/>
                <a:gd name="connsiteY2327" fmla="*/ 444965 h 3690338"/>
                <a:gd name="connsiteX2328" fmla="*/ 4431950 w 4878487"/>
                <a:gd name="connsiteY2328" fmla="*/ 447326 h 3690338"/>
                <a:gd name="connsiteX2329" fmla="*/ 4434703 w 4878487"/>
                <a:gd name="connsiteY2329" fmla="*/ 449686 h 3690338"/>
                <a:gd name="connsiteX2330" fmla="*/ 4437063 w 4878487"/>
                <a:gd name="connsiteY2330" fmla="*/ 452834 h 3690338"/>
                <a:gd name="connsiteX2331" fmla="*/ 4436277 w 4878487"/>
                <a:gd name="connsiteY2331" fmla="*/ 455981 h 3690338"/>
                <a:gd name="connsiteX2332" fmla="*/ 4438244 w 4878487"/>
                <a:gd name="connsiteY2332" fmla="*/ 458735 h 3690338"/>
                <a:gd name="connsiteX2333" fmla="*/ 4441391 w 4878487"/>
                <a:gd name="connsiteY2333" fmla="*/ 461096 h 3690338"/>
                <a:gd name="connsiteX2334" fmla="*/ 4442572 w 4878487"/>
                <a:gd name="connsiteY2334" fmla="*/ 460702 h 3690338"/>
                <a:gd name="connsiteX2335" fmla="*/ 4437457 w 4878487"/>
                <a:gd name="connsiteY2335" fmla="*/ 488242 h 3690338"/>
                <a:gd name="connsiteX2336" fmla="*/ 4434703 w 4878487"/>
                <a:gd name="connsiteY2336" fmla="*/ 489816 h 3690338"/>
                <a:gd name="connsiteX2337" fmla="*/ 4431556 w 4878487"/>
                <a:gd name="connsiteY2337" fmla="*/ 491783 h 3690338"/>
                <a:gd name="connsiteX2338" fmla="*/ 4433917 w 4878487"/>
                <a:gd name="connsiteY2338" fmla="*/ 494537 h 3690338"/>
                <a:gd name="connsiteX2339" fmla="*/ 4435884 w 4878487"/>
                <a:gd name="connsiteY2339" fmla="*/ 495324 h 3690338"/>
                <a:gd name="connsiteX2340" fmla="*/ 4434310 w 4878487"/>
                <a:gd name="connsiteY2340" fmla="*/ 503979 h 3690338"/>
                <a:gd name="connsiteX2341" fmla="*/ 4433917 w 4878487"/>
                <a:gd name="connsiteY2341" fmla="*/ 504766 h 3690338"/>
                <a:gd name="connsiteX2342" fmla="*/ 4434310 w 4878487"/>
                <a:gd name="connsiteY2342" fmla="*/ 504766 h 3690338"/>
                <a:gd name="connsiteX2343" fmla="*/ 4430769 w 4878487"/>
                <a:gd name="connsiteY2343" fmla="*/ 517749 h 3690338"/>
                <a:gd name="connsiteX2344" fmla="*/ 4428015 w 4878487"/>
                <a:gd name="connsiteY2344" fmla="*/ 518929 h 3690338"/>
                <a:gd name="connsiteX2345" fmla="*/ 4429195 w 4878487"/>
                <a:gd name="connsiteY2345" fmla="*/ 521683 h 3690338"/>
                <a:gd name="connsiteX2346" fmla="*/ 4429195 w 4878487"/>
                <a:gd name="connsiteY2346" fmla="*/ 522077 h 3690338"/>
                <a:gd name="connsiteX2347" fmla="*/ 4426835 w 4878487"/>
                <a:gd name="connsiteY2347" fmla="*/ 529945 h 3690338"/>
                <a:gd name="connsiteX2348" fmla="*/ 4426048 w 4878487"/>
                <a:gd name="connsiteY2348" fmla="*/ 533093 h 3690338"/>
                <a:gd name="connsiteX2349" fmla="*/ 4426835 w 4878487"/>
                <a:gd name="connsiteY2349" fmla="*/ 535847 h 3690338"/>
                <a:gd name="connsiteX2350" fmla="*/ 4426835 w 4878487"/>
                <a:gd name="connsiteY2350" fmla="*/ 535847 h 3690338"/>
                <a:gd name="connsiteX2351" fmla="*/ 4427622 w 4878487"/>
                <a:gd name="connsiteY2351" fmla="*/ 557485 h 3690338"/>
                <a:gd name="connsiteX2352" fmla="*/ 4425261 w 4878487"/>
                <a:gd name="connsiteY2352" fmla="*/ 560239 h 3690338"/>
                <a:gd name="connsiteX2353" fmla="*/ 4423687 w 4878487"/>
                <a:gd name="connsiteY2353" fmla="*/ 562993 h 3690338"/>
                <a:gd name="connsiteX2354" fmla="*/ 4422901 w 4878487"/>
                <a:gd name="connsiteY2354" fmla="*/ 565747 h 3690338"/>
                <a:gd name="connsiteX2355" fmla="*/ 4426048 w 4878487"/>
                <a:gd name="connsiteY2355" fmla="*/ 567714 h 3690338"/>
                <a:gd name="connsiteX2356" fmla="*/ 4422901 w 4878487"/>
                <a:gd name="connsiteY2356" fmla="*/ 566927 h 3690338"/>
                <a:gd name="connsiteX2357" fmla="*/ 4419753 w 4878487"/>
                <a:gd name="connsiteY2357" fmla="*/ 567714 h 3690338"/>
                <a:gd name="connsiteX2358" fmla="*/ 4416999 w 4878487"/>
                <a:gd name="connsiteY2358" fmla="*/ 568108 h 3690338"/>
                <a:gd name="connsiteX2359" fmla="*/ 4414245 w 4878487"/>
                <a:gd name="connsiteY2359" fmla="*/ 568108 h 3690338"/>
                <a:gd name="connsiteX2360" fmla="*/ 4411098 w 4878487"/>
                <a:gd name="connsiteY2360" fmla="*/ 566927 h 3690338"/>
                <a:gd name="connsiteX2361" fmla="*/ 4410311 w 4878487"/>
                <a:gd name="connsiteY2361" fmla="*/ 569681 h 3690338"/>
                <a:gd name="connsiteX2362" fmla="*/ 4411884 w 4878487"/>
                <a:gd name="connsiteY2362" fmla="*/ 572829 h 3690338"/>
                <a:gd name="connsiteX2363" fmla="*/ 4408737 w 4878487"/>
                <a:gd name="connsiteY2363" fmla="*/ 574796 h 3690338"/>
                <a:gd name="connsiteX2364" fmla="*/ 4405589 w 4878487"/>
                <a:gd name="connsiteY2364" fmla="*/ 574402 h 3690338"/>
                <a:gd name="connsiteX2365" fmla="*/ 4402835 w 4878487"/>
                <a:gd name="connsiteY2365" fmla="*/ 574009 h 3690338"/>
                <a:gd name="connsiteX2366" fmla="*/ 4400082 w 4878487"/>
                <a:gd name="connsiteY2366" fmla="*/ 573222 h 3690338"/>
                <a:gd name="connsiteX2367" fmla="*/ 4396934 w 4878487"/>
                <a:gd name="connsiteY2367" fmla="*/ 573616 h 3690338"/>
                <a:gd name="connsiteX2368" fmla="*/ 4399688 w 4878487"/>
                <a:gd name="connsiteY2368" fmla="*/ 576763 h 3690338"/>
                <a:gd name="connsiteX2369" fmla="*/ 4402443 w 4878487"/>
                <a:gd name="connsiteY2369" fmla="*/ 578337 h 3690338"/>
                <a:gd name="connsiteX2370" fmla="*/ 4405589 w 4878487"/>
                <a:gd name="connsiteY2370" fmla="*/ 580304 h 3690338"/>
                <a:gd name="connsiteX2371" fmla="*/ 4408344 w 4878487"/>
                <a:gd name="connsiteY2371" fmla="*/ 582664 h 3690338"/>
                <a:gd name="connsiteX2372" fmla="*/ 4411098 w 4878487"/>
                <a:gd name="connsiteY2372" fmla="*/ 585025 h 3690338"/>
                <a:gd name="connsiteX2373" fmla="*/ 4412671 w 4878487"/>
                <a:gd name="connsiteY2373" fmla="*/ 588172 h 3690338"/>
                <a:gd name="connsiteX2374" fmla="*/ 4413852 w 4878487"/>
                <a:gd name="connsiteY2374" fmla="*/ 590926 h 3690338"/>
                <a:gd name="connsiteX2375" fmla="*/ 4414638 w 4878487"/>
                <a:gd name="connsiteY2375" fmla="*/ 593680 h 3690338"/>
                <a:gd name="connsiteX2376" fmla="*/ 4416605 w 4878487"/>
                <a:gd name="connsiteY2376" fmla="*/ 596828 h 3690338"/>
                <a:gd name="connsiteX2377" fmla="*/ 4413458 w 4878487"/>
                <a:gd name="connsiteY2377" fmla="*/ 596434 h 3690338"/>
                <a:gd name="connsiteX2378" fmla="*/ 4413852 w 4878487"/>
                <a:gd name="connsiteY2378" fmla="*/ 599582 h 3690338"/>
                <a:gd name="connsiteX2379" fmla="*/ 4412671 w 4878487"/>
                <a:gd name="connsiteY2379" fmla="*/ 602336 h 3690338"/>
                <a:gd name="connsiteX2380" fmla="*/ 4412278 w 4878487"/>
                <a:gd name="connsiteY2380" fmla="*/ 605483 h 3690338"/>
                <a:gd name="connsiteX2381" fmla="*/ 4412278 w 4878487"/>
                <a:gd name="connsiteY2381" fmla="*/ 608237 h 3690338"/>
                <a:gd name="connsiteX2382" fmla="*/ 4411098 w 4878487"/>
                <a:gd name="connsiteY2382" fmla="*/ 605483 h 3690338"/>
                <a:gd name="connsiteX2383" fmla="*/ 4410311 w 4878487"/>
                <a:gd name="connsiteY2383" fmla="*/ 608237 h 3690338"/>
                <a:gd name="connsiteX2384" fmla="*/ 4412278 w 4878487"/>
                <a:gd name="connsiteY2384" fmla="*/ 611385 h 3690338"/>
                <a:gd name="connsiteX2385" fmla="*/ 4414245 w 4878487"/>
                <a:gd name="connsiteY2385" fmla="*/ 614139 h 3690338"/>
                <a:gd name="connsiteX2386" fmla="*/ 4416213 w 4878487"/>
                <a:gd name="connsiteY2386" fmla="*/ 617286 h 3690338"/>
                <a:gd name="connsiteX2387" fmla="*/ 4418180 w 4878487"/>
                <a:gd name="connsiteY2387" fmla="*/ 620040 h 3690338"/>
                <a:gd name="connsiteX2388" fmla="*/ 4419753 w 4878487"/>
                <a:gd name="connsiteY2388" fmla="*/ 622794 h 3690338"/>
                <a:gd name="connsiteX2389" fmla="*/ 4421720 w 4878487"/>
                <a:gd name="connsiteY2389" fmla="*/ 625548 h 3690338"/>
                <a:gd name="connsiteX2390" fmla="*/ 4423293 w 4878487"/>
                <a:gd name="connsiteY2390" fmla="*/ 628302 h 3690338"/>
                <a:gd name="connsiteX2391" fmla="*/ 4425654 w 4878487"/>
                <a:gd name="connsiteY2391" fmla="*/ 631449 h 3690338"/>
                <a:gd name="connsiteX2392" fmla="*/ 4427622 w 4878487"/>
                <a:gd name="connsiteY2392" fmla="*/ 634203 h 3690338"/>
                <a:gd name="connsiteX2393" fmla="*/ 4430375 w 4878487"/>
                <a:gd name="connsiteY2393" fmla="*/ 636957 h 3690338"/>
                <a:gd name="connsiteX2394" fmla="*/ 4432736 w 4878487"/>
                <a:gd name="connsiteY2394" fmla="*/ 639711 h 3690338"/>
                <a:gd name="connsiteX2395" fmla="*/ 4435490 w 4878487"/>
                <a:gd name="connsiteY2395" fmla="*/ 642465 h 3690338"/>
                <a:gd name="connsiteX2396" fmla="*/ 4437457 w 4878487"/>
                <a:gd name="connsiteY2396" fmla="*/ 645219 h 3690338"/>
                <a:gd name="connsiteX2397" fmla="*/ 4439818 w 4878487"/>
                <a:gd name="connsiteY2397" fmla="*/ 648367 h 3690338"/>
                <a:gd name="connsiteX2398" fmla="*/ 4442178 w 4878487"/>
                <a:gd name="connsiteY2398" fmla="*/ 651121 h 3690338"/>
                <a:gd name="connsiteX2399" fmla="*/ 4445326 w 4878487"/>
                <a:gd name="connsiteY2399" fmla="*/ 654268 h 3690338"/>
                <a:gd name="connsiteX2400" fmla="*/ 4448080 w 4878487"/>
                <a:gd name="connsiteY2400" fmla="*/ 657022 h 3690338"/>
                <a:gd name="connsiteX2401" fmla="*/ 4451227 w 4878487"/>
                <a:gd name="connsiteY2401" fmla="*/ 659776 h 3690338"/>
                <a:gd name="connsiteX2402" fmla="*/ 4453981 w 4878487"/>
                <a:gd name="connsiteY2402" fmla="*/ 662137 h 3690338"/>
                <a:gd name="connsiteX2403" fmla="*/ 4456735 w 4878487"/>
                <a:gd name="connsiteY2403" fmla="*/ 664891 h 3690338"/>
                <a:gd name="connsiteX2404" fmla="*/ 4459882 w 4878487"/>
                <a:gd name="connsiteY2404" fmla="*/ 667251 h 3690338"/>
                <a:gd name="connsiteX2405" fmla="*/ 4462636 w 4878487"/>
                <a:gd name="connsiteY2405" fmla="*/ 670005 h 3690338"/>
                <a:gd name="connsiteX2406" fmla="*/ 4465784 w 4878487"/>
                <a:gd name="connsiteY2406" fmla="*/ 672366 h 3690338"/>
                <a:gd name="connsiteX2407" fmla="*/ 4468538 w 4878487"/>
                <a:gd name="connsiteY2407" fmla="*/ 674726 h 3690338"/>
                <a:gd name="connsiteX2408" fmla="*/ 4471685 w 4878487"/>
                <a:gd name="connsiteY2408" fmla="*/ 677480 h 3690338"/>
                <a:gd name="connsiteX2409" fmla="*/ 4474439 w 4878487"/>
                <a:gd name="connsiteY2409" fmla="*/ 679841 h 3690338"/>
                <a:gd name="connsiteX2410" fmla="*/ 4477194 w 4878487"/>
                <a:gd name="connsiteY2410" fmla="*/ 682201 h 3690338"/>
                <a:gd name="connsiteX2411" fmla="*/ 4483488 w 4878487"/>
                <a:gd name="connsiteY2411" fmla="*/ 687316 h 3690338"/>
                <a:gd name="connsiteX2412" fmla="*/ 4486242 w 4878487"/>
                <a:gd name="connsiteY2412" fmla="*/ 689283 h 3690338"/>
                <a:gd name="connsiteX2413" fmla="*/ 4489389 w 4878487"/>
                <a:gd name="connsiteY2413" fmla="*/ 691644 h 3690338"/>
                <a:gd name="connsiteX2414" fmla="*/ 4492143 w 4878487"/>
                <a:gd name="connsiteY2414" fmla="*/ 694397 h 3690338"/>
                <a:gd name="connsiteX2415" fmla="*/ 4494898 w 4878487"/>
                <a:gd name="connsiteY2415" fmla="*/ 696758 h 3690338"/>
                <a:gd name="connsiteX2416" fmla="*/ 4498045 w 4878487"/>
                <a:gd name="connsiteY2416" fmla="*/ 699512 h 3690338"/>
                <a:gd name="connsiteX2417" fmla="*/ 4501192 w 4878487"/>
                <a:gd name="connsiteY2417" fmla="*/ 702266 h 3690338"/>
                <a:gd name="connsiteX2418" fmla="*/ 4503946 w 4878487"/>
                <a:gd name="connsiteY2418" fmla="*/ 704627 h 3690338"/>
                <a:gd name="connsiteX2419" fmla="*/ 4506701 w 4878487"/>
                <a:gd name="connsiteY2419" fmla="*/ 707381 h 3690338"/>
                <a:gd name="connsiteX2420" fmla="*/ 4509454 w 4878487"/>
                <a:gd name="connsiteY2420" fmla="*/ 709741 h 3690338"/>
                <a:gd name="connsiteX2421" fmla="*/ 4512602 w 4878487"/>
                <a:gd name="connsiteY2421" fmla="*/ 712495 h 3690338"/>
                <a:gd name="connsiteX2422" fmla="*/ 4515356 w 4878487"/>
                <a:gd name="connsiteY2422" fmla="*/ 714856 h 3690338"/>
                <a:gd name="connsiteX2423" fmla="*/ 4515749 w 4878487"/>
                <a:gd name="connsiteY2423" fmla="*/ 715249 h 3690338"/>
                <a:gd name="connsiteX2424" fmla="*/ 4520077 w 4878487"/>
                <a:gd name="connsiteY2424" fmla="*/ 719183 h 3690338"/>
                <a:gd name="connsiteX2425" fmla="*/ 4521650 w 4878487"/>
                <a:gd name="connsiteY2425" fmla="*/ 720757 h 3690338"/>
                <a:gd name="connsiteX2426" fmla="*/ 4524011 w 4878487"/>
                <a:gd name="connsiteY2426" fmla="*/ 722724 h 3690338"/>
                <a:gd name="connsiteX2427" fmla="*/ 4524798 w 4878487"/>
                <a:gd name="connsiteY2427" fmla="*/ 723511 h 3690338"/>
                <a:gd name="connsiteX2428" fmla="*/ 4527551 w 4878487"/>
                <a:gd name="connsiteY2428" fmla="*/ 726265 h 3690338"/>
                <a:gd name="connsiteX2429" fmla="*/ 4530306 w 4878487"/>
                <a:gd name="connsiteY2429" fmla="*/ 729019 h 3690338"/>
                <a:gd name="connsiteX2430" fmla="*/ 4533060 w 4878487"/>
                <a:gd name="connsiteY2430" fmla="*/ 731380 h 3690338"/>
                <a:gd name="connsiteX2431" fmla="*/ 4534633 w 4878487"/>
                <a:gd name="connsiteY2431" fmla="*/ 732166 h 3690338"/>
                <a:gd name="connsiteX2432" fmla="*/ 4537387 w 4878487"/>
                <a:gd name="connsiteY2432" fmla="*/ 734527 h 3690338"/>
                <a:gd name="connsiteX2433" fmla="*/ 4540535 w 4878487"/>
                <a:gd name="connsiteY2433" fmla="*/ 736494 h 3690338"/>
                <a:gd name="connsiteX2434" fmla="*/ 4543289 w 4878487"/>
                <a:gd name="connsiteY2434" fmla="*/ 738855 h 3690338"/>
                <a:gd name="connsiteX2435" fmla="*/ 4544469 w 4878487"/>
                <a:gd name="connsiteY2435" fmla="*/ 739248 h 3690338"/>
                <a:gd name="connsiteX2436" fmla="*/ 4546830 w 4878487"/>
                <a:gd name="connsiteY2436" fmla="*/ 740822 h 3690338"/>
                <a:gd name="connsiteX2437" fmla="*/ 4549190 w 4878487"/>
                <a:gd name="connsiteY2437" fmla="*/ 743182 h 3690338"/>
                <a:gd name="connsiteX2438" fmla="*/ 4552338 w 4878487"/>
                <a:gd name="connsiteY2438" fmla="*/ 745543 h 3690338"/>
                <a:gd name="connsiteX2439" fmla="*/ 4555091 w 4878487"/>
                <a:gd name="connsiteY2439" fmla="*/ 747903 h 3690338"/>
                <a:gd name="connsiteX2440" fmla="*/ 4558239 w 4878487"/>
                <a:gd name="connsiteY2440" fmla="*/ 750264 h 3690338"/>
                <a:gd name="connsiteX2441" fmla="*/ 4560993 w 4878487"/>
                <a:gd name="connsiteY2441" fmla="*/ 752625 h 3690338"/>
                <a:gd name="connsiteX2442" fmla="*/ 4563747 w 4878487"/>
                <a:gd name="connsiteY2442" fmla="*/ 755772 h 3690338"/>
                <a:gd name="connsiteX2443" fmla="*/ 4566501 w 4878487"/>
                <a:gd name="connsiteY2443" fmla="*/ 758133 h 3690338"/>
                <a:gd name="connsiteX2444" fmla="*/ 4569255 w 4878487"/>
                <a:gd name="connsiteY2444" fmla="*/ 761280 h 3690338"/>
                <a:gd name="connsiteX2445" fmla="*/ 4572009 w 4878487"/>
                <a:gd name="connsiteY2445" fmla="*/ 764034 h 3690338"/>
                <a:gd name="connsiteX2446" fmla="*/ 4574370 w 4878487"/>
                <a:gd name="connsiteY2446" fmla="*/ 766788 h 3690338"/>
                <a:gd name="connsiteX2447" fmla="*/ 4576730 w 4878487"/>
                <a:gd name="connsiteY2447" fmla="*/ 769935 h 3690338"/>
                <a:gd name="connsiteX2448" fmla="*/ 4579091 w 4878487"/>
                <a:gd name="connsiteY2448" fmla="*/ 773083 h 3690338"/>
                <a:gd name="connsiteX2449" fmla="*/ 4582238 w 4878487"/>
                <a:gd name="connsiteY2449" fmla="*/ 775443 h 3690338"/>
                <a:gd name="connsiteX2450" fmla="*/ 4584598 w 4878487"/>
                <a:gd name="connsiteY2450" fmla="*/ 778197 h 3690338"/>
                <a:gd name="connsiteX2451" fmla="*/ 4587746 w 4878487"/>
                <a:gd name="connsiteY2451" fmla="*/ 780558 h 3690338"/>
                <a:gd name="connsiteX2452" fmla="*/ 4590500 w 4878487"/>
                <a:gd name="connsiteY2452" fmla="*/ 781345 h 3690338"/>
                <a:gd name="connsiteX2453" fmla="*/ 4593647 w 4878487"/>
                <a:gd name="connsiteY2453" fmla="*/ 782918 h 3690338"/>
                <a:gd name="connsiteX2454" fmla="*/ 4596008 w 4878487"/>
                <a:gd name="connsiteY2454" fmla="*/ 786066 h 3690338"/>
                <a:gd name="connsiteX2455" fmla="*/ 4598762 w 4878487"/>
                <a:gd name="connsiteY2455" fmla="*/ 788426 h 3690338"/>
                <a:gd name="connsiteX2456" fmla="*/ 4600335 w 4878487"/>
                <a:gd name="connsiteY2456" fmla="*/ 791180 h 3690338"/>
                <a:gd name="connsiteX2457" fmla="*/ 4602696 w 4878487"/>
                <a:gd name="connsiteY2457" fmla="*/ 788426 h 3690338"/>
                <a:gd name="connsiteX2458" fmla="*/ 4604270 w 4878487"/>
                <a:gd name="connsiteY2458" fmla="*/ 785279 h 3690338"/>
                <a:gd name="connsiteX2459" fmla="*/ 4605844 w 4878487"/>
                <a:gd name="connsiteY2459" fmla="*/ 782918 h 3690338"/>
                <a:gd name="connsiteX2460" fmla="*/ 4606631 w 4878487"/>
                <a:gd name="connsiteY2460" fmla="*/ 779771 h 3690338"/>
                <a:gd name="connsiteX2461" fmla="*/ 4608598 w 4878487"/>
                <a:gd name="connsiteY2461" fmla="*/ 776624 h 3690338"/>
                <a:gd name="connsiteX2462" fmla="*/ 4607811 w 4878487"/>
                <a:gd name="connsiteY2462" fmla="*/ 775050 h 3690338"/>
                <a:gd name="connsiteX2463" fmla="*/ 4608598 w 4878487"/>
                <a:gd name="connsiteY2463" fmla="*/ 771902 h 3690338"/>
                <a:gd name="connsiteX2464" fmla="*/ 4609778 w 4878487"/>
                <a:gd name="connsiteY2464" fmla="*/ 770722 h 3690338"/>
                <a:gd name="connsiteX2465" fmla="*/ 4612532 w 4878487"/>
                <a:gd name="connsiteY2465" fmla="*/ 768362 h 3690338"/>
                <a:gd name="connsiteX2466" fmla="*/ 4612138 w 4878487"/>
                <a:gd name="connsiteY2466" fmla="*/ 765608 h 3690338"/>
                <a:gd name="connsiteX2467" fmla="*/ 4612532 w 4878487"/>
                <a:gd name="connsiteY2467" fmla="*/ 762854 h 3690338"/>
                <a:gd name="connsiteX2468" fmla="*/ 4612138 w 4878487"/>
                <a:gd name="connsiteY2468" fmla="*/ 759706 h 3690338"/>
                <a:gd name="connsiteX2469" fmla="*/ 4622761 w 4878487"/>
                <a:gd name="connsiteY2469" fmla="*/ 719970 h 3690338"/>
                <a:gd name="connsiteX2470" fmla="*/ 4620794 w 4878487"/>
                <a:gd name="connsiteY2470" fmla="*/ 717216 h 3690338"/>
                <a:gd name="connsiteX2471" fmla="*/ 4618040 w 4878487"/>
                <a:gd name="connsiteY2471" fmla="*/ 714856 h 3690338"/>
                <a:gd name="connsiteX2472" fmla="*/ 4591287 w 4878487"/>
                <a:gd name="connsiteY2472" fmla="*/ 686922 h 3690338"/>
                <a:gd name="connsiteX2473" fmla="*/ 4592074 w 4878487"/>
                <a:gd name="connsiteY2473" fmla="*/ 684168 h 3690338"/>
                <a:gd name="connsiteX2474" fmla="*/ 4594434 w 4878487"/>
                <a:gd name="connsiteY2474" fmla="*/ 681414 h 3690338"/>
                <a:gd name="connsiteX2475" fmla="*/ 4595222 w 4878487"/>
                <a:gd name="connsiteY2475" fmla="*/ 678660 h 3690338"/>
                <a:gd name="connsiteX2476" fmla="*/ 4596795 w 4878487"/>
                <a:gd name="connsiteY2476" fmla="*/ 675513 h 3690338"/>
                <a:gd name="connsiteX2477" fmla="*/ 4599943 w 4878487"/>
                <a:gd name="connsiteY2477" fmla="*/ 673546 h 3690338"/>
                <a:gd name="connsiteX2478" fmla="*/ 4602696 w 4878487"/>
                <a:gd name="connsiteY2478" fmla="*/ 672759 h 3690338"/>
                <a:gd name="connsiteX2479" fmla="*/ 4605450 w 4878487"/>
                <a:gd name="connsiteY2479" fmla="*/ 672366 h 3690338"/>
                <a:gd name="connsiteX2480" fmla="*/ 4608598 w 4878487"/>
                <a:gd name="connsiteY2480" fmla="*/ 673152 h 3690338"/>
                <a:gd name="connsiteX2481" fmla="*/ 4611745 w 4878487"/>
                <a:gd name="connsiteY2481" fmla="*/ 675120 h 3690338"/>
                <a:gd name="connsiteX2482" fmla="*/ 4614499 w 4878487"/>
                <a:gd name="connsiteY2482" fmla="*/ 675513 h 3690338"/>
                <a:gd name="connsiteX2483" fmla="*/ 4617647 w 4878487"/>
                <a:gd name="connsiteY2483" fmla="*/ 675120 h 3690338"/>
                <a:gd name="connsiteX2484" fmla="*/ 4620401 w 4878487"/>
                <a:gd name="connsiteY2484" fmla="*/ 674726 h 3690338"/>
                <a:gd name="connsiteX2485" fmla="*/ 4623548 w 4878487"/>
                <a:gd name="connsiteY2485" fmla="*/ 675120 h 3690338"/>
                <a:gd name="connsiteX2486" fmla="*/ 4623154 w 4878487"/>
                <a:gd name="connsiteY2486" fmla="*/ 672366 h 3690338"/>
                <a:gd name="connsiteX2487" fmla="*/ 4624335 w 4878487"/>
                <a:gd name="connsiteY2487" fmla="*/ 669612 h 3690338"/>
                <a:gd name="connsiteX2488" fmla="*/ 4624729 w 4878487"/>
                <a:gd name="connsiteY2488" fmla="*/ 666464 h 3690338"/>
                <a:gd name="connsiteX2489" fmla="*/ 4622368 w 4878487"/>
                <a:gd name="connsiteY2489" fmla="*/ 663710 h 3690338"/>
                <a:gd name="connsiteX2490" fmla="*/ 4619614 w 4878487"/>
                <a:gd name="connsiteY2490" fmla="*/ 662530 h 3690338"/>
                <a:gd name="connsiteX2491" fmla="*/ 4616072 w 4878487"/>
                <a:gd name="connsiteY2491" fmla="*/ 660563 h 3690338"/>
                <a:gd name="connsiteX2492" fmla="*/ 4612926 w 4878487"/>
                <a:gd name="connsiteY2492" fmla="*/ 658596 h 3690338"/>
                <a:gd name="connsiteX2493" fmla="*/ 4609778 w 4878487"/>
                <a:gd name="connsiteY2493" fmla="*/ 657415 h 3690338"/>
                <a:gd name="connsiteX2494" fmla="*/ 4607024 w 4878487"/>
                <a:gd name="connsiteY2494" fmla="*/ 655842 h 3690338"/>
                <a:gd name="connsiteX2495" fmla="*/ 4603877 w 4878487"/>
                <a:gd name="connsiteY2495" fmla="*/ 653875 h 3690338"/>
                <a:gd name="connsiteX2496" fmla="*/ 4597582 w 4878487"/>
                <a:gd name="connsiteY2496" fmla="*/ 649153 h 3690338"/>
                <a:gd name="connsiteX2497" fmla="*/ 4594828 w 4878487"/>
                <a:gd name="connsiteY2497" fmla="*/ 646793 h 3690338"/>
                <a:gd name="connsiteX2498" fmla="*/ 4591680 w 4878487"/>
                <a:gd name="connsiteY2498" fmla="*/ 644039 h 3690338"/>
                <a:gd name="connsiteX2499" fmla="*/ 4589320 w 4878487"/>
                <a:gd name="connsiteY2499" fmla="*/ 640891 h 3690338"/>
                <a:gd name="connsiteX2500" fmla="*/ 4587353 w 4878487"/>
                <a:gd name="connsiteY2500" fmla="*/ 638138 h 3690338"/>
                <a:gd name="connsiteX2501" fmla="*/ 4586173 w 4878487"/>
                <a:gd name="connsiteY2501" fmla="*/ 619646 h 3690338"/>
                <a:gd name="connsiteX2502" fmla="*/ 4581452 w 4878487"/>
                <a:gd name="connsiteY2502" fmla="*/ 613745 h 3690338"/>
                <a:gd name="connsiteX2503" fmla="*/ 4582238 w 4878487"/>
                <a:gd name="connsiteY2503" fmla="*/ 612565 h 3690338"/>
                <a:gd name="connsiteX2504" fmla="*/ 4585386 w 4878487"/>
                <a:gd name="connsiteY2504" fmla="*/ 611778 h 3690338"/>
                <a:gd name="connsiteX2505" fmla="*/ 4588533 w 4878487"/>
                <a:gd name="connsiteY2505" fmla="*/ 612958 h 3690338"/>
                <a:gd name="connsiteX2506" fmla="*/ 4588533 w 4878487"/>
                <a:gd name="connsiteY2506" fmla="*/ 610204 h 3690338"/>
                <a:gd name="connsiteX2507" fmla="*/ 4591287 w 4878487"/>
                <a:gd name="connsiteY2507" fmla="*/ 610204 h 3690338"/>
                <a:gd name="connsiteX2508" fmla="*/ 4592074 w 4878487"/>
                <a:gd name="connsiteY2508" fmla="*/ 612958 h 3690338"/>
                <a:gd name="connsiteX2509" fmla="*/ 4588926 w 4878487"/>
                <a:gd name="connsiteY2509" fmla="*/ 615712 h 3690338"/>
                <a:gd name="connsiteX2510" fmla="*/ 4590107 w 4878487"/>
                <a:gd name="connsiteY2510" fmla="*/ 618466 h 3690338"/>
                <a:gd name="connsiteX2511" fmla="*/ 4592467 w 4878487"/>
                <a:gd name="connsiteY2511" fmla="*/ 621614 h 3690338"/>
                <a:gd name="connsiteX2512" fmla="*/ 4595614 w 4878487"/>
                <a:gd name="connsiteY2512" fmla="*/ 622794 h 3690338"/>
                <a:gd name="connsiteX2513" fmla="*/ 4598762 w 4878487"/>
                <a:gd name="connsiteY2513" fmla="*/ 624368 h 3690338"/>
                <a:gd name="connsiteX2514" fmla="*/ 4601910 w 4878487"/>
                <a:gd name="connsiteY2514" fmla="*/ 625548 h 3690338"/>
                <a:gd name="connsiteX2515" fmla="*/ 4605057 w 4878487"/>
                <a:gd name="connsiteY2515" fmla="*/ 625941 h 3690338"/>
                <a:gd name="connsiteX2516" fmla="*/ 4606631 w 4878487"/>
                <a:gd name="connsiteY2516" fmla="*/ 623187 h 3690338"/>
                <a:gd name="connsiteX2517" fmla="*/ 4608598 w 4878487"/>
                <a:gd name="connsiteY2517" fmla="*/ 620433 h 3690338"/>
                <a:gd name="connsiteX2518" fmla="*/ 4605844 w 4878487"/>
                <a:gd name="connsiteY2518" fmla="*/ 618073 h 3690338"/>
                <a:gd name="connsiteX2519" fmla="*/ 4603090 w 4878487"/>
                <a:gd name="connsiteY2519" fmla="*/ 615319 h 3690338"/>
                <a:gd name="connsiteX2520" fmla="*/ 4599943 w 4878487"/>
                <a:gd name="connsiteY2520" fmla="*/ 613352 h 3690338"/>
                <a:gd name="connsiteX2521" fmla="*/ 4596795 w 4878487"/>
                <a:gd name="connsiteY2521" fmla="*/ 610991 h 3690338"/>
                <a:gd name="connsiteX2522" fmla="*/ 4594041 w 4878487"/>
                <a:gd name="connsiteY2522" fmla="*/ 608631 h 3690338"/>
                <a:gd name="connsiteX2523" fmla="*/ 4591287 w 4878487"/>
                <a:gd name="connsiteY2523" fmla="*/ 606663 h 3690338"/>
                <a:gd name="connsiteX2524" fmla="*/ 4588533 w 4878487"/>
                <a:gd name="connsiteY2524" fmla="*/ 604303 h 3690338"/>
                <a:gd name="connsiteX2525" fmla="*/ 4585386 w 4878487"/>
                <a:gd name="connsiteY2525" fmla="*/ 603909 h 3690338"/>
                <a:gd name="connsiteX2526" fmla="*/ 4582238 w 4878487"/>
                <a:gd name="connsiteY2526" fmla="*/ 605090 h 3690338"/>
                <a:gd name="connsiteX2527" fmla="*/ 4579091 w 4878487"/>
                <a:gd name="connsiteY2527" fmla="*/ 604303 h 3690338"/>
                <a:gd name="connsiteX2528" fmla="*/ 4575943 w 4878487"/>
                <a:gd name="connsiteY2528" fmla="*/ 602336 h 3690338"/>
                <a:gd name="connsiteX2529" fmla="*/ 4572796 w 4878487"/>
                <a:gd name="connsiteY2529" fmla="*/ 599975 h 3690338"/>
                <a:gd name="connsiteX2530" fmla="*/ 4570436 w 4878487"/>
                <a:gd name="connsiteY2530" fmla="*/ 597221 h 3690338"/>
                <a:gd name="connsiteX2531" fmla="*/ 4567682 w 4878487"/>
                <a:gd name="connsiteY2531" fmla="*/ 594074 h 3690338"/>
                <a:gd name="connsiteX2532" fmla="*/ 4564927 w 4878487"/>
                <a:gd name="connsiteY2532" fmla="*/ 592107 h 3690338"/>
                <a:gd name="connsiteX2533" fmla="*/ 4562173 w 4878487"/>
                <a:gd name="connsiteY2533" fmla="*/ 590140 h 3690338"/>
                <a:gd name="connsiteX2534" fmla="*/ 4561780 w 4878487"/>
                <a:gd name="connsiteY2534" fmla="*/ 589746 h 3690338"/>
                <a:gd name="connsiteX2535" fmla="*/ 4556666 w 4878487"/>
                <a:gd name="connsiteY2535" fmla="*/ 585025 h 3690338"/>
                <a:gd name="connsiteX2536" fmla="*/ 4557058 w 4878487"/>
                <a:gd name="connsiteY2536" fmla="*/ 582271 h 3690338"/>
                <a:gd name="connsiteX2537" fmla="*/ 4558633 w 4878487"/>
                <a:gd name="connsiteY2537" fmla="*/ 579517 h 3690338"/>
                <a:gd name="connsiteX2538" fmla="*/ 4557846 w 4878487"/>
                <a:gd name="connsiteY2538" fmla="*/ 576370 h 3690338"/>
                <a:gd name="connsiteX2539" fmla="*/ 4555879 w 4878487"/>
                <a:gd name="connsiteY2539" fmla="*/ 573222 h 3690338"/>
                <a:gd name="connsiteX2540" fmla="*/ 4552731 w 4878487"/>
                <a:gd name="connsiteY2540" fmla="*/ 570862 h 3690338"/>
                <a:gd name="connsiteX2541" fmla="*/ 4549584 w 4878487"/>
                <a:gd name="connsiteY2541" fmla="*/ 569288 h 3690338"/>
                <a:gd name="connsiteX2542" fmla="*/ 4546830 w 4878487"/>
                <a:gd name="connsiteY2542" fmla="*/ 569288 h 3690338"/>
                <a:gd name="connsiteX2543" fmla="*/ 4543682 w 4878487"/>
                <a:gd name="connsiteY2543" fmla="*/ 568501 h 3690338"/>
                <a:gd name="connsiteX2544" fmla="*/ 4542109 w 4878487"/>
                <a:gd name="connsiteY2544" fmla="*/ 567714 h 3690338"/>
                <a:gd name="connsiteX2545" fmla="*/ 4489389 w 4878487"/>
                <a:gd name="connsiteY2545" fmla="*/ 504766 h 3690338"/>
                <a:gd name="connsiteX2546" fmla="*/ 4489783 w 4878487"/>
                <a:gd name="connsiteY2546" fmla="*/ 504766 h 3690338"/>
                <a:gd name="connsiteX2547" fmla="*/ 4490570 w 4878487"/>
                <a:gd name="connsiteY2547" fmla="*/ 502012 h 3690338"/>
                <a:gd name="connsiteX2548" fmla="*/ 4487422 w 4878487"/>
                <a:gd name="connsiteY2548" fmla="*/ 502012 h 3690338"/>
                <a:gd name="connsiteX2549" fmla="*/ 4486242 w 4878487"/>
                <a:gd name="connsiteY2549" fmla="*/ 501619 h 3690338"/>
                <a:gd name="connsiteX2550" fmla="*/ 4496865 w 4878487"/>
                <a:gd name="connsiteY2550" fmla="*/ 501619 h 3690338"/>
                <a:gd name="connsiteX2551" fmla="*/ 4500012 w 4878487"/>
                <a:gd name="connsiteY2551" fmla="*/ 502012 h 3690338"/>
                <a:gd name="connsiteX2552" fmla="*/ 4499619 w 4878487"/>
                <a:gd name="connsiteY2552" fmla="*/ 503192 h 3690338"/>
                <a:gd name="connsiteX2553" fmla="*/ 4499225 w 4878487"/>
                <a:gd name="connsiteY2553" fmla="*/ 505159 h 3690338"/>
                <a:gd name="connsiteX2554" fmla="*/ 4502373 w 4878487"/>
                <a:gd name="connsiteY2554" fmla="*/ 505946 h 3690338"/>
                <a:gd name="connsiteX2555" fmla="*/ 4499619 w 4878487"/>
                <a:gd name="connsiteY2555" fmla="*/ 503192 h 3690338"/>
                <a:gd name="connsiteX2556" fmla="*/ 4499619 w 4878487"/>
                <a:gd name="connsiteY2556" fmla="*/ 503192 h 3690338"/>
                <a:gd name="connsiteX2557" fmla="*/ 4502766 w 4878487"/>
                <a:gd name="connsiteY2557" fmla="*/ 502405 h 3690338"/>
                <a:gd name="connsiteX2558" fmla="*/ 4503159 w 4878487"/>
                <a:gd name="connsiteY2558" fmla="*/ 502012 h 3690338"/>
                <a:gd name="connsiteX2559" fmla="*/ 4510635 w 4878487"/>
                <a:gd name="connsiteY2559" fmla="*/ 502012 h 3690338"/>
                <a:gd name="connsiteX2560" fmla="*/ 4514175 w 4878487"/>
                <a:gd name="connsiteY2560" fmla="*/ 503586 h 3690338"/>
                <a:gd name="connsiteX2561" fmla="*/ 4516929 w 4878487"/>
                <a:gd name="connsiteY2561" fmla="*/ 505553 h 3690338"/>
                <a:gd name="connsiteX2562" fmla="*/ 4520077 w 4878487"/>
                <a:gd name="connsiteY2562" fmla="*/ 507913 h 3690338"/>
                <a:gd name="connsiteX2563" fmla="*/ 4522831 w 4878487"/>
                <a:gd name="connsiteY2563" fmla="*/ 508307 h 3690338"/>
                <a:gd name="connsiteX2564" fmla="*/ 4524405 w 4878487"/>
                <a:gd name="connsiteY2564" fmla="*/ 505159 h 3690338"/>
                <a:gd name="connsiteX2565" fmla="*/ 4524011 w 4878487"/>
                <a:gd name="connsiteY2565" fmla="*/ 502405 h 3690338"/>
                <a:gd name="connsiteX2566" fmla="*/ 4523617 w 4878487"/>
                <a:gd name="connsiteY2566" fmla="*/ 502012 h 3690338"/>
                <a:gd name="connsiteX2567" fmla="*/ 4546436 w 4878487"/>
                <a:gd name="connsiteY2567" fmla="*/ 502012 h 3690338"/>
                <a:gd name="connsiteX2568" fmla="*/ 4548797 w 4878487"/>
                <a:gd name="connsiteY2568" fmla="*/ 505159 h 3690338"/>
                <a:gd name="connsiteX2569" fmla="*/ 4551551 w 4878487"/>
                <a:gd name="connsiteY2569" fmla="*/ 507520 h 3690338"/>
                <a:gd name="connsiteX2570" fmla="*/ 4554305 w 4878487"/>
                <a:gd name="connsiteY2570" fmla="*/ 507127 h 3690338"/>
                <a:gd name="connsiteX2571" fmla="*/ 4555485 w 4878487"/>
                <a:gd name="connsiteY2571" fmla="*/ 504373 h 3690338"/>
                <a:gd name="connsiteX2572" fmla="*/ 4555879 w 4878487"/>
                <a:gd name="connsiteY2572" fmla="*/ 502012 h 3690338"/>
                <a:gd name="connsiteX2573" fmla="*/ 4612138 w 4878487"/>
                <a:gd name="connsiteY2573" fmla="*/ 487455 h 3690338"/>
                <a:gd name="connsiteX2574" fmla="*/ 4620401 w 4878487"/>
                <a:gd name="connsiteY2574" fmla="*/ 491783 h 3690338"/>
                <a:gd name="connsiteX2575" fmla="*/ 4621187 w 4878487"/>
                <a:gd name="connsiteY2575" fmla="*/ 492176 h 3690338"/>
                <a:gd name="connsiteX2576" fmla="*/ 4623941 w 4878487"/>
                <a:gd name="connsiteY2576" fmla="*/ 493750 h 3690338"/>
                <a:gd name="connsiteX2577" fmla="*/ 4624335 w 4878487"/>
                <a:gd name="connsiteY2577" fmla="*/ 493750 h 3690338"/>
                <a:gd name="connsiteX2578" fmla="*/ 4631417 w 4878487"/>
                <a:gd name="connsiteY2578" fmla="*/ 497291 h 3690338"/>
                <a:gd name="connsiteX2579" fmla="*/ 4631809 w 4878487"/>
                <a:gd name="connsiteY2579" fmla="*/ 497684 h 3690338"/>
                <a:gd name="connsiteX2580" fmla="*/ 4634957 w 4878487"/>
                <a:gd name="connsiteY2580" fmla="*/ 499258 h 3690338"/>
                <a:gd name="connsiteX2581" fmla="*/ 4637318 w 4878487"/>
                <a:gd name="connsiteY2581" fmla="*/ 500045 h 3690338"/>
                <a:gd name="connsiteX2582" fmla="*/ 4642039 w 4878487"/>
                <a:gd name="connsiteY2582" fmla="*/ 501619 h 3690338"/>
                <a:gd name="connsiteX2583" fmla="*/ 4644793 w 4878487"/>
                <a:gd name="connsiteY2583" fmla="*/ 503192 h 3690338"/>
                <a:gd name="connsiteX2584" fmla="*/ 4647940 w 4878487"/>
                <a:gd name="connsiteY2584" fmla="*/ 504766 h 3690338"/>
                <a:gd name="connsiteX2585" fmla="*/ 4649121 w 4878487"/>
                <a:gd name="connsiteY2585" fmla="*/ 502012 h 3690338"/>
                <a:gd name="connsiteX2586" fmla="*/ 4656596 w 4878487"/>
                <a:gd name="connsiteY2586" fmla="*/ 474079 h 3690338"/>
                <a:gd name="connsiteX2587" fmla="*/ 4678234 w 4878487"/>
                <a:gd name="connsiteY2587" fmla="*/ 446145 h 3690338"/>
                <a:gd name="connsiteX2588" fmla="*/ 4681382 w 4878487"/>
                <a:gd name="connsiteY2588" fmla="*/ 444572 h 3690338"/>
                <a:gd name="connsiteX2589" fmla="*/ 4678234 w 4878487"/>
                <a:gd name="connsiteY2589" fmla="*/ 442211 h 3690338"/>
                <a:gd name="connsiteX2590" fmla="*/ 4675480 w 4878487"/>
                <a:gd name="connsiteY2590" fmla="*/ 441424 h 3690338"/>
                <a:gd name="connsiteX2591" fmla="*/ 4678628 w 4878487"/>
                <a:gd name="connsiteY2591" fmla="*/ 441818 h 3690338"/>
                <a:gd name="connsiteX2592" fmla="*/ 4681382 w 4878487"/>
                <a:gd name="connsiteY2592" fmla="*/ 442211 h 3690338"/>
                <a:gd name="connsiteX2593" fmla="*/ 4684135 w 4878487"/>
                <a:gd name="connsiteY2593" fmla="*/ 441031 h 3690338"/>
                <a:gd name="connsiteX2594" fmla="*/ 4686889 w 4878487"/>
                <a:gd name="connsiteY2594" fmla="*/ 439457 h 3690338"/>
                <a:gd name="connsiteX2595" fmla="*/ 4684922 w 4878487"/>
                <a:gd name="connsiteY2595" fmla="*/ 436310 h 3690338"/>
                <a:gd name="connsiteX2596" fmla="*/ 4688070 w 4878487"/>
                <a:gd name="connsiteY2596" fmla="*/ 436703 h 3690338"/>
                <a:gd name="connsiteX2597" fmla="*/ 4690823 w 4878487"/>
                <a:gd name="connsiteY2597" fmla="*/ 435130 h 3690338"/>
                <a:gd name="connsiteX2598" fmla="*/ 4693578 w 4878487"/>
                <a:gd name="connsiteY2598" fmla="*/ 433162 h 3690338"/>
                <a:gd name="connsiteX2599" fmla="*/ 4696725 w 4878487"/>
                <a:gd name="connsiteY2599" fmla="*/ 431982 h 3690338"/>
                <a:gd name="connsiteX2600" fmla="*/ 4699480 w 4878487"/>
                <a:gd name="connsiteY2600" fmla="*/ 431195 h 3690338"/>
                <a:gd name="connsiteX2601" fmla="*/ 4701053 w 4878487"/>
                <a:gd name="connsiteY2601" fmla="*/ 428441 h 3690338"/>
                <a:gd name="connsiteX2602" fmla="*/ 4702233 w 4878487"/>
                <a:gd name="connsiteY2602" fmla="*/ 425687 h 3690338"/>
                <a:gd name="connsiteX2603" fmla="*/ 4704987 w 4878487"/>
                <a:gd name="connsiteY2603" fmla="*/ 424900 h 3690338"/>
                <a:gd name="connsiteX2604" fmla="*/ 4708135 w 4878487"/>
                <a:gd name="connsiteY2604" fmla="*/ 424114 h 3690338"/>
                <a:gd name="connsiteX2605" fmla="*/ 4710889 w 4878487"/>
                <a:gd name="connsiteY2605" fmla="*/ 423720 h 3690338"/>
                <a:gd name="connsiteX2606" fmla="*/ 4714036 w 4878487"/>
                <a:gd name="connsiteY2606" fmla="*/ 423327 h 3690338"/>
                <a:gd name="connsiteX2607" fmla="*/ 4710889 w 4878487"/>
                <a:gd name="connsiteY2607" fmla="*/ 422933 h 3690338"/>
                <a:gd name="connsiteX2608" fmla="*/ 4707741 w 4878487"/>
                <a:gd name="connsiteY2608" fmla="*/ 422540 h 3690338"/>
                <a:gd name="connsiteX2609" fmla="*/ 4704987 w 4878487"/>
                <a:gd name="connsiteY2609" fmla="*/ 421360 h 3690338"/>
                <a:gd name="connsiteX2610" fmla="*/ 4702233 w 4878487"/>
                <a:gd name="connsiteY2610" fmla="*/ 419786 h 3690338"/>
                <a:gd name="connsiteX2611" fmla="*/ 4700659 w 4878487"/>
                <a:gd name="connsiteY2611" fmla="*/ 417032 h 3690338"/>
                <a:gd name="connsiteX2612" fmla="*/ 4697905 w 4878487"/>
                <a:gd name="connsiteY2612" fmla="*/ 415458 h 3690338"/>
                <a:gd name="connsiteX2613" fmla="*/ 4696332 w 4878487"/>
                <a:gd name="connsiteY2613" fmla="*/ 414671 h 3690338"/>
                <a:gd name="connsiteX2614" fmla="*/ 4699480 w 4878487"/>
                <a:gd name="connsiteY2614" fmla="*/ 415458 h 3690338"/>
                <a:gd name="connsiteX2615" fmla="*/ 4702626 w 4878487"/>
                <a:gd name="connsiteY2615" fmla="*/ 416638 h 3690338"/>
                <a:gd name="connsiteX2616" fmla="*/ 4705774 w 4878487"/>
                <a:gd name="connsiteY2616" fmla="*/ 418999 h 3690338"/>
                <a:gd name="connsiteX2617" fmla="*/ 4708921 w 4878487"/>
                <a:gd name="connsiteY2617" fmla="*/ 419392 h 3690338"/>
                <a:gd name="connsiteX2618" fmla="*/ 4707348 w 4878487"/>
                <a:gd name="connsiteY2618" fmla="*/ 416638 h 3690338"/>
                <a:gd name="connsiteX2619" fmla="*/ 4710495 w 4878487"/>
                <a:gd name="connsiteY2619" fmla="*/ 417032 h 3690338"/>
                <a:gd name="connsiteX2620" fmla="*/ 4712069 w 4878487"/>
                <a:gd name="connsiteY2620" fmla="*/ 419786 h 3690338"/>
                <a:gd name="connsiteX2621" fmla="*/ 4714823 w 4878487"/>
                <a:gd name="connsiteY2621" fmla="*/ 422146 h 3690338"/>
                <a:gd name="connsiteX2622" fmla="*/ 4717577 w 4878487"/>
                <a:gd name="connsiteY2622" fmla="*/ 422933 h 3690338"/>
                <a:gd name="connsiteX2623" fmla="*/ 4723872 w 4878487"/>
                <a:gd name="connsiteY2623" fmla="*/ 422933 h 3690338"/>
                <a:gd name="connsiteX2624" fmla="*/ 4727019 w 4878487"/>
                <a:gd name="connsiteY2624" fmla="*/ 423327 h 3690338"/>
                <a:gd name="connsiteX2625" fmla="*/ 4733314 w 4878487"/>
                <a:gd name="connsiteY2625" fmla="*/ 423720 h 3690338"/>
                <a:gd name="connsiteX2626" fmla="*/ 4736068 w 4878487"/>
                <a:gd name="connsiteY2626" fmla="*/ 424114 h 3690338"/>
                <a:gd name="connsiteX2627" fmla="*/ 4739215 w 4878487"/>
                <a:gd name="connsiteY2627" fmla="*/ 424900 h 3690338"/>
                <a:gd name="connsiteX2628" fmla="*/ 4741969 w 4878487"/>
                <a:gd name="connsiteY2628" fmla="*/ 425294 h 3690338"/>
                <a:gd name="connsiteX2629" fmla="*/ 4745117 w 4878487"/>
                <a:gd name="connsiteY2629" fmla="*/ 425687 h 3690338"/>
                <a:gd name="connsiteX2630" fmla="*/ 4747870 w 4878487"/>
                <a:gd name="connsiteY2630" fmla="*/ 426081 h 3690338"/>
                <a:gd name="connsiteX2631" fmla="*/ 4750625 w 4878487"/>
                <a:gd name="connsiteY2631" fmla="*/ 426474 h 3690338"/>
                <a:gd name="connsiteX2632" fmla="*/ 4754166 w 4878487"/>
                <a:gd name="connsiteY2632" fmla="*/ 426868 h 3690338"/>
                <a:gd name="connsiteX2633" fmla="*/ 4757313 w 4878487"/>
                <a:gd name="connsiteY2633" fmla="*/ 427261 h 3690338"/>
                <a:gd name="connsiteX2634" fmla="*/ 4760067 w 4878487"/>
                <a:gd name="connsiteY2634" fmla="*/ 427654 h 3690338"/>
                <a:gd name="connsiteX2635" fmla="*/ 4763215 w 4878487"/>
                <a:gd name="connsiteY2635" fmla="*/ 428048 h 3690338"/>
                <a:gd name="connsiteX2636" fmla="*/ 4766362 w 4878487"/>
                <a:gd name="connsiteY2636" fmla="*/ 429228 h 3690338"/>
                <a:gd name="connsiteX2637" fmla="*/ 4764788 w 4878487"/>
                <a:gd name="connsiteY2637" fmla="*/ 426081 h 3690338"/>
                <a:gd name="connsiteX2638" fmla="*/ 4762034 w 4878487"/>
                <a:gd name="connsiteY2638" fmla="*/ 424507 h 3690338"/>
                <a:gd name="connsiteX2639" fmla="*/ 4765182 w 4878487"/>
                <a:gd name="connsiteY2639" fmla="*/ 423327 h 3690338"/>
                <a:gd name="connsiteX2640" fmla="*/ 4764395 w 4878487"/>
                <a:gd name="connsiteY2640" fmla="*/ 420573 h 3690338"/>
                <a:gd name="connsiteX2641" fmla="*/ 4764788 w 4878487"/>
                <a:gd name="connsiteY2641" fmla="*/ 417425 h 3690338"/>
                <a:gd name="connsiteX2642" fmla="*/ 4762034 w 4878487"/>
                <a:gd name="connsiteY2642" fmla="*/ 415458 h 3690338"/>
                <a:gd name="connsiteX2643" fmla="*/ 4758886 w 4878487"/>
                <a:gd name="connsiteY2643" fmla="*/ 413884 h 3690338"/>
                <a:gd name="connsiteX2644" fmla="*/ 4755739 w 4878487"/>
                <a:gd name="connsiteY2644" fmla="*/ 412311 h 3690338"/>
                <a:gd name="connsiteX2645" fmla="*/ 4752985 w 4878487"/>
                <a:gd name="connsiteY2645" fmla="*/ 411917 h 3690338"/>
                <a:gd name="connsiteX2646" fmla="*/ 4749837 w 4878487"/>
                <a:gd name="connsiteY2646" fmla="*/ 411524 h 3690338"/>
                <a:gd name="connsiteX2647" fmla="*/ 4746297 w 4878487"/>
                <a:gd name="connsiteY2647" fmla="*/ 409950 h 3690338"/>
                <a:gd name="connsiteX2648" fmla="*/ 4743543 w 4878487"/>
                <a:gd name="connsiteY2648" fmla="*/ 408377 h 3690338"/>
                <a:gd name="connsiteX2649" fmla="*/ 4743936 w 4878487"/>
                <a:gd name="connsiteY2649" fmla="*/ 405623 h 3690338"/>
                <a:gd name="connsiteX2650" fmla="*/ 4741182 w 4878487"/>
                <a:gd name="connsiteY2650" fmla="*/ 404049 h 3690338"/>
                <a:gd name="connsiteX2651" fmla="*/ 4738035 w 4878487"/>
                <a:gd name="connsiteY2651" fmla="*/ 402869 h 3690338"/>
                <a:gd name="connsiteX2652" fmla="*/ 4735281 w 4878487"/>
                <a:gd name="connsiteY2652" fmla="*/ 401688 h 3690338"/>
                <a:gd name="connsiteX2653" fmla="*/ 4732133 w 4878487"/>
                <a:gd name="connsiteY2653" fmla="*/ 401688 h 3690338"/>
                <a:gd name="connsiteX2654" fmla="*/ 4728987 w 4878487"/>
                <a:gd name="connsiteY2654" fmla="*/ 400508 h 3690338"/>
                <a:gd name="connsiteX2655" fmla="*/ 4726232 w 4878487"/>
                <a:gd name="connsiteY2655" fmla="*/ 400115 h 3690338"/>
                <a:gd name="connsiteX2656" fmla="*/ 4722691 w 4878487"/>
                <a:gd name="connsiteY2656" fmla="*/ 398541 h 3690338"/>
                <a:gd name="connsiteX2657" fmla="*/ 4719938 w 4878487"/>
                <a:gd name="connsiteY2657" fmla="*/ 398147 h 3690338"/>
                <a:gd name="connsiteX2658" fmla="*/ 4719938 w 4878487"/>
                <a:gd name="connsiteY2658" fmla="*/ 398147 h 3690338"/>
                <a:gd name="connsiteX2659" fmla="*/ 4722691 w 4878487"/>
                <a:gd name="connsiteY2659" fmla="*/ 398147 h 3690338"/>
                <a:gd name="connsiteX2660" fmla="*/ 4725445 w 4878487"/>
                <a:gd name="connsiteY2660" fmla="*/ 399328 h 3690338"/>
                <a:gd name="connsiteX2661" fmla="*/ 4722691 w 4878487"/>
                <a:gd name="connsiteY2661" fmla="*/ 397754 h 3690338"/>
                <a:gd name="connsiteX2662" fmla="*/ 4721118 w 4878487"/>
                <a:gd name="connsiteY2662" fmla="*/ 397361 h 3690338"/>
                <a:gd name="connsiteX2663" fmla="*/ 4717970 w 4878487"/>
                <a:gd name="connsiteY2663" fmla="*/ 395787 h 3690338"/>
                <a:gd name="connsiteX2664" fmla="*/ 4714823 w 4878487"/>
                <a:gd name="connsiteY2664" fmla="*/ 394213 h 3690338"/>
                <a:gd name="connsiteX2665" fmla="*/ 4711675 w 4878487"/>
                <a:gd name="connsiteY2665" fmla="*/ 392639 h 3690338"/>
                <a:gd name="connsiteX2666" fmla="*/ 4708528 w 4878487"/>
                <a:gd name="connsiteY2666" fmla="*/ 390672 h 3690338"/>
                <a:gd name="connsiteX2667" fmla="*/ 4711675 w 4878487"/>
                <a:gd name="connsiteY2667" fmla="*/ 393033 h 3690338"/>
                <a:gd name="connsiteX2668" fmla="*/ 4714036 w 4878487"/>
                <a:gd name="connsiteY2668" fmla="*/ 394607 h 3690338"/>
                <a:gd name="connsiteX2669" fmla="*/ 4709708 w 4878487"/>
                <a:gd name="connsiteY2669" fmla="*/ 392639 h 3690338"/>
                <a:gd name="connsiteX2670" fmla="*/ 4709315 w 4878487"/>
                <a:gd name="connsiteY2670" fmla="*/ 392246 h 3690338"/>
                <a:gd name="connsiteX2671" fmla="*/ 4708528 w 4878487"/>
                <a:gd name="connsiteY2671" fmla="*/ 392246 h 3690338"/>
                <a:gd name="connsiteX2672" fmla="*/ 4703414 w 4878487"/>
                <a:gd name="connsiteY2672" fmla="*/ 389886 h 3690338"/>
                <a:gd name="connsiteX2673" fmla="*/ 4704201 w 4878487"/>
                <a:gd name="connsiteY2673" fmla="*/ 389886 h 3690338"/>
                <a:gd name="connsiteX2674" fmla="*/ 4707348 w 4878487"/>
                <a:gd name="connsiteY2674" fmla="*/ 391066 h 3690338"/>
                <a:gd name="connsiteX2675" fmla="*/ 4704201 w 4878487"/>
                <a:gd name="connsiteY2675" fmla="*/ 389492 h 3690338"/>
                <a:gd name="connsiteX2676" fmla="*/ 4707348 w 4878487"/>
                <a:gd name="connsiteY2676" fmla="*/ 389886 h 3690338"/>
                <a:gd name="connsiteX2677" fmla="*/ 4704201 w 4878487"/>
                <a:gd name="connsiteY2677" fmla="*/ 387525 h 3690338"/>
                <a:gd name="connsiteX2678" fmla="*/ 4701053 w 4878487"/>
                <a:gd name="connsiteY2678" fmla="*/ 385558 h 3690338"/>
                <a:gd name="connsiteX2679" fmla="*/ 4698299 w 4878487"/>
                <a:gd name="connsiteY2679" fmla="*/ 383591 h 3690338"/>
                <a:gd name="connsiteX2680" fmla="*/ 4695152 w 4878487"/>
                <a:gd name="connsiteY2680" fmla="*/ 381624 h 3690338"/>
                <a:gd name="connsiteX2681" fmla="*/ 4691611 w 4878487"/>
                <a:gd name="connsiteY2681" fmla="*/ 379656 h 3690338"/>
                <a:gd name="connsiteX2682" fmla="*/ 4688463 w 4878487"/>
                <a:gd name="connsiteY2682" fmla="*/ 379263 h 3690338"/>
                <a:gd name="connsiteX2683" fmla="*/ 4685710 w 4878487"/>
                <a:gd name="connsiteY2683" fmla="*/ 379656 h 3690338"/>
                <a:gd name="connsiteX2684" fmla="*/ 4683349 w 4878487"/>
                <a:gd name="connsiteY2684" fmla="*/ 376509 h 3690338"/>
                <a:gd name="connsiteX2685" fmla="*/ 4686103 w 4878487"/>
                <a:gd name="connsiteY2685" fmla="*/ 377296 h 3690338"/>
                <a:gd name="connsiteX2686" fmla="*/ 4683349 w 4878487"/>
                <a:gd name="connsiteY2686" fmla="*/ 375722 h 3690338"/>
                <a:gd name="connsiteX2687" fmla="*/ 4680201 w 4878487"/>
                <a:gd name="connsiteY2687" fmla="*/ 374148 h 3690338"/>
                <a:gd name="connsiteX2688" fmla="*/ 4677447 w 4878487"/>
                <a:gd name="connsiteY2688" fmla="*/ 372575 h 3690338"/>
                <a:gd name="connsiteX2689" fmla="*/ 4673907 w 4878487"/>
                <a:gd name="connsiteY2689" fmla="*/ 370608 h 3690338"/>
                <a:gd name="connsiteX2690" fmla="*/ 4670759 w 4878487"/>
                <a:gd name="connsiteY2690" fmla="*/ 369034 h 3690338"/>
                <a:gd name="connsiteX2691" fmla="*/ 4667218 w 4878487"/>
                <a:gd name="connsiteY2691" fmla="*/ 367460 h 3690338"/>
                <a:gd name="connsiteX2692" fmla="*/ 4666431 w 4878487"/>
                <a:gd name="connsiteY2692" fmla="*/ 370214 h 3690338"/>
                <a:gd name="connsiteX2693" fmla="*/ 4669185 w 4878487"/>
                <a:gd name="connsiteY2693" fmla="*/ 371788 h 3690338"/>
                <a:gd name="connsiteX2694" fmla="*/ 4666038 w 4878487"/>
                <a:gd name="connsiteY2694" fmla="*/ 371788 h 3690338"/>
                <a:gd name="connsiteX2695" fmla="*/ 4662891 w 4878487"/>
                <a:gd name="connsiteY2695" fmla="*/ 371394 h 3690338"/>
                <a:gd name="connsiteX2696" fmla="*/ 4660137 w 4878487"/>
                <a:gd name="connsiteY2696" fmla="*/ 371001 h 3690338"/>
                <a:gd name="connsiteX2697" fmla="*/ 4656989 w 4878487"/>
                <a:gd name="connsiteY2697" fmla="*/ 370214 h 3690338"/>
                <a:gd name="connsiteX2698" fmla="*/ 4654236 w 4878487"/>
                <a:gd name="connsiteY2698" fmla="*/ 369034 h 3690338"/>
                <a:gd name="connsiteX2699" fmla="*/ 4651088 w 4878487"/>
                <a:gd name="connsiteY2699" fmla="*/ 367854 h 3690338"/>
                <a:gd name="connsiteX2700" fmla="*/ 4649121 w 4878487"/>
                <a:gd name="connsiteY2700" fmla="*/ 367067 h 3690338"/>
                <a:gd name="connsiteX2701" fmla="*/ 4647547 w 4878487"/>
                <a:gd name="connsiteY2701" fmla="*/ 366280 h 3690338"/>
                <a:gd name="connsiteX2702" fmla="*/ 4644400 w 4878487"/>
                <a:gd name="connsiteY2702" fmla="*/ 365493 h 3690338"/>
                <a:gd name="connsiteX2703" fmla="*/ 4641645 w 4878487"/>
                <a:gd name="connsiteY2703" fmla="*/ 363919 h 3690338"/>
                <a:gd name="connsiteX2704" fmla="*/ 4638499 w 4878487"/>
                <a:gd name="connsiteY2704" fmla="*/ 362346 h 3690338"/>
                <a:gd name="connsiteX2705" fmla="*/ 4636531 w 4878487"/>
                <a:gd name="connsiteY2705" fmla="*/ 359592 h 3690338"/>
                <a:gd name="connsiteX2706" fmla="*/ 4633777 w 4878487"/>
                <a:gd name="connsiteY2706" fmla="*/ 356838 h 3690338"/>
                <a:gd name="connsiteX2707" fmla="*/ 4630630 w 4878487"/>
                <a:gd name="connsiteY2707" fmla="*/ 355657 h 3690338"/>
                <a:gd name="connsiteX2708" fmla="*/ 4627875 w 4878487"/>
                <a:gd name="connsiteY2708" fmla="*/ 356051 h 3690338"/>
                <a:gd name="connsiteX2709" fmla="*/ 4625121 w 4878487"/>
                <a:gd name="connsiteY2709" fmla="*/ 357231 h 3690338"/>
                <a:gd name="connsiteX2710" fmla="*/ 4623548 w 4878487"/>
                <a:gd name="connsiteY2710" fmla="*/ 359985 h 3690338"/>
                <a:gd name="connsiteX2711" fmla="*/ 4623154 w 4878487"/>
                <a:gd name="connsiteY2711" fmla="*/ 359985 h 3690338"/>
                <a:gd name="connsiteX2712" fmla="*/ 4602696 w 4878487"/>
                <a:gd name="connsiteY2712" fmla="*/ 354477 h 3690338"/>
                <a:gd name="connsiteX2713" fmla="*/ 4601516 w 4878487"/>
                <a:gd name="connsiteY2713" fmla="*/ 353690 h 3690338"/>
                <a:gd name="connsiteX2714" fmla="*/ 4598368 w 4878487"/>
                <a:gd name="connsiteY2714" fmla="*/ 352117 h 3690338"/>
                <a:gd name="connsiteX2715" fmla="*/ 4595614 w 4878487"/>
                <a:gd name="connsiteY2715" fmla="*/ 351723 h 3690338"/>
                <a:gd name="connsiteX2716" fmla="*/ 4592074 w 4878487"/>
                <a:gd name="connsiteY2716" fmla="*/ 351330 h 3690338"/>
                <a:gd name="connsiteX2717" fmla="*/ 4603090 w 4878487"/>
                <a:gd name="connsiteY2717" fmla="*/ 352903 h 3690338"/>
                <a:gd name="connsiteX2718" fmla="*/ 4606237 w 4878487"/>
                <a:gd name="connsiteY2718" fmla="*/ 354477 h 3690338"/>
                <a:gd name="connsiteX2719" fmla="*/ 4609384 w 4878487"/>
                <a:gd name="connsiteY2719" fmla="*/ 352903 h 3690338"/>
                <a:gd name="connsiteX2720" fmla="*/ 4612138 w 4878487"/>
                <a:gd name="connsiteY2720" fmla="*/ 353297 h 3690338"/>
                <a:gd name="connsiteX2721" fmla="*/ 4615286 w 4878487"/>
                <a:gd name="connsiteY2721" fmla="*/ 353690 h 3690338"/>
                <a:gd name="connsiteX2722" fmla="*/ 4618827 w 4878487"/>
                <a:gd name="connsiteY2722" fmla="*/ 355264 h 3690338"/>
                <a:gd name="connsiteX2723" fmla="*/ 4621581 w 4878487"/>
                <a:gd name="connsiteY2723" fmla="*/ 356051 h 3690338"/>
                <a:gd name="connsiteX2724" fmla="*/ 4624335 w 4878487"/>
                <a:gd name="connsiteY2724" fmla="*/ 355657 h 3690338"/>
                <a:gd name="connsiteX2725" fmla="*/ 4621974 w 4878487"/>
                <a:gd name="connsiteY2725" fmla="*/ 352903 h 3690338"/>
                <a:gd name="connsiteX2726" fmla="*/ 4619614 w 4878487"/>
                <a:gd name="connsiteY2726" fmla="*/ 352117 h 3690338"/>
                <a:gd name="connsiteX2727" fmla="*/ 4623941 w 4878487"/>
                <a:gd name="connsiteY2727" fmla="*/ 351723 h 3690338"/>
                <a:gd name="connsiteX2728" fmla="*/ 4624729 w 4878487"/>
                <a:gd name="connsiteY2728" fmla="*/ 351723 h 3690338"/>
                <a:gd name="connsiteX2729" fmla="*/ 4627875 w 4878487"/>
                <a:gd name="connsiteY2729" fmla="*/ 353297 h 3690338"/>
                <a:gd name="connsiteX2730" fmla="*/ 4630630 w 4878487"/>
                <a:gd name="connsiteY2730" fmla="*/ 354871 h 3690338"/>
                <a:gd name="connsiteX2731" fmla="*/ 4634170 w 4878487"/>
                <a:gd name="connsiteY2731" fmla="*/ 356051 h 3690338"/>
                <a:gd name="connsiteX2732" fmla="*/ 4637318 w 4878487"/>
                <a:gd name="connsiteY2732" fmla="*/ 357625 h 3690338"/>
                <a:gd name="connsiteX2733" fmla="*/ 4640072 w 4878487"/>
                <a:gd name="connsiteY2733" fmla="*/ 358018 h 3690338"/>
                <a:gd name="connsiteX2734" fmla="*/ 4642826 w 4878487"/>
                <a:gd name="connsiteY2734" fmla="*/ 358018 h 3690338"/>
                <a:gd name="connsiteX2735" fmla="*/ 4645973 w 4878487"/>
                <a:gd name="connsiteY2735" fmla="*/ 358411 h 3690338"/>
                <a:gd name="connsiteX2736" fmla="*/ 4649121 w 4878487"/>
                <a:gd name="connsiteY2736" fmla="*/ 358805 h 3690338"/>
                <a:gd name="connsiteX2737" fmla="*/ 4651875 w 4878487"/>
                <a:gd name="connsiteY2737" fmla="*/ 359198 h 3690338"/>
                <a:gd name="connsiteX2738" fmla="*/ 4654628 w 4878487"/>
                <a:gd name="connsiteY2738" fmla="*/ 359592 h 3690338"/>
                <a:gd name="connsiteX2739" fmla="*/ 4657776 w 4878487"/>
                <a:gd name="connsiteY2739" fmla="*/ 359198 h 3690338"/>
                <a:gd name="connsiteX2740" fmla="*/ 4660924 w 4878487"/>
                <a:gd name="connsiteY2740" fmla="*/ 358805 h 3690338"/>
                <a:gd name="connsiteX2741" fmla="*/ 4664071 w 4878487"/>
                <a:gd name="connsiteY2741" fmla="*/ 358411 h 3690338"/>
                <a:gd name="connsiteX2742" fmla="*/ 4662104 w 4878487"/>
                <a:gd name="connsiteY2742" fmla="*/ 361165 h 3690338"/>
                <a:gd name="connsiteX2743" fmla="*/ 4664858 w 4878487"/>
                <a:gd name="connsiteY2743" fmla="*/ 360772 h 3690338"/>
                <a:gd name="connsiteX2744" fmla="*/ 4667612 w 4878487"/>
                <a:gd name="connsiteY2744" fmla="*/ 358018 h 3690338"/>
                <a:gd name="connsiteX2745" fmla="*/ 4670365 w 4878487"/>
                <a:gd name="connsiteY2745" fmla="*/ 355264 h 3690338"/>
                <a:gd name="connsiteX2746" fmla="*/ 4673513 w 4878487"/>
                <a:gd name="connsiteY2746" fmla="*/ 354871 h 3690338"/>
                <a:gd name="connsiteX2747" fmla="*/ 4675874 w 4878487"/>
                <a:gd name="connsiteY2747" fmla="*/ 351723 h 3690338"/>
                <a:gd name="connsiteX2748" fmla="*/ 4675086 w 4878487"/>
                <a:gd name="connsiteY2748" fmla="*/ 348969 h 3690338"/>
                <a:gd name="connsiteX2749" fmla="*/ 4677447 w 4878487"/>
                <a:gd name="connsiteY2749" fmla="*/ 347395 h 3690338"/>
                <a:gd name="connsiteX2750" fmla="*/ 4680595 w 4878487"/>
                <a:gd name="connsiteY2750" fmla="*/ 347002 h 3690338"/>
                <a:gd name="connsiteX2751" fmla="*/ 4681382 w 4878487"/>
                <a:gd name="connsiteY2751" fmla="*/ 343855 h 3690338"/>
                <a:gd name="connsiteX2752" fmla="*/ 4679021 w 4878487"/>
                <a:gd name="connsiteY2752" fmla="*/ 341101 h 3690338"/>
                <a:gd name="connsiteX2753" fmla="*/ 4676267 w 4878487"/>
                <a:gd name="connsiteY2753" fmla="*/ 338347 h 3690338"/>
                <a:gd name="connsiteX2754" fmla="*/ 4673119 w 4878487"/>
                <a:gd name="connsiteY2754" fmla="*/ 337953 h 3690338"/>
                <a:gd name="connsiteX2755" fmla="*/ 4669579 w 4878487"/>
                <a:gd name="connsiteY2755" fmla="*/ 337953 h 3690338"/>
                <a:gd name="connsiteX2756" fmla="*/ 4666825 w 4878487"/>
                <a:gd name="connsiteY2756" fmla="*/ 338740 h 3690338"/>
                <a:gd name="connsiteX2757" fmla="*/ 4669579 w 4878487"/>
                <a:gd name="connsiteY2757" fmla="*/ 340707 h 3690338"/>
                <a:gd name="connsiteX2758" fmla="*/ 4666825 w 4878487"/>
                <a:gd name="connsiteY2758" fmla="*/ 339920 h 3690338"/>
                <a:gd name="connsiteX2759" fmla="*/ 4663677 w 4878487"/>
                <a:gd name="connsiteY2759" fmla="*/ 337953 h 3690338"/>
                <a:gd name="connsiteX2760" fmla="*/ 4664858 w 4878487"/>
                <a:gd name="connsiteY2760" fmla="*/ 337560 h 3690338"/>
                <a:gd name="connsiteX2761" fmla="*/ 4668005 w 4878487"/>
                <a:gd name="connsiteY2761" fmla="*/ 336773 h 3690338"/>
                <a:gd name="connsiteX2762" fmla="*/ 4670759 w 4878487"/>
                <a:gd name="connsiteY2762" fmla="*/ 336773 h 3690338"/>
                <a:gd name="connsiteX2763" fmla="*/ 4673907 w 4878487"/>
                <a:gd name="connsiteY2763" fmla="*/ 336380 h 3690338"/>
                <a:gd name="connsiteX2764" fmla="*/ 4673513 w 4878487"/>
                <a:gd name="connsiteY2764" fmla="*/ 333232 h 3690338"/>
                <a:gd name="connsiteX2765" fmla="*/ 4670365 w 4878487"/>
                <a:gd name="connsiteY2765" fmla="*/ 331658 h 3690338"/>
                <a:gd name="connsiteX2766" fmla="*/ 4667612 w 4878487"/>
                <a:gd name="connsiteY2766" fmla="*/ 329691 h 3690338"/>
                <a:gd name="connsiteX2767" fmla="*/ 4664464 w 4878487"/>
                <a:gd name="connsiteY2767" fmla="*/ 329298 h 3690338"/>
                <a:gd name="connsiteX2768" fmla="*/ 4661316 w 4878487"/>
                <a:gd name="connsiteY2768" fmla="*/ 328511 h 3690338"/>
                <a:gd name="connsiteX2769" fmla="*/ 4658170 w 4878487"/>
                <a:gd name="connsiteY2769" fmla="*/ 327331 h 3690338"/>
                <a:gd name="connsiteX2770" fmla="*/ 4655809 w 4878487"/>
                <a:gd name="connsiteY2770" fmla="*/ 326544 h 3690338"/>
                <a:gd name="connsiteX2771" fmla="*/ 4647154 w 4878487"/>
                <a:gd name="connsiteY2771" fmla="*/ 314348 h 3690338"/>
                <a:gd name="connsiteX2772" fmla="*/ 4647547 w 4878487"/>
                <a:gd name="connsiteY2772" fmla="*/ 313954 h 3690338"/>
                <a:gd name="connsiteX2773" fmla="*/ 4646367 w 4878487"/>
                <a:gd name="connsiteY2773" fmla="*/ 313561 h 3690338"/>
                <a:gd name="connsiteX2774" fmla="*/ 4644400 w 4878487"/>
                <a:gd name="connsiteY2774" fmla="*/ 310413 h 3690338"/>
                <a:gd name="connsiteX2775" fmla="*/ 4662891 w 4878487"/>
                <a:gd name="connsiteY2775" fmla="*/ 319462 h 3690338"/>
                <a:gd name="connsiteX2776" fmla="*/ 4662497 w 4878487"/>
                <a:gd name="connsiteY2776" fmla="*/ 319462 h 3690338"/>
                <a:gd name="connsiteX2777" fmla="*/ 4665645 w 4878487"/>
                <a:gd name="connsiteY2777" fmla="*/ 321036 h 3690338"/>
                <a:gd name="connsiteX2778" fmla="*/ 4668792 w 4878487"/>
                <a:gd name="connsiteY2778" fmla="*/ 323003 h 3690338"/>
                <a:gd name="connsiteX2779" fmla="*/ 4671940 w 4878487"/>
                <a:gd name="connsiteY2779" fmla="*/ 323790 h 3690338"/>
                <a:gd name="connsiteX2780" fmla="*/ 4675086 w 4878487"/>
                <a:gd name="connsiteY2780" fmla="*/ 325364 h 3690338"/>
                <a:gd name="connsiteX2781" fmla="*/ 4678234 w 4878487"/>
                <a:gd name="connsiteY2781" fmla="*/ 326544 h 3690338"/>
                <a:gd name="connsiteX2782" fmla="*/ 4684529 w 4878487"/>
                <a:gd name="connsiteY2782" fmla="*/ 327724 h 3690338"/>
                <a:gd name="connsiteX2783" fmla="*/ 4687283 w 4878487"/>
                <a:gd name="connsiteY2783" fmla="*/ 330085 h 3690338"/>
                <a:gd name="connsiteX2784" fmla="*/ 4690037 w 4878487"/>
                <a:gd name="connsiteY2784" fmla="*/ 332839 h 3690338"/>
                <a:gd name="connsiteX2785" fmla="*/ 4693184 w 4878487"/>
                <a:gd name="connsiteY2785" fmla="*/ 334412 h 3690338"/>
                <a:gd name="connsiteX2786" fmla="*/ 4696332 w 4878487"/>
                <a:gd name="connsiteY2786" fmla="*/ 334806 h 3690338"/>
                <a:gd name="connsiteX2787" fmla="*/ 4702233 w 4878487"/>
                <a:gd name="connsiteY2787" fmla="*/ 334806 h 3690338"/>
                <a:gd name="connsiteX2788" fmla="*/ 4705381 w 4878487"/>
                <a:gd name="connsiteY2788" fmla="*/ 335199 h 3690338"/>
                <a:gd name="connsiteX2789" fmla="*/ 4708528 w 4878487"/>
                <a:gd name="connsiteY2789" fmla="*/ 334806 h 3690338"/>
                <a:gd name="connsiteX2790" fmla="*/ 4711675 w 4878487"/>
                <a:gd name="connsiteY2790" fmla="*/ 335199 h 3690338"/>
                <a:gd name="connsiteX2791" fmla="*/ 4714823 w 4878487"/>
                <a:gd name="connsiteY2791" fmla="*/ 334806 h 3690338"/>
                <a:gd name="connsiteX2792" fmla="*/ 4717970 w 4878487"/>
                <a:gd name="connsiteY2792" fmla="*/ 334019 h 3690338"/>
                <a:gd name="connsiteX2793" fmla="*/ 4718363 w 4878487"/>
                <a:gd name="connsiteY2793" fmla="*/ 333626 h 3690338"/>
                <a:gd name="connsiteX2794" fmla="*/ 4771870 w 4878487"/>
                <a:gd name="connsiteY2794" fmla="*/ 346609 h 3690338"/>
                <a:gd name="connsiteX2795" fmla="*/ 4772264 w 4878487"/>
                <a:gd name="connsiteY2795" fmla="*/ 347002 h 3690338"/>
                <a:gd name="connsiteX2796" fmla="*/ 4775410 w 4878487"/>
                <a:gd name="connsiteY2796" fmla="*/ 349363 h 3690338"/>
                <a:gd name="connsiteX2797" fmla="*/ 4778165 w 4878487"/>
                <a:gd name="connsiteY2797" fmla="*/ 350543 h 3690338"/>
                <a:gd name="connsiteX2798" fmla="*/ 4781312 w 4878487"/>
                <a:gd name="connsiteY2798" fmla="*/ 350936 h 3690338"/>
                <a:gd name="connsiteX2799" fmla="*/ 4784459 w 4878487"/>
                <a:gd name="connsiteY2799" fmla="*/ 351723 h 3690338"/>
                <a:gd name="connsiteX2800" fmla="*/ 4787607 w 4878487"/>
                <a:gd name="connsiteY2800" fmla="*/ 352903 h 3690338"/>
                <a:gd name="connsiteX2801" fmla="*/ 4790361 w 4878487"/>
                <a:gd name="connsiteY2801" fmla="*/ 353297 h 3690338"/>
                <a:gd name="connsiteX2802" fmla="*/ 4793508 w 4878487"/>
                <a:gd name="connsiteY2802" fmla="*/ 355264 h 3690338"/>
                <a:gd name="connsiteX2803" fmla="*/ 4796656 w 4878487"/>
                <a:gd name="connsiteY2803" fmla="*/ 355264 h 3690338"/>
                <a:gd name="connsiteX2804" fmla="*/ 4799410 w 4878487"/>
                <a:gd name="connsiteY2804" fmla="*/ 355657 h 3690338"/>
                <a:gd name="connsiteX2805" fmla="*/ 4802163 w 4878487"/>
                <a:gd name="connsiteY2805" fmla="*/ 355657 h 3690338"/>
                <a:gd name="connsiteX2806" fmla="*/ 4799410 w 4878487"/>
                <a:gd name="connsiteY2806" fmla="*/ 353297 h 3690338"/>
                <a:gd name="connsiteX2807" fmla="*/ 4802557 w 4878487"/>
                <a:gd name="connsiteY2807" fmla="*/ 354871 h 3690338"/>
                <a:gd name="connsiteX2808" fmla="*/ 4805311 w 4878487"/>
                <a:gd name="connsiteY2808" fmla="*/ 355264 h 3690338"/>
                <a:gd name="connsiteX2809" fmla="*/ 4808459 w 4878487"/>
                <a:gd name="connsiteY2809" fmla="*/ 356051 h 3690338"/>
                <a:gd name="connsiteX2810" fmla="*/ 4811606 w 4878487"/>
                <a:gd name="connsiteY2810" fmla="*/ 356444 h 3690338"/>
                <a:gd name="connsiteX2811" fmla="*/ 4814753 w 4878487"/>
                <a:gd name="connsiteY2811" fmla="*/ 357231 h 3690338"/>
                <a:gd name="connsiteX2812" fmla="*/ 4817900 w 4878487"/>
                <a:gd name="connsiteY2812" fmla="*/ 358018 h 3690338"/>
                <a:gd name="connsiteX2813" fmla="*/ 4820654 w 4878487"/>
                <a:gd name="connsiteY2813" fmla="*/ 358411 h 3690338"/>
                <a:gd name="connsiteX2814" fmla="*/ 4823409 w 4878487"/>
                <a:gd name="connsiteY2814" fmla="*/ 358411 h 3690338"/>
                <a:gd name="connsiteX2815" fmla="*/ 4824588 w 4878487"/>
                <a:gd name="connsiteY2815" fmla="*/ 358805 h 3690338"/>
                <a:gd name="connsiteX2816" fmla="*/ 4828130 w 4878487"/>
                <a:gd name="connsiteY2816" fmla="*/ 360379 h 3690338"/>
                <a:gd name="connsiteX2817" fmla="*/ 4831277 w 4878487"/>
                <a:gd name="connsiteY2817" fmla="*/ 361165 h 3690338"/>
                <a:gd name="connsiteX2818" fmla="*/ 4831670 w 4878487"/>
                <a:gd name="connsiteY2818" fmla="*/ 361165 h 3690338"/>
                <a:gd name="connsiteX2819" fmla="*/ 4834818 w 4878487"/>
                <a:gd name="connsiteY2819" fmla="*/ 362739 h 3690338"/>
                <a:gd name="connsiteX2820" fmla="*/ 4837572 w 4878487"/>
                <a:gd name="connsiteY2820" fmla="*/ 364313 h 3690338"/>
                <a:gd name="connsiteX2821" fmla="*/ 4840326 w 4878487"/>
                <a:gd name="connsiteY2821" fmla="*/ 365886 h 3690338"/>
                <a:gd name="connsiteX2822" fmla="*/ 4843473 w 4878487"/>
                <a:gd name="connsiteY2822" fmla="*/ 366280 h 3690338"/>
                <a:gd name="connsiteX2823" fmla="*/ 4846621 w 4878487"/>
                <a:gd name="connsiteY2823" fmla="*/ 366673 h 3690338"/>
                <a:gd name="connsiteX2824" fmla="*/ 4849768 w 4878487"/>
                <a:gd name="connsiteY2824" fmla="*/ 367460 h 3690338"/>
                <a:gd name="connsiteX2825" fmla="*/ 4852522 w 4878487"/>
                <a:gd name="connsiteY2825" fmla="*/ 367854 h 3690338"/>
                <a:gd name="connsiteX2826" fmla="*/ 4854095 w 4878487"/>
                <a:gd name="connsiteY2826" fmla="*/ 365100 h 3690338"/>
                <a:gd name="connsiteX2827" fmla="*/ 4850949 w 4878487"/>
                <a:gd name="connsiteY2827" fmla="*/ 362346 h 3690338"/>
                <a:gd name="connsiteX2828" fmla="*/ 4847801 w 4878487"/>
                <a:gd name="connsiteY2828" fmla="*/ 360772 h 3690338"/>
                <a:gd name="connsiteX2829" fmla="*/ 4846621 w 4878487"/>
                <a:gd name="connsiteY2829" fmla="*/ 359985 h 3690338"/>
                <a:gd name="connsiteX2830" fmla="*/ 4855670 w 4878487"/>
                <a:gd name="connsiteY2830" fmla="*/ 364706 h 3690338"/>
                <a:gd name="connsiteX2831" fmla="*/ 4857243 w 4878487"/>
                <a:gd name="connsiteY2831" fmla="*/ 367067 h 3690338"/>
                <a:gd name="connsiteX2832" fmla="*/ 4860391 w 4878487"/>
                <a:gd name="connsiteY2832" fmla="*/ 369034 h 3690338"/>
                <a:gd name="connsiteX2833" fmla="*/ 4863538 w 4878487"/>
                <a:gd name="connsiteY2833" fmla="*/ 369427 h 3690338"/>
                <a:gd name="connsiteX2834" fmla="*/ 4866292 w 4878487"/>
                <a:gd name="connsiteY2834" fmla="*/ 370214 h 3690338"/>
                <a:gd name="connsiteX2835" fmla="*/ 4867079 w 4878487"/>
                <a:gd name="connsiteY2835" fmla="*/ 370608 h 3690338"/>
                <a:gd name="connsiteX2836" fmla="*/ 4870226 w 4878487"/>
                <a:gd name="connsiteY2836" fmla="*/ 369821 h 3690338"/>
                <a:gd name="connsiteX2837" fmla="*/ 4868653 w 4878487"/>
                <a:gd name="connsiteY2837" fmla="*/ 367067 h 3690338"/>
                <a:gd name="connsiteX2838" fmla="*/ 4865898 w 4878487"/>
                <a:gd name="connsiteY2838" fmla="*/ 364706 h 3690338"/>
                <a:gd name="connsiteX2839" fmla="*/ 4863144 w 4878487"/>
                <a:gd name="connsiteY2839" fmla="*/ 364313 h 3690338"/>
                <a:gd name="connsiteX2840" fmla="*/ 4863144 w 4878487"/>
                <a:gd name="connsiteY2840" fmla="*/ 364313 h 3690338"/>
                <a:gd name="connsiteX2841" fmla="*/ 4866292 w 4878487"/>
                <a:gd name="connsiteY2841" fmla="*/ 363526 h 3690338"/>
                <a:gd name="connsiteX2842" fmla="*/ 4869440 w 4878487"/>
                <a:gd name="connsiteY2842" fmla="*/ 365493 h 3690338"/>
                <a:gd name="connsiteX2843" fmla="*/ 4872193 w 4878487"/>
                <a:gd name="connsiteY2843" fmla="*/ 366280 h 3690338"/>
                <a:gd name="connsiteX2844" fmla="*/ 4875341 w 4878487"/>
                <a:gd name="connsiteY2844" fmla="*/ 366673 h 3690338"/>
                <a:gd name="connsiteX2845" fmla="*/ 4878489 w 4878487"/>
                <a:gd name="connsiteY2845" fmla="*/ 365886 h 3690338"/>
                <a:gd name="connsiteX2846" fmla="*/ 4875341 w 4878487"/>
                <a:gd name="connsiteY2846" fmla="*/ 363526 h 3690338"/>
                <a:gd name="connsiteX2847" fmla="*/ 4872193 w 4878487"/>
                <a:gd name="connsiteY2847" fmla="*/ 361952 h 3690338"/>
                <a:gd name="connsiteX2848" fmla="*/ 4869046 w 4878487"/>
                <a:gd name="connsiteY2848" fmla="*/ 361559 h 3690338"/>
                <a:gd name="connsiteX2849" fmla="*/ 4865898 w 4878487"/>
                <a:gd name="connsiteY2849" fmla="*/ 360772 h 3690338"/>
                <a:gd name="connsiteX2850" fmla="*/ 4862752 w 4878487"/>
                <a:gd name="connsiteY2850" fmla="*/ 360379 h 3690338"/>
                <a:gd name="connsiteX2851" fmla="*/ 4859997 w 4878487"/>
                <a:gd name="connsiteY2851" fmla="*/ 359592 h 3690338"/>
                <a:gd name="connsiteX2852" fmla="*/ 4854489 w 4878487"/>
                <a:gd name="connsiteY2852" fmla="*/ 351330 h 3690338"/>
                <a:gd name="connsiteX2853" fmla="*/ 4855670 w 4878487"/>
                <a:gd name="connsiteY2853" fmla="*/ 350936 h 3690338"/>
                <a:gd name="connsiteX2854" fmla="*/ 4856850 w 4878487"/>
                <a:gd name="connsiteY2854" fmla="*/ 347789 h 3690338"/>
                <a:gd name="connsiteX2855" fmla="*/ 4853703 w 4878487"/>
                <a:gd name="connsiteY2855" fmla="*/ 345428 h 3690338"/>
                <a:gd name="connsiteX2856" fmla="*/ 4850949 w 4878487"/>
                <a:gd name="connsiteY2856" fmla="*/ 343461 h 3690338"/>
                <a:gd name="connsiteX2857" fmla="*/ 4848588 w 4878487"/>
                <a:gd name="connsiteY2857" fmla="*/ 342674 h 3690338"/>
                <a:gd name="connsiteX2858" fmla="*/ 4847801 w 4878487"/>
                <a:gd name="connsiteY2858" fmla="*/ 341494 h 3690338"/>
                <a:gd name="connsiteX2859" fmla="*/ 4858030 w 4878487"/>
                <a:gd name="connsiteY2859" fmla="*/ 333232 h 3690338"/>
                <a:gd name="connsiteX2860" fmla="*/ 4859604 w 4878487"/>
                <a:gd name="connsiteY2860" fmla="*/ 333626 h 3690338"/>
                <a:gd name="connsiteX2861" fmla="*/ 4862752 w 4878487"/>
                <a:gd name="connsiteY2861" fmla="*/ 334019 h 3690338"/>
                <a:gd name="connsiteX2862" fmla="*/ 4860784 w 4878487"/>
                <a:gd name="connsiteY2862" fmla="*/ 331265 h 3690338"/>
                <a:gd name="connsiteX2863" fmla="*/ 4862752 w 4878487"/>
                <a:gd name="connsiteY2863" fmla="*/ 329691 h 3690338"/>
                <a:gd name="connsiteX2864" fmla="*/ 4863931 w 4878487"/>
                <a:gd name="connsiteY2864" fmla="*/ 330085 h 3690338"/>
                <a:gd name="connsiteX2865" fmla="*/ 4867079 w 4878487"/>
                <a:gd name="connsiteY2865" fmla="*/ 330478 h 3690338"/>
                <a:gd name="connsiteX2866" fmla="*/ 4865898 w 4878487"/>
                <a:gd name="connsiteY2866" fmla="*/ 327331 h 3690338"/>
                <a:gd name="connsiteX2867" fmla="*/ 4862752 w 4878487"/>
                <a:gd name="connsiteY2867" fmla="*/ 317888 h 3690338"/>
                <a:gd name="connsiteX2868" fmla="*/ 4863144 w 4878487"/>
                <a:gd name="connsiteY2868" fmla="*/ 317495 h 3690338"/>
                <a:gd name="connsiteX2869" fmla="*/ 4858424 w 4878487"/>
                <a:gd name="connsiteY2869" fmla="*/ 314348 h 3690338"/>
                <a:gd name="connsiteX2870" fmla="*/ 4850949 w 4878487"/>
                <a:gd name="connsiteY2870" fmla="*/ 312381 h 3690338"/>
                <a:gd name="connsiteX2871" fmla="*/ 4849375 w 4878487"/>
                <a:gd name="connsiteY2871" fmla="*/ 311200 h 3690338"/>
                <a:gd name="connsiteX2872" fmla="*/ 4845834 w 4878487"/>
                <a:gd name="connsiteY2872" fmla="*/ 310413 h 3690338"/>
                <a:gd name="connsiteX2873" fmla="*/ 4843080 w 4878487"/>
                <a:gd name="connsiteY2873" fmla="*/ 310020 h 3690338"/>
                <a:gd name="connsiteX2874" fmla="*/ 4842293 w 4878487"/>
                <a:gd name="connsiteY2874" fmla="*/ 310413 h 3690338"/>
                <a:gd name="connsiteX2875" fmla="*/ 4839539 w 4878487"/>
                <a:gd name="connsiteY2875" fmla="*/ 309627 h 3690338"/>
                <a:gd name="connsiteX2876" fmla="*/ 4839539 w 4878487"/>
                <a:gd name="connsiteY2876" fmla="*/ 308840 h 3690338"/>
                <a:gd name="connsiteX2877" fmla="*/ 4836391 w 4878487"/>
                <a:gd name="connsiteY2877" fmla="*/ 308446 h 3690338"/>
                <a:gd name="connsiteX2878" fmla="*/ 4833245 w 4878487"/>
                <a:gd name="connsiteY2878" fmla="*/ 307266 h 3690338"/>
                <a:gd name="connsiteX2879" fmla="*/ 4829703 w 4878487"/>
                <a:gd name="connsiteY2879" fmla="*/ 306086 h 3690338"/>
                <a:gd name="connsiteX2880" fmla="*/ 4826556 w 4878487"/>
                <a:gd name="connsiteY2880" fmla="*/ 304905 h 3690338"/>
                <a:gd name="connsiteX2881" fmla="*/ 4823409 w 4878487"/>
                <a:gd name="connsiteY2881" fmla="*/ 303725 h 3690338"/>
                <a:gd name="connsiteX2882" fmla="*/ 4820261 w 4878487"/>
                <a:gd name="connsiteY2882" fmla="*/ 302938 h 3690338"/>
                <a:gd name="connsiteX2883" fmla="*/ 4817114 w 4878487"/>
                <a:gd name="connsiteY2883" fmla="*/ 302545 h 3690338"/>
                <a:gd name="connsiteX2884" fmla="*/ 4813573 w 4878487"/>
                <a:gd name="connsiteY2884" fmla="*/ 302151 h 3690338"/>
                <a:gd name="connsiteX2885" fmla="*/ 4810426 w 4878487"/>
                <a:gd name="connsiteY2885" fmla="*/ 301365 h 3690338"/>
                <a:gd name="connsiteX2886" fmla="*/ 4807278 w 4878487"/>
                <a:gd name="connsiteY2886" fmla="*/ 300578 h 3690338"/>
                <a:gd name="connsiteX2887" fmla="*/ 4804130 w 4878487"/>
                <a:gd name="connsiteY2887" fmla="*/ 299397 h 3690338"/>
                <a:gd name="connsiteX2888" fmla="*/ 4800590 w 4878487"/>
                <a:gd name="connsiteY2888" fmla="*/ 298217 h 3690338"/>
                <a:gd name="connsiteX2889" fmla="*/ 4797442 w 4878487"/>
                <a:gd name="connsiteY2889" fmla="*/ 296250 h 3690338"/>
                <a:gd name="connsiteX2890" fmla="*/ 4794295 w 4878487"/>
                <a:gd name="connsiteY2890" fmla="*/ 295857 h 3690338"/>
                <a:gd name="connsiteX2891" fmla="*/ 4791147 w 4878487"/>
                <a:gd name="connsiteY2891" fmla="*/ 295070 h 3690338"/>
                <a:gd name="connsiteX2892" fmla="*/ 4788001 w 4878487"/>
                <a:gd name="connsiteY2892" fmla="*/ 293889 h 3690338"/>
                <a:gd name="connsiteX2893" fmla="*/ 4785246 w 4878487"/>
                <a:gd name="connsiteY2893" fmla="*/ 291529 h 3690338"/>
                <a:gd name="connsiteX2894" fmla="*/ 4781705 w 4878487"/>
                <a:gd name="connsiteY2894" fmla="*/ 291135 h 3690338"/>
                <a:gd name="connsiteX2895" fmla="*/ 4775410 w 4878487"/>
                <a:gd name="connsiteY2895" fmla="*/ 291135 h 3690338"/>
                <a:gd name="connsiteX2896" fmla="*/ 4771870 w 4878487"/>
                <a:gd name="connsiteY2896" fmla="*/ 290742 h 3690338"/>
                <a:gd name="connsiteX2897" fmla="*/ 4768722 w 4878487"/>
                <a:gd name="connsiteY2897" fmla="*/ 290742 h 3690338"/>
                <a:gd name="connsiteX2898" fmla="*/ 4765574 w 4878487"/>
                <a:gd name="connsiteY2898" fmla="*/ 290349 h 3690338"/>
                <a:gd name="connsiteX2899" fmla="*/ 4762034 w 4878487"/>
                <a:gd name="connsiteY2899" fmla="*/ 289955 h 3690338"/>
                <a:gd name="connsiteX2900" fmla="*/ 4758886 w 4878487"/>
                <a:gd name="connsiteY2900" fmla="*/ 289562 h 3690338"/>
                <a:gd name="connsiteX2901" fmla="*/ 4761640 w 4878487"/>
                <a:gd name="connsiteY2901" fmla="*/ 289562 h 3690338"/>
                <a:gd name="connsiteX2902" fmla="*/ 4758886 w 4878487"/>
                <a:gd name="connsiteY2902" fmla="*/ 289168 h 3690338"/>
                <a:gd name="connsiteX2903" fmla="*/ 4755346 w 4878487"/>
                <a:gd name="connsiteY2903" fmla="*/ 288775 h 3690338"/>
                <a:gd name="connsiteX2904" fmla="*/ 4754166 w 4878487"/>
                <a:gd name="connsiteY2904" fmla="*/ 288775 h 3690338"/>
                <a:gd name="connsiteX2905" fmla="*/ 4750625 w 4878487"/>
                <a:gd name="connsiteY2905" fmla="*/ 288775 h 3690338"/>
                <a:gd name="connsiteX2906" fmla="*/ 4753379 w 4878487"/>
                <a:gd name="connsiteY2906" fmla="*/ 289562 h 3690338"/>
                <a:gd name="connsiteX2907" fmla="*/ 4753379 w 4878487"/>
                <a:gd name="connsiteY2907" fmla="*/ 289562 h 3690338"/>
                <a:gd name="connsiteX2908" fmla="*/ 4752592 w 4878487"/>
                <a:gd name="connsiteY2908" fmla="*/ 291529 h 3690338"/>
                <a:gd name="connsiteX2909" fmla="*/ 4750231 w 4878487"/>
                <a:gd name="connsiteY2909" fmla="*/ 290349 h 3690338"/>
                <a:gd name="connsiteX2910" fmla="*/ 4751805 w 4878487"/>
                <a:gd name="connsiteY2910" fmla="*/ 292709 h 3690338"/>
                <a:gd name="connsiteX2911" fmla="*/ 4751412 w 4878487"/>
                <a:gd name="connsiteY2911" fmla="*/ 293496 h 3690338"/>
                <a:gd name="connsiteX2912" fmla="*/ 4749445 w 4878487"/>
                <a:gd name="connsiteY2912" fmla="*/ 293496 h 3690338"/>
                <a:gd name="connsiteX2913" fmla="*/ 4746297 w 4878487"/>
                <a:gd name="connsiteY2913" fmla="*/ 291135 h 3690338"/>
                <a:gd name="connsiteX2914" fmla="*/ 4743543 w 4878487"/>
                <a:gd name="connsiteY2914" fmla="*/ 288775 h 3690338"/>
                <a:gd name="connsiteX2915" fmla="*/ 4746691 w 4878487"/>
                <a:gd name="connsiteY2915" fmla="*/ 288382 h 3690338"/>
                <a:gd name="connsiteX2916" fmla="*/ 4743936 w 4878487"/>
                <a:gd name="connsiteY2916" fmla="*/ 287988 h 3690338"/>
                <a:gd name="connsiteX2917" fmla="*/ 4740789 w 4878487"/>
                <a:gd name="connsiteY2917" fmla="*/ 287595 h 3690338"/>
                <a:gd name="connsiteX2918" fmla="*/ 4738035 w 4878487"/>
                <a:gd name="connsiteY2918" fmla="*/ 288382 h 3690338"/>
                <a:gd name="connsiteX2919" fmla="*/ 4734494 w 4878487"/>
                <a:gd name="connsiteY2919" fmla="*/ 286808 h 3690338"/>
                <a:gd name="connsiteX2920" fmla="*/ 4731347 w 4878487"/>
                <a:gd name="connsiteY2920" fmla="*/ 286414 h 3690338"/>
                <a:gd name="connsiteX2921" fmla="*/ 4728199 w 4878487"/>
                <a:gd name="connsiteY2921" fmla="*/ 287595 h 3690338"/>
                <a:gd name="connsiteX2922" fmla="*/ 4725052 w 4878487"/>
                <a:gd name="connsiteY2922" fmla="*/ 287595 h 3690338"/>
                <a:gd name="connsiteX2923" fmla="*/ 4721905 w 4878487"/>
                <a:gd name="connsiteY2923" fmla="*/ 287201 h 3690338"/>
                <a:gd name="connsiteX2924" fmla="*/ 4715217 w 4878487"/>
                <a:gd name="connsiteY2924" fmla="*/ 287201 h 3690338"/>
                <a:gd name="connsiteX2925" fmla="*/ 4712069 w 4878487"/>
                <a:gd name="connsiteY2925" fmla="*/ 287595 h 3690338"/>
                <a:gd name="connsiteX2926" fmla="*/ 4715217 w 4878487"/>
                <a:gd name="connsiteY2926" fmla="*/ 287988 h 3690338"/>
                <a:gd name="connsiteX2927" fmla="*/ 4717970 w 4878487"/>
                <a:gd name="connsiteY2927" fmla="*/ 288775 h 3690338"/>
                <a:gd name="connsiteX2928" fmla="*/ 4721118 w 4878487"/>
                <a:gd name="connsiteY2928" fmla="*/ 288775 h 3690338"/>
                <a:gd name="connsiteX2929" fmla="*/ 4724265 w 4878487"/>
                <a:gd name="connsiteY2929" fmla="*/ 290349 h 3690338"/>
                <a:gd name="connsiteX2930" fmla="*/ 4727412 w 4878487"/>
                <a:gd name="connsiteY2930" fmla="*/ 290349 h 3690338"/>
                <a:gd name="connsiteX2931" fmla="*/ 4730560 w 4878487"/>
                <a:gd name="connsiteY2931" fmla="*/ 291922 h 3690338"/>
                <a:gd name="connsiteX2932" fmla="*/ 4733708 w 4878487"/>
                <a:gd name="connsiteY2932" fmla="*/ 293889 h 3690338"/>
                <a:gd name="connsiteX2933" fmla="*/ 4736855 w 4878487"/>
                <a:gd name="connsiteY2933" fmla="*/ 295463 h 3690338"/>
                <a:gd name="connsiteX2934" fmla="*/ 4740002 w 4878487"/>
                <a:gd name="connsiteY2934" fmla="*/ 297037 h 3690338"/>
                <a:gd name="connsiteX2935" fmla="*/ 4742757 w 4878487"/>
                <a:gd name="connsiteY2935" fmla="*/ 299004 h 3690338"/>
                <a:gd name="connsiteX2936" fmla="*/ 4740789 w 4878487"/>
                <a:gd name="connsiteY2936" fmla="*/ 301758 h 3690338"/>
                <a:gd name="connsiteX2937" fmla="*/ 4743543 w 4878487"/>
                <a:gd name="connsiteY2937" fmla="*/ 303332 h 3690338"/>
                <a:gd name="connsiteX2938" fmla="*/ 4745903 w 4878487"/>
                <a:gd name="connsiteY2938" fmla="*/ 303725 h 3690338"/>
                <a:gd name="connsiteX2939" fmla="*/ 4749445 w 4878487"/>
                <a:gd name="connsiteY2939" fmla="*/ 305692 h 3690338"/>
                <a:gd name="connsiteX2940" fmla="*/ 4748264 w 4878487"/>
                <a:gd name="connsiteY2940" fmla="*/ 306086 h 3690338"/>
                <a:gd name="connsiteX2941" fmla="*/ 4748264 w 4878487"/>
                <a:gd name="connsiteY2941" fmla="*/ 306873 h 3690338"/>
                <a:gd name="connsiteX2942" fmla="*/ 4700659 w 4878487"/>
                <a:gd name="connsiteY2942" fmla="*/ 284447 h 3690338"/>
                <a:gd name="connsiteX2943" fmla="*/ 4700266 w 4878487"/>
                <a:gd name="connsiteY2943" fmla="*/ 284054 h 3690338"/>
                <a:gd name="connsiteX2944" fmla="*/ 4697119 w 4878487"/>
                <a:gd name="connsiteY2944" fmla="*/ 281693 h 3690338"/>
                <a:gd name="connsiteX2945" fmla="*/ 4693971 w 4878487"/>
                <a:gd name="connsiteY2945" fmla="*/ 278939 h 3690338"/>
                <a:gd name="connsiteX2946" fmla="*/ 4691217 w 4878487"/>
                <a:gd name="connsiteY2946" fmla="*/ 278546 h 3690338"/>
                <a:gd name="connsiteX2947" fmla="*/ 4688463 w 4878487"/>
                <a:gd name="connsiteY2947" fmla="*/ 276972 h 3690338"/>
                <a:gd name="connsiteX2948" fmla="*/ 4685710 w 4878487"/>
                <a:gd name="connsiteY2948" fmla="*/ 276579 h 3690338"/>
                <a:gd name="connsiteX2949" fmla="*/ 4688463 w 4878487"/>
                <a:gd name="connsiteY2949" fmla="*/ 278939 h 3690338"/>
                <a:gd name="connsiteX2950" fmla="*/ 4671940 w 4878487"/>
                <a:gd name="connsiteY2950" fmla="*/ 271464 h 3690338"/>
                <a:gd name="connsiteX2951" fmla="*/ 4671546 w 4878487"/>
                <a:gd name="connsiteY2951" fmla="*/ 271071 h 3690338"/>
                <a:gd name="connsiteX2952" fmla="*/ 4668005 w 4878487"/>
                <a:gd name="connsiteY2952" fmla="*/ 270677 h 3690338"/>
                <a:gd name="connsiteX2953" fmla="*/ 4664858 w 4878487"/>
                <a:gd name="connsiteY2953" fmla="*/ 269890 h 3690338"/>
                <a:gd name="connsiteX2954" fmla="*/ 4661316 w 4878487"/>
                <a:gd name="connsiteY2954" fmla="*/ 269104 h 3690338"/>
                <a:gd name="connsiteX2955" fmla="*/ 4658170 w 4878487"/>
                <a:gd name="connsiteY2955" fmla="*/ 268317 h 3690338"/>
                <a:gd name="connsiteX2956" fmla="*/ 4655022 w 4878487"/>
                <a:gd name="connsiteY2956" fmla="*/ 267923 h 3690338"/>
                <a:gd name="connsiteX2957" fmla="*/ 4651481 w 4878487"/>
                <a:gd name="connsiteY2957" fmla="*/ 267136 h 3690338"/>
                <a:gd name="connsiteX2958" fmla="*/ 4648334 w 4878487"/>
                <a:gd name="connsiteY2958" fmla="*/ 266350 h 3690338"/>
                <a:gd name="connsiteX2959" fmla="*/ 4644793 w 4878487"/>
                <a:gd name="connsiteY2959" fmla="*/ 265563 h 3690338"/>
                <a:gd name="connsiteX2960" fmla="*/ 4641645 w 4878487"/>
                <a:gd name="connsiteY2960" fmla="*/ 265169 h 3690338"/>
                <a:gd name="connsiteX2961" fmla="*/ 4638499 w 4878487"/>
                <a:gd name="connsiteY2961" fmla="*/ 264776 h 3690338"/>
                <a:gd name="connsiteX2962" fmla="*/ 4634957 w 4878487"/>
                <a:gd name="connsiteY2962" fmla="*/ 263989 h 3690338"/>
                <a:gd name="connsiteX2963" fmla="*/ 4631809 w 4878487"/>
                <a:gd name="connsiteY2963" fmla="*/ 263202 h 3690338"/>
                <a:gd name="connsiteX2964" fmla="*/ 4628269 w 4878487"/>
                <a:gd name="connsiteY2964" fmla="*/ 262415 h 3690338"/>
                <a:gd name="connsiteX2965" fmla="*/ 4625121 w 4878487"/>
                <a:gd name="connsiteY2965" fmla="*/ 262022 h 3690338"/>
                <a:gd name="connsiteX2966" fmla="*/ 4621581 w 4878487"/>
                <a:gd name="connsiteY2966" fmla="*/ 261235 h 3690338"/>
                <a:gd name="connsiteX2967" fmla="*/ 4618433 w 4878487"/>
                <a:gd name="connsiteY2967" fmla="*/ 260448 h 3690338"/>
                <a:gd name="connsiteX2968" fmla="*/ 4615286 w 4878487"/>
                <a:gd name="connsiteY2968" fmla="*/ 259661 h 3690338"/>
                <a:gd name="connsiteX2969" fmla="*/ 4611745 w 4878487"/>
                <a:gd name="connsiteY2969" fmla="*/ 258875 h 3690338"/>
                <a:gd name="connsiteX2970" fmla="*/ 4608598 w 4878487"/>
                <a:gd name="connsiteY2970" fmla="*/ 259268 h 3690338"/>
                <a:gd name="connsiteX2971" fmla="*/ 4605844 w 4878487"/>
                <a:gd name="connsiteY2971" fmla="*/ 257301 h 3690338"/>
                <a:gd name="connsiteX2972" fmla="*/ 4602696 w 4878487"/>
                <a:gd name="connsiteY2972" fmla="*/ 256514 h 3690338"/>
                <a:gd name="connsiteX2973" fmla="*/ 4599549 w 4878487"/>
                <a:gd name="connsiteY2973" fmla="*/ 256121 h 3690338"/>
                <a:gd name="connsiteX2974" fmla="*/ 4596401 w 4878487"/>
                <a:gd name="connsiteY2974" fmla="*/ 257694 h 3690338"/>
                <a:gd name="connsiteX2975" fmla="*/ 4594828 w 4878487"/>
                <a:gd name="connsiteY2975" fmla="*/ 254940 h 3690338"/>
                <a:gd name="connsiteX2976" fmla="*/ 4591680 w 4878487"/>
                <a:gd name="connsiteY2976" fmla="*/ 254153 h 3690338"/>
                <a:gd name="connsiteX2977" fmla="*/ 4588533 w 4878487"/>
                <a:gd name="connsiteY2977" fmla="*/ 253367 h 3690338"/>
                <a:gd name="connsiteX2978" fmla="*/ 4584992 w 4878487"/>
                <a:gd name="connsiteY2978" fmla="*/ 252580 h 3690338"/>
                <a:gd name="connsiteX2979" fmla="*/ 4581845 w 4878487"/>
                <a:gd name="connsiteY2979" fmla="*/ 251793 h 3690338"/>
                <a:gd name="connsiteX2980" fmla="*/ 4578304 w 4878487"/>
                <a:gd name="connsiteY2980" fmla="*/ 251006 h 3690338"/>
                <a:gd name="connsiteX2981" fmla="*/ 4575156 w 4878487"/>
                <a:gd name="connsiteY2981" fmla="*/ 250219 h 3690338"/>
                <a:gd name="connsiteX2982" fmla="*/ 4571616 w 4878487"/>
                <a:gd name="connsiteY2982" fmla="*/ 249432 h 3690338"/>
                <a:gd name="connsiteX2983" fmla="*/ 4568468 w 4878487"/>
                <a:gd name="connsiteY2983" fmla="*/ 249039 h 3690338"/>
                <a:gd name="connsiteX2984" fmla="*/ 4564927 w 4878487"/>
                <a:gd name="connsiteY2984" fmla="*/ 248252 h 3690338"/>
                <a:gd name="connsiteX2985" fmla="*/ 4568075 w 4878487"/>
                <a:gd name="connsiteY2985" fmla="*/ 249039 h 3690338"/>
                <a:gd name="connsiteX2986" fmla="*/ 4571616 w 4878487"/>
                <a:gd name="connsiteY2986" fmla="*/ 249826 h 3690338"/>
                <a:gd name="connsiteX2987" fmla="*/ 4573583 w 4878487"/>
                <a:gd name="connsiteY2987" fmla="*/ 250219 h 3690338"/>
                <a:gd name="connsiteX2988" fmla="*/ 4559026 w 4878487"/>
                <a:gd name="connsiteY2988" fmla="*/ 246678 h 3690338"/>
                <a:gd name="connsiteX2989" fmla="*/ 4555879 w 4878487"/>
                <a:gd name="connsiteY2989" fmla="*/ 245498 h 3690338"/>
                <a:gd name="connsiteX2990" fmla="*/ 4552338 w 4878487"/>
                <a:gd name="connsiteY2990" fmla="*/ 244318 h 3690338"/>
                <a:gd name="connsiteX2991" fmla="*/ 4548797 w 4878487"/>
                <a:gd name="connsiteY2991" fmla="*/ 243531 h 3690338"/>
                <a:gd name="connsiteX2992" fmla="*/ 4545649 w 4878487"/>
                <a:gd name="connsiteY2992" fmla="*/ 242351 h 3690338"/>
                <a:gd name="connsiteX2993" fmla="*/ 4542109 w 4878487"/>
                <a:gd name="connsiteY2993" fmla="*/ 241564 h 3690338"/>
                <a:gd name="connsiteX2994" fmla="*/ 4538961 w 4878487"/>
                <a:gd name="connsiteY2994" fmla="*/ 241170 h 3690338"/>
                <a:gd name="connsiteX2995" fmla="*/ 4535814 w 4878487"/>
                <a:gd name="connsiteY2995" fmla="*/ 240777 h 3690338"/>
                <a:gd name="connsiteX2996" fmla="*/ 4532666 w 4878487"/>
                <a:gd name="connsiteY2996" fmla="*/ 240383 h 3690338"/>
                <a:gd name="connsiteX2997" fmla="*/ 4529912 w 4878487"/>
                <a:gd name="connsiteY2997" fmla="*/ 239990 h 3690338"/>
                <a:gd name="connsiteX2998" fmla="*/ 4526765 w 4878487"/>
                <a:gd name="connsiteY2998" fmla="*/ 238416 h 3690338"/>
                <a:gd name="connsiteX2999" fmla="*/ 4524011 w 4878487"/>
                <a:gd name="connsiteY2999" fmla="*/ 237236 h 3690338"/>
                <a:gd name="connsiteX3000" fmla="*/ 4521257 w 4878487"/>
                <a:gd name="connsiteY3000" fmla="*/ 236056 h 3690338"/>
                <a:gd name="connsiteX3001" fmla="*/ 4518503 w 4878487"/>
                <a:gd name="connsiteY3001" fmla="*/ 237630 h 3690338"/>
                <a:gd name="connsiteX3002" fmla="*/ 4514962 w 4878487"/>
                <a:gd name="connsiteY3002" fmla="*/ 236843 h 3690338"/>
                <a:gd name="connsiteX3003" fmla="*/ 4512208 w 4878487"/>
                <a:gd name="connsiteY3003" fmla="*/ 236449 h 3690338"/>
                <a:gd name="connsiteX3004" fmla="*/ 4509847 w 4878487"/>
                <a:gd name="connsiteY3004" fmla="*/ 236056 h 3690338"/>
                <a:gd name="connsiteX3005" fmla="*/ 4506307 w 4878487"/>
                <a:gd name="connsiteY3005" fmla="*/ 235662 h 3690338"/>
                <a:gd name="connsiteX3006" fmla="*/ 4503553 w 4878487"/>
                <a:gd name="connsiteY3006" fmla="*/ 234482 h 3690338"/>
                <a:gd name="connsiteX3007" fmla="*/ 4494898 w 4878487"/>
                <a:gd name="connsiteY3007" fmla="*/ 232122 h 3690338"/>
                <a:gd name="connsiteX3008" fmla="*/ 4491356 w 4878487"/>
                <a:gd name="connsiteY3008" fmla="*/ 231335 h 3690338"/>
                <a:gd name="connsiteX3009" fmla="*/ 4488603 w 4878487"/>
                <a:gd name="connsiteY3009" fmla="*/ 230548 h 3690338"/>
                <a:gd name="connsiteX3010" fmla="*/ 4485849 w 4878487"/>
                <a:gd name="connsiteY3010" fmla="*/ 229761 h 3690338"/>
                <a:gd name="connsiteX3011" fmla="*/ 4482701 w 4878487"/>
                <a:gd name="connsiteY3011" fmla="*/ 228581 h 3690338"/>
                <a:gd name="connsiteX3012" fmla="*/ 4479554 w 4878487"/>
                <a:gd name="connsiteY3012" fmla="*/ 228187 h 3690338"/>
                <a:gd name="connsiteX3013" fmla="*/ 4476013 w 4878487"/>
                <a:gd name="connsiteY3013" fmla="*/ 227794 h 3690338"/>
                <a:gd name="connsiteX3014" fmla="*/ 4472866 w 4878487"/>
                <a:gd name="connsiteY3014" fmla="*/ 227794 h 3690338"/>
                <a:gd name="connsiteX3015" fmla="*/ 4469718 w 4878487"/>
                <a:gd name="connsiteY3015" fmla="*/ 228187 h 3690338"/>
                <a:gd name="connsiteX3016" fmla="*/ 4466178 w 4878487"/>
                <a:gd name="connsiteY3016" fmla="*/ 227794 h 3690338"/>
                <a:gd name="connsiteX3017" fmla="*/ 4463030 w 4878487"/>
                <a:gd name="connsiteY3017" fmla="*/ 225433 h 3690338"/>
                <a:gd name="connsiteX3018" fmla="*/ 4465784 w 4878487"/>
                <a:gd name="connsiteY3018" fmla="*/ 225827 h 3690338"/>
                <a:gd name="connsiteX3019" fmla="*/ 4469325 w 4878487"/>
                <a:gd name="connsiteY3019" fmla="*/ 226614 h 3690338"/>
                <a:gd name="connsiteX3020" fmla="*/ 4472472 w 4878487"/>
                <a:gd name="connsiteY3020" fmla="*/ 227007 h 3690338"/>
                <a:gd name="connsiteX3021" fmla="*/ 4469325 w 4878487"/>
                <a:gd name="connsiteY3021" fmla="*/ 225433 h 3690338"/>
                <a:gd name="connsiteX3022" fmla="*/ 4466570 w 4878487"/>
                <a:gd name="connsiteY3022" fmla="*/ 225040 h 3690338"/>
                <a:gd name="connsiteX3023" fmla="*/ 4463817 w 4878487"/>
                <a:gd name="connsiteY3023" fmla="*/ 224253 h 3690338"/>
                <a:gd name="connsiteX3024" fmla="*/ 4460669 w 4878487"/>
                <a:gd name="connsiteY3024" fmla="*/ 223860 h 3690338"/>
                <a:gd name="connsiteX3025" fmla="*/ 4457129 w 4878487"/>
                <a:gd name="connsiteY3025" fmla="*/ 223466 h 3690338"/>
                <a:gd name="connsiteX3026" fmla="*/ 4453981 w 4878487"/>
                <a:gd name="connsiteY3026" fmla="*/ 223073 h 3690338"/>
                <a:gd name="connsiteX3027" fmla="*/ 4450440 w 4878487"/>
                <a:gd name="connsiteY3027" fmla="*/ 223073 h 3690338"/>
                <a:gd name="connsiteX3028" fmla="*/ 4447293 w 4878487"/>
                <a:gd name="connsiteY3028" fmla="*/ 223466 h 3690338"/>
                <a:gd name="connsiteX3029" fmla="*/ 4444145 w 4878487"/>
                <a:gd name="connsiteY3029" fmla="*/ 223073 h 3690338"/>
                <a:gd name="connsiteX3030" fmla="*/ 4440605 w 4878487"/>
                <a:gd name="connsiteY3030" fmla="*/ 222679 h 3690338"/>
                <a:gd name="connsiteX3031" fmla="*/ 4437851 w 4878487"/>
                <a:gd name="connsiteY3031" fmla="*/ 221892 h 3690338"/>
                <a:gd name="connsiteX3032" fmla="*/ 4434703 w 4878487"/>
                <a:gd name="connsiteY3032" fmla="*/ 221892 h 3690338"/>
                <a:gd name="connsiteX3033" fmla="*/ 4431950 w 4878487"/>
                <a:gd name="connsiteY3033" fmla="*/ 220319 h 3690338"/>
                <a:gd name="connsiteX3034" fmla="*/ 4428408 w 4878487"/>
                <a:gd name="connsiteY3034" fmla="*/ 219925 h 3690338"/>
                <a:gd name="connsiteX3035" fmla="*/ 4425261 w 4878487"/>
                <a:gd name="connsiteY3035" fmla="*/ 219532 h 3690338"/>
                <a:gd name="connsiteX3036" fmla="*/ 4422114 w 4878487"/>
                <a:gd name="connsiteY3036" fmla="*/ 219138 h 3690338"/>
                <a:gd name="connsiteX3037" fmla="*/ 4418966 w 4878487"/>
                <a:gd name="connsiteY3037" fmla="*/ 219138 h 3690338"/>
                <a:gd name="connsiteX3038" fmla="*/ 4415819 w 4878487"/>
                <a:gd name="connsiteY3038" fmla="*/ 218745 h 3690338"/>
                <a:gd name="connsiteX3039" fmla="*/ 4412671 w 4878487"/>
                <a:gd name="connsiteY3039" fmla="*/ 218352 h 3690338"/>
                <a:gd name="connsiteX3040" fmla="*/ 4409524 w 4878487"/>
                <a:gd name="connsiteY3040" fmla="*/ 217958 h 3690338"/>
                <a:gd name="connsiteX3041" fmla="*/ 4406770 w 4878487"/>
                <a:gd name="connsiteY3041" fmla="*/ 217565 h 3690338"/>
                <a:gd name="connsiteX3042" fmla="*/ 4403622 w 4878487"/>
                <a:gd name="connsiteY3042" fmla="*/ 216778 h 3690338"/>
                <a:gd name="connsiteX3043" fmla="*/ 4400868 w 4878487"/>
                <a:gd name="connsiteY3043" fmla="*/ 215991 h 3690338"/>
                <a:gd name="connsiteX3044" fmla="*/ 4397721 w 4878487"/>
                <a:gd name="connsiteY3044" fmla="*/ 215598 h 3690338"/>
                <a:gd name="connsiteX3045" fmla="*/ 4394180 w 4878487"/>
                <a:gd name="connsiteY3045" fmla="*/ 215204 h 3690338"/>
                <a:gd name="connsiteX3046" fmla="*/ 4391427 w 4878487"/>
                <a:gd name="connsiteY3046" fmla="*/ 213631 h 3690338"/>
                <a:gd name="connsiteX3047" fmla="*/ 4388673 w 4878487"/>
                <a:gd name="connsiteY3047" fmla="*/ 212844 h 3690338"/>
                <a:gd name="connsiteX3048" fmla="*/ 4385525 w 4878487"/>
                <a:gd name="connsiteY3048" fmla="*/ 211663 h 3690338"/>
                <a:gd name="connsiteX3049" fmla="*/ 4379624 w 4878487"/>
                <a:gd name="connsiteY3049" fmla="*/ 211663 h 3690338"/>
                <a:gd name="connsiteX3050" fmla="*/ 4376476 w 4878487"/>
                <a:gd name="connsiteY3050" fmla="*/ 211270 h 3690338"/>
                <a:gd name="connsiteX3051" fmla="*/ 4373722 w 4878487"/>
                <a:gd name="connsiteY3051" fmla="*/ 211663 h 3690338"/>
                <a:gd name="connsiteX3052" fmla="*/ 4370969 w 4878487"/>
                <a:gd name="connsiteY3052" fmla="*/ 212844 h 3690338"/>
                <a:gd name="connsiteX3053" fmla="*/ 4357985 w 4878487"/>
                <a:gd name="connsiteY3053" fmla="*/ 212844 h 3690338"/>
                <a:gd name="connsiteX3054" fmla="*/ 4354444 w 4878487"/>
                <a:gd name="connsiteY3054" fmla="*/ 212450 h 3690338"/>
                <a:gd name="connsiteX3055" fmla="*/ 4351297 w 4878487"/>
                <a:gd name="connsiteY3055" fmla="*/ 212450 h 3690338"/>
                <a:gd name="connsiteX3056" fmla="*/ 4348150 w 4878487"/>
                <a:gd name="connsiteY3056" fmla="*/ 212057 h 3690338"/>
                <a:gd name="connsiteX3057" fmla="*/ 4342248 w 4878487"/>
                <a:gd name="connsiteY3057" fmla="*/ 212057 h 3690338"/>
                <a:gd name="connsiteX3058" fmla="*/ 4339494 w 4878487"/>
                <a:gd name="connsiteY3058" fmla="*/ 212844 h 3690338"/>
                <a:gd name="connsiteX3059" fmla="*/ 4336347 w 4878487"/>
                <a:gd name="connsiteY3059" fmla="*/ 212450 h 3690338"/>
                <a:gd name="connsiteX3060" fmla="*/ 4333199 w 4878487"/>
                <a:gd name="connsiteY3060" fmla="*/ 212057 h 3690338"/>
                <a:gd name="connsiteX3061" fmla="*/ 4330445 w 4878487"/>
                <a:gd name="connsiteY3061" fmla="*/ 211663 h 3690338"/>
                <a:gd name="connsiteX3062" fmla="*/ 4327692 w 4878487"/>
                <a:gd name="connsiteY3062" fmla="*/ 210877 h 3690338"/>
                <a:gd name="connsiteX3063" fmla="*/ 4324544 w 4878487"/>
                <a:gd name="connsiteY3063" fmla="*/ 210877 h 3690338"/>
                <a:gd name="connsiteX3064" fmla="*/ 4321396 w 4878487"/>
                <a:gd name="connsiteY3064" fmla="*/ 211270 h 3690338"/>
                <a:gd name="connsiteX3065" fmla="*/ 4324544 w 4878487"/>
                <a:gd name="connsiteY3065" fmla="*/ 212057 h 3690338"/>
                <a:gd name="connsiteX3066" fmla="*/ 4327692 w 4878487"/>
                <a:gd name="connsiteY3066" fmla="*/ 212844 h 3690338"/>
                <a:gd name="connsiteX3067" fmla="*/ 4330445 w 4878487"/>
                <a:gd name="connsiteY3067" fmla="*/ 213631 h 3690338"/>
                <a:gd name="connsiteX3068" fmla="*/ 4328084 w 4878487"/>
                <a:gd name="connsiteY3068" fmla="*/ 215204 h 3690338"/>
                <a:gd name="connsiteX3069" fmla="*/ 4324937 w 4878487"/>
                <a:gd name="connsiteY3069" fmla="*/ 213631 h 3690338"/>
                <a:gd name="connsiteX3070" fmla="*/ 4322183 w 4878487"/>
                <a:gd name="connsiteY3070" fmla="*/ 213237 h 3690338"/>
                <a:gd name="connsiteX3071" fmla="*/ 4319429 w 4878487"/>
                <a:gd name="connsiteY3071" fmla="*/ 212844 h 3690338"/>
                <a:gd name="connsiteX3072" fmla="*/ 4315889 w 4878487"/>
                <a:gd name="connsiteY3072" fmla="*/ 212450 h 3690338"/>
                <a:gd name="connsiteX3073" fmla="*/ 4313134 w 4878487"/>
                <a:gd name="connsiteY3073" fmla="*/ 212057 h 3690338"/>
                <a:gd name="connsiteX3074" fmla="*/ 4309987 w 4878487"/>
                <a:gd name="connsiteY3074" fmla="*/ 210483 h 3690338"/>
                <a:gd name="connsiteX3075" fmla="*/ 4306840 w 4878487"/>
                <a:gd name="connsiteY3075" fmla="*/ 210877 h 3690338"/>
                <a:gd name="connsiteX3076" fmla="*/ 4303692 w 4878487"/>
                <a:gd name="connsiteY3076" fmla="*/ 210877 h 3690338"/>
                <a:gd name="connsiteX3077" fmla="*/ 4300938 w 4878487"/>
                <a:gd name="connsiteY3077" fmla="*/ 210483 h 3690338"/>
                <a:gd name="connsiteX3078" fmla="*/ 4297791 w 4878487"/>
                <a:gd name="connsiteY3078" fmla="*/ 210090 h 3690338"/>
                <a:gd name="connsiteX3079" fmla="*/ 4294250 w 4878487"/>
                <a:gd name="connsiteY3079" fmla="*/ 209696 h 3690338"/>
                <a:gd name="connsiteX3080" fmla="*/ 4291496 w 4878487"/>
                <a:gd name="connsiteY3080" fmla="*/ 209303 h 3690338"/>
                <a:gd name="connsiteX3081" fmla="*/ 4289922 w 4878487"/>
                <a:gd name="connsiteY3081" fmla="*/ 209303 h 3690338"/>
                <a:gd name="connsiteX3082" fmla="*/ 4287169 w 4878487"/>
                <a:gd name="connsiteY3082" fmla="*/ 208909 h 3690338"/>
                <a:gd name="connsiteX3083" fmla="*/ 4284021 w 4878487"/>
                <a:gd name="connsiteY3083" fmla="*/ 208516 h 3690338"/>
                <a:gd name="connsiteX3084" fmla="*/ 4280480 w 4878487"/>
                <a:gd name="connsiteY3084" fmla="*/ 208123 h 3690338"/>
                <a:gd name="connsiteX3085" fmla="*/ 4277333 w 4878487"/>
                <a:gd name="connsiteY3085" fmla="*/ 207729 h 3690338"/>
                <a:gd name="connsiteX3086" fmla="*/ 4273791 w 4878487"/>
                <a:gd name="connsiteY3086" fmla="*/ 207336 h 3690338"/>
                <a:gd name="connsiteX3087" fmla="*/ 4267497 w 4878487"/>
                <a:gd name="connsiteY3087" fmla="*/ 206942 h 3690338"/>
                <a:gd name="connsiteX3088" fmla="*/ 4264350 w 4878487"/>
                <a:gd name="connsiteY3088" fmla="*/ 206942 h 3690338"/>
                <a:gd name="connsiteX3089" fmla="*/ 4258054 w 4878487"/>
                <a:gd name="connsiteY3089" fmla="*/ 206549 h 3690338"/>
                <a:gd name="connsiteX3090" fmla="*/ 4255301 w 4878487"/>
                <a:gd name="connsiteY3090" fmla="*/ 206155 h 3690338"/>
                <a:gd name="connsiteX3091" fmla="*/ 4252153 w 4878487"/>
                <a:gd name="connsiteY3091" fmla="*/ 206155 h 3690338"/>
                <a:gd name="connsiteX3092" fmla="*/ 4254908 w 4878487"/>
                <a:gd name="connsiteY3092" fmla="*/ 206942 h 3690338"/>
                <a:gd name="connsiteX3093" fmla="*/ 4258054 w 4878487"/>
                <a:gd name="connsiteY3093" fmla="*/ 208516 h 3690338"/>
                <a:gd name="connsiteX3094" fmla="*/ 4260022 w 4878487"/>
                <a:gd name="connsiteY3094" fmla="*/ 210090 h 3690338"/>
                <a:gd name="connsiteX3095" fmla="*/ 4262776 w 4878487"/>
                <a:gd name="connsiteY3095" fmla="*/ 212450 h 3690338"/>
                <a:gd name="connsiteX3096" fmla="*/ 4265923 w 4878487"/>
                <a:gd name="connsiteY3096" fmla="*/ 214024 h 3690338"/>
                <a:gd name="connsiteX3097" fmla="*/ 4269464 w 4878487"/>
                <a:gd name="connsiteY3097" fmla="*/ 216384 h 3690338"/>
                <a:gd name="connsiteX3098" fmla="*/ 4266317 w 4878487"/>
                <a:gd name="connsiteY3098" fmla="*/ 217565 h 3690338"/>
                <a:gd name="connsiteX3099" fmla="*/ 4265923 w 4878487"/>
                <a:gd name="connsiteY3099" fmla="*/ 220712 h 3690338"/>
                <a:gd name="connsiteX3100" fmla="*/ 4269071 w 4878487"/>
                <a:gd name="connsiteY3100" fmla="*/ 221892 h 3690338"/>
                <a:gd name="connsiteX3101" fmla="*/ 4271824 w 4878487"/>
                <a:gd name="connsiteY3101" fmla="*/ 221892 h 3690338"/>
                <a:gd name="connsiteX3102" fmla="*/ 4275366 w 4878487"/>
                <a:gd name="connsiteY3102" fmla="*/ 221499 h 3690338"/>
                <a:gd name="connsiteX3103" fmla="*/ 4277726 w 4878487"/>
                <a:gd name="connsiteY3103" fmla="*/ 221892 h 3690338"/>
                <a:gd name="connsiteX3104" fmla="*/ 4311561 w 4878487"/>
                <a:gd name="connsiteY3104" fmla="*/ 244318 h 3690338"/>
                <a:gd name="connsiteX3105" fmla="*/ 4308807 w 4878487"/>
                <a:gd name="connsiteY3105" fmla="*/ 242744 h 3690338"/>
                <a:gd name="connsiteX3106" fmla="*/ 4306053 w 4878487"/>
                <a:gd name="connsiteY3106" fmla="*/ 241170 h 3690338"/>
                <a:gd name="connsiteX3107" fmla="*/ 4308413 w 4878487"/>
                <a:gd name="connsiteY3107" fmla="*/ 244318 h 3690338"/>
                <a:gd name="connsiteX3108" fmla="*/ 4311561 w 4878487"/>
                <a:gd name="connsiteY3108" fmla="*/ 245498 h 3690338"/>
                <a:gd name="connsiteX3109" fmla="*/ 4311955 w 4878487"/>
                <a:gd name="connsiteY3109" fmla="*/ 245891 h 3690338"/>
                <a:gd name="connsiteX3110" fmla="*/ 4308807 w 4878487"/>
                <a:gd name="connsiteY3110" fmla="*/ 245105 h 3690338"/>
                <a:gd name="connsiteX3111" fmla="*/ 4305266 w 4878487"/>
                <a:gd name="connsiteY3111" fmla="*/ 244711 h 3690338"/>
                <a:gd name="connsiteX3112" fmla="*/ 4302119 w 4878487"/>
                <a:gd name="connsiteY3112" fmla="*/ 244318 h 3690338"/>
                <a:gd name="connsiteX3113" fmla="*/ 4299364 w 4878487"/>
                <a:gd name="connsiteY3113" fmla="*/ 244711 h 3690338"/>
                <a:gd name="connsiteX3114" fmla="*/ 4297004 w 4878487"/>
                <a:gd name="connsiteY3114" fmla="*/ 244711 h 3690338"/>
                <a:gd name="connsiteX3115" fmla="*/ 4288742 w 4878487"/>
                <a:gd name="connsiteY3115" fmla="*/ 245105 h 3690338"/>
                <a:gd name="connsiteX3116" fmla="*/ 4285988 w 4878487"/>
                <a:gd name="connsiteY3116" fmla="*/ 244318 h 3690338"/>
                <a:gd name="connsiteX3117" fmla="*/ 4282448 w 4878487"/>
                <a:gd name="connsiteY3117" fmla="*/ 243137 h 3690338"/>
                <a:gd name="connsiteX3118" fmla="*/ 4279693 w 4878487"/>
                <a:gd name="connsiteY3118" fmla="*/ 241564 h 3690338"/>
                <a:gd name="connsiteX3119" fmla="*/ 4276939 w 4878487"/>
                <a:gd name="connsiteY3119" fmla="*/ 239203 h 3690338"/>
                <a:gd name="connsiteX3120" fmla="*/ 4291889 w 4878487"/>
                <a:gd name="connsiteY3120" fmla="*/ 234089 h 3690338"/>
                <a:gd name="connsiteX3121" fmla="*/ 4288742 w 4878487"/>
                <a:gd name="connsiteY3121" fmla="*/ 232908 h 3690338"/>
                <a:gd name="connsiteX3122" fmla="*/ 4285594 w 4878487"/>
                <a:gd name="connsiteY3122" fmla="*/ 232515 h 3690338"/>
                <a:gd name="connsiteX3123" fmla="*/ 4282448 w 4878487"/>
                <a:gd name="connsiteY3123" fmla="*/ 232122 h 3690338"/>
                <a:gd name="connsiteX3124" fmla="*/ 4279693 w 4878487"/>
                <a:gd name="connsiteY3124" fmla="*/ 231728 h 3690338"/>
                <a:gd name="connsiteX3125" fmla="*/ 4276152 w 4878487"/>
                <a:gd name="connsiteY3125" fmla="*/ 230941 h 3690338"/>
                <a:gd name="connsiteX3126" fmla="*/ 4273005 w 4878487"/>
                <a:gd name="connsiteY3126" fmla="*/ 230548 h 3690338"/>
                <a:gd name="connsiteX3127" fmla="*/ 4269464 w 4878487"/>
                <a:gd name="connsiteY3127" fmla="*/ 230154 h 3690338"/>
                <a:gd name="connsiteX3128" fmla="*/ 4263956 w 4878487"/>
                <a:gd name="connsiteY3128" fmla="*/ 230154 h 3690338"/>
                <a:gd name="connsiteX3129" fmla="*/ 4260415 w 4878487"/>
                <a:gd name="connsiteY3129" fmla="*/ 229761 h 3690338"/>
                <a:gd name="connsiteX3130" fmla="*/ 4257268 w 4878487"/>
                <a:gd name="connsiteY3130" fmla="*/ 228581 h 3690338"/>
                <a:gd name="connsiteX3131" fmla="*/ 4254514 w 4878487"/>
                <a:gd name="connsiteY3131" fmla="*/ 226614 h 3690338"/>
                <a:gd name="connsiteX3132" fmla="*/ 4251366 w 4878487"/>
                <a:gd name="connsiteY3132" fmla="*/ 225040 h 3690338"/>
                <a:gd name="connsiteX3133" fmla="*/ 4248613 w 4878487"/>
                <a:gd name="connsiteY3133" fmla="*/ 222286 h 3690338"/>
                <a:gd name="connsiteX3134" fmla="*/ 4245465 w 4878487"/>
                <a:gd name="connsiteY3134" fmla="*/ 220319 h 3690338"/>
                <a:gd name="connsiteX3135" fmla="*/ 4242711 w 4878487"/>
                <a:gd name="connsiteY3135" fmla="*/ 219925 h 3690338"/>
                <a:gd name="connsiteX3136" fmla="*/ 4239957 w 4878487"/>
                <a:gd name="connsiteY3136" fmla="*/ 219138 h 3690338"/>
                <a:gd name="connsiteX3137" fmla="*/ 4237204 w 4878487"/>
                <a:gd name="connsiteY3137" fmla="*/ 218745 h 3690338"/>
                <a:gd name="connsiteX3138" fmla="*/ 4234449 w 4878487"/>
                <a:gd name="connsiteY3138" fmla="*/ 216384 h 3690338"/>
                <a:gd name="connsiteX3139" fmla="*/ 4231695 w 4878487"/>
                <a:gd name="connsiteY3139" fmla="*/ 215991 h 3690338"/>
                <a:gd name="connsiteX3140" fmla="*/ 4228155 w 4878487"/>
                <a:gd name="connsiteY3140" fmla="*/ 214811 h 3690338"/>
                <a:gd name="connsiteX3141" fmla="*/ 4225401 w 4878487"/>
                <a:gd name="connsiteY3141" fmla="*/ 215204 h 3690338"/>
                <a:gd name="connsiteX3142" fmla="*/ 4224613 w 4878487"/>
                <a:gd name="connsiteY3142" fmla="*/ 218352 h 3690338"/>
                <a:gd name="connsiteX3143" fmla="*/ 4222646 w 4878487"/>
                <a:gd name="connsiteY3143" fmla="*/ 221106 h 3690338"/>
                <a:gd name="connsiteX3144" fmla="*/ 4219499 w 4878487"/>
                <a:gd name="connsiteY3144" fmla="*/ 222679 h 3690338"/>
                <a:gd name="connsiteX3145" fmla="*/ 4216352 w 4878487"/>
                <a:gd name="connsiteY3145" fmla="*/ 222679 h 3690338"/>
                <a:gd name="connsiteX3146" fmla="*/ 4213598 w 4878487"/>
                <a:gd name="connsiteY3146" fmla="*/ 221892 h 3690338"/>
                <a:gd name="connsiteX3147" fmla="*/ 4210843 w 4878487"/>
                <a:gd name="connsiteY3147" fmla="*/ 221892 h 3690338"/>
                <a:gd name="connsiteX3148" fmla="*/ 4207697 w 4878487"/>
                <a:gd name="connsiteY3148" fmla="*/ 222286 h 3690338"/>
                <a:gd name="connsiteX3149" fmla="*/ 4201401 w 4878487"/>
                <a:gd name="connsiteY3149" fmla="*/ 222286 h 3690338"/>
                <a:gd name="connsiteX3150" fmla="*/ 4198648 w 4878487"/>
                <a:gd name="connsiteY3150" fmla="*/ 221892 h 3690338"/>
                <a:gd name="connsiteX3151" fmla="*/ 4195500 w 4878487"/>
                <a:gd name="connsiteY3151" fmla="*/ 221106 h 3690338"/>
                <a:gd name="connsiteX3152" fmla="*/ 4191959 w 4878487"/>
                <a:gd name="connsiteY3152" fmla="*/ 220712 h 3690338"/>
                <a:gd name="connsiteX3153" fmla="*/ 4188812 w 4878487"/>
                <a:gd name="connsiteY3153" fmla="*/ 220319 h 3690338"/>
                <a:gd name="connsiteX3154" fmla="*/ 4186058 w 4878487"/>
                <a:gd name="connsiteY3154" fmla="*/ 220712 h 3690338"/>
                <a:gd name="connsiteX3155" fmla="*/ 4183697 w 4878487"/>
                <a:gd name="connsiteY3155" fmla="*/ 220712 h 3690338"/>
                <a:gd name="connsiteX3156" fmla="*/ 4182124 w 4878487"/>
                <a:gd name="connsiteY3156" fmla="*/ 220319 h 3690338"/>
                <a:gd name="connsiteX3157" fmla="*/ 4161272 w 4878487"/>
                <a:gd name="connsiteY3157" fmla="*/ 219532 h 3690338"/>
                <a:gd name="connsiteX3158" fmla="*/ 4160485 w 4878487"/>
                <a:gd name="connsiteY3158" fmla="*/ 219532 h 3690338"/>
                <a:gd name="connsiteX3159" fmla="*/ 4157338 w 4878487"/>
                <a:gd name="connsiteY3159" fmla="*/ 218745 h 3690338"/>
                <a:gd name="connsiteX3160" fmla="*/ 4154584 w 4878487"/>
                <a:gd name="connsiteY3160" fmla="*/ 217958 h 3690338"/>
                <a:gd name="connsiteX3161" fmla="*/ 4151436 w 4878487"/>
                <a:gd name="connsiteY3161" fmla="*/ 217171 h 3690338"/>
                <a:gd name="connsiteX3162" fmla="*/ 4147895 w 4878487"/>
                <a:gd name="connsiteY3162" fmla="*/ 215598 h 3690338"/>
                <a:gd name="connsiteX3163" fmla="*/ 4145141 w 4878487"/>
                <a:gd name="connsiteY3163" fmla="*/ 216384 h 3690338"/>
                <a:gd name="connsiteX3164" fmla="*/ 4142387 w 4878487"/>
                <a:gd name="connsiteY3164" fmla="*/ 217565 h 3690338"/>
                <a:gd name="connsiteX3165" fmla="*/ 4138847 w 4878487"/>
                <a:gd name="connsiteY3165" fmla="*/ 217958 h 3690338"/>
                <a:gd name="connsiteX3166" fmla="*/ 4135699 w 4878487"/>
                <a:gd name="connsiteY3166" fmla="*/ 217565 h 3690338"/>
                <a:gd name="connsiteX3167" fmla="*/ 4132552 w 4878487"/>
                <a:gd name="connsiteY3167" fmla="*/ 217171 h 3690338"/>
                <a:gd name="connsiteX3168" fmla="*/ 4129404 w 4878487"/>
                <a:gd name="connsiteY3168" fmla="*/ 217171 h 3690338"/>
                <a:gd name="connsiteX3169" fmla="*/ 4126650 w 4878487"/>
                <a:gd name="connsiteY3169" fmla="*/ 218352 h 3690338"/>
                <a:gd name="connsiteX3170" fmla="*/ 4125077 w 4878487"/>
                <a:gd name="connsiteY3170" fmla="*/ 218745 h 3690338"/>
                <a:gd name="connsiteX3171" fmla="*/ 4121929 w 4878487"/>
                <a:gd name="connsiteY3171" fmla="*/ 218745 h 3690338"/>
                <a:gd name="connsiteX3172" fmla="*/ 4120749 w 4878487"/>
                <a:gd name="connsiteY3172" fmla="*/ 218352 h 3690338"/>
                <a:gd name="connsiteX3173" fmla="*/ 4117601 w 4878487"/>
                <a:gd name="connsiteY3173" fmla="*/ 217958 h 3690338"/>
                <a:gd name="connsiteX3174" fmla="*/ 4115634 w 4878487"/>
                <a:gd name="connsiteY3174" fmla="*/ 218352 h 3690338"/>
                <a:gd name="connsiteX3175" fmla="*/ 4112880 w 4878487"/>
                <a:gd name="connsiteY3175" fmla="*/ 217958 h 3690338"/>
                <a:gd name="connsiteX3176" fmla="*/ 4111700 w 4878487"/>
                <a:gd name="connsiteY3176" fmla="*/ 219138 h 3690338"/>
                <a:gd name="connsiteX3177" fmla="*/ 4107373 w 4878487"/>
                <a:gd name="connsiteY3177" fmla="*/ 219925 h 3690338"/>
                <a:gd name="connsiteX3178" fmla="*/ 4106979 w 4878487"/>
                <a:gd name="connsiteY3178" fmla="*/ 219925 h 3690338"/>
                <a:gd name="connsiteX3179" fmla="*/ 4103831 w 4878487"/>
                <a:gd name="connsiteY3179" fmla="*/ 218745 h 3690338"/>
                <a:gd name="connsiteX3180" fmla="*/ 4100684 w 4878487"/>
                <a:gd name="connsiteY3180" fmla="*/ 219138 h 3690338"/>
                <a:gd name="connsiteX3181" fmla="*/ 4097930 w 4878487"/>
                <a:gd name="connsiteY3181" fmla="*/ 219532 h 3690338"/>
                <a:gd name="connsiteX3182" fmla="*/ 4097537 w 4878487"/>
                <a:gd name="connsiteY3182" fmla="*/ 219532 h 3690338"/>
                <a:gd name="connsiteX3183" fmla="*/ 4097143 w 4878487"/>
                <a:gd name="connsiteY3183" fmla="*/ 219532 h 3690338"/>
                <a:gd name="connsiteX3184" fmla="*/ 4097143 w 4878487"/>
                <a:gd name="connsiteY3184" fmla="*/ 219532 h 3690338"/>
                <a:gd name="connsiteX3185" fmla="*/ 4094782 w 4878487"/>
                <a:gd name="connsiteY3185" fmla="*/ 220319 h 3690338"/>
                <a:gd name="connsiteX3186" fmla="*/ 4092815 w 4878487"/>
                <a:gd name="connsiteY3186" fmla="*/ 221892 h 3690338"/>
                <a:gd name="connsiteX3187" fmla="*/ 4088094 w 4878487"/>
                <a:gd name="connsiteY3187" fmla="*/ 221106 h 3690338"/>
                <a:gd name="connsiteX3188" fmla="*/ 4084947 w 4878487"/>
                <a:gd name="connsiteY3188" fmla="*/ 219532 h 3690338"/>
                <a:gd name="connsiteX3189" fmla="*/ 4082193 w 4878487"/>
                <a:gd name="connsiteY3189" fmla="*/ 219138 h 3690338"/>
                <a:gd name="connsiteX3190" fmla="*/ 4079439 w 4878487"/>
                <a:gd name="connsiteY3190" fmla="*/ 218745 h 3690338"/>
                <a:gd name="connsiteX3191" fmla="*/ 4075899 w 4878487"/>
                <a:gd name="connsiteY3191" fmla="*/ 218352 h 3690338"/>
                <a:gd name="connsiteX3192" fmla="*/ 4072751 w 4878487"/>
                <a:gd name="connsiteY3192" fmla="*/ 217958 h 3690338"/>
                <a:gd name="connsiteX3193" fmla="*/ 4070390 w 4878487"/>
                <a:gd name="connsiteY3193" fmla="*/ 218745 h 3690338"/>
                <a:gd name="connsiteX3194" fmla="*/ 4067242 w 4878487"/>
                <a:gd name="connsiteY3194" fmla="*/ 217171 h 3690338"/>
                <a:gd name="connsiteX3195" fmla="*/ 4064489 w 4878487"/>
                <a:gd name="connsiteY3195" fmla="*/ 216778 h 3690338"/>
                <a:gd name="connsiteX3196" fmla="*/ 4061735 w 4878487"/>
                <a:gd name="connsiteY3196" fmla="*/ 216778 h 3690338"/>
                <a:gd name="connsiteX3197" fmla="*/ 4059768 w 4878487"/>
                <a:gd name="connsiteY3197" fmla="*/ 216384 h 3690338"/>
                <a:gd name="connsiteX3198" fmla="*/ 4047571 w 4878487"/>
                <a:gd name="connsiteY3198" fmla="*/ 209303 h 3690338"/>
                <a:gd name="connsiteX3199" fmla="*/ 4047571 w 4878487"/>
                <a:gd name="connsiteY3199" fmla="*/ 206549 h 3690338"/>
                <a:gd name="connsiteX3200" fmla="*/ 4045211 w 4878487"/>
                <a:gd name="connsiteY3200" fmla="*/ 204188 h 3690338"/>
                <a:gd name="connsiteX3201" fmla="*/ 4048359 w 4878487"/>
                <a:gd name="connsiteY3201" fmla="*/ 206942 h 3690338"/>
                <a:gd name="connsiteX3202" fmla="*/ 4044817 w 4878487"/>
                <a:gd name="connsiteY3202" fmla="*/ 203401 h 3690338"/>
                <a:gd name="connsiteX3203" fmla="*/ 4045604 w 4878487"/>
                <a:gd name="connsiteY3203" fmla="*/ 203401 h 3690338"/>
                <a:gd name="connsiteX3204" fmla="*/ 4042850 w 4878487"/>
                <a:gd name="connsiteY3204" fmla="*/ 201434 h 3690338"/>
                <a:gd name="connsiteX3205" fmla="*/ 4040883 w 4878487"/>
                <a:gd name="connsiteY3205" fmla="*/ 198287 h 3690338"/>
                <a:gd name="connsiteX3206" fmla="*/ 4037735 w 4878487"/>
                <a:gd name="connsiteY3206" fmla="*/ 196713 h 3690338"/>
                <a:gd name="connsiteX3207" fmla="*/ 4034195 w 4878487"/>
                <a:gd name="connsiteY3207" fmla="*/ 195139 h 3690338"/>
                <a:gd name="connsiteX3208" fmla="*/ 4033408 w 4878487"/>
                <a:gd name="connsiteY3208" fmla="*/ 194746 h 3690338"/>
                <a:gd name="connsiteX3209" fmla="*/ 4030261 w 4878487"/>
                <a:gd name="connsiteY3209" fmla="*/ 193172 h 3690338"/>
                <a:gd name="connsiteX3210" fmla="*/ 4026720 w 4878487"/>
                <a:gd name="connsiteY3210" fmla="*/ 191599 h 3690338"/>
                <a:gd name="connsiteX3211" fmla="*/ 4023966 w 4878487"/>
                <a:gd name="connsiteY3211" fmla="*/ 190025 h 3690338"/>
                <a:gd name="connsiteX3212" fmla="*/ 4020425 w 4878487"/>
                <a:gd name="connsiteY3212" fmla="*/ 188845 h 3690338"/>
                <a:gd name="connsiteX3213" fmla="*/ 4017277 w 4878487"/>
                <a:gd name="connsiteY3213" fmla="*/ 187664 h 3690338"/>
                <a:gd name="connsiteX3214" fmla="*/ 4014130 w 4878487"/>
                <a:gd name="connsiteY3214" fmla="*/ 186878 h 3690338"/>
                <a:gd name="connsiteX3215" fmla="*/ 4010589 w 4878487"/>
                <a:gd name="connsiteY3215" fmla="*/ 185697 h 3690338"/>
                <a:gd name="connsiteX3216" fmla="*/ 4007442 w 4878487"/>
                <a:gd name="connsiteY3216" fmla="*/ 185304 h 3690338"/>
                <a:gd name="connsiteX3217" fmla="*/ 4004294 w 4878487"/>
                <a:gd name="connsiteY3217" fmla="*/ 184124 h 3690338"/>
                <a:gd name="connsiteX3218" fmla="*/ 4001148 w 4878487"/>
                <a:gd name="connsiteY3218" fmla="*/ 183730 h 3690338"/>
                <a:gd name="connsiteX3219" fmla="*/ 3998000 w 4878487"/>
                <a:gd name="connsiteY3219" fmla="*/ 182943 h 3690338"/>
                <a:gd name="connsiteX3220" fmla="*/ 3994852 w 4878487"/>
                <a:gd name="connsiteY3220" fmla="*/ 182550 h 3690338"/>
                <a:gd name="connsiteX3221" fmla="*/ 3992099 w 4878487"/>
                <a:gd name="connsiteY3221" fmla="*/ 182156 h 3690338"/>
                <a:gd name="connsiteX3222" fmla="*/ 3989345 w 4878487"/>
                <a:gd name="connsiteY3222" fmla="*/ 181763 h 3690338"/>
                <a:gd name="connsiteX3223" fmla="*/ 3986197 w 4878487"/>
                <a:gd name="connsiteY3223" fmla="*/ 181370 h 3690338"/>
                <a:gd name="connsiteX3224" fmla="*/ 3983050 w 4878487"/>
                <a:gd name="connsiteY3224" fmla="*/ 180976 h 3690338"/>
                <a:gd name="connsiteX3225" fmla="*/ 3980296 w 4878487"/>
                <a:gd name="connsiteY3225" fmla="*/ 180583 h 3690338"/>
                <a:gd name="connsiteX3226" fmla="*/ 3977148 w 4878487"/>
                <a:gd name="connsiteY3226" fmla="*/ 180189 h 3690338"/>
                <a:gd name="connsiteX3227" fmla="*/ 3974394 w 4878487"/>
                <a:gd name="connsiteY3227" fmla="*/ 179796 h 3690338"/>
                <a:gd name="connsiteX3228" fmla="*/ 3971641 w 4878487"/>
                <a:gd name="connsiteY3228" fmla="*/ 179402 h 3690338"/>
                <a:gd name="connsiteX3229" fmla="*/ 3968493 w 4878487"/>
                <a:gd name="connsiteY3229" fmla="*/ 179009 h 3690338"/>
                <a:gd name="connsiteX3230" fmla="*/ 3965739 w 4878487"/>
                <a:gd name="connsiteY3230" fmla="*/ 178616 h 3690338"/>
                <a:gd name="connsiteX3231" fmla="*/ 3962592 w 4878487"/>
                <a:gd name="connsiteY3231" fmla="*/ 178616 h 3690338"/>
                <a:gd name="connsiteX3232" fmla="*/ 3959838 w 4878487"/>
                <a:gd name="connsiteY3232" fmla="*/ 178222 h 3690338"/>
                <a:gd name="connsiteX3233" fmla="*/ 3957083 w 4878487"/>
                <a:gd name="connsiteY3233" fmla="*/ 177829 h 3690338"/>
                <a:gd name="connsiteX3234" fmla="*/ 3953936 w 4878487"/>
                <a:gd name="connsiteY3234" fmla="*/ 177829 h 3690338"/>
                <a:gd name="connsiteX3235" fmla="*/ 3950789 w 4878487"/>
                <a:gd name="connsiteY3235" fmla="*/ 177435 h 3690338"/>
                <a:gd name="connsiteX3236" fmla="*/ 3947641 w 4878487"/>
                <a:gd name="connsiteY3236" fmla="*/ 177435 h 3690338"/>
                <a:gd name="connsiteX3237" fmla="*/ 3944494 w 4878487"/>
                <a:gd name="connsiteY3237" fmla="*/ 177042 h 3690338"/>
                <a:gd name="connsiteX3238" fmla="*/ 3941346 w 4878487"/>
                <a:gd name="connsiteY3238" fmla="*/ 177042 h 3690338"/>
                <a:gd name="connsiteX3239" fmla="*/ 3938592 w 4878487"/>
                <a:gd name="connsiteY3239" fmla="*/ 176648 h 3690338"/>
                <a:gd name="connsiteX3240" fmla="*/ 3935838 w 4878487"/>
                <a:gd name="connsiteY3240" fmla="*/ 177042 h 3690338"/>
                <a:gd name="connsiteX3241" fmla="*/ 3929937 w 4878487"/>
                <a:gd name="connsiteY3241" fmla="*/ 177042 h 3690338"/>
                <a:gd name="connsiteX3242" fmla="*/ 3927183 w 4878487"/>
                <a:gd name="connsiteY3242" fmla="*/ 176648 h 3690338"/>
                <a:gd name="connsiteX3243" fmla="*/ 3921282 w 4878487"/>
                <a:gd name="connsiteY3243" fmla="*/ 176648 h 3690338"/>
                <a:gd name="connsiteX3244" fmla="*/ 3918134 w 4878487"/>
                <a:gd name="connsiteY3244" fmla="*/ 177042 h 3690338"/>
                <a:gd name="connsiteX3245" fmla="*/ 3914987 w 4878487"/>
                <a:gd name="connsiteY3245" fmla="*/ 177829 h 3690338"/>
                <a:gd name="connsiteX3246" fmla="*/ 3911839 w 4878487"/>
                <a:gd name="connsiteY3246" fmla="*/ 177829 h 3690338"/>
                <a:gd name="connsiteX3247" fmla="*/ 3908692 w 4878487"/>
                <a:gd name="connsiteY3247" fmla="*/ 178222 h 3690338"/>
                <a:gd name="connsiteX3248" fmla="*/ 3905545 w 4878487"/>
                <a:gd name="connsiteY3248" fmla="*/ 178616 h 3690338"/>
                <a:gd name="connsiteX3249" fmla="*/ 3902003 w 4878487"/>
                <a:gd name="connsiteY3249" fmla="*/ 179009 h 3690338"/>
                <a:gd name="connsiteX3250" fmla="*/ 3899250 w 4878487"/>
                <a:gd name="connsiteY3250" fmla="*/ 179402 h 3690338"/>
                <a:gd name="connsiteX3251" fmla="*/ 3896496 w 4878487"/>
                <a:gd name="connsiteY3251" fmla="*/ 179796 h 3690338"/>
                <a:gd name="connsiteX3252" fmla="*/ 3893348 w 4878487"/>
                <a:gd name="connsiteY3252" fmla="*/ 180583 h 3690338"/>
                <a:gd name="connsiteX3253" fmla="*/ 3890594 w 4878487"/>
                <a:gd name="connsiteY3253" fmla="*/ 180583 h 3690338"/>
                <a:gd name="connsiteX3254" fmla="*/ 3887447 w 4878487"/>
                <a:gd name="connsiteY3254" fmla="*/ 181763 h 3690338"/>
                <a:gd name="connsiteX3255" fmla="*/ 3884299 w 4878487"/>
                <a:gd name="connsiteY3255" fmla="*/ 182550 h 3690338"/>
                <a:gd name="connsiteX3256" fmla="*/ 3881545 w 4878487"/>
                <a:gd name="connsiteY3256" fmla="*/ 183337 h 3690338"/>
                <a:gd name="connsiteX3257" fmla="*/ 3881152 w 4878487"/>
                <a:gd name="connsiteY3257" fmla="*/ 183730 h 3690338"/>
                <a:gd name="connsiteX3258" fmla="*/ 3878005 w 4878487"/>
                <a:gd name="connsiteY3258" fmla="*/ 183337 h 3690338"/>
                <a:gd name="connsiteX3259" fmla="*/ 3874857 w 4878487"/>
                <a:gd name="connsiteY3259" fmla="*/ 183337 h 3690338"/>
                <a:gd name="connsiteX3260" fmla="*/ 3874463 w 4878487"/>
                <a:gd name="connsiteY3260" fmla="*/ 183337 h 3690338"/>
                <a:gd name="connsiteX3261" fmla="*/ 3839843 w 4878487"/>
                <a:gd name="connsiteY3261" fmla="*/ 180583 h 3690338"/>
                <a:gd name="connsiteX3262" fmla="*/ 3842203 w 4878487"/>
                <a:gd name="connsiteY3262" fmla="*/ 180189 h 3690338"/>
                <a:gd name="connsiteX3263" fmla="*/ 3839449 w 4878487"/>
                <a:gd name="connsiteY3263" fmla="*/ 178222 h 3690338"/>
                <a:gd name="connsiteX3264" fmla="*/ 3836695 w 4878487"/>
                <a:gd name="connsiteY3264" fmla="*/ 177435 h 3690338"/>
                <a:gd name="connsiteX3265" fmla="*/ 3833548 w 4878487"/>
                <a:gd name="connsiteY3265" fmla="*/ 176255 h 3690338"/>
                <a:gd name="connsiteX3266" fmla="*/ 3830007 w 4878487"/>
                <a:gd name="connsiteY3266" fmla="*/ 175075 h 3690338"/>
                <a:gd name="connsiteX3267" fmla="*/ 3827252 w 4878487"/>
                <a:gd name="connsiteY3267" fmla="*/ 174288 h 3690338"/>
                <a:gd name="connsiteX3268" fmla="*/ 3824106 w 4878487"/>
                <a:gd name="connsiteY3268" fmla="*/ 172714 h 3690338"/>
                <a:gd name="connsiteX3269" fmla="*/ 3820564 w 4878487"/>
                <a:gd name="connsiteY3269" fmla="*/ 171140 h 3690338"/>
                <a:gd name="connsiteX3270" fmla="*/ 3817417 w 4878487"/>
                <a:gd name="connsiteY3270" fmla="*/ 170747 h 3690338"/>
                <a:gd name="connsiteX3271" fmla="*/ 3814270 w 4878487"/>
                <a:gd name="connsiteY3271" fmla="*/ 170354 h 3690338"/>
                <a:gd name="connsiteX3272" fmla="*/ 3811515 w 4878487"/>
                <a:gd name="connsiteY3272" fmla="*/ 169960 h 3690338"/>
                <a:gd name="connsiteX3273" fmla="*/ 3807975 w 4878487"/>
                <a:gd name="connsiteY3273" fmla="*/ 169567 h 3690338"/>
                <a:gd name="connsiteX3274" fmla="*/ 3804434 w 4878487"/>
                <a:gd name="connsiteY3274" fmla="*/ 168780 h 3690338"/>
                <a:gd name="connsiteX3275" fmla="*/ 3801287 w 4878487"/>
                <a:gd name="connsiteY3275" fmla="*/ 169173 h 3690338"/>
                <a:gd name="connsiteX3276" fmla="*/ 3798533 w 4878487"/>
                <a:gd name="connsiteY3276" fmla="*/ 170747 h 3690338"/>
                <a:gd name="connsiteX3277" fmla="*/ 3795385 w 4878487"/>
                <a:gd name="connsiteY3277" fmla="*/ 170747 h 3690338"/>
                <a:gd name="connsiteX3278" fmla="*/ 3792238 w 4878487"/>
                <a:gd name="connsiteY3278" fmla="*/ 172321 h 3690338"/>
                <a:gd name="connsiteX3279" fmla="*/ 3789877 w 4878487"/>
                <a:gd name="connsiteY3279" fmla="*/ 173894 h 3690338"/>
                <a:gd name="connsiteX3280" fmla="*/ 3789484 w 4878487"/>
                <a:gd name="connsiteY3280" fmla="*/ 173501 h 3690338"/>
                <a:gd name="connsiteX3281" fmla="*/ 3792238 w 4878487"/>
                <a:gd name="connsiteY3281" fmla="*/ 171927 h 3690338"/>
                <a:gd name="connsiteX3282" fmla="*/ 3794992 w 4878487"/>
                <a:gd name="connsiteY3282" fmla="*/ 170354 h 3690338"/>
                <a:gd name="connsiteX3283" fmla="*/ 3794205 w 4878487"/>
                <a:gd name="connsiteY3283" fmla="*/ 167600 h 3690338"/>
                <a:gd name="connsiteX3284" fmla="*/ 3791057 w 4878487"/>
                <a:gd name="connsiteY3284" fmla="*/ 165632 h 3690338"/>
                <a:gd name="connsiteX3285" fmla="*/ 3787910 w 4878487"/>
                <a:gd name="connsiteY3285" fmla="*/ 166026 h 3690338"/>
                <a:gd name="connsiteX3286" fmla="*/ 3785156 w 4878487"/>
                <a:gd name="connsiteY3286" fmla="*/ 166419 h 3690338"/>
                <a:gd name="connsiteX3287" fmla="*/ 3782402 w 4878487"/>
                <a:gd name="connsiteY3287" fmla="*/ 166026 h 3690338"/>
                <a:gd name="connsiteX3288" fmla="*/ 3779254 w 4878487"/>
                <a:gd name="connsiteY3288" fmla="*/ 166419 h 3690338"/>
                <a:gd name="connsiteX3289" fmla="*/ 3776501 w 4878487"/>
                <a:gd name="connsiteY3289" fmla="*/ 167600 h 3690338"/>
                <a:gd name="connsiteX3290" fmla="*/ 3774140 w 4878487"/>
                <a:gd name="connsiteY3290" fmla="*/ 164846 h 3690338"/>
                <a:gd name="connsiteX3291" fmla="*/ 3770993 w 4878487"/>
                <a:gd name="connsiteY3291" fmla="*/ 162092 h 3690338"/>
                <a:gd name="connsiteX3292" fmla="*/ 3768238 w 4878487"/>
                <a:gd name="connsiteY3292" fmla="*/ 162485 h 3690338"/>
                <a:gd name="connsiteX3293" fmla="*/ 3765878 w 4878487"/>
                <a:gd name="connsiteY3293" fmla="*/ 162879 h 3690338"/>
                <a:gd name="connsiteX3294" fmla="*/ 3754862 w 4878487"/>
                <a:gd name="connsiteY3294" fmla="*/ 157371 h 3690338"/>
                <a:gd name="connsiteX3295" fmla="*/ 3757616 w 4878487"/>
                <a:gd name="connsiteY3295" fmla="*/ 158551 h 3690338"/>
                <a:gd name="connsiteX3296" fmla="*/ 3760764 w 4878487"/>
                <a:gd name="connsiteY3296" fmla="*/ 159338 h 3690338"/>
                <a:gd name="connsiteX3297" fmla="*/ 3763911 w 4878487"/>
                <a:gd name="connsiteY3297" fmla="*/ 157764 h 3690338"/>
                <a:gd name="connsiteX3298" fmla="*/ 3763517 w 4878487"/>
                <a:gd name="connsiteY3298" fmla="*/ 155010 h 3690338"/>
                <a:gd name="connsiteX3299" fmla="*/ 3760764 w 4878487"/>
                <a:gd name="connsiteY3299" fmla="*/ 153830 h 3690338"/>
                <a:gd name="connsiteX3300" fmla="*/ 3757223 w 4878487"/>
                <a:gd name="connsiteY3300" fmla="*/ 152256 h 3690338"/>
                <a:gd name="connsiteX3301" fmla="*/ 3754468 w 4878487"/>
                <a:gd name="connsiteY3301" fmla="*/ 151469 h 3690338"/>
                <a:gd name="connsiteX3302" fmla="*/ 3750928 w 4878487"/>
                <a:gd name="connsiteY3302" fmla="*/ 150289 h 3690338"/>
                <a:gd name="connsiteX3303" fmla="*/ 3747780 w 4878487"/>
                <a:gd name="connsiteY3303" fmla="*/ 149109 h 3690338"/>
                <a:gd name="connsiteX3304" fmla="*/ 3744240 w 4878487"/>
                <a:gd name="connsiteY3304" fmla="*/ 148715 h 3690338"/>
                <a:gd name="connsiteX3305" fmla="*/ 3737945 w 4878487"/>
                <a:gd name="connsiteY3305" fmla="*/ 147535 h 3690338"/>
                <a:gd name="connsiteX3306" fmla="*/ 3734797 w 4878487"/>
                <a:gd name="connsiteY3306" fmla="*/ 147141 h 3690338"/>
                <a:gd name="connsiteX3307" fmla="*/ 3731650 w 4878487"/>
                <a:gd name="connsiteY3307" fmla="*/ 146748 h 3690338"/>
                <a:gd name="connsiteX3308" fmla="*/ 3726142 w 4878487"/>
                <a:gd name="connsiteY3308" fmla="*/ 146355 h 3690338"/>
                <a:gd name="connsiteX3309" fmla="*/ 3722601 w 4878487"/>
                <a:gd name="connsiteY3309" fmla="*/ 145961 h 3690338"/>
                <a:gd name="connsiteX3310" fmla="*/ 3719848 w 4878487"/>
                <a:gd name="connsiteY3310" fmla="*/ 145568 h 3690338"/>
                <a:gd name="connsiteX3311" fmla="*/ 3716700 w 4878487"/>
                <a:gd name="connsiteY3311" fmla="*/ 145174 h 3690338"/>
                <a:gd name="connsiteX3312" fmla="*/ 3713552 w 4878487"/>
                <a:gd name="connsiteY3312" fmla="*/ 144781 h 3690338"/>
                <a:gd name="connsiteX3313" fmla="*/ 3710799 w 4878487"/>
                <a:gd name="connsiteY3313" fmla="*/ 144387 h 3690338"/>
                <a:gd name="connsiteX3314" fmla="*/ 3707651 w 4878487"/>
                <a:gd name="connsiteY3314" fmla="*/ 144387 h 3690338"/>
                <a:gd name="connsiteX3315" fmla="*/ 3704503 w 4878487"/>
                <a:gd name="connsiteY3315" fmla="*/ 143994 h 3690338"/>
                <a:gd name="connsiteX3316" fmla="*/ 3692308 w 4878487"/>
                <a:gd name="connsiteY3316" fmla="*/ 143994 h 3690338"/>
                <a:gd name="connsiteX3317" fmla="*/ 3689160 w 4878487"/>
                <a:gd name="connsiteY3317" fmla="*/ 144387 h 3690338"/>
                <a:gd name="connsiteX3318" fmla="*/ 3686406 w 4878487"/>
                <a:gd name="connsiteY3318" fmla="*/ 144781 h 3690338"/>
                <a:gd name="connsiteX3319" fmla="*/ 3685226 w 4878487"/>
                <a:gd name="connsiteY3319" fmla="*/ 150289 h 3690338"/>
                <a:gd name="connsiteX3320" fmla="*/ 3685619 w 4878487"/>
                <a:gd name="connsiteY3320" fmla="*/ 152649 h 3690338"/>
                <a:gd name="connsiteX3321" fmla="*/ 3681685 w 4878487"/>
                <a:gd name="connsiteY3321" fmla="*/ 152649 h 3690338"/>
                <a:gd name="connsiteX3322" fmla="*/ 3682078 w 4878487"/>
                <a:gd name="connsiteY3322" fmla="*/ 149895 h 3690338"/>
                <a:gd name="connsiteX3323" fmla="*/ 3682472 w 4878487"/>
                <a:gd name="connsiteY3323" fmla="*/ 147141 h 3690338"/>
                <a:gd name="connsiteX3324" fmla="*/ 3679717 w 4878487"/>
                <a:gd name="connsiteY3324" fmla="*/ 144781 h 3690338"/>
                <a:gd name="connsiteX3325" fmla="*/ 3676571 w 4878487"/>
                <a:gd name="connsiteY3325" fmla="*/ 144781 h 3690338"/>
                <a:gd name="connsiteX3326" fmla="*/ 3673423 w 4878487"/>
                <a:gd name="connsiteY3326" fmla="*/ 144387 h 3690338"/>
                <a:gd name="connsiteX3327" fmla="*/ 3670669 w 4878487"/>
                <a:gd name="connsiteY3327" fmla="*/ 144387 h 3690338"/>
                <a:gd name="connsiteX3328" fmla="*/ 3667522 w 4878487"/>
                <a:gd name="connsiteY3328" fmla="*/ 144781 h 3690338"/>
                <a:gd name="connsiteX3329" fmla="*/ 3664768 w 4878487"/>
                <a:gd name="connsiteY3329" fmla="*/ 144781 h 3690338"/>
                <a:gd name="connsiteX3330" fmla="*/ 3661620 w 4878487"/>
                <a:gd name="connsiteY3330" fmla="*/ 145174 h 3690338"/>
                <a:gd name="connsiteX3331" fmla="*/ 3658473 w 4878487"/>
                <a:gd name="connsiteY3331" fmla="*/ 145174 h 3690338"/>
                <a:gd name="connsiteX3332" fmla="*/ 3655719 w 4878487"/>
                <a:gd name="connsiteY3332" fmla="*/ 145568 h 3690338"/>
                <a:gd name="connsiteX3333" fmla="*/ 3652571 w 4878487"/>
                <a:gd name="connsiteY3333" fmla="*/ 145961 h 3690338"/>
                <a:gd name="connsiteX3334" fmla="*/ 3649424 w 4878487"/>
                <a:gd name="connsiteY3334" fmla="*/ 146355 h 3690338"/>
                <a:gd name="connsiteX3335" fmla="*/ 3646277 w 4878487"/>
                <a:gd name="connsiteY3335" fmla="*/ 146355 h 3690338"/>
                <a:gd name="connsiteX3336" fmla="*/ 3643129 w 4878487"/>
                <a:gd name="connsiteY3336" fmla="*/ 146748 h 3690338"/>
                <a:gd name="connsiteX3337" fmla="*/ 3640375 w 4878487"/>
                <a:gd name="connsiteY3337" fmla="*/ 146748 h 3690338"/>
                <a:gd name="connsiteX3338" fmla="*/ 3638801 w 4878487"/>
                <a:gd name="connsiteY3338" fmla="*/ 147928 h 3690338"/>
                <a:gd name="connsiteX3339" fmla="*/ 3627392 w 4878487"/>
                <a:gd name="connsiteY3339" fmla="*/ 146355 h 3690338"/>
                <a:gd name="connsiteX3340" fmla="*/ 3626999 w 4878487"/>
                <a:gd name="connsiteY3340" fmla="*/ 145961 h 3690338"/>
                <a:gd name="connsiteX3341" fmla="*/ 3630146 w 4878487"/>
                <a:gd name="connsiteY3341" fmla="*/ 145568 h 3690338"/>
                <a:gd name="connsiteX3342" fmla="*/ 3633687 w 4878487"/>
                <a:gd name="connsiteY3342" fmla="*/ 146748 h 3690338"/>
                <a:gd name="connsiteX3343" fmla="*/ 3634080 w 4878487"/>
                <a:gd name="connsiteY3343" fmla="*/ 143994 h 3690338"/>
                <a:gd name="connsiteX3344" fmla="*/ 3633687 w 4878487"/>
                <a:gd name="connsiteY3344" fmla="*/ 142420 h 3690338"/>
                <a:gd name="connsiteX3345" fmla="*/ 3636834 w 4878487"/>
                <a:gd name="connsiteY3345" fmla="*/ 141240 h 3690338"/>
                <a:gd name="connsiteX3346" fmla="*/ 3639982 w 4878487"/>
                <a:gd name="connsiteY3346" fmla="*/ 141633 h 3690338"/>
                <a:gd name="connsiteX3347" fmla="*/ 3643129 w 4878487"/>
                <a:gd name="connsiteY3347" fmla="*/ 142027 h 3690338"/>
                <a:gd name="connsiteX3348" fmla="*/ 3646277 w 4878487"/>
                <a:gd name="connsiteY3348" fmla="*/ 142420 h 3690338"/>
                <a:gd name="connsiteX3349" fmla="*/ 3649030 w 4878487"/>
                <a:gd name="connsiteY3349" fmla="*/ 143601 h 3690338"/>
                <a:gd name="connsiteX3350" fmla="*/ 3652571 w 4878487"/>
                <a:gd name="connsiteY3350" fmla="*/ 143207 h 3690338"/>
                <a:gd name="connsiteX3351" fmla="*/ 3658473 w 4878487"/>
                <a:gd name="connsiteY3351" fmla="*/ 143207 h 3690338"/>
                <a:gd name="connsiteX3352" fmla="*/ 3662013 w 4878487"/>
                <a:gd name="connsiteY3352" fmla="*/ 143601 h 3690338"/>
                <a:gd name="connsiteX3353" fmla="*/ 3664768 w 4878487"/>
                <a:gd name="connsiteY3353" fmla="*/ 143207 h 3690338"/>
                <a:gd name="connsiteX3354" fmla="*/ 3667915 w 4878487"/>
                <a:gd name="connsiteY3354" fmla="*/ 143601 h 3690338"/>
                <a:gd name="connsiteX3355" fmla="*/ 3673816 w 4878487"/>
                <a:gd name="connsiteY3355" fmla="*/ 143601 h 3690338"/>
                <a:gd name="connsiteX3356" fmla="*/ 3676571 w 4878487"/>
                <a:gd name="connsiteY3356" fmla="*/ 143994 h 3690338"/>
                <a:gd name="connsiteX3357" fmla="*/ 3679717 w 4878487"/>
                <a:gd name="connsiteY3357" fmla="*/ 143994 h 3690338"/>
                <a:gd name="connsiteX3358" fmla="*/ 3676177 w 4878487"/>
                <a:gd name="connsiteY3358" fmla="*/ 142814 h 3690338"/>
                <a:gd name="connsiteX3359" fmla="*/ 3673423 w 4878487"/>
                <a:gd name="connsiteY3359" fmla="*/ 142420 h 3690338"/>
                <a:gd name="connsiteX3360" fmla="*/ 3669882 w 4878487"/>
                <a:gd name="connsiteY3360" fmla="*/ 142027 h 3690338"/>
                <a:gd name="connsiteX3361" fmla="*/ 3666735 w 4878487"/>
                <a:gd name="connsiteY3361" fmla="*/ 141633 h 3690338"/>
                <a:gd name="connsiteX3362" fmla="*/ 3660440 w 4878487"/>
                <a:gd name="connsiteY3362" fmla="*/ 140453 h 3690338"/>
                <a:gd name="connsiteX3363" fmla="*/ 3657292 w 4878487"/>
                <a:gd name="connsiteY3363" fmla="*/ 140060 h 3690338"/>
                <a:gd name="connsiteX3364" fmla="*/ 3654145 w 4878487"/>
                <a:gd name="connsiteY3364" fmla="*/ 139666 h 3690338"/>
                <a:gd name="connsiteX3365" fmla="*/ 3650998 w 4878487"/>
                <a:gd name="connsiteY3365" fmla="*/ 139273 h 3690338"/>
                <a:gd name="connsiteX3366" fmla="*/ 3647850 w 4878487"/>
                <a:gd name="connsiteY3366" fmla="*/ 138880 h 3690338"/>
                <a:gd name="connsiteX3367" fmla="*/ 3644703 w 4878487"/>
                <a:gd name="connsiteY3367" fmla="*/ 138486 h 3690338"/>
                <a:gd name="connsiteX3368" fmla="*/ 3642736 w 4878487"/>
                <a:gd name="connsiteY3368" fmla="*/ 135732 h 3690338"/>
                <a:gd name="connsiteX3369" fmla="*/ 3639982 w 4878487"/>
                <a:gd name="connsiteY3369" fmla="*/ 135339 h 3690338"/>
                <a:gd name="connsiteX3370" fmla="*/ 3636834 w 4878487"/>
                <a:gd name="connsiteY3370" fmla="*/ 135339 h 3690338"/>
                <a:gd name="connsiteX3371" fmla="*/ 3634080 w 4878487"/>
                <a:gd name="connsiteY3371" fmla="*/ 134945 h 3690338"/>
                <a:gd name="connsiteX3372" fmla="*/ 3632507 w 4878487"/>
                <a:gd name="connsiteY3372" fmla="*/ 134552 h 3690338"/>
                <a:gd name="connsiteX3373" fmla="*/ 3629752 w 4878487"/>
                <a:gd name="connsiteY3373" fmla="*/ 134552 h 3690338"/>
                <a:gd name="connsiteX3374" fmla="*/ 3626212 w 4878487"/>
                <a:gd name="connsiteY3374" fmla="*/ 134158 h 3690338"/>
                <a:gd name="connsiteX3375" fmla="*/ 3623458 w 4878487"/>
                <a:gd name="connsiteY3375" fmla="*/ 133765 h 3690338"/>
                <a:gd name="connsiteX3376" fmla="*/ 3620311 w 4878487"/>
                <a:gd name="connsiteY3376" fmla="*/ 133372 h 3690338"/>
                <a:gd name="connsiteX3377" fmla="*/ 3617163 w 4878487"/>
                <a:gd name="connsiteY3377" fmla="*/ 132978 h 3690338"/>
                <a:gd name="connsiteX3378" fmla="*/ 3614015 w 4878487"/>
                <a:gd name="connsiteY3378" fmla="*/ 132978 h 3690338"/>
                <a:gd name="connsiteX3379" fmla="*/ 3611262 w 4878487"/>
                <a:gd name="connsiteY3379" fmla="*/ 132585 h 3690338"/>
                <a:gd name="connsiteX3380" fmla="*/ 3608114 w 4878487"/>
                <a:gd name="connsiteY3380" fmla="*/ 132191 h 3690338"/>
                <a:gd name="connsiteX3381" fmla="*/ 3604574 w 4878487"/>
                <a:gd name="connsiteY3381" fmla="*/ 132191 h 3690338"/>
                <a:gd name="connsiteX3382" fmla="*/ 3601426 w 4878487"/>
                <a:gd name="connsiteY3382" fmla="*/ 131798 h 3690338"/>
                <a:gd name="connsiteX3383" fmla="*/ 3598278 w 4878487"/>
                <a:gd name="connsiteY3383" fmla="*/ 131404 h 3690338"/>
                <a:gd name="connsiteX3384" fmla="*/ 3586082 w 4878487"/>
                <a:gd name="connsiteY3384" fmla="*/ 131404 h 3690338"/>
                <a:gd name="connsiteX3385" fmla="*/ 3582935 w 4878487"/>
                <a:gd name="connsiteY3385" fmla="*/ 131011 h 3690338"/>
                <a:gd name="connsiteX3386" fmla="*/ 3573886 w 4878487"/>
                <a:gd name="connsiteY3386" fmla="*/ 131011 h 3690338"/>
                <a:gd name="connsiteX3387" fmla="*/ 3570345 w 4878487"/>
                <a:gd name="connsiteY3387" fmla="*/ 130618 h 3690338"/>
                <a:gd name="connsiteX3388" fmla="*/ 3567591 w 4878487"/>
                <a:gd name="connsiteY3388" fmla="*/ 130224 h 3690338"/>
                <a:gd name="connsiteX3389" fmla="*/ 3564444 w 4878487"/>
                <a:gd name="connsiteY3389" fmla="*/ 130224 h 3690338"/>
                <a:gd name="connsiteX3390" fmla="*/ 3560903 w 4878487"/>
                <a:gd name="connsiteY3390" fmla="*/ 129831 h 3690338"/>
                <a:gd name="connsiteX3391" fmla="*/ 3557362 w 4878487"/>
                <a:gd name="connsiteY3391" fmla="*/ 129437 h 3690338"/>
                <a:gd name="connsiteX3392" fmla="*/ 3554215 w 4878487"/>
                <a:gd name="connsiteY3392" fmla="*/ 129044 h 3690338"/>
                <a:gd name="connsiteX3393" fmla="*/ 3551461 w 4878487"/>
                <a:gd name="connsiteY3393" fmla="*/ 128257 h 3690338"/>
                <a:gd name="connsiteX3394" fmla="*/ 3548707 w 4878487"/>
                <a:gd name="connsiteY3394" fmla="*/ 127470 h 3690338"/>
                <a:gd name="connsiteX3395" fmla="*/ 3545560 w 4878487"/>
                <a:gd name="connsiteY3395" fmla="*/ 126683 h 3690338"/>
                <a:gd name="connsiteX3396" fmla="*/ 3542412 w 4878487"/>
                <a:gd name="connsiteY3396" fmla="*/ 126683 h 3690338"/>
                <a:gd name="connsiteX3397" fmla="*/ 3539264 w 4878487"/>
                <a:gd name="connsiteY3397" fmla="*/ 126290 h 3690338"/>
                <a:gd name="connsiteX3398" fmla="*/ 3536511 w 4878487"/>
                <a:gd name="connsiteY3398" fmla="*/ 126290 h 3690338"/>
                <a:gd name="connsiteX3399" fmla="*/ 3532970 w 4878487"/>
                <a:gd name="connsiteY3399" fmla="*/ 125896 h 3690338"/>
                <a:gd name="connsiteX3400" fmla="*/ 3530216 w 4878487"/>
                <a:gd name="connsiteY3400" fmla="*/ 125503 h 3690338"/>
                <a:gd name="connsiteX3401" fmla="*/ 3532970 w 4878487"/>
                <a:gd name="connsiteY3401" fmla="*/ 127470 h 3690338"/>
                <a:gd name="connsiteX3402" fmla="*/ 3536511 w 4878487"/>
                <a:gd name="connsiteY3402" fmla="*/ 128650 h 3690338"/>
                <a:gd name="connsiteX3403" fmla="*/ 3539658 w 4878487"/>
                <a:gd name="connsiteY3403" fmla="*/ 129437 h 3690338"/>
                <a:gd name="connsiteX3404" fmla="*/ 3542412 w 4878487"/>
                <a:gd name="connsiteY3404" fmla="*/ 130224 h 3690338"/>
                <a:gd name="connsiteX3405" fmla="*/ 3545560 w 4878487"/>
                <a:gd name="connsiteY3405" fmla="*/ 131011 h 3690338"/>
                <a:gd name="connsiteX3406" fmla="*/ 3548313 w 4878487"/>
                <a:gd name="connsiteY3406" fmla="*/ 133765 h 3690338"/>
                <a:gd name="connsiteX3407" fmla="*/ 3551067 w 4878487"/>
                <a:gd name="connsiteY3407" fmla="*/ 134158 h 3690338"/>
                <a:gd name="connsiteX3408" fmla="*/ 3548313 w 4878487"/>
                <a:gd name="connsiteY3408" fmla="*/ 134552 h 3690338"/>
                <a:gd name="connsiteX3409" fmla="*/ 3545166 w 4878487"/>
                <a:gd name="connsiteY3409" fmla="*/ 136126 h 3690338"/>
                <a:gd name="connsiteX3410" fmla="*/ 3542019 w 4878487"/>
                <a:gd name="connsiteY3410" fmla="*/ 136519 h 3690338"/>
                <a:gd name="connsiteX3411" fmla="*/ 3531396 w 4878487"/>
                <a:gd name="connsiteY3411" fmla="*/ 136912 h 3690338"/>
                <a:gd name="connsiteX3412" fmla="*/ 3527855 w 4878487"/>
                <a:gd name="connsiteY3412" fmla="*/ 136519 h 3690338"/>
                <a:gd name="connsiteX3413" fmla="*/ 3524708 w 4878487"/>
                <a:gd name="connsiteY3413" fmla="*/ 136126 h 3690338"/>
                <a:gd name="connsiteX3414" fmla="*/ 3521560 w 4878487"/>
                <a:gd name="connsiteY3414" fmla="*/ 136519 h 3690338"/>
                <a:gd name="connsiteX3415" fmla="*/ 3519200 w 4878487"/>
                <a:gd name="connsiteY3415" fmla="*/ 139273 h 3690338"/>
                <a:gd name="connsiteX3416" fmla="*/ 3519987 w 4878487"/>
                <a:gd name="connsiteY3416" fmla="*/ 142420 h 3690338"/>
                <a:gd name="connsiteX3417" fmla="*/ 3523134 w 4878487"/>
                <a:gd name="connsiteY3417" fmla="*/ 144781 h 3690338"/>
                <a:gd name="connsiteX3418" fmla="*/ 3526282 w 4878487"/>
                <a:gd name="connsiteY3418" fmla="*/ 145961 h 3690338"/>
                <a:gd name="connsiteX3419" fmla="*/ 3529822 w 4878487"/>
                <a:gd name="connsiteY3419" fmla="*/ 146748 h 3690338"/>
                <a:gd name="connsiteX3420" fmla="*/ 3526675 w 4878487"/>
                <a:gd name="connsiteY3420" fmla="*/ 145568 h 3690338"/>
                <a:gd name="connsiteX3421" fmla="*/ 3529822 w 4878487"/>
                <a:gd name="connsiteY3421" fmla="*/ 145961 h 3690338"/>
                <a:gd name="connsiteX3422" fmla="*/ 3532970 w 4878487"/>
                <a:gd name="connsiteY3422" fmla="*/ 145961 h 3690338"/>
                <a:gd name="connsiteX3423" fmla="*/ 3535724 w 4878487"/>
                <a:gd name="connsiteY3423" fmla="*/ 143994 h 3690338"/>
                <a:gd name="connsiteX3424" fmla="*/ 3538871 w 4878487"/>
                <a:gd name="connsiteY3424" fmla="*/ 143994 h 3690338"/>
                <a:gd name="connsiteX3425" fmla="*/ 3540051 w 4878487"/>
                <a:gd name="connsiteY3425" fmla="*/ 143601 h 3690338"/>
                <a:gd name="connsiteX3426" fmla="*/ 3542805 w 4878487"/>
                <a:gd name="connsiteY3426" fmla="*/ 145961 h 3690338"/>
                <a:gd name="connsiteX3427" fmla="*/ 3540051 w 4878487"/>
                <a:gd name="connsiteY3427" fmla="*/ 145568 h 3690338"/>
                <a:gd name="connsiteX3428" fmla="*/ 3539658 w 4878487"/>
                <a:gd name="connsiteY3428" fmla="*/ 148322 h 3690338"/>
                <a:gd name="connsiteX3429" fmla="*/ 3542412 w 4878487"/>
                <a:gd name="connsiteY3429" fmla="*/ 151469 h 3690338"/>
                <a:gd name="connsiteX3430" fmla="*/ 3539264 w 4878487"/>
                <a:gd name="connsiteY3430" fmla="*/ 151863 h 3690338"/>
                <a:gd name="connsiteX3431" fmla="*/ 3536511 w 4878487"/>
                <a:gd name="connsiteY3431" fmla="*/ 151863 h 3690338"/>
                <a:gd name="connsiteX3432" fmla="*/ 3539658 w 4878487"/>
                <a:gd name="connsiteY3432" fmla="*/ 152256 h 3690338"/>
                <a:gd name="connsiteX3433" fmla="*/ 3543199 w 4878487"/>
                <a:gd name="connsiteY3433" fmla="*/ 152649 h 3690338"/>
                <a:gd name="connsiteX3434" fmla="*/ 3545953 w 4878487"/>
                <a:gd name="connsiteY3434" fmla="*/ 153830 h 3690338"/>
                <a:gd name="connsiteX3435" fmla="*/ 3549100 w 4878487"/>
                <a:gd name="connsiteY3435" fmla="*/ 154223 h 3690338"/>
                <a:gd name="connsiteX3436" fmla="*/ 3550674 w 4878487"/>
                <a:gd name="connsiteY3436" fmla="*/ 156977 h 3690338"/>
                <a:gd name="connsiteX3437" fmla="*/ 3553821 w 4878487"/>
                <a:gd name="connsiteY3437" fmla="*/ 158551 h 3690338"/>
                <a:gd name="connsiteX3438" fmla="*/ 3556969 w 4878487"/>
                <a:gd name="connsiteY3438" fmla="*/ 160125 h 3690338"/>
                <a:gd name="connsiteX3439" fmla="*/ 3560116 w 4878487"/>
                <a:gd name="connsiteY3439" fmla="*/ 161698 h 3690338"/>
                <a:gd name="connsiteX3440" fmla="*/ 3562870 w 4878487"/>
                <a:gd name="connsiteY3440" fmla="*/ 162485 h 3690338"/>
                <a:gd name="connsiteX3441" fmla="*/ 3566018 w 4878487"/>
                <a:gd name="connsiteY3441" fmla="*/ 164059 h 3690338"/>
                <a:gd name="connsiteX3442" fmla="*/ 3566411 w 4878487"/>
                <a:gd name="connsiteY3442" fmla="*/ 164059 h 3690338"/>
                <a:gd name="connsiteX3443" fmla="*/ 3566804 w 4878487"/>
                <a:gd name="connsiteY3443" fmla="*/ 164452 h 3690338"/>
                <a:gd name="connsiteX3444" fmla="*/ 3566411 w 4878487"/>
                <a:gd name="connsiteY3444" fmla="*/ 164452 h 3690338"/>
                <a:gd name="connsiteX3445" fmla="*/ 3562870 w 4878487"/>
                <a:gd name="connsiteY3445" fmla="*/ 164059 h 3690338"/>
                <a:gd name="connsiteX3446" fmla="*/ 3560903 w 4878487"/>
                <a:gd name="connsiteY3446" fmla="*/ 164452 h 3690338"/>
                <a:gd name="connsiteX3447" fmla="*/ 3558149 w 4878487"/>
                <a:gd name="connsiteY3447" fmla="*/ 164452 h 3690338"/>
                <a:gd name="connsiteX3448" fmla="*/ 3556575 w 4878487"/>
                <a:gd name="connsiteY3448" fmla="*/ 164059 h 3690338"/>
                <a:gd name="connsiteX3449" fmla="*/ 3556182 w 4878487"/>
                <a:gd name="connsiteY3449" fmla="*/ 164452 h 3690338"/>
                <a:gd name="connsiteX3450" fmla="*/ 3546740 w 4878487"/>
                <a:gd name="connsiteY3450" fmla="*/ 164452 h 3690338"/>
                <a:gd name="connsiteX3451" fmla="*/ 3544772 w 4878487"/>
                <a:gd name="connsiteY3451" fmla="*/ 163272 h 3690338"/>
                <a:gd name="connsiteX3452" fmla="*/ 3542019 w 4878487"/>
                <a:gd name="connsiteY3452" fmla="*/ 161698 h 3690338"/>
                <a:gd name="connsiteX3453" fmla="*/ 3538871 w 4878487"/>
                <a:gd name="connsiteY3453" fmla="*/ 161305 h 3690338"/>
                <a:gd name="connsiteX3454" fmla="*/ 3535724 w 4878487"/>
                <a:gd name="connsiteY3454" fmla="*/ 160518 h 3690338"/>
                <a:gd name="connsiteX3455" fmla="*/ 3532970 w 4878487"/>
                <a:gd name="connsiteY3455" fmla="*/ 160125 h 3690338"/>
                <a:gd name="connsiteX3456" fmla="*/ 3532183 w 4878487"/>
                <a:gd name="connsiteY3456" fmla="*/ 162879 h 3690338"/>
                <a:gd name="connsiteX3457" fmla="*/ 3529035 w 4878487"/>
                <a:gd name="connsiteY3457" fmla="*/ 160518 h 3690338"/>
                <a:gd name="connsiteX3458" fmla="*/ 3525888 w 4878487"/>
                <a:gd name="connsiteY3458" fmla="*/ 160911 h 3690338"/>
                <a:gd name="connsiteX3459" fmla="*/ 3522741 w 4878487"/>
                <a:gd name="connsiteY3459" fmla="*/ 161305 h 3690338"/>
                <a:gd name="connsiteX3460" fmla="*/ 3523921 w 4878487"/>
                <a:gd name="connsiteY3460" fmla="*/ 163665 h 3690338"/>
                <a:gd name="connsiteX3461" fmla="*/ 3521954 w 4878487"/>
                <a:gd name="connsiteY3461" fmla="*/ 163665 h 3690338"/>
                <a:gd name="connsiteX3462" fmla="*/ 3522347 w 4878487"/>
                <a:gd name="connsiteY3462" fmla="*/ 163272 h 3690338"/>
                <a:gd name="connsiteX3463" fmla="*/ 3519593 w 4878487"/>
                <a:gd name="connsiteY3463" fmla="*/ 161698 h 3690338"/>
                <a:gd name="connsiteX3464" fmla="*/ 3516446 w 4878487"/>
                <a:gd name="connsiteY3464" fmla="*/ 161305 h 3690338"/>
                <a:gd name="connsiteX3465" fmla="*/ 3513298 w 4878487"/>
                <a:gd name="connsiteY3465" fmla="*/ 160911 h 3690338"/>
                <a:gd name="connsiteX3466" fmla="*/ 3509757 w 4878487"/>
                <a:gd name="connsiteY3466" fmla="*/ 161305 h 3690338"/>
                <a:gd name="connsiteX3467" fmla="*/ 3506610 w 4878487"/>
                <a:gd name="connsiteY3467" fmla="*/ 161305 h 3690338"/>
                <a:gd name="connsiteX3468" fmla="*/ 3503856 w 4878487"/>
                <a:gd name="connsiteY3468" fmla="*/ 161698 h 3690338"/>
                <a:gd name="connsiteX3469" fmla="*/ 3505823 w 4878487"/>
                <a:gd name="connsiteY3469" fmla="*/ 163272 h 3690338"/>
                <a:gd name="connsiteX3470" fmla="*/ 3497561 w 4878487"/>
                <a:gd name="connsiteY3470" fmla="*/ 163272 h 3690338"/>
                <a:gd name="connsiteX3471" fmla="*/ 3497168 w 4878487"/>
                <a:gd name="connsiteY3471" fmla="*/ 163272 h 3690338"/>
                <a:gd name="connsiteX3472" fmla="*/ 3494020 w 4878487"/>
                <a:gd name="connsiteY3472" fmla="*/ 162879 h 3690338"/>
                <a:gd name="connsiteX3473" fmla="*/ 3491266 w 4878487"/>
                <a:gd name="connsiteY3473" fmla="*/ 163272 h 3690338"/>
                <a:gd name="connsiteX3474" fmla="*/ 3488513 w 4878487"/>
                <a:gd name="connsiteY3474" fmla="*/ 161698 h 3690338"/>
                <a:gd name="connsiteX3475" fmla="*/ 3485365 w 4878487"/>
                <a:gd name="connsiteY3475" fmla="*/ 161698 h 3690338"/>
                <a:gd name="connsiteX3476" fmla="*/ 3482611 w 4878487"/>
                <a:gd name="connsiteY3476" fmla="*/ 161305 h 3690338"/>
                <a:gd name="connsiteX3477" fmla="*/ 3479464 w 4878487"/>
                <a:gd name="connsiteY3477" fmla="*/ 160518 h 3690338"/>
                <a:gd name="connsiteX3478" fmla="*/ 3476316 w 4878487"/>
                <a:gd name="connsiteY3478" fmla="*/ 160125 h 3690338"/>
                <a:gd name="connsiteX3479" fmla="*/ 3473562 w 4878487"/>
                <a:gd name="connsiteY3479" fmla="*/ 159731 h 3690338"/>
                <a:gd name="connsiteX3480" fmla="*/ 3470809 w 4878487"/>
                <a:gd name="connsiteY3480" fmla="*/ 160125 h 3690338"/>
                <a:gd name="connsiteX3481" fmla="*/ 3467661 w 4878487"/>
                <a:gd name="connsiteY3481" fmla="*/ 160518 h 3690338"/>
                <a:gd name="connsiteX3482" fmla="*/ 3464907 w 4878487"/>
                <a:gd name="connsiteY3482" fmla="*/ 162485 h 3690338"/>
                <a:gd name="connsiteX3483" fmla="*/ 3461760 w 4878487"/>
                <a:gd name="connsiteY3483" fmla="*/ 163272 h 3690338"/>
                <a:gd name="connsiteX3484" fmla="*/ 3459006 w 4878487"/>
                <a:gd name="connsiteY3484" fmla="*/ 162879 h 3690338"/>
                <a:gd name="connsiteX3485" fmla="*/ 3457432 w 4878487"/>
                <a:gd name="connsiteY3485" fmla="*/ 165632 h 3690338"/>
                <a:gd name="connsiteX3486" fmla="*/ 3446022 w 4878487"/>
                <a:gd name="connsiteY3486" fmla="*/ 166813 h 3690338"/>
                <a:gd name="connsiteX3487" fmla="*/ 3441695 w 4878487"/>
                <a:gd name="connsiteY3487" fmla="*/ 166419 h 3690338"/>
                <a:gd name="connsiteX3488" fmla="*/ 3438547 w 4878487"/>
                <a:gd name="connsiteY3488" fmla="*/ 166026 h 3690338"/>
                <a:gd name="connsiteX3489" fmla="*/ 3435006 w 4878487"/>
                <a:gd name="connsiteY3489" fmla="*/ 165632 h 3690338"/>
                <a:gd name="connsiteX3490" fmla="*/ 3431859 w 4878487"/>
                <a:gd name="connsiteY3490" fmla="*/ 165239 h 3690338"/>
                <a:gd name="connsiteX3491" fmla="*/ 3429105 w 4878487"/>
                <a:gd name="connsiteY3491" fmla="*/ 164846 h 3690338"/>
                <a:gd name="connsiteX3492" fmla="*/ 3425958 w 4878487"/>
                <a:gd name="connsiteY3492" fmla="*/ 164059 h 3690338"/>
                <a:gd name="connsiteX3493" fmla="*/ 3422417 w 4878487"/>
                <a:gd name="connsiteY3493" fmla="*/ 163272 h 3690338"/>
                <a:gd name="connsiteX3494" fmla="*/ 3419269 w 4878487"/>
                <a:gd name="connsiteY3494" fmla="*/ 162092 h 3690338"/>
                <a:gd name="connsiteX3495" fmla="*/ 3416122 w 4878487"/>
                <a:gd name="connsiteY3495" fmla="*/ 161305 h 3690338"/>
                <a:gd name="connsiteX3496" fmla="*/ 3413368 w 4878487"/>
                <a:gd name="connsiteY3496" fmla="*/ 159731 h 3690338"/>
                <a:gd name="connsiteX3497" fmla="*/ 3410221 w 4878487"/>
                <a:gd name="connsiteY3497" fmla="*/ 158944 h 3690338"/>
                <a:gd name="connsiteX3498" fmla="*/ 3407073 w 4878487"/>
                <a:gd name="connsiteY3498" fmla="*/ 157371 h 3690338"/>
                <a:gd name="connsiteX3499" fmla="*/ 3403926 w 4878487"/>
                <a:gd name="connsiteY3499" fmla="*/ 156977 h 3690338"/>
                <a:gd name="connsiteX3500" fmla="*/ 3400385 w 4878487"/>
                <a:gd name="connsiteY3500" fmla="*/ 154617 h 3690338"/>
                <a:gd name="connsiteX3501" fmla="*/ 3397237 w 4878487"/>
                <a:gd name="connsiteY3501" fmla="*/ 152256 h 3690338"/>
                <a:gd name="connsiteX3502" fmla="*/ 3394484 w 4878487"/>
                <a:gd name="connsiteY3502" fmla="*/ 154617 h 3690338"/>
                <a:gd name="connsiteX3503" fmla="*/ 3395270 w 4878487"/>
                <a:gd name="connsiteY3503" fmla="*/ 157371 h 3690338"/>
                <a:gd name="connsiteX3504" fmla="*/ 3395664 w 4878487"/>
                <a:gd name="connsiteY3504" fmla="*/ 160125 h 3690338"/>
                <a:gd name="connsiteX3505" fmla="*/ 3397237 w 4878487"/>
                <a:gd name="connsiteY3505" fmla="*/ 162879 h 3690338"/>
                <a:gd name="connsiteX3506" fmla="*/ 3398811 w 4878487"/>
                <a:gd name="connsiteY3506" fmla="*/ 165632 h 3690338"/>
                <a:gd name="connsiteX3507" fmla="*/ 3400778 w 4878487"/>
                <a:gd name="connsiteY3507" fmla="*/ 168386 h 3690338"/>
                <a:gd name="connsiteX3508" fmla="*/ 3403532 w 4878487"/>
                <a:gd name="connsiteY3508" fmla="*/ 170747 h 3690338"/>
                <a:gd name="connsiteX3509" fmla="*/ 3405893 w 4878487"/>
                <a:gd name="connsiteY3509" fmla="*/ 171534 h 3690338"/>
                <a:gd name="connsiteX3510" fmla="*/ 3366551 w 4878487"/>
                <a:gd name="connsiteY3510" fmla="*/ 175862 h 3690338"/>
                <a:gd name="connsiteX3511" fmla="*/ 3329962 w 4878487"/>
                <a:gd name="connsiteY3511" fmla="*/ 156977 h 3690338"/>
                <a:gd name="connsiteX3512" fmla="*/ 3330355 w 4878487"/>
                <a:gd name="connsiteY3512" fmla="*/ 156977 h 3690338"/>
                <a:gd name="connsiteX3513" fmla="*/ 3333896 w 4878487"/>
                <a:gd name="connsiteY3513" fmla="*/ 157764 h 3690338"/>
                <a:gd name="connsiteX3514" fmla="*/ 3330748 w 4878487"/>
                <a:gd name="connsiteY3514" fmla="*/ 156190 h 3690338"/>
                <a:gd name="connsiteX3515" fmla="*/ 3327601 w 4878487"/>
                <a:gd name="connsiteY3515" fmla="*/ 155010 h 3690338"/>
                <a:gd name="connsiteX3516" fmla="*/ 3324454 w 4878487"/>
                <a:gd name="connsiteY3516" fmla="*/ 153043 h 3690338"/>
                <a:gd name="connsiteX3517" fmla="*/ 3321306 w 4878487"/>
                <a:gd name="connsiteY3517" fmla="*/ 151863 h 3690338"/>
                <a:gd name="connsiteX3518" fmla="*/ 3318552 w 4878487"/>
                <a:gd name="connsiteY3518" fmla="*/ 150682 h 3690338"/>
                <a:gd name="connsiteX3519" fmla="*/ 3316192 w 4878487"/>
                <a:gd name="connsiteY3519" fmla="*/ 150289 h 3690338"/>
                <a:gd name="connsiteX3520" fmla="*/ 3296520 w 4878487"/>
                <a:gd name="connsiteY3520" fmla="*/ 147141 h 3690338"/>
                <a:gd name="connsiteX3521" fmla="*/ 3296127 w 4878487"/>
                <a:gd name="connsiteY3521" fmla="*/ 146748 h 3690338"/>
                <a:gd name="connsiteX3522" fmla="*/ 3292586 w 4878487"/>
                <a:gd name="connsiteY3522" fmla="*/ 145174 h 3690338"/>
                <a:gd name="connsiteX3523" fmla="*/ 3291406 w 4878487"/>
                <a:gd name="connsiteY3523" fmla="*/ 143601 h 3690338"/>
                <a:gd name="connsiteX3524" fmla="*/ 3300848 w 4878487"/>
                <a:gd name="connsiteY3524" fmla="*/ 145174 h 3690338"/>
                <a:gd name="connsiteX3525" fmla="*/ 3302028 w 4878487"/>
                <a:gd name="connsiteY3525" fmla="*/ 146748 h 3690338"/>
                <a:gd name="connsiteX3526" fmla="*/ 3304782 w 4878487"/>
                <a:gd name="connsiteY3526" fmla="*/ 147141 h 3690338"/>
                <a:gd name="connsiteX3527" fmla="*/ 3308323 w 4878487"/>
                <a:gd name="connsiteY3527" fmla="*/ 147928 h 3690338"/>
                <a:gd name="connsiteX3528" fmla="*/ 3314618 w 4878487"/>
                <a:gd name="connsiteY3528" fmla="*/ 147928 h 3690338"/>
                <a:gd name="connsiteX3529" fmla="*/ 3317766 w 4878487"/>
                <a:gd name="connsiteY3529" fmla="*/ 147535 h 3690338"/>
                <a:gd name="connsiteX3530" fmla="*/ 3320913 w 4878487"/>
                <a:gd name="connsiteY3530" fmla="*/ 145961 h 3690338"/>
                <a:gd name="connsiteX3531" fmla="*/ 3317766 w 4878487"/>
                <a:gd name="connsiteY3531" fmla="*/ 145568 h 3690338"/>
                <a:gd name="connsiteX3532" fmla="*/ 3320519 w 4878487"/>
                <a:gd name="connsiteY3532" fmla="*/ 143207 h 3690338"/>
                <a:gd name="connsiteX3533" fmla="*/ 3317766 w 4878487"/>
                <a:gd name="connsiteY3533" fmla="*/ 142814 h 3690338"/>
                <a:gd name="connsiteX3534" fmla="*/ 3314618 w 4878487"/>
                <a:gd name="connsiteY3534" fmla="*/ 142027 h 3690338"/>
                <a:gd name="connsiteX3535" fmla="*/ 3315011 w 4878487"/>
                <a:gd name="connsiteY3535" fmla="*/ 140453 h 3690338"/>
                <a:gd name="connsiteX3536" fmla="*/ 3313438 w 4878487"/>
                <a:gd name="connsiteY3536" fmla="*/ 139666 h 3690338"/>
                <a:gd name="connsiteX3537" fmla="*/ 3310684 w 4878487"/>
                <a:gd name="connsiteY3537" fmla="*/ 139273 h 3690338"/>
                <a:gd name="connsiteX3538" fmla="*/ 3307930 w 4878487"/>
                <a:gd name="connsiteY3538" fmla="*/ 138880 h 3690338"/>
                <a:gd name="connsiteX3539" fmla="*/ 3307143 w 4878487"/>
                <a:gd name="connsiteY3539" fmla="*/ 137699 h 3690338"/>
                <a:gd name="connsiteX3540" fmla="*/ 3303996 w 4878487"/>
                <a:gd name="connsiteY3540" fmla="*/ 137306 h 3690338"/>
                <a:gd name="connsiteX3541" fmla="*/ 3300848 w 4878487"/>
                <a:gd name="connsiteY3541" fmla="*/ 137306 h 3690338"/>
                <a:gd name="connsiteX3542" fmla="*/ 3298488 w 4878487"/>
                <a:gd name="connsiteY3542" fmla="*/ 137699 h 3690338"/>
                <a:gd name="connsiteX3543" fmla="*/ 3285898 w 4878487"/>
                <a:gd name="connsiteY3543" fmla="*/ 135732 h 3690338"/>
                <a:gd name="connsiteX3544" fmla="*/ 3285111 w 4878487"/>
                <a:gd name="connsiteY3544" fmla="*/ 135339 h 3690338"/>
                <a:gd name="connsiteX3545" fmla="*/ 3285111 w 4878487"/>
                <a:gd name="connsiteY3545" fmla="*/ 135732 h 3690338"/>
                <a:gd name="connsiteX3546" fmla="*/ 3287078 w 4878487"/>
                <a:gd name="connsiteY3546" fmla="*/ 135732 h 3690338"/>
                <a:gd name="connsiteX3547" fmla="*/ 3289832 w 4878487"/>
                <a:gd name="connsiteY3547" fmla="*/ 136126 h 3690338"/>
                <a:gd name="connsiteX3548" fmla="*/ 3292979 w 4878487"/>
                <a:gd name="connsiteY3548" fmla="*/ 136126 h 3690338"/>
                <a:gd name="connsiteX3549" fmla="*/ 3296127 w 4878487"/>
                <a:gd name="connsiteY3549" fmla="*/ 134552 h 3690338"/>
                <a:gd name="connsiteX3550" fmla="*/ 3292979 w 4878487"/>
                <a:gd name="connsiteY3550" fmla="*/ 133372 h 3690338"/>
                <a:gd name="connsiteX3551" fmla="*/ 3292586 w 4878487"/>
                <a:gd name="connsiteY3551" fmla="*/ 132585 h 3690338"/>
                <a:gd name="connsiteX3552" fmla="*/ 3294947 w 4878487"/>
                <a:gd name="connsiteY3552" fmla="*/ 132978 h 3690338"/>
                <a:gd name="connsiteX3553" fmla="*/ 3298094 w 4878487"/>
                <a:gd name="connsiteY3553" fmla="*/ 132585 h 3690338"/>
                <a:gd name="connsiteX3554" fmla="*/ 3298488 w 4878487"/>
                <a:gd name="connsiteY3554" fmla="*/ 131798 h 3690338"/>
                <a:gd name="connsiteX3555" fmla="*/ 3295734 w 4878487"/>
                <a:gd name="connsiteY3555" fmla="*/ 131404 h 3690338"/>
                <a:gd name="connsiteX3556" fmla="*/ 3292586 w 4878487"/>
                <a:gd name="connsiteY3556" fmla="*/ 131011 h 3690338"/>
                <a:gd name="connsiteX3557" fmla="*/ 3289045 w 4878487"/>
                <a:gd name="connsiteY3557" fmla="*/ 130618 h 3690338"/>
                <a:gd name="connsiteX3558" fmla="*/ 3285898 w 4878487"/>
                <a:gd name="connsiteY3558" fmla="*/ 130224 h 3690338"/>
                <a:gd name="connsiteX3559" fmla="*/ 3287865 w 4878487"/>
                <a:gd name="connsiteY3559" fmla="*/ 129437 h 3690338"/>
                <a:gd name="connsiteX3560" fmla="*/ 3291012 w 4878487"/>
                <a:gd name="connsiteY3560" fmla="*/ 129831 h 3690338"/>
                <a:gd name="connsiteX3561" fmla="*/ 3293767 w 4878487"/>
                <a:gd name="connsiteY3561" fmla="*/ 128650 h 3690338"/>
                <a:gd name="connsiteX3562" fmla="*/ 3292586 w 4878487"/>
                <a:gd name="connsiteY3562" fmla="*/ 127864 h 3690338"/>
                <a:gd name="connsiteX3563" fmla="*/ 3289045 w 4878487"/>
                <a:gd name="connsiteY3563" fmla="*/ 127470 h 3690338"/>
                <a:gd name="connsiteX3564" fmla="*/ 3285898 w 4878487"/>
                <a:gd name="connsiteY3564" fmla="*/ 127077 h 3690338"/>
                <a:gd name="connsiteX3565" fmla="*/ 3282750 w 4878487"/>
                <a:gd name="connsiteY3565" fmla="*/ 126683 h 3690338"/>
                <a:gd name="connsiteX3566" fmla="*/ 3279603 w 4878487"/>
                <a:gd name="connsiteY3566" fmla="*/ 126290 h 3690338"/>
                <a:gd name="connsiteX3567" fmla="*/ 3276456 w 4878487"/>
                <a:gd name="connsiteY3567" fmla="*/ 126290 h 3690338"/>
                <a:gd name="connsiteX3568" fmla="*/ 3276062 w 4878487"/>
                <a:gd name="connsiteY3568" fmla="*/ 125896 h 3690338"/>
                <a:gd name="connsiteX3569" fmla="*/ 3275669 w 4878487"/>
                <a:gd name="connsiteY3569" fmla="*/ 125503 h 3690338"/>
                <a:gd name="connsiteX3570" fmla="*/ 3276062 w 4878487"/>
                <a:gd name="connsiteY3570" fmla="*/ 125503 h 3690338"/>
                <a:gd name="connsiteX3571" fmla="*/ 3279210 w 4878487"/>
                <a:gd name="connsiteY3571" fmla="*/ 125110 h 3690338"/>
                <a:gd name="connsiteX3572" fmla="*/ 3281964 w 4878487"/>
                <a:gd name="connsiteY3572" fmla="*/ 123929 h 3690338"/>
                <a:gd name="connsiteX3573" fmla="*/ 3283931 w 4878487"/>
                <a:gd name="connsiteY3573" fmla="*/ 121175 h 3690338"/>
                <a:gd name="connsiteX3574" fmla="*/ 3281177 w 4878487"/>
                <a:gd name="connsiteY3574" fmla="*/ 119995 h 3690338"/>
                <a:gd name="connsiteX3575" fmla="*/ 3277636 w 4878487"/>
                <a:gd name="connsiteY3575" fmla="*/ 121569 h 3690338"/>
                <a:gd name="connsiteX3576" fmla="*/ 3277242 w 4878487"/>
                <a:gd name="connsiteY3576" fmla="*/ 121175 h 3690338"/>
                <a:gd name="connsiteX3577" fmla="*/ 3275669 w 4878487"/>
                <a:gd name="connsiteY3577" fmla="*/ 118028 h 3690338"/>
                <a:gd name="connsiteX3578" fmla="*/ 3272521 w 4878487"/>
                <a:gd name="connsiteY3578" fmla="*/ 117241 h 3690338"/>
                <a:gd name="connsiteX3579" fmla="*/ 3269374 w 4878487"/>
                <a:gd name="connsiteY3579" fmla="*/ 116454 h 3690338"/>
                <a:gd name="connsiteX3580" fmla="*/ 3265833 w 4878487"/>
                <a:gd name="connsiteY3580" fmla="*/ 116061 h 3690338"/>
                <a:gd name="connsiteX3581" fmla="*/ 3262686 w 4878487"/>
                <a:gd name="connsiteY3581" fmla="*/ 116454 h 3690338"/>
                <a:gd name="connsiteX3582" fmla="*/ 3259538 w 4878487"/>
                <a:gd name="connsiteY3582" fmla="*/ 116061 h 3690338"/>
                <a:gd name="connsiteX3583" fmla="*/ 3259538 w 4878487"/>
                <a:gd name="connsiteY3583" fmla="*/ 114880 h 3690338"/>
                <a:gd name="connsiteX3584" fmla="*/ 3256391 w 4878487"/>
                <a:gd name="connsiteY3584" fmla="*/ 113307 h 3690338"/>
                <a:gd name="connsiteX3585" fmla="*/ 3253243 w 4878487"/>
                <a:gd name="connsiteY3585" fmla="*/ 113307 h 3690338"/>
                <a:gd name="connsiteX3586" fmla="*/ 3250490 w 4878487"/>
                <a:gd name="connsiteY3586" fmla="*/ 111733 h 3690338"/>
                <a:gd name="connsiteX3587" fmla="*/ 3246949 w 4878487"/>
                <a:gd name="connsiteY3587" fmla="*/ 111340 h 3690338"/>
                <a:gd name="connsiteX3588" fmla="*/ 3247735 w 4878487"/>
                <a:gd name="connsiteY3588" fmla="*/ 110553 h 3690338"/>
                <a:gd name="connsiteX3589" fmla="*/ 3244982 w 4878487"/>
                <a:gd name="connsiteY3589" fmla="*/ 110159 h 3690338"/>
                <a:gd name="connsiteX3590" fmla="*/ 3241834 w 4878487"/>
                <a:gd name="connsiteY3590" fmla="*/ 109766 h 3690338"/>
                <a:gd name="connsiteX3591" fmla="*/ 3235933 w 4878487"/>
                <a:gd name="connsiteY3591" fmla="*/ 109766 h 3690338"/>
                <a:gd name="connsiteX3592" fmla="*/ 3233179 w 4878487"/>
                <a:gd name="connsiteY3592" fmla="*/ 109373 h 3690338"/>
                <a:gd name="connsiteX3593" fmla="*/ 3229638 w 4878487"/>
                <a:gd name="connsiteY3593" fmla="*/ 108586 h 3690338"/>
                <a:gd name="connsiteX3594" fmla="*/ 3226097 w 4878487"/>
                <a:gd name="connsiteY3594" fmla="*/ 108192 h 3690338"/>
                <a:gd name="connsiteX3595" fmla="*/ 3223343 w 4878487"/>
                <a:gd name="connsiteY3595" fmla="*/ 108979 h 3690338"/>
                <a:gd name="connsiteX3596" fmla="*/ 3226490 w 4878487"/>
                <a:gd name="connsiteY3596" fmla="*/ 111340 h 3690338"/>
                <a:gd name="connsiteX3597" fmla="*/ 3223737 w 4878487"/>
                <a:gd name="connsiteY3597" fmla="*/ 111733 h 3690338"/>
                <a:gd name="connsiteX3598" fmla="*/ 3220589 w 4878487"/>
                <a:gd name="connsiteY3598" fmla="*/ 112913 h 3690338"/>
                <a:gd name="connsiteX3599" fmla="*/ 3219802 w 4878487"/>
                <a:gd name="connsiteY3599" fmla="*/ 112913 h 3690338"/>
                <a:gd name="connsiteX3600" fmla="*/ 3219016 w 4878487"/>
                <a:gd name="connsiteY3600" fmla="*/ 113307 h 3690338"/>
                <a:gd name="connsiteX3601" fmla="*/ 3218228 w 4878487"/>
                <a:gd name="connsiteY3601" fmla="*/ 113700 h 3690338"/>
                <a:gd name="connsiteX3602" fmla="*/ 3216261 w 4878487"/>
                <a:gd name="connsiteY3602" fmla="*/ 112127 h 3690338"/>
                <a:gd name="connsiteX3603" fmla="*/ 3213508 w 4878487"/>
                <a:gd name="connsiteY3603" fmla="*/ 112127 h 3690338"/>
                <a:gd name="connsiteX3604" fmla="*/ 3210360 w 4878487"/>
                <a:gd name="connsiteY3604" fmla="*/ 110553 h 3690338"/>
                <a:gd name="connsiteX3605" fmla="*/ 3213508 w 4878487"/>
                <a:gd name="connsiteY3605" fmla="*/ 108979 h 3690338"/>
                <a:gd name="connsiteX3606" fmla="*/ 3210360 w 4878487"/>
                <a:gd name="connsiteY3606" fmla="*/ 108192 h 3690338"/>
                <a:gd name="connsiteX3607" fmla="*/ 3207606 w 4878487"/>
                <a:gd name="connsiteY3607" fmla="*/ 108586 h 3690338"/>
                <a:gd name="connsiteX3608" fmla="*/ 3204459 w 4878487"/>
                <a:gd name="connsiteY3608" fmla="*/ 108979 h 3690338"/>
                <a:gd name="connsiteX3609" fmla="*/ 3202885 w 4878487"/>
                <a:gd name="connsiteY3609" fmla="*/ 109766 h 3690338"/>
                <a:gd name="connsiteX3610" fmla="*/ 3185181 w 4878487"/>
                <a:gd name="connsiteY3610" fmla="*/ 105832 h 3690338"/>
                <a:gd name="connsiteX3611" fmla="*/ 3184787 w 4878487"/>
                <a:gd name="connsiteY3611" fmla="*/ 105438 h 3690338"/>
                <a:gd name="connsiteX3612" fmla="*/ 3181640 w 4878487"/>
                <a:gd name="connsiteY3612" fmla="*/ 104651 h 3690338"/>
                <a:gd name="connsiteX3613" fmla="*/ 3178492 w 4878487"/>
                <a:gd name="connsiteY3613" fmla="*/ 104258 h 3690338"/>
                <a:gd name="connsiteX3614" fmla="*/ 3175739 w 4878487"/>
                <a:gd name="connsiteY3614" fmla="*/ 103865 h 3690338"/>
                <a:gd name="connsiteX3615" fmla="*/ 3172591 w 4878487"/>
                <a:gd name="connsiteY3615" fmla="*/ 103471 h 3690338"/>
                <a:gd name="connsiteX3616" fmla="*/ 3169443 w 4878487"/>
                <a:gd name="connsiteY3616" fmla="*/ 103078 h 3690338"/>
                <a:gd name="connsiteX3617" fmla="*/ 3166296 w 4878487"/>
                <a:gd name="connsiteY3617" fmla="*/ 102291 h 3690338"/>
                <a:gd name="connsiteX3618" fmla="*/ 3163542 w 4878487"/>
                <a:gd name="connsiteY3618" fmla="*/ 101897 h 3690338"/>
                <a:gd name="connsiteX3619" fmla="*/ 3160395 w 4878487"/>
                <a:gd name="connsiteY3619" fmla="*/ 103471 h 3690338"/>
                <a:gd name="connsiteX3620" fmla="*/ 3157641 w 4878487"/>
                <a:gd name="connsiteY3620" fmla="*/ 103078 h 3690338"/>
                <a:gd name="connsiteX3621" fmla="*/ 3154100 w 4878487"/>
                <a:gd name="connsiteY3621" fmla="*/ 101897 h 3690338"/>
                <a:gd name="connsiteX3622" fmla="*/ 3157641 w 4878487"/>
                <a:gd name="connsiteY3622" fmla="*/ 104651 h 3690338"/>
                <a:gd name="connsiteX3623" fmla="*/ 3154494 w 4878487"/>
                <a:gd name="connsiteY3623" fmla="*/ 106225 h 3690338"/>
                <a:gd name="connsiteX3624" fmla="*/ 3151739 w 4878487"/>
                <a:gd name="connsiteY3624" fmla="*/ 105045 h 3690338"/>
                <a:gd name="connsiteX3625" fmla="*/ 3148985 w 4878487"/>
                <a:gd name="connsiteY3625" fmla="*/ 103471 h 3690338"/>
                <a:gd name="connsiteX3626" fmla="*/ 3148985 w 4878487"/>
                <a:gd name="connsiteY3626" fmla="*/ 106225 h 3690338"/>
                <a:gd name="connsiteX3627" fmla="*/ 3150559 w 4878487"/>
                <a:gd name="connsiteY3627" fmla="*/ 109373 h 3690338"/>
                <a:gd name="connsiteX3628" fmla="*/ 3153313 w 4878487"/>
                <a:gd name="connsiteY3628" fmla="*/ 110159 h 3690338"/>
                <a:gd name="connsiteX3629" fmla="*/ 3156067 w 4878487"/>
                <a:gd name="connsiteY3629" fmla="*/ 112520 h 3690338"/>
                <a:gd name="connsiteX3630" fmla="*/ 3159214 w 4878487"/>
                <a:gd name="connsiteY3630" fmla="*/ 114880 h 3690338"/>
                <a:gd name="connsiteX3631" fmla="*/ 3161969 w 4878487"/>
                <a:gd name="connsiteY3631" fmla="*/ 116454 h 3690338"/>
                <a:gd name="connsiteX3632" fmla="*/ 3164329 w 4878487"/>
                <a:gd name="connsiteY3632" fmla="*/ 117241 h 3690338"/>
                <a:gd name="connsiteX3633" fmla="*/ 3163149 w 4878487"/>
                <a:gd name="connsiteY3633" fmla="*/ 118421 h 3690338"/>
                <a:gd name="connsiteX3634" fmla="*/ 3162362 w 4878487"/>
                <a:gd name="connsiteY3634" fmla="*/ 118815 h 3690338"/>
                <a:gd name="connsiteX3635" fmla="*/ 3162362 w 4878487"/>
                <a:gd name="connsiteY3635" fmla="*/ 119208 h 3690338"/>
                <a:gd name="connsiteX3636" fmla="*/ 3162755 w 4878487"/>
                <a:gd name="connsiteY3636" fmla="*/ 119602 h 3690338"/>
                <a:gd name="connsiteX3637" fmla="*/ 3163149 w 4878487"/>
                <a:gd name="connsiteY3637" fmla="*/ 119602 h 3690338"/>
                <a:gd name="connsiteX3638" fmla="*/ 3152133 w 4878487"/>
                <a:gd name="connsiteY3638" fmla="*/ 123142 h 3690338"/>
                <a:gd name="connsiteX3639" fmla="*/ 3151346 w 4878487"/>
                <a:gd name="connsiteY3639" fmla="*/ 123142 h 3690338"/>
                <a:gd name="connsiteX3640" fmla="*/ 3148592 w 4878487"/>
                <a:gd name="connsiteY3640" fmla="*/ 123536 h 3690338"/>
                <a:gd name="connsiteX3641" fmla="*/ 3148985 w 4878487"/>
                <a:gd name="connsiteY3641" fmla="*/ 124323 h 3690338"/>
                <a:gd name="connsiteX3642" fmla="*/ 3145445 w 4878487"/>
                <a:gd name="connsiteY3642" fmla="*/ 124716 h 3690338"/>
                <a:gd name="connsiteX3643" fmla="*/ 3141904 w 4878487"/>
                <a:gd name="connsiteY3643" fmla="*/ 124323 h 3690338"/>
                <a:gd name="connsiteX3644" fmla="*/ 3139936 w 4878487"/>
                <a:gd name="connsiteY3644" fmla="*/ 124716 h 3690338"/>
                <a:gd name="connsiteX3645" fmla="*/ 3136789 w 4878487"/>
                <a:gd name="connsiteY3645" fmla="*/ 124323 h 3690338"/>
                <a:gd name="connsiteX3646" fmla="*/ 3131281 w 4878487"/>
                <a:gd name="connsiteY3646" fmla="*/ 124323 h 3690338"/>
                <a:gd name="connsiteX3647" fmla="*/ 3097447 w 4878487"/>
                <a:gd name="connsiteY3647" fmla="*/ 123142 h 3690338"/>
                <a:gd name="connsiteX3648" fmla="*/ 3093906 w 4878487"/>
                <a:gd name="connsiteY3648" fmla="*/ 123142 h 3690338"/>
                <a:gd name="connsiteX3649" fmla="*/ 3092332 w 4878487"/>
                <a:gd name="connsiteY3649" fmla="*/ 123536 h 3690338"/>
                <a:gd name="connsiteX3650" fmla="*/ 3091939 w 4878487"/>
                <a:gd name="connsiteY3650" fmla="*/ 123536 h 3690338"/>
                <a:gd name="connsiteX3651" fmla="*/ 3091152 w 4878487"/>
                <a:gd name="connsiteY3651" fmla="*/ 123929 h 3690338"/>
                <a:gd name="connsiteX3652" fmla="*/ 3088398 w 4878487"/>
                <a:gd name="connsiteY3652" fmla="*/ 123536 h 3690338"/>
                <a:gd name="connsiteX3653" fmla="*/ 3084857 w 4878487"/>
                <a:gd name="connsiteY3653" fmla="*/ 121962 h 3690338"/>
                <a:gd name="connsiteX3654" fmla="*/ 3082103 w 4878487"/>
                <a:gd name="connsiteY3654" fmla="*/ 121962 h 3690338"/>
                <a:gd name="connsiteX3655" fmla="*/ 3078562 w 4878487"/>
                <a:gd name="connsiteY3655" fmla="*/ 121569 h 3690338"/>
                <a:gd name="connsiteX3656" fmla="*/ 3075415 w 4878487"/>
                <a:gd name="connsiteY3656" fmla="*/ 121175 h 3690338"/>
                <a:gd name="connsiteX3657" fmla="*/ 3069907 w 4878487"/>
                <a:gd name="connsiteY3657" fmla="*/ 119995 h 3690338"/>
                <a:gd name="connsiteX3658" fmla="*/ 3066759 w 4878487"/>
                <a:gd name="connsiteY3658" fmla="*/ 119602 h 3690338"/>
                <a:gd name="connsiteX3659" fmla="*/ 3063612 w 4878487"/>
                <a:gd name="connsiteY3659" fmla="*/ 119208 h 3690338"/>
                <a:gd name="connsiteX3660" fmla="*/ 3060465 w 4878487"/>
                <a:gd name="connsiteY3660" fmla="*/ 118815 h 3690338"/>
                <a:gd name="connsiteX3661" fmla="*/ 3057711 w 4878487"/>
                <a:gd name="connsiteY3661" fmla="*/ 118028 h 3690338"/>
                <a:gd name="connsiteX3662" fmla="*/ 3054956 w 4878487"/>
                <a:gd name="connsiteY3662" fmla="*/ 116454 h 3690338"/>
                <a:gd name="connsiteX3663" fmla="*/ 3051809 w 4878487"/>
                <a:gd name="connsiteY3663" fmla="*/ 113700 h 3690338"/>
                <a:gd name="connsiteX3664" fmla="*/ 3054563 w 4878487"/>
                <a:gd name="connsiteY3664" fmla="*/ 111733 h 3690338"/>
                <a:gd name="connsiteX3665" fmla="*/ 3057317 w 4878487"/>
                <a:gd name="connsiteY3665" fmla="*/ 112127 h 3690338"/>
                <a:gd name="connsiteX3666" fmla="*/ 3060465 w 4878487"/>
                <a:gd name="connsiteY3666" fmla="*/ 112127 h 3690338"/>
                <a:gd name="connsiteX3667" fmla="*/ 3057317 w 4878487"/>
                <a:gd name="connsiteY3667" fmla="*/ 109766 h 3690338"/>
                <a:gd name="connsiteX3668" fmla="*/ 3054563 w 4878487"/>
                <a:gd name="connsiteY3668" fmla="*/ 109373 h 3690338"/>
                <a:gd name="connsiteX3669" fmla="*/ 3051809 w 4878487"/>
                <a:gd name="connsiteY3669" fmla="*/ 108979 h 3690338"/>
                <a:gd name="connsiteX3670" fmla="*/ 3048268 w 4878487"/>
                <a:gd name="connsiteY3670" fmla="*/ 108586 h 3690338"/>
                <a:gd name="connsiteX3671" fmla="*/ 3045514 w 4878487"/>
                <a:gd name="connsiteY3671" fmla="*/ 108979 h 3690338"/>
                <a:gd name="connsiteX3672" fmla="*/ 3042367 w 4878487"/>
                <a:gd name="connsiteY3672" fmla="*/ 108586 h 3690338"/>
                <a:gd name="connsiteX3673" fmla="*/ 3024269 w 4878487"/>
                <a:gd name="connsiteY3673" fmla="*/ 108586 h 3690338"/>
                <a:gd name="connsiteX3674" fmla="*/ 3020729 w 4878487"/>
                <a:gd name="connsiteY3674" fmla="*/ 108192 h 3690338"/>
                <a:gd name="connsiteX3675" fmla="*/ 3017581 w 4878487"/>
                <a:gd name="connsiteY3675" fmla="*/ 107799 h 3690338"/>
                <a:gd name="connsiteX3676" fmla="*/ 3014040 w 4878487"/>
                <a:gd name="connsiteY3676" fmla="*/ 107405 h 3690338"/>
                <a:gd name="connsiteX3677" fmla="*/ 3010500 w 4878487"/>
                <a:gd name="connsiteY3677" fmla="*/ 107012 h 3690338"/>
                <a:gd name="connsiteX3678" fmla="*/ 3007745 w 4878487"/>
                <a:gd name="connsiteY3678" fmla="*/ 106619 h 3690338"/>
                <a:gd name="connsiteX3679" fmla="*/ 3004992 w 4878487"/>
                <a:gd name="connsiteY3679" fmla="*/ 106225 h 3690338"/>
                <a:gd name="connsiteX3680" fmla="*/ 3001844 w 4878487"/>
                <a:gd name="connsiteY3680" fmla="*/ 106619 h 3690338"/>
                <a:gd name="connsiteX3681" fmla="*/ 2998697 w 4878487"/>
                <a:gd name="connsiteY3681" fmla="*/ 106619 h 3690338"/>
                <a:gd name="connsiteX3682" fmla="*/ 2995549 w 4878487"/>
                <a:gd name="connsiteY3682" fmla="*/ 106225 h 3690338"/>
                <a:gd name="connsiteX3683" fmla="*/ 2992402 w 4878487"/>
                <a:gd name="connsiteY3683" fmla="*/ 105832 h 3690338"/>
                <a:gd name="connsiteX3684" fmla="*/ 2989648 w 4878487"/>
                <a:gd name="connsiteY3684" fmla="*/ 104258 h 3690338"/>
                <a:gd name="connsiteX3685" fmla="*/ 2980599 w 4878487"/>
                <a:gd name="connsiteY3685" fmla="*/ 104258 h 3690338"/>
                <a:gd name="connsiteX3686" fmla="*/ 2977845 w 4878487"/>
                <a:gd name="connsiteY3686" fmla="*/ 104651 h 3690338"/>
                <a:gd name="connsiteX3687" fmla="*/ 2975091 w 4878487"/>
                <a:gd name="connsiteY3687" fmla="*/ 105438 h 3690338"/>
                <a:gd name="connsiteX3688" fmla="*/ 2971944 w 4878487"/>
                <a:gd name="connsiteY3688" fmla="*/ 106619 h 3690338"/>
                <a:gd name="connsiteX3689" fmla="*/ 2968796 w 4878487"/>
                <a:gd name="connsiteY3689" fmla="*/ 107012 h 3690338"/>
                <a:gd name="connsiteX3690" fmla="*/ 2965649 w 4878487"/>
                <a:gd name="connsiteY3690" fmla="*/ 107405 h 3690338"/>
                <a:gd name="connsiteX3691" fmla="*/ 2962501 w 4878487"/>
                <a:gd name="connsiteY3691" fmla="*/ 107012 h 3690338"/>
                <a:gd name="connsiteX3692" fmla="*/ 2959747 w 4878487"/>
                <a:gd name="connsiteY3692" fmla="*/ 107012 h 3690338"/>
                <a:gd name="connsiteX3693" fmla="*/ 2956600 w 4878487"/>
                <a:gd name="connsiteY3693" fmla="*/ 107405 h 3690338"/>
                <a:gd name="connsiteX3694" fmla="*/ 2953059 w 4878487"/>
                <a:gd name="connsiteY3694" fmla="*/ 108586 h 3690338"/>
                <a:gd name="connsiteX3695" fmla="*/ 2950305 w 4878487"/>
                <a:gd name="connsiteY3695" fmla="*/ 108979 h 3690338"/>
                <a:gd name="connsiteX3696" fmla="*/ 2947551 w 4878487"/>
                <a:gd name="connsiteY3696" fmla="*/ 109373 h 3690338"/>
                <a:gd name="connsiteX3697" fmla="*/ 2950305 w 4878487"/>
                <a:gd name="connsiteY3697" fmla="*/ 110946 h 3690338"/>
                <a:gd name="connsiteX3698" fmla="*/ 2953059 w 4878487"/>
                <a:gd name="connsiteY3698" fmla="*/ 111733 h 3690338"/>
                <a:gd name="connsiteX3699" fmla="*/ 2956207 w 4878487"/>
                <a:gd name="connsiteY3699" fmla="*/ 112520 h 3690338"/>
                <a:gd name="connsiteX3700" fmla="*/ 2958960 w 4878487"/>
                <a:gd name="connsiteY3700" fmla="*/ 113307 h 3690338"/>
                <a:gd name="connsiteX3701" fmla="*/ 2961715 w 4878487"/>
                <a:gd name="connsiteY3701" fmla="*/ 112913 h 3690338"/>
                <a:gd name="connsiteX3702" fmla="*/ 2958960 w 4878487"/>
                <a:gd name="connsiteY3702" fmla="*/ 114094 h 3690338"/>
                <a:gd name="connsiteX3703" fmla="*/ 2956207 w 4878487"/>
                <a:gd name="connsiteY3703" fmla="*/ 115667 h 3690338"/>
                <a:gd name="connsiteX3704" fmla="*/ 2955026 w 4878487"/>
                <a:gd name="connsiteY3704" fmla="*/ 115667 h 3690338"/>
                <a:gd name="connsiteX3705" fmla="*/ 2951486 w 4878487"/>
                <a:gd name="connsiteY3705" fmla="*/ 112913 h 3690338"/>
                <a:gd name="connsiteX3706" fmla="*/ 2948338 w 4878487"/>
                <a:gd name="connsiteY3706" fmla="*/ 112520 h 3690338"/>
                <a:gd name="connsiteX3707" fmla="*/ 2945584 w 4878487"/>
                <a:gd name="connsiteY3707" fmla="*/ 111340 h 3690338"/>
                <a:gd name="connsiteX3708" fmla="*/ 2942043 w 4878487"/>
                <a:gd name="connsiteY3708" fmla="*/ 108979 h 3690338"/>
                <a:gd name="connsiteX3709" fmla="*/ 2943617 w 4878487"/>
                <a:gd name="connsiteY3709" fmla="*/ 106225 h 3690338"/>
                <a:gd name="connsiteX3710" fmla="*/ 2940469 w 4878487"/>
                <a:gd name="connsiteY3710" fmla="*/ 104258 h 3690338"/>
                <a:gd name="connsiteX3711" fmla="*/ 2937716 w 4878487"/>
                <a:gd name="connsiteY3711" fmla="*/ 103078 h 3690338"/>
                <a:gd name="connsiteX3712" fmla="*/ 2934961 w 4878487"/>
                <a:gd name="connsiteY3712" fmla="*/ 101504 h 3690338"/>
                <a:gd name="connsiteX3713" fmla="*/ 2931420 w 4878487"/>
                <a:gd name="connsiteY3713" fmla="*/ 99930 h 3690338"/>
                <a:gd name="connsiteX3714" fmla="*/ 2927880 w 4878487"/>
                <a:gd name="connsiteY3714" fmla="*/ 98357 h 3690338"/>
                <a:gd name="connsiteX3715" fmla="*/ 2925126 w 4878487"/>
                <a:gd name="connsiteY3715" fmla="*/ 97570 h 3690338"/>
                <a:gd name="connsiteX3716" fmla="*/ 2921585 w 4878487"/>
                <a:gd name="connsiteY3716" fmla="*/ 96389 h 3690338"/>
                <a:gd name="connsiteX3717" fmla="*/ 2924732 w 4878487"/>
                <a:gd name="connsiteY3717" fmla="*/ 99143 h 3690338"/>
                <a:gd name="connsiteX3718" fmla="*/ 2927880 w 4878487"/>
                <a:gd name="connsiteY3718" fmla="*/ 101111 h 3690338"/>
                <a:gd name="connsiteX3719" fmla="*/ 2925126 w 4878487"/>
                <a:gd name="connsiteY3719" fmla="*/ 103471 h 3690338"/>
                <a:gd name="connsiteX3720" fmla="*/ 2921585 w 4878487"/>
                <a:gd name="connsiteY3720" fmla="*/ 103471 h 3690338"/>
                <a:gd name="connsiteX3721" fmla="*/ 2918438 w 4878487"/>
                <a:gd name="connsiteY3721" fmla="*/ 103865 h 3690338"/>
                <a:gd name="connsiteX3722" fmla="*/ 2911749 w 4878487"/>
                <a:gd name="connsiteY3722" fmla="*/ 103865 h 3690338"/>
                <a:gd name="connsiteX3723" fmla="*/ 2908209 w 4878487"/>
                <a:gd name="connsiteY3723" fmla="*/ 103471 h 3690338"/>
                <a:gd name="connsiteX3724" fmla="*/ 2904668 w 4878487"/>
                <a:gd name="connsiteY3724" fmla="*/ 103078 h 3690338"/>
                <a:gd name="connsiteX3725" fmla="*/ 2902701 w 4878487"/>
                <a:gd name="connsiteY3725" fmla="*/ 103078 h 3690338"/>
                <a:gd name="connsiteX3726" fmla="*/ 2892472 w 4878487"/>
                <a:gd name="connsiteY3726" fmla="*/ 100324 h 3690338"/>
                <a:gd name="connsiteX3727" fmla="*/ 2891684 w 4878487"/>
                <a:gd name="connsiteY3727" fmla="*/ 99930 h 3690338"/>
                <a:gd name="connsiteX3728" fmla="*/ 2891291 w 4878487"/>
                <a:gd name="connsiteY3728" fmla="*/ 99930 h 3690338"/>
                <a:gd name="connsiteX3729" fmla="*/ 2888537 w 4878487"/>
                <a:gd name="connsiteY3729" fmla="*/ 96783 h 3690338"/>
                <a:gd name="connsiteX3730" fmla="*/ 2892078 w 4878487"/>
                <a:gd name="connsiteY3730" fmla="*/ 95603 h 3690338"/>
                <a:gd name="connsiteX3731" fmla="*/ 2889324 w 4878487"/>
                <a:gd name="connsiteY3731" fmla="*/ 94422 h 3690338"/>
                <a:gd name="connsiteX3732" fmla="*/ 2886176 w 4878487"/>
                <a:gd name="connsiteY3732" fmla="*/ 94422 h 3690338"/>
                <a:gd name="connsiteX3733" fmla="*/ 2885390 w 4878487"/>
                <a:gd name="connsiteY3733" fmla="*/ 97570 h 3690338"/>
                <a:gd name="connsiteX3734" fmla="*/ 2881849 w 4878487"/>
                <a:gd name="connsiteY3734" fmla="*/ 97963 h 3690338"/>
                <a:gd name="connsiteX3735" fmla="*/ 2878308 w 4878487"/>
                <a:gd name="connsiteY3735" fmla="*/ 97176 h 3690338"/>
                <a:gd name="connsiteX3736" fmla="*/ 2875554 w 4878487"/>
                <a:gd name="connsiteY3736" fmla="*/ 96389 h 3690338"/>
                <a:gd name="connsiteX3737" fmla="*/ 2872013 w 4878487"/>
                <a:gd name="connsiteY3737" fmla="*/ 95996 h 3690338"/>
                <a:gd name="connsiteX3738" fmla="*/ 2865325 w 4878487"/>
                <a:gd name="connsiteY3738" fmla="*/ 95996 h 3690338"/>
                <a:gd name="connsiteX3739" fmla="*/ 2861784 w 4878487"/>
                <a:gd name="connsiteY3739" fmla="*/ 96389 h 3690338"/>
                <a:gd name="connsiteX3740" fmla="*/ 2861391 w 4878487"/>
                <a:gd name="connsiteY3740" fmla="*/ 96389 h 3690338"/>
                <a:gd name="connsiteX3741" fmla="*/ 2861391 w 4878487"/>
                <a:gd name="connsiteY3741" fmla="*/ 99143 h 3690338"/>
                <a:gd name="connsiteX3742" fmla="*/ 2858243 w 4878487"/>
                <a:gd name="connsiteY3742" fmla="*/ 100717 h 3690338"/>
                <a:gd name="connsiteX3743" fmla="*/ 2860604 w 4878487"/>
                <a:gd name="connsiteY3743" fmla="*/ 103865 h 3690338"/>
                <a:gd name="connsiteX3744" fmla="*/ 2863751 w 4878487"/>
                <a:gd name="connsiteY3744" fmla="*/ 105045 h 3690338"/>
                <a:gd name="connsiteX3745" fmla="*/ 2866505 w 4878487"/>
                <a:gd name="connsiteY3745" fmla="*/ 104651 h 3690338"/>
                <a:gd name="connsiteX3746" fmla="*/ 2869653 w 4878487"/>
                <a:gd name="connsiteY3746" fmla="*/ 104651 h 3690338"/>
                <a:gd name="connsiteX3747" fmla="*/ 2872800 w 4878487"/>
                <a:gd name="connsiteY3747" fmla="*/ 104651 h 3690338"/>
                <a:gd name="connsiteX3748" fmla="*/ 2875554 w 4878487"/>
                <a:gd name="connsiteY3748" fmla="*/ 104258 h 3690338"/>
                <a:gd name="connsiteX3749" fmla="*/ 2876735 w 4878487"/>
                <a:gd name="connsiteY3749" fmla="*/ 103865 h 3690338"/>
                <a:gd name="connsiteX3750" fmla="*/ 2886176 w 4878487"/>
                <a:gd name="connsiteY3750" fmla="*/ 103078 h 3690338"/>
                <a:gd name="connsiteX3751" fmla="*/ 2888537 w 4878487"/>
                <a:gd name="connsiteY3751" fmla="*/ 104651 h 3690338"/>
                <a:gd name="connsiteX3752" fmla="*/ 2885783 w 4878487"/>
                <a:gd name="connsiteY3752" fmla="*/ 105438 h 3690338"/>
                <a:gd name="connsiteX3753" fmla="*/ 2882636 w 4878487"/>
                <a:gd name="connsiteY3753" fmla="*/ 105832 h 3690338"/>
                <a:gd name="connsiteX3754" fmla="*/ 2879882 w 4878487"/>
                <a:gd name="connsiteY3754" fmla="*/ 106225 h 3690338"/>
                <a:gd name="connsiteX3755" fmla="*/ 2876341 w 4878487"/>
                <a:gd name="connsiteY3755" fmla="*/ 107405 h 3690338"/>
                <a:gd name="connsiteX3756" fmla="*/ 2874767 w 4878487"/>
                <a:gd name="connsiteY3756" fmla="*/ 109766 h 3690338"/>
                <a:gd name="connsiteX3757" fmla="*/ 2868472 w 4878487"/>
                <a:gd name="connsiteY3757" fmla="*/ 111340 h 3690338"/>
                <a:gd name="connsiteX3758" fmla="*/ 2868079 w 4878487"/>
                <a:gd name="connsiteY3758" fmla="*/ 111340 h 3690338"/>
                <a:gd name="connsiteX3759" fmla="*/ 2864932 w 4878487"/>
                <a:gd name="connsiteY3759" fmla="*/ 110946 h 3690338"/>
                <a:gd name="connsiteX3760" fmla="*/ 2861784 w 4878487"/>
                <a:gd name="connsiteY3760" fmla="*/ 110159 h 3690338"/>
                <a:gd name="connsiteX3761" fmla="*/ 2858243 w 4878487"/>
                <a:gd name="connsiteY3761" fmla="*/ 109373 h 3690338"/>
                <a:gd name="connsiteX3762" fmla="*/ 2861391 w 4878487"/>
                <a:gd name="connsiteY3762" fmla="*/ 110946 h 3690338"/>
                <a:gd name="connsiteX3763" fmla="*/ 2864145 w 4878487"/>
                <a:gd name="connsiteY3763" fmla="*/ 111733 h 3690338"/>
                <a:gd name="connsiteX3764" fmla="*/ 2861391 w 4878487"/>
                <a:gd name="connsiteY3764" fmla="*/ 111340 h 3690338"/>
                <a:gd name="connsiteX3765" fmla="*/ 2858637 w 4878487"/>
                <a:gd name="connsiteY3765" fmla="*/ 113307 h 3690338"/>
                <a:gd name="connsiteX3766" fmla="*/ 2855883 w 4878487"/>
                <a:gd name="connsiteY3766" fmla="*/ 113700 h 3690338"/>
                <a:gd name="connsiteX3767" fmla="*/ 2854702 w 4878487"/>
                <a:gd name="connsiteY3767" fmla="*/ 113700 h 3690338"/>
                <a:gd name="connsiteX3768" fmla="*/ 2851555 w 4878487"/>
                <a:gd name="connsiteY3768" fmla="*/ 114094 h 3690338"/>
                <a:gd name="connsiteX3769" fmla="*/ 2848408 w 4878487"/>
                <a:gd name="connsiteY3769" fmla="*/ 114487 h 3690338"/>
                <a:gd name="connsiteX3770" fmla="*/ 2845654 w 4878487"/>
                <a:gd name="connsiteY3770" fmla="*/ 114880 h 3690338"/>
                <a:gd name="connsiteX3771" fmla="*/ 2842506 w 4878487"/>
                <a:gd name="connsiteY3771" fmla="*/ 115274 h 3690338"/>
                <a:gd name="connsiteX3772" fmla="*/ 2845260 w 4878487"/>
                <a:gd name="connsiteY3772" fmla="*/ 115667 h 3690338"/>
                <a:gd name="connsiteX3773" fmla="*/ 2842113 w 4878487"/>
                <a:gd name="connsiteY3773" fmla="*/ 116454 h 3690338"/>
                <a:gd name="connsiteX3774" fmla="*/ 2839359 w 4878487"/>
                <a:gd name="connsiteY3774" fmla="*/ 116848 h 3690338"/>
                <a:gd name="connsiteX3775" fmla="*/ 2838179 w 4878487"/>
                <a:gd name="connsiteY3775" fmla="*/ 117634 h 3690338"/>
                <a:gd name="connsiteX3776" fmla="*/ 2833458 w 4878487"/>
                <a:gd name="connsiteY3776" fmla="*/ 118815 h 3690338"/>
                <a:gd name="connsiteX3777" fmla="*/ 2830310 w 4878487"/>
                <a:gd name="connsiteY3777" fmla="*/ 118815 h 3690338"/>
                <a:gd name="connsiteX3778" fmla="*/ 2827556 w 4878487"/>
                <a:gd name="connsiteY3778" fmla="*/ 119208 h 3690338"/>
                <a:gd name="connsiteX3779" fmla="*/ 2824409 w 4878487"/>
                <a:gd name="connsiteY3779" fmla="*/ 118815 h 3690338"/>
                <a:gd name="connsiteX3780" fmla="*/ 2821261 w 4878487"/>
                <a:gd name="connsiteY3780" fmla="*/ 118421 h 3690338"/>
                <a:gd name="connsiteX3781" fmla="*/ 2818507 w 4878487"/>
                <a:gd name="connsiteY3781" fmla="*/ 119208 h 3690338"/>
                <a:gd name="connsiteX3782" fmla="*/ 2815360 w 4878487"/>
                <a:gd name="connsiteY3782" fmla="*/ 119602 h 3690338"/>
                <a:gd name="connsiteX3783" fmla="*/ 2812606 w 4878487"/>
                <a:gd name="connsiteY3783" fmla="*/ 119208 h 3690338"/>
                <a:gd name="connsiteX3784" fmla="*/ 2809458 w 4878487"/>
                <a:gd name="connsiteY3784" fmla="*/ 118815 h 3690338"/>
                <a:gd name="connsiteX3785" fmla="*/ 2806704 w 4878487"/>
                <a:gd name="connsiteY3785" fmla="*/ 118421 h 3690338"/>
                <a:gd name="connsiteX3786" fmla="*/ 2805131 w 4878487"/>
                <a:gd name="connsiteY3786" fmla="*/ 121569 h 3690338"/>
                <a:gd name="connsiteX3787" fmla="*/ 2808278 w 4878487"/>
                <a:gd name="connsiteY3787" fmla="*/ 123929 h 3690338"/>
                <a:gd name="connsiteX3788" fmla="*/ 2807098 w 4878487"/>
                <a:gd name="connsiteY3788" fmla="*/ 125110 h 3690338"/>
                <a:gd name="connsiteX3789" fmla="*/ 2793328 w 4878487"/>
                <a:gd name="connsiteY3789" fmla="*/ 129044 h 3690338"/>
                <a:gd name="connsiteX3790" fmla="*/ 2795295 w 4878487"/>
                <a:gd name="connsiteY3790" fmla="*/ 128257 h 3690338"/>
                <a:gd name="connsiteX3791" fmla="*/ 2798049 w 4878487"/>
                <a:gd name="connsiteY3791" fmla="*/ 126683 h 3690338"/>
                <a:gd name="connsiteX3792" fmla="*/ 2800016 w 4878487"/>
                <a:gd name="connsiteY3792" fmla="*/ 123536 h 3690338"/>
                <a:gd name="connsiteX3793" fmla="*/ 2799229 w 4878487"/>
                <a:gd name="connsiteY3793" fmla="*/ 122749 h 3690338"/>
                <a:gd name="connsiteX3794" fmla="*/ 2810245 w 4878487"/>
                <a:gd name="connsiteY3794" fmla="*/ 114880 h 3690338"/>
                <a:gd name="connsiteX3795" fmla="*/ 2810639 w 4878487"/>
                <a:gd name="connsiteY3795" fmla="*/ 114880 h 3690338"/>
                <a:gd name="connsiteX3796" fmla="*/ 2810639 w 4878487"/>
                <a:gd name="connsiteY3796" fmla="*/ 114880 h 3690338"/>
                <a:gd name="connsiteX3797" fmla="*/ 2821655 w 4878487"/>
                <a:gd name="connsiteY3797" fmla="*/ 107012 h 3690338"/>
                <a:gd name="connsiteX3798" fmla="*/ 2823228 w 4878487"/>
                <a:gd name="connsiteY3798" fmla="*/ 107012 h 3690338"/>
                <a:gd name="connsiteX3799" fmla="*/ 2825982 w 4878487"/>
                <a:gd name="connsiteY3799" fmla="*/ 106619 h 3690338"/>
                <a:gd name="connsiteX3800" fmla="*/ 2829130 w 4878487"/>
                <a:gd name="connsiteY3800" fmla="*/ 105832 h 3690338"/>
                <a:gd name="connsiteX3801" fmla="*/ 2832277 w 4878487"/>
                <a:gd name="connsiteY3801" fmla="*/ 105438 h 3690338"/>
                <a:gd name="connsiteX3802" fmla="*/ 2835425 w 4878487"/>
                <a:gd name="connsiteY3802" fmla="*/ 103078 h 3690338"/>
                <a:gd name="connsiteX3803" fmla="*/ 2835818 w 4878487"/>
                <a:gd name="connsiteY3803" fmla="*/ 99930 h 3690338"/>
                <a:gd name="connsiteX3804" fmla="*/ 2838965 w 4878487"/>
                <a:gd name="connsiteY3804" fmla="*/ 97570 h 3690338"/>
                <a:gd name="connsiteX3805" fmla="*/ 2842113 w 4878487"/>
                <a:gd name="connsiteY3805" fmla="*/ 95209 h 3690338"/>
                <a:gd name="connsiteX3806" fmla="*/ 2844867 w 4878487"/>
                <a:gd name="connsiteY3806" fmla="*/ 94816 h 3690338"/>
                <a:gd name="connsiteX3807" fmla="*/ 2848014 w 4878487"/>
                <a:gd name="connsiteY3807" fmla="*/ 94422 h 3690338"/>
                <a:gd name="connsiteX3808" fmla="*/ 2851162 w 4878487"/>
                <a:gd name="connsiteY3808" fmla="*/ 92849 h 3690338"/>
                <a:gd name="connsiteX3809" fmla="*/ 2852735 w 4878487"/>
                <a:gd name="connsiteY3809" fmla="*/ 89701 h 3690338"/>
                <a:gd name="connsiteX3810" fmla="*/ 2849981 w 4878487"/>
                <a:gd name="connsiteY3810" fmla="*/ 88521 h 3690338"/>
                <a:gd name="connsiteX3811" fmla="*/ 2847621 w 4878487"/>
                <a:gd name="connsiteY3811" fmla="*/ 88914 h 3690338"/>
                <a:gd name="connsiteX3812" fmla="*/ 2848801 w 4878487"/>
                <a:gd name="connsiteY3812" fmla="*/ 88128 h 3690338"/>
                <a:gd name="connsiteX3813" fmla="*/ 2849981 w 4878487"/>
                <a:gd name="connsiteY3813" fmla="*/ 88128 h 3690338"/>
                <a:gd name="connsiteX3814" fmla="*/ 2850375 w 4878487"/>
                <a:gd name="connsiteY3814" fmla="*/ 86554 h 3690338"/>
                <a:gd name="connsiteX3815" fmla="*/ 2853129 w 4878487"/>
                <a:gd name="connsiteY3815" fmla="*/ 86947 h 3690338"/>
                <a:gd name="connsiteX3816" fmla="*/ 2856276 w 4878487"/>
                <a:gd name="connsiteY3816" fmla="*/ 85767 h 3690338"/>
                <a:gd name="connsiteX3817" fmla="*/ 2853129 w 4878487"/>
                <a:gd name="connsiteY3817" fmla="*/ 83800 h 3690338"/>
                <a:gd name="connsiteX3818" fmla="*/ 2853129 w 4878487"/>
                <a:gd name="connsiteY3818" fmla="*/ 83800 h 3690338"/>
                <a:gd name="connsiteX3819" fmla="*/ 2855489 w 4878487"/>
                <a:gd name="connsiteY3819" fmla="*/ 83406 h 3690338"/>
                <a:gd name="connsiteX3820" fmla="*/ 2858243 w 4878487"/>
                <a:gd name="connsiteY3820" fmla="*/ 83800 h 3690338"/>
                <a:gd name="connsiteX3821" fmla="*/ 2860998 w 4878487"/>
                <a:gd name="connsiteY3821" fmla="*/ 82620 h 3690338"/>
                <a:gd name="connsiteX3822" fmla="*/ 2864145 w 4878487"/>
                <a:gd name="connsiteY3822" fmla="*/ 82226 h 3690338"/>
                <a:gd name="connsiteX3823" fmla="*/ 2867292 w 4878487"/>
                <a:gd name="connsiteY3823" fmla="*/ 79866 h 3690338"/>
                <a:gd name="connsiteX3824" fmla="*/ 2870046 w 4878487"/>
                <a:gd name="connsiteY3824" fmla="*/ 77898 h 3690338"/>
                <a:gd name="connsiteX3825" fmla="*/ 2873587 w 4878487"/>
                <a:gd name="connsiteY3825" fmla="*/ 78292 h 3690338"/>
                <a:gd name="connsiteX3826" fmla="*/ 2877128 w 4878487"/>
                <a:gd name="connsiteY3826" fmla="*/ 78685 h 3690338"/>
                <a:gd name="connsiteX3827" fmla="*/ 2878702 w 4878487"/>
                <a:gd name="connsiteY3827" fmla="*/ 75931 h 3690338"/>
                <a:gd name="connsiteX3828" fmla="*/ 2879095 w 4878487"/>
                <a:gd name="connsiteY3828" fmla="*/ 73177 h 3690338"/>
                <a:gd name="connsiteX3829" fmla="*/ 2882242 w 4878487"/>
                <a:gd name="connsiteY3829" fmla="*/ 72784 h 3690338"/>
                <a:gd name="connsiteX3830" fmla="*/ 2884996 w 4878487"/>
                <a:gd name="connsiteY3830" fmla="*/ 72390 h 3690338"/>
                <a:gd name="connsiteX3831" fmla="*/ 2887750 w 4878487"/>
                <a:gd name="connsiteY3831" fmla="*/ 71604 h 3690338"/>
                <a:gd name="connsiteX3832" fmla="*/ 2890898 w 4878487"/>
                <a:gd name="connsiteY3832" fmla="*/ 70423 h 3690338"/>
                <a:gd name="connsiteX3833" fmla="*/ 2892472 w 4878487"/>
                <a:gd name="connsiteY3833" fmla="*/ 67669 h 3690338"/>
                <a:gd name="connsiteX3834" fmla="*/ 2895225 w 4878487"/>
                <a:gd name="connsiteY3834" fmla="*/ 64915 h 3690338"/>
                <a:gd name="connsiteX3835" fmla="*/ 2896012 w 4878487"/>
                <a:gd name="connsiteY3835" fmla="*/ 62161 h 3690338"/>
                <a:gd name="connsiteX3836" fmla="*/ 2892865 w 4878487"/>
                <a:gd name="connsiteY3836" fmla="*/ 60194 h 3690338"/>
                <a:gd name="connsiteX3837" fmla="*/ 2892078 w 4878487"/>
                <a:gd name="connsiteY3837" fmla="*/ 57440 h 3690338"/>
                <a:gd name="connsiteX3838" fmla="*/ 2888931 w 4878487"/>
                <a:gd name="connsiteY3838" fmla="*/ 57047 h 3690338"/>
                <a:gd name="connsiteX3839" fmla="*/ 2886176 w 4878487"/>
                <a:gd name="connsiteY3839" fmla="*/ 56653 h 3690338"/>
                <a:gd name="connsiteX3840" fmla="*/ 2883816 w 4878487"/>
                <a:gd name="connsiteY3840" fmla="*/ 55867 h 3690338"/>
                <a:gd name="connsiteX3841" fmla="*/ 2885783 w 4878487"/>
                <a:gd name="connsiteY3841" fmla="*/ 53899 h 3690338"/>
                <a:gd name="connsiteX3842" fmla="*/ 2879095 w 4878487"/>
                <a:gd name="connsiteY3842" fmla="*/ 51932 h 3690338"/>
                <a:gd name="connsiteX3843" fmla="*/ 2880669 w 4878487"/>
                <a:gd name="connsiteY3843" fmla="*/ 51932 h 3690338"/>
                <a:gd name="connsiteX3844" fmla="*/ 2884209 w 4878487"/>
                <a:gd name="connsiteY3844" fmla="*/ 52326 h 3690338"/>
                <a:gd name="connsiteX3845" fmla="*/ 2885783 w 4878487"/>
                <a:gd name="connsiteY3845" fmla="*/ 53899 h 3690338"/>
                <a:gd name="connsiteX3846" fmla="*/ 2888931 w 4878487"/>
                <a:gd name="connsiteY3846" fmla="*/ 54293 h 3690338"/>
                <a:gd name="connsiteX3847" fmla="*/ 2886570 w 4878487"/>
                <a:gd name="connsiteY3847" fmla="*/ 51145 h 3690338"/>
                <a:gd name="connsiteX3848" fmla="*/ 2885390 w 4878487"/>
                <a:gd name="connsiteY3848" fmla="*/ 48391 h 3690338"/>
                <a:gd name="connsiteX3849" fmla="*/ 2882242 w 4878487"/>
                <a:gd name="connsiteY3849" fmla="*/ 46818 h 3690338"/>
                <a:gd name="connsiteX3850" fmla="*/ 2879488 w 4878487"/>
                <a:gd name="connsiteY3850" fmla="*/ 46031 h 3690338"/>
                <a:gd name="connsiteX3851" fmla="*/ 2876341 w 4878487"/>
                <a:gd name="connsiteY3851" fmla="*/ 47605 h 3690338"/>
                <a:gd name="connsiteX3852" fmla="*/ 2873194 w 4878487"/>
                <a:gd name="connsiteY3852" fmla="*/ 45244 h 3690338"/>
                <a:gd name="connsiteX3853" fmla="*/ 2870439 w 4878487"/>
                <a:gd name="connsiteY3853" fmla="*/ 42883 h 3690338"/>
                <a:gd name="connsiteX3854" fmla="*/ 2867686 w 4878487"/>
                <a:gd name="connsiteY3854" fmla="*/ 40523 h 3690338"/>
                <a:gd name="connsiteX3855" fmla="*/ 2864932 w 4878487"/>
                <a:gd name="connsiteY3855" fmla="*/ 38949 h 3690338"/>
                <a:gd name="connsiteX3856" fmla="*/ 2862178 w 4878487"/>
                <a:gd name="connsiteY3856" fmla="*/ 38556 h 3690338"/>
                <a:gd name="connsiteX3857" fmla="*/ 2858637 w 4878487"/>
                <a:gd name="connsiteY3857" fmla="*/ 36982 h 3690338"/>
                <a:gd name="connsiteX3858" fmla="*/ 2855096 w 4878487"/>
                <a:gd name="connsiteY3858" fmla="*/ 37376 h 3690338"/>
                <a:gd name="connsiteX3859" fmla="*/ 2857850 w 4878487"/>
                <a:gd name="connsiteY3859" fmla="*/ 38949 h 3690338"/>
                <a:gd name="connsiteX3860" fmla="*/ 2860998 w 4878487"/>
                <a:gd name="connsiteY3860" fmla="*/ 39736 h 3690338"/>
                <a:gd name="connsiteX3861" fmla="*/ 2863751 w 4878487"/>
                <a:gd name="connsiteY3861" fmla="*/ 40916 h 3690338"/>
                <a:gd name="connsiteX3862" fmla="*/ 2860604 w 4878487"/>
                <a:gd name="connsiteY3862" fmla="*/ 40523 h 3690338"/>
                <a:gd name="connsiteX3863" fmla="*/ 2857850 w 4878487"/>
                <a:gd name="connsiteY3863" fmla="*/ 40129 h 3690338"/>
                <a:gd name="connsiteX3864" fmla="*/ 2855096 w 4878487"/>
                <a:gd name="connsiteY3864" fmla="*/ 42883 h 3690338"/>
                <a:gd name="connsiteX3865" fmla="*/ 2853522 w 4878487"/>
                <a:gd name="connsiteY3865" fmla="*/ 40129 h 3690338"/>
                <a:gd name="connsiteX3866" fmla="*/ 2850768 w 4878487"/>
                <a:gd name="connsiteY3866" fmla="*/ 39343 h 3690338"/>
                <a:gd name="connsiteX3867" fmla="*/ 2848014 w 4878487"/>
                <a:gd name="connsiteY3867" fmla="*/ 38949 h 3690338"/>
                <a:gd name="connsiteX3868" fmla="*/ 2846047 w 4878487"/>
                <a:gd name="connsiteY3868" fmla="*/ 36195 h 3690338"/>
                <a:gd name="connsiteX3869" fmla="*/ 2842900 w 4878487"/>
                <a:gd name="connsiteY3869" fmla="*/ 34622 h 3690338"/>
                <a:gd name="connsiteX3870" fmla="*/ 2840146 w 4878487"/>
                <a:gd name="connsiteY3870" fmla="*/ 34228 h 3690338"/>
                <a:gd name="connsiteX3871" fmla="*/ 2837392 w 4878487"/>
                <a:gd name="connsiteY3871" fmla="*/ 33835 h 3690338"/>
                <a:gd name="connsiteX3872" fmla="*/ 2833851 w 4878487"/>
                <a:gd name="connsiteY3872" fmla="*/ 33048 h 3690338"/>
                <a:gd name="connsiteX3873" fmla="*/ 2831097 w 4878487"/>
                <a:gd name="connsiteY3873" fmla="*/ 35015 h 3690338"/>
                <a:gd name="connsiteX3874" fmla="*/ 2830310 w 4878487"/>
                <a:gd name="connsiteY3874" fmla="*/ 32261 h 3690338"/>
                <a:gd name="connsiteX3875" fmla="*/ 2826769 w 4878487"/>
                <a:gd name="connsiteY3875" fmla="*/ 31474 h 3690338"/>
                <a:gd name="connsiteX3876" fmla="*/ 2824015 w 4878487"/>
                <a:gd name="connsiteY3876" fmla="*/ 30687 h 3690338"/>
                <a:gd name="connsiteX3877" fmla="*/ 2820868 w 4878487"/>
                <a:gd name="connsiteY3877" fmla="*/ 29900 h 3690338"/>
                <a:gd name="connsiteX3878" fmla="*/ 2817327 w 4878487"/>
                <a:gd name="connsiteY3878" fmla="*/ 29507 h 3690338"/>
                <a:gd name="connsiteX3879" fmla="*/ 2814180 w 4878487"/>
                <a:gd name="connsiteY3879" fmla="*/ 29507 h 3690338"/>
                <a:gd name="connsiteX3880" fmla="*/ 2811425 w 4878487"/>
                <a:gd name="connsiteY3880" fmla="*/ 27540 h 3690338"/>
                <a:gd name="connsiteX3881" fmla="*/ 2808672 w 4878487"/>
                <a:gd name="connsiteY3881" fmla="*/ 25573 h 3690338"/>
                <a:gd name="connsiteX3882" fmla="*/ 2805524 w 4878487"/>
                <a:gd name="connsiteY3882" fmla="*/ 25179 h 3690338"/>
                <a:gd name="connsiteX3883" fmla="*/ 2802377 w 4878487"/>
                <a:gd name="connsiteY3883" fmla="*/ 24786 h 3690338"/>
                <a:gd name="connsiteX3884" fmla="*/ 2798836 w 4878487"/>
                <a:gd name="connsiteY3884" fmla="*/ 23999 h 3690338"/>
                <a:gd name="connsiteX3885" fmla="*/ 2796082 w 4878487"/>
                <a:gd name="connsiteY3885" fmla="*/ 24786 h 3690338"/>
                <a:gd name="connsiteX3886" fmla="*/ 2792935 w 4878487"/>
                <a:gd name="connsiteY3886" fmla="*/ 24392 h 3690338"/>
                <a:gd name="connsiteX3887" fmla="*/ 2790181 w 4878487"/>
                <a:gd name="connsiteY3887" fmla="*/ 23999 h 3690338"/>
                <a:gd name="connsiteX3888" fmla="*/ 2787426 w 4878487"/>
                <a:gd name="connsiteY3888" fmla="*/ 24392 h 3690338"/>
                <a:gd name="connsiteX3889" fmla="*/ 2784279 w 4878487"/>
                <a:gd name="connsiteY3889" fmla="*/ 25179 h 3690338"/>
                <a:gd name="connsiteX3890" fmla="*/ 2781525 w 4878487"/>
                <a:gd name="connsiteY3890" fmla="*/ 25573 h 3690338"/>
                <a:gd name="connsiteX3891" fmla="*/ 2778378 w 4878487"/>
                <a:gd name="connsiteY3891" fmla="*/ 25179 h 3690338"/>
                <a:gd name="connsiteX3892" fmla="*/ 2775624 w 4878487"/>
                <a:gd name="connsiteY3892" fmla="*/ 25179 h 3690338"/>
                <a:gd name="connsiteX3893" fmla="*/ 2772477 w 4878487"/>
                <a:gd name="connsiteY3893" fmla="*/ 24786 h 3690338"/>
                <a:gd name="connsiteX3894" fmla="*/ 2769722 w 4878487"/>
                <a:gd name="connsiteY3894" fmla="*/ 24786 h 3690338"/>
                <a:gd name="connsiteX3895" fmla="*/ 2766575 w 4878487"/>
                <a:gd name="connsiteY3895" fmla="*/ 24392 h 3690338"/>
                <a:gd name="connsiteX3896" fmla="*/ 2763428 w 4878487"/>
                <a:gd name="connsiteY3896" fmla="*/ 25179 h 3690338"/>
                <a:gd name="connsiteX3897" fmla="*/ 2757526 w 4878487"/>
                <a:gd name="connsiteY3897" fmla="*/ 25179 h 3690338"/>
                <a:gd name="connsiteX3898" fmla="*/ 2754379 w 4878487"/>
                <a:gd name="connsiteY3898" fmla="*/ 25573 h 3690338"/>
                <a:gd name="connsiteX3899" fmla="*/ 2750838 w 4878487"/>
                <a:gd name="connsiteY3899" fmla="*/ 25179 h 3690338"/>
                <a:gd name="connsiteX3900" fmla="*/ 2747297 w 4878487"/>
                <a:gd name="connsiteY3900" fmla="*/ 25573 h 3690338"/>
                <a:gd name="connsiteX3901" fmla="*/ 2744150 w 4878487"/>
                <a:gd name="connsiteY3901" fmla="*/ 24786 h 3690338"/>
                <a:gd name="connsiteX3902" fmla="*/ 2741002 w 4878487"/>
                <a:gd name="connsiteY3902" fmla="*/ 24786 h 3690338"/>
                <a:gd name="connsiteX3903" fmla="*/ 2743363 w 4878487"/>
                <a:gd name="connsiteY3903" fmla="*/ 27540 h 3690338"/>
                <a:gd name="connsiteX3904" fmla="*/ 2742970 w 4878487"/>
                <a:gd name="connsiteY3904" fmla="*/ 28327 h 3690338"/>
                <a:gd name="connsiteX3905" fmla="*/ 2714249 w 4878487"/>
                <a:gd name="connsiteY3905" fmla="*/ 30294 h 3690338"/>
                <a:gd name="connsiteX3906" fmla="*/ 2717397 w 4878487"/>
                <a:gd name="connsiteY3906" fmla="*/ 29900 h 3690338"/>
                <a:gd name="connsiteX3907" fmla="*/ 2718184 w 4878487"/>
                <a:gd name="connsiteY3907" fmla="*/ 27146 h 3690338"/>
                <a:gd name="connsiteX3908" fmla="*/ 2720151 w 4878487"/>
                <a:gd name="connsiteY3908" fmla="*/ 23999 h 3690338"/>
                <a:gd name="connsiteX3909" fmla="*/ 2722904 w 4878487"/>
                <a:gd name="connsiteY3909" fmla="*/ 22819 h 3690338"/>
                <a:gd name="connsiteX3910" fmla="*/ 2722118 w 4878487"/>
                <a:gd name="connsiteY3910" fmla="*/ 19671 h 3690338"/>
                <a:gd name="connsiteX3911" fmla="*/ 2715823 w 4878487"/>
                <a:gd name="connsiteY3911" fmla="*/ 18098 h 3690338"/>
                <a:gd name="connsiteX3912" fmla="*/ 2712675 w 4878487"/>
                <a:gd name="connsiteY3912" fmla="*/ 18491 h 3690338"/>
                <a:gd name="connsiteX3913" fmla="*/ 2709528 w 4878487"/>
                <a:gd name="connsiteY3913" fmla="*/ 17704 h 3690338"/>
                <a:gd name="connsiteX3914" fmla="*/ 2706381 w 4878487"/>
                <a:gd name="connsiteY3914" fmla="*/ 17311 h 3690338"/>
                <a:gd name="connsiteX3915" fmla="*/ 2703627 w 4878487"/>
                <a:gd name="connsiteY3915" fmla="*/ 18098 h 3690338"/>
                <a:gd name="connsiteX3916" fmla="*/ 2700479 w 4878487"/>
                <a:gd name="connsiteY3916" fmla="*/ 17704 h 3690338"/>
                <a:gd name="connsiteX3917" fmla="*/ 2696938 w 4878487"/>
                <a:gd name="connsiteY3917" fmla="*/ 17311 h 3690338"/>
                <a:gd name="connsiteX3918" fmla="*/ 2693791 w 4878487"/>
                <a:gd name="connsiteY3918" fmla="*/ 16917 h 3690338"/>
                <a:gd name="connsiteX3919" fmla="*/ 2690644 w 4878487"/>
                <a:gd name="connsiteY3919" fmla="*/ 18491 h 3690338"/>
                <a:gd name="connsiteX3920" fmla="*/ 2687496 w 4878487"/>
                <a:gd name="connsiteY3920" fmla="*/ 18491 h 3690338"/>
                <a:gd name="connsiteX3921" fmla="*/ 2684742 w 4878487"/>
                <a:gd name="connsiteY3921" fmla="*/ 18884 h 3690338"/>
                <a:gd name="connsiteX3922" fmla="*/ 2683168 w 4878487"/>
                <a:gd name="connsiteY3922" fmla="*/ 18884 h 3690338"/>
                <a:gd name="connsiteX3923" fmla="*/ 2682382 w 4878487"/>
                <a:gd name="connsiteY3923" fmla="*/ 18491 h 3690338"/>
                <a:gd name="connsiteX3924" fmla="*/ 2684742 w 4878487"/>
                <a:gd name="connsiteY3924" fmla="*/ 17311 h 3690338"/>
                <a:gd name="connsiteX3925" fmla="*/ 2685529 w 4878487"/>
                <a:gd name="connsiteY3925" fmla="*/ 14557 h 3690338"/>
                <a:gd name="connsiteX3926" fmla="*/ 2681988 w 4878487"/>
                <a:gd name="connsiteY3926" fmla="*/ 14950 h 3690338"/>
                <a:gd name="connsiteX3927" fmla="*/ 2678841 w 4878487"/>
                <a:gd name="connsiteY3927" fmla="*/ 15344 h 3690338"/>
                <a:gd name="connsiteX3928" fmla="*/ 2675693 w 4878487"/>
                <a:gd name="connsiteY3928" fmla="*/ 15737 h 3690338"/>
                <a:gd name="connsiteX3929" fmla="*/ 2672939 w 4878487"/>
                <a:gd name="connsiteY3929" fmla="*/ 15344 h 3690338"/>
                <a:gd name="connsiteX3930" fmla="*/ 2670972 w 4878487"/>
                <a:gd name="connsiteY3930" fmla="*/ 15737 h 3690338"/>
                <a:gd name="connsiteX3931" fmla="*/ 2665071 w 4878487"/>
                <a:gd name="connsiteY3931" fmla="*/ 15344 h 3690338"/>
                <a:gd name="connsiteX3932" fmla="*/ 2663890 w 4878487"/>
                <a:gd name="connsiteY3932" fmla="*/ 14950 h 3690338"/>
                <a:gd name="connsiteX3933" fmla="*/ 2661137 w 4878487"/>
                <a:gd name="connsiteY3933" fmla="*/ 15344 h 3690338"/>
                <a:gd name="connsiteX3934" fmla="*/ 2653661 w 4878487"/>
                <a:gd name="connsiteY3934" fmla="*/ 14950 h 3690338"/>
                <a:gd name="connsiteX3935" fmla="*/ 2654449 w 4878487"/>
                <a:gd name="connsiteY3935" fmla="*/ 14557 h 3690338"/>
                <a:gd name="connsiteX3936" fmla="*/ 2657202 w 4878487"/>
                <a:gd name="connsiteY3936" fmla="*/ 14557 h 3690338"/>
                <a:gd name="connsiteX3937" fmla="*/ 2659956 w 4878487"/>
                <a:gd name="connsiteY3937" fmla="*/ 13377 h 3690338"/>
                <a:gd name="connsiteX3938" fmla="*/ 2663104 w 4878487"/>
                <a:gd name="connsiteY3938" fmla="*/ 13770 h 3690338"/>
                <a:gd name="connsiteX3939" fmla="*/ 2665858 w 4878487"/>
                <a:gd name="connsiteY3939" fmla="*/ 13377 h 3690338"/>
                <a:gd name="connsiteX3940" fmla="*/ 2669005 w 4878487"/>
                <a:gd name="connsiteY3940" fmla="*/ 12983 h 3690338"/>
                <a:gd name="connsiteX3941" fmla="*/ 2672153 w 4878487"/>
                <a:gd name="connsiteY3941" fmla="*/ 12196 h 3690338"/>
                <a:gd name="connsiteX3942" fmla="*/ 2674907 w 4878487"/>
                <a:gd name="connsiteY3942" fmla="*/ 10623 h 3690338"/>
                <a:gd name="connsiteX3943" fmla="*/ 2678448 w 4878487"/>
                <a:gd name="connsiteY3943" fmla="*/ 9049 h 3690338"/>
                <a:gd name="connsiteX3944" fmla="*/ 2681595 w 4878487"/>
                <a:gd name="connsiteY3944" fmla="*/ 9049 h 3690338"/>
                <a:gd name="connsiteX3945" fmla="*/ 2684349 w 4878487"/>
                <a:gd name="connsiteY3945" fmla="*/ 9442 h 3690338"/>
                <a:gd name="connsiteX3946" fmla="*/ 2681595 w 4878487"/>
                <a:gd name="connsiteY3946" fmla="*/ 7869 h 3690338"/>
                <a:gd name="connsiteX3947" fmla="*/ 2678841 w 4878487"/>
                <a:gd name="connsiteY3947" fmla="*/ 7475 h 3690338"/>
                <a:gd name="connsiteX3948" fmla="*/ 2675693 w 4878487"/>
                <a:gd name="connsiteY3948" fmla="*/ 5901 h 3690338"/>
                <a:gd name="connsiteX3949" fmla="*/ 2672939 w 4878487"/>
                <a:gd name="connsiteY3949" fmla="*/ 4721 h 3690338"/>
                <a:gd name="connsiteX3950" fmla="*/ 2670186 w 4878487"/>
                <a:gd name="connsiteY3950" fmla="*/ 4328 h 3690338"/>
                <a:gd name="connsiteX3951" fmla="*/ 2667038 w 4878487"/>
                <a:gd name="connsiteY3951" fmla="*/ 3934 h 3690338"/>
                <a:gd name="connsiteX3952" fmla="*/ 2663890 w 4878487"/>
                <a:gd name="connsiteY3952" fmla="*/ 4328 h 3690338"/>
                <a:gd name="connsiteX3953" fmla="*/ 2660743 w 4878487"/>
                <a:gd name="connsiteY3953" fmla="*/ 3934 h 3690338"/>
                <a:gd name="connsiteX3954" fmla="*/ 2657202 w 4878487"/>
                <a:gd name="connsiteY3954" fmla="*/ 3541 h 3690338"/>
                <a:gd name="connsiteX3955" fmla="*/ 2654449 w 4878487"/>
                <a:gd name="connsiteY3955" fmla="*/ 3147 h 3690338"/>
                <a:gd name="connsiteX3956" fmla="*/ 2651301 w 4878487"/>
                <a:gd name="connsiteY3956" fmla="*/ 2754 h 3690338"/>
                <a:gd name="connsiteX3957" fmla="*/ 2648153 w 4878487"/>
                <a:gd name="connsiteY3957" fmla="*/ 1967 h 3690338"/>
                <a:gd name="connsiteX3958" fmla="*/ 2645006 w 4878487"/>
                <a:gd name="connsiteY3958" fmla="*/ 393 h 3690338"/>
                <a:gd name="connsiteX3959" fmla="*/ 2642252 w 4878487"/>
                <a:gd name="connsiteY3959" fmla="*/ 787 h 3690338"/>
                <a:gd name="connsiteX3960" fmla="*/ 2639105 w 4878487"/>
                <a:gd name="connsiteY3960" fmla="*/ 1180 h 3690338"/>
                <a:gd name="connsiteX3961" fmla="*/ 2636351 w 4878487"/>
                <a:gd name="connsiteY3961" fmla="*/ 787 h 3690338"/>
                <a:gd name="connsiteX3962" fmla="*/ 2633204 w 4878487"/>
                <a:gd name="connsiteY3962" fmla="*/ 0 h 3690338"/>
                <a:gd name="connsiteX3963" fmla="*/ 2630449 w 4878487"/>
                <a:gd name="connsiteY3963" fmla="*/ 0 h 3690338"/>
                <a:gd name="connsiteX3964" fmla="*/ 2627695 w 4878487"/>
                <a:gd name="connsiteY3964" fmla="*/ 1180 h 3690338"/>
                <a:gd name="connsiteX3965" fmla="*/ 2624548 w 4878487"/>
                <a:gd name="connsiteY3965" fmla="*/ 2361 h 3690338"/>
                <a:gd name="connsiteX3966" fmla="*/ 2621007 w 4878487"/>
                <a:gd name="connsiteY3966" fmla="*/ 2754 h 3690338"/>
                <a:gd name="connsiteX3967" fmla="*/ 2617860 w 4878487"/>
                <a:gd name="connsiteY3967" fmla="*/ 2361 h 3690338"/>
                <a:gd name="connsiteX3968" fmla="*/ 2615106 w 4878487"/>
                <a:gd name="connsiteY3968" fmla="*/ 2361 h 3690338"/>
                <a:gd name="connsiteX3969" fmla="*/ 2612352 w 4878487"/>
                <a:gd name="connsiteY3969" fmla="*/ 3541 h 3690338"/>
                <a:gd name="connsiteX3970" fmla="*/ 2609205 w 4878487"/>
                <a:gd name="connsiteY3970" fmla="*/ 5508 h 3690338"/>
                <a:gd name="connsiteX3971" fmla="*/ 2606450 w 4878487"/>
                <a:gd name="connsiteY3971" fmla="*/ 7082 h 3690338"/>
                <a:gd name="connsiteX3972" fmla="*/ 2603303 w 4878487"/>
                <a:gd name="connsiteY3972" fmla="*/ 8655 h 3690338"/>
                <a:gd name="connsiteX3973" fmla="*/ 2600156 w 4878487"/>
                <a:gd name="connsiteY3973" fmla="*/ 8655 h 3690338"/>
                <a:gd name="connsiteX3974" fmla="*/ 2605270 w 4878487"/>
                <a:gd name="connsiteY3974" fmla="*/ 9836 h 3690338"/>
                <a:gd name="connsiteX3975" fmla="*/ 2602123 w 4878487"/>
                <a:gd name="connsiteY3975" fmla="*/ 12196 h 3690338"/>
                <a:gd name="connsiteX3976" fmla="*/ 2600549 w 4878487"/>
                <a:gd name="connsiteY3976" fmla="*/ 13377 h 3690338"/>
                <a:gd name="connsiteX3977" fmla="*/ 2597402 w 4878487"/>
                <a:gd name="connsiteY3977" fmla="*/ 15737 h 3690338"/>
                <a:gd name="connsiteX3978" fmla="*/ 2598582 w 4878487"/>
                <a:gd name="connsiteY3978" fmla="*/ 16917 h 3690338"/>
                <a:gd name="connsiteX3979" fmla="*/ 2597795 w 4878487"/>
                <a:gd name="connsiteY3979" fmla="*/ 18491 h 3690338"/>
                <a:gd name="connsiteX3980" fmla="*/ 2597402 w 4878487"/>
                <a:gd name="connsiteY3980" fmla="*/ 18491 h 3690338"/>
                <a:gd name="connsiteX3981" fmla="*/ 2596615 w 4878487"/>
                <a:gd name="connsiteY3981" fmla="*/ 20852 h 3690338"/>
                <a:gd name="connsiteX3982" fmla="*/ 2590320 w 4878487"/>
                <a:gd name="connsiteY3982" fmla="*/ 31868 h 3690338"/>
                <a:gd name="connsiteX3983" fmla="*/ 2584812 w 4878487"/>
                <a:gd name="connsiteY3983" fmla="*/ 32261 h 3690338"/>
                <a:gd name="connsiteX3984" fmla="*/ 2581665 w 4878487"/>
                <a:gd name="connsiteY3984" fmla="*/ 32261 h 3690338"/>
                <a:gd name="connsiteX3985" fmla="*/ 2578517 w 4878487"/>
                <a:gd name="connsiteY3985" fmla="*/ 31868 h 3690338"/>
                <a:gd name="connsiteX3986" fmla="*/ 2574976 w 4878487"/>
                <a:gd name="connsiteY3986" fmla="*/ 31474 h 3690338"/>
                <a:gd name="connsiteX3987" fmla="*/ 2572222 w 4878487"/>
                <a:gd name="connsiteY3987" fmla="*/ 31081 h 3690338"/>
                <a:gd name="connsiteX3988" fmla="*/ 2569468 w 4878487"/>
                <a:gd name="connsiteY3988" fmla="*/ 30687 h 3690338"/>
                <a:gd name="connsiteX3989" fmla="*/ 2572616 w 4878487"/>
                <a:gd name="connsiteY3989" fmla="*/ 33048 h 3690338"/>
                <a:gd name="connsiteX3990" fmla="*/ 2575370 w 4878487"/>
                <a:gd name="connsiteY3990" fmla="*/ 34622 h 3690338"/>
                <a:gd name="connsiteX3991" fmla="*/ 2578517 w 4878487"/>
                <a:gd name="connsiteY3991" fmla="*/ 34228 h 3690338"/>
                <a:gd name="connsiteX3992" fmla="*/ 2581665 w 4878487"/>
                <a:gd name="connsiteY3992" fmla="*/ 35015 h 3690338"/>
                <a:gd name="connsiteX3993" fmla="*/ 2584419 w 4878487"/>
                <a:gd name="connsiteY3993" fmla="*/ 36195 h 3690338"/>
                <a:gd name="connsiteX3994" fmla="*/ 2587172 w 4878487"/>
                <a:gd name="connsiteY3994" fmla="*/ 36195 h 3690338"/>
                <a:gd name="connsiteX3995" fmla="*/ 2590320 w 4878487"/>
                <a:gd name="connsiteY3995" fmla="*/ 37769 h 3690338"/>
                <a:gd name="connsiteX3996" fmla="*/ 2593468 w 4878487"/>
                <a:gd name="connsiteY3996" fmla="*/ 38949 h 3690338"/>
                <a:gd name="connsiteX3997" fmla="*/ 2596615 w 4878487"/>
                <a:gd name="connsiteY3997" fmla="*/ 40129 h 3690338"/>
                <a:gd name="connsiteX3998" fmla="*/ 2598975 w 4878487"/>
                <a:gd name="connsiteY3998" fmla="*/ 42097 h 3690338"/>
                <a:gd name="connsiteX3999" fmla="*/ 2597402 w 4878487"/>
                <a:gd name="connsiteY3999" fmla="*/ 42097 h 3690338"/>
                <a:gd name="connsiteX4000" fmla="*/ 2594254 w 4878487"/>
                <a:gd name="connsiteY4000" fmla="*/ 41310 h 3690338"/>
                <a:gd name="connsiteX4001" fmla="*/ 2591107 w 4878487"/>
                <a:gd name="connsiteY4001" fmla="*/ 40916 h 3690338"/>
                <a:gd name="connsiteX4002" fmla="*/ 2587566 w 4878487"/>
                <a:gd name="connsiteY4002" fmla="*/ 39343 h 3690338"/>
                <a:gd name="connsiteX4003" fmla="*/ 2584419 w 4878487"/>
                <a:gd name="connsiteY4003" fmla="*/ 39736 h 3690338"/>
                <a:gd name="connsiteX4004" fmla="*/ 2581271 w 4878487"/>
                <a:gd name="connsiteY4004" fmla="*/ 39343 h 3690338"/>
                <a:gd name="connsiteX4005" fmla="*/ 2577730 w 4878487"/>
                <a:gd name="connsiteY4005" fmla="*/ 37376 h 3690338"/>
                <a:gd name="connsiteX4006" fmla="*/ 2574583 w 4878487"/>
                <a:gd name="connsiteY4006" fmla="*/ 38162 h 3690338"/>
                <a:gd name="connsiteX4007" fmla="*/ 2571042 w 4878487"/>
                <a:gd name="connsiteY4007" fmla="*/ 36195 h 3690338"/>
                <a:gd name="connsiteX4008" fmla="*/ 2568288 w 4878487"/>
                <a:gd name="connsiteY4008" fmla="*/ 37376 h 3690338"/>
                <a:gd name="connsiteX4009" fmla="*/ 2565141 w 4878487"/>
                <a:gd name="connsiteY4009" fmla="*/ 38949 h 3690338"/>
                <a:gd name="connsiteX4010" fmla="*/ 2561993 w 4878487"/>
                <a:gd name="connsiteY4010" fmla="*/ 38949 h 3690338"/>
                <a:gd name="connsiteX4011" fmla="*/ 2559239 w 4878487"/>
                <a:gd name="connsiteY4011" fmla="*/ 39343 h 3690338"/>
                <a:gd name="connsiteX4012" fmla="*/ 2562780 w 4878487"/>
                <a:gd name="connsiteY4012" fmla="*/ 40523 h 3690338"/>
                <a:gd name="connsiteX4013" fmla="*/ 2559632 w 4878487"/>
                <a:gd name="connsiteY4013" fmla="*/ 41703 h 3690338"/>
                <a:gd name="connsiteX4014" fmla="*/ 2556092 w 4878487"/>
                <a:gd name="connsiteY4014" fmla="*/ 40916 h 3690338"/>
                <a:gd name="connsiteX4015" fmla="*/ 2553338 w 4878487"/>
                <a:gd name="connsiteY4015" fmla="*/ 41310 h 3690338"/>
                <a:gd name="connsiteX4016" fmla="*/ 2556485 w 4878487"/>
                <a:gd name="connsiteY4016" fmla="*/ 41703 h 3690338"/>
                <a:gd name="connsiteX4017" fmla="*/ 2559239 w 4878487"/>
                <a:gd name="connsiteY4017" fmla="*/ 42490 h 3690338"/>
                <a:gd name="connsiteX4018" fmla="*/ 2556092 w 4878487"/>
                <a:gd name="connsiteY4018" fmla="*/ 43277 h 3690338"/>
                <a:gd name="connsiteX4019" fmla="*/ 2552944 w 4878487"/>
                <a:gd name="connsiteY4019" fmla="*/ 43277 h 3690338"/>
                <a:gd name="connsiteX4020" fmla="*/ 2550191 w 4878487"/>
                <a:gd name="connsiteY4020" fmla="*/ 43670 h 3690338"/>
                <a:gd name="connsiteX4021" fmla="*/ 2547436 w 4878487"/>
                <a:gd name="connsiteY4021" fmla="*/ 43277 h 3690338"/>
                <a:gd name="connsiteX4022" fmla="*/ 2544683 w 4878487"/>
                <a:gd name="connsiteY4022" fmla="*/ 43277 h 3690338"/>
                <a:gd name="connsiteX4023" fmla="*/ 2541535 w 4878487"/>
                <a:gd name="connsiteY4023" fmla="*/ 45637 h 3690338"/>
                <a:gd name="connsiteX4024" fmla="*/ 2541142 w 4878487"/>
                <a:gd name="connsiteY4024" fmla="*/ 45637 h 3690338"/>
                <a:gd name="connsiteX4025" fmla="*/ 2538388 w 4878487"/>
                <a:gd name="connsiteY4025" fmla="*/ 45637 h 3690338"/>
                <a:gd name="connsiteX4026" fmla="*/ 2536814 w 4878487"/>
                <a:gd name="connsiteY4026" fmla="*/ 46031 h 3690338"/>
                <a:gd name="connsiteX4027" fmla="*/ 2533273 w 4878487"/>
                <a:gd name="connsiteY4027" fmla="*/ 43670 h 3690338"/>
                <a:gd name="connsiteX4028" fmla="*/ 2530519 w 4878487"/>
                <a:gd name="connsiteY4028" fmla="*/ 43277 h 3690338"/>
                <a:gd name="connsiteX4029" fmla="*/ 2527372 w 4878487"/>
                <a:gd name="connsiteY4029" fmla="*/ 44457 h 3690338"/>
                <a:gd name="connsiteX4030" fmla="*/ 2524618 w 4878487"/>
                <a:gd name="connsiteY4030" fmla="*/ 44457 h 3690338"/>
                <a:gd name="connsiteX4031" fmla="*/ 2521470 w 4878487"/>
                <a:gd name="connsiteY4031" fmla="*/ 45637 h 3690338"/>
                <a:gd name="connsiteX4032" fmla="*/ 2519110 w 4878487"/>
                <a:gd name="connsiteY4032" fmla="*/ 45637 h 3690338"/>
                <a:gd name="connsiteX4033" fmla="*/ 2521077 w 4878487"/>
                <a:gd name="connsiteY4033" fmla="*/ 43670 h 3690338"/>
                <a:gd name="connsiteX4034" fmla="*/ 2524224 w 4878487"/>
                <a:gd name="connsiteY4034" fmla="*/ 41310 h 3690338"/>
                <a:gd name="connsiteX4035" fmla="*/ 2521077 w 4878487"/>
                <a:gd name="connsiteY4035" fmla="*/ 40523 h 3690338"/>
                <a:gd name="connsiteX4036" fmla="*/ 2517929 w 4878487"/>
                <a:gd name="connsiteY4036" fmla="*/ 40129 h 3690338"/>
                <a:gd name="connsiteX4037" fmla="*/ 2514388 w 4878487"/>
                <a:gd name="connsiteY4037" fmla="*/ 39736 h 3690338"/>
                <a:gd name="connsiteX4038" fmla="*/ 2511241 w 4878487"/>
                <a:gd name="connsiteY4038" fmla="*/ 40129 h 3690338"/>
                <a:gd name="connsiteX4039" fmla="*/ 2508094 w 4878487"/>
                <a:gd name="connsiteY4039" fmla="*/ 39736 h 3690338"/>
                <a:gd name="connsiteX4040" fmla="*/ 2505340 w 4878487"/>
                <a:gd name="connsiteY4040" fmla="*/ 39736 h 3690338"/>
                <a:gd name="connsiteX4041" fmla="*/ 2501799 w 4878487"/>
                <a:gd name="connsiteY4041" fmla="*/ 40129 h 3690338"/>
                <a:gd name="connsiteX4042" fmla="*/ 2498258 w 4878487"/>
                <a:gd name="connsiteY4042" fmla="*/ 40523 h 3690338"/>
                <a:gd name="connsiteX4043" fmla="*/ 2495111 w 4878487"/>
                <a:gd name="connsiteY4043" fmla="*/ 39736 h 3690338"/>
                <a:gd name="connsiteX4044" fmla="*/ 2491963 w 4878487"/>
                <a:gd name="connsiteY4044" fmla="*/ 39343 h 3690338"/>
                <a:gd name="connsiteX4045" fmla="*/ 2488816 w 4878487"/>
                <a:gd name="connsiteY4045" fmla="*/ 41310 h 3690338"/>
                <a:gd name="connsiteX4046" fmla="*/ 2486062 w 4878487"/>
                <a:gd name="connsiteY4046" fmla="*/ 40129 h 3690338"/>
                <a:gd name="connsiteX4047" fmla="*/ 2482914 w 4878487"/>
                <a:gd name="connsiteY4047" fmla="*/ 40523 h 3690338"/>
                <a:gd name="connsiteX4048" fmla="*/ 2480161 w 4878487"/>
                <a:gd name="connsiteY4048" fmla="*/ 40129 h 3690338"/>
                <a:gd name="connsiteX4049" fmla="*/ 2476620 w 4878487"/>
                <a:gd name="connsiteY4049" fmla="*/ 40129 h 3690338"/>
                <a:gd name="connsiteX4050" fmla="*/ 2473472 w 4878487"/>
                <a:gd name="connsiteY4050" fmla="*/ 39736 h 3690338"/>
                <a:gd name="connsiteX4051" fmla="*/ 2476620 w 4878487"/>
                <a:gd name="connsiteY4051" fmla="*/ 40916 h 3690338"/>
                <a:gd name="connsiteX4052" fmla="*/ 2479767 w 4878487"/>
                <a:gd name="connsiteY4052" fmla="*/ 41310 h 3690338"/>
                <a:gd name="connsiteX4053" fmla="*/ 2477013 w 4878487"/>
                <a:gd name="connsiteY4053" fmla="*/ 42097 h 3690338"/>
                <a:gd name="connsiteX4054" fmla="*/ 2473866 w 4878487"/>
                <a:gd name="connsiteY4054" fmla="*/ 42097 h 3690338"/>
                <a:gd name="connsiteX4055" fmla="*/ 2470718 w 4878487"/>
                <a:gd name="connsiteY4055" fmla="*/ 42490 h 3690338"/>
                <a:gd name="connsiteX4056" fmla="*/ 2467571 w 4878487"/>
                <a:gd name="connsiteY4056" fmla="*/ 41310 h 3690338"/>
                <a:gd name="connsiteX4057" fmla="*/ 2464423 w 4878487"/>
                <a:gd name="connsiteY4057" fmla="*/ 40523 h 3690338"/>
                <a:gd name="connsiteX4058" fmla="*/ 2461670 w 4878487"/>
                <a:gd name="connsiteY4058" fmla="*/ 40916 h 3690338"/>
                <a:gd name="connsiteX4059" fmla="*/ 2460489 w 4878487"/>
                <a:gd name="connsiteY4059" fmla="*/ 44064 h 3690338"/>
                <a:gd name="connsiteX4060" fmla="*/ 2463637 w 4878487"/>
                <a:gd name="connsiteY4060" fmla="*/ 45637 h 3690338"/>
                <a:gd name="connsiteX4061" fmla="*/ 2466391 w 4878487"/>
                <a:gd name="connsiteY4061" fmla="*/ 45637 h 3690338"/>
                <a:gd name="connsiteX4062" fmla="*/ 2412491 w 4878487"/>
                <a:gd name="connsiteY4062" fmla="*/ 53899 h 3690338"/>
                <a:gd name="connsiteX4063" fmla="*/ 2413278 w 4878487"/>
                <a:gd name="connsiteY4063" fmla="*/ 54686 h 3690338"/>
                <a:gd name="connsiteX4064" fmla="*/ 2413671 w 4878487"/>
                <a:gd name="connsiteY4064" fmla="*/ 55473 h 3690338"/>
                <a:gd name="connsiteX4065" fmla="*/ 2410130 w 4878487"/>
                <a:gd name="connsiteY4065" fmla="*/ 55473 h 3690338"/>
                <a:gd name="connsiteX4066" fmla="*/ 2406983 w 4878487"/>
                <a:gd name="connsiteY4066" fmla="*/ 55867 h 3690338"/>
                <a:gd name="connsiteX4067" fmla="*/ 2405803 w 4878487"/>
                <a:gd name="connsiteY4067" fmla="*/ 56653 h 3690338"/>
                <a:gd name="connsiteX4068" fmla="*/ 2401475 w 4878487"/>
                <a:gd name="connsiteY4068" fmla="*/ 57047 h 3690338"/>
                <a:gd name="connsiteX4069" fmla="*/ 2400689 w 4878487"/>
                <a:gd name="connsiteY4069" fmla="*/ 56653 h 3690338"/>
                <a:gd name="connsiteX4070" fmla="*/ 2397934 w 4878487"/>
                <a:gd name="connsiteY4070" fmla="*/ 57047 h 3690338"/>
                <a:gd name="connsiteX4071" fmla="*/ 2395181 w 4878487"/>
                <a:gd name="connsiteY4071" fmla="*/ 57440 h 3690338"/>
                <a:gd name="connsiteX4072" fmla="*/ 2394393 w 4878487"/>
                <a:gd name="connsiteY4072" fmla="*/ 57834 h 3690338"/>
                <a:gd name="connsiteX4073" fmla="*/ 2368821 w 4878487"/>
                <a:gd name="connsiteY4073" fmla="*/ 64915 h 3690338"/>
                <a:gd name="connsiteX4074" fmla="*/ 2367247 w 4878487"/>
                <a:gd name="connsiteY4074" fmla="*/ 64915 h 3690338"/>
                <a:gd name="connsiteX4075" fmla="*/ 2364100 w 4878487"/>
                <a:gd name="connsiteY4075" fmla="*/ 64522 h 3690338"/>
                <a:gd name="connsiteX4076" fmla="*/ 2361346 w 4878487"/>
                <a:gd name="connsiteY4076" fmla="*/ 64915 h 3690338"/>
                <a:gd name="connsiteX4077" fmla="*/ 2363313 w 4878487"/>
                <a:gd name="connsiteY4077" fmla="*/ 66489 h 3690338"/>
                <a:gd name="connsiteX4078" fmla="*/ 2364886 w 4878487"/>
                <a:gd name="connsiteY4078" fmla="*/ 69243 h 3690338"/>
                <a:gd name="connsiteX4079" fmla="*/ 2362919 w 4878487"/>
                <a:gd name="connsiteY4079" fmla="*/ 69243 h 3690338"/>
                <a:gd name="connsiteX4080" fmla="*/ 2359772 w 4878487"/>
                <a:gd name="connsiteY4080" fmla="*/ 69636 h 3690338"/>
                <a:gd name="connsiteX4081" fmla="*/ 2356625 w 4878487"/>
                <a:gd name="connsiteY4081" fmla="*/ 69243 h 3690338"/>
                <a:gd name="connsiteX4082" fmla="*/ 2353084 w 4878487"/>
                <a:gd name="connsiteY4082" fmla="*/ 71210 h 3690338"/>
                <a:gd name="connsiteX4083" fmla="*/ 2356231 w 4878487"/>
                <a:gd name="connsiteY4083" fmla="*/ 72784 h 3690338"/>
                <a:gd name="connsiteX4084" fmla="*/ 2359379 w 4878487"/>
                <a:gd name="connsiteY4084" fmla="*/ 73177 h 3690338"/>
                <a:gd name="connsiteX4085" fmla="*/ 2362526 w 4878487"/>
                <a:gd name="connsiteY4085" fmla="*/ 73177 h 3690338"/>
                <a:gd name="connsiteX4086" fmla="*/ 2365674 w 4878487"/>
                <a:gd name="connsiteY4086" fmla="*/ 73571 h 3690338"/>
                <a:gd name="connsiteX4087" fmla="*/ 2362526 w 4878487"/>
                <a:gd name="connsiteY4087" fmla="*/ 72390 h 3690338"/>
                <a:gd name="connsiteX4088" fmla="*/ 2365280 w 4878487"/>
                <a:gd name="connsiteY4088" fmla="*/ 71997 h 3690338"/>
                <a:gd name="connsiteX4089" fmla="*/ 2365674 w 4878487"/>
                <a:gd name="connsiteY4089" fmla="*/ 71997 h 3690338"/>
                <a:gd name="connsiteX4090" fmla="*/ 2368821 w 4878487"/>
                <a:gd name="connsiteY4090" fmla="*/ 79079 h 3690338"/>
                <a:gd name="connsiteX4091" fmla="*/ 2367641 w 4878487"/>
                <a:gd name="connsiteY4091" fmla="*/ 79472 h 3690338"/>
                <a:gd name="connsiteX4092" fmla="*/ 2364493 w 4878487"/>
                <a:gd name="connsiteY4092" fmla="*/ 78292 h 3690338"/>
                <a:gd name="connsiteX4093" fmla="*/ 2361346 w 4878487"/>
                <a:gd name="connsiteY4093" fmla="*/ 76718 h 3690338"/>
                <a:gd name="connsiteX4094" fmla="*/ 2358592 w 4878487"/>
                <a:gd name="connsiteY4094" fmla="*/ 76325 h 3690338"/>
                <a:gd name="connsiteX4095" fmla="*/ 2355838 w 4878487"/>
                <a:gd name="connsiteY4095" fmla="*/ 75931 h 3690338"/>
                <a:gd name="connsiteX4096" fmla="*/ 2352690 w 4878487"/>
                <a:gd name="connsiteY4096" fmla="*/ 73964 h 3690338"/>
                <a:gd name="connsiteX4097" fmla="*/ 2349543 w 4878487"/>
                <a:gd name="connsiteY4097" fmla="*/ 73964 h 3690338"/>
                <a:gd name="connsiteX4098" fmla="*/ 2352297 w 4878487"/>
                <a:gd name="connsiteY4098" fmla="*/ 75538 h 3690338"/>
                <a:gd name="connsiteX4099" fmla="*/ 2349149 w 4878487"/>
                <a:gd name="connsiteY4099" fmla="*/ 76718 h 3690338"/>
                <a:gd name="connsiteX4100" fmla="*/ 2351510 w 4878487"/>
                <a:gd name="connsiteY4100" fmla="*/ 79472 h 3690338"/>
                <a:gd name="connsiteX4101" fmla="*/ 2354264 w 4878487"/>
                <a:gd name="connsiteY4101" fmla="*/ 79079 h 3690338"/>
                <a:gd name="connsiteX4102" fmla="*/ 2357412 w 4878487"/>
                <a:gd name="connsiteY4102" fmla="*/ 79472 h 3690338"/>
                <a:gd name="connsiteX4103" fmla="*/ 2360559 w 4878487"/>
                <a:gd name="connsiteY4103" fmla="*/ 79866 h 3690338"/>
                <a:gd name="connsiteX4104" fmla="*/ 2363706 w 4878487"/>
                <a:gd name="connsiteY4104" fmla="*/ 80259 h 3690338"/>
                <a:gd name="connsiteX4105" fmla="*/ 2366854 w 4878487"/>
                <a:gd name="connsiteY4105" fmla="*/ 80652 h 3690338"/>
                <a:gd name="connsiteX4106" fmla="*/ 2370001 w 4878487"/>
                <a:gd name="connsiteY4106" fmla="*/ 81046 h 3690338"/>
                <a:gd name="connsiteX4107" fmla="*/ 2370001 w 4878487"/>
                <a:gd name="connsiteY4107" fmla="*/ 81046 h 3690338"/>
                <a:gd name="connsiteX4108" fmla="*/ 2367247 w 4878487"/>
                <a:gd name="connsiteY4108" fmla="*/ 81439 h 3690338"/>
                <a:gd name="connsiteX4109" fmla="*/ 2370001 w 4878487"/>
                <a:gd name="connsiteY4109" fmla="*/ 83013 h 3690338"/>
                <a:gd name="connsiteX4110" fmla="*/ 2371182 w 4878487"/>
                <a:gd name="connsiteY4110" fmla="*/ 83406 h 3690338"/>
                <a:gd name="connsiteX4111" fmla="*/ 2371968 w 4878487"/>
                <a:gd name="connsiteY4111" fmla="*/ 85374 h 3690338"/>
                <a:gd name="connsiteX4112" fmla="*/ 2368821 w 4878487"/>
                <a:gd name="connsiteY4112" fmla="*/ 84193 h 3690338"/>
                <a:gd name="connsiteX4113" fmla="*/ 2365674 w 4878487"/>
                <a:gd name="connsiteY4113" fmla="*/ 83800 h 3690338"/>
                <a:gd name="connsiteX4114" fmla="*/ 2362919 w 4878487"/>
                <a:gd name="connsiteY4114" fmla="*/ 84587 h 3690338"/>
                <a:gd name="connsiteX4115" fmla="*/ 2359379 w 4878487"/>
                <a:gd name="connsiteY4115" fmla="*/ 84587 h 3690338"/>
                <a:gd name="connsiteX4116" fmla="*/ 2362919 w 4878487"/>
                <a:gd name="connsiteY4116" fmla="*/ 85374 h 3690338"/>
                <a:gd name="connsiteX4117" fmla="*/ 2365674 w 4878487"/>
                <a:gd name="connsiteY4117" fmla="*/ 87341 h 3690338"/>
                <a:gd name="connsiteX4118" fmla="*/ 2362133 w 4878487"/>
                <a:gd name="connsiteY4118" fmla="*/ 86554 h 3690338"/>
                <a:gd name="connsiteX4119" fmla="*/ 2358985 w 4878487"/>
                <a:gd name="connsiteY4119" fmla="*/ 86160 h 3690338"/>
                <a:gd name="connsiteX4120" fmla="*/ 2362526 w 4878487"/>
                <a:gd name="connsiteY4120" fmla="*/ 88521 h 3690338"/>
                <a:gd name="connsiteX4121" fmla="*/ 2365674 w 4878487"/>
                <a:gd name="connsiteY4121" fmla="*/ 88914 h 3690338"/>
                <a:gd name="connsiteX4122" fmla="*/ 2371968 w 4878487"/>
                <a:gd name="connsiteY4122" fmla="*/ 88914 h 3690338"/>
                <a:gd name="connsiteX4123" fmla="*/ 2375509 w 4878487"/>
                <a:gd name="connsiteY4123" fmla="*/ 89308 h 3690338"/>
                <a:gd name="connsiteX4124" fmla="*/ 2378263 w 4878487"/>
                <a:gd name="connsiteY4124" fmla="*/ 90488 h 3690338"/>
                <a:gd name="connsiteX4125" fmla="*/ 2381411 w 4878487"/>
                <a:gd name="connsiteY4125" fmla="*/ 92849 h 3690338"/>
                <a:gd name="connsiteX4126" fmla="*/ 2384164 w 4878487"/>
                <a:gd name="connsiteY4126" fmla="*/ 94029 h 3690338"/>
                <a:gd name="connsiteX4127" fmla="*/ 2385345 w 4878487"/>
                <a:gd name="connsiteY4127" fmla="*/ 94029 h 3690338"/>
                <a:gd name="connsiteX4128" fmla="*/ 2390066 w 4878487"/>
                <a:gd name="connsiteY4128" fmla="*/ 97176 h 3690338"/>
                <a:gd name="connsiteX4129" fmla="*/ 2390459 w 4878487"/>
                <a:gd name="connsiteY4129" fmla="*/ 97570 h 3690338"/>
                <a:gd name="connsiteX4130" fmla="*/ 2392426 w 4878487"/>
                <a:gd name="connsiteY4130" fmla="*/ 98750 h 3690338"/>
                <a:gd name="connsiteX4131" fmla="*/ 2392033 w 4878487"/>
                <a:gd name="connsiteY4131" fmla="*/ 99143 h 3690338"/>
                <a:gd name="connsiteX4132" fmla="*/ 2390459 w 4878487"/>
                <a:gd name="connsiteY4132" fmla="*/ 99537 h 3690338"/>
                <a:gd name="connsiteX4133" fmla="*/ 2386919 w 4878487"/>
                <a:gd name="connsiteY4133" fmla="*/ 99143 h 3690338"/>
                <a:gd name="connsiteX4134" fmla="*/ 2383378 w 4878487"/>
                <a:gd name="connsiteY4134" fmla="*/ 98750 h 3690338"/>
                <a:gd name="connsiteX4135" fmla="*/ 2380230 w 4878487"/>
                <a:gd name="connsiteY4135" fmla="*/ 99143 h 3690338"/>
                <a:gd name="connsiteX4136" fmla="*/ 2377083 w 4878487"/>
                <a:gd name="connsiteY4136" fmla="*/ 99143 h 3690338"/>
                <a:gd name="connsiteX4137" fmla="*/ 2374329 w 4878487"/>
                <a:gd name="connsiteY4137" fmla="*/ 99537 h 3690338"/>
                <a:gd name="connsiteX4138" fmla="*/ 2371575 w 4878487"/>
                <a:gd name="connsiteY4138" fmla="*/ 99143 h 3690338"/>
                <a:gd name="connsiteX4139" fmla="*/ 2368427 w 4878487"/>
                <a:gd name="connsiteY4139" fmla="*/ 99537 h 3690338"/>
                <a:gd name="connsiteX4140" fmla="*/ 2365674 w 4878487"/>
                <a:gd name="connsiteY4140" fmla="*/ 100324 h 3690338"/>
                <a:gd name="connsiteX4141" fmla="*/ 2362133 w 4878487"/>
                <a:gd name="connsiteY4141" fmla="*/ 100717 h 3690338"/>
                <a:gd name="connsiteX4142" fmla="*/ 2360952 w 4878487"/>
                <a:gd name="connsiteY4142" fmla="*/ 102291 h 3690338"/>
                <a:gd name="connsiteX4143" fmla="*/ 2351116 w 4878487"/>
                <a:gd name="connsiteY4143" fmla="*/ 103471 h 3690338"/>
                <a:gd name="connsiteX4144" fmla="*/ 2349936 w 4878487"/>
                <a:gd name="connsiteY4144" fmla="*/ 103078 h 3690338"/>
                <a:gd name="connsiteX4145" fmla="*/ 2346789 w 4878487"/>
                <a:gd name="connsiteY4145" fmla="*/ 102684 h 3690338"/>
                <a:gd name="connsiteX4146" fmla="*/ 2343642 w 4878487"/>
                <a:gd name="connsiteY4146" fmla="*/ 102684 h 3690338"/>
                <a:gd name="connsiteX4147" fmla="*/ 2340494 w 4878487"/>
                <a:gd name="connsiteY4147" fmla="*/ 103078 h 3690338"/>
                <a:gd name="connsiteX4148" fmla="*/ 2337347 w 4878487"/>
                <a:gd name="connsiteY4148" fmla="*/ 103865 h 3690338"/>
                <a:gd name="connsiteX4149" fmla="*/ 2333806 w 4878487"/>
                <a:gd name="connsiteY4149" fmla="*/ 104258 h 3690338"/>
                <a:gd name="connsiteX4150" fmla="*/ 2327118 w 4878487"/>
                <a:gd name="connsiteY4150" fmla="*/ 104258 h 3690338"/>
                <a:gd name="connsiteX4151" fmla="*/ 2324364 w 4878487"/>
                <a:gd name="connsiteY4151" fmla="*/ 104651 h 3690338"/>
                <a:gd name="connsiteX4152" fmla="*/ 2321609 w 4878487"/>
                <a:gd name="connsiteY4152" fmla="*/ 105045 h 3690338"/>
                <a:gd name="connsiteX4153" fmla="*/ 2318462 w 4878487"/>
                <a:gd name="connsiteY4153" fmla="*/ 105438 h 3690338"/>
                <a:gd name="connsiteX4154" fmla="*/ 2307053 w 4878487"/>
                <a:gd name="connsiteY4154" fmla="*/ 105438 h 3690338"/>
                <a:gd name="connsiteX4155" fmla="*/ 2303512 w 4878487"/>
                <a:gd name="connsiteY4155" fmla="*/ 105045 h 3690338"/>
                <a:gd name="connsiteX4156" fmla="*/ 2300758 w 4878487"/>
                <a:gd name="connsiteY4156" fmla="*/ 105045 h 3690338"/>
                <a:gd name="connsiteX4157" fmla="*/ 2297217 w 4878487"/>
                <a:gd name="connsiteY4157" fmla="*/ 105438 h 3690338"/>
                <a:gd name="connsiteX4158" fmla="*/ 2290923 w 4878487"/>
                <a:gd name="connsiteY4158" fmla="*/ 105438 h 3690338"/>
                <a:gd name="connsiteX4159" fmla="*/ 2287382 w 4878487"/>
                <a:gd name="connsiteY4159" fmla="*/ 105832 h 3690338"/>
                <a:gd name="connsiteX4160" fmla="*/ 2280694 w 4878487"/>
                <a:gd name="connsiteY4160" fmla="*/ 105832 h 3690338"/>
                <a:gd name="connsiteX4161" fmla="*/ 2277546 w 4878487"/>
                <a:gd name="connsiteY4161" fmla="*/ 106225 h 3690338"/>
                <a:gd name="connsiteX4162" fmla="*/ 2274792 w 4878487"/>
                <a:gd name="connsiteY4162" fmla="*/ 107012 h 3690338"/>
                <a:gd name="connsiteX4163" fmla="*/ 2272038 w 4878487"/>
                <a:gd name="connsiteY4163" fmla="*/ 107012 h 3690338"/>
                <a:gd name="connsiteX4164" fmla="*/ 2268891 w 4878487"/>
                <a:gd name="connsiteY4164" fmla="*/ 107405 h 3690338"/>
                <a:gd name="connsiteX4165" fmla="*/ 2266136 w 4878487"/>
                <a:gd name="connsiteY4165" fmla="*/ 107799 h 3690338"/>
                <a:gd name="connsiteX4166" fmla="*/ 2262989 w 4878487"/>
                <a:gd name="connsiteY4166" fmla="*/ 110159 h 3690338"/>
                <a:gd name="connsiteX4167" fmla="*/ 2265743 w 4878487"/>
                <a:gd name="connsiteY4167" fmla="*/ 109766 h 3690338"/>
                <a:gd name="connsiteX4168" fmla="*/ 2263383 w 4878487"/>
                <a:gd name="connsiteY4168" fmla="*/ 112520 h 3690338"/>
                <a:gd name="connsiteX4169" fmla="*/ 2260235 w 4878487"/>
                <a:gd name="connsiteY4169" fmla="*/ 114880 h 3690338"/>
                <a:gd name="connsiteX4170" fmla="*/ 2263383 w 4878487"/>
                <a:gd name="connsiteY4170" fmla="*/ 115274 h 3690338"/>
                <a:gd name="connsiteX4171" fmla="*/ 2266530 w 4878487"/>
                <a:gd name="connsiteY4171" fmla="*/ 117634 h 3690338"/>
                <a:gd name="connsiteX4172" fmla="*/ 2263383 w 4878487"/>
                <a:gd name="connsiteY4172" fmla="*/ 118028 h 3690338"/>
                <a:gd name="connsiteX4173" fmla="*/ 2266136 w 4878487"/>
                <a:gd name="connsiteY4173" fmla="*/ 118421 h 3690338"/>
                <a:gd name="connsiteX4174" fmla="*/ 2269284 w 4878487"/>
                <a:gd name="connsiteY4174" fmla="*/ 120782 h 3690338"/>
                <a:gd name="connsiteX4175" fmla="*/ 2272431 w 4878487"/>
                <a:gd name="connsiteY4175" fmla="*/ 121175 h 3690338"/>
                <a:gd name="connsiteX4176" fmla="*/ 2275579 w 4878487"/>
                <a:gd name="connsiteY4176" fmla="*/ 121569 h 3690338"/>
                <a:gd name="connsiteX4177" fmla="*/ 2278726 w 4878487"/>
                <a:gd name="connsiteY4177" fmla="*/ 123536 h 3690338"/>
                <a:gd name="connsiteX4178" fmla="*/ 2281087 w 4878487"/>
                <a:gd name="connsiteY4178" fmla="*/ 126290 h 3690338"/>
                <a:gd name="connsiteX4179" fmla="*/ 2280694 w 4878487"/>
                <a:gd name="connsiteY4179" fmla="*/ 129044 h 3690338"/>
                <a:gd name="connsiteX4180" fmla="*/ 2282267 w 4878487"/>
                <a:gd name="connsiteY4180" fmla="*/ 132191 h 3690338"/>
                <a:gd name="connsiteX4181" fmla="*/ 2285021 w 4878487"/>
                <a:gd name="connsiteY4181" fmla="*/ 134945 h 3690338"/>
                <a:gd name="connsiteX4182" fmla="*/ 2287775 w 4878487"/>
                <a:gd name="connsiteY4182" fmla="*/ 136519 h 3690338"/>
                <a:gd name="connsiteX4183" fmla="*/ 2294070 w 4878487"/>
                <a:gd name="connsiteY4183" fmla="*/ 138880 h 3690338"/>
                <a:gd name="connsiteX4184" fmla="*/ 2297611 w 4878487"/>
                <a:gd name="connsiteY4184" fmla="*/ 140453 h 3690338"/>
                <a:gd name="connsiteX4185" fmla="*/ 2300365 w 4878487"/>
                <a:gd name="connsiteY4185" fmla="*/ 140453 h 3690338"/>
                <a:gd name="connsiteX4186" fmla="*/ 2303119 w 4878487"/>
                <a:gd name="connsiteY4186" fmla="*/ 140847 h 3690338"/>
                <a:gd name="connsiteX4187" fmla="*/ 2329085 w 4878487"/>
                <a:gd name="connsiteY4187" fmla="*/ 149109 h 3690338"/>
                <a:gd name="connsiteX4188" fmla="*/ 2330265 w 4878487"/>
                <a:gd name="connsiteY4188" fmla="*/ 149502 h 3690338"/>
                <a:gd name="connsiteX4189" fmla="*/ 2333019 w 4878487"/>
                <a:gd name="connsiteY4189" fmla="*/ 150289 h 3690338"/>
                <a:gd name="connsiteX4190" fmla="*/ 2339314 w 4878487"/>
                <a:gd name="connsiteY4190" fmla="*/ 153830 h 3690338"/>
                <a:gd name="connsiteX4191" fmla="*/ 2340887 w 4878487"/>
                <a:gd name="connsiteY4191" fmla="*/ 155403 h 3690338"/>
                <a:gd name="connsiteX4192" fmla="*/ 2341675 w 4878487"/>
                <a:gd name="connsiteY4192" fmla="*/ 156977 h 3690338"/>
                <a:gd name="connsiteX4193" fmla="*/ 2296431 w 4878487"/>
                <a:gd name="connsiteY4193" fmla="*/ 150289 h 3690338"/>
                <a:gd name="connsiteX4194" fmla="*/ 2293676 w 4878487"/>
                <a:gd name="connsiteY4194" fmla="*/ 149502 h 3690338"/>
                <a:gd name="connsiteX4195" fmla="*/ 2296431 w 4878487"/>
                <a:gd name="connsiteY4195" fmla="*/ 149895 h 3690338"/>
                <a:gd name="connsiteX4196" fmla="*/ 2293283 w 4878487"/>
                <a:gd name="connsiteY4196" fmla="*/ 147535 h 3690338"/>
                <a:gd name="connsiteX4197" fmla="*/ 2290529 w 4878487"/>
                <a:gd name="connsiteY4197" fmla="*/ 147141 h 3690338"/>
                <a:gd name="connsiteX4198" fmla="*/ 2287775 w 4878487"/>
                <a:gd name="connsiteY4198" fmla="*/ 146748 h 3690338"/>
                <a:gd name="connsiteX4199" fmla="*/ 2284234 w 4878487"/>
                <a:gd name="connsiteY4199" fmla="*/ 146355 h 3690338"/>
                <a:gd name="connsiteX4200" fmla="*/ 2281087 w 4878487"/>
                <a:gd name="connsiteY4200" fmla="*/ 145961 h 3690338"/>
                <a:gd name="connsiteX4201" fmla="*/ 2278333 w 4878487"/>
                <a:gd name="connsiteY4201" fmla="*/ 145174 h 3690338"/>
                <a:gd name="connsiteX4202" fmla="*/ 2275972 w 4878487"/>
                <a:gd name="connsiteY4202" fmla="*/ 144781 h 3690338"/>
                <a:gd name="connsiteX4203" fmla="*/ 2273218 w 4878487"/>
                <a:gd name="connsiteY4203" fmla="*/ 144387 h 3690338"/>
                <a:gd name="connsiteX4204" fmla="*/ 2270071 w 4878487"/>
                <a:gd name="connsiteY4204" fmla="*/ 143601 h 3690338"/>
                <a:gd name="connsiteX4205" fmla="*/ 2266924 w 4878487"/>
                <a:gd name="connsiteY4205" fmla="*/ 142420 h 3690338"/>
                <a:gd name="connsiteX4206" fmla="*/ 2263776 w 4878487"/>
                <a:gd name="connsiteY4206" fmla="*/ 141240 h 3690338"/>
                <a:gd name="connsiteX4207" fmla="*/ 2260628 w 4878487"/>
                <a:gd name="connsiteY4207" fmla="*/ 140847 h 3690338"/>
                <a:gd name="connsiteX4208" fmla="*/ 2257481 w 4878487"/>
                <a:gd name="connsiteY4208" fmla="*/ 140453 h 3690338"/>
                <a:gd name="connsiteX4209" fmla="*/ 2254727 w 4878487"/>
                <a:gd name="connsiteY4209" fmla="*/ 140453 h 3690338"/>
                <a:gd name="connsiteX4210" fmla="*/ 2251580 w 4878487"/>
                <a:gd name="connsiteY4210" fmla="*/ 140847 h 3690338"/>
                <a:gd name="connsiteX4211" fmla="*/ 2248826 w 4878487"/>
                <a:gd name="connsiteY4211" fmla="*/ 140847 h 3690338"/>
                <a:gd name="connsiteX4212" fmla="*/ 2245285 w 4878487"/>
                <a:gd name="connsiteY4212" fmla="*/ 140453 h 3690338"/>
                <a:gd name="connsiteX4213" fmla="*/ 2242531 w 4878487"/>
                <a:gd name="connsiteY4213" fmla="*/ 140060 h 3690338"/>
                <a:gd name="connsiteX4214" fmla="*/ 2240957 w 4878487"/>
                <a:gd name="connsiteY4214" fmla="*/ 140060 h 3690338"/>
                <a:gd name="connsiteX4215" fmla="*/ 2241744 w 4878487"/>
                <a:gd name="connsiteY4215" fmla="*/ 140453 h 3690338"/>
                <a:gd name="connsiteX4216" fmla="*/ 2238597 w 4878487"/>
                <a:gd name="connsiteY4216" fmla="*/ 140060 h 3690338"/>
                <a:gd name="connsiteX4217" fmla="*/ 2235449 w 4878487"/>
                <a:gd name="connsiteY4217" fmla="*/ 140847 h 3690338"/>
                <a:gd name="connsiteX4218" fmla="*/ 2232302 w 4878487"/>
                <a:gd name="connsiteY4218" fmla="*/ 141633 h 3690338"/>
                <a:gd name="connsiteX4219" fmla="*/ 2229548 w 4878487"/>
                <a:gd name="connsiteY4219" fmla="*/ 143207 h 3690338"/>
                <a:gd name="connsiteX4220" fmla="*/ 2226400 w 4878487"/>
                <a:gd name="connsiteY4220" fmla="*/ 145568 h 3690338"/>
                <a:gd name="connsiteX4221" fmla="*/ 2223253 w 4878487"/>
                <a:gd name="connsiteY4221" fmla="*/ 144781 h 3690338"/>
                <a:gd name="connsiteX4222" fmla="*/ 2222860 w 4878487"/>
                <a:gd name="connsiteY4222" fmla="*/ 147535 h 3690338"/>
                <a:gd name="connsiteX4223" fmla="*/ 2224040 w 4878487"/>
                <a:gd name="connsiteY4223" fmla="*/ 147928 h 3690338"/>
                <a:gd name="connsiteX4224" fmla="*/ 2218139 w 4878487"/>
                <a:gd name="connsiteY4224" fmla="*/ 150682 h 3690338"/>
                <a:gd name="connsiteX4225" fmla="*/ 2215384 w 4878487"/>
                <a:gd name="connsiteY4225" fmla="*/ 149895 h 3690338"/>
                <a:gd name="connsiteX4226" fmla="*/ 2212631 w 4878487"/>
                <a:gd name="connsiteY4226" fmla="*/ 149502 h 3690338"/>
                <a:gd name="connsiteX4227" fmla="*/ 2209483 w 4878487"/>
                <a:gd name="connsiteY4227" fmla="*/ 149895 h 3690338"/>
                <a:gd name="connsiteX4228" fmla="*/ 2206729 w 4878487"/>
                <a:gd name="connsiteY4228" fmla="*/ 150289 h 3690338"/>
                <a:gd name="connsiteX4229" fmla="*/ 2203582 w 4878487"/>
                <a:gd name="connsiteY4229" fmla="*/ 150682 h 3690338"/>
                <a:gd name="connsiteX4230" fmla="*/ 2200828 w 4878487"/>
                <a:gd name="connsiteY4230" fmla="*/ 152256 h 3690338"/>
                <a:gd name="connsiteX4231" fmla="*/ 2197680 w 4878487"/>
                <a:gd name="connsiteY4231" fmla="*/ 153043 h 3690338"/>
                <a:gd name="connsiteX4232" fmla="*/ 2200434 w 4878487"/>
                <a:gd name="connsiteY4232" fmla="*/ 155403 h 3690338"/>
                <a:gd name="connsiteX4233" fmla="*/ 2203582 w 4878487"/>
                <a:gd name="connsiteY4233" fmla="*/ 157764 h 3690338"/>
                <a:gd name="connsiteX4234" fmla="*/ 2205549 w 4878487"/>
                <a:gd name="connsiteY4234" fmla="*/ 158944 h 3690338"/>
                <a:gd name="connsiteX4235" fmla="*/ 2184304 w 4878487"/>
                <a:gd name="connsiteY4235" fmla="*/ 150682 h 3690338"/>
                <a:gd name="connsiteX4236" fmla="*/ 2183910 w 4878487"/>
                <a:gd name="connsiteY4236" fmla="*/ 147928 h 3690338"/>
                <a:gd name="connsiteX4237" fmla="*/ 2183517 w 4878487"/>
                <a:gd name="connsiteY4237" fmla="*/ 144781 h 3690338"/>
                <a:gd name="connsiteX4238" fmla="*/ 2183124 w 4878487"/>
                <a:gd name="connsiteY4238" fmla="*/ 142027 h 3690338"/>
                <a:gd name="connsiteX4239" fmla="*/ 2180370 w 4878487"/>
                <a:gd name="connsiteY4239" fmla="*/ 139666 h 3690338"/>
                <a:gd name="connsiteX4240" fmla="*/ 2177222 w 4878487"/>
                <a:gd name="connsiteY4240" fmla="*/ 136912 h 3690338"/>
                <a:gd name="connsiteX4241" fmla="*/ 2175255 w 4878487"/>
                <a:gd name="connsiteY4241" fmla="*/ 134158 h 3690338"/>
                <a:gd name="connsiteX4242" fmla="*/ 2172107 w 4878487"/>
                <a:gd name="connsiteY4242" fmla="*/ 132585 h 3690338"/>
                <a:gd name="connsiteX4243" fmla="*/ 2170140 w 4878487"/>
                <a:gd name="connsiteY4243" fmla="*/ 129831 h 3690338"/>
                <a:gd name="connsiteX4244" fmla="*/ 2167387 w 4878487"/>
                <a:gd name="connsiteY4244" fmla="*/ 128650 h 3690338"/>
                <a:gd name="connsiteX4245" fmla="*/ 2164633 w 4878487"/>
                <a:gd name="connsiteY4245" fmla="*/ 128257 h 3690338"/>
                <a:gd name="connsiteX4246" fmla="*/ 2161092 w 4878487"/>
                <a:gd name="connsiteY4246" fmla="*/ 126683 h 3690338"/>
                <a:gd name="connsiteX4247" fmla="*/ 2158338 w 4878487"/>
                <a:gd name="connsiteY4247" fmla="*/ 127077 h 3690338"/>
                <a:gd name="connsiteX4248" fmla="*/ 2155584 w 4878487"/>
                <a:gd name="connsiteY4248" fmla="*/ 128257 h 3690338"/>
                <a:gd name="connsiteX4249" fmla="*/ 2158731 w 4878487"/>
                <a:gd name="connsiteY4249" fmla="*/ 130224 h 3690338"/>
                <a:gd name="connsiteX4250" fmla="*/ 2161485 w 4878487"/>
                <a:gd name="connsiteY4250" fmla="*/ 131798 h 3690338"/>
                <a:gd name="connsiteX4251" fmla="*/ 2164239 w 4878487"/>
                <a:gd name="connsiteY4251" fmla="*/ 133765 h 3690338"/>
                <a:gd name="connsiteX4252" fmla="*/ 2169354 w 4878487"/>
                <a:gd name="connsiteY4252" fmla="*/ 139273 h 3690338"/>
                <a:gd name="connsiteX4253" fmla="*/ 2171321 w 4878487"/>
                <a:gd name="connsiteY4253" fmla="*/ 142027 h 3690338"/>
                <a:gd name="connsiteX4254" fmla="*/ 2172501 w 4878487"/>
                <a:gd name="connsiteY4254" fmla="*/ 145174 h 3690338"/>
                <a:gd name="connsiteX4255" fmla="*/ 2171714 w 4878487"/>
                <a:gd name="connsiteY4255" fmla="*/ 147928 h 3690338"/>
                <a:gd name="connsiteX4256" fmla="*/ 2168567 w 4878487"/>
                <a:gd name="connsiteY4256" fmla="*/ 149502 h 3690338"/>
                <a:gd name="connsiteX4257" fmla="*/ 2165419 w 4878487"/>
                <a:gd name="connsiteY4257" fmla="*/ 150289 h 3690338"/>
                <a:gd name="connsiteX4258" fmla="*/ 2164239 w 4878487"/>
                <a:gd name="connsiteY4258" fmla="*/ 150682 h 3690338"/>
                <a:gd name="connsiteX4259" fmla="*/ 2163059 w 4878487"/>
                <a:gd name="connsiteY4259" fmla="*/ 151076 h 3690338"/>
                <a:gd name="connsiteX4260" fmla="*/ 2160305 w 4878487"/>
                <a:gd name="connsiteY4260" fmla="*/ 151469 h 3690338"/>
                <a:gd name="connsiteX4261" fmla="*/ 2157551 w 4878487"/>
                <a:gd name="connsiteY4261" fmla="*/ 152649 h 3690338"/>
                <a:gd name="connsiteX4262" fmla="*/ 2154797 w 4878487"/>
                <a:gd name="connsiteY4262" fmla="*/ 153043 h 3690338"/>
                <a:gd name="connsiteX4263" fmla="*/ 2151256 w 4878487"/>
                <a:gd name="connsiteY4263" fmla="*/ 153436 h 3690338"/>
                <a:gd name="connsiteX4264" fmla="*/ 2148109 w 4878487"/>
                <a:gd name="connsiteY4264" fmla="*/ 155010 h 3690338"/>
                <a:gd name="connsiteX4265" fmla="*/ 2147322 w 4878487"/>
                <a:gd name="connsiteY4265" fmla="*/ 157764 h 3690338"/>
                <a:gd name="connsiteX4266" fmla="*/ 2147715 w 4878487"/>
                <a:gd name="connsiteY4266" fmla="*/ 160518 h 3690338"/>
                <a:gd name="connsiteX4267" fmla="*/ 2145355 w 4878487"/>
                <a:gd name="connsiteY4267" fmla="*/ 163665 h 3690338"/>
                <a:gd name="connsiteX4268" fmla="*/ 2142207 w 4878487"/>
                <a:gd name="connsiteY4268" fmla="*/ 166813 h 3690338"/>
                <a:gd name="connsiteX4269" fmla="*/ 2145355 w 4878487"/>
                <a:gd name="connsiteY4269" fmla="*/ 167600 h 3690338"/>
                <a:gd name="connsiteX4270" fmla="*/ 2151649 w 4878487"/>
                <a:gd name="connsiteY4270" fmla="*/ 169173 h 3690338"/>
                <a:gd name="connsiteX4271" fmla="*/ 2154797 w 4878487"/>
                <a:gd name="connsiteY4271" fmla="*/ 170354 h 3690338"/>
                <a:gd name="connsiteX4272" fmla="*/ 2157551 w 4878487"/>
                <a:gd name="connsiteY4272" fmla="*/ 171927 h 3690338"/>
                <a:gd name="connsiteX4273" fmla="*/ 2160305 w 4878487"/>
                <a:gd name="connsiteY4273" fmla="*/ 174288 h 3690338"/>
                <a:gd name="connsiteX4274" fmla="*/ 2163059 w 4878487"/>
                <a:gd name="connsiteY4274" fmla="*/ 176648 h 3690338"/>
                <a:gd name="connsiteX4275" fmla="*/ 2165813 w 4878487"/>
                <a:gd name="connsiteY4275" fmla="*/ 178222 h 3690338"/>
                <a:gd name="connsiteX4276" fmla="*/ 2168960 w 4878487"/>
                <a:gd name="connsiteY4276" fmla="*/ 179796 h 3690338"/>
                <a:gd name="connsiteX4277" fmla="*/ 2171714 w 4878487"/>
                <a:gd name="connsiteY4277" fmla="*/ 182550 h 3690338"/>
                <a:gd name="connsiteX4278" fmla="*/ 2174075 w 4878487"/>
                <a:gd name="connsiteY4278" fmla="*/ 183730 h 3690338"/>
                <a:gd name="connsiteX4279" fmla="*/ 2180763 w 4878487"/>
                <a:gd name="connsiteY4279" fmla="*/ 206549 h 3690338"/>
                <a:gd name="connsiteX4280" fmla="*/ 2180763 w 4878487"/>
                <a:gd name="connsiteY4280" fmla="*/ 206942 h 3690338"/>
                <a:gd name="connsiteX4281" fmla="*/ 2181550 w 4878487"/>
                <a:gd name="connsiteY4281" fmla="*/ 209696 h 3690338"/>
                <a:gd name="connsiteX4282" fmla="*/ 2180763 w 4878487"/>
                <a:gd name="connsiteY4282" fmla="*/ 212450 h 3690338"/>
                <a:gd name="connsiteX4283" fmla="*/ 2182337 w 4878487"/>
                <a:gd name="connsiteY4283" fmla="*/ 215204 h 3690338"/>
                <a:gd name="connsiteX4284" fmla="*/ 2185091 w 4878487"/>
                <a:gd name="connsiteY4284" fmla="*/ 217171 h 3690338"/>
                <a:gd name="connsiteX4285" fmla="*/ 2187844 w 4878487"/>
                <a:gd name="connsiteY4285" fmla="*/ 218745 h 3690338"/>
                <a:gd name="connsiteX4286" fmla="*/ 2190599 w 4878487"/>
                <a:gd name="connsiteY4286" fmla="*/ 220319 h 3690338"/>
                <a:gd name="connsiteX4287" fmla="*/ 2193353 w 4878487"/>
                <a:gd name="connsiteY4287" fmla="*/ 222679 h 3690338"/>
                <a:gd name="connsiteX4288" fmla="*/ 2194140 w 4878487"/>
                <a:gd name="connsiteY4288" fmla="*/ 225433 h 3690338"/>
                <a:gd name="connsiteX4289" fmla="*/ 2194140 w 4878487"/>
                <a:gd name="connsiteY4289" fmla="*/ 228581 h 3690338"/>
                <a:gd name="connsiteX4290" fmla="*/ 2196893 w 4878487"/>
                <a:gd name="connsiteY4290" fmla="*/ 231335 h 3690338"/>
                <a:gd name="connsiteX4291" fmla="*/ 2200041 w 4878487"/>
                <a:gd name="connsiteY4291" fmla="*/ 232908 h 3690338"/>
                <a:gd name="connsiteX4292" fmla="*/ 2202795 w 4878487"/>
                <a:gd name="connsiteY4292" fmla="*/ 232122 h 3690338"/>
                <a:gd name="connsiteX4293" fmla="*/ 2205942 w 4878487"/>
                <a:gd name="connsiteY4293" fmla="*/ 230941 h 3690338"/>
                <a:gd name="connsiteX4294" fmla="*/ 2208696 w 4878487"/>
                <a:gd name="connsiteY4294" fmla="*/ 230941 h 3690338"/>
                <a:gd name="connsiteX4295" fmla="*/ 2211844 w 4878487"/>
                <a:gd name="connsiteY4295" fmla="*/ 231335 h 3690338"/>
                <a:gd name="connsiteX4296" fmla="*/ 2214991 w 4878487"/>
                <a:gd name="connsiteY4296" fmla="*/ 232122 h 3690338"/>
                <a:gd name="connsiteX4297" fmla="*/ 2218139 w 4878487"/>
                <a:gd name="connsiteY4297" fmla="*/ 232515 h 3690338"/>
                <a:gd name="connsiteX4298" fmla="*/ 2221286 w 4878487"/>
                <a:gd name="connsiteY4298" fmla="*/ 232122 h 3690338"/>
                <a:gd name="connsiteX4299" fmla="*/ 2224433 w 4878487"/>
                <a:gd name="connsiteY4299" fmla="*/ 230941 h 3690338"/>
                <a:gd name="connsiteX4300" fmla="*/ 2226794 w 4878487"/>
                <a:gd name="connsiteY4300" fmla="*/ 229761 h 3690338"/>
                <a:gd name="connsiteX4301" fmla="*/ 2241351 w 4878487"/>
                <a:gd name="connsiteY4301" fmla="*/ 237236 h 3690338"/>
                <a:gd name="connsiteX4302" fmla="*/ 2238990 w 4878487"/>
                <a:gd name="connsiteY4302" fmla="*/ 237630 h 3690338"/>
                <a:gd name="connsiteX4303" fmla="*/ 2235843 w 4878487"/>
                <a:gd name="connsiteY4303" fmla="*/ 238023 h 3690338"/>
                <a:gd name="connsiteX4304" fmla="*/ 2233089 w 4878487"/>
                <a:gd name="connsiteY4304" fmla="*/ 238416 h 3690338"/>
                <a:gd name="connsiteX4305" fmla="*/ 2229941 w 4878487"/>
                <a:gd name="connsiteY4305" fmla="*/ 239203 h 3690338"/>
                <a:gd name="connsiteX4306" fmla="*/ 2226794 w 4878487"/>
                <a:gd name="connsiteY4306" fmla="*/ 239990 h 3690338"/>
                <a:gd name="connsiteX4307" fmla="*/ 2224040 w 4878487"/>
                <a:gd name="connsiteY4307" fmla="*/ 240383 h 3690338"/>
                <a:gd name="connsiteX4308" fmla="*/ 2220892 w 4878487"/>
                <a:gd name="connsiteY4308" fmla="*/ 240777 h 3690338"/>
                <a:gd name="connsiteX4309" fmla="*/ 2218139 w 4878487"/>
                <a:gd name="connsiteY4309" fmla="*/ 242351 h 3690338"/>
                <a:gd name="connsiteX4310" fmla="*/ 2218532 w 4878487"/>
                <a:gd name="connsiteY4310" fmla="*/ 245498 h 3690338"/>
                <a:gd name="connsiteX4311" fmla="*/ 2206729 w 4878487"/>
                <a:gd name="connsiteY4311" fmla="*/ 316708 h 3690338"/>
                <a:gd name="connsiteX4312" fmla="*/ 2203975 w 4878487"/>
                <a:gd name="connsiteY4312" fmla="*/ 316315 h 3690338"/>
                <a:gd name="connsiteX4313" fmla="*/ 2201221 w 4878487"/>
                <a:gd name="connsiteY4313" fmla="*/ 315134 h 3690338"/>
                <a:gd name="connsiteX4314" fmla="*/ 2198074 w 4878487"/>
                <a:gd name="connsiteY4314" fmla="*/ 313561 h 3690338"/>
                <a:gd name="connsiteX4315" fmla="*/ 2194926 w 4878487"/>
                <a:gd name="connsiteY4315" fmla="*/ 313167 h 3690338"/>
                <a:gd name="connsiteX4316" fmla="*/ 2191779 w 4878487"/>
                <a:gd name="connsiteY4316" fmla="*/ 312774 h 3690338"/>
                <a:gd name="connsiteX4317" fmla="*/ 2188632 w 4878487"/>
                <a:gd name="connsiteY4317" fmla="*/ 312381 h 3690338"/>
                <a:gd name="connsiteX4318" fmla="*/ 2185877 w 4878487"/>
                <a:gd name="connsiteY4318" fmla="*/ 312381 h 3690338"/>
                <a:gd name="connsiteX4319" fmla="*/ 2182730 w 4878487"/>
                <a:gd name="connsiteY4319" fmla="*/ 311987 h 3690338"/>
                <a:gd name="connsiteX4320" fmla="*/ 2179583 w 4878487"/>
                <a:gd name="connsiteY4320" fmla="*/ 312381 h 3690338"/>
                <a:gd name="connsiteX4321" fmla="*/ 2176829 w 4878487"/>
                <a:gd name="connsiteY4321" fmla="*/ 312774 h 3690338"/>
                <a:gd name="connsiteX4322" fmla="*/ 2174075 w 4878487"/>
                <a:gd name="connsiteY4322" fmla="*/ 313167 h 3690338"/>
                <a:gd name="connsiteX4323" fmla="*/ 2159125 w 4878487"/>
                <a:gd name="connsiteY4323" fmla="*/ 311594 h 3690338"/>
                <a:gd name="connsiteX4324" fmla="*/ 2134732 w 4878487"/>
                <a:gd name="connsiteY4324" fmla="*/ 301365 h 3690338"/>
                <a:gd name="connsiteX4325" fmla="*/ 2134732 w 4878487"/>
                <a:gd name="connsiteY4325" fmla="*/ 301365 h 3690338"/>
                <a:gd name="connsiteX4326" fmla="*/ 2131585 w 4878487"/>
                <a:gd name="connsiteY4326" fmla="*/ 300184 h 3690338"/>
                <a:gd name="connsiteX4327" fmla="*/ 2130798 w 4878487"/>
                <a:gd name="connsiteY4327" fmla="*/ 300184 h 3690338"/>
                <a:gd name="connsiteX4328" fmla="*/ 2130404 w 4878487"/>
                <a:gd name="connsiteY4328" fmla="*/ 299791 h 3690338"/>
                <a:gd name="connsiteX4329" fmla="*/ 2139060 w 4878487"/>
                <a:gd name="connsiteY4329" fmla="*/ 299791 h 3690338"/>
                <a:gd name="connsiteX4330" fmla="*/ 2136306 w 4878487"/>
                <a:gd name="connsiteY4330" fmla="*/ 300971 h 3690338"/>
                <a:gd name="connsiteX4331" fmla="*/ 2139060 w 4878487"/>
                <a:gd name="connsiteY4331" fmla="*/ 300578 h 3690338"/>
                <a:gd name="connsiteX4332" fmla="*/ 2142207 w 4878487"/>
                <a:gd name="connsiteY4332" fmla="*/ 301365 h 3690338"/>
                <a:gd name="connsiteX4333" fmla="*/ 2144961 w 4878487"/>
                <a:gd name="connsiteY4333" fmla="*/ 303725 h 3690338"/>
                <a:gd name="connsiteX4334" fmla="*/ 2147715 w 4878487"/>
                <a:gd name="connsiteY4334" fmla="*/ 306479 h 3690338"/>
                <a:gd name="connsiteX4335" fmla="*/ 2151256 w 4878487"/>
                <a:gd name="connsiteY4335" fmla="*/ 307266 h 3690338"/>
                <a:gd name="connsiteX4336" fmla="*/ 2154797 w 4878487"/>
                <a:gd name="connsiteY4336" fmla="*/ 308840 h 3690338"/>
                <a:gd name="connsiteX4337" fmla="*/ 2157944 w 4878487"/>
                <a:gd name="connsiteY4337" fmla="*/ 308053 h 3690338"/>
                <a:gd name="connsiteX4338" fmla="*/ 2159518 w 4878487"/>
                <a:gd name="connsiteY4338" fmla="*/ 306873 h 3690338"/>
                <a:gd name="connsiteX4339" fmla="*/ 2157944 w 4878487"/>
                <a:gd name="connsiteY4339" fmla="*/ 304119 h 3690338"/>
                <a:gd name="connsiteX4340" fmla="*/ 2154797 w 4878487"/>
                <a:gd name="connsiteY4340" fmla="*/ 302151 h 3690338"/>
                <a:gd name="connsiteX4341" fmla="*/ 2152043 w 4878487"/>
                <a:gd name="connsiteY4341" fmla="*/ 301758 h 3690338"/>
                <a:gd name="connsiteX4342" fmla="*/ 2148502 w 4878487"/>
                <a:gd name="connsiteY4342" fmla="*/ 300971 h 3690338"/>
                <a:gd name="connsiteX4343" fmla="*/ 2145355 w 4878487"/>
                <a:gd name="connsiteY4343" fmla="*/ 302545 h 3690338"/>
                <a:gd name="connsiteX4344" fmla="*/ 2142207 w 4878487"/>
                <a:gd name="connsiteY4344" fmla="*/ 300184 h 3690338"/>
                <a:gd name="connsiteX4345" fmla="*/ 2139847 w 4878487"/>
                <a:gd name="connsiteY4345" fmla="*/ 299791 h 3690338"/>
                <a:gd name="connsiteX4346" fmla="*/ 2153617 w 4878487"/>
                <a:gd name="connsiteY4346" fmla="*/ 299791 h 3690338"/>
                <a:gd name="connsiteX4347" fmla="*/ 2156370 w 4878487"/>
                <a:gd name="connsiteY4347" fmla="*/ 301365 h 3690338"/>
                <a:gd name="connsiteX4348" fmla="*/ 2159518 w 4878487"/>
                <a:gd name="connsiteY4348" fmla="*/ 302938 h 3690338"/>
                <a:gd name="connsiteX4349" fmla="*/ 2162272 w 4878487"/>
                <a:gd name="connsiteY4349" fmla="*/ 303332 h 3690338"/>
                <a:gd name="connsiteX4350" fmla="*/ 2165419 w 4878487"/>
                <a:gd name="connsiteY4350" fmla="*/ 302938 h 3690338"/>
                <a:gd name="connsiteX4351" fmla="*/ 2168173 w 4878487"/>
                <a:gd name="connsiteY4351" fmla="*/ 301365 h 3690338"/>
                <a:gd name="connsiteX4352" fmla="*/ 2170927 w 4878487"/>
                <a:gd name="connsiteY4352" fmla="*/ 300971 h 3690338"/>
                <a:gd name="connsiteX4353" fmla="*/ 2171321 w 4878487"/>
                <a:gd name="connsiteY4353" fmla="*/ 300971 h 3690338"/>
                <a:gd name="connsiteX4354" fmla="*/ 2170534 w 4878487"/>
                <a:gd name="connsiteY4354" fmla="*/ 301365 h 3690338"/>
                <a:gd name="connsiteX4355" fmla="*/ 2172107 w 4878487"/>
                <a:gd name="connsiteY4355" fmla="*/ 304119 h 3690338"/>
                <a:gd name="connsiteX4356" fmla="*/ 2175255 w 4878487"/>
                <a:gd name="connsiteY4356" fmla="*/ 305692 h 3690338"/>
                <a:gd name="connsiteX4357" fmla="*/ 2178009 w 4878487"/>
                <a:gd name="connsiteY4357" fmla="*/ 306086 h 3690338"/>
                <a:gd name="connsiteX4358" fmla="*/ 2181156 w 4878487"/>
                <a:gd name="connsiteY4358" fmla="*/ 306479 h 3690338"/>
                <a:gd name="connsiteX4359" fmla="*/ 2183910 w 4878487"/>
                <a:gd name="connsiteY4359" fmla="*/ 304512 h 3690338"/>
                <a:gd name="connsiteX4360" fmla="*/ 2186664 w 4878487"/>
                <a:gd name="connsiteY4360" fmla="*/ 304512 h 3690338"/>
                <a:gd name="connsiteX4361" fmla="*/ 2190205 w 4878487"/>
                <a:gd name="connsiteY4361" fmla="*/ 304119 h 3690338"/>
                <a:gd name="connsiteX4362" fmla="*/ 2189025 w 4878487"/>
                <a:gd name="connsiteY4362" fmla="*/ 301365 h 3690338"/>
                <a:gd name="connsiteX4363" fmla="*/ 2186271 w 4878487"/>
                <a:gd name="connsiteY4363" fmla="*/ 299004 h 3690338"/>
                <a:gd name="connsiteX4364" fmla="*/ 2183517 w 4878487"/>
                <a:gd name="connsiteY4364" fmla="*/ 297037 h 3690338"/>
                <a:gd name="connsiteX4365" fmla="*/ 2186271 w 4878487"/>
                <a:gd name="connsiteY4365" fmla="*/ 296643 h 3690338"/>
                <a:gd name="connsiteX4366" fmla="*/ 2189025 w 4878487"/>
                <a:gd name="connsiteY4366" fmla="*/ 295857 h 3690338"/>
                <a:gd name="connsiteX4367" fmla="*/ 2192173 w 4878487"/>
                <a:gd name="connsiteY4367" fmla="*/ 294283 h 3690338"/>
                <a:gd name="connsiteX4368" fmla="*/ 2194140 w 4878487"/>
                <a:gd name="connsiteY4368" fmla="*/ 291529 h 3690338"/>
                <a:gd name="connsiteX4369" fmla="*/ 2191385 w 4878487"/>
                <a:gd name="connsiteY4369" fmla="*/ 289955 h 3690338"/>
                <a:gd name="connsiteX4370" fmla="*/ 2194533 w 4878487"/>
                <a:gd name="connsiteY4370" fmla="*/ 289168 h 3690338"/>
                <a:gd name="connsiteX4371" fmla="*/ 2197287 w 4878487"/>
                <a:gd name="connsiteY4371" fmla="*/ 289562 h 3690338"/>
                <a:gd name="connsiteX4372" fmla="*/ 2194140 w 4878487"/>
                <a:gd name="connsiteY4372" fmla="*/ 286808 h 3690338"/>
                <a:gd name="connsiteX4373" fmla="*/ 2197287 w 4878487"/>
                <a:gd name="connsiteY4373" fmla="*/ 284841 h 3690338"/>
                <a:gd name="connsiteX4374" fmla="*/ 2198861 w 4878487"/>
                <a:gd name="connsiteY4374" fmla="*/ 282087 h 3690338"/>
                <a:gd name="connsiteX4375" fmla="*/ 2199254 w 4878487"/>
                <a:gd name="connsiteY4375" fmla="*/ 279333 h 3690338"/>
                <a:gd name="connsiteX4376" fmla="*/ 2199254 w 4878487"/>
                <a:gd name="connsiteY4376" fmla="*/ 278546 h 3690338"/>
                <a:gd name="connsiteX4377" fmla="*/ 2202402 w 4878487"/>
                <a:gd name="connsiteY4377" fmla="*/ 276185 h 3690338"/>
                <a:gd name="connsiteX4378" fmla="*/ 2205155 w 4878487"/>
                <a:gd name="connsiteY4378" fmla="*/ 274218 h 3690338"/>
                <a:gd name="connsiteX4379" fmla="*/ 2208303 w 4878487"/>
                <a:gd name="connsiteY4379" fmla="*/ 273431 h 3690338"/>
                <a:gd name="connsiteX4380" fmla="*/ 2206729 w 4878487"/>
                <a:gd name="connsiteY4380" fmla="*/ 270677 h 3690338"/>
                <a:gd name="connsiteX4381" fmla="*/ 2207910 w 4878487"/>
                <a:gd name="connsiteY4381" fmla="*/ 267530 h 3690338"/>
                <a:gd name="connsiteX4382" fmla="*/ 2205155 w 4878487"/>
                <a:gd name="connsiteY4382" fmla="*/ 264776 h 3690338"/>
                <a:gd name="connsiteX4383" fmla="*/ 2202402 w 4878487"/>
                <a:gd name="connsiteY4383" fmla="*/ 262809 h 3690338"/>
                <a:gd name="connsiteX4384" fmla="*/ 2201614 w 4878487"/>
                <a:gd name="connsiteY4384" fmla="*/ 260055 h 3690338"/>
                <a:gd name="connsiteX4385" fmla="*/ 2203188 w 4878487"/>
                <a:gd name="connsiteY4385" fmla="*/ 256907 h 3690338"/>
                <a:gd name="connsiteX4386" fmla="*/ 2205155 w 4878487"/>
                <a:gd name="connsiteY4386" fmla="*/ 254153 h 3690338"/>
                <a:gd name="connsiteX4387" fmla="*/ 2207122 w 4878487"/>
                <a:gd name="connsiteY4387" fmla="*/ 251399 h 3690338"/>
                <a:gd name="connsiteX4388" fmla="*/ 2203975 w 4878487"/>
                <a:gd name="connsiteY4388" fmla="*/ 248645 h 3690338"/>
                <a:gd name="connsiteX4389" fmla="*/ 2200828 w 4878487"/>
                <a:gd name="connsiteY4389" fmla="*/ 247859 h 3690338"/>
                <a:gd name="connsiteX4390" fmla="*/ 2197680 w 4878487"/>
                <a:gd name="connsiteY4390" fmla="*/ 246678 h 3690338"/>
                <a:gd name="connsiteX4391" fmla="*/ 2194533 w 4878487"/>
                <a:gd name="connsiteY4391" fmla="*/ 245105 h 3690338"/>
                <a:gd name="connsiteX4392" fmla="*/ 2191385 w 4878487"/>
                <a:gd name="connsiteY4392" fmla="*/ 243924 h 3690338"/>
                <a:gd name="connsiteX4393" fmla="*/ 2188238 w 4878487"/>
                <a:gd name="connsiteY4393" fmla="*/ 243137 h 3690338"/>
                <a:gd name="connsiteX4394" fmla="*/ 2184697 w 4878487"/>
                <a:gd name="connsiteY4394" fmla="*/ 242351 h 3690338"/>
                <a:gd name="connsiteX4395" fmla="*/ 2181943 w 4878487"/>
                <a:gd name="connsiteY4395" fmla="*/ 240777 h 3690338"/>
                <a:gd name="connsiteX4396" fmla="*/ 2179189 w 4878487"/>
                <a:gd name="connsiteY4396" fmla="*/ 238023 h 3690338"/>
                <a:gd name="connsiteX4397" fmla="*/ 2176436 w 4878487"/>
                <a:gd name="connsiteY4397" fmla="*/ 235662 h 3690338"/>
                <a:gd name="connsiteX4398" fmla="*/ 2175255 w 4878487"/>
                <a:gd name="connsiteY4398" fmla="*/ 234482 h 3690338"/>
                <a:gd name="connsiteX4399" fmla="*/ 2172501 w 4878487"/>
                <a:gd name="connsiteY4399" fmla="*/ 229368 h 3690338"/>
                <a:gd name="connsiteX4400" fmla="*/ 2173681 w 4878487"/>
                <a:gd name="connsiteY4400" fmla="*/ 227007 h 3690338"/>
                <a:gd name="connsiteX4401" fmla="*/ 2170534 w 4878487"/>
                <a:gd name="connsiteY4401" fmla="*/ 224646 h 3690338"/>
                <a:gd name="connsiteX4402" fmla="*/ 2170927 w 4878487"/>
                <a:gd name="connsiteY4402" fmla="*/ 221892 h 3690338"/>
                <a:gd name="connsiteX4403" fmla="*/ 2167780 w 4878487"/>
                <a:gd name="connsiteY4403" fmla="*/ 219138 h 3690338"/>
                <a:gd name="connsiteX4404" fmla="*/ 2166206 w 4878487"/>
                <a:gd name="connsiteY4404" fmla="*/ 216384 h 3690338"/>
                <a:gd name="connsiteX4405" fmla="*/ 2166993 w 4878487"/>
                <a:gd name="connsiteY4405" fmla="*/ 213631 h 3690338"/>
                <a:gd name="connsiteX4406" fmla="*/ 2165419 w 4878487"/>
                <a:gd name="connsiteY4406" fmla="*/ 210483 h 3690338"/>
                <a:gd name="connsiteX4407" fmla="*/ 2162272 w 4878487"/>
                <a:gd name="connsiteY4407" fmla="*/ 208909 h 3690338"/>
                <a:gd name="connsiteX4408" fmla="*/ 2160698 w 4878487"/>
                <a:gd name="connsiteY4408" fmla="*/ 207336 h 3690338"/>
                <a:gd name="connsiteX4409" fmla="*/ 2160305 w 4878487"/>
                <a:gd name="connsiteY4409" fmla="*/ 204582 h 3690338"/>
                <a:gd name="connsiteX4410" fmla="*/ 2157944 w 4878487"/>
                <a:gd name="connsiteY4410" fmla="*/ 201434 h 3690338"/>
                <a:gd name="connsiteX4411" fmla="*/ 2157158 w 4878487"/>
                <a:gd name="connsiteY4411" fmla="*/ 201041 h 3690338"/>
                <a:gd name="connsiteX4412" fmla="*/ 2155190 w 4878487"/>
                <a:gd name="connsiteY4412" fmla="*/ 197893 h 3690338"/>
                <a:gd name="connsiteX4413" fmla="*/ 2155190 w 4878487"/>
                <a:gd name="connsiteY4413" fmla="*/ 197500 h 3690338"/>
                <a:gd name="connsiteX4414" fmla="*/ 2157944 w 4878487"/>
                <a:gd name="connsiteY4414" fmla="*/ 195926 h 3690338"/>
                <a:gd name="connsiteX4415" fmla="*/ 2157551 w 4878487"/>
                <a:gd name="connsiteY4415" fmla="*/ 192779 h 3690338"/>
                <a:gd name="connsiteX4416" fmla="*/ 2154797 w 4878487"/>
                <a:gd name="connsiteY4416" fmla="*/ 190812 h 3690338"/>
                <a:gd name="connsiteX4417" fmla="*/ 2154797 w 4878487"/>
                <a:gd name="connsiteY4417" fmla="*/ 188058 h 3690338"/>
                <a:gd name="connsiteX4418" fmla="*/ 2153617 w 4878487"/>
                <a:gd name="connsiteY4418" fmla="*/ 185304 h 3690338"/>
                <a:gd name="connsiteX4419" fmla="*/ 2152043 w 4878487"/>
                <a:gd name="connsiteY4419" fmla="*/ 182156 h 3690338"/>
                <a:gd name="connsiteX4420" fmla="*/ 2149289 w 4878487"/>
                <a:gd name="connsiteY4420" fmla="*/ 180583 h 3690338"/>
                <a:gd name="connsiteX4421" fmla="*/ 2146535 w 4878487"/>
                <a:gd name="connsiteY4421" fmla="*/ 179009 h 3690338"/>
                <a:gd name="connsiteX4422" fmla="*/ 2145355 w 4878487"/>
                <a:gd name="connsiteY4422" fmla="*/ 176255 h 3690338"/>
                <a:gd name="connsiteX4423" fmla="*/ 2142207 w 4878487"/>
                <a:gd name="connsiteY4423" fmla="*/ 174681 h 3690338"/>
                <a:gd name="connsiteX4424" fmla="*/ 2141814 w 4878487"/>
                <a:gd name="connsiteY4424" fmla="*/ 174681 h 3690338"/>
                <a:gd name="connsiteX4425" fmla="*/ 2128437 w 4878487"/>
                <a:gd name="connsiteY4425" fmla="*/ 151863 h 3690338"/>
                <a:gd name="connsiteX4426" fmla="*/ 2129224 w 4878487"/>
                <a:gd name="connsiteY4426" fmla="*/ 148715 h 3690338"/>
                <a:gd name="connsiteX4427" fmla="*/ 2128437 w 4878487"/>
                <a:gd name="connsiteY4427" fmla="*/ 145961 h 3690338"/>
                <a:gd name="connsiteX4428" fmla="*/ 2129224 w 4878487"/>
                <a:gd name="connsiteY4428" fmla="*/ 143207 h 3690338"/>
                <a:gd name="connsiteX4429" fmla="*/ 2126470 w 4878487"/>
                <a:gd name="connsiteY4429" fmla="*/ 140847 h 3690338"/>
                <a:gd name="connsiteX4430" fmla="*/ 2126077 w 4878487"/>
                <a:gd name="connsiteY4430" fmla="*/ 138093 h 3690338"/>
                <a:gd name="connsiteX4431" fmla="*/ 2122929 w 4878487"/>
                <a:gd name="connsiteY4431" fmla="*/ 136519 h 3690338"/>
                <a:gd name="connsiteX4432" fmla="*/ 2120962 w 4878487"/>
                <a:gd name="connsiteY4432" fmla="*/ 133765 h 3690338"/>
                <a:gd name="connsiteX4433" fmla="*/ 2117815 w 4878487"/>
                <a:gd name="connsiteY4433" fmla="*/ 131798 h 3690338"/>
                <a:gd name="connsiteX4434" fmla="*/ 2114667 w 4878487"/>
                <a:gd name="connsiteY4434" fmla="*/ 131404 h 3690338"/>
                <a:gd name="connsiteX4435" fmla="*/ 2111520 w 4878487"/>
                <a:gd name="connsiteY4435" fmla="*/ 131011 h 3690338"/>
                <a:gd name="connsiteX4436" fmla="*/ 2108373 w 4878487"/>
                <a:gd name="connsiteY4436" fmla="*/ 130618 h 3690338"/>
                <a:gd name="connsiteX4437" fmla="*/ 2104832 w 4878487"/>
                <a:gd name="connsiteY4437" fmla="*/ 130224 h 3690338"/>
                <a:gd name="connsiteX4438" fmla="*/ 2101684 w 4878487"/>
                <a:gd name="connsiteY4438" fmla="*/ 131011 h 3690338"/>
                <a:gd name="connsiteX4439" fmla="*/ 2098144 w 4878487"/>
                <a:gd name="connsiteY4439" fmla="*/ 129437 h 3690338"/>
                <a:gd name="connsiteX4440" fmla="*/ 2094996 w 4878487"/>
                <a:gd name="connsiteY4440" fmla="*/ 129044 h 3690338"/>
                <a:gd name="connsiteX4441" fmla="*/ 2092242 w 4878487"/>
                <a:gd name="connsiteY4441" fmla="*/ 128257 h 3690338"/>
                <a:gd name="connsiteX4442" fmla="*/ 2089094 w 4878487"/>
                <a:gd name="connsiteY4442" fmla="*/ 128257 h 3690338"/>
                <a:gd name="connsiteX4443" fmla="*/ 2085947 w 4878487"/>
                <a:gd name="connsiteY4443" fmla="*/ 128650 h 3690338"/>
                <a:gd name="connsiteX4444" fmla="*/ 2082406 w 4878487"/>
                <a:gd name="connsiteY4444" fmla="*/ 128257 h 3690338"/>
                <a:gd name="connsiteX4445" fmla="*/ 2079259 w 4878487"/>
                <a:gd name="connsiteY4445" fmla="*/ 128257 h 3690338"/>
                <a:gd name="connsiteX4446" fmla="*/ 2076505 w 4878487"/>
                <a:gd name="connsiteY4446" fmla="*/ 128650 h 3690338"/>
                <a:gd name="connsiteX4447" fmla="*/ 2073357 w 4878487"/>
                <a:gd name="connsiteY4447" fmla="*/ 128650 h 3690338"/>
                <a:gd name="connsiteX4448" fmla="*/ 2070210 w 4878487"/>
                <a:gd name="connsiteY4448" fmla="*/ 128257 h 3690338"/>
                <a:gd name="connsiteX4449" fmla="*/ 2063915 w 4878487"/>
                <a:gd name="connsiteY4449" fmla="*/ 128257 h 3690338"/>
                <a:gd name="connsiteX4450" fmla="*/ 2060375 w 4878487"/>
                <a:gd name="connsiteY4450" fmla="*/ 128650 h 3690338"/>
                <a:gd name="connsiteX4451" fmla="*/ 2059194 w 4878487"/>
                <a:gd name="connsiteY4451" fmla="*/ 128650 h 3690338"/>
                <a:gd name="connsiteX4452" fmla="*/ 2056047 w 4878487"/>
                <a:gd name="connsiteY4452" fmla="*/ 128650 h 3690338"/>
                <a:gd name="connsiteX4453" fmla="*/ 2052899 w 4878487"/>
                <a:gd name="connsiteY4453" fmla="*/ 129044 h 3690338"/>
                <a:gd name="connsiteX4454" fmla="*/ 2049752 w 4878487"/>
                <a:gd name="connsiteY4454" fmla="*/ 128650 h 3690338"/>
                <a:gd name="connsiteX4455" fmla="*/ 2052506 w 4878487"/>
                <a:gd name="connsiteY4455" fmla="*/ 127470 h 3690338"/>
                <a:gd name="connsiteX4456" fmla="*/ 2049752 w 4878487"/>
                <a:gd name="connsiteY4456" fmla="*/ 126290 h 3690338"/>
                <a:gd name="connsiteX4457" fmla="*/ 2046605 w 4878487"/>
                <a:gd name="connsiteY4457" fmla="*/ 126290 h 3690338"/>
                <a:gd name="connsiteX4458" fmla="*/ 2045031 w 4878487"/>
                <a:gd name="connsiteY4458" fmla="*/ 129437 h 3690338"/>
                <a:gd name="connsiteX4459" fmla="*/ 2043457 w 4878487"/>
                <a:gd name="connsiteY4459" fmla="*/ 132191 h 3690338"/>
                <a:gd name="connsiteX4460" fmla="*/ 2043064 w 4878487"/>
                <a:gd name="connsiteY4460" fmla="*/ 134945 h 3690338"/>
                <a:gd name="connsiteX4461" fmla="*/ 2041490 w 4878487"/>
                <a:gd name="connsiteY4461" fmla="*/ 137699 h 3690338"/>
                <a:gd name="connsiteX4462" fmla="*/ 2042277 w 4878487"/>
                <a:gd name="connsiteY4462" fmla="*/ 140847 h 3690338"/>
                <a:gd name="connsiteX4463" fmla="*/ 2043457 w 4878487"/>
                <a:gd name="connsiteY4463" fmla="*/ 143601 h 3690338"/>
                <a:gd name="connsiteX4464" fmla="*/ 2043457 w 4878487"/>
                <a:gd name="connsiteY4464" fmla="*/ 146355 h 3690338"/>
                <a:gd name="connsiteX4465" fmla="*/ 2043850 w 4878487"/>
                <a:gd name="connsiteY4465" fmla="*/ 149109 h 3690338"/>
                <a:gd name="connsiteX4466" fmla="*/ 2044244 w 4878487"/>
                <a:gd name="connsiteY4466" fmla="*/ 151863 h 3690338"/>
                <a:gd name="connsiteX4467" fmla="*/ 2043850 w 4878487"/>
                <a:gd name="connsiteY4467" fmla="*/ 152649 h 3690338"/>
                <a:gd name="connsiteX4468" fmla="*/ 2043850 w 4878487"/>
                <a:gd name="connsiteY4468" fmla="*/ 158944 h 3690338"/>
                <a:gd name="connsiteX4469" fmla="*/ 2043457 w 4878487"/>
                <a:gd name="connsiteY4469" fmla="*/ 161305 h 3690338"/>
                <a:gd name="connsiteX4470" fmla="*/ 2040310 w 4878487"/>
                <a:gd name="connsiteY4470" fmla="*/ 162879 h 3690338"/>
                <a:gd name="connsiteX4471" fmla="*/ 2037949 w 4878487"/>
                <a:gd name="connsiteY4471" fmla="*/ 165632 h 3690338"/>
                <a:gd name="connsiteX4472" fmla="*/ 2034802 w 4878487"/>
                <a:gd name="connsiteY4472" fmla="*/ 167206 h 3690338"/>
                <a:gd name="connsiteX4473" fmla="*/ 2032048 w 4878487"/>
                <a:gd name="connsiteY4473" fmla="*/ 168780 h 3690338"/>
                <a:gd name="connsiteX4474" fmla="*/ 2028507 w 4878487"/>
                <a:gd name="connsiteY4474" fmla="*/ 170354 h 3690338"/>
                <a:gd name="connsiteX4475" fmla="*/ 2025753 w 4878487"/>
                <a:gd name="connsiteY4475" fmla="*/ 170747 h 3690338"/>
                <a:gd name="connsiteX4476" fmla="*/ 2022212 w 4878487"/>
                <a:gd name="connsiteY4476" fmla="*/ 171927 h 3690338"/>
                <a:gd name="connsiteX4477" fmla="*/ 2019065 w 4878487"/>
                <a:gd name="connsiteY4477" fmla="*/ 174288 h 3690338"/>
                <a:gd name="connsiteX4478" fmla="*/ 2017884 w 4878487"/>
                <a:gd name="connsiteY4478" fmla="*/ 177042 h 3690338"/>
                <a:gd name="connsiteX4479" fmla="*/ 2019458 w 4878487"/>
                <a:gd name="connsiteY4479" fmla="*/ 179796 h 3690338"/>
                <a:gd name="connsiteX4480" fmla="*/ 2022212 w 4878487"/>
                <a:gd name="connsiteY4480" fmla="*/ 179796 h 3690338"/>
                <a:gd name="connsiteX4481" fmla="*/ 2019458 w 4878487"/>
                <a:gd name="connsiteY4481" fmla="*/ 182550 h 3690338"/>
                <a:gd name="connsiteX4482" fmla="*/ 2021819 w 4878487"/>
                <a:gd name="connsiteY4482" fmla="*/ 185697 h 3690338"/>
                <a:gd name="connsiteX4483" fmla="*/ 2024572 w 4878487"/>
                <a:gd name="connsiteY4483" fmla="*/ 185697 h 3690338"/>
                <a:gd name="connsiteX4484" fmla="*/ 2027720 w 4878487"/>
                <a:gd name="connsiteY4484" fmla="*/ 185304 h 3690338"/>
                <a:gd name="connsiteX4485" fmla="*/ 2030868 w 4878487"/>
                <a:gd name="connsiteY4485" fmla="*/ 184517 h 3690338"/>
                <a:gd name="connsiteX4486" fmla="*/ 2034015 w 4878487"/>
                <a:gd name="connsiteY4486" fmla="*/ 184910 h 3690338"/>
                <a:gd name="connsiteX4487" fmla="*/ 2037162 w 4878487"/>
                <a:gd name="connsiteY4487" fmla="*/ 187271 h 3690338"/>
                <a:gd name="connsiteX4488" fmla="*/ 2036769 w 4878487"/>
                <a:gd name="connsiteY4488" fmla="*/ 190418 h 3690338"/>
                <a:gd name="connsiteX4489" fmla="*/ 2037556 w 4878487"/>
                <a:gd name="connsiteY4489" fmla="*/ 193172 h 3690338"/>
                <a:gd name="connsiteX4490" fmla="*/ 2039130 w 4878487"/>
                <a:gd name="connsiteY4490" fmla="*/ 196320 h 3690338"/>
                <a:gd name="connsiteX4491" fmla="*/ 2039523 w 4878487"/>
                <a:gd name="connsiteY4491" fmla="*/ 199074 h 3690338"/>
                <a:gd name="connsiteX4492" fmla="*/ 2039916 w 4878487"/>
                <a:gd name="connsiteY4492" fmla="*/ 201828 h 3690338"/>
                <a:gd name="connsiteX4493" fmla="*/ 2042670 w 4878487"/>
                <a:gd name="connsiteY4493" fmla="*/ 202221 h 3690338"/>
                <a:gd name="connsiteX4494" fmla="*/ 2045031 w 4878487"/>
                <a:gd name="connsiteY4494" fmla="*/ 203795 h 3690338"/>
                <a:gd name="connsiteX4495" fmla="*/ 2045031 w 4878487"/>
                <a:gd name="connsiteY4495" fmla="*/ 207336 h 3690338"/>
                <a:gd name="connsiteX4496" fmla="*/ 2039523 w 4878487"/>
                <a:gd name="connsiteY4496" fmla="*/ 207336 h 3690338"/>
                <a:gd name="connsiteX4497" fmla="*/ 2037556 w 4878487"/>
                <a:gd name="connsiteY4497" fmla="*/ 207336 h 3690338"/>
                <a:gd name="connsiteX4498" fmla="*/ 2037949 w 4878487"/>
                <a:gd name="connsiteY4498" fmla="*/ 208516 h 3690338"/>
                <a:gd name="connsiteX4499" fmla="*/ 2038342 w 4878487"/>
                <a:gd name="connsiteY4499" fmla="*/ 211663 h 3690338"/>
                <a:gd name="connsiteX4500" fmla="*/ 2039130 w 4878487"/>
                <a:gd name="connsiteY4500" fmla="*/ 214811 h 3690338"/>
                <a:gd name="connsiteX4501" fmla="*/ 2040703 w 4878487"/>
                <a:gd name="connsiteY4501" fmla="*/ 217565 h 3690338"/>
                <a:gd name="connsiteX4502" fmla="*/ 2043850 w 4878487"/>
                <a:gd name="connsiteY4502" fmla="*/ 219138 h 3690338"/>
                <a:gd name="connsiteX4503" fmla="*/ 2044244 w 4878487"/>
                <a:gd name="connsiteY4503" fmla="*/ 216384 h 3690338"/>
                <a:gd name="connsiteX4504" fmla="*/ 2046998 w 4878487"/>
                <a:gd name="connsiteY4504" fmla="*/ 216778 h 3690338"/>
                <a:gd name="connsiteX4505" fmla="*/ 2050145 w 4878487"/>
                <a:gd name="connsiteY4505" fmla="*/ 217565 h 3690338"/>
                <a:gd name="connsiteX4506" fmla="*/ 2050932 w 4878487"/>
                <a:gd name="connsiteY4506" fmla="*/ 217958 h 3690338"/>
                <a:gd name="connsiteX4507" fmla="*/ 2053686 w 4878487"/>
                <a:gd name="connsiteY4507" fmla="*/ 219925 h 3690338"/>
                <a:gd name="connsiteX4508" fmla="*/ 2051326 w 4878487"/>
                <a:gd name="connsiteY4508" fmla="*/ 219925 h 3690338"/>
                <a:gd name="connsiteX4509" fmla="*/ 2048572 w 4878487"/>
                <a:gd name="connsiteY4509" fmla="*/ 222286 h 3690338"/>
                <a:gd name="connsiteX4510" fmla="*/ 2048572 w 4878487"/>
                <a:gd name="connsiteY4510" fmla="*/ 222679 h 3690338"/>
                <a:gd name="connsiteX4511" fmla="*/ 2051719 w 4878487"/>
                <a:gd name="connsiteY4511" fmla="*/ 223073 h 3690338"/>
                <a:gd name="connsiteX4512" fmla="*/ 2054867 w 4878487"/>
                <a:gd name="connsiteY4512" fmla="*/ 222679 h 3690338"/>
                <a:gd name="connsiteX4513" fmla="*/ 2054473 w 4878487"/>
                <a:gd name="connsiteY4513" fmla="*/ 220319 h 3690338"/>
                <a:gd name="connsiteX4514" fmla="*/ 2101291 w 4878487"/>
                <a:gd name="connsiteY4514" fmla="*/ 256121 h 3690338"/>
                <a:gd name="connsiteX4515" fmla="*/ 2072964 w 4878487"/>
                <a:gd name="connsiteY4515" fmla="*/ 247465 h 3690338"/>
                <a:gd name="connsiteX4516" fmla="*/ 2071390 w 4878487"/>
                <a:gd name="connsiteY4516" fmla="*/ 246678 h 3690338"/>
                <a:gd name="connsiteX4517" fmla="*/ 2068243 w 4878487"/>
                <a:gd name="connsiteY4517" fmla="*/ 245498 h 3690338"/>
                <a:gd name="connsiteX4518" fmla="*/ 2065096 w 4878487"/>
                <a:gd name="connsiteY4518" fmla="*/ 244711 h 3690338"/>
                <a:gd name="connsiteX4519" fmla="*/ 2062342 w 4878487"/>
                <a:gd name="connsiteY4519" fmla="*/ 243531 h 3690338"/>
                <a:gd name="connsiteX4520" fmla="*/ 2059981 w 4878487"/>
                <a:gd name="connsiteY4520" fmla="*/ 240383 h 3690338"/>
                <a:gd name="connsiteX4521" fmla="*/ 2057227 w 4878487"/>
                <a:gd name="connsiteY4521" fmla="*/ 239990 h 3690338"/>
                <a:gd name="connsiteX4522" fmla="*/ 2053686 w 4878487"/>
                <a:gd name="connsiteY4522" fmla="*/ 239597 h 3690338"/>
                <a:gd name="connsiteX4523" fmla="*/ 2050932 w 4878487"/>
                <a:gd name="connsiteY4523" fmla="*/ 239203 h 3690338"/>
                <a:gd name="connsiteX4524" fmla="*/ 2047785 w 4878487"/>
                <a:gd name="connsiteY4524" fmla="*/ 238810 h 3690338"/>
                <a:gd name="connsiteX4525" fmla="*/ 2045031 w 4878487"/>
                <a:gd name="connsiteY4525" fmla="*/ 238023 h 3690338"/>
                <a:gd name="connsiteX4526" fmla="*/ 2041490 w 4878487"/>
                <a:gd name="connsiteY4526" fmla="*/ 237630 h 3690338"/>
                <a:gd name="connsiteX4527" fmla="*/ 2038736 w 4878487"/>
                <a:gd name="connsiteY4527" fmla="*/ 236056 h 3690338"/>
                <a:gd name="connsiteX4528" fmla="*/ 2035982 w 4878487"/>
                <a:gd name="connsiteY4528" fmla="*/ 235662 h 3690338"/>
                <a:gd name="connsiteX4529" fmla="*/ 2032835 w 4878487"/>
                <a:gd name="connsiteY4529" fmla="*/ 235269 h 3690338"/>
                <a:gd name="connsiteX4530" fmla="*/ 2029687 w 4878487"/>
                <a:gd name="connsiteY4530" fmla="*/ 234089 h 3690338"/>
                <a:gd name="connsiteX4531" fmla="*/ 2028507 w 4878487"/>
                <a:gd name="connsiteY4531" fmla="*/ 233695 h 3690338"/>
                <a:gd name="connsiteX4532" fmla="*/ 2024966 w 4878487"/>
                <a:gd name="connsiteY4532" fmla="*/ 232515 h 3690338"/>
                <a:gd name="connsiteX4533" fmla="*/ 2023392 w 4878487"/>
                <a:gd name="connsiteY4533" fmla="*/ 231728 h 3690338"/>
                <a:gd name="connsiteX4534" fmla="*/ 2026540 w 4878487"/>
                <a:gd name="connsiteY4534" fmla="*/ 231335 h 3690338"/>
                <a:gd name="connsiteX4535" fmla="*/ 2023786 w 4878487"/>
                <a:gd name="connsiteY4535" fmla="*/ 230941 h 3690338"/>
                <a:gd name="connsiteX4536" fmla="*/ 2020245 w 4878487"/>
                <a:gd name="connsiteY4536" fmla="*/ 230548 h 3690338"/>
                <a:gd name="connsiteX4537" fmla="*/ 2018671 w 4878487"/>
                <a:gd name="connsiteY4537" fmla="*/ 230154 h 3690338"/>
                <a:gd name="connsiteX4538" fmla="*/ 2008442 w 4878487"/>
                <a:gd name="connsiteY4538" fmla="*/ 227007 h 3690338"/>
                <a:gd name="connsiteX4539" fmla="*/ 2006868 w 4878487"/>
                <a:gd name="connsiteY4539" fmla="*/ 229368 h 3690338"/>
                <a:gd name="connsiteX4540" fmla="*/ 2005688 w 4878487"/>
                <a:gd name="connsiteY4540" fmla="*/ 230548 h 3690338"/>
                <a:gd name="connsiteX4541" fmla="*/ 2004114 w 4878487"/>
                <a:gd name="connsiteY4541" fmla="*/ 230154 h 3690338"/>
                <a:gd name="connsiteX4542" fmla="*/ 2003721 w 4878487"/>
                <a:gd name="connsiteY4542" fmla="*/ 227400 h 3690338"/>
                <a:gd name="connsiteX4543" fmla="*/ 2006868 w 4878487"/>
                <a:gd name="connsiteY4543" fmla="*/ 225827 h 3690338"/>
                <a:gd name="connsiteX4544" fmla="*/ 2003328 w 4878487"/>
                <a:gd name="connsiteY4544" fmla="*/ 225040 h 3690338"/>
                <a:gd name="connsiteX4545" fmla="*/ 2000180 w 4878487"/>
                <a:gd name="connsiteY4545" fmla="*/ 223860 h 3690338"/>
                <a:gd name="connsiteX4546" fmla="*/ 1996639 w 4878487"/>
                <a:gd name="connsiteY4546" fmla="*/ 222679 h 3690338"/>
                <a:gd name="connsiteX4547" fmla="*/ 1993492 w 4878487"/>
                <a:gd name="connsiteY4547" fmla="*/ 221499 h 3690338"/>
                <a:gd name="connsiteX4548" fmla="*/ 1990345 w 4878487"/>
                <a:gd name="connsiteY4548" fmla="*/ 220712 h 3690338"/>
                <a:gd name="connsiteX4549" fmla="*/ 1987591 w 4878487"/>
                <a:gd name="connsiteY4549" fmla="*/ 219925 h 3690338"/>
                <a:gd name="connsiteX4550" fmla="*/ 1984443 w 4878487"/>
                <a:gd name="connsiteY4550" fmla="*/ 219532 h 3690338"/>
                <a:gd name="connsiteX4551" fmla="*/ 1981296 w 4878487"/>
                <a:gd name="connsiteY4551" fmla="*/ 219138 h 3690338"/>
                <a:gd name="connsiteX4552" fmla="*/ 1978542 w 4878487"/>
                <a:gd name="connsiteY4552" fmla="*/ 218352 h 3690338"/>
                <a:gd name="connsiteX4553" fmla="*/ 1975394 w 4878487"/>
                <a:gd name="connsiteY4553" fmla="*/ 217958 h 3690338"/>
                <a:gd name="connsiteX4554" fmla="*/ 1972247 w 4878487"/>
                <a:gd name="connsiteY4554" fmla="*/ 217565 h 3690338"/>
                <a:gd name="connsiteX4555" fmla="*/ 1969099 w 4878487"/>
                <a:gd name="connsiteY4555" fmla="*/ 217171 h 3690338"/>
                <a:gd name="connsiteX4556" fmla="*/ 1966346 w 4878487"/>
                <a:gd name="connsiteY4556" fmla="*/ 216778 h 3690338"/>
                <a:gd name="connsiteX4557" fmla="*/ 1963591 w 4878487"/>
                <a:gd name="connsiteY4557" fmla="*/ 216384 h 3690338"/>
                <a:gd name="connsiteX4558" fmla="*/ 1960051 w 4878487"/>
                <a:gd name="connsiteY4558" fmla="*/ 215991 h 3690338"/>
                <a:gd name="connsiteX4559" fmla="*/ 1956903 w 4878487"/>
                <a:gd name="connsiteY4559" fmla="*/ 215598 h 3690338"/>
                <a:gd name="connsiteX4560" fmla="*/ 1954150 w 4878487"/>
                <a:gd name="connsiteY4560" fmla="*/ 215598 h 3690338"/>
                <a:gd name="connsiteX4561" fmla="*/ 1950609 w 4878487"/>
                <a:gd name="connsiteY4561" fmla="*/ 215204 h 3690338"/>
                <a:gd name="connsiteX4562" fmla="*/ 1947461 w 4878487"/>
                <a:gd name="connsiteY4562" fmla="*/ 214811 h 3690338"/>
                <a:gd name="connsiteX4563" fmla="*/ 1938019 w 4878487"/>
                <a:gd name="connsiteY4563" fmla="*/ 214811 h 3690338"/>
                <a:gd name="connsiteX4564" fmla="*/ 1934872 w 4878487"/>
                <a:gd name="connsiteY4564" fmla="*/ 214417 h 3690338"/>
                <a:gd name="connsiteX4565" fmla="*/ 1931724 w 4878487"/>
                <a:gd name="connsiteY4565" fmla="*/ 214024 h 3690338"/>
                <a:gd name="connsiteX4566" fmla="*/ 1928183 w 4878487"/>
                <a:gd name="connsiteY4566" fmla="*/ 213631 h 3690338"/>
                <a:gd name="connsiteX4567" fmla="*/ 1925429 w 4878487"/>
                <a:gd name="connsiteY4567" fmla="*/ 213237 h 3690338"/>
                <a:gd name="connsiteX4568" fmla="*/ 1921888 w 4878487"/>
                <a:gd name="connsiteY4568" fmla="*/ 212844 h 3690338"/>
                <a:gd name="connsiteX4569" fmla="*/ 1918741 w 4878487"/>
                <a:gd name="connsiteY4569" fmla="*/ 211663 h 3690338"/>
                <a:gd name="connsiteX4570" fmla="*/ 1915987 w 4878487"/>
                <a:gd name="connsiteY4570" fmla="*/ 211270 h 3690338"/>
                <a:gd name="connsiteX4571" fmla="*/ 1912840 w 4878487"/>
                <a:gd name="connsiteY4571" fmla="*/ 210877 h 3690338"/>
                <a:gd name="connsiteX4572" fmla="*/ 1910085 w 4878487"/>
                <a:gd name="connsiteY4572" fmla="*/ 210483 h 3690338"/>
                <a:gd name="connsiteX4573" fmla="*/ 1906938 w 4878487"/>
                <a:gd name="connsiteY4573" fmla="*/ 212844 h 3690338"/>
                <a:gd name="connsiteX4574" fmla="*/ 1906545 w 4878487"/>
                <a:gd name="connsiteY4574" fmla="*/ 215598 h 3690338"/>
                <a:gd name="connsiteX4575" fmla="*/ 1903397 w 4878487"/>
                <a:gd name="connsiteY4575" fmla="*/ 215991 h 3690338"/>
                <a:gd name="connsiteX4576" fmla="*/ 1900250 w 4878487"/>
                <a:gd name="connsiteY4576" fmla="*/ 215598 h 3690338"/>
                <a:gd name="connsiteX4577" fmla="*/ 1897496 w 4878487"/>
                <a:gd name="connsiteY4577" fmla="*/ 218352 h 3690338"/>
                <a:gd name="connsiteX4578" fmla="*/ 1900250 w 4878487"/>
                <a:gd name="connsiteY4578" fmla="*/ 219925 h 3690338"/>
                <a:gd name="connsiteX4579" fmla="*/ 1903791 w 4878487"/>
                <a:gd name="connsiteY4579" fmla="*/ 222286 h 3690338"/>
                <a:gd name="connsiteX4580" fmla="*/ 1906938 w 4878487"/>
                <a:gd name="connsiteY4580" fmla="*/ 224253 h 3690338"/>
                <a:gd name="connsiteX4581" fmla="*/ 1909692 w 4878487"/>
                <a:gd name="connsiteY4581" fmla="*/ 225827 h 3690338"/>
                <a:gd name="connsiteX4582" fmla="*/ 1912446 w 4878487"/>
                <a:gd name="connsiteY4582" fmla="*/ 228581 h 3690338"/>
                <a:gd name="connsiteX4583" fmla="*/ 1914413 w 4878487"/>
                <a:gd name="connsiteY4583" fmla="*/ 231335 h 3690338"/>
                <a:gd name="connsiteX4584" fmla="*/ 1917954 w 4878487"/>
                <a:gd name="connsiteY4584" fmla="*/ 229761 h 3690338"/>
                <a:gd name="connsiteX4585" fmla="*/ 1920708 w 4878487"/>
                <a:gd name="connsiteY4585" fmla="*/ 231335 h 3690338"/>
                <a:gd name="connsiteX4586" fmla="*/ 1921888 w 4878487"/>
                <a:gd name="connsiteY4586" fmla="*/ 233302 h 3690338"/>
                <a:gd name="connsiteX4587" fmla="*/ 1905758 w 4878487"/>
                <a:gd name="connsiteY4587" fmla="*/ 243137 h 3690338"/>
                <a:gd name="connsiteX4588" fmla="*/ 1904577 w 4878487"/>
                <a:gd name="connsiteY4588" fmla="*/ 242744 h 3690338"/>
                <a:gd name="connsiteX4589" fmla="*/ 1903791 w 4878487"/>
                <a:gd name="connsiteY4589" fmla="*/ 243531 h 3690338"/>
                <a:gd name="connsiteX4590" fmla="*/ 1887267 w 4878487"/>
                <a:gd name="connsiteY4590" fmla="*/ 244711 h 3690338"/>
                <a:gd name="connsiteX4591" fmla="*/ 1889627 w 4878487"/>
                <a:gd name="connsiteY4591" fmla="*/ 243137 h 3690338"/>
                <a:gd name="connsiteX4592" fmla="*/ 1892775 w 4878487"/>
                <a:gd name="connsiteY4592" fmla="*/ 241957 h 3690338"/>
                <a:gd name="connsiteX4593" fmla="*/ 1890021 w 4878487"/>
                <a:gd name="connsiteY4593" fmla="*/ 240383 h 3690338"/>
                <a:gd name="connsiteX4594" fmla="*/ 1886873 w 4878487"/>
                <a:gd name="connsiteY4594" fmla="*/ 238810 h 3690338"/>
                <a:gd name="connsiteX4595" fmla="*/ 1884119 w 4878487"/>
                <a:gd name="connsiteY4595" fmla="*/ 237236 h 3690338"/>
                <a:gd name="connsiteX4596" fmla="*/ 1881366 w 4878487"/>
                <a:gd name="connsiteY4596" fmla="*/ 235269 h 3690338"/>
                <a:gd name="connsiteX4597" fmla="*/ 1884513 w 4878487"/>
                <a:gd name="connsiteY4597" fmla="*/ 234482 h 3690338"/>
                <a:gd name="connsiteX4598" fmla="*/ 1881366 w 4878487"/>
                <a:gd name="connsiteY4598" fmla="*/ 234876 h 3690338"/>
                <a:gd name="connsiteX4599" fmla="*/ 1878218 w 4878487"/>
                <a:gd name="connsiteY4599" fmla="*/ 234482 h 3690338"/>
                <a:gd name="connsiteX4600" fmla="*/ 1875070 w 4878487"/>
                <a:gd name="connsiteY4600" fmla="*/ 234876 h 3690338"/>
                <a:gd name="connsiteX4601" fmla="*/ 1872317 w 4878487"/>
                <a:gd name="connsiteY4601" fmla="*/ 235269 h 3690338"/>
                <a:gd name="connsiteX4602" fmla="*/ 1869169 w 4878487"/>
                <a:gd name="connsiteY4602" fmla="*/ 236056 h 3690338"/>
                <a:gd name="connsiteX4603" fmla="*/ 1866415 w 4878487"/>
                <a:gd name="connsiteY4603" fmla="*/ 238023 h 3690338"/>
                <a:gd name="connsiteX4604" fmla="*/ 1868776 w 4878487"/>
                <a:gd name="connsiteY4604" fmla="*/ 240777 h 3690338"/>
                <a:gd name="connsiteX4605" fmla="*/ 1865629 w 4878487"/>
                <a:gd name="connsiteY4605" fmla="*/ 239203 h 3690338"/>
                <a:gd name="connsiteX4606" fmla="*/ 1862874 w 4878487"/>
                <a:gd name="connsiteY4606" fmla="*/ 237630 h 3690338"/>
                <a:gd name="connsiteX4607" fmla="*/ 1860120 w 4878487"/>
                <a:gd name="connsiteY4607" fmla="*/ 238416 h 3690338"/>
                <a:gd name="connsiteX4608" fmla="*/ 1859727 w 4878487"/>
                <a:gd name="connsiteY4608" fmla="*/ 241170 h 3690338"/>
                <a:gd name="connsiteX4609" fmla="*/ 1856580 w 4878487"/>
                <a:gd name="connsiteY4609" fmla="*/ 241564 h 3690338"/>
                <a:gd name="connsiteX4610" fmla="*/ 1853826 w 4878487"/>
                <a:gd name="connsiteY4610" fmla="*/ 241170 h 3690338"/>
                <a:gd name="connsiteX4611" fmla="*/ 1851071 w 4878487"/>
                <a:gd name="connsiteY4611" fmla="*/ 243531 h 3690338"/>
                <a:gd name="connsiteX4612" fmla="*/ 1848711 w 4878487"/>
                <a:gd name="connsiteY4612" fmla="*/ 246285 h 3690338"/>
                <a:gd name="connsiteX4613" fmla="*/ 1846744 w 4878487"/>
                <a:gd name="connsiteY4613" fmla="*/ 246678 h 3690338"/>
                <a:gd name="connsiteX4614" fmla="*/ 1844777 w 4878487"/>
                <a:gd name="connsiteY4614" fmla="*/ 246678 h 3690338"/>
                <a:gd name="connsiteX4615" fmla="*/ 1842810 w 4878487"/>
                <a:gd name="connsiteY4615" fmla="*/ 246285 h 3690338"/>
                <a:gd name="connsiteX4616" fmla="*/ 1839269 w 4878487"/>
                <a:gd name="connsiteY4616" fmla="*/ 245891 h 3690338"/>
                <a:gd name="connsiteX4617" fmla="*/ 1836122 w 4878487"/>
                <a:gd name="connsiteY4617" fmla="*/ 244711 h 3690338"/>
                <a:gd name="connsiteX4618" fmla="*/ 1832974 w 4878487"/>
                <a:gd name="connsiteY4618" fmla="*/ 243924 h 3690338"/>
                <a:gd name="connsiteX4619" fmla="*/ 1830220 w 4878487"/>
                <a:gd name="connsiteY4619" fmla="*/ 244318 h 3690338"/>
                <a:gd name="connsiteX4620" fmla="*/ 1827466 w 4878487"/>
                <a:gd name="connsiteY4620" fmla="*/ 244711 h 3690338"/>
                <a:gd name="connsiteX4621" fmla="*/ 1824319 w 4878487"/>
                <a:gd name="connsiteY4621" fmla="*/ 244318 h 3690338"/>
                <a:gd name="connsiteX4622" fmla="*/ 1821171 w 4878487"/>
                <a:gd name="connsiteY4622" fmla="*/ 243531 h 3690338"/>
                <a:gd name="connsiteX4623" fmla="*/ 1817237 w 4878487"/>
                <a:gd name="connsiteY4623" fmla="*/ 245891 h 3690338"/>
                <a:gd name="connsiteX4624" fmla="*/ 1814483 w 4878487"/>
                <a:gd name="connsiteY4624" fmla="*/ 247465 h 3690338"/>
                <a:gd name="connsiteX4625" fmla="*/ 1811729 w 4878487"/>
                <a:gd name="connsiteY4625" fmla="*/ 247859 h 3690338"/>
                <a:gd name="connsiteX4626" fmla="*/ 1808582 w 4878487"/>
                <a:gd name="connsiteY4626" fmla="*/ 247859 h 3690338"/>
                <a:gd name="connsiteX4627" fmla="*/ 1805827 w 4878487"/>
                <a:gd name="connsiteY4627" fmla="*/ 248252 h 3690338"/>
                <a:gd name="connsiteX4628" fmla="*/ 1802680 w 4878487"/>
                <a:gd name="connsiteY4628" fmla="*/ 249826 h 3690338"/>
                <a:gd name="connsiteX4629" fmla="*/ 1799533 w 4878487"/>
                <a:gd name="connsiteY4629" fmla="*/ 251399 h 3690338"/>
                <a:gd name="connsiteX4630" fmla="*/ 1790878 w 4878487"/>
                <a:gd name="connsiteY4630" fmla="*/ 255334 h 3690338"/>
                <a:gd name="connsiteX4631" fmla="*/ 1790878 w 4878487"/>
                <a:gd name="connsiteY4631" fmla="*/ 255334 h 3690338"/>
                <a:gd name="connsiteX4632" fmla="*/ 1788123 w 4878487"/>
                <a:gd name="connsiteY4632" fmla="*/ 256907 h 3690338"/>
                <a:gd name="connsiteX4633" fmla="*/ 1784976 w 4878487"/>
                <a:gd name="connsiteY4633" fmla="*/ 258481 h 3690338"/>
                <a:gd name="connsiteX4634" fmla="*/ 1784582 w 4878487"/>
                <a:gd name="connsiteY4634" fmla="*/ 258481 h 3690338"/>
                <a:gd name="connsiteX4635" fmla="*/ 1784189 w 4878487"/>
                <a:gd name="connsiteY4635" fmla="*/ 255334 h 3690338"/>
                <a:gd name="connsiteX4636" fmla="*/ 1781042 w 4878487"/>
                <a:gd name="connsiteY4636" fmla="*/ 257694 h 3690338"/>
                <a:gd name="connsiteX4637" fmla="*/ 1778288 w 4878487"/>
                <a:gd name="connsiteY4637" fmla="*/ 258088 h 3690338"/>
                <a:gd name="connsiteX4638" fmla="*/ 1775534 w 4878487"/>
                <a:gd name="connsiteY4638" fmla="*/ 257301 h 3690338"/>
                <a:gd name="connsiteX4639" fmla="*/ 1772386 w 4878487"/>
                <a:gd name="connsiteY4639" fmla="*/ 256907 h 3690338"/>
                <a:gd name="connsiteX4640" fmla="*/ 1769239 w 4878487"/>
                <a:gd name="connsiteY4640" fmla="*/ 256907 h 3690338"/>
                <a:gd name="connsiteX4641" fmla="*/ 1766091 w 4878487"/>
                <a:gd name="connsiteY4641" fmla="*/ 257694 h 3690338"/>
                <a:gd name="connsiteX4642" fmla="*/ 1762157 w 4878487"/>
                <a:gd name="connsiteY4642" fmla="*/ 257301 h 3690338"/>
                <a:gd name="connsiteX4643" fmla="*/ 1762944 w 4878487"/>
                <a:gd name="connsiteY4643" fmla="*/ 254547 h 3690338"/>
                <a:gd name="connsiteX4644" fmla="*/ 1766091 w 4878487"/>
                <a:gd name="connsiteY4644" fmla="*/ 254153 h 3690338"/>
                <a:gd name="connsiteX4645" fmla="*/ 1769239 w 4878487"/>
                <a:gd name="connsiteY4645" fmla="*/ 252973 h 3690338"/>
                <a:gd name="connsiteX4646" fmla="*/ 1772386 w 4878487"/>
                <a:gd name="connsiteY4646" fmla="*/ 254153 h 3690338"/>
                <a:gd name="connsiteX4647" fmla="*/ 1775534 w 4878487"/>
                <a:gd name="connsiteY4647" fmla="*/ 252186 h 3690338"/>
                <a:gd name="connsiteX4648" fmla="*/ 1773173 w 4878487"/>
                <a:gd name="connsiteY4648" fmla="*/ 249432 h 3690338"/>
                <a:gd name="connsiteX4649" fmla="*/ 1770026 w 4878487"/>
                <a:gd name="connsiteY4649" fmla="*/ 247465 h 3690338"/>
                <a:gd name="connsiteX4650" fmla="*/ 1770419 w 4878487"/>
                <a:gd name="connsiteY4650" fmla="*/ 244711 h 3690338"/>
                <a:gd name="connsiteX4651" fmla="*/ 1770026 w 4878487"/>
                <a:gd name="connsiteY4651" fmla="*/ 241564 h 3690338"/>
                <a:gd name="connsiteX4652" fmla="*/ 1772780 w 4878487"/>
                <a:gd name="connsiteY4652" fmla="*/ 240383 h 3690338"/>
                <a:gd name="connsiteX4653" fmla="*/ 1769632 w 4878487"/>
                <a:gd name="connsiteY4653" fmla="*/ 239597 h 3690338"/>
                <a:gd name="connsiteX4654" fmla="*/ 1766485 w 4878487"/>
                <a:gd name="connsiteY4654" fmla="*/ 239203 h 3690338"/>
                <a:gd name="connsiteX4655" fmla="*/ 1763338 w 4878487"/>
                <a:gd name="connsiteY4655" fmla="*/ 238416 h 3690338"/>
                <a:gd name="connsiteX4656" fmla="*/ 1766485 w 4878487"/>
                <a:gd name="connsiteY4656" fmla="*/ 238023 h 3690338"/>
                <a:gd name="connsiteX4657" fmla="*/ 1769632 w 4878487"/>
                <a:gd name="connsiteY4657" fmla="*/ 238416 h 3690338"/>
                <a:gd name="connsiteX4658" fmla="*/ 1772386 w 4878487"/>
                <a:gd name="connsiteY4658" fmla="*/ 238023 h 3690338"/>
                <a:gd name="connsiteX4659" fmla="*/ 1775534 w 4878487"/>
                <a:gd name="connsiteY4659" fmla="*/ 238023 h 3690338"/>
                <a:gd name="connsiteX4660" fmla="*/ 1778288 w 4878487"/>
                <a:gd name="connsiteY4660" fmla="*/ 237630 h 3690338"/>
                <a:gd name="connsiteX4661" fmla="*/ 1781042 w 4878487"/>
                <a:gd name="connsiteY4661" fmla="*/ 236056 h 3690338"/>
                <a:gd name="connsiteX4662" fmla="*/ 1777894 w 4878487"/>
                <a:gd name="connsiteY4662" fmla="*/ 236056 h 3690338"/>
                <a:gd name="connsiteX4663" fmla="*/ 1774747 w 4878487"/>
                <a:gd name="connsiteY4663" fmla="*/ 236449 h 3690338"/>
                <a:gd name="connsiteX4664" fmla="*/ 1771600 w 4878487"/>
                <a:gd name="connsiteY4664" fmla="*/ 236449 h 3690338"/>
                <a:gd name="connsiteX4665" fmla="*/ 1768845 w 4878487"/>
                <a:gd name="connsiteY4665" fmla="*/ 236843 h 3690338"/>
                <a:gd name="connsiteX4666" fmla="*/ 1766091 w 4878487"/>
                <a:gd name="connsiteY4666" fmla="*/ 237236 h 3690338"/>
                <a:gd name="connsiteX4667" fmla="*/ 1762944 w 4878487"/>
                <a:gd name="connsiteY4667" fmla="*/ 238023 h 3690338"/>
                <a:gd name="connsiteX4668" fmla="*/ 1759797 w 4878487"/>
                <a:gd name="connsiteY4668" fmla="*/ 238416 h 3690338"/>
                <a:gd name="connsiteX4669" fmla="*/ 1757042 w 4878487"/>
                <a:gd name="connsiteY4669" fmla="*/ 239203 h 3690338"/>
                <a:gd name="connsiteX4670" fmla="*/ 1747994 w 4878487"/>
                <a:gd name="connsiteY4670" fmla="*/ 242744 h 3690338"/>
                <a:gd name="connsiteX4671" fmla="*/ 1747994 w 4878487"/>
                <a:gd name="connsiteY4671" fmla="*/ 242744 h 3690338"/>
                <a:gd name="connsiteX4672" fmla="*/ 1747601 w 4878487"/>
                <a:gd name="connsiteY4672" fmla="*/ 242744 h 3690338"/>
                <a:gd name="connsiteX4673" fmla="*/ 1726355 w 4878487"/>
                <a:gd name="connsiteY4673" fmla="*/ 250613 h 3690338"/>
                <a:gd name="connsiteX4674" fmla="*/ 1725175 w 4878487"/>
                <a:gd name="connsiteY4674" fmla="*/ 250613 h 3690338"/>
                <a:gd name="connsiteX4675" fmla="*/ 1723995 w 4878487"/>
                <a:gd name="connsiteY4675" fmla="*/ 251399 h 3690338"/>
                <a:gd name="connsiteX4676" fmla="*/ 1719667 w 4878487"/>
                <a:gd name="connsiteY4676" fmla="*/ 252973 h 3690338"/>
                <a:gd name="connsiteX4677" fmla="*/ 1719274 w 4878487"/>
                <a:gd name="connsiteY4677" fmla="*/ 252973 h 3690338"/>
                <a:gd name="connsiteX4678" fmla="*/ 1716127 w 4878487"/>
                <a:gd name="connsiteY4678" fmla="*/ 253367 h 3690338"/>
                <a:gd name="connsiteX4679" fmla="*/ 1712979 w 4878487"/>
                <a:gd name="connsiteY4679" fmla="*/ 254153 h 3690338"/>
                <a:gd name="connsiteX4680" fmla="*/ 1710225 w 4878487"/>
                <a:gd name="connsiteY4680" fmla="*/ 254547 h 3690338"/>
                <a:gd name="connsiteX4681" fmla="*/ 1707078 w 4878487"/>
                <a:gd name="connsiteY4681" fmla="*/ 254153 h 3690338"/>
                <a:gd name="connsiteX4682" fmla="*/ 1703930 w 4878487"/>
                <a:gd name="connsiteY4682" fmla="*/ 256121 h 3690338"/>
                <a:gd name="connsiteX4683" fmla="*/ 1701176 w 4878487"/>
                <a:gd name="connsiteY4683" fmla="*/ 257694 h 3690338"/>
                <a:gd name="connsiteX4684" fmla="*/ 1698029 w 4878487"/>
                <a:gd name="connsiteY4684" fmla="*/ 258875 h 3690338"/>
                <a:gd name="connsiteX4685" fmla="*/ 1695275 w 4878487"/>
                <a:gd name="connsiteY4685" fmla="*/ 260448 h 3690338"/>
                <a:gd name="connsiteX4686" fmla="*/ 1692521 w 4878487"/>
                <a:gd name="connsiteY4686" fmla="*/ 263202 h 3690338"/>
                <a:gd name="connsiteX4687" fmla="*/ 1692127 w 4878487"/>
                <a:gd name="connsiteY4687" fmla="*/ 262809 h 3690338"/>
                <a:gd name="connsiteX4688" fmla="*/ 1692127 w 4878487"/>
                <a:gd name="connsiteY4688" fmla="*/ 262415 h 3690338"/>
                <a:gd name="connsiteX4689" fmla="*/ 1691734 w 4878487"/>
                <a:gd name="connsiteY4689" fmla="*/ 262415 h 3690338"/>
                <a:gd name="connsiteX4690" fmla="*/ 1688587 w 4878487"/>
                <a:gd name="connsiteY4690" fmla="*/ 263989 h 3690338"/>
                <a:gd name="connsiteX4691" fmla="*/ 1686620 w 4878487"/>
                <a:gd name="connsiteY4691" fmla="*/ 265169 h 3690338"/>
                <a:gd name="connsiteX4692" fmla="*/ 1685046 w 4878487"/>
                <a:gd name="connsiteY4692" fmla="*/ 265956 h 3690338"/>
                <a:gd name="connsiteX4693" fmla="*/ 1682685 w 4878487"/>
                <a:gd name="connsiteY4693" fmla="*/ 266743 h 3690338"/>
                <a:gd name="connsiteX4694" fmla="*/ 1679931 w 4878487"/>
                <a:gd name="connsiteY4694" fmla="*/ 267530 h 3690338"/>
                <a:gd name="connsiteX4695" fmla="*/ 1677177 w 4878487"/>
                <a:gd name="connsiteY4695" fmla="*/ 268710 h 3690338"/>
                <a:gd name="connsiteX4696" fmla="*/ 1674030 w 4878487"/>
                <a:gd name="connsiteY4696" fmla="*/ 269104 h 3690338"/>
                <a:gd name="connsiteX4697" fmla="*/ 1670882 w 4878487"/>
                <a:gd name="connsiteY4697" fmla="*/ 269497 h 3690338"/>
                <a:gd name="connsiteX4698" fmla="*/ 1667735 w 4878487"/>
                <a:gd name="connsiteY4698" fmla="*/ 269104 h 3690338"/>
                <a:gd name="connsiteX4699" fmla="*/ 1664981 w 4878487"/>
                <a:gd name="connsiteY4699" fmla="*/ 268710 h 3690338"/>
                <a:gd name="connsiteX4700" fmla="*/ 1668128 w 4878487"/>
                <a:gd name="connsiteY4700" fmla="*/ 270284 h 3690338"/>
                <a:gd name="connsiteX4701" fmla="*/ 1670489 w 4878487"/>
                <a:gd name="connsiteY4701" fmla="*/ 273038 h 3690338"/>
                <a:gd name="connsiteX4702" fmla="*/ 1670489 w 4878487"/>
                <a:gd name="connsiteY4702" fmla="*/ 273038 h 3690338"/>
                <a:gd name="connsiteX4703" fmla="*/ 1668915 w 4878487"/>
                <a:gd name="connsiteY4703" fmla="*/ 273825 h 3690338"/>
                <a:gd name="connsiteX4704" fmla="*/ 1666948 w 4878487"/>
                <a:gd name="connsiteY4704" fmla="*/ 273431 h 3690338"/>
                <a:gd name="connsiteX4705" fmla="*/ 1663801 w 4878487"/>
                <a:gd name="connsiteY4705" fmla="*/ 275005 h 3690338"/>
                <a:gd name="connsiteX4706" fmla="*/ 1660653 w 4878487"/>
                <a:gd name="connsiteY4706" fmla="*/ 274612 h 3690338"/>
                <a:gd name="connsiteX4707" fmla="*/ 1657899 w 4878487"/>
                <a:gd name="connsiteY4707" fmla="*/ 274218 h 3690338"/>
                <a:gd name="connsiteX4708" fmla="*/ 1654752 w 4878487"/>
                <a:gd name="connsiteY4708" fmla="*/ 276972 h 3690338"/>
                <a:gd name="connsiteX4709" fmla="*/ 1651604 w 4878487"/>
                <a:gd name="connsiteY4709" fmla="*/ 275398 h 3690338"/>
                <a:gd name="connsiteX4710" fmla="*/ 1648457 w 4878487"/>
                <a:gd name="connsiteY4710" fmla="*/ 276972 h 3690338"/>
                <a:gd name="connsiteX4711" fmla="*/ 1651211 w 4878487"/>
                <a:gd name="connsiteY4711" fmla="*/ 279333 h 3690338"/>
                <a:gd name="connsiteX4712" fmla="*/ 1651998 w 4878487"/>
                <a:gd name="connsiteY4712" fmla="*/ 281693 h 3690338"/>
                <a:gd name="connsiteX4713" fmla="*/ 1615803 w 4878487"/>
                <a:gd name="connsiteY4713" fmla="*/ 299397 h 3690338"/>
                <a:gd name="connsiteX4714" fmla="*/ 1614622 w 4878487"/>
                <a:gd name="connsiteY4714" fmla="*/ 298611 h 3690338"/>
                <a:gd name="connsiteX4715" fmla="*/ 1613836 w 4878487"/>
                <a:gd name="connsiteY4715" fmla="*/ 298217 h 3690338"/>
                <a:gd name="connsiteX4716" fmla="*/ 1609901 w 4878487"/>
                <a:gd name="connsiteY4716" fmla="*/ 296250 h 3690338"/>
                <a:gd name="connsiteX4717" fmla="*/ 1605967 w 4878487"/>
                <a:gd name="connsiteY4717" fmla="*/ 292709 h 3690338"/>
                <a:gd name="connsiteX4718" fmla="*/ 1604000 w 4878487"/>
                <a:gd name="connsiteY4718" fmla="*/ 289955 h 3690338"/>
                <a:gd name="connsiteX4719" fmla="*/ 1601246 w 4878487"/>
                <a:gd name="connsiteY4719" fmla="*/ 288382 h 3690338"/>
                <a:gd name="connsiteX4720" fmla="*/ 1598099 w 4878487"/>
                <a:gd name="connsiteY4720" fmla="*/ 287595 h 3690338"/>
                <a:gd name="connsiteX4721" fmla="*/ 1594558 w 4878487"/>
                <a:gd name="connsiteY4721" fmla="*/ 287201 h 3690338"/>
                <a:gd name="connsiteX4722" fmla="*/ 1588263 w 4878487"/>
                <a:gd name="connsiteY4722" fmla="*/ 284841 h 3690338"/>
                <a:gd name="connsiteX4723" fmla="*/ 1586689 w 4878487"/>
                <a:gd name="connsiteY4723" fmla="*/ 279333 h 3690338"/>
                <a:gd name="connsiteX4724" fmla="*/ 1587476 w 4878487"/>
                <a:gd name="connsiteY4724" fmla="*/ 278546 h 3690338"/>
                <a:gd name="connsiteX4725" fmla="*/ 1590623 w 4878487"/>
                <a:gd name="connsiteY4725" fmla="*/ 276972 h 3690338"/>
                <a:gd name="connsiteX4726" fmla="*/ 1593377 w 4878487"/>
                <a:gd name="connsiteY4726" fmla="*/ 276185 h 3690338"/>
                <a:gd name="connsiteX4727" fmla="*/ 1592197 w 4878487"/>
                <a:gd name="connsiteY4727" fmla="*/ 273038 h 3690338"/>
                <a:gd name="connsiteX4728" fmla="*/ 1594951 w 4878487"/>
                <a:gd name="connsiteY4728" fmla="*/ 272251 h 3690338"/>
                <a:gd name="connsiteX4729" fmla="*/ 1598099 w 4878487"/>
                <a:gd name="connsiteY4729" fmla="*/ 271858 h 3690338"/>
                <a:gd name="connsiteX4730" fmla="*/ 1600852 w 4878487"/>
                <a:gd name="connsiteY4730" fmla="*/ 271858 h 3690338"/>
                <a:gd name="connsiteX4731" fmla="*/ 1604000 w 4878487"/>
                <a:gd name="connsiteY4731" fmla="*/ 271464 h 3690338"/>
                <a:gd name="connsiteX4732" fmla="*/ 1606754 w 4878487"/>
                <a:gd name="connsiteY4732" fmla="*/ 271071 h 3690338"/>
                <a:gd name="connsiteX4733" fmla="*/ 1609508 w 4878487"/>
                <a:gd name="connsiteY4733" fmla="*/ 270677 h 3690338"/>
                <a:gd name="connsiteX4734" fmla="*/ 1613048 w 4878487"/>
                <a:gd name="connsiteY4734" fmla="*/ 269890 h 3690338"/>
                <a:gd name="connsiteX4735" fmla="*/ 1615803 w 4878487"/>
                <a:gd name="connsiteY4735" fmla="*/ 270284 h 3690338"/>
                <a:gd name="connsiteX4736" fmla="*/ 1618950 w 4878487"/>
                <a:gd name="connsiteY4736" fmla="*/ 270677 h 3690338"/>
                <a:gd name="connsiteX4737" fmla="*/ 1621704 w 4878487"/>
                <a:gd name="connsiteY4737" fmla="*/ 270284 h 3690338"/>
                <a:gd name="connsiteX4738" fmla="*/ 1619737 w 4878487"/>
                <a:gd name="connsiteY4738" fmla="*/ 267136 h 3690338"/>
                <a:gd name="connsiteX4739" fmla="*/ 1616589 w 4878487"/>
                <a:gd name="connsiteY4739" fmla="*/ 265169 h 3690338"/>
                <a:gd name="connsiteX4740" fmla="*/ 1615016 w 4878487"/>
                <a:gd name="connsiteY4740" fmla="*/ 262415 h 3690338"/>
                <a:gd name="connsiteX4741" fmla="*/ 1612262 w 4878487"/>
                <a:gd name="connsiteY4741" fmla="*/ 260055 h 3690338"/>
                <a:gd name="connsiteX4742" fmla="*/ 1609114 w 4878487"/>
                <a:gd name="connsiteY4742" fmla="*/ 259661 h 3690338"/>
                <a:gd name="connsiteX4743" fmla="*/ 1606360 w 4878487"/>
                <a:gd name="connsiteY4743" fmla="*/ 258088 h 3690338"/>
                <a:gd name="connsiteX4744" fmla="*/ 1603213 w 4878487"/>
                <a:gd name="connsiteY4744" fmla="*/ 256121 h 3690338"/>
                <a:gd name="connsiteX4745" fmla="*/ 1600459 w 4878487"/>
                <a:gd name="connsiteY4745" fmla="*/ 254153 h 3690338"/>
                <a:gd name="connsiteX4746" fmla="*/ 1598885 w 4878487"/>
                <a:gd name="connsiteY4746" fmla="*/ 251399 h 3690338"/>
                <a:gd name="connsiteX4747" fmla="*/ 1596131 w 4878487"/>
                <a:gd name="connsiteY4747" fmla="*/ 251006 h 3690338"/>
                <a:gd name="connsiteX4748" fmla="*/ 1592984 w 4878487"/>
                <a:gd name="connsiteY4748" fmla="*/ 250219 h 3690338"/>
                <a:gd name="connsiteX4749" fmla="*/ 1589836 w 4878487"/>
                <a:gd name="connsiteY4749" fmla="*/ 249826 h 3690338"/>
                <a:gd name="connsiteX4750" fmla="*/ 1586689 w 4878487"/>
                <a:gd name="connsiteY4750" fmla="*/ 249039 h 3690338"/>
                <a:gd name="connsiteX4751" fmla="*/ 1583542 w 4878487"/>
                <a:gd name="connsiteY4751" fmla="*/ 248645 h 3690338"/>
                <a:gd name="connsiteX4752" fmla="*/ 1580001 w 4878487"/>
                <a:gd name="connsiteY4752" fmla="*/ 248252 h 3690338"/>
                <a:gd name="connsiteX4753" fmla="*/ 1577247 w 4878487"/>
                <a:gd name="connsiteY4753" fmla="*/ 248252 h 3690338"/>
                <a:gd name="connsiteX4754" fmla="*/ 1573706 w 4878487"/>
                <a:gd name="connsiteY4754" fmla="*/ 248252 h 3690338"/>
                <a:gd name="connsiteX4755" fmla="*/ 1572132 w 4878487"/>
                <a:gd name="connsiteY4755" fmla="*/ 248645 h 3690338"/>
                <a:gd name="connsiteX4756" fmla="*/ 1567804 w 4878487"/>
                <a:gd name="connsiteY4756" fmla="*/ 249039 h 3690338"/>
                <a:gd name="connsiteX4757" fmla="*/ 1565051 w 4878487"/>
                <a:gd name="connsiteY4757" fmla="*/ 249432 h 3690338"/>
                <a:gd name="connsiteX4758" fmla="*/ 1561903 w 4878487"/>
                <a:gd name="connsiteY4758" fmla="*/ 249826 h 3690338"/>
                <a:gd name="connsiteX4759" fmla="*/ 1558362 w 4878487"/>
                <a:gd name="connsiteY4759" fmla="*/ 250219 h 3690338"/>
                <a:gd name="connsiteX4760" fmla="*/ 1555215 w 4878487"/>
                <a:gd name="connsiteY4760" fmla="*/ 249826 h 3690338"/>
                <a:gd name="connsiteX4761" fmla="*/ 1552461 w 4878487"/>
                <a:gd name="connsiteY4761" fmla="*/ 249039 h 3690338"/>
                <a:gd name="connsiteX4762" fmla="*/ 1549314 w 4878487"/>
                <a:gd name="connsiteY4762" fmla="*/ 247465 h 3690338"/>
                <a:gd name="connsiteX4763" fmla="*/ 1545773 w 4878487"/>
                <a:gd name="connsiteY4763" fmla="*/ 247072 h 3690338"/>
                <a:gd name="connsiteX4764" fmla="*/ 1543019 w 4878487"/>
                <a:gd name="connsiteY4764" fmla="*/ 245891 h 3690338"/>
                <a:gd name="connsiteX4765" fmla="*/ 1539871 w 4878487"/>
                <a:gd name="connsiteY4765" fmla="*/ 247859 h 3690338"/>
                <a:gd name="connsiteX4766" fmla="*/ 1543019 w 4878487"/>
                <a:gd name="connsiteY4766" fmla="*/ 249039 h 3690338"/>
                <a:gd name="connsiteX4767" fmla="*/ 1545773 w 4878487"/>
                <a:gd name="connsiteY4767" fmla="*/ 250613 h 3690338"/>
                <a:gd name="connsiteX4768" fmla="*/ 1548526 w 4878487"/>
                <a:gd name="connsiteY4768" fmla="*/ 251793 h 3690338"/>
                <a:gd name="connsiteX4769" fmla="*/ 1551674 w 4878487"/>
                <a:gd name="connsiteY4769" fmla="*/ 252973 h 3690338"/>
                <a:gd name="connsiteX4770" fmla="*/ 1554428 w 4878487"/>
                <a:gd name="connsiteY4770" fmla="*/ 253760 h 3690338"/>
                <a:gd name="connsiteX4771" fmla="*/ 1557575 w 4878487"/>
                <a:gd name="connsiteY4771" fmla="*/ 254940 h 3690338"/>
                <a:gd name="connsiteX4772" fmla="*/ 1560329 w 4878487"/>
                <a:gd name="connsiteY4772" fmla="*/ 256514 h 3690338"/>
                <a:gd name="connsiteX4773" fmla="*/ 1563477 w 4878487"/>
                <a:gd name="connsiteY4773" fmla="*/ 265563 h 3690338"/>
                <a:gd name="connsiteX4774" fmla="*/ 1562690 w 4878487"/>
                <a:gd name="connsiteY4774" fmla="*/ 265956 h 3690338"/>
                <a:gd name="connsiteX4775" fmla="*/ 1563870 w 4878487"/>
                <a:gd name="connsiteY4775" fmla="*/ 267530 h 3690338"/>
                <a:gd name="connsiteX4776" fmla="*/ 1564264 w 4878487"/>
                <a:gd name="connsiteY4776" fmla="*/ 269104 h 3690338"/>
                <a:gd name="connsiteX4777" fmla="*/ 1562296 w 4878487"/>
                <a:gd name="connsiteY4777" fmla="*/ 269890 h 3690338"/>
                <a:gd name="connsiteX4778" fmla="*/ 1563870 w 4878487"/>
                <a:gd name="connsiteY4778" fmla="*/ 272644 h 3690338"/>
                <a:gd name="connsiteX4779" fmla="*/ 1562690 w 4878487"/>
                <a:gd name="connsiteY4779" fmla="*/ 275792 h 3690338"/>
                <a:gd name="connsiteX4780" fmla="*/ 1561510 w 4878487"/>
                <a:gd name="connsiteY4780" fmla="*/ 278546 h 3690338"/>
                <a:gd name="connsiteX4781" fmla="*/ 1560329 w 4878487"/>
                <a:gd name="connsiteY4781" fmla="*/ 281300 h 3690338"/>
                <a:gd name="connsiteX4782" fmla="*/ 1559543 w 4878487"/>
                <a:gd name="connsiteY4782" fmla="*/ 284447 h 3690338"/>
                <a:gd name="connsiteX4783" fmla="*/ 1559543 w 4878487"/>
                <a:gd name="connsiteY4783" fmla="*/ 287201 h 3690338"/>
                <a:gd name="connsiteX4784" fmla="*/ 1562296 w 4878487"/>
                <a:gd name="connsiteY4784" fmla="*/ 289955 h 3690338"/>
                <a:gd name="connsiteX4785" fmla="*/ 1568198 w 4878487"/>
                <a:gd name="connsiteY4785" fmla="*/ 289955 h 3690338"/>
                <a:gd name="connsiteX4786" fmla="*/ 1570952 w 4878487"/>
                <a:gd name="connsiteY4786" fmla="*/ 291529 h 3690338"/>
                <a:gd name="connsiteX4787" fmla="*/ 1572526 w 4878487"/>
                <a:gd name="connsiteY4787" fmla="*/ 292709 h 3690338"/>
                <a:gd name="connsiteX4788" fmla="*/ 1578821 w 4878487"/>
                <a:gd name="connsiteY4788" fmla="*/ 310020 h 3690338"/>
                <a:gd name="connsiteX4789" fmla="*/ 1577247 w 4878487"/>
                <a:gd name="connsiteY4789" fmla="*/ 312381 h 3690338"/>
                <a:gd name="connsiteX4790" fmla="*/ 1576460 w 4878487"/>
                <a:gd name="connsiteY4790" fmla="*/ 313561 h 3690338"/>
                <a:gd name="connsiteX4791" fmla="*/ 1576066 w 4878487"/>
                <a:gd name="connsiteY4791" fmla="*/ 316708 h 3690338"/>
                <a:gd name="connsiteX4792" fmla="*/ 1576460 w 4878487"/>
                <a:gd name="connsiteY4792" fmla="*/ 319462 h 3690338"/>
                <a:gd name="connsiteX4793" fmla="*/ 1579214 w 4878487"/>
                <a:gd name="connsiteY4793" fmla="*/ 322610 h 3690338"/>
                <a:gd name="connsiteX4794" fmla="*/ 1579607 w 4878487"/>
                <a:gd name="connsiteY4794" fmla="*/ 325757 h 3690338"/>
                <a:gd name="connsiteX4795" fmla="*/ 1581181 w 4878487"/>
                <a:gd name="connsiteY4795" fmla="*/ 328511 h 3690338"/>
                <a:gd name="connsiteX4796" fmla="*/ 1579607 w 4878487"/>
                <a:gd name="connsiteY4796" fmla="*/ 327331 h 3690338"/>
                <a:gd name="connsiteX4797" fmla="*/ 1576853 w 4878487"/>
                <a:gd name="connsiteY4797" fmla="*/ 324577 h 3690338"/>
                <a:gd name="connsiteX4798" fmla="*/ 1575280 w 4878487"/>
                <a:gd name="connsiteY4798" fmla="*/ 321823 h 3690338"/>
                <a:gd name="connsiteX4799" fmla="*/ 1572132 w 4878487"/>
                <a:gd name="connsiteY4799" fmla="*/ 320249 h 3690338"/>
                <a:gd name="connsiteX4800" fmla="*/ 1569378 w 4878487"/>
                <a:gd name="connsiteY4800" fmla="*/ 319462 h 3690338"/>
                <a:gd name="connsiteX4801" fmla="*/ 1566231 w 4878487"/>
                <a:gd name="connsiteY4801" fmla="*/ 320249 h 3690338"/>
                <a:gd name="connsiteX4802" fmla="*/ 1563477 w 4878487"/>
                <a:gd name="connsiteY4802" fmla="*/ 320642 h 3690338"/>
                <a:gd name="connsiteX4803" fmla="*/ 1563084 w 4878487"/>
                <a:gd name="connsiteY4803" fmla="*/ 323790 h 3690338"/>
                <a:gd name="connsiteX4804" fmla="*/ 1559936 w 4878487"/>
                <a:gd name="connsiteY4804" fmla="*/ 321823 h 3690338"/>
                <a:gd name="connsiteX4805" fmla="*/ 1563084 w 4878487"/>
                <a:gd name="connsiteY4805" fmla="*/ 319462 h 3690338"/>
                <a:gd name="connsiteX4806" fmla="*/ 1565837 w 4878487"/>
                <a:gd name="connsiteY4806" fmla="*/ 318675 h 3690338"/>
                <a:gd name="connsiteX4807" fmla="*/ 1564264 w 4878487"/>
                <a:gd name="connsiteY4807" fmla="*/ 315921 h 3690338"/>
                <a:gd name="connsiteX4808" fmla="*/ 1561510 w 4878487"/>
                <a:gd name="connsiteY4808" fmla="*/ 315134 h 3690338"/>
                <a:gd name="connsiteX4809" fmla="*/ 1558756 w 4878487"/>
                <a:gd name="connsiteY4809" fmla="*/ 314741 h 3690338"/>
                <a:gd name="connsiteX4810" fmla="*/ 1555608 w 4878487"/>
                <a:gd name="connsiteY4810" fmla="*/ 312381 h 3690338"/>
                <a:gd name="connsiteX4811" fmla="*/ 1552855 w 4878487"/>
                <a:gd name="connsiteY4811" fmla="*/ 312381 h 3690338"/>
                <a:gd name="connsiteX4812" fmla="*/ 1549707 w 4878487"/>
                <a:gd name="connsiteY4812" fmla="*/ 312774 h 3690338"/>
                <a:gd name="connsiteX4813" fmla="*/ 1546559 w 4878487"/>
                <a:gd name="connsiteY4813" fmla="*/ 313167 h 3690338"/>
                <a:gd name="connsiteX4814" fmla="*/ 1543412 w 4878487"/>
                <a:gd name="connsiteY4814" fmla="*/ 313561 h 3690338"/>
                <a:gd name="connsiteX4815" fmla="*/ 1540658 w 4878487"/>
                <a:gd name="connsiteY4815" fmla="*/ 311987 h 3690338"/>
                <a:gd name="connsiteX4816" fmla="*/ 1537904 w 4878487"/>
                <a:gd name="connsiteY4816" fmla="*/ 311200 h 3690338"/>
                <a:gd name="connsiteX4817" fmla="*/ 1534363 w 4878487"/>
                <a:gd name="connsiteY4817" fmla="*/ 310413 h 3690338"/>
                <a:gd name="connsiteX4818" fmla="*/ 1531216 w 4878487"/>
                <a:gd name="connsiteY4818" fmla="*/ 310020 h 3690338"/>
                <a:gd name="connsiteX4819" fmla="*/ 1528462 w 4878487"/>
                <a:gd name="connsiteY4819" fmla="*/ 312774 h 3690338"/>
                <a:gd name="connsiteX4820" fmla="*/ 1526101 w 4878487"/>
                <a:gd name="connsiteY4820" fmla="*/ 315528 h 3690338"/>
                <a:gd name="connsiteX4821" fmla="*/ 1523348 w 4878487"/>
                <a:gd name="connsiteY4821" fmla="*/ 318675 h 3690338"/>
                <a:gd name="connsiteX4822" fmla="*/ 1520200 w 4878487"/>
                <a:gd name="connsiteY4822" fmla="*/ 321036 h 3690338"/>
                <a:gd name="connsiteX4823" fmla="*/ 1517446 w 4878487"/>
                <a:gd name="connsiteY4823" fmla="*/ 322610 h 3690338"/>
                <a:gd name="connsiteX4824" fmla="*/ 1514299 w 4878487"/>
                <a:gd name="connsiteY4824" fmla="*/ 324183 h 3690338"/>
                <a:gd name="connsiteX4825" fmla="*/ 1511545 w 4878487"/>
                <a:gd name="connsiteY4825" fmla="*/ 324577 h 3690338"/>
                <a:gd name="connsiteX4826" fmla="*/ 1508790 w 4878487"/>
                <a:gd name="connsiteY4826" fmla="*/ 325364 h 3690338"/>
                <a:gd name="connsiteX4827" fmla="*/ 1505643 w 4878487"/>
                <a:gd name="connsiteY4827" fmla="*/ 325757 h 3690338"/>
                <a:gd name="connsiteX4828" fmla="*/ 1502496 w 4878487"/>
                <a:gd name="connsiteY4828" fmla="*/ 326150 h 3690338"/>
                <a:gd name="connsiteX4829" fmla="*/ 1499742 w 4878487"/>
                <a:gd name="connsiteY4829" fmla="*/ 328511 h 3690338"/>
                <a:gd name="connsiteX4830" fmla="*/ 1496988 w 4878487"/>
                <a:gd name="connsiteY4830" fmla="*/ 331658 h 3690338"/>
                <a:gd name="connsiteX4831" fmla="*/ 1494234 w 4878487"/>
                <a:gd name="connsiteY4831" fmla="*/ 333232 h 3690338"/>
                <a:gd name="connsiteX4832" fmla="*/ 1491086 w 4878487"/>
                <a:gd name="connsiteY4832" fmla="*/ 334806 h 3690338"/>
                <a:gd name="connsiteX4833" fmla="*/ 1488332 w 4878487"/>
                <a:gd name="connsiteY4833" fmla="*/ 335593 h 3690338"/>
                <a:gd name="connsiteX4834" fmla="*/ 1485578 w 4878487"/>
                <a:gd name="connsiteY4834" fmla="*/ 336773 h 3690338"/>
                <a:gd name="connsiteX4835" fmla="*/ 1482824 w 4878487"/>
                <a:gd name="connsiteY4835" fmla="*/ 339527 h 3690338"/>
                <a:gd name="connsiteX4836" fmla="*/ 1482824 w 4878487"/>
                <a:gd name="connsiteY4836" fmla="*/ 342281 h 3690338"/>
                <a:gd name="connsiteX4837" fmla="*/ 1485578 w 4878487"/>
                <a:gd name="connsiteY4837" fmla="*/ 345428 h 3690338"/>
                <a:gd name="connsiteX4838" fmla="*/ 1488726 w 4878487"/>
                <a:gd name="connsiteY4838" fmla="*/ 347395 h 3690338"/>
                <a:gd name="connsiteX4839" fmla="*/ 1491480 w 4878487"/>
                <a:gd name="connsiteY4839" fmla="*/ 349756 h 3690338"/>
                <a:gd name="connsiteX4840" fmla="*/ 1493053 w 4878487"/>
                <a:gd name="connsiteY4840" fmla="*/ 351330 h 3690338"/>
                <a:gd name="connsiteX4841" fmla="*/ 1496201 w 4878487"/>
                <a:gd name="connsiteY4841" fmla="*/ 353690 h 3690338"/>
                <a:gd name="connsiteX4842" fmla="*/ 1499348 w 4878487"/>
                <a:gd name="connsiteY4842" fmla="*/ 355264 h 3690338"/>
                <a:gd name="connsiteX4843" fmla="*/ 1504856 w 4878487"/>
                <a:gd name="connsiteY4843" fmla="*/ 363526 h 3690338"/>
                <a:gd name="connsiteX4844" fmla="*/ 1505643 w 4878487"/>
                <a:gd name="connsiteY4844" fmla="*/ 365493 h 3690338"/>
                <a:gd name="connsiteX4845" fmla="*/ 1508397 w 4878487"/>
                <a:gd name="connsiteY4845" fmla="*/ 368247 h 3690338"/>
                <a:gd name="connsiteX4846" fmla="*/ 1508397 w 4878487"/>
                <a:gd name="connsiteY4846" fmla="*/ 369034 h 3690338"/>
                <a:gd name="connsiteX4847" fmla="*/ 1501315 w 4878487"/>
                <a:gd name="connsiteY4847" fmla="*/ 367460 h 3690338"/>
                <a:gd name="connsiteX4848" fmla="*/ 1503676 w 4878487"/>
                <a:gd name="connsiteY4848" fmla="*/ 367460 h 3690338"/>
                <a:gd name="connsiteX4849" fmla="*/ 1506823 w 4878487"/>
                <a:gd name="connsiteY4849" fmla="*/ 368247 h 3690338"/>
                <a:gd name="connsiteX4850" fmla="*/ 1504856 w 4878487"/>
                <a:gd name="connsiteY4850" fmla="*/ 365493 h 3690338"/>
                <a:gd name="connsiteX4851" fmla="*/ 1502496 w 4878487"/>
                <a:gd name="connsiteY4851" fmla="*/ 362346 h 3690338"/>
                <a:gd name="connsiteX4852" fmla="*/ 1499348 w 4878487"/>
                <a:gd name="connsiteY4852" fmla="*/ 363133 h 3690338"/>
                <a:gd name="connsiteX4853" fmla="*/ 1500922 w 4878487"/>
                <a:gd name="connsiteY4853" fmla="*/ 365886 h 3690338"/>
                <a:gd name="connsiteX4854" fmla="*/ 1498168 w 4878487"/>
                <a:gd name="connsiteY4854" fmla="*/ 364706 h 3690338"/>
                <a:gd name="connsiteX4855" fmla="*/ 1495021 w 4878487"/>
                <a:gd name="connsiteY4855" fmla="*/ 364313 h 3690338"/>
                <a:gd name="connsiteX4856" fmla="*/ 1495021 w 4878487"/>
                <a:gd name="connsiteY4856" fmla="*/ 365100 h 3690338"/>
                <a:gd name="connsiteX4857" fmla="*/ 1497775 w 4878487"/>
                <a:gd name="connsiteY4857" fmla="*/ 365886 h 3690338"/>
                <a:gd name="connsiteX4858" fmla="*/ 1500135 w 4878487"/>
                <a:gd name="connsiteY4858" fmla="*/ 367067 h 3690338"/>
                <a:gd name="connsiteX4859" fmla="*/ 1495021 w 4878487"/>
                <a:gd name="connsiteY4859" fmla="*/ 365886 h 3690338"/>
                <a:gd name="connsiteX4860" fmla="*/ 1493841 w 4878487"/>
                <a:gd name="connsiteY4860" fmla="*/ 365493 h 3690338"/>
                <a:gd name="connsiteX4861" fmla="*/ 1493841 w 4878487"/>
                <a:gd name="connsiteY4861" fmla="*/ 365493 h 3690338"/>
                <a:gd name="connsiteX4862" fmla="*/ 1441121 w 4878487"/>
                <a:gd name="connsiteY4862" fmla="*/ 354871 h 3690338"/>
                <a:gd name="connsiteX4863" fmla="*/ 1439941 w 4878487"/>
                <a:gd name="connsiteY4863" fmla="*/ 353297 h 3690338"/>
                <a:gd name="connsiteX4864" fmla="*/ 1437187 w 4878487"/>
                <a:gd name="connsiteY4864" fmla="*/ 352117 h 3690338"/>
                <a:gd name="connsiteX4865" fmla="*/ 1434039 w 4878487"/>
                <a:gd name="connsiteY4865" fmla="*/ 350543 h 3690338"/>
                <a:gd name="connsiteX4866" fmla="*/ 1431286 w 4878487"/>
                <a:gd name="connsiteY4866" fmla="*/ 350149 h 3690338"/>
                <a:gd name="connsiteX4867" fmla="*/ 1428138 w 4878487"/>
                <a:gd name="connsiteY4867" fmla="*/ 349756 h 3690338"/>
                <a:gd name="connsiteX4868" fmla="*/ 1424991 w 4878487"/>
                <a:gd name="connsiteY4868" fmla="*/ 348969 h 3690338"/>
                <a:gd name="connsiteX4869" fmla="*/ 1421843 w 4878487"/>
                <a:gd name="connsiteY4869" fmla="*/ 348969 h 3690338"/>
                <a:gd name="connsiteX4870" fmla="*/ 1420270 w 4878487"/>
                <a:gd name="connsiteY4870" fmla="*/ 351723 h 3690338"/>
                <a:gd name="connsiteX4871" fmla="*/ 1420270 w 4878487"/>
                <a:gd name="connsiteY4871" fmla="*/ 354871 h 3690338"/>
                <a:gd name="connsiteX4872" fmla="*/ 1417516 w 4878487"/>
                <a:gd name="connsiteY4872" fmla="*/ 356444 h 3690338"/>
                <a:gd name="connsiteX4873" fmla="*/ 1414368 w 4878487"/>
                <a:gd name="connsiteY4873" fmla="*/ 356838 h 3690338"/>
                <a:gd name="connsiteX4874" fmla="*/ 1411614 w 4878487"/>
                <a:gd name="connsiteY4874" fmla="*/ 356838 h 3690338"/>
                <a:gd name="connsiteX4875" fmla="*/ 1413975 w 4878487"/>
                <a:gd name="connsiteY4875" fmla="*/ 359592 h 3690338"/>
                <a:gd name="connsiteX4876" fmla="*/ 1416729 w 4878487"/>
                <a:gd name="connsiteY4876" fmla="*/ 362346 h 3690338"/>
                <a:gd name="connsiteX4877" fmla="*/ 1419876 w 4878487"/>
                <a:gd name="connsiteY4877" fmla="*/ 363133 h 3690338"/>
                <a:gd name="connsiteX4878" fmla="*/ 1423024 w 4878487"/>
                <a:gd name="connsiteY4878" fmla="*/ 365493 h 3690338"/>
                <a:gd name="connsiteX4879" fmla="*/ 1425778 w 4878487"/>
                <a:gd name="connsiteY4879" fmla="*/ 367854 h 3690338"/>
                <a:gd name="connsiteX4880" fmla="*/ 1428531 w 4878487"/>
                <a:gd name="connsiteY4880" fmla="*/ 369821 h 3690338"/>
                <a:gd name="connsiteX4881" fmla="*/ 1431286 w 4878487"/>
                <a:gd name="connsiteY4881" fmla="*/ 372181 h 3690338"/>
                <a:gd name="connsiteX4882" fmla="*/ 1434433 w 4878487"/>
                <a:gd name="connsiteY4882" fmla="*/ 372968 h 3690338"/>
                <a:gd name="connsiteX4883" fmla="*/ 1437187 w 4878487"/>
                <a:gd name="connsiteY4883" fmla="*/ 373362 h 3690338"/>
                <a:gd name="connsiteX4884" fmla="*/ 1439941 w 4878487"/>
                <a:gd name="connsiteY4884" fmla="*/ 372575 h 3690338"/>
                <a:gd name="connsiteX4885" fmla="*/ 1453711 w 4878487"/>
                <a:gd name="connsiteY4885" fmla="*/ 385558 h 3690338"/>
                <a:gd name="connsiteX4886" fmla="*/ 1419876 w 4878487"/>
                <a:gd name="connsiteY4886" fmla="*/ 384771 h 3690338"/>
                <a:gd name="connsiteX4887" fmla="*/ 1415549 w 4878487"/>
                <a:gd name="connsiteY4887" fmla="*/ 383197 h 3690338"/>
                <a:gd name="connsiteX4888" fmla="*/ 1413975 w 4878487"/>
                <a:gd name="connsiteY4888" fmla="*/ 382017 h 3690338"/>
                <a:gd name="connsiteX4889" fmla="*/ 1411614 w 4878487"/>
                <a:gd name="connsiteY4889" fmla="*/ 379263 h 3690338"/>
                <a:gd name="connsiteX4890" fmla="*/ 1408860 w 4878487"/>
                <a:gd name="connsiteY4890" fmla="*/ 376902 h 3690338"/>
                <a:gd name="connsiteX4891" fmla="*/ 1406106 w 4878487"/>
                <a:gd name="connsiteY4891" fmla="*/ 377689 h 3690338"/>
                <a:gd name="connsiteX4892" fmla="*/ 1403352 w 4878487"/>
                <a:gd name="connsiteY4892" fmla="*/ 374935 h 3690338"/>
                <a:gd name="connsiteX4893" fmla="*/ 1400598 w 4878487"/>
                <a:gd name="connsiteY4893" fmla="*/ 373362 h 3690338"/>
                <a:gd name="connsiteX4894" fmla="*/ 1397451 w 4878487"/>
                <a:gd name="connsiteY4894" fmla="*/ 371788 h 3690338"/>
                <a:gd name="connsiteX4895" fmla="*/ 1394303 w 4878487"/>
                <a:gd name="connsiteY4895" fmla="*/ 373362 h 3690338"/>
                <a:gd name="connsiteX4896" fmla="*/ 1391550 w 4878487"/>
                <a:gd name="connsiteY4896" fmla="*/ 373755 h 3690338"/>
                <a:gd name="connsiteX4897" fmla="*/ 1391156 w 4878487"/>
                <a:gd name="connsiteY4897" fmla="*/ 373362 h 3690338"/>
                <a:gd name="connsiteX4898" fmla="*/ 1388402 w 4878487"/>
                <a:gd name="connsiteY4898" fmla="*/ 372181 h 3690338"/>
                <a:gd name="connsiteX4899" fmla="*/ 1385648 w 4878487"/>
                <a:gd name="connsiteY4899" fmla="*/ 371001 h 3690338"/>
                <a:gd name="connsiteX4900" fmla="*/ 1382894 w 4878487"/>
                <a:gd name="connsiteY4900" fmla="*/ 370214 h 3690338"/>
                <a:gd name="connsiteX4901" fmla="*/ 1379747 w 4878487"/>
                <a:gd name="connsiteY4901" fmla="*/ 367854 h 3690338"/>
                <a:gd name="connsiteX4902" fmla="*/ 1378566 w 4878487"/>
                <a:gd name="connsiteY4902" fmla="*/ 367460 h 3690338"/>
                <a:gd name="connsiteX4903" fmla="*/ 1377780 w 4878487"/>
                <a:gd name="connsiteY4903" fmla="*/ 367067 h 3690338"/>
                <a:gd name="connsiteX4904" fmla="*/ 1380534 w 4878487"/>
                <a:gd name="connsiteY4904" fmla="*/ 364313 h 3690338"/>
                <a:gd name="connsiteX4905" fmla="*/ 1379353 w 4878487"/>
                <a:gd name="connsiteY4905" fmla="*/ 363526 h 3690338"/>
                <a:gd name="connsiteX4906" fmla="*/ 1380534 w 4878487"/>
                <a:gd name="connsiteY4906" fmla="*/ 360379 h 3690338"/>
                <a:gd name="connsiteX4907" fmla="*/ 1380140 w 4878487"/>
                <a:gd name="connsiteY4907" fmla="*/ 359985 h 3690338"/>
                <a:gd name="connsiteX4908" fmla="*/ 1376993 w 4878487"/>
                <a:gd name="connsiteY4908" fmla="*/ 357625 h 3690338"/>
                <a:gd name="connsiteX4909" fmla="*/ 1376993 w 4878487"/>
                <a:gd name="connsiteY4909" fmla="*/ 356838 h 3690338"/>
                <a:gd name="connsiteX4910" fmla="*/ 1374239 w 4878487"/>
                <a:gd name="connsiteY4910" fmla="*/ 354477 h 3690338"/>
                <a:gd name="connsiteX4911" fmla="*/ 1372665 w 4878487"/>
                <a:gd name="connsiteY4911" fmla="*/ 354084 h 3690338"/>
                <a:gd name="connsiteX4912" fmla="*/ 1373452 w 4878487"/>
                <a:gd name="connsiteY4912" fmla="*/ 353690 h 3690338"/>
                <a:gd name="connsiteX4913" fmla="*/ 1373845 w 4878487"/>
                <a:gd name="connsiteY4913" fmla="*/ 350543 h 3690338"/>
                <a:gd name="connsiteX4914" fmla="*/ 1370698 w 4878487"/>
                <a:gd name="connsiteY4914" fmla="*/ 348969 h 3690338"/>
                <a:gd name="connsiteX4915" fmla="*/ 1369124 w 4878487"/>
                <a:gd name="connsiteY4915" fmla="*/ 346215 h 3690338"/>
                <a:gd name="connsiteX4916" fmla="*/ 1365977 w 4878487"/>
                <a:gd name="connsiteY4916" fmla="*/ 345822 h 3690338"/>
                <a:gd name="connsiteX4917" fmla="*/ 1363616 w 4878487"/>
                <a:gd name="connsiteY4917" fmla="*/ 342674 h 3690338"/>
                <a:gd name="connsiteX4918" fmla="*/ 1366764 w 4878487"/>
                <a:gd name="connsiteY4918" fmla="*/ 340314 h 3690338"/>
                <a:gd name="connsiteX4919" fmla="*/ 1369517 w 4878487"/>
                <a:gd name="connsiteY4919" fmla="*/ 338347 h 3690338"/>
                <a:gd name="connsiteX4920" fmla="*/ 1370698 w 4878487"/>
                <a:gd name="connsiteY4920" fmla="*/ 335593 h 3690338"/>
                <a:gd name="connsiteX4921" fmla="*/ 1369517 w 4878487"/>
                <a:gd name="connsiteY4921" fmla="*/ 332839 h 3690338"/>
                <a:gd name="connsiteX4922" fmla="*/ 1372665 w 4878487"/>
                <a:gd name="connsiteY4922" fmla="*/ 332839 h 3690338"/>
                <a:gd name="connsiteX4923" fmla="*/ 1371878 w 4878487"/>
                <a:gd name="connsiteY4923" fmla="*/ 330085 h 3690338"/>
                <a:gd name="connsiteX4924" fmla="*/ 1370305 w 4878487"/>
                <a:gd name="connsiteY4924" fmla="*/ 327331 h 3690338"/>
                <a:gd name="connsiteX4925" fmla="*/ 1367157 w 4878487"/>
                <a:gd name="connsiteY4925" fmla="*/ 327331 h 3690338"/>
                <a:gd name="connsiteX4926" fmla="*/ 1366370 w 4878487"/>
                <a:gd name="connsiteY4926" fmla="*/ 324577 h 3690338"/>
                <a:gd name="connsiteX4927" fmla="*/ 1363223 w 4878487"/>
                <a:gd name="connsiteY4927" fmla="*/ 322610 h 3690338"/>
                <a:gd name="connsiteX4928" fmla="*/ 1360469 w 4878487"/>
                <a:gd name="connsiteY4928" fmla="*/ 321036 h 3690338"/>
                <a:gd name="connsiteX4929" fmla="*/ 1357321 w 4878487"/>
                <a:gd name="connsiteY4929" fmla="*/ 319856 h 3690338"/>
                <a:gd name="connsiteX4930" fmla="*/ 1354174 w 4878487"/>
                <a:gd name="connsiteY4930" fmla="*/ 319462 h 3690338"/>
                <a:gd name="connsiteX4931" fmla="*/ 1351027 w 4878487"/>
                <a:gd name="connsiteY4931" fmla="*/ 317102 h 3690338"/>
                <a:gd name="connsiteX4932" fmla="*/ 1348273 w 4878487"/>
                <a:gd name="connsiteY4932" fmla="*/ 317495 h 3690338"/>
                <a:gd name="connsiteX4933" fmla="*/ 1345519 w 4878487"/>
                <a:gd name="connsiteY4933" fmla="*/ 316708 h 3690338"/>
                <a:gd name="connsiteX4934" fmla="*/ 1342371 w 4878487"/>
                <a:gd name="connsiteY4934" fmla="*/ 316315 h 3690338"/>
                <a:gd name="connsiteX4935" fmla="*/ 1339224 w 4878487"/>
                <a:gd name="connsiteY4935" fmla="*/ 315134 h 3690338"/>
                <a:gd name="connsiteX4936" fmla="*/ 1336076 w 4878487"/>
                <a:gd name="connsiteY4936" fmla="*/ 315528 h 3690338"/>
                <a:gd name="connsiteX4937" fmla="*/ 1333322 w 4878487"/>
                <a:gd name="connsiteY4937" fmla="*/ 315528 h 3690338"/>
                <a:gd name="connsiteX4938" fmla="*/ 1336470 w 4878487"/>
                <a:gd name="connsiteY4938" fmla="*/ 314741 h 3690338"/>
                <a:gd name="connsiteX4939" fmla="*/ 1339617 w 4878487"/>
                <a:gd name="connsiteY4939" fmla="*/ 314348 h 3690338"/>
                <a:gd name="connsiteX4940" fmla="*/ 1340010 w 4878487"/>
                <a:gd name="connsiteY4940" fmla="*/ 313561 h 3690338"/>
                <a:gd name="connsiteX4941" fmla="*/ 1340010 w 4878487"/>
                <a:gd name="connsiteY4941" fmla="*/ 310807 h 3690338"/>
                <a:gd name="connsiteX4942" fmla="*/ 1336863 w 4878487"/>
                <a:gd name="connsiteY4942" fmla="*/ 311200 h 3690338"/>
                <a:gd name="connsiteX4943" fmla="*/ 1333716 w 4878487"/>
                <a:gd name="connsiteY4943" fmla="*/ 310807 h 3690338"/>
                <a:gd name="connsiteX4944" fmla="*/ 1330569 w 4878487"/>
                <a:gd name="connsiteY4944" fmla="*/ 309233 h 3690338"/>
                <a:gd name="connsiteX4945" fmla="*/ 1329781 w 4878487"/>
                <a:gd name="connsiteY4945" fmla="*/ 309627 h 3690338"/>
                <a:gd name="connsiteX4946" fmla="*/ 1327814 w 4878487"/>
                <a:gd name="connsiteY4946" fmla="*/ 308840 h 3690338"/>
                <a:gd name="connsiteX4947" fmla="*/ 1332536 w 4878487"/>
                <a:gd name="connsiteY4947" fmla="*/ 308840 h 3690338"/>
                <a:gd name="connsiteX4948" fmla="*/ 1335290 w 4878487"/>
                <a:gd name="connsiteY4948" fmla="*/ 309233 h 3690338"/>
                <a:gd name="connsiteX4949" fmla="*/ 1332142 w 4878487"/>
                <a:gd name="connsiteY4949" fmla="*/ 307266 h 3690338"/>
                <a:gd name="connsiteX4950" fmla="*/ 1328995 w 4878487"/>
                <a:gd name="connsiteY4950" fmla="*/ 307659 h 3690338"/>
                <a:gd name="connsiteX4951" fmla="*/ 1326241 w 4878487"/>
                <a:gd name="connsiteY4951" fmla="*/ 308053 h 3690338"/>
                <a:gd name="connsiteX4952" fmla="*/ 1321520 w 4878487"/>
                <a:gd name="connsiteY4952" fmla="*/ 307659 h 3690338"/>
                <a:gd name="connsiteX4953" fmla="*/ 1324667 w 4878487"/>
                <a:gd name="connsiteY4953" fmla="*/ 307659 h 3690338"/>
                <a:gd name="connsiteX4954" fmla="*/ 1327814 w 4878487"/>
                <a:gd name="connsiteY4954" fmla="*/ 306086 h 3690338"/>
                <a:gd name="connsiteX4955" fmla="*/ 1330962 w 4878487"/>
                <a:gd name="connsiteY4955" fmla="*/ 306479 h 3690338"/>
                <a:gd name="connsiteX4956" fmla="*/ 1327814 w 4878487"/>
                <a:gd name="connsiteY4956" fmla="*/ 304905 h 3690338"/>
                <a:gd name="connsiteX4957" fmla="*/ 1324273 w 4878487"/>
                <a:gd name="connsiteY4957" fmla="*/ 304905 h 3690338"/>
                <a:gd name="connsiteX4958" fmla="*/ 1321520 w 4878487"/>
                <a:gd name="connsiteY4958" fmla="*/ 304512 h 3690338"/>
                <a:gd name="connsiteX4959" fmla="*/ 1318766 w 4878487"/>
                <a:gd name="connsiteY4959" fmla="*/ 303725 h 3690338"/>
                <a:gd name="connsiteX4960" fmla="*/ 1321913 w 4878487"/>
                <a:gd name="connsiteY4960" fmla="*/ 303725 h 3690338"/>
                <a:gd name="connsiteX4961" fmla="*/ 1318766 w 4878487"/>
                <a:gd name="connsiteY4961" fmla="*/ 302151 h 3690338"/>
                <a:gd name="connsiteX4962" fmla="*/ 1316012 w 4878487"/>
                <a:gd name="connsiteY4962" fmla="*/ 300971 h 3690338"/>
                <a:gd name="connsiteX4963" fmla="*/ 1313258 w 4878487"/>
                <a:gd name="connsiteY4963" fmla="*/ 299397 h 3690338"/>
                <a:gd name="connsiteX4964" fmla="*/ 1312471 w 4878487"/>
                <a:gd name="connsiteY4964" fmla="*/ 299397 h 3690338"/>
                <a:gd name="connsiteX4965" fmla="*/ 1311291 w 4878487"/>
                <a:gd name="connsiteY4965" fmla="*/ 298217 h 3690338"/>
                <a:gd name="connsiteX4966" fmla="*/ 1313258 w 4878487"/>
                <a:gd name="connsiteY4966" fmla="*/ 296250 h 3690338"/>
                <a:gd name="connsiteX4967" fmla="*/ 1310110 w 4878487"/>
                <a:gd name="connsiteY4967" fmla="*/ 294676 h 3690338"/>
                <a:gd name="connsiteX4968" fmla="*/ 1307356 w 4878487"/>
                <a:gd name="connsiteY4968" fmla="*/ 294283 h 3690338"/>
                <a:gd name="connsiteX4969" fmla="*/ 1304602 w 4878487"/>
                <a:gd name="connsiteY4969" fmla="*/ 292316 h 3690338"/>
                <a:gd name="connsiteX4970" fmla="*/ 1303029 w 4878487"/>
                <a:gd name="connsiteY4970" fmla="*/ 292316 h 3690338"/>
                <a:gd name="connsiteX4971" fmla="*/ 1304602 w 4878487"/>
                <a:gd name="connsiteY4971" fmla="*/ 291922 h 3690338"/>
                <a:gd name="connsiteX4972" fmla="*/ 1309323 w 4878487"/>
                <a:gd name="connsiteY4972" fmla="*/ 292316 h 3690338"/>
                <a:gd name="connsiteX4973" fmla="*/ 1318766 w 4878487"/>
                <a:gd name="connsiteY4973" fmla="*/ 295070 h 3690338"/>
                <a:gd name="connsiteX4974" fmla="*/ 1319946 w 4878487"/>
                <a:gd name="connsiteY4974" fmla="*/ 297430 h 3690338"/>
                <a:gd name="connsiteX4975" fmla="*/ 1322700 w 4878487"/>
                <a:gd name="connsiteY4975" fmla="*/ 299004 h 3690338"/>
                <a:gd name="connsiteX4976" fmla="*/ 1325847 w 4878487"/>
                <a:gd name="connsiteY4976" fmla="*/ 300971 h 3690338"/>
                <a:gd name="connsiteX4977" fmla="*/ 1328995 w 4878487"/>
                <a:gd name="connsiteY4977" fmla="*/ 302545 h 3690338"/>
                <a:gd name="connsiteX4978" fmla="*/ 1331749 w 4878487"/>
                <a:gd name="connsiteY4978" fmla="*/ 303725 h 3690338"/>
                <a:gd name="connsiteX4979" fmla="*/ 1334896 w 4878487"/>
                <a:gd name="connsiteY4979" fmla="*/ 304905 h 3690338"/>
                <a:gd name="connsiteX4980" fmla="*/ 1338043 w 4878487"/>
                <a:gd name="connsiteY4980" fmla="*/ 304512 h 3690338"/>
                <a:gd name="connsiteX4981" fmla="*/ 1340798 w 4878487"/>
                <a:gd name="connsiteY4981" fmla="*/ 303725 h 3690338"/>
                <a:gd name="connsiteX4982" fmla="*/ 1343551 w 4878487"/>
                <a:gd name="connsiteY4982" fmla="*/ 306086 h 3690338"/>
                <a:gd name="connsiteX4983" fmla="*/ 1346699 w 4878487"/>
                <a:gd name="connsiteY4983" fmla="*/ 306479 h 3690338"/>
                <a:gd name="connsiteX4984" fmla="*/ 1349059 w 4878487"/>
                <a:gd name="connsiteY4984" fmla="*/ 304512 h 3690338"/>
                <a:gd name="connsiteX4985" fmla="*/ 1349453 w 4878487"/>
                <a:gd name="connsiteY4985" fmla="*/ 304512 h 3690338"/>
                <a:gd name="connsiteX4986" fmla="*/ 1349059 w 4878487"/>
                <a:gd name="connsiteY4986" fmla="*/ 306479 h 3690338"/>
                <a:gd name="connsiteX4987" fmla="*/ 1351813 w 4878487"/>
                <a:gd name="connsiteY4987" fmla="*/ 306873 h 3690338"/>
                <a:gd name="connsiteX4988" fmla="*/ 1354961 w 4878487"/>
                <a:gd name="connsiteY4988" fmla="*/ 307266 h 3690338"/>
                <a:gd name="connsiteX4989" fmla="*/ 1357715 w 4878487"/>
                <a:gd name="connsiteY4989" fmla="*/ 307659 h 3690338"/>
                <a:gd name="connsiteX4990" fmla="*/ 1357715 w 4878487"/>
                <a:gd name="connsiteY4990" fmla="*/ 310807 h 3690338"/>
                <a:gd name="connsiteX4991" fmla="*/ 1360469 w 4878487"/>
                <a:gd name="connsiteY4991" fmla="*/ 310807 h 3690338"/>
                <a:gd name="connsiteX4992" fmla="*/ 1363223 w 4878487"/>
                <a:gd name="connsiteY4992" fmla="*/ 309233 h 3690338"/>
                <a:gd name="connsiteX4993" fmla="*/ 1365190 w 4878487"/>
                <a:gd name="connsiteY4993" fmla="*/ 309233 h 3690338"/>
                <a:gd name="connsiteX4994" fmla="*/ 1369911 w 4878487"/>
                <a:gd name="connsiteY4994" fmla="*/ 310413 h 3690338"/>
                <a:gd name="connsiteX4995" fmla="*/ 1373058 w 4878487"/>
                <a:gd name="connsiteY4995" fmla="*/ 311987 h 3690338"/>
                <a:gd name="connsiteX4996" fmla="*/ 1376206 w 4878487"/>
                <a:gd name="connsiteY4996" fmla="*/ 313167 h 3690338"/>
                <a:gd name="connsiteX4997" fmla="*/ 1378960 w 4878487"/>
                <a:gd name="connsiteY4997" fmla="*/ 314741 h 3690338"/>
                <a:gd name="connsiteX4998" fmla="*/ 1382501 w 4878487"/>
                <a:gd name="connsiteY4998" fmla="*/ 315528 h 3690338"/>
                <a:gd name="connsiteX4999" fmla="*/ 1385648 w 4878487"/>
                <a:gd name="connsiteY4999" fmla="*/ 315921 h 3690338"/>
                <a:gd name="connsiteX5000" fmla="*/ 1389189 w 4878487"/>
                <a:gd name="connsiteY5000" fmla="*/ 316315 h 3690338"/>
                <a:gd name="connsiteX5001" fmla="*/ 1391943 w 4878487"/>
                <a:gd name="connsiteY5001" fmla="*/ 316708 h 3690338"/>
                <a:gd name="connsiteX5002" fmla="*/ 1395090 w 4878487"/>
                <a:gd name="connsiteY5002" fmla="*/ 317102 h 3690338"/>
                <a:gd name="connsiteX5003" fmla="*/ 1398238 w 4878487"/>
                <a:gd name="connsiteY5003" fmla="*/ 317495 h 3690338"/>
                <a:gd name="connsiteX5004" fmla="*/ 1400992 w 4878487"/>
                <a:gd name="connsiteY5004" fmla="*/ 317888 h 3690338"/>
                <a:gd name="connsiteX5005" fmla="*/ 1403746 w 4878487"/>
                <a:gd name="connsiteY5005" fmla="*/ 318282 h 3690338"/>
                <a:gd name="connsiteX5006" fmla="*/ 1410041 w 4878487"/>
                <a:gd name="connsiteY5006" fmla="*/ 318282 h 3690338"/>
                <a:gd name="connsiteX5007" fmla="*/ 1412794 w 4878487"/>
                <a:gd name="connsiteY5007" fmla="*/ 318675 h 3690338"/>
                <a:gd name="connsiteX5008" fmla="*/ 1414761 w 4878487"/>
                <a:gd name="connsiteY5008" fmla="*/ 319069 h 3690338"/>
                <a:gd name="connsiteX5009" fmla="*/ 1417516 w 4878487"/>
                <a:gd name="connsiteY5009" fmla="*/ 319462 h 3690338"/>
                <a:gd name="connsiteX5010" fmla="*/ 1420663 w 4878487"/>
                <a:gd name="connsiteY5010" fmla="*/ 319856 h 3690338"/>
                <a:gd name="connsiteX5011" fmla="*/ 1423810 w 4878487"/>
                <a:gd name="connsiteY5011" fmla="*/ 320249 h 3690338"/>
                <a:gd name="connsiteX5012" fmla="*/ 1426958 w 4878487"/>
                <a:gd name="connsiteY5012" fmla="*/ 321429 h 3690338"/>
                <a:gd name="connsiteX5013" fmla="*/ 1429712 w 4878487"/>
                <a:gd name="connsiteY5013" fmla="*/ 323003 h 3690338"/>
                <a:gd name="connsiteX5014" fmla="*/ 1432466 w 4878487"/>
                <a:gd name="connsiteY5014" fmla="*/ 323396 h 3690338"/>
                <a:gd name="connsiteX5015" fmla="*/ 1435220 w 4878487"/>
                <a:gd name="connsiteY5015" fmla="*/ 323790 h 3690338"/>
                <a:gd name="connsiteX5016" fmla="*/ 1438367 w 4878487"/>
                <a:gd name="connsiteY5016" fmla="*/ 324183 h 3690338"/>
                <a:gd name="connsiteX5017" fmla="*/ 1441908 w 4878487"/>
                <a:gd name="connsiteY5017" fmla="*/ 324577 h 3690338"/>
                <a:gd name="connsiteX5018" fmla="*/ 1444662 w 4878487"/>
                <a:gd name="connsiteY5018" fmla="*/ 324970 h 3690338"/>
                <a:gd name="connsiteX5019" fmla="*/ 1447416 w 4878487"/>
                <a:gd name="connsiteY5019" fmla="*/ 325364 h 3690338"/>
                <a:gd name="connsiteX5020" fmla="*/ 1450170 w 4878487"/>
                <a:gd name="connsiteY5020" fmla="*/ 325757 h 3690338"/>
                <a:gd name="connsiteX5021" fmla="*/ 1453317 w 4878487"/>
                <a:gd name="connsiteY5021" fmla="*/ 325757 h 3690338"/>
                <a:gd name="connsiteX5022" fmla="*/ 1456071 w 4878487"/>
                <a:gd name="connsiteY5022" fmla="*/ 325364 h 3690338"/>
                <a:gd name="connsiteX5023" fmla="*/ 1458826 w 4878487"/>
                <a:gd name="connsiteY5023" fmla="*/ 324970 h 3690338"/>
                <a:gd name="connsiteX5024" fmla="*/ 1461973 w 4878487"/>
                <a:gd name="connsiteY5024" fmla="*/ 324183 h 3690338"/>
                <a:gd name="connsiteX5025" fmla="*/ 1464727 w 4878487"/>
                <a:gd name="connsiteY5025" fmla="*/ 324183 h 3690338"/>
                <a:gd name="connsiteX5026" fmla="*/ 1467874 w 4878487"/>
                <a:gd name="connsiteY5026" fmla="*/ 323790 h 3690338"/>
                <a:gd name="connsiteX5027" fmla="*/ 1470628 w 4878487"/>
                <a:gd name="connsiteY5027" fmla="*/ 323003 h 3690338"/>
                <a:gd name="connsiteX5028" fmla="*/ 1473382 w 4878487"/>
                <a:gd name="connsiteY5028" fmla="*/ 321823 h 3690338"/>
                <a:gd name="connsiteX5029" fmla="*/ 1476136 w 4878487"/>
                <a:gd name="connsiteY5029" fmla="*/ 321429 h 3690338"/>
                <a:gd name="connsiteX5030" fmla="*/ 1479283 w 4878487"/>
                <a:gd name="connsiteY5030" fmla="*/ 321036 h 3690338"/>
                <a:gd name="connsiteX5031" fmla="*/ 1482038 w 4878487"/>
                <a:gd name="connsiteY5031" fmla="*/ 319856 h 3690338"/>
                <a:gd name="connsiteX5032" fmla="*/ 1483611 w 4878487"/>
                <a:gd name="connsiteY5032" fmla="*/ 319462 h 3690338"/>
                <a:gd name="connsiteX5033" fmla="*/ 1486759 w 4878487"/>
                <a:gd name="connsiteY5033" fmla="*/ 317888 h 3690338"/>
                <a:gd name="connsiteX5034" fmla="*/ 1489512 w 4878487"/>
                <a:gd name="connsiteY5034" fmla="*/ 316315 h 3690338"/>
                <a:gd name="connsiteX5035" fmla="*/ 1492660 w 4878487"/>
                <a:gd name="connsiteY5035" fmla="*/ 315921 h 3690338"/>
                <a:gd name="connsiteX5036" fmla="*/ 1498168 w 4878487"/>
                <a:gd name="connsiteY5036" fmla="*/ 310413 h 3690338"/>
                <a:gd name="connsiteX5037" fmla="*/ 1503676 w 4878487"/>
                <a:gd name="connsiteY5037" fmla="*/ 305692 h 3690338"/>
                <a:gd name="connsiteX5038" fmla="*/ 1506430 w 4878487"/>
                <a:gd name="connsiteY5038" fmla="*/ 302938 h 3690338"/>
                <a:gd name="connsiteX5039" fmla="*/ 1507217 w 4878487"/>
                <a:gd name="connsiteY5039" fmla="*/ 300184 h 3690338"/>
                <a:gd name="connsiteX5040" fmla="*/ 1506823 w 4878487"/>
                <a:gd name="connsiteY5040" fmla="*/ 298611 h 3690338"/>
                <a:gd name="connsiteX5041" fmla="*/ 1507217 w 4878487"/>
                <a:gd name="connsiteY5041" fmla="*/ 298611 h 3690338"/>
                <a:gd name="connsiteX5042" fmla="*/ 1508004 w 4878487"/>
                <a:gd name="connsiteY5042" fmla="*/ 295857 h 3690338"/>
                <a:gd name="connsiteX5043" fmla="*/ 1506823 w 4878487"/>
                <a:gd name="connsiteY5043" fmla="*/ 292709 h 3690338"/>
                <a:gd name="connsiteX5044" fmla="*/ 1503676 w 4878487"/>
                <a:gd name="connsiteY5044" fmla="*/ 292316 h 3690338"/>
                <a:gd name="connsiteX5045" fmla="*/ 1500922 w 4878487"/>
                <a:gd name="connsiteY5045" fmla="*/ 291135 h 3690338"/>
                <a:gd name="connsiteX5046" fmla="*/ 1500922 w 4878487"/>
                <a:gd name="connsiteY5046" fmla="*/ 288382 h 3690338"/>
                <a:gd name="connsiteX5047" fmla="*/ 1499348 w 4878487"/>
                <a:gd name="connsiteY5047" fmla="*/ 285628 h 3690338"/>
                <a:gd name="connsiteX5048" fmla="*/ 1496594 w 4878487"/>
                <a:gd name="connsiteY5048" fmla="*/ 283267 h 3690338"/>
                <a:gd name="connsiteX5049" fmla="*/ 1496594 w 4878487"/>
                <a:gd name="connsiteY5049" fmla="*/ 280120 h 3690338"/>
                <a:gd name="connsiteX5050" fmla="*/ 1493841 w 4878487"/>
                <a:gd name="connsiteY5050" fmla="*/ 277759 h 3690338"/>
                <a:gd name="connsiteX5051" fmla="*/ 1490693 w 4878487"/>
                <a:gd name="connsiteY5051" fmla="*/ 278152 h 3690338"/>
                <a:gd name="connsiteX5052" fmla="*/ 1487939 w 4878487"/>
                <a:gd name="connsiteY5052" fmla="*/ 276579 h 3690338"/>
                <a:gd name="connsiteX5053" fmla="*/ 1485185 w 4878487"/>
                <a:gd name="connsiteY5053" fmla="*/ 275398 h 3690338"/>
                <a:gd name="connsiteX5054" fmla="*/ 1482038 w 4878487"/>
                <a:gd name="connsiteY5054" fmla="*/ 276579 h 3690338"/>
                <a:gd name="connsiteX5055" fmla="*/ 1479283 w 4878487"/>
                <a:gd name="connsiteY5055" fmla="*/ 274612 h 3690338"/>
                <a:gd name="connsiteX5056" fmla="*/ 1476136 w 4878487"/>
                <a:gd name="connsiteY5056" fmla="*/ 271858 h 3690338"/>
                <a:gd name="connsiteX5057" fmla="*/ 1472989 w 4878487"/>
                <a:gd name="connsiteY5057" fmla="*/ 270284 h 3690338"/>
                <a:gd name="connsiteX5058" fmla="*/ 1470628 w 4878487"/>
                <a:gd name="connsiteY5058" fmla="*/ 269104 h 3690338"/>
                <a:gd name="connsiteX5059" fmla="*/ 1467481 w 4878487"/>
                <a:gd name="connsiteY5059" fmla="*/ 266350 h 3690338"/>
                <a:gd name="connsiteX5060" fmla="*/ 1464334 w 4878487"/>
                <a:gd name="connsiteY5060" fmla="*/ 264776 h 3690338"/>
                <a:gd name="connsiteX5061" fmla="*/ 1466694 w 4878487"/>
                <a:gd name="connsiteY5061" fmla="*/ 267923 h 3690338"/>
                <a:gd name="connsiteX5062" fmla="*/ 1464334 w 4878487"/>
                <a:gd name="connsiteY5062" fmla="*/ 268317 h 3690338"/>
                <a:gd name="connsiteX5063" fmla="*/ 1462366 w 4878487"/>
                <a:gd name="connsiteY5063" fmla="*/ 267923 h 3690338"/>
                <a:gd name="connsiteX5064" fmla="*/ 1447809 w 4878487"/>
                <a:gd name="connsiteY5064" fmla="*/ 262809 h 3690338"/>
                <a:gd name="connsiteX5065" fmla="*/ 1447023 w 4878487"/>
                <a:gd name="connsiteY5065" fmla="*/ 262415 h 3690338"/>
                <a:gd name="connsiteX5066" fmla="*/ 1443875 w 4878487"/>
                <a:gd name="connsiteY5066" fmla="*/ 260842 h 3690338"/>
                <a:gd name="connsiteX5067" fmla="*/ 1441121 w 4878487"/>
                <a:gd name="connsiteY5067" fmla="*/ 260448 h 3690338"/>
                <a:gd name="connsiteX5068" fmla="*/ 1437974 w 4878487"/>
                <a:gd name="connsiteY5068" fmla="*/ 258875 h 3690338"/>
                <a:gd name="connsiteX5069" fmla="*/ 1439154 w 4878487"/>
                <a:gd name="connsiteY5069" fmla="*/ 259661 h 3690338"/>
                <a:gd name="connsiteX5070" fmla="*/ 1424597 w 4878487"/>
                <a:gd name="connsiteY5070" fmla="*/ 254547 h 3690338"/>
                <a:gd name="connsiteX5071" fmla="*/ 1423417 w 4878487"/>
                <a:gd name="connsiteY5071" fmla="*/ 254153 h 3690338"/>
                <a:gd name="connsiteX5072" fmla="*/ 1417122 w 4878487"/>
                <a:gd name="connsiteY5072" fmla="*/ 250613 h 3690338"/>
                <a:gd name="connsiteX5073" fmla="*/ 1413975 w 4878487"/>
                <a:gd name="connsiteY5073" fmla="*/ 249432 h 3690338"/>
                <a:gd name="connsiteX5074" fmla="*/ 1411221 w 4878487"/>
                <a:gd name="connsiteY5074" fmla="*/ 248645 h 3690338"/>
                <a:gd name="connsiteX5075" fmla="*/ 1408467 w 4878487"/>
                <a:gd name="connsiteY5075" fmla="*/ 248252 h 3690338"/>
                <a:gd name="connsiteX5076" fmla="*/ 1404926 w 4878487"/>
                <a:gd name="connsiteY5076" fmla="*/ 246678 h 3690338"/>
                <a:gd name="connsiteX5077" fmla="*/ 1402172 w 4878487"/>
                <a:gd name="connsiteY5077" fmla="*/ 245498 h 3690338"/>
                <a:gd name="connsiteX5078" fmla="*/ 1399024 w 4878487"/>
                <a:gd name="connsiteY5078" fmla="*/ 244318 h 3690338"/>
                <a:gd name="connsiteX5079" fmla="*/ 1396271 w 4878487"/>
                <a:gd name="connsiteY5079" fmla="*/ 243137 h 3690338"/>
                <a:gd name="connsiteX5080" fmla="*/ 1392730 w 4878487"/>
                <a:gd name="connsiteY5080" fmla="*/ 242351 h 3690338"/>
                <a:gd name="connsiteX5081" fmla="*/ 1389976 w 4878487"/>
                <a:gd name="connsiteY5081" fmla="*/ 240777 h 3690338"/>
                <a:gd name="connsiteX5082" fmla="*/ 1386828 w 4878487"/>
                <a:gd name="connsiteY5082" fmla="*/ 239990 h 3690338"/>
                <a:gd name="connsiteX5083" fmla="*/ 1384074 w 4878487"/>
                <a:gd name="connsiteY5083" fmla="*/ 239597 h 3690338"/>
                <a:gd name="connsiteX5084" fmla="*/ 1381320 w 4878487"/>
                <a:gd name="connsiteY5084" fmla="*/ 238810 h 3690338"/>
                <a:gd name="connsiteX5085" fmla="*/ 1378173 w 4878487"/>
                <a:gd name="connsiteY5085" fmla="*/ 237236 h 3690338"/>
                <a:gd name="connsiteX5086" fmla="*/ 1375025 w 4878487"/>
                <a:gd name="connsiteY5086" fmla="*/ 236449 h 3690338"/>
                <a:gd name="connsiteX5087" fmla="*/ 1372272 w 4878487"/>
                <a:gd name="connsiteY5087" fmla="*/ 235269 h 3690338"/>
                <a:gd name="connsiteX5088" fmla="*/ 1370698 w 4878487"/>
                <a:gd name="connsiteY5088" fmla="*/ 234876 h 3690338"/>
                <a:gd name="connsiteX5089" fmla="*/ 1367550 w 4878487"/>
                <a:gd name="connsiteY5089" fmla="*/ 234482 h 3690338"/>
                <a:gd name="connsiteX5090" fmla="*/ 1364796 w 4878487"/>
                <a:gd name="connsiteY5090" fmla="*/ 234089 h 3690338"/>
                <a:gd name="connsiteX5091" fmla="*/ 1361649 w 4878487"/>
                <a:gd name="connsiteY5091" fmla="*/ 233695 h 3690338"/>
                <a:gd name="connsiteX5092" fmla="*/ 1358108 w 4878487"/>
                <a:gd name="connsiteY5092" fmla="*/ 233302 h 3690338"/>
                <a:gd name="connsiteX5093" fmla="*/ 1355354 w 4878487"/>
                <a:gd name="connsiteY5093" fmla="*/ 234876 h 3690338"/>
                <a:gd name="connsiteX5094" fmla="*/ 1352600 w 4878487"/>
                <a:gd name="connsiteY5094" fmla="*/ 235269 h 3690338"/>
                <a:gd name="connsiteX5095" fmla="*/ 1349059 w 4878487"/>
                <a:gd name="connsiteY5095" fmla="*/ 234876 h 3690338"/>
                <a:gd name="connsiteX5096" fmla="*/ 1345912 w 4878487"/>
                <a:gd name="connsiteY5096" fmla="*/ 234482 h 3690338"/>
                <a:gd name="connsiteX5097" fmla="*/ 1342765 w 4878487"/>
                <a:gd name="connsiteY5097" fmla="*/ 234089 h 3690338"/>
                <a:gd name="connsiteX5098" fmla="*/ 1339224 w 4878487"/>
                <a:gd name="connsiteY5098" fmla="*/ 233695 h 3690338"/>
                <a:gd name="connsiteX5099" fmla="*/ 1336076 w 4878487"/>
                <a:gd name="connsiteY5099" fmla="*/ 232908 h 3690338"/>
                <a:gd name="connsiteX5100" fmla="*/ 1333322 w 4878487"/>
                <a:gd name="connsiteY5100" fmla="*/ 232908 h 3690338"/>
                <a:gd name="connsiteX5101" fmla="*/ 1330175 w 4878487"/>
                <a:gd name="connsiteY5101" fmla="*/ 232515 h 3690338"/>
                <a:gd name="connsiteX5102" fmla="*/ 1327421 w 4878487"/>
                <a:gd name="connsiteY5102" fmla="*/ 232122 h 3690338"/>
                <a:gd name="connsiteX5103" fmla="*/ 1324667 w 4878487"/>
                <a:gd name="connsiteY5103" fmla="*/ 232908 h 3690338"/>
                <a:gd name="connsiteX5104" fmla="*/ 1321913 w 4878487"/>
                <a:gd name="connsiteY5104" fmla="*/ 232515 h 3690338"/>
                <a:gd name="connsiteX5105" fmla="*/ 1321520 w 4878487"/>
                <a:gd name="connsiteY5105" fmla="*/ 235662 h 3690338"/>
                <a:gd name="connsiteX5106" fmla="*/ 1319552 w 4878487"/>
                <a:gd name="connsiteY5106" fmla="*/ 238810 h 3690338"/>
                <a:gd name="connsiteX5107" fmla="*/ 1316405 w 4878487"/>
                <a:gd name="connsiteY5107" fmla="*/ 239203 h 3690338"/>
                <a:gd name="connsiteX5108" fmla="*/ 1313651 w 4878487"/>
                <a:gd name="connsiteY5108" fmla="*/ 239597 h 3690338"/>
                <a:gd name="connsiteX5109" fmla="*/ 1311291 w 4878487"/>
                <a:gd name="connsiteY5109" fmla="*/ 242744 h 3690338"/>
                <a:gd name="connsiteX5110" fmla="*/ 1310897 w 4878487"/>
                <a:gd name="connsiteY5110" fmla="*/ 243137 h 3690338"/>
                <a:gd name="connsiteX5111" fmla="*/ 1310110 w 4878487"/>
                <a:gd name="connsiteY5111" fmla="*/ 239990 h 3690338"/>
                <a:gd name="connsiteX5112" fmla="*/ 1312864 w 4878487"/>
                <a:gd name="connsiteY5112" fmla="*/ 239203 h 3690338"/>
                <a:gd name="connsiteX5113" fmla="*/ 1315618 w 4878487"/>
                <a:gd name="connsiteY5113" fmla="*/ 238810 h 3690338"/>
                <a:gd name="connsiteX5114" fmla="*/ 1318766 w 4878487"/>
                <a:gd name="connsiteY5114" fmla="*/ 237236 h 3690338"/>
                <a:gd name="connsiteX5115" fmla="*/ 1315225 w 4878487"/>
                <a:gd name="connsiteY5115" fmla="*/ 235662 h 3690338"/>
                <a:gd name="connsiteX5116" fmla="*/ 1317979 w 4878487"/>
                <a:gd name="connsiteY5116" fmla="*/ 234876 h 3690338"/>
                <a:gd name="connsiteX5117" fmla="*/ 1315225 w 4878487"/>
                <a:gd name="connsiteY5117" fmla="*/ 234482 h 3690338"/>
                <a:gd name="connsiteX5118" fmla="*/ 1317979 w 4878487"/>
                <a:gd name="connsiteY5118" fmla="*/ 232122 h 3690338"/>
                <a:gd name="connsiteX5119" fmla="*/ 1314832 w 4878487"/>
                <a:gd name="connsiteY5119" fmla="*/ 229761 h 3690338"/>
                <a:gd name="connsiteX5120" fmla="*/ 1311684 w 4878487"/>
                <a:gd name="connsiteY5120" fmla="*/ 230154 h 3690338"/>
                <a:gd name="connsiteX5121" fmla="*/ 1308930 w 4878487"/>
                <a:gd name="connsiteY5121" fmla="*/ 230941 h 3690338"/>
                <a:gd name="connsiteX5122" fmla="*/ 1305783 w 4878487"/>
                <a:gd name="connsiteY5122" fmla="*/ 232515 h 3690338"/>
                <a:gd name="connsiteX5123" fmla="*/ 1307750 w 4878487"/>
                <a:gd name="connsiteY5123" fmla="*/ 229368 h 3690338"/>
                <a:gd name="connsiteX5124" fmla="*/ 1304602 w 4878487"/>
                <a:gd name="connsiteY5124" fmla="*/ 228974 h 3690338"/>
                <a:gd name="connsiteX5125" fmla="*/ 1301455 w 4878487"/>
                <a:gd name="connsiteY5125" fmla="*/ 228187 h 3690338"/>
                <a:gd name="connsiteX5126" fmla="*/ 1298701 w 4878487"/>
                <a:gd name="connsiteY5126" fmla="*/ 228187 h 3690338"/>
                <a:gd name="connsiteX5127" fmla="*/ 1295554 w 4878487"/>
                <a:gd name="connsiteY5127" fmla="*/ 227794 h 3690338"/>
                <a:gd name="connsiteX5128" fmla="*/ 1293193 w 4878487"/>
                <a:gd name="connsiteY5128" fmla="*/ 226614 h 3690338"/>
                <a:gd name="connsiteX5129" fmla="*/ 1290439 w 4878487"/>
                <a:gd name="connsiteY5129" fmla="*/ 225433 h 3690338"/>
                <a:gd name="connsiteX5130" fmla="*/ 1287292 w 4878487"/>
                <a:gd name="connsiteY5130" fmla="*/ 224646 h 3690338"/>
                <a:gd name="connsiteX5131" fmla="*/ 1284144 w 4878487"/>
                <a:gd name="connsiteY5131" fmla="*/ 223466 h 3690338"/>
                <a:gd name="connsiteX5132" fmla="*/ 1285718 w 4878487"/>
                <a:gd name="connsiteY5132" fmla="*/ 220712 h 3690338"/>
                <a:gd name="connsiteX5133" fmla="*/ 1288865 w 4878487"/>
                <a:gd name="connsiteY5133" fmla="*/ 223073 h 3690338"/>
                <a:gd name="connsiteX5134" fmla="*/ 1292013 w 4878487"/>
                <a:gd name="connsiteY5134" fmla="*/ 223466 h 3690338"/>
                <a:gd name="connsiteX5135" fmla="*/ 1294766 w 4878487"/>
                <a:gd name="connsiteY5135" fmla="*/ 223860 h 3690338"/>
                <a:gd name="connsiteX5136" fmla="*/ 1297914 w 4878487"/>
                <a:gd name="connsiteY5136" fmla="*/ 224253 h 3690338"/>
                <a:gd name="connsiteX5137" fmla="*/ 1301455 w 4878487"/>
                <a:gd name="connsiteY5137" fmla="*/ 224646 h 3690338"/>
                <a:gd name="connsiteX5138" fmla="*/ 1304209 w 4878487"/>
                <a:gd name="connsiteY5138" fmla="*/ 225040 h 3690338"/>
                <a:gd name="connsiteX5139" fmla="*/ 1306963 w 4878487"/>
                <a:gd name="connsiteY5139" fmla="*/ 223860 h 3690338"/>
                <a:gd name="connsiteX5140" fmla="*/ 1308143 w 4878487"/>
                <a:gd name="connsiteY5140" fmla="*/ 221106 h 3690338"/>
                <a:gd name="connsiteX5141" fmla="*/ 1304996 w 4878487"/>
                <a:gd name="connsiteY5141" fmla="*/ 219925 h 3690338"/>
                <a:gd name="connsiteX5142" fmla="*/ 1302242 w 4878487"/>
                <a:gd name="connsiteY5142" fmla="*/ 219532 h 3690338"/>
                <a:gd name="connsiteX5143" fmla="*/ 1299094 w 4878487"/>
                <a:gd name="connsiteY5143" fmla="*/ 219138 h 3690338"/>
                <a:gd name="connsiteX5144" fmla="*/ 1295947 w 4878487"/>
                <a:gd name="connsiteY5144" fmla="*/ 219532 h 3690338"/>
                <a:gd name="connsiteX5145" fmla="*/ 1292406 w 4878487"/>
                <a:gd name="connsiteY5145" fmla="*/ 217565 h 3690338"/>
                <a:gd name="connsiteX5146" fmla="*/ 1286111 w 4878487"/>
                <a:gd name="connsiteY5146" fmla="*/ 215991 h 3690338"/>
                <a:gd name="connsiteX5147" fmla="*/ 1283357 w 4878487"/>
                <a:gd name="connsiteY5147" fmla="*/ 214417 h 3690338"/>
                <a:gd name="connsiteX5148" fmla="*/ 1280603 w 4878487"/>
                <a:gd name="connsiteY5148" fmla="*/ 214811 h 3690338"/>
                <a:gd name="connsiteX5149" fmla="*/ 1283357 w 4878487"/>
                <a:gd name="connsiteY5149" fmla="*/ 217171 h 3690338"/>
                <a:gd name="connsiteX5150" fmla="*/ 1280210 w 4878487"/>
                <a:gd name="connsiteY5150" fmla="*/ 217565 h 3690338"/>
                <a:gd name="connsiteX5151" fmla="*/ 1277062 w 4878487"/>
                <a:gd name="connsiteY5151" fmla="*/ 217565 h 3690338"/>
                <a:gd name="connsiteX5152" fmla="*/ 1276669 w 4878487"/>
                <a:gd name="connsiteY5152" fmla="*/ 220319 h 3690338"/>
                <a:gd name="connsiteX5153" fmla="*/ 1273522 w 4878487"/>
                <a:gd name="connsiteY5153" fmla="*/ 221499 h 3690338"/>
                <a:gd name="connsiteX5154" fmla="*/ 1272735 w 4878487"/>
                <a:gd name="connsiteY5154" fmla="*/ 221892 h 3690338"/>
                <a:gd name="connsiteX5155" fmla="*/ 1269194 w 4878487"/>
                <a:gd name="connsiteY5155" fmla="*/ 221106 h 3690338"/>
                <a:gd name="connsiteX5156" fmla="*/ 1268407 w 4878487"/>
                <a:gd name="connsiteY5156" fmla="*/ 220319 h 3690338"/>
                <a:gd name="connsiteX5157" fmla="*/ 1265259 w 4878487"/>
                <a:gd name="connsiteY5157" fmla="*/ 219925 h 3690338"/>
                <a:gd name="connsiteX5158" fmla="*/ 1259752 w 4878487"/>
                <a:gd name="connsiteY5158" fmla="*/ 219532 h 3690338"/>
                <a:gd name="connsiteX5159" fmla="*/ 1258178 w 4878487"/>
                <a:gd name="connsiteY5159" fmla="*/ 219138 h 3690338"/>
                <a:gd name="connsiteX5160" fmla="*/ 1255424 w 4878487"/>
                <a:gd name="connsiteY5160" fmla="*/ 218745 h 3690338"/>
                <a:gd name="connsiteX5161" fmla="*/ 1252670 w 4878487"/>
                <a:gd name="connsiteY5161" fmla="*/ 218745 h 3690338"/>
                <a:gd name="connsiteX5162" fmla="*/ 1251489 w 4878487"/>
                <a:gd name="connsiteY5162" fmla="*/ 220712 h 3690338"/>
                <a:gd name="connsiteX5163" fmla="*/ 1250703 w 4878487"/>
                <a:gd name="connsiteY5163" fmla="*/ 220712 h 3690338"/>
                <a:gd name="connsiteX5164" fmla="*/ 1249522 w 4878487"/>
                <a:gd name="connsiteY5164" fmla="*/ 218352 h 3690338"/>
                <a:gd name="connsiteX5165" fmla="*/ 1246375 w 4878487"/>
                <a:gd name="connsiteY5165" fmla="*/ 217565 h 3690338"/>
                <a:gd name="connsiteX5166" fmla="*/ 1243621 w 4878487"/>
                <a:gd name="connsiteY5166" fmla="*/ 217171 h 3690338"/>
                <a:gd name="connsiteX5167" fmla="*/ 1243621 w 4878487"/>
                <a:gd name="connsiteY5167" fmla="*/ 219925 h 3690338"/>
                <a:gd name="connsiteX5168" fmla="*/ 1244408 w 4878487"/>
                <a:gd name="connsiteY5168" fmla="*/ 221892 h 3690338"/>
                <a:gd name="connsiteX5169" fmla="*/ 1241654 w 4878487"/>
                <a:gd name="connsiteY5169" fmla="*/ 221106 h 3690338"/>
                <a:gd name="connsiteX5170" fmla="*/ 1240867 w 4878487"/>
                <a:gd name="connsiteY5170" fmla="*/ 221499 h 3690338"/>
                <a:gd name="connsiteX5171" fmla="*/ 1240867 w 4878487"/>
                <a:gd name="connsiteY5171" fmla="*/ 221106 h 3690338"/>
                <a:gd name="connsiteX5172" fmla="*/ 1240474 w 4878487"/>
                <a:gd name="connsiteY5172" fmla="*/ 219532 h 3690338"/>
                <a:gd name="connsiteX5173" fmla="*/ 1239687 w 4878487"/>
                <a:gd name="connsiteY5173" fmla="*/ 219138 h 3690338"/>
                <a:gd name="connsiteX5174" fmla="*/ 1240474 w 4878487"/>
                <a:gd name="connsiteY5174" fmla="*/ 218745 h 3690338"/>
                <a:gd name="connsiteX5175" fmla="*/ 1243228 w 4878487"/>
                <a:gd name="connsiteY5175" fmla="*/ 217171 h 3690338"/>
                <a:gd name="connsiteX5176" fmla="*/ 1240081 w 4878487"/>
                <a:gd name="connsiteY5176" fmla="*/ 217565 h 3690338"/>
                <a:gd name="connsiteX5177" fmla="*/ 1239687 w 4878487"/>
                <a:gd name="connsiteY5177" fmla="*/ 215204 h 3690338"/>
                <a:gd name="connsiteX5178" fmla="*/ 1236933 w 4878487"/>
                <a:gd name="connsiteY5178" fmla="*/ 215204 h 3690338"/>
                <a:gd name="connsiteX5179" fmla="*/ 1236540 w 4878487"/>
                <a:gd name="connsiteY5179" fmla="*/ 216778 h 3690338"/>
                <a:gd name="connsiteX5180" fmla="*/ 1235359 w 4878487"/>
                <a:gd name="connsiteY5180" fmla="*/ 215991 h 3690338"/>
                <a:gd name="connsiteX5181" fmla="*/ 1234966 w 4878487"/>
                <a:gd name="connsiteY5181" fmla="*/ 214811 h 3690338"/>
                <a:gd name="connsiteX5182" fmla="*/ 1233392 w 4878487"/>
                <a:gd name="connsiteY5182" fmla="*/ 214811 h 3690338"/>
                <a:gd name="connsiteX5183" fmla="*/ 1231032 w 4878487"/>
                <a:gd name="connsiteY5183" fmla="*/ 213631 h 3690338"/>
                <a:gd name="connsiteX5184" fmla="*/ 1232212 w 4878487"/>
                <a:gd name="connsiteY5184" fmla="*/ 212844 h 3690338"/>
                <a:gd name="connsiteX5185" fmla="*/ 1229064 w 4878487"/>
                <a:gd name="connsiteY5185" fmla="*/ 212450 h 3690338"/>
                <a:gd name="connsiteX5186" fmla="*/ 1238900 w 4878487"/>
                <a:gd name="connsiteY5186" fmla="*/ 210877 h 3690338"/>
                <a:gd name="connsiteX5187" fmla="*/ 1242048 w 4878487"/>
                <a:gd name="connsiteY5187" fmla="*/ 210483 h 3690338"/>
                <a:gd name="connsiteX5188" fmla="*/ 1244801 w 4878487"/>
                <a:gd name="connsiteY5188" fmla="*/ 208909 h 3690338"/>
                <a:gd name="connsiteX5189" fmla="*/ 1247555 w 4878487"/>
                <a:gd name="connsiteY5189" fmla="*/ 206549 h 3690338"/>
                <a:gd name="connsiteX5190" fmla="*/ 1250703 w 4878487"/>
                <a:gd name="connsiteY5190" fmla="*/ 205369 h 3690338"/>
                <a:gd name="connsiteX5191" fmla="*/ 1253850 w 4878487"/>
                <a:gd name="connsiteY5191" fmla="*/ 204975 h 3690338"/>
                <a:gd name="connsiteX5192" fmla="*/ 1256604 w 4878487"/>
                <a:gd name="connsiteY5192" fmla="*/ 204582 h 3690338"/>
                <a:gd name="connsiteX5193" fmla="*/ 1259752 w 4878487"/>
                <a:gd name="connsiteY5193" fmla="*/ 204188 h 3690338"/>
                <a:gd name="connsiteX5194" fmla="*/ 1260145 w 4878487"/>
                <a:gd name="connsiteY5194" fmla="*/ 201041 h 3690338"/>
                <a:gd name="connsiteX5195" fmla="*/ 1256998 w 4878487"/>
                <a:gd name="connsiteY5195" fmla="*/ 199074 h 3690338"/>
                <a:gd name="connsiteX5196" fmla="*/ 1254244 w 4878487"/>
                <a:gd name="connsiteY5196" fmla="*/ 199467 h 3690338"/>
                <a:gd name="connsiteX5197" fmla="*/ 1250703 w 4878487"/>
                <a:gd name="connsiteY5197" fmla="*/ 197500 h 3690338"/>
                <a:gd name="connsiteX5198" fmla="*/ 1247949 w 4878487"/>
                <a:gd name="connsiteY5198" fmla="*/ 195926 h 3690338"/>
                <a:gd name="connsiteX5199" fmla="*/ 1245195 w 4878487"/>
                <a:gd name="connsiteY5199" fmla="*/ 195926 h 3690338"/>
                <a:gd name="connsiteX5200" fmla="*/ 1242048 w 4878487"/>
                <a:gd name="connsiteY5200" fmla="*/ 196320 h 3690338"/>
                <a:gd name="connsiteX5201" fmla="*/ 1239293 w 4878487"/>
                <a:gd name="connsiteY5201" fmla="*/ 196713 h 3690338"/>
                <a:gd name="connsiteX5202" fmla="*/ 1242441 w 4878487"/>
                <a:gd name="connsiteY5202" fmla="*/ 195139 h 3690338"/>
                <a:gd name="connsiteX5203" fmla="*/ 1239687 w 4878487"/>
                <a:gd name="connsiteY5203" fmla="*/ 192779 h 3690338"/>
                <a:gd name="connsiteX5204" fmla="*/ 1236146 w 4878487"/>
                <a:gd name="connsiteY5204" fmla="*/ 191205 h 3690338"/>
                <a:gd name="connsiteX5205" fmla="*/ 1235359 w 4878487"/>
                <a:gd name="connsiteY5205" fmla="*/ 191599 h 3690338"/>
                <a:gd name="connsiteX5206" fmla="*/ 1231425 w 4878487"/>
                <a:gd name="connsiteY5206" fmla="*/ 192779 h 3690338"/>
                <a:gd name="connsiteX5207" fmla="*/ 1230245 w 4878487"/>
                <a:gd name="connsiteY5207" fmla="*/ 190812 h 3690338"/>
                <a:gd name="connsiteX5208" fmla="*/ 1227491 w 4878487"/>
                <a:gd name="connsiteY5208" fmla="*/ 191205 h 3690338"/>
                <a:gd name="connsiteX5209" fmla="*/ 1224737 w 4878487"/>
                <a:gd name="connsiteY5209" fmla="*/ 191599 h 3690338"/>
                <a:gd name="connsiteX5210" fmla="*/ 1221589 w 4878487"/>
                <a:gd name="connsiteY5210" fmla="*/ 192385 h 3690338"/>
                <a:gd name="connsiteX5211" fmla="*/ 1222376 w 4878487"/>
                <a:gd name="connsiteY5211" fmla="*/ 189631 h 3690338"/>
                <a:gd name="connsiteX5212" fmla="*/ 1219229 w 4878487"/>
                <a:gd name="connsiteY5212" fmla="*/ 187271 h 3690338"/>
                <a:gd name="connsiteX5213" fmla="*/ 1216475 w 4878487"/>
                <a:gd name="connsiteY5213" fmla="*/ 187271 h 3690338"/>
                <a:gd name="connsiteX5214" fmla="*/ 1213327 w 4878487"/>
                <a:gd name="connsiteY5214" fmla="*/ 186484 h 3690338"/>
                <a:gd name="connsiteX5215" fmla="*/ 1210574 w 4878487"/>
                <a:gd name="connsiteY5215" fmla="*/ 186878 h 3690338"/>
                <a:gd name="connsiteX5216" fmla="*/ 1207819 w 4878487"/>
                <a:gd name="connsiteY5216" fmla="*/ 188451 h 3690338"/>
                <a:gd name="connsiteX5217" fmla="*/ 1204672 w 4878487"/>
                <a:gd name="connsiteY5217" fmla="*/ 190418 h 3690338"/>
                <a:gd name="connsiteX5218" fmla="*/ 1204278 w 4878487"/>
                <a:gd name="connsiteY5218" fmla="*/ 193172 h 3690338"/>
                <a:gd name="connsiteX5219" fmla="*/ 1203492 w 4878487"/>
                <a:gd name="connsiteY5219" fmla="*/ 196320 h 3690338"/>
                <a:gd name="connsiteX5220" fmla="*/ 1206639 w 4878487"/>
                <a:gd name="connsiteY5220" fmla="*/ 197107 h 3690338"/>
                <a:gd name="connsiteX5221" fmla="*/ 1203098 w 4878487"/>
                <a:gd name="connsiteY5221" fmla="*/ 197500 h 3690338"/>
                <a:gd name="connsiteX5222" fmla="*/ 1199951 w 4878487"/>
                <a:gd name="connsiteY5222" fmla="*/ 199861 h 3690338"/>
                <a:gd name="connsiteX5223" fmla="*/ 1199164 w 4878487"/>
                <a:gd name="connsiteY5223" fmla="*/ 203008 h 3690338"/>
                <a:gd name="connsiteX5224" fmla="*/ 1199164 w 4878487"/>
                <a:gd name="connsiteY5224" fmla="*/ 198680 h 3690338"/>
                <a:gd name="connsiteX5225" fmla="*/ 1198771 w 4878487"/>
                <a:gd name="connsiteY5225" fmla="*/ 195926 h 3690338"/>
                <a:gd name="connsiteX5226" fmla="*/ 1201525 w 4878487"/>
                <a:gd name="connsiteY5226" fmla="*/ 193172 h 3690338"/>
                <a:gd name="connsiteX5227" fmla="*/ 1198771 w 4878487"/>
                <a:gd name="connsiteY5227" fmla="*/ 192779 h 3690338"/>
                <a:gd name="connsiteX5228" fmla="*/ 1197590 w 4878487"/>
                <a:gd name="connsiteY5228" fmla="*/ 193172 h 3690338"/>
                <a:gd name="connsiteX5229" fmla="*/ 1196804 w 4878487"/>
                <a:gd name="connsiteY5229" fmla="*/ 190418 h 3690338"/>
                <a:gd name="connsiteX5230" fmla="*/ 1199557 w 4878487"/>
                <a:gd name="connsiteY5230" fmla="*/ 188845 h 3690338"/>
                <a:gd name="connsiteX5231" fmla="*/ 1196410 w 4878487"/>
                <a:gd name="connsiteY5231" fmla="*/ 187271 h 3690338"/>
                <a:gd name="connsiteX5232" fmla="*/ 1196016 w 4878487"/>
                <a:gd name="connsiteY5232" fmla="*/ 187271 h 3690338"/>
                <a:gd name="connsiteX5233" fmla="*/ 1195230 w 4878487"/>
                <a:gd name="connsiteY5233" fmla="*/ 184124 h 3690338"/>
                <a:gd name="connsiteX5234" fmla="*/ 1196016 w 4878487"/>
                <a:gd name="connsiteY5234" fmla="*/ 184124 h 3690338"/>
                <a:gd name="connsiteX5235" fmla="*/ 1199164 w 4878487"/>
                <a:gd name="connsiteY5235" fmla="*/ 182943 h 3690338"/>
                <a:gd name="connsiteX5236" fmla="*/ 1202311 w 4878487"/>
                <a:gd name="connsiteY5236" fmla="*/ 181370 h 3690338"/>
                <a:gd name="connsiteX5237" fmla="*/ 1201131 w 4878487"/>
                <a:gd name="connsiteY5237" fmla="*/ 178222 h 3690338"/>
                <a:gd name="connsiteX5238" fmla="*/ 1198377 w 4878487"/>
                <a:gd name="connsiteY5238" fmla="*/ 178222 h 3690338"/>
                <a:gd name="connsiteX5239" fmla="*/ 1195623 w 4878487"/>
                <a:gd name="connsiteY5239" fmla="*/ 178616 h 3690338"/>
                <a:gd name="connsiteX5240" fmla="*/ 1194836 w 4878487"/>
                <a:gd name="connsiteY5240" fmla="*/ 175862 h 3690338"/>
                <a:gd name="connsiteX5241" fmla="*/ 1192082 w 4878487"/>
                <a:gd name="connsiteY5241" fmla="*/ 175862 h 3690338"/>
                <a:gd name="connsiteX5242" fmla="*/ 1188935 w 4878487"/>
                <a:gd name="connsiteY5242" fmla="*/ 177435 h 3690338"/>
                <a:gd name="connsiteX5243" fmla="*/ 1186181 w 4878487"/>
                <a:gd name="connsiteY5243" fmla="*/ 177042 h 3690338"/>
                <a:gd name="connsiteX5244" fmla="*/ 1183034 w 4878487"/>
                <a:gd name="connsiteY5244" fmla="*/ 175468 h 3690338"/>
                <a:gd name="connsiteX5245" fmla="*/ 1180279 w 4878487"/>
                <a:gd name="connsiteY5245" fmla="*/ 177829 h 3690338"/>
                <a:gd name="connsiteX5246" fmla="*/ 1177132 w 4878487"/>
                <a:gd name="connsiteY5246" fmla="*/ 179796 h 3690338"/>
                <a:gd name="connsiteX5247" fmla="*/ 1173985 w 4878487"/>
                <a:gd name="connsiteY5247" fmla="*/ 180583 h 3690338"/>
                <a:gd name="connsiteX5248" fmla="*/ 1177132 w 4878487"/>
                <a:gd name="connsiteY5248" fmla="*/ 180976 h 3690338"/>
                <a:gd name="connsiteX5249" fmla="*/ 1180279 w 4878487"/>
                <a:gd name="connsiteY5249" fmla="*/ 181370 h 3690338"/>
                <a:gd name="connsiteX5250" fmla="*/ 1183034 w 4878487"/>
                <a:gd name="connsiteY5250" fmla="*/ 183730 h 3690338"/>
                <a:gd name="connsiteX5251" fmla="*/ 1179886 w 4878487"/>
                <a:gd name="connsiteY5251" fmla="*/ 183337 h 3690338"/>
                <a:gd name="connsiteX5252" fmla="*/ 1176738 w 4878487"/>
                <a:gd name="connsiteY5252" fmla="*/ 185304 h 3690338"/>
                <a:gd name="connsiteX5253" fmla="*/ 1173591 w 4878487"/>
                <a:gd name="connsiteY5253" fmla="*/ 185697 h 3690338"/>
                <a:gd name="connsiteX5254" fmla="*/ 1174378 w 4878487"/>
                <a:gd name="connsiteY5254" fmla="*/ 188845 h 3690338"/>
                <a:gd name="connsiteX5255" fmla="*/ 1175952 w 4878487"/>
                <a:gd name="connsiteY5255" fmla="*/ 189631 h 3690338"/>
                <a:gd name="connsiteX5256" fmla="*/ 1175165 w 4878487"/>
                <a:gd name="connsiteY5256" fmla="*/ 190025 h 3690338"/>
                <a:gd name="connsiteX5257" fmla="*/ 1173985 w 4878487"/>
                <a:gd name="connsiteY5257" fmla="*/ 189631 h 3690338"/>
                <a:gd name="connsiteX5258" fmla="*/ 1170837 w 4878487"/>
                <a:gd name="connsiteY5258" fmla="*/ 190025 h 3690338"/>
                <a:gd name="connsiteX5259" fmla="*/ 1171624 w 4878487"/>
                <a:gd name="connsiteY5259" fmla="*/ 190812 h 3690338"/>
                <a:gd name="connsiteX5260" fmla="*/ 1162575 w 4878487"/>
                <a:gd name="connsiteY5260" fmla="*/ 193172 h 3690338"/>
                <a:gd name="connsiteX5261" fmla="*/ 1162969 w 4878487"/>
                <a:gd name="connsiteY5261" fmla="*/ 190418 h 3690338"/>
                <a:gd name="connsiteX5262" fmla="*/ 1161395 w 4878487"/>
                <a:gd name="connsiteY5262" fmla="*/ 187664 h 3690338"/>
                <a:gd name="connsiteX5263" fmla="*/ 1158248 w 4878487"/>
                <a:gd name="connsiteY5263" fmla="*/ 187271 h 3690338"/>
                <a:gd name="connsiteX5264" fmla="*/ 1161395 w 4878487"/>
                <a:gd name="connsiteY5264" fmla="*/ 186878 h 3690338"/>
                <a:gd name="connsiteX5265" fmla="*/ 1164149 w 4878487"/>
                <a:gd name="connsiteY5265" fmla="*/ 185304 h 3690338"/>
                <a:gd name="connsiteX5266" fmla="*/ 1163362 w 4878487"/>
                <a:gd name="connsiteY5266" fmla="*/ 182550 h 3690338"/>
                <a:gd name="connsiteX5267" fmla="*/ 1162575 w 4878487"/>
                <a:gd name="connsiteY5267" fmla="*/ 179402 h 3690338"/>
                <a:gd name="connsiteX5268" fmla="*/ 1159428 w 4878487"/>
                <a:gd name="connsiteY5268" fmla="*/ 180583 h 3690338"/>
                <a:gd name="connsiteX5269" fmla="*/ 1155887 w 4878487"/>
                <a:gd name="connsiteY5269" fmla="*/ 182943 h 3690338"/>
                <a:gd name="connsiteX5270" fmla="*/ 1152740 w 4878487"/>
                <a:gd name="connsiteY5270" fmla="*/ 184910 h 3690338"/>
                <a:gd name="connsiteX5271" fmla="*/ 1149986 w 4878487"/>
                <a:gd name="connsiteY5271" fmla="*/ 187271 h 3690338"/>
                <a:gd name="connsiteX5272" fmla="*/ 1147625 w 4878487"/>
                <a:gd name="connsiteY5272" fmla="*/ 190025 h 3690338"/>
                <a:gd name="connsiteX5273" fmla="*/ 1144871 w 4878487"/>
                <a:gd name="connsiteY5273" fmla="*/ 191599 h 3690338"/>
                <a:gd name="connsiteX5274" fmla="*/ 1143691 w 4878487"/>
                <a:gd name="connsiteY5274" fmla="*/ 192779 h 3690338"/>
                <a:gd name="connsiteX5275" fmla="*/ 1133855 w 4878487"/>
                <a:gd name="connsiteY5275" fmla="*/ 192779 h 3690338"/>
                <a:gd name="connsiteX5276" fmla="*/ 1133855 w 4878487"/>
                <a:gd name="connsiteY5276" fmla="*/ 192779 h 3690338"/>
                <a:gd name="connsiteX5277" fmla="*/ 1131101 w 4878487"/>
                <a:gd name="connsiteY5277" fmla="*/ 192779 h 3690338"/>
                <a:gd name="connsiteX5278" fmla="*/ 1132675 w 4878487"/>
                <a:gd name="connsiteY5278" fmla="*/ 191205 h 3690338"/>
                <a:gd name="connsiteX5279" fmla="*/ 1135429 w 4878487"/>
                <a:gd name="connsiteY5279" fmla="*/ 189631 h 3690338"/>
                <a:gd name="connsiteX5280" fmla="*/ 1138183 w 4878487"/>
                <a:gd name="connsiteY5280" fmla="*/ 187664 h 3690338"/>
                <a:gd name="connsiteX5281" fmla="*/ 1141330 w 4878487"/>
                <a:gd name="connsiteY5281" fmla="*/ 185304 h 3690338"/>
                <a:gd name="connsiteX5282" fmla="*/ 1144478 w 4878487"/>
                <a:gd name="connsiteY5282" fmla="*/ 184517 h 3690338"/>
                <a:gd name="connsiteX5283" fmla="*/ 1146445 w 4878487"/>
                <a:gd name="connsiteY5283" fmla="*/ 181763 h 3690338"/>
                <a:gd name="connsiteX5284" fmla="*/ 1143297 w 4878487"/>
                <a:gd name="connsiteY5284" fmla="*/ 182550 h 3690338"/>
                <a:gd name="connsiteX5285" fmla="*/ 1140543 w 4878487"/>
                <a:gd name="connsiteY5285" fmla="*/ 181370 h 3690338"/>
                <a:gd name="connsiteX5286" fmla="*/ 1137396 w 4878487"/>
                <a:gd name="connsiteY5286" fmla="*/ 180189 h 3690338"/>
                <a:gd name="connsiteX5287" fmla="*/ 1134642 w 4878487"/>
                <a:gd name="connsiteY5287" fmla="*/ 180189 h 3690338"/>
                <a:gd name="connsiteX5288" fmla="*/ 1135822 w 4878487"/>
                <a:gd name="connsiteY5288" fmla="*/ 182943 h 3690338"/>
                <a:gd name="connsiteX5289" fmla="*/ 1133068 w 4878487"/>
                <a:gd name="connsiteY5289" fmla="*/ 184124 h 3690338"/>
                <a:gd name="connsiteX5290" fmla="*/ 1130708 w 4878487"/>
                <a:gd name="connsiteY5290" fmla="*/ 180976 h 3690338"/>
                <a:gd name="connsiteX5291" fmla="*/ 1127954 w 4878487"/>
                <a:gd name="connsiteY5291" fmla="*/ 179402 h 3690338"/>
                <a:gd name="connsiteX5292" fmla="*/ 1125200 w 4878487"/>
                <a:gd name="connsiteY5292" fmla="*/ 180583 h 3690338"/>
                <a:gd name="connsiteX5293" fmla="*/ 1122053 w 4878487"/>
                <a:gd name="connsiteY5293" fmla="*/ 179009 h 3690338"/>
                <a:gd name="connsiteX5294" fmla="*/ 1119298 w 4878487"/>
                <a:gd name="connsiteY5294" fmla="*/ 178616 h 3690338"/>
                <a:gd name="connsiteX5295" fmla="*/ 1118905 w 4878487"/>
                <a:gd name="connsiteY5295" fmla="*/ 181370 h 3690338"/>
                <a:gd name="connsiteX5296" fmla="*/ 1121659 w 4878487"/>
                <a:gd name="connsiteY5296" fmla="*/ 181763 h 3690338"/>
                <a:gd name="connsiteX5297" fmla="*/ 1118512 w 4878487"/>
                <a:gd name="connsiteY5297" fmla="*/ 183730 h 3690338"/>
                <a:gd name="connsiteX5298" fmla="*/ 1115364 w 4878487"/>
                <a:gd name="connsiteY5298" fmla="*/ 182156 h 3690338"/>
                <a:gd name="connsiteX5299" fmla="*/ 1112217 w 4878487"/>
                <a:gd name="connsiteY5299" fmla="*/ 183730 h 3690338"/>
                <a:gd name="connsiteX5300" fmla="*/ 1107889 w 4878487"/>
                <a:gd name="connsiteY5300" fmla="*/ 192385 h 3690338"/>
                <a:gd name="connsiteX5301" fmla="*/ 1104348 w 4878487"/>
                <a:gd name="connsiteY5301" fmla="*/ 192779 h 3690338"/>
                <a:gd name="connsiteX5302" fmla="*/ 1101594 w 4878487"/>
                <a:gd name="connsiteY5302" fmla="*/ 194353 h 3690338"/>
                <a:gd name="connsiteX5303" fmla="*/ 1098840 w 4878487"/>
                <a:gd name="connsiteY5303" fmla="*/ 195926 h 3690338"/>
                <a:gd name="connsiteX5304" fmla="*/ 1098053 w 4878487"/>
                <a:gd name="connsiteY5304" fmla="*/ 198680 h 3690338"/>
                <a:gd name="connsiteX5305" fmla="*/ 1094906 w 4878487"/>
                <a:gd name="connsiteY5305" fmla="*/ 199074 h 3690338"/>
                <a:gd name="connsiteX5306" fmla="*/ 1098053 w 4878487"/>
                <a:gd name="connsiteY5306" fmla="*/ 199467 h 3690338"/>
                <a:gd name="connsiteX5307" fmla="*/ 1094906 w 4878487"/>
                <a:gd name="connsiteY5307" fmla="*/ 200254 h 3690338"/>
                <a:gd name="connsiteX5308" fmla="*/ 1092152 w 4878487"/>
                <a:gd name="connsiteY5308" fmla="*/ 200254 h 3690338"/>
                <a:gd name="connsiteX5309" fmla="*/ 1095693 w 4878487"/>
                <a:gd name="connsiteY5309" fmla="*/ 201434 h 3690338"/>
                <a:gd name="connsiteX5310" fmla="*/ 1092546 w 4878487"/>
                <a:gd name="connsiteY5310" fmla="*/ 203795 h 3690338"/>
                <a:gd name="connsiteX5311" fmla="*/ 1095693 w 4878487"/>
                <a:gd name="connsiteY5311" fmla="*/ 205762 h 3690338"/>
                <a:gd name="connsiteX5312" fmla="*/ 1098840 w 4878487"/>
                <a:gd name="connsiteY5312" fmla="*/ 205762 h 3690338"/>
                <a:gd name="connsiteX5313" fmla="*/ 1099234 w 4878487"/>
                <a:gd name="connsiteY5313" fmla="*/ 206549 h 3690338"/>
                <a:gd name="connsiteX5314" fmla="*/ 1096480 w 4878487"/>
                <a:gd name="connsiteY5314" fmla="*/ 206942 h 3690338"/>
                <a:gd name="connsiteX5315" fmla="*/ 1090972 w 4878487"/>
                <a:gd name="connsiteY5315" fmla="*/ 206549 h 3690338"/>
                <a:gd name="connsiteX5316" fmla="*/ 1090578 w 4878487"/>
                <a:gd name="connsiteY5316" fmla="*/ 206155 h 3690338"/>
                <a:gd name="connsiteX5317" fmla="*/ 1087824 w 4878487"/>
                <a:gd name="connsiteY5317" fmla="*/ 204975 h 3690338"/>
                <a:gd name="connsiteX5318" fmla="*/ 1089398 w 4878487"/>
                <a:gd name="connsiteY5318" fmla="*/ 202615 h 3690338"/>
                <a:gd name="connsiteX5319" fmla="*/ 1086644 w 4878487"/>
                <a:gd name="connsiteY5319" fmla="*/ 204188 h 3690338"/>
                <a:gd name="connsiteX5320" fmla="*/ 1083497 w 4878487"/>
                <a:gd name="connsiteY5320" fmla="*/ 204582 h 3690338"/>
                <a:gd name="connsiteX5321" fmla="*/ 1080349 w 4878487"/>
                <a:gd name="connsiteY5321" fmla="*/ 204975 h 3690338"/>
                <a:gd name="connsiteX5322" fmla="*/ 1079169 w 4878487"/>
                <a:gd name="connsiteY5322" fmla="*/ 204975 h 3690338"/>
                <a:gd name="connsiteX5323" fmla="*/ 1079956 w 4878487"/>
                <a:gd name="connsiteY5323" fmla="*/ 204975 h 3690338"/>
                <a:gd name="connsiteX5324" fmla="*/ 1083497 w 4878487"/>
                <a:gd name="connsiteY5324" fmla="*/ 204582 h 3690338"/>
                <a:gd name="connsiteX5325" fmla="*/ 1086250 w 4878487"/>
                <a:gd name="connsiteY5325" fmla="*/ 204188 h 3690338"/>
                <a:gd name="connsiteX5326" fmla="*/ 1087824 w 4878487"/>
                <a:gd name="connsiteY5326" fmla="*/ 201434 h 3690338"/>
                <a:gd name="connsiteX5327" fmla="*/ 1085070 w 4878487"/>
                <a:gd name="connsiteY5327" fmla="*/ 201041 h 3690338"/>
                <a:gd name="connsiteX5328" fmla="*/ 1081923 w 4878487"/>
                <a:gd name="connsiteY5328" fmla="*/ 201434 h 3690338"/>
                <a:gd name="connsiteX5329" fmla="*/ 1079169 w 4878487"/>
                <a:gd name="connsiteY5329" fmla="*/ 199861 h 3690338"/>
                <a:gd name="connsiteX5330" fmla="*/ 1076021 w 4878487"/>
                <a:gd name="connsiteY5330" fmla="*/ 199861 h 3690338"/>
                <a:gd name="connsiteX5331" fmla="*/ 1077202 w 4878487"/>
                <a:gd name="connsiteY5331" fmla="*/ 202615 h 3690338"/>
                <a:gd name="connsiteX5332" fmla="*/ 1079956 w 4878487"/>
                <a:gd name="connsiteY5332" fmla="*/ 203401 h 3690338"/>
                <a:gd name="connsiteX5333" fmla="*/ 1077202 w 4878487"/>
                <a:gd name="connsiteY5333" fmla="*/ 203008 h 3690338"/>
                <a:gd name="connsiteX5334" fmla="*/ 1074448 w 4878487"/>
                <a:gd name="connsiteY5334" fmla="*/ 201828 h 3690338"/>
                <a:gd name="connsiteX5335" fmla="*/ 1074448 w 4878487"/>
                <a:gd name="connsiteY5335" fmla="*/ 198680 h 3690338"/>
                <a:gd name="connsiteX5336" fmla="*/ 1071300 w 4878487"/>
                <a:gd name="connsiteY5336" fmla="*/ 200254 h 3690338"/>
                <a:gd name="connsiteX5337" fmla="*/ 1068546 w 4878487"/>
                <a:gd name="connsiteY5337" fmla="*/ 197893 h 3690338"/>
                <a:gd name="connsiteX5338" fmla="*/ 1065792 w 4878487"/>
                <a:gd name="connsiteY5338" fmla="*/ 199074 h 3690338"/>
                <a:gd name="connsiteX5339" fmla="*/ 1064612 w 4878487"/>
                <a:gd name="connsiteY5339" fmla="*/ 201828 h 3690338"/>
                <a:gd name="connsiteX5340" fmla="*/ 1061465 w 4878487"/>
                <a:gd name="connsiteY5340" fmla="*/ 199861 h 3690338"/>
                <a:gd name="connsiteX5341" fmla="*/ 1058317 w 4878487"/>
                <a:gd name="connsiteY5341" fmla="*/ 198287 h 3690338"/>
                <a:gd name="connsiteX5342" fmla="*/ 1057531 w 4878487"/>
                <a:gd name="connsiteY5342" fmla="*/ 201434 h 3690338"/>
                <a:gd name="connsiteX5343" fmla="*/ 1054383 w 4878487"/>
                <a:gd name="connsiteY5343" fmla="*/ 200254 h 3690338"/>
                <a:gd name="connsiteX5344" fmla="*/ 1051629 w 4878487"/>
                <a:gd name="connsiteY5344" fmla="*/ 200647 h 3690338"/>
                <a:gd name="connsiteX5345" fmla="*/ 1054383 w 4878487"/>
                <a:gd name="connsiteY5345" fmla="*/ 202615 h 3690338"/>
                <a:gd name="connsiteX5346" fmla="*/ 1056743 w 4878487"/>
                <a:gd name="connsiteY5346" fmla="*/ 202221 h 3690338"/>
                <a:gd name="connsiteX5347" fmla="*/ 1058317 w 4878487"/>
                <a:gd name="connsiteY5347" fmla="*/ 202615 h 3690338"/>
                <a:gd name="connsiteX5348" fmla="*/ 1060284 w 4878487"/>
                <a:gd name="connsiteY5348" fmla="*/ 203795 h 3690338"/>
                <a:gd name="connsiteX5349" fmla="*/ 1063432 w 4878487"/>
                <a:gd name="connsiteY5349" fmla="*/ 205369 h 3690338"/>
                <a:gd name="connsiteX5350" fmla="*/ 1065006 w 4878487"/>
                <a:gd name="connsiteY5350" fmla="*/ 204975 h 3690338"/>
                <a:gd name="connsiteX5351" fmla="*/ 1068940 w 4878487"/>
                <a:gd name="connsiteY5351" fmla="*/ 206549 h 3690338"/>
                <a:gd name="connsiteX5352" fmla="*/ 1068940 w 4878487"/>
                <a:gd name="connsiteY5352" fmla="*/ 206549 h 3690338"/>
                <a:gd name="connsiteX5353" fmla="*/ 1070513 w 4878487"/>
                <a:gd name="connsiteY5353" fmla="*/ 206942 h 3690338"/>
                <a:gd name="connsiteX5354" fmla="*/ 1069727 w 4878487"/>
                <a:gd name="connsiteY5354" fmla="*/ 208123 h 3690338"/>
                <a:gd name="connsiteX5355" fmla="*/ 1067760 w 4878487"/>
                <a:gd name="connsiteY5355" fmla="*/ 207336 h 3690338"/>
                <a:gd name="connsiteX5356" fmla="*/ 1067366 w 4878487"/>
                <a:gd name="connsiteY5356" fmla="*/ 210090 h 3690338"/>
                <a:gd name="connsiteX5357" fmla="*/ 1068153 w 4878487"/>
                <a:gd name="connsiteY5357" fmla="*/ 210483 h 3690338"/>
                <a:gd name="connsiteX5358" fmla="*/ 1067366 w 4878487"/>
                <a:gd name="connsiteY5358" fmla="*/ 211663 h 3690338"/>
                <a:gd name="connsiteX5359" fmla="*/ 1066973 w 4878487"/>
                <a:gd name="connsiteY5359" fmla="*/ 211663 h 3690338"/>
                <a:gd name="connsiteX5360" fmla="*/ 1064612 w 4878487"/>
                <a:gd name="connsiteY5360" fmla="*/ 210090 h 3690338"/>
                <a:gd name="connsiteX5361" fmla="*/ 1064219 w 4878487"/>
                <a:gd name="connsiteY5361" fmla="*/ 210090 h 3690338"/>
                <a:gd name="connsiteX5362" fmla="*/ 1058711 w 4878487"/>
                <a:gd name="connsiteY5362" fmla="*/ 206942 h 3690338"/>
                <a:gd name="connsiteX5363" fmla="*/ 1056743 w 4878487"/>
                <a:gd name="connsiteY5363" fmla="*/ 206155 h 3690338"/>
                <a:gd name="connsiteX5364" fmla="*/ 1053203 w 4878487"/>
                <a:gd name="connsiteY5364" fmla="*/ 206942 h 3690338"/>
                <a:gd name="connsiteX5365" fmla="*/ 1050842 w 4878487"/>
                <a:gd name="connsiteY5365" fmla="*/ 210483 h 3690338"/>
                <a:gd name="connsiteX5366" fmla="*/ 1050449 w 4878487"/>
                <a:gd name="connsiteY5366" fmla="*/ 210483 h 3690338"/>
                <a:gd name="connsiteX5367" fmla="*/ 1048875 w 4878487"/>
                <a:gd name="connsiteY5367" fmla="*/ 213237 h 3690338"/>
                <a:gd name="connsiteX5368" fmla="*/ 1048482 w 4878487"/>
                <a:gd name="connsiteY5368" fmla="*/ 213237 h 3690338"/>
                <a:gd name="connsiteX5369" fmla="*/ 1045334 w 4878487"/>
                <a:gd name="connsiteY5369" fmla="*/ 210877 h 3690338"/>
                <a:gd name="connsiteX5370" fmla="*/ 1048088 w 4878487"/>
                <a:gd name="connsiteY5370" fmla="*/ 208516 h 3690338"/>
                <a:gd name="connsiteX5371" fmla="*/ 1044547 w 4878487"/>
                <a:gd name="connsiteY5371" fmla="*/ 210090 h 3690338"/>
                <a:gd name="connsiteX5372" fmla="*/ 1041793 w 4878487"/>
                <a:gd name="connsiteY5372" fmla="*/ 213237 h 3690338"/>
                <a:gd name="connsiteX5373" fmla="*/ 1038646 w 4878487"/>
                <a:gd name="connsiteY5373" fmla="*/ 215598 h 3690338"/>
                <a:gd name="connsiteX5374" fmla="*/ 1039433 w 4878487"/>
                <a:gd name="connsiteY5374" fmla="*/ 218745 h 3690338"/>
                <a:gd name="connsiteX5375" fmla="*/ 1040220 w 4878487"/>
                <a:gd name="connsiteY5375" fmla="*/ 219138 h 3690338"/>
                <a:gd name="connsiteX5376" fmla="*/ 1039433 w 4878487"/>
                <a:gd name="connsiteY5376" fmla="*/ 219925 h 3690338"/>
                <a:gd name="connsiteX5377" fmla="*/ 1036285 w 4878487"/>
                <a:gd name="connsiteY5377" fmla="*/ 219138 h 3690338"/>
                <a:gd name="connsiteX5378" fmla="*/ 1035105 w 4878487"/>
                <a:gd name="connsiteY5378" fmla="*/ 221892 h 3690338"/>
                <a:gd name="connsiteX5379" fmla="*/ 1034318 w 4878487"/>
                <a:gd name="connsiteY5379" fmla="*/ 223073 h 3690338"/>
                <a:gd name="connsiteX5380" fmla="*/ 1030777 w 4878487"/>
                <a:gd name="connsiteY5380" fmla="*/ 225433 h 3690338"/>
                <a:gd name="connsiteX5381" fmla="*/ 1030384 w 4878487"/>
                <a:gd name="connsiteY5381" fmla="*/ 225433 h 3690338"/>
                <a:gd name="connsiteX5382" fmla="*/ 1027236 w 4878487"/>
                <a:gd name="connsiteY5382" fmla="*/ 227794 h 3690338"/>
                <a:gd name="connsiteX5383" fmla="*/ 1026843 w 4878487"/>
                <a:gd name="connsiteY5383" fmla="*/ 227794 h 3690338"/>
                <a:gd name="connsiteX5384" fmla="*/ 1027236 w 4878487"/>
                <a:gd name="connsiteY5384" fmla="*/ 227400 h 3690338"/>
                <a:gd name="connsiteX5385" fmla="*/ 1030777 w 4878487"/>
                <a:gd name="connsiteY5385" fmla="*/ 225040 h 3690338"/>
                <a:gd name="connsiteX5386" fmla="*/ 1033532 w 4878487"/>
                <a:gd name="connsiteY5386" fmla="*/ 222679 h 3690338"/>
                <a:gd name="connsiteX5387" fmla="*/ 1033138 w 4878487"/>
                <a:gd name="connsiteY5387" fmla="*/ 219532 h 3690338"/>
                <a:gd name="connsiteX5388" fmla="*/ 1033138 w 4878487"/>
                <a:gd name="connsiteY5388" fmla="*/ 216778 h 3690338"/>
                <a:gd name="connsiteX5389" fmla="*/ 1034318 w 4878487"/>
                <a:gd name="connsiteY5389" fmla="*/ 214024 h 3690338"/>
                <a:gd name="connsiteX5390" fmla="*/ 1035499 w 4878487"/>
                <a:gd name="connsiteY5390" fmla="*/ 210483 h 3690338"/>
                <a:gd name="connsiteX5391" fmla="*/ 1032744 w 4878487"/>
                <a:gd name="connsiteY5391" fmla="*/ 208123 h 3690338"/>
                <a:gd name="connsiteX5392" fmla="*/ 1031564 w 4878487"/>
                <a:gd name="connsiteY5392" fmla="*/ 211270 h 3690338"/>
                <a:gd name="connsiteX5393" fmla="*/ 1028810 w 4878487"/>
                <a:gd name="connsiteY5393" fmla="*/ 211270 h 3690338"/>
                <a:gd name="connsiteX5394" fmla="*/ 1026843 w 4878487"/>
                <a:gd name="connsiteY5394" fmla="*/ 214024 h 3690338"/>
                <a:gd name="connsiteX5395" fmla="*/ 1026450 w 4878487"/>
                <a:gd name="connsiteY5395" fmla="*/ 212057 h 3690338"/>
                <a:gd name="connsiteX5396" fmla="*/ 1024089 w 4878487"/>
                <a:gd name="connsiteY5396" fmla="*/ 214811 h 3690338"/>
                <a:gd name="connsiteX5397" fmla="*/ 1023696 w 4878487"/>
                <a:gd name="connsiteY5397" fmla="*/ 217958 h 3690338"/>
                <a:gd name="connsiteX5398" fmla="*/ 1026843 w 4878487"/>
                <a:gd name="connsiteY5398" fmla="*/ 218745 h 3690338"/>
                <a:gd name="connsiteX5399" fmla="*/ 1026843 w 4878487"/>
                <a:gd name="connsiteY5399" fmla="*/ 219138 h 3690338"/>
                <a:gd name="connsiteX5400" fmla="*/ 1023302 w 4878487"/>
                <a:gd name="connsiteY5400" fmla="*/ 218745 h 3690338"/>
                <a:gd name="connsiteX5401" fmla="*/ 1023302 w 4878487"/>
                <a:gd name="connsiteY5401" fmla="*/ 219138 h 3690338"/>
                <a:gd name="connsiteX5402" fmla="*/ 1021729 w 4878487"/>
                <a:gd name="connsiteY5402" fmla="*/ 219138 h 3690338"/>
                <a:gd name="connsiteX5403" fmla="*/ 1021729 w 4878487"/>
                <a:gd name="connsiteY5403" fmla="*/ 218745 h 3690338"/>
                <a:gd name="connsiteX5404" fmla="*/ 1020548 w 4878487"/>
                <a:gd name="connsiteY5404" fmla="*/ 215991 h 3690338"/>
                <a:gd name="connsiteX5405" fmla="*/ 1020548 w 4878487"/>
                <a:gd name="connsiteY5405" fmla="*/ 213237 h 3690338"/>
                <a:gd name="connsiteX5406" fmla="*/ 1017795 w 4878487"/>
                <a:gd name="connsiteY5406" fmla="*/ 213631 h 3690338"/>
                <a:gd name="connsiteX5407" fmla="*/ 1014647 w 4878487"/>
                <a:gd name="connsiteY5407" fmla="*/ 214024 h 3690338"/>
                <a:gd name="connsiteX5408" fmla="*/ 1011893 w 4878487"/>
                <a:gd name="connsiteY5408" fmla="*/ 214024 h 3690338"/>
                <a:gd name="connsiteX5409" fmla="*/ 1008746 w 4878487"/>
                <a:gd name="connsiteY5409" fmla="*/ 214811 h 3690338"/>
                <a:gd name="connsiteX5410" fmla="*/ 1005992 w 4878487"/>
                <a:gd name="connsiteY5410" fmla="*/ 217171 h 3690338"/>
                <a:gd name="connsiteX5411" fmla="*/ 1005598 w 4878487"/>
                <a:gd name="connsiteY5411" fmla="*/ 217565 h 3690338"/>
                <a:gd name="connsiteX5412" fmla="*/ 1002451 w 4878487"/>
                <a:gd name="connsiteY5412" fmla="*/ 221499 h 3690338"/>
                <a:gd name="connsiteX5413" fmla="*/ 1000877 w 4878487"/>
                <a:gd name="connsiteY5413" fmla="*/ 220712 h 3690338"/>
                <a:gd name="connsiteX5414" fmla="*/ 997729 w 4878487"/>
                <a:gd name="connsiteY5414" fmla="*/ 221106 h 3690338"/>
                <a:gd name="connsiteX5415" fmla="*/ 994976 w 4878487"/>
                <a:gd name="connsiteY5415" fmla="*/ 221499 h 3690338"/>
                <a:gd name="connsiteX5416" fmla="*/ 997336 w 4878487"/>
                <a:gd name="connsiteY5416" fmla="*/ 224253 h 3690338"/>
                <a:gd name="connsiteX5417" fmla="*/ 999303 w 4878487"/>
                <a:gd name="connsiteY5417" fmla="*/ 225433 h 3690338"/>
                <a:gd name="connsiteX5418" fmla="*/ 998517 w 4878487"/>
                <a:gd name="connsiteY5418" fmla="*/ 226614 h 3690338"/>
                <a:gd name="connsiteX5419" fmla="*/ 996943 w 4878487"/>
                <a:gd name="connsiteY5419" fmla="*/ 226220 h 3690338"/>
                <a:gd name="connsiteX5420" fmla="*/ 996549 w 4878487"/>
                <a:gd name="connsiteY5420" fmla="*/ 228974 h 3690338"/>
                <a:gd name="connsiteX5421" fmla="*/ 995762 w 4878487"/>
                <a:gd name="connsiteY5421" fmla="*/ 230154 h 3690338"/>
                <a:gd name="connsiteX5422" fmla="*/ 995762 w 4878487"/>
                <a:gd name="connsiteY5422" fmla="*/ 227794 h 3690338"/>
                <a:gd name="connsiteX5423" fmla="*/ 993795 w 4878487"/>
                <a:gd name="connsiteY5423" fmla="*/ 225040 h 3690338"/>
                <a:gd name="connsiteX5424" fmla="*/ 991041 w 4878487"/>
                <a:gd name="connsiteY5424" fmla="*/ 222679 h 3690338"/>
                <a:gd name="connsiteX5425" fmla="*/ 987894 w 4878487"/>
                <a:gd name="connsiteY5425" fmla="*/ 223073 h 3690338"/>
                <a:gd name="connsiteX5426" fmla="*/ 987107 w 4878487"/>
                <a:gd name="connsiteY5426" fmla="*/ 226220 h 3690338"/>
                <a:gd name="connsiteX5427" fmla="*/ 985140 w 4878487"/>
                <a:gd name="connsiteY5427" fmla="*/ 228974 h 3690338"/>
                <a:gd name="connsiteX5428" fmla="*/ 983959 w 4878487"/>
                <a:gd name="connsiteY5428" fmla="*/ 230154 h 3690338"/>
                <a:gd name="connsiteX5429" fmla="*/ 982386 w 4878487"/>
                <a:gd name="connsiteY5429" fmla="*/ 229368 h 3690338"/>
                <a:gd name="connsiteX5430" fmla="*/ 984353 w 4878487"/>
                <a:gd name="connsiteY5430" fmla="*/ 228974 h 3690338"/>
                <a:gd name="connsiteX5431" fmla="*/ 985927 w 4878487"/>
                <a:gd name="connsiteY5431" fmla="*/ 226220 h 3690338"/>
                <a:gd name="connsiteX5432" fmla="*/ 985927 w 4878487"/>
                <a:gd name="connsiteY5432" fmla="*/ 223466 h 3690338"/>
                <a:gd name="connsiteX5433" fmla="*/ 982779 w 4878487"/>
                <a:gd name="connsiteY5433" fmla="*/ 224253 h 3690338"/>
                <a:gd name="connsiteX5434" fmla="*/ 985927 w 4878487"/>
                <a:gd name="connsiteY5434" fmla="*/ 222679 h 3690338"/>
                <a:gd name="connsiteX5435" fmla="*/ 982779 w 4878487"/>
                <a:gd name="connsiteY5435" fmla="*/ 221892 h 3690338"/>
                <a:gd name="connsiteX5436" fmla="*/ 980025 w 4878487"/>
                <a:gd name="connsiteY5436" fmla="*/ 220319 h 3690338"/>
                <a:gd name="connsiteX5437" fmla="*/ 977271 w 4878487"/>
                <a:gd name="connsiteY5437" fmla="*/ 218745 h 3690338"/>
                <a:gd name="connsiteX5438" fmla="*/ 978058 w 4878487"/>
                <a:gd name="connsiteY5438" fmla="*/ 221499 h 3690338"/>
                <a:gd name="connsiteX5439" fmla="*/ 975304 w 4878487"/>
                <a:gd name="connsiteY5439" fmla="*/ 219138 h 3690338"/>
                <a:gd name="connsiteX5440" fmla="*/ 977665 w 4878487"/>
                <a:gd name="connsiteY5440" fmla="*/ 221892 h 3690338"/>
                <a:gd name="connsiteX5441" fmla="*/ 974518 w 4878487"/>
                <a:gd name="connsiteY5441" fmla="*/ 221499 h 3690338"/>
                <a:gd name="connsiteX5442" fmla="*/ 971370 w 4878487"/>
                <a:gd name="connsiteY5442" fmla="*/ 219925 h 3690338"/>
                <a:gd name="connsiteX5443" fmla="*/ 967829 w 4878487"/>
                <a:gd name="connsiteY5443" fmla="*/ 220712 h 3690338"/>
                <a:gd name="connsiteX5444" fmla="*/ 971370 w 4878487"/>
                <a:gd name="connsiteY5444" fmla="*/ 222679 h 3690338"/>
                <a:gd name="connsiteX5445" fmla="*/ 974124 w 4878487"/>
                <a:gd name="connsiteY5445" fmla="*/ 222679 h 3690338"/>
                <a:gd name="connsiteX5446" fmla="*/ 970977 w 4878487"/>
                <a:gd name="connsiteY5446" fmla="*/ 223073 h 3690338"/>
                <a:gd name="connsiteX5447" fmla="*/ 970583 w 4878487"/>
                <a:gd name="connsiteY5447" fmla="*/ 223466 h 3690338"/>
                <a:gd name="connsiteX5448" fmla="*/ 969796 w 4878487"/>
                <a:gd name="connsiteY5448" fmla="*/ 223466 h 3690338"/>
                <a:gd name="connsiteX5449" fmla="*/ 967042 w 4878487"/>
                <a:gd name="connsiteY5449" fmla="*/ 223073 h 3690338"/>
                <a:gd name="connsiteX5450" fmla="*/ 964288 w 4878487"/>
                <a:gd name="connsiteY5450" fmla="*/ 223466 h 3690338"/>
                <a:gd name="connsiteX5451" fmla="*/ 961141 w 4878487"/>
                <a:gd name="connsiteY5451" fmla="*/ 223860 h 3690338"/>
                <a:gd name="connsiteX5452" fmla="*/ 963895 w 4878487"/>
                <a:gd name="connsiteY5452" fmla="*/ 224253 h 3690338"/>
                <a:gd name="connsiteX5453" fmla="*/ 964288 w 4878487"/>
                <a:gd name="connsiteY5453" fmla="*/ 224253 h 3690338"/>
                <a:gd name="connsiteX5454" fmla="*/ 963895 w 4878487"/>
                <a:gd name="connsiteY5454" fmla="*/ 226614 h 3690338"/>
                <a:gd name="connsiteX5455" fmla="*/ 966255 w 4878487"/>
                <a:gd name="connsiteY5455" fmla="*/ 226614 h 3690338"/>
                <a:gd name="connsiteX5456" fmla="*/ 963895 w 4878487"/>
                <a:gd name="connsiteY5456" fmla="*/ 227794 h 3690338"/>
                <a:gd name="connsiteX5457" fmla="*/ 967042 w 4878487"/>
                <a:gd name="connsiteY5457" fmla="*/ 229368 h 3690338"/>
                <a:gd name="connsiteX5458" fmla="*/ 963895 w 4878487"/>
                <a:gd name="connsiteY5458" fmla="*/ 230548 h 3690338"/>
                <a:gd name="connsiteX5459" fmla="*/ 961141 w 4878487"/>
                <a:gd name="connsiteY5459" fmla="*/ 231335 h 3690338"/>
                <a:gd name="connsiteX5460" fmla="*/ 963895 w 4878487"/>
                <a:gd name="connsiteY5460" fmla="*/ 232515 h 3690338"/>
                <a:gd name="connsiteX5461" fmla="*/ 967042 w 4878487"/>
                <a:gd name="connsiteY5461" fmla="*/ 232515 h 3690338"/>
                <a:gd name="connsiteX5462" fmla="*/ 969796 w 4878487"/>
                <a:gd name="connsiteY5462" fmla="*/ 232122 h 3690338"/>
                <a:gd name="connsiteX5463" fmla="*/ 972944 w 4878487"/>
                <a:gd name="connsiteY5463" fmla="*/ 230548 h 3690338"/>
                <a:gd name="connsiteX5464" fmla="*/ 982386 w 4878487"/>
                <a:gd name="connsiteY5464" fmla="*/ 230548 h 3690338"/>
                <a:gd name="connsiteX5465" fmla="*/ 983173 w 4878487"/>
                <a:gd name="connsiteY5465" fmla="*/ 230548 h 3690338"/>
                <a:gd name="connsiteX5466" fmla="*/ 982386 w 4878487"/>
                <a:gd name="connsiteY5466" fmla="*/ 231335 h 3690338"/>
                <a:gd name="connsiteX5467" fmla="*/ 981599 w 4878487"/>
                <a:gd name="connsiteY5467" fmla="*/ 231335 h 3690338"/>
                <a:gd name="connsiteX5468" fmla="*/ 978452 w 4878487"/>
                <a:gd name="connsiteY5468" fmla="*/ 232908 h 3690338"/>
                <a:gd name="connsiteX5469" fmla="*/ 975698 w 4878487"/>
                <a:gd name="connsiteY5469" fmla="*/ 234876 h 3690338"/>
                <a:gd name="connsiteX5470" fmla="*/ 976878 w 4878487"/>
                <a:gd name="connsiteY5470" fmla="*/ 237630 h 3690338"/>
                <a:gd name="connsiteX5471" fmla="*/ 974124 w 4878487"/>
                <a:gd name="connsiteY5471" fmla="*/ 240777 h 3690338"/>
                <a:gd name="connsiteX5472" fmla="*/ 971370 w 4878487"/>
                <a:gd name="connsiteY5472" fmla="*/ 241957 h 3690338"/>
                <a:gd name="connsiteX5473" fmla="*/ 974124 w 4878487"/>
                <a:gd name="connsiteY5473" fmla="*/ 243137 h 3690338"/>
                <a:gd name="connsiteX5474" fmla="*/ 974518 w 4878487"/>
                <a:gd name="connsiteY5474" fmla="*/ 243137 h 3690338"/>
                <a:gd name="connsiteX5475" fmla="*/ 974124 w 4878487"/>
                <a:gd name="connsiteY5475" fmla="*/ 243924 h 3690338"/>
                <a:gd name="connsiteX5476" fmla="*/ 970977 w 4878487"/>
                <a:gd name="connsiteY5476" fmla="*/ 243137 h 3690338"/>
                <a:gd name="connsiteX5477" fmla="*/ 967829 w 4878487"/>
                <a:gd name="connsiteY5477" fmla="*/ 243531 h 3690338"/>
                <a:gd name="connsiteX5478" fmla="*/ 964682 w 4878487"/>
                <a:gd name="connsiteY5478" fmla="*/ 243531 h 3690338"/>
                <a:gd name="connsiteX5479" fmla="*/ 961534 w 4878487"/>
                <a:gd name="connsiteY5479" fmla="*/ 244318 h 3690338"/>
                <a:gd name="connsiteX5480" fmla="*/ 958781 w 4878487"/>
                <a:gd name="connsiteY5480" fmla="*/ 244711 h 3690338"/>
                <a:gd name="connsiteX5481" fmla="*/ 956026 w 4878487"/>
                <a:gd name="connsiteY5481" fmla="*/ 245891 h 3690338"/>
                <a:gd name="connsiteX5482" fmla="*/ 955633 w 4878487"/>
                <a:gd name="connsiteY5482" fmla="*/ 248252 h 3690338"/>
                <a:gd name="connsiteX5483" fmla="*/ 953666 w 4878487"/>
                <a:gd name="connsiteY5483" fmla="*/ 249826 h 3690338"/>
                <a:gd name="connsiteX5484" fmla="*/ 956420 w 4878487"/>
                <a:gd name="connsiteY5484" fmla="*/ 251399 h 3690338"/>
                <a:gd name="connsiteX5485" fmla="*/ 959174 w 4878487"/>
                <a:gd name="connsiteY5485" fmla="*/ 251006 h 3690338"/>
                <a:gd name="connsiteX5486" fmla="*/ 962321 w 4878487"/>
                <a:gd name="connsiteY5486" fmla="*/ 250613 h 3690338"/>
                <a:gd name="connsiteX5487" fmla="*/ 965469 w 4878487"/>
                <a:gd name="connsiteY5487" fmla="*/ 251006 h 3690338"/>
                <a:gd name="connsiteX5488" fmla="*/ 968616 w 4878487"/>
                <a:gd name="connsiteY5488" fmla="*/ 251006 h 3690338"/>
                <a:gd name="connsiteX5489" fmla="*/ 971763 w 4878487"/>
                <a:gd name="connsiteY5489" fmla="*/ 250219 h 3690338"/>
                <a:gd name="connsiteX5490" fmla="*/ 980812 w 4878487"/>
                <a:gd name="connsiteY5490" fmla="*/ 251399 h 3690338"/>
                <a:gd name="connsiteX5491" fmla="*/ 980812 w 4878487"/>
                <a:gd name="connsiteY5491" fmla="*/ 251793 h 3690338"/>
                <a:gd name="connsiteX5492" fmla="*/ 978058 w 4878487"/>
                <a:gd name="connsiteY5492" fmla="*/ 251399 h 3690338"/>
                <a:gd name="connsiteX5493" fmla="*/ 975304 w 4878487"/>
                <a:gd name="connsiteY5493" fmla="*/ 252580 h 3690338"/>
                <a:gd name="connsiteX5494" fmla="*/ 974911 w 4878487"/>
                <a:gd name="connsiteY5494" fmla="*/ 252973 h 3690338"/>
                <a:gd name="connsiteX5495" fmla="*/ 974518 w 4878487"/>
                <a:gd name="connsiteY5495" fmla="*/ 252580 h 3690338"/>
                <a:gd name="connsiteX5496" fmla="*/ 971370 w 4878487"/>
                <a:gd name="connsiteY5496" fmla="*/ 254153 h 3690338"/>
                <a:gd name="connsiteX5497" fmla="*/ 971370 w 4878487"/>
                <a:gd name="connsiteY5497" fmla="*/ 254940 h 3690338"/>
                <a:gd name="connsiteX5498" fmla="*/ 970583 w 4878487"/>
                <a:gd name="connsiteY5498" fmla="*/ 254153 h 3690338"/>
                <a:gd name="connsiteX5499" fmla="*/ 967436 w 4878487"/>
                <a:gd name="connsiteY5499" fmla="*/ 253367 h 3690338"/>
                <a:gd name="connsiteX5500" fmla="*/ 964682 w 4878487"/>
                <a:gd name="connsiteY5500" fmla="*/ 253760 h 3690338"/>
                <a:gd name="connsiteX5501" fmla="*/ 961928 w 4878487"/>
                <a:gd name="connsiteY5501" fmla="*/ 252580 h 3690338"/>
                <a:gd name="connsiteX5502" fmla="*/ 958781 w 4878487"/>
                <a:gd name="connsiteY5502" fmla="*/ 252186 h 3690338"/>
                <a:gd name="connsiteX5503" fmla="*/ 956026 w 4878487"/>
                <a:gd name="connsiteY5503" fmla="*/ 252580 h 3690338"/>
                <a:gd name="connsiteX5504" fmla="*/ 953272 w 4878487"/>
                <a:gd name="connsiteY5504" fmla="*/ 252973 h 3690338"/>
                <a:gd name="connsiteX5505" fmla="*/ 950518 w 4878487"/>
                <a:gd name="connsiteY5505" fmla="*/ 253367 h 3690338"/>
                <a:gd name="connsiteX5506" fmla="*/ 953272 w 4878487"/>
                <a:gd name="connsiteY5506" fmla="*/ 255334 h 3690338"/>
                <a:gd name="connsiteX5507" fmla="*/ 955240 w 4878487"/>
                <a:gd name="connsiteY5507" fmla="*/ 255727 h 3690338"/>
                <a:gd name="connsiteX5508" fmla="*/ 954059 w 4878487"/>
                <a:gd name="connsiteY5508" fmla="*/ 256121 h 3690338"/>
                <a:gd name="connsiteX5509" fmla="*/ 951305 w 4878487"/>
                <a:gd name="connsiteY5509" fmla="*/ 255727 h 3690338"/>
                <a:gd name="connsiteX5510" fmla="*/ 948158 w 4878487"/>
                <a:gd name="connsiteY5510" fmla="*/ 254940 h 3690338"/>
                <a:gd name="connsiteX5511" fmla="*/ 951305 w 4878487"/>
                <a:gd name="connsiteY5511" fmla="*/ 256907 h 3690338"/>
                <a:gd name="connsiteX5512" fmla="*/ 948158 w 4878487"/>
                <a:gd name="connsiteY5512" fmla="*/ 257694 h 3690338"/>
                <a:gd name="connsiteX5513" fmla="*/ 951699 w 4878487"/>
                <a:gd name="connsiteY5513" fmla="*/ 258088 h 3690338"/>
                <a:gd name="connsiteX5514" fmla="*/ 953272 w 4878487"/>
                <a:gd name="connsiteY5514" fmla="*/ 258481 h 3690338"/>
                <a:gd name="connsiteX5515" fmla="*/ 953272 w 4878487"/>
                <a:gd name="connsiteY5515" fmla="*/ 258875 h 3690338"/>
                <a:gd name="connsiteX5516" fmla="*/ 946191 w 4878487"/>
                <a:gd name="connsiteY5516" fmla="*/ 260055 h 3690338"/>
                <a:gd name="connsiteX5517" fmla="*/ 946191 w 4878487"/>
                <a:gd name="connsiteY5517" fmla="*/ 258875 h 3690338"/>
                <a:gd name="connsiteX5518" fmla="*/ 943044 w 4878487"/>
                <a:gd name="connsiteY5518" fmla="*/ 256907 h 3690338"/>
                <a:gd name="connsiteX5519" fmla="*/ 940289 w 4878487"/>
                <a:gd name="connsiteY5519" fmla="*/ 258481 h 3690338"/>
                <a:gd name="connsiteX5520" fmla="*/ 939503 w 4878487"/>
                <a:gd name="connsiteY5520" fmla="*/ 261235 h 3690338"/>
                <a:gd name="connsiteX5521" fmla="*/ 937929 w 4878487"/>
                <a:gd name="connsiteY5521" fmla="*/ 261629 h 3690338"/>
                <a:gd name="connsiteX5522" fmla="*/ 935175 w 4878487"/>
                <a:gd name="connsiteY5522" fmla="*/ 262415 h 3690338"/>
                <a:gd name="connsiteX5523" fmla="*/ 936748 w 4878487"/>
                <a:gd name="connsiteY5523" fmla="*/ 259268 h 3690338"/>
                <a:gd name="connsiteX5524" fmla="*/ 933601 w 4878487"/>
                <a:gd name="connsiteY5524" fmla="*/ 260448 h 3690338"/>
                <a:gd name="connsiteX5525" fmla="*/ 930847 w 4878487"/>
                <a:gd name="connsiteY5525" fmla="*/ 260448 h 3690338"/>
                <a:gd name="connsiteX5526" fmla="*/ 928093 w 4878487"/>
                <a:gd name="connsiteY5526" fmla="*/ 263202 h 3690338"/>
                <a:gd name="connsiteX5527" fmla="*/ 931241 w 4878487"/>
                <a:gd name="connsiteY5527" fmla="*/ 263202 h 3690338"/>
                <a:gd name="connsiteX5528" fmla="*/ 933995 w 4878487"/>
                <a:gd name="connsiteY5528" fmla="*/ 262415 h 3690338"/>
                <a:gd name="connsiteX5529" fmla="*/ 934388 w 4878487"/>
                <a:gd name="connsiteY5529" fmla="*/ 262415 h 3690338"/>
                <a:gd name="connsiteX5530" fmla="*/ 926126 w 4878487"/>
                <a:gd name="connsiteY5530" fmla="*/ 265563 h 3690338"/>
                <a:gd name="connsiteX5531" fmla="*/ 923372 w 4878487"/>
                <a:gd name="connsiteY5531" fmla="*/ 264382 h 3690338"/>
                <a:gd name="connsiteX5532" fmla="*/ 920618 w 4878487"/>
                <a:gd name="connsiteY5532" fmla="*/ 265956 h 3690338"/>
                <a:gd name="connsiteX5533" fmla="*/ 920618 w 4878487"/>
                <a:gd name="connsiteY5533" fmla="*/ 266350 h 3690338"/>
                <a:gd name="connsiteX5534" fmla="*/ 920618 w 4878487"/>
                <a:gd name="connsiteY5534" fmla="*/ 266743 h 3690338"/>
                <a:gd name="connsiteX5535" fmla="*/ 920618 w 4878487"/>
                <a:gd name="connsiteY5535" fmla="*/ 267136 h 3690338"/>
                <a:gd name="connsiteX5536" fmla="*/ 921011 w 4878487"/>
                <a:gd name="connsiteY5536" fmla="*/ 267136 h 3690338"/>
                <a:gd name="connsiteX5537" fmla="*/ 922978 w 4878487"/>
                <a:gd name="connsiteY5537" fmla="*/ 267136 h 3690338"/>
                <a:gd name="connsiteX5538" fmla="*/ 921011 w 4878487"/>
                <a:gd name="connsiteY5538" fmla="*/ 267923 h 3690338"/>
                <a:gd name="connsiteX5539" fmla="*/ 921011 w 4878487"/>
                <a:gd name="connsiteY5539" fmla="*/ 268710 h 3690338"/>
                <a:gd name="connsiteX5540" fmla="*/ 921011 w 4878487"/>
                <a:gd name="connsiteY5540" fmla="*/ 269104 h 3690338"/>
                <a:gd name="connsiteX5541" fmla="*/ 918257 w 4878487"/>
                <a:gd name="connsiteY5541" fmla="*/ 269497 h 3690338"/>
                <a:gd name="connsiteX5542" fmla="*/ 921405 w 4878487"/>
                <a:gd name="connsiteY5542" fmla="*/ 271071 h 3690338"/>
                <a:gd name="connsiteX5543" fmla="*/ 921405 w 4878487"/>
                <a:gd name="connsiteY5543" fmla="*/ 272251 h 3690338"/>
                <a:gd name="connsiteX5544" fmla="*/ 918651 w 4878487"/>
                <a:gd name="connsiteY5544" fmla="*/ 275005 h 3690338"/>
                <a:gd name="connsiteX5545" fmla="*/ 921405 w 4878487"/>
                <a:gd name="connsiteY5545" fmla="*/ 274612 h 3690338"/>
                <a:gd name="connsiteX5546" fmla="*/ 927306 w 4878487"/>
                <a:gd name="connsiteY5546" fmla="*/ 277366 h 3690338"/>
                <a:gd name="connsiteX5547" fmla="*/ 927306 w 4878487"/>
                <a:gd name="connsiteY5547" fmla="*/ 277366 h 3690338"/>
                <a:gd name="connsiteX5548" fmla="*/ 927700 w 4878487"/>
                <a:gd name="connsiteY5548" fmla="*/ 277366 h 3690338"/>
                <a:gd name="connsiteX5549" fmla="*/ 935568 w 4878487"/>
                <a:gd name="connsiteY5549" fmla="*/ 280906 h 3690338"/>
                <a:gd name="connsiteX5550" fmla="*/ 935568 w 4878487"/>
                <a:gd name="connsiteY5550" fmla="*/ 281300 h 3690338"/>
                <a:gd name="connsiteX5551" fmla="*/ 938322 w 4878487"/>
                <a:gd name="connsiteY5551" fmla="*/ 282087 h 3690338"/>
                <a:gd name="connsiteX5552" fmla="*/ 934781 w 4878487"/>
                <a:gd name="connsiteY5552" fmla="*/ 281300 h 3690338"/>
                <a:gd name="connsiteX5553" fmla="*/ 933601 w 4878487"/>
                <a:gd name="connsiteY5553" fmla="*/ 280513 h 3690338"/>
                <a:gd name="connsiteX5554" fmla="*/ 930847 w 4878487"/>
                <a:gd name="connsiteY5554" fmla="*/ 278939 h 3690338"/>
                <a:gd name="connsiteX5555" fmla="*/ 927700 w 4878487"/>
                <a:gd name="connsiteY5555" fmla="*/ 278546 h 3690338"/>
                <a:gd name="connsiteX5556" fmla="*/ 924946 w 4878487"/>
                <a:gd name="connsiteY5556" fmla="*/ 278546 h 3690338"/>
                <a:gd name="connsiteX5557" fmla="*/ 921798 w 4878487"/>
                <a:gd name="connsiteY5557" fmla="*/ 278939 h 3690338"/>
                <a:gd name="connsiteX5558" fmla="*/ 921798 w 4878487"/>
                <a:gd name="connsiteY5558" fmla="*/ 278546 h 3690338"/>
                <a:gd name="connsiteX5559" fmla="*/ 925339 w 4878487"/>
                <a:gd name="connsiteY5559" fmla="*/ 276972 h 3690338"/>
                <a:gd name="connsiteX5560" fmla="*/ 922585 w 4878487"/>
                <a:gd name="connsiteY5560" fmla="*/ 275792 h 3690338"/>
                <a:gd name="connsiteX5561" fmla="*/ 922192 w 4878487"/>
                <a:gd name="connsiteY5561" fmla="*/ 276185 h 3690338"/>
                <a:gd name="connsiteX5562" fmla="*/ 919044 w 4878487"/>
                <a:gd name="connsiteY5562" fmla="*/ 277366 h 3690338"/>
                <a:gd name="connsiteX5563" fmla="*/ 916290 w 4878487"/>
                <a:gd name="connsiteY5563" fmla="*/ 278939 h 3690338"/>
                <a:gd name="connsiteX5564" fmla="*/ 919438 w 4878487"/>
                <a:gd name="connsiteY5564" fmla="*/ 279726 h 3690338"/>
                <a:gd name="connsiteX5565" fmla="*/ 922192 w 4878487"/>
                <a:gd name="connsiteY5565" fmla="*/ 279726 h 3690338"/>
                <a:gd name="connsiteX5566" fmla="*/ 922192 w 4878487"/>
                <a:gd name="connsiteY5566" fmla="*/ 280120 h 3690338"/>
                <a:gd name="connsiteX5567" fmla="*/ 919044 w 4878487"/>
                <a:gd name="connsiteY5567" fmla="*/ 281693 h 3690338"/>
                <a:gd name="connsiteX5568" fmla="*/ 916290 w 4878487"/>
                <a:gd name="connsiteY5568" fmla="*/ 280120 h 3690338"/>
                <a:gd name="connsiteX5569" fmla="*/ 913143 w 4878487"/>
                <a:gd name="connsiteY5569" fmla="*/ 282480 h 3690338"/>
                <a:gd name="connsiteX5570" fmla="*/ 910389 w 4878487"/>
                <a:gd name="connsiteY5570" fmla="*/ 283660 h 3690338"/>
                <a:gd name="connsiteX5571" fmla="*/ 913537 w 4878487"/>
                <a:gd name="connsiteY5571" fmla="*/ 284447 h 3690338"/>
                <a:gd name="connsiteX5572" fmla="*/ 916290 w 4878487"/>
                <a:gd name="connsiteY5572" fmla="*/ 284054 h 3690338"/>
                <a:gd name="connsiteX5573" fmla="*/ 917864 w 4878487"/>
                <a:gd name="connsiteY5573" fmla="*/ 285628 h 3690338"/>
                <a:gd name="connsiteX5574" fmla="*/ 922585 w 4878487"/>
                <a:gd name="connsiteY5574" fmla="*/ 284054 h 3690338"/>
                <a:gd name="connsiteX5575" fmla="*/ 928486 w 4878487"/>
                <a:gd name="connsiteY5575" fmla="*/ 284841 h 3690338"/>
                <a:gd name="connsiteX5576" fmla="*/ 928486 w 4878487"/>
                <a:gd name="connsiteY5576" fmla="*/ 284841 h 3690338"/>
                <a:gd name="connsiteX5577" fmla="*/ 931241 w 4878487"/>
                <a:gd name="connsiteY5577" fmla="*/ 285234 h 3690338"/>
                <a:gd name="connsiteX5578" fmla="*/ 933601 w 4878487"/>
                <a:gd name="connsiteY5578" fmla="*/ 285628 h 3690338"/>
                <a:gd name="connsiteX5579" fmla="*/ 933995 w 4878487"/>
                <a:gd name="connsiteY5579" fmla="*/ 285628 h 3690338"/>
                <a:gd name="connsiteX5580" fmla="*/ 933601 w 4878487"/>
                <a:gd name="connsiteY5580" fmla="*/ 286021 h 3690338"/>
                <a:gd name="connsiteX5581" fmla="*/ 927700 w 4878487"/>
                <a:gd name="connsiteY5581" fmla="*/ 286414 h 3690338"/>
                <a:gd name="connsiteX5582" fmla="*/ 927700 w 4878487"/>
                <a:gd name="connsiteY5582" fmla="*/ 286414 h 3690338"/>
                <a:gd name="connsiteX5583" fmla="*/ 924552 w 4878487"/>
                <a:gd name="connsiteY5583" fmla="*/ 286021 h 3690338"/>
                <a:gd name="connsiteX5584" fmla="*/ 922192 w 4878487"/>
                <a:gd name="connsiteY5584" fmla="*/ 287201 h 3690338"/>
                <a:gd name="connsiteX5585" fmla="*/ 922192 w 4878487"/>
                <a:gd name="connsiteY5585" fmla="*/ 286414 h 3690338"/>
                <a:gd name="connsiteX5586" fmla="*/ 922192 w 4878487"/>
                <a:gd name="connsiteY5586" fmla="*/ 286021 h 3690338"/>
                <a:gd name="connsiteX5587" fmla="*/ 919831 w 4878487"/>
                <a:gd name="connsiteY5587" fmla="*/ 286414 h 3690338"/>
                <a:gd name="connsiteX5588" fmla="*/ 918257 w 4878487"/>
                <a:gd name="connsiteY5588" fmla="*/ 286414 h 3690338"/>
                <a:gd name="connsiteX5589" fmla="*/ 915504 w 4878487"/>
                <a:gd name="connsiteY5589" fmla="*/ 286808 h 3690338"/>
                <a:gd name="connsiteX5590" fmla="*/ 912356 w 4878487"/>
                <a:gd name="connsiteY5590" fmla="*/ 287595 h 3690338"/>
                <a:gd name="connsiteX5591" fmla="*/ 909602 w 4878487"/>
                <a:gd name="connsiteY5591" fmla="*/ 287595 h 3690338"/>
                <a:gd name="connsiteX5592" fmla="*/ 908028 w 4878487"/>
                <a:gd name="connsiteY5592" fmla="*/ 290349 h 3690338"/>
                <a:gd name="connsiteX5593" fmla="*/ 908422 w 4878487"/>
                <a:gd name="connsiteY5593" fmla="*/ 290742 h 3690338"/>
                <a:gd name="connsiteX5594" fmla="*/ 900947 w 4878487"/>
                <a:gd name="connsiteY5594" fmla="*/ 292709 h 3690338"/>
                <a:gd name="connsiteX5595" fmla="*/ 899767 w 4878487"/>
                <a:gd name="connsiteY5595" fmla="*/ 292316 h 3690338"/>
                <a:gd name="connsiteX5596" fmla="*/ 897406 w 4878487"/>
                <a:gd name="connsiteY5596" fmla="*/ 293496 h 3690338"/>
                <a:gd name="connsiteX5597" fmla="*/ 896619 w 4878487"/>
                <a:gd name="connsiteY5597" fmla="*/ 293496 h 3690338"/>
                <a:gd name="connsiteX5598" fmla="*/ 894259 w 4878487"/>
                <a:gd name="connsiteY5598" fmla="*/ 293889 h 3690338"/>
                <a:gd name="connsiteX5599" fmla="*/ 891504 w 4878487"/>
                <a:gd name="connsiteY5599" fmla="*/ 295070 h 3690338"/>
                <a:gd name="connsiteX5600" fmla="*/ 891504 w 4878487"/>
                <a:gd name="connsiteY5600" fmla="*/ 297037 h 3690338"/>
                <a:gd name="connsiteX5601" fmla="*/ 889537 w 4878487"/>
                <a:gd name="connsiteY5601" fmla="*/ 297037 h 3690338"/>
                <a:gd name="connsiteX5602" fmla="*/ 886783 w 4878487"/>
                <a:gd name="connsiteY5602" fmla="*/ 297824 h 3690338"/>
                <a:gd name="connsiteX5603" fmla="*/ 889931 w 4878487"/>
                <a:gd name="connsiteY5603" fmla="*/ 297430 h 3690338"/>
                <a:gd name="connsiteX5604" fmla="*/ 891504 w 4878487"/>
                <a:gd name="connsiteY5604" fmla="*/ 297430 h 3690338"/>
                <a:gd name="connsiteX5605" fmla="*/ 891504 w 4878487"/>
                <a:gd name="connsiteY5605" fmla="*/ 299791 h 3690338"/>
                <a:gd name="connsiteX5606" fmla="*/ 890324 w 4878487"/>
                <a:gd name="connsiteY5606" fmla="*/ 300184 h 3690338"/>
                <a:gd name="connsiteX5607" fmla="*/ 887964 w 4878487"/>
                <a:gd name="connsiteY5607" fmla="*/ 300184 h 3690338"/>
                <a:gd name="connsiteX5608" fmla="*/ 885210 w 4878487"/>
                <a:gd name="connsiteY5608" fmla="*/ 300578 h 3690338"/>
                <a:gd name="connsiteX5609" fmla="*/ 887964 w 4878487"/>
                <a:gd name="connsiteY5609" fmla="*/ 300971 h 3690338"/>
                <a:gd name="connsiteX5610" fmla="*/ 886783 w 4878487"/>
                <a:gd name="connsiteY5610" fmla="*/ 301758 h 3690338"/>
                <a:gd name="connsiteX5611" fmla="*/ 886390 w 4878487"/>
                <a:gd name="connsiteY5611" fmla="*/ 301758 h 3690338"/>
                <a:gd name="connsiteX5612" fmla="*/ 883242 w 4878487"/>
                <a:gd name="connsiteY5612" fmla="*/ 302151 h 3690338"/>
                <a:gd name="connsiteX5613" fmla="*/ 884423 w 4878487"/>
                <a:gd name="connsiteY5613" fmla="*/ 303332 h 3690338"/>
                <a:gd name="connsiteX5614" fmla="*/ 880489 w 4878487"/>
                <a:gd name="connsiteY5614" fmla="*/ 305692 h 3690338"/>
                <a:gd name="connsiteX5615" fmla="*/ 880095 w 4878487"/>
                <a:gd name="connsiteY5615" fmla="*/ 306479 h 3690338"/>
                <a:gd name="connsiteX5616" fmla="*/ 882849 w 4878487"/>
                <a:gd name="connsiteY5616" fmla="*/ 308840 h 3690338"/>
                <a:gd name="connsiteX5617" fmla="*/ 880489 w 4878487"/>
                <a:gd name="connsiteY5617" fmla="*/ 311594 h 3690338"/>
                <a:gd name="connsiteX5618" fmla="*/ 883636 w 4878487"/>
                <a:gd name="connsiteY5618" fmla="*/ 311987 h 3690338"/>
                <a:gd name="connsiteX5619" fmla="*/ 886783 w 4878487"/>
                <a:gd name="connsiteY5619" fmla="*/ 311594 h 3690338"/>
                <a:gd name="connsiteX5620" fmla="*/ 889931 w 4878487"/>
                <a:gd name="connsiteY5620" fmla="*/ 311987 h 3690338"/>
                <a:gd name="connsiteX5621" fmla="*/ 887177 w 4878487"/>
                <a:gd name="connsiteY5621" fmla="*/ 312381 h 3690338"/>
                <a:gd name="connsiteX5622" fmla="*/ 884030 w 4878487"/>
                <a:gd name="connsiteY5622" fmla="*/ 312774 h 3690338"/>
                <a:gd name="connsiteX5623" fmla="*/ 881275 w 4878487"/>
                <a:gd name="connsiteY5623" fmla="*/ 315528 h 3690338"/>
                <a:gd name="connsiteX5624" fmla="*/ 884423 w 4878487"/>
                <a:gd name="connsiteY5624" fmla="*/ 314741 h 3690338"/>
                <a:gd name="connsiteX5625" fmla="*/ 887570 w 4878487"/>
                <a:gd name="connsiteY5625" fmla="*/ 313561 h 3690338"/>
                <a:gd name="connsiteX5626" fmla="*/ 890718 w 4878487"/>
                <a:gd name="connsiteY5626" fmla="*/ 313167 h 3690338"/>
                <a:gd name="connsiteX5627" fmla="*/ 893471 w 4878487"/>
                <a:gd name="connsiteY5627" fmla="*/ 313561 h 3690338"/>
                <a:gd name="connsiteX5628" fmla="*/ 896226 w 4878487"/>
                <a:gd name="connsiteY5628" fmla="*/ 313167 h 3690338"/>
                <a:gd name="connsiteX5629" fmla="*/ 898979 w 4878487"/>
                <a:gd name="connsiteY5629" fmla="*/ 312774 h 3690338"/>
                <a:gd name="connsiteX5630" fmla="*/ 902127 w 4878487"/>
                <a:gd name="connsiteY5630" fmla="*/ 311594 h 3690338"/>
                <a:gd name="connsiteX5631" fmla="*/ 905274 w 4878487"/>
                <a:gd name="connsiteY5631" fmla="*/ 310807 h 3690338"/>
                <a:gd name="connsiteX5632" fmla="*/ 903307 w 4878487"/>
                <a:gd name="connsiteY5632" fmla="*/ 312381 h 3690338"/>
                <a:gd name="connsiteX5633" fmla="*/ 900947 w 4878487"/>
                <a:gd name="connsiteY5633" fmla="*/ 313561 h 3690338"/>
                <a:gd name="connsiteX5634" fmla="*/ 898193 w 4878487"/>
                <a:gd name="connsiteY5634" fmla="*/ 314348 h 3690338"/>
                <a:gd name="connsiteX5635" fmla="*/ 895045 w 4878487"/>
                <a:gd name="connsiteY5635" fmla="*/ 315921 h 3690338"/>
                <a:gd name="connsiteX5636" fmla="*/ 897012 w 4878487"/>
                <a:gd name="connsiteY5636" fmla="*/ 316315 h 3690338"/>
                <a:gd name="connsiteX5637" fmla="*/ 894652 w 4878487"/>
                <a:gd name="connsiteY5637" fmla="*/ 315921 h 3690338"/>
                <a:gd name="connsiteX5638" fmla="*/ 893865 w 4878487"/>
                <a:gd name="connsiteY5638" fmla="*/ 316315 h 3690338"/>
                <a:gd name="connsiteX5639" fmla="*/ 891111 w 4878487"/>
                <a:gd name="connsiteY5639" fmla="*/ 315921 h 3690338"/>
                <a:gd name="connsiteX5640" fmla="*/ 890324 w 4878487"/>
                <a:gd name="connsiteY5640" fmla="*/ 313954 h 3690338"/>
                <a:gd name="connsiteX5641" fmla="*/ 887177 w 4878487"/>
                <a:gd name="connsiteY5641" fmla="*/ 313954 h 3690338"/>
                <a:gd name="connsiteX5642" fmla="*/ 884423 w 4878487"/>
                <a:gd name="connsiteY5642" fmla="*/ 315528 h 3690338"/>
                <a:gd name="connsiteX5643" fmla="*/ 884030 w 4878487"/>
                <a:gd name="connsiteY5643" fmla="*/ 315528 h 3690338"/>
                <a:gd name="connsiteX5644" fmla="*/ 880882 w 4878487"/>
                <a:gd name="connsiteY5644" fmla="*/ 316315 h 3690338"/>
                <a:gd name="connsiteX5645" fmla="*/ 878128 w 4878487"/>
                <a:gd name="connsiteY5645" fmla="*/ 316708 h 3690338"/>
                <a:gd name="connsiteX5646" fmla="*/ 876161 w 4878487"/>
                <a:gd name="connsiteY5646" fmla="*/ 318675 h 3690338"/>
                <a:gd name="connsiteX5647" fmla="*/ 872620 w 4878487"/>
                <a:gd name="connsiteY5647" fmla="*/ 319856 h 3690338"/>
                <a:gd name="connsiteX5648" fmla="*/ 874981 w 4878487"/>
                <a:gd name="connsiteY5648" fmla="*/ 321036 h 3690338"/>
                <a:gd name="connsiteX5649" fmla="*/ 873800 w 4878487"/>
                <a:gd name="connsiteY5649" fmla="*/ 320642 h 3690338"/>
                <a:gd name="connsiteX5650" fmla="*/ 871833 w 4878487"/>
                <a:gd name="connsiteY5650" fmla="*/ 320249 h 3690338"/>
                <a:gd name="connsiteX5651" fmla="*/ 868686 w 4878487"/>
                <a:gd name="connsiteY5651" fmla="*/ 321429 h 3690338"/>
                <a:gd name="connsiteX5652" fmla="*/ 866325 w 4878487"/>
                <a:gd name="connsiteY5652" fmla="*/ 324577 h 3690338"/>
                <a:gd name="connsiteX5653" fmla="*/ 869079 w 4878487"/>
                <a:gd name="connsiteY5653" fmla="*/ 324183 h 3690338"/>
                <a:gd name="connsiteX5654" fmla="*/ 869866 w 4878487"/>
                <a:gd name="connsiteY5654" fmla="*/ 323790 h 3690338"/>
                <a:gd name="connsiteX5655" fmla="*/ 873407 w 4878487"/>
                <a:gd name="connsiteY5655" fmla="*/ 322216 h 3690338"/>
                <a:gd name="connsiteX5656" fmla="*/ 875767 w 4878487"/>
                <a:gd name="connsiteY5656" fmla="*/ 321823 h 3690338"/>
                <a:gd name="connsiteX5657" fmla="*/ 877341 w 4878487"/>
                <a:gd name="connsiteY5657" fmla="*/ 322610 h 3690338"/>
                <a:gd name="connsiteX5658" fmla="*/ 874981 w 4878487"/>
                <a:gd name="connsiteY5658" fmla="*/ 322216 h 3690338"/>
                <a:gd name="connsiteX5659" fmla="*/ 872227 w 4878487"/>
                <a:gd name="connsiteY5659" fmla="*/ 323790 h 3690338"/>
                <a:gd name="connsiteX5660" fmla="*/ 871833 w 4878487"/>
                <a:gd name="connsiteY5660" fmla="*/ 326937 h 3690338"/>
                <a:gd name="connsiteX5661" fmla="*/ 871046 w 4878487"/>
                <a:gd name="connsiteY5661" fmla="*/ 329691 h 3690338"/>
                <a:gd name="connsiteX5662" fmla="*/ 873800 w 4878487"/>
                <a:gd name="connsiteY5662" fmla="*/ 332052 h 3690338"/>
                <a:gd name="connsiteX5663" fmla="*/ 871046 w 4878487"/>
                <a:gd name="connsiteY5663" fmla="*/ 330478 h 3690338"/>
                <a:gd name="connsiteX5664" fmla="*/ 868292 w 4878487"/>
                <a:gd name="connsiteY5664" fmla="*/ 329298 h 3690338"/>
                <a:gd name="connsiteX5665" fmla="*/ 865538 w 4878487"/>
                <a:gd name="connsiteY5665" fmla="*/ 332052 h 3690338"/>
                <a:gd name="connsiteX5666" fmla="*/ 867505 w 4878487"/>
                <a:gd name="connsiteY5666" fmla="*/ 335199 h 3690338"/>
                <a:gd name="connsiteX5667" fmla="*/ 870260 w 4878487"/>
                <a:gd name="connsiteY5667" fmla="*/ 334412 h 3690338"/>
                <a:gd name="connsiteX5668" fmla="*/ 871833 w 4878487"/>
                <a:gd name="connsiteY5668" fmla="*/ 337166 h 3690338"/>
                <a:gd name="connsiteX5669" fmla="*/ 872227 w 4878487"/>
                <a:gd name="connsiteY5669" fmla="*/ 337166 h 3690338"/>
                <a:gd name="connsiteX5670" fmla="*/ 871833 w 4878487"/>
                <a:gd name="connsiteY5670" fmla="*/ 337953 h 3690338"/>
                <a:gd name="connsiteX5671" fmla="*/ 870653 w 4878487"/>
                <a:gd name="connsiteY5671" fmla="*/ 338347 h 3690338"/>
                <a:gd name="connsiteX5672" fmla="*/ 867505 w 4878487"/>
                <a:gd name="connsiteY5672" fmla="*/ 337953 h 3690338"/>
                <a:gd name="connsiteX5673" fmla="*/ 865932 w 4878487"/>
                <a:gd name="connsiteY5673" fmla="*/ 334806 h 3690338"/>
                <a:gd name="connsiteX5674" fmla="*/ 863178 w 4878487"/>
                <a:gd name="connsiteY5674" fmla="*/ 334806 h 3690338"/>
                <a:gd name="connsiteX5675" fmla="*/ 862784 w 4878487"/>
                <a:gd name="connsiteY5675" fmla="*/ 337560 h 3690338"/>
                <a:gd name="connsiteX5676" fmla="*/ 860424 w 4878487"/>
                <a:gd name="connsiteY5676" fmla="*/ 340707 h 3690338"/>
                <a:gd name="connsiteX5677" fmla="*/ 861604 w 4878487"/>
                <a:gd name="connsiteY5677" fmla="*/ 343461 h 3690338"/>
                <a:gd name="connsiteX5678" fmla="*/ 864752 w 4878487"/>
                <a:gd name="connsiteY5678" fmla="*/ 341101 h 3690338"/>
                <a:gd name="connsiteX5679" fmla="*/ 867505 w 4878487"/>
                <a:gd name="connsiteY5679" fmla="*/ 341101 h 3690338"/>
                <a:gd name="connsiteX5680" fmla="*/ 865932 w 4878487"/>
                <a:gd name="connsiteY5680" fmla="*/ 343855 h 3690338"/>
                <a:gd name="connsiteX5681" fmla="*/ 866719 w 4878487"/>
                <a:gd name="connsiteY5681" fmla="*/ 344248 h 3690338"/>
                <a:gd name="connsiteX5682" fmla="*/ 865932 w 4878487"/>
                <a:gd name="connsiteY5682" fmla="*/ 345428 h 3690338"/>
                <a:gd name="connsiteX5683" fmla="*/ 864358 w 4878487"/>
                <a:gd name="connsiteY5683" fmla="*/ 346609 h 3690338"/>
                <a:gd name="connsiteX5684" fmla="*/ 863571 w 4878487"/>
                <a:gd name="connsiteY5684" fmla="*/ 345035 h 3690338"/>
                <a:gd name="connsiteX5685" fmla="*/ 860817 w 4878487"/>
                <a:gd name="connsiteY5685" fmla="*/ 345428 h 3690338"/>
                <a:gd name="connsiteX5686" fmla="*/ 859637 w 4878487"/>
                <a:gd name="connsiteY5686" fmla="*/ 348182 h 3690338"/>
                <a:gd name="connsiteX5687" fmla="*/ 856490 w 4878487"/>
                <a:gd name="connsiteY5687" fmla="*/ 346609 h 3690338"/>
                <a:gd name="connsiteX5688" fmla="*/ 853735 w 4878487"/>
                <a:gd name="connsiteY5688" fmla="*/ 348576 h 3690338"/>
                <a:gd name="connsiteX5689" fmla="*/ 856490 w 4878487"/>
                <a:gd name="connsiteY5689" fmla="*/ 348576 h 3690338"/>
                <a:gd name="connsiteX5690" fmla="*/ 857276 w 4878487"/>
                <a:gd name="connsiteY5690" fmla="*/ 348969 h 3690338"/>
                <a:gd name="connsiteX5691" fmla="*/ 849408 w 4878487"/>
                <a:gd name="connsiteY5691" fmla="*/ 351330 h 3690338"/>
                <a:gd name="connsiteX5692" fmla="*/ 852162 w 4878487"/>
                <a:gd name="connsiteY5692" fmla="*/ 351330 h 3690338"/>
                <a:gd name="connsiteX5693" fmla="*/ 849801 w 4878487"/>
                <a:gd name="connsiteY5693" fmla="*/ 352117 h 3690338"/>
                <a:gd name="connsiteX5694" fmla="*/ 846654 w 4878487"/>
                <a:gd name="connsiteY5694" fmla="*/ 352510 h 3690338"/>
                <a:gd name="connsiteX5695" fmla="*/ 849408 w 4878487"/>
                <a:gd name="connsiteY5695" fmla="*/ 352903 h 3690338"/>
                <a:gd name="connsiteX5696" fmla="*/ 846260 w 4878487"/>
                <a:gd name="connsiteY5696" fmla="*/ 352903 h 3690338"/>
                <a:gd name="connsiteX5697" fmla="*/ 843506 w 4878487"/>
                <a:gd name="connsiteY5697" fmla="*/ 353690 h 3690338"/>
                <a:gd name="connsiteX5698" fmla="*/ 846654 w 4878487"/>
                <a:gd name="connsiteY5698" fmla="*/ 354084 h 3690338"/>
                <a:gd name="connsiteX5699" fmla="*/ 850194 w 4878487"/>
                <a:gd name="connsiteY5699" fmla="*/ 353297 h 3690338"/>
                <a:gd name="connsiteX5700" fmla="*/ 847441 w 4878487"/>
                <a:gd name="connsiteY5700" fmla="*/ 354477 h 3690338"/>
                <a:gd name="connsiteX5701" fmla="*/ 844293 w 4878487"/>
                <a:gd name="connsiteY5701" fmla="*/ 354477 h 3690338"/>
                <a:gd name="connsiteX5702" fmla="*/ 841146 w 4878487"/>
                <a:gd name="connsiteY5702" fmla="*/ 355657 h 3690338"/>
                <a:gd name="connsiteX5703" fmla="*/ 844293 w 4878487"/>
                <a:gd name="connsiteY5703" fmla="*/ 356444 h 3690338"/>
                <a:gd name="connsiteX5704" fmla="*/ 841539 w 4878487"/>
                <a:gd name="connsiteY5704" fmla="*/ 358018 h 3690338"/>
                <a:gd name="connsiteX5705" fmla="*/ 844293 w 4878487"/>
                <a:gd name="connsiteY5705" fmla="*/ 357625 h 3690338"/>
                <a:gd name="connsiteX5706" fmla="*/ 847441 w 4878487"/>
                <a:gd name="connsiteY5706" fmla="*/ 356051 h 3690338"/>
                <a:gd name="connsiteX5707" fmla="*/ 850194 w 4878487"/>
                <a:gd name="connsiteY5707" fmla="*/ 354477 h 3690338"/>
                <a:gd name="connsiteX5708" fmla="*/ 852949 w 4878487"/>
                <a:gd name="connsiteY5708" fmla="*/ 353297 h 3690338"/>
                <a:gd name="connsiteX5709" fmla="*/ 856096 w 4878487"/>
                <a:gd name="connsiteY5709" fmla="*/ 352510 h 3690338"/>
                <a:gd name="connsiteX5710" fmla="*/ 852949 w 4878487"/>
                <a:gd name="connsiteY5710" fmla="*/ 353690 h 3690338"/>
                <a:gd name="connsiteX5711" fmla="*/ 849801 w 4878487"/>
                <a:gd name="connsiteY5711" fmla="*/ 355657 h 3690338"/>
                <a:gd name="connsiteX5712" fmla="*/ 850588 w 4878487"/>
                <a:gd name="connsiteY5712" fmla="*/ 356051 h 3690338"/>
                <a:gd name="connsiteX5713" fmla="*/ 850194 w 4878487"/>
                <a:gd name="connsiteY5713" fmla="*/ 357625 h 3690338"/>
                <a:gd name="connsiteX5714" fmla="*/ 848621 w 4878487"/>
                <a:gd name="connsiteY5714" fmla="*/ 358018 h 3690338"/>
                <a:gd name="connsiteX5715" fmla="*/ 845867 w 4878487"/>
                <a:gd name="connsiteY5715" fmla="*/ 358805 h 3690338"/>
                <a:gd name="connsiteX5716" fmla="*/ 845474 w 4878487"/>
                <a:gd name="connsiteY5716" fmla="*/ 361559 h 3690338"/>
                <a:gd name="connsiteX5717" fmla="*/ 848621 w 4878487"/>
                <a:gd name="connsiteY5717" fmla="*/ 361952 h 3690338"/>
                <a:gd name="connsiteX5718" fmla="*/ 849408 w 4878487"/>
                <a:gd name="connsiteY5718" fmla="*/ 361952 h 3690338"/>
                <a:gd name="connsiteX5719" fmla="*/ 849014 w 4878487"/>
                <a:gd name="connsiteY5719" fmla="*/ 363133 h 3690338"/>
                <a:gd name="connsiteX5720" fmla="*/ 848621 w 4878487"/>
                <a:gd name="connsiteY5720" fmla="*/ 363133 h 3690338"/>
                <a:gd name="connsiteX5721" fmla="*/ 848227 w 4878487"/>
                <a:gd name="connsiteY5721" fmla="*/ 365886 h 3690338"/>
                <a:gd name="connsiteX5722" fmla="*/ 850982 w 4878487"/>
                <a:gd name="connsiteY5722" fmla="*/ 365493 h 3690338"/>
                <a:gd name="connsiteX5723" fmla="*/ 848227 w 4878487"/>
                <a:gd name="connsiteY5723" fmla="*/ 365886 h 3690338"/>
                <a:gd name="connsiteX5724" fmla="*/ 839965 w 4878487"/>
                <a:gd name="connsiteY5724" fmla="*/ 365100 h 3690338"/>
                <a:gd name="connsiteX5725" fmla="*/ 837605 w 4878487"/>
                <a:gd name="connsiteY5725" fmla="*/ 362739 h 3690338"/>
                <a:gd name="connsiteX5726" fmla="*/ 834457 w 4878487"/>
                <a:gd name="connsiteY5726" fmla="*/ 361165 h 3690338"/>
                <a:gd name="connsiteX5727" fmla="*/ 834457 w 4878487"/>
                <a:gd name="connsiteY5727" fmla="*/ 363919 h 3690338"/>
                <a:gd name="connsiteX5728" fmla="*/ 831310 w 4878487"/>
                <a:gd name="connsiteY5728" fmla="*/ 363919 h 3690338"/>
                <a:gd name="connsiteX5729" fmla="*/ 830130 w 4878487"/>
                <a:gd name="connsiteY5729" fmla="*/ 366673 h 3690338"/>
                <a:gd name="connsiteX5730" fmla="*/ 826983 w 4878487"/>
                <a:gd name="connsiteY5730" fmla="*/ 367460 h 3690338"/>
                <a:gd name="connsiteX5731" fmla="*/ 823835 w 4878487"/>
                <a:gd name="connsiteY5731" fmla="*/ 368247 h 3690338"/>
                <a:gd name="connsiteX5732" fmla="*/ 821081 w 4878487"/>
                <a:gd name="connsiteY5732" fmla="*/ 370608 h 3690338"/>
                <a:gd name="connsiteX5733" fmla="*/ 821081 w 4878487"/>
                <a:gd name="connsiteY5733" fmla="*/ 372181 h 3690338"/>
                <a:gd name="connsiteX5734" fmla="*/ 819508 w 4878487"/>
                <a:gd name="connsiteY5734" fmla="*/ 373362 h 3690338"/>
                <a:gd name="connsiteX5735" fmla="*/ 817934 w 4878487"/>
                <a:gd name="connsiteY5735" fmla="*/ 373362 h 3690338"/>
                <a:gd name="connsiteX5736" fmla="*/ 817934 w 4878487"/>
                <a:gd name="connsiteY5736" fmla="*/ 374935 h 3690338"/>
                <a:gd name="connsiteX5737" fmla="*/ 816360 w 4878487"/>
                <a:gd name="connsiteY5737" fmla="*/ 376116 h 3690338"/>
                <a:gd name="connsiteX5738" fmla="*/ 814786 w 4878487"/>
                <a:gd name="connsiteY5738" fmla="*/ 376116 h 3690338"/>
                <a:gd name="connsiteX5739" fmla="*/ 812426 w 4878487"/>
                <a:gd name="connsiteY5739" fmla="*/ 378870 h 3690338"/>
                <a:gd name="connsiteX5740" fmla="*/ 811639 w 4878487"/>
                <a:gd name="connsiteY5740" fmla="*/ 380050 h 3690338"/>
                <a:gd name="connsiteX5741" fmla="*/ 811639 w 4878487"/>
                <a:gd name="connsiteY5741" fmla="*/ 380443 h 3690338"/>
                <a:gd name="connsiteX5742" fmla="*/ 811639 w 4878487"/>
                <a:gd name="connsiteY5742" fmla="*/ 381624 h 3690338"/>
                <a:gd name="connsiteX5743" fmla="*/ 811639 w 4878487"/>
                <a:gd name="connsiteY5743" fmla="*/ 382017 h 3690338"/>
                <a:gd name="connsiteX5744" fmla="*/ 811639 w 4878487"/>
                <a:gd name="connsiteY5744" fmla="*/ 382410 h 3690338"/>
                <a:gd name="connsiteX5745" fmla="*/ 811246 w 4878487"/>
                <a:gd name="connsiteY5745" fmla="*/ 382804 h 3690338"/>
                <a:gd name="connsiteX5746" fmla="*/ 808491 w 4878487"/>
                <a:gd name="connsiteY5746" fmla="*/ 383197 h 3690338"/>
                <a:gd name="connsiteX5747" fmla="*/ 805738 w 4878487"/>
                <a:gd name="connsiteY5747" fmla="*/ 384771 h 3690338"/>
                <a:gd name="connsiteX5748" fmla="*/ 802590 w 4878487"/>
                <a:gd name="connsiteY5748" fmla="*/ 386345 h 3690338"/>
                <a:gd name="connsiteX5749" fmla="*/ 805738 w 4878487"/>
                <a:gd name="connsiteY5749" fmla="*/ 386738 h 3690338"/>
                <a:gd name="connsiteX5750" fmla="*/ 802983 w 4878487"/>
                <a:gd name="connsiteY5750" fmla="*/ 389492 h 3690338"/>
                <a:gd name="connsiteX5751" fmla="*/ 806131 w 4878487"/>
                <a:gd name="connsiteY5751" fmla="*/ 388312 h 3690338"/>
                <a:gd name="connsiteX5752" fmla="*/ 808885 w 4878487"/>
                <a:gd name="connsiteY5752" fmla="*/ 387918 h 3690338"/>
                <a:gd name="connsiteX5753" fmla="*/ 812032 w 4878487"/>
                <a:gd name="connsiteY5753" fmla="*/ 386738 h 3690338"/>
                <a:gd name="connsiteX5754" fmla="*/ 812032 w 4878487"/>
                <a:gd name="connsiteY5754" fmla="*/ 387918 h 3690338"/>
                <a:gd name="connsiteX5755" fmla="*/ 811639 w 4878487"/>
                <a:gd name="connsiteY5755" fmla="*/ 388312 h 3690338"/>
                <a:gd name="connsiteX5756" fmla="*/ 808885 w 4878487"/>
                <a:gd name="connsiteY5756" fmla="*/ 388705 h 3690338"/>
                <a:gd name="connsiteX5757" fmla="*/ 810852 w 4878487"/>
                <a:gd name="connsiteY5757" fmla="*/ 391853 h 3690338"/>
                <a:gd name="connsiteX5758" fmla="*/ 812426 w 4878487"/>
                <a:gd name="connsiteY5758" fmla="*/ 394607 h 3690338"/>
                <a:gd name="connsiteX5759" fmla="*/ 815180 w 4878487"/>
                <a:gd name="connsiteY5759" fmla="*/ 394607 h 3690338"/>
                <a:gd name="connsiteX5760" fmla="*/ 817147 w 4878487"/>
                <a:gd name="connsiteY5760" fmla="*/ 393426 h 3690338"/>
                <a:gd name="connsiteX5761" fmla="*/ 818327 w 4878487"/>
                <a:gd name="connsiteY5761" fmla="*/ 392639 h 3690338"/>
                <a:gd name="connsiteX5762" fmla="*/ 821081 w 4878487"/>
                <a:gd name="connsiteY5762" fmla="*/ 392246 h 3690338"/>
                <a:gd name="connsiteX5763" fmla="*/ 824228 w 4878487"/>
                <a:gd name="connsiteY5763" fmla="*/ 391066 h 3690338"/>
                <a:gd name="connsiteX5764" fmla="*/ 827376 w 4878487"/>
                <a:gd name="connsiteY5764" fmla="*/ 389099 h 3690338"/>
                <a:gd name="connsiteX5765" fmla="*/ 830523 w 4878487"/>
                <a:gd name="connsiteY5765" fmla="*/ 387525 h 3690338"/>
                <a:gd name="connsiteX5766" fmla="*/ 833671 w 4878487"/>
                <a:gd name="connsiteY5766" fmla="*/ 387131 h 3690338"/>
                <a:gd name="connsiteX5767" fmla="*/ 836425 w 4878487"/>
                <a:gd name="connsiteY5767" fmla="*/ 384771 h 3690338"/>
                <a:gd name="connsiteX5768" fmla="*/ 836031 w 4878487"/>
                <a:gd name="connsiteY5768" fmla="*/ 383984 h 3690338"/>
                <a:gd name="connsiteX5769" fmla="*/ 840753 w 4878487"/>
                <a:gd name="connsiteY5769" fmla="*/ 381624 h 3690338"/>
                <a:gd name="connsiteX5770" fmla="*/ 839965 w 4878487"/>
                <a:gd name="connsiteY5770" fmla="*/ 383197 h 3690338"/>
                <a:gd name="connsiteX5771" fmla="*/ 843113 w 4878487"/>
                <a:gd name="connsiteY5771" fmla="*/ 382804 h 3690338"/>
                <a:gd name="connsiteX5772" fmla="*/ 843113 w 4878487"/>
                <a:gd name="connsiteY5772" fmla="*/ 383197 h 3690338"/>
                <a:gd name="connsiteX5773" fmla="*/ 839965 w 4878487"/>
                <a:gd name="connsiteY5773" fmla="*/ 386738 h 3690338"/>
                <a:gd name="connsiteX5774" fmla="*/ 837998 w 4878487"/>
                <a:gd name="connsiteY5774" fmla="*/ 387525 h 3690338"/>
                <a:gd name="connsiteX5775" fmla="*/ 835245 w 4878487"/>
                <a:gd name="connsiteY5775" fmla="*/ 387918 h 3690338"/>
                <a:gd name="connsiteX5776" fmla="*/ 832490 w 4878487"/>
                <a:gd name="connsiteY5776" fmla="*/ 389492 h 3690338"/>
                <a:gd name="connsiteX5777" fmla="*/ 828163 w 4878487"/>
                <a:gd name="connsiteY5777" fmla="*/ 392639 h 3690338"/>
                <a:gd name="connsiteX5778" fmla="*/ 831310 w 4878487"/>
                <a:gd name="connsiteY5778" fmla="*/ 391459 h 3690338"/>
                <a:gd name="connsiteX5779" fmla="*/ 834064 w 4878487"/>
                <a:gd name="connsiteY5779" fmla="*/ 391853 h 3690338"/>
                <a:gd name="connsiteX5780" fmla="*/ 831310 w 4878487"/>
                <a:gd name="connsiteY5780" fmla="*/ 392246 h 3690338"/>
                <a:gd name="connsiteX5781" fmla="*/ 832490 w 4878487"/>
                <a:gd name="connsiteY5781" fmla="*/ 395000 h 3690338"/>
                <a:gd name="connsiteX5782" fmla="*/ 829343 w 4878487"/>
                <a:gd name="connsiteY5782" fmla="*/ 395000 h 3690338"/>
                <a:gd name="connsiteX5783" fmla="*/ 828556 w 4878487"/>
                <a:gd name="connsiteY5783" fmla="*/ 395000 h 3690338"/>
                <a:gd name="connsiteX5784" fmla="*/ 825802 w 4878487"/>
                <a:gd name="connsiteY5784" fmla="*/ 395393 h 3690338"/>
                <a:gd name="connsiteX5785" fmla="*/ 822261 w 4878487"/>
                <a:gd name="connsiteY5785" fmla="*/ 395787 h 3690338"/>
                <a:gd name="connsiteX5786" fmla="*/ 821475 w 4878487"/>
                <a:gd name="connsiteY5786" fmla="*/ 395393 h 3690338"/>
                <a:gd name="connsiteX5787" fmla="*/ 818720 w 4878487"/>
                <a:gd name="connsiteY5787" fmla="*/ 395000 h 3690338"/>
                <a:gd name="connsiteX5788" fmla="*/ 815180 w 4878487"/>
                <a:gd name="connsiteY5788" fmla="*/ 397361 h 3690338"/>
                <a:gd name="connsiteX5789" fmla="*/ 815967 w 4878487"/>
                <a:gd name="connsiteY5789" fmla="*/ 397754 h 3690338"/>
                <a:gd name="connsiteX5790" fmla="*/ 812819 w 4878487"/>
                <a:gd name="connsiteY5790" fmla="*/ 398541 h 3690338"/>
                <a:gd name="connsiteX5791" fmla="*/ 809279 w 4878487"/>
                <a:gd name="connsiteY5791" fmla="*/ 399328 h 3690338"/>
                <a:gd name="connsiteX5792" fmla="*/ 812032 w 4878487"/>
                <a:gd name="connsiteY5792" fmla="*/ 396967 h 3690338"/>
                <a:gd name="connsiteX5793" fmla="*/ 812426 w 4878487"/>
                <a:gd name="connsiteY5793" fmla="*/ 396574 h 3690338"/>
                <a:gd name="connsiteX5794" fmla="*/ 812426 w 4878487"/>
                <a:gd name="connsiteY5794" fmla="*/ 395393 h 3690338"/>
                <a:gd name="connsiteX5795" fmla="*/ 812032 w 4878487"/>
                <a:gd name="connsiteY5795" fmla="*/ 395393 h 3690338"/>
                <a:gd name="connsiteX5796" fmla="*/ 806524 w 4878487"/>
                <a:gd name="connsiteY5796" fmla="*/ 389886 h 3690338"/>
                <a:gd name="connsiteX5797" fmla="*/ 803770 w 4878487"/>
                <a:gd name="connsiteY5797" fmla="*/ 392639 h 3690338"/>
                <a:gd name="connsiteX5798" fmla="*/ 801016 w 4878487"/>
                <a:gd name="connsiteY5798" fmla="*/ 392246 h 3690338"/>
                <a:gd name="connsiteX5799" fmla="*/ 797869 w 4878487"/>
                <a:gd name="connsiteY5799" fmla="*/ 393033 h 3690338"/>
                <a:gd name="connsiteX5800" fmla="*/ 794721 w 4878487"/>
                <a:gd name="connsiteY5800" fmla="*/ 394607 h 3690338"/>
                <a:gd name="connsiteX5801" fmla="*/ 797476 w 4878487"/>
                <a:gd name="connsiteY5801" fmla="*/ 394213 h 3690338"/>
                <a:gd name="connsiteX5802" fmla="*/ 800623 w 4878487"/>
                <a:gd name="connsiteY5802" fmla="*/ 394607 h 3690338"/>
                <a:gd name="connsiteX5803" fmla="*/ 797869 w 4878487"/>
                <a:gd name="connsiteY5803" fmla="*/ 395000 h 3690338"/>
                <a:gd name="connsiteX5804" fmla="*/ 797082 w 4878487"/>
                <a:gd name="connsiteY5804" fmla="*/ 395393 h 3690338"/>
                <a:gd name="connsiteX5805" fmla="*/ 792361 w 4878487"/>
                <a:gd name="connsiteY5805" fmla="*/ 395393 h 3690338"/>
                <a:gd name="connsiteX5806" fmla="*/ 790787 w 4878487"/>
                <a:gd name="connsiteY5806" fmla="*/ 394607 h 3690338"/>
                <a:gd name="connsiteX5807" fmla="*/ 789213 w 4878487"/>
                <a:gd name="connsiteY5807" fmla="*/ 395787 h 3690338"/>
                <a:gd name="connsiteX5808" fmla="*/ 784886 w 4878487"/>
                <a:gd name="connsiteY5808" fmla="*/ 395787 h 3690338"/>
                <a:gd name="connsiteX5809" fmla="*/ 783312 w 4878487"/>
                <a:gd name="connsiteY5809" fmla="*/ 398147 h 3690338"/>
                <a:gd name="connsiteX5810" fmla="*/ 780558 w 4878487"/>
                <a:gd name="connsiteY5810" fmla="*/ 400901 h 3690338"/>
                <a:gd name="connsiteX5811" fmla="*/ 783312 w 4878487"/>
                <a:gd name="connsiteY5811" fmla="*/ 402082 h 3690338"/>
                <a:gd name="connsiteX5812" fmla="*/ 786460 w 4878487"/>
                <a:gd name="connsiteY5812" fmla="*/ 402082 h 3690338"/>
                <a:gd name="connsiteX5813" fmla="*/ 784886 w 4878487"/>
                <a:gd name="connsiteY5813" fmla="*/ 402475 h 3690338"/>
                <a:gd name="connsiteX5814" fmla="*/ 781739 w 4878487"/>
                <a:gd name="connsiteY5814" fmla="*/ 402869 h 3690338"/>
                <a:gd name="connsiteX5815" fmla="*/ 778591 w 4878487"/>
                <a:gd name="connsiteY5815" fmla="*/ 404049 h 3690338"/>
                <a:gd name="connsiteX5816" fmla="*/ 775443 w 4878487"/>
                <a:gd name="connsiteY5816" fmla="*/ 403655 h 3690338"/>
                <a:gd name="connsiteX5817" fmla="*/ 772296 w 4878487"/>
                <a:gd name="connsiteY5817" fmla="*/ 403655 h 3690338"/>
                <a:gd name="connsiteX5818" fmla="*/ 772296 w 4878487"/>
                <a:gd name="connsiteY5818" fmla="*/ 406803 h 3690338"/>
                <a:gd name="connsiteX5819" fmla="*/ 775050 w 4878487"/>
                <a:gd name="connsiteY5819" fmla="*/ 407196 h 3690338"/>
                <a:gd name="connsiteX5820" fmla="*/ 778198 w 4878487"/>
                <a:gd name="connsiteY5820" fmla="*/ 407196 h 3690338"/>
                <a:gd name="connsiteX5821" fmla="*/ 775050 w 4878487"/>
                <a:gd name="connsiteY5821" fmla="*/ 407590 h 3690338"/>
                <a:gd name="connsiteX5822" fmla="*/ 778198 w 4878487"/>
                <a:gd name="connsiteY5822" fmla="*/ 407983 h 3690338"/>
                <a:gd name="connsiteX5823" fmla="*/ 779772 w 4878487"/>
                <a:gd name="connsiteY5823" fmla="*/ 407983 h 3690338"/>
                <a:gd name="connsiteX5824" fmla="*/ 778984 w 4878487"/>
                <a:gd name="connsiteY5824" fmla="*/ 408770 h 3690338"/>
                <a:gd name="connsiteX5825" fmla="*/ 778198 w 4878487"/>
                <a:gd name="connsiteY5825" fmla="*/ 409163 h 3690338"/>
                <a:gd name="connsiteX5826" fmla="*/ 777804 w 4878487"/>
                <a:gd name="connsiteY5826" fmla="*/ 410737 h 3690338"/>
                <a:gd name="connsiteX5827" fmla="*/ 774657 w 4878487"/>
                <a:gd name="connsiteY5827" fmla="*/ 409163 h 3690338"/>
                <a:gd name="connsiteX5828" fmla="*/ 774657 w 4878487"/>
                <a:gd name="connsiteY5828" fmla="*/ 408770 h 3690338"/>
                <a:gd name="connsiteX5829" fmla="*/ 771509 w 4878487"/>
                <a:gd name="connsiteY5829" fmla="*/ 407590 h 3690338"/>
                <a:gd name="connsiteX5830" fmla="*/ 768755 w 4878487"/>
                <a:gd name="connsiteY5830" fmla="*/ 404442 h 3690338"/>
                <a:gd name="connsiteX5831" fmla="*/ 766395 w 4878487"/>
                <a:gd name="connsiteY5831" fmla="*/ 405229 h 3690338"/>
                <a:gd name="connsiteX5832" fmla="*/ 767969 w 4878487"/>
                <a:gd name="connsiteY5832" fmla="*/ 408377 h 3690338"/>
                <a:gd name="connsiteX5833" fmla="*/ 770723 w 4878487"/>
                <a:gd name="connsiteY5833" fmla="*/ 409950 h 3690338"/>
                <a:gd name="connsiteX5834" fmla="*/ 771903 w 4878487"/>
                <a:gd name="connsiteY5834" fmla="*/ 413098 h 3690338"/>
                <a:gd name="connsiteX5835" fmla="*/ 774657 w 4878487"/>
                <a:gd name="connsiteY5835" fmla="*/ 413884 h 3690338"/>
                <a:gd name="connsiteX5836" fmla="*/ 776624 w 4878487"/>
                <a:gd name="connsiteY5836" fmla="*/ 414671 h 3690338"/>
                <a:gd name="connsiteX5837" fmla="*/ 779378 w 4878487"/>
                <a:gd name="connsiteY5837" fmla="*/ 417032 h 3690338"/>
                <a:gd name="connsiteX5838" fmla="*/ 776624 w 4878487"/>
                <a:gd name="connsiteY5838" fmla="*/ 415458 h 3690338"/>
                <a:gd name="connsiteX5839" fmla="*/ 773476 w 4878487"/>
                <a:gd name="connsiteY5839" fmla="*/ 413884 h 3690338"/>
                <a:gd name="connsiteX5840" fmla="*/ 769936 w 4878487"/>
                <a:gd name="connsiteY5840" fmla="*/ 412704 h 3690338"/>
                <a:gd name="connsiteX5841" fmla="*/ 769149 w 4878487"/>
                <a:gd name="connsiteY5841" fmla="*/ 409557 h 3690338"/>
                <a:gd name="connsiteX5842" fmla="*/ 766002 w 4878487"/>
                <a:gd name="connsiteY5842" fmla="*/ 407983 h 3690338"/>
                <a:gd name="connsiteX5843" fmla="*/ 763247 w 4878487"/>
                <a:gd name="connsiteY5843" fmla="*/ 408377 h 3690338"/>
                <a:gd name="connsiteX5844" fmla="*/ 760494 w 4878487"/>
                <a:gd name="connsiteY5844" fmla="*/ 407983 h 3690338"/>
                <a:gd name="connsiteX5845" fmla="*/ 757346 w 4878487"/>
                <a:gd name="connsiteY5845" fmla="*/ 408770 h 3690338"/>
                <a:gd name="connsiteX5846" fmla="*/ 754199 w 4878487"/>
                <a:gd name="connsiteY5846" fmla="*/ 410344 h 3690338"/>
                <a:gd name="connsiteX5847" fmla="*/ 751445 w 4878487"/>
                <a:gd name="connsiteY5847" fmla="*/ 408377 h 3690338"/>
                <a:gd name="connsiteX5848" fmla="*/ 748297 w 4878487"/>
                <a:gd name="connsiteY5848" fmla="*/ 407196 h 3690338"/>
                <a:gd name="connsiteX5849" fmla="*/ 745543 w 4878487"/>
                <a:gd name="connsiteY5849" fmla="*/ 407590 h 3690338"/>
                <a:gd name="connsiteX5850" fmla="*/ 742396 w 4878487"/>
                <a:gd name="connsiteY5850" fmla="*/ 409163 h 3690338"/>
                <a:gd name="connsiteX5851" fmla="*/ 745936 w 4878487"/>
                <a:gd name="connsiteY5851" fmla="*/ 411524 h 3690338"/>
                <a:gd name="connsiteX5852" fmla="*/ 748691 w 4878487"/>
                <a:gd name="connsiteY5852" fmla="*/ 412311 h 3690338"/>
                <a:gd name="connsiteX5853" fmla="*/ 745936 w 4878487"/>
                <a:gd name="connsiteY5853" fmla="*/ 412311 h 3690338"/>
                <a:gd name="connsiteX5854" fmla="*/ 743183 w 4878487"/>
                <a:gd name="connsiteY5854" fmla="*/ 413098 h 3690338"/>
                <a:gd name="connsiteX5855" fmla="*/ 745936 w 4878487"/>
                <a:gd name="connsiteY5855" fmla="*/ 415065 h 3690338"/>
                <a:gd name="connsiteX5856" fmla="*/ 749477 w 4878487"/>
                <a:gd name="connsiteY5856" fmla="*/ 414671 h 3690338"/>
                <a:gd name="connsiteX5857" fmla="*/ 752232 w 4878487"/>
                <a:gd name="connsiteY5857" fmla="*/ 414278 h 3690338"/>
                <a:gd name="connsiteX5858" fmla="*/ 755379 w 4878487"/>
                <a:gd name="connsiteY5858" fmla="*/ 413491 h 3690338"/>
                <a:gd name="connsiteX5859" fmla="*/ 756559 w 4878487"/>
                <a:gd name="connsiteY5859" fmla="*/ 413491 h 3690338"/>
                <a:gd name="connsiteX5860" fmla="*/ 756559 w 4878487"/>
                <a:gd name="connsiteY5860" fmla="*/ 413884 h 3690338"/>
                <a:gd name="connsiteX5861" fmla="*/ 755379 w 4878487"/>
                <a:gd name="connsiteY5861" fmla="*/ 414278 h 3690338"/>
                <a:gd name="connsiteX5862" fmla="*/ 752232 w 4878487"/>
                <a:gd name="connsiteY5862" fmla="*/ 415065 h 3690338"/>
                <a:gd name="connsiteX5863" fmla="*/ 755379 w 4878487"/>
                <a:gd name="connsiteY5863" fmla="*/ 416638 h 3690338"/>
                <a:gd name="connsiteX5864" fmla="*/ 755772 w 4878487"/>
                <a:gd name="connsiteY5864" fmla="*/ 416638 h 3690338"/>
                <a:gd name="connsiteX5865" fmla="*/ 755379 w 4878487"/>
                <a:gd name="connsiteY5865" fmla="*/ 417425 h 3690338"/>
                <a:gd name="connsiteX5866" fmla="*/ 754199 w 4878487"/>
                <a:gd name="connsiteY5866" fmla="*/ 420179 h 3690338"/>
                <a:gd name="connsiteX5867" fmla="*/ 757739 w 4878487"/>
                <a:gd name="connsiteY5867" fmla="*/ 420179 h 3690338"/>
                <a:gd name="connsiteX5868" fmla="*/ 759313 w 4878487"/>
                <a:gd name="connsiteY5868" fmla="*/ 419786 h 3690338"/>
                <a:gd name="connsiteX5869" fmla="*/ 759706 w 4878487"/>
                <a:gd name="connsiteY5869" fmla="*/ 420179 h 3690338"/>
                <a:gd name="connsiteX5870" fmla="*/ 752625 w 4878487"/>
                <a:gd name="connsiteY5870" fmla="*/ 420966 h 3690338"/>
                <a:gd name="connsiteX5871" fmla="*/ 750265 w 4878487"/>
                <a:gd name="connsiteY5871" fmla="*/ 418999 h 3690338"/>
                <a:gd name="connsiteX5872" fmla="*/ 747510 w 4878487"/>
                <a:gd name="connsiteY5872" fmla="*/ 418606 h 3690338"/>
                <a:gd name="connsiteX5873" fmla="*/ 744756 w 4878487"/>
                <a:gd name="connsiteY5873" fmla="*/ 418606 h 3690338"/>
                <a:gd name="connsiteX5874" fmla="*/ 741609 w 4878487"/>
                <a:gd name="connsiteY5874" fmla="*/ 417425 h 3690338"/>
                <a:gd name="connsiteX5875" fmla="*/ 738855 w 4878487"/>
                <a:gd name="connsiteY5875" fmla="*/ 417425 h 3690338"/>
                <a:gd name="connsiteX5876" fmla="*/ 735707 w 4878487"/>
                <a:gd name="connsiteY5876" fmla="*/ 417819 h 3690338"/>
                <a:gd name="connsiteX5877" fmla="*/ 732954 w 4878487"/>
                <a:gd name="connsiteY5877" fmla="*/ 418212 h 3690338"/>
                <a:gd name="connsiteX5878" fmla="*/ 729806 w 4878487"/>
                <a:gd name="connsiteY5878" fmla="*/ 418606 h 3690338"/>
                <a:gd name="connsiteX5879" fmla="*/ 726659 w 4878487"/>
                <a:gd name="connsiteY5879" fmla="*/ 418999 h 3690338"/>
                <a:gd name="connsiteX5880" fmla="*/ 730199 w 4878487"/>
                <a:gd name="connsiteY5880" fmla="*/ 420966 h 3690338"/>
                <a:gd name="connsiteX5881" fmla="*/ 733347 w 4878487"/>
                <a:gd name="connsiteY5881" fmla="*/ 420573 h 3690338"/>
                <a:gd name="connsiteX5882" fmla="*/ 736101 w 4878487"/>
                <a:gd name="connsiteY5882" fmla="*/ 421753 h 3690338"/>
                <a:gd name="connsiteX5883" fmla="*/ 732954 w 4878487"/>
                <a:gd name="connsiteY5883" fmla="*/ 422146 h 3690338"/>
                <a:gd name="connsiteX5884" fmla="*/ 729806 w 4878487"/>
                <a:gd name="connsiteY5884" fmla="*/ 422146 h 3690338"/>
                <a:gd name="connsiteX5885" fmla="*/ 726659 w 4878487"/>
                <a:gd name="connsiteY5885" fmla="*/ 422540 h 3690338"/>
                <a:gd name="connsiteX5886" fmla="*/ 725872 w 4878487"/>
                <a:gd name="connsiteY5886" fmla="*/ 422933 h 3690338"/>
                <a:gd name="connsiteX5887" fmla="*/ 727446 w 4878487"/>
                <a:gd name="connsiteY5887" fmla="*/ 423327 h 3690338"/>
                <a:gd name="connsiteX5888" fmla="*/ 732560 w 4878487"/>
                <a:gd name="connsiteY5888" fmla="*/ 424507 h 3690338"/>
                <a:gd name="connsiteX5889" fmla="*/ 731380 w 4878487"/>
                <a:gd name="connsiteY5889" fmla="*/ 424900 h 3690338"/>
                <a:gd name="connsiteX5890" fmla="*/ 730593 w 4878487"/>
                <a:gd name="connsiteY5890" fmla="*/ 427654 h 3690338"/>
                <a:gd name="connsiteX5891" fmla="*/ 732167 w 4878487"/>
                <a:gd name="connsiteY5891" fmla="*/ 430015 h 3690338"/>
                <a:gd name="connsiteX5892" fmla="*/ 731380 w 4878487"/>
                <a:gd name="connsiteY5892" fmla="*/ 430408 h 3690338"/>
                <a:gd name="connsiteX5893" fmla="*/ 730199 w 4878487"/>
                <a:gd name="connsiteY5893" fmla="*/ 429228 h 3690338"/>
                <a:gd name="connsiteX5894" fmla="*/ 728626 w 4878487"/>
                <a:gd name="connsiteY5894" fmla="*/ 426474 h 3690338"/>
                <a:gd name="connsiteX5895" fmla="*/ 725872 w 4878487"/>
                <a:gd name="connsiteY5895" fmla="*/ 426474 h 3690338"/>
                <a:gd name="connsiteX5896" fmla="*/ 720364 w 4878487"/>
                <a:gd name="connsiteY5896" fmla="*/ 430015 h 3690338"/>
                <a:gd name="connsiteX5897" fmla="*/ 721938 w 4878487"/>
                <a:gd name="connsiteY5897" fmla="*/ 432769 h 3690338"/>
                <a:gd name="connsiteX5898" fmla="*/ 722725 w 4878487"/>
                <a:gd name="connsiteY5898" fmla="*/ 433162 h 3690338"/>
                <a:gd name="connsiteX5899" fmla="*/ 718790 w 4878487"/>
                <a:gd name="connsiteY5899" fmla="*/ 434343 h 3690338"/>
                <a:gd name="connsiteX5900" fmla="*/ 718397 w 4878487"/>
                <a:gd name="connsiteY5900" fmla="*/ 431589 h 3690338"/>
                <a:gd name="connsiteX5901" fmla="*/ 715250 w 4878487"/>
                <a:gd name="connsiteY5901" fmla="*/ 431982 h 3690338"/>
                <a:gd name="connsiteX5902" fmla="*/ 714069 w 4878487"/>
                <a:gd name="connsiteY5902" fmla="*/ 434736 h 3690338"/>
                <a:gd name="connsiteX5903" fmla="*/ 711315 w 4878487"/>
                <a:gd name="connsiteY5903" fmla="*/ 432376 h 3690338"/>
                <a:gd name="connsiteX5904" fmla="*/ 708561 w 4878487"/>
                <a:gd name="connsiteY5904" fmla="*/ 431589 h 3690338"/>
                <a:gd name="connsiteX5905" fmla="*/ 707774 w 4878487"/>
                <a:gd name="connsiteY5905" fmla="*/ 434343 h 3690338"/>
                <a:gd name="connsiteX5906" fmla="*/ 710922 w 4878487"/>
                <a:gd name="connsiteY5906" fmla="*/ 435130 h 3690338"/>
                <a:gd name="connsiteX5907" fmla="*/ 708168 w 4878487"/>
                <a:gd name="connsiteY5907" fmla="*/ 437097 h 3690338"/>
                <a:gd name="connsiteX5908" fmla="*/ 708561 w 4878487"/>
                <a:gd name="connsiteY5908" fmla="*/ 435916 h 3690338"/>
                <a:gd name="connsiteX5909" fmla="*/ 705414 w 4878487"/>
                <a:gd name="connsiteY5909" fmla="*/ 433949 h 3690338"/>
                <a:gd name="connsiteX5910" fmla="*/ 703053 w 4878487"/>
                <a:gd name="connsiteY5910" fmla="*/ 431195 h 3690338"/>
                <a:gd name="connsiteX5911" fmla="*/ 700299 w 4878487"/>
                <a:gd name="connsiteY5911" fmla="*/ 431195 h 3690338"/>
                <a:gd name="connsiteX5912" fmla="*/ 700299 w 4878487"/>
                <a:gd name="connsiteY5912" fmla="*/ 434343 h 3690338"/>
                <a:gd name="connsiteX5913" fmla="*/ 703447 w 4878487"/>
                <a:gd name="connsiteY5913" fmla="*/ 434736 h 3690338"/>
                <a:gd name="connsiteX5914" fmla="*/ 706594 w 4878487"/>
                <a:gd name="connsiteY5914" fmla="*/ 437097 h 3690338"/>
                <a:gd name="connsiteX5915" fmla="*/ 705021 w 4878487"/>
                <a:gd name="connsiteY5915" fmla="*/ 438277 h 3690338"/>
                <a:gd name="connsiteX5916" fmla="*/ 700692 w 4878487"/>
                <a:gd name="connsiteY5916" fmla="*/ 439457 h 3690338"/>
                <a:gd name="connsiteX5917" fmla="*/ 702266 w 4878487"/>
                <a:gd name="connsiteY5917" fmla="*/ 440637 h 3690338"/>
                <a:gd name="connsiteX5918" fmla="*/ 705414 w 4878487"/>
                <a:gd name="connsiteY5918" fmla="*/ 440637 h 3690338"/>
                <a:gd name="connsiteX5919" fmla="*/ 705807 w 4878487"/>
                <a:gd name="connsiteY5919" fmla="*/ 440637 h 3690338"/>
                <a:gd name="connsiteX5920" fmla="*/ 706988 w 4878487"/>
                <a:gd name="connsiteY5920" fmla="*/ 441031 h 3690338"/>
                <a:gd name="connsiteX5921" fmla="*/ 705021 w 4878487"/>
                <a:gd name="connsiteY5921" fmla="*/ 441424 h 3690338"/>
                <a:gd name="connsiteX5922" fmla="*/ 702660 w 4878487"/>
                <a:gd name="connsiteY5922" fmla="*/ 442998 h 3690338"/>
                <a:gd name="connsiteX5923" fmla="*/ 699512 w 4878487"/>
                <a:gd name="connsiteY5923" fmla="*/ 441424 h 3690338"/>
                <a:gd name="connsiteX5924" fmla="*/ 695972 w 4878487"/>
                <a:gd name="connsiteY5924" fmla="*/ 440637 h 3690338"/>
                <a:gd name="connsiteX5925" fmla="*/ 693218 w 4878487"/>
                <a:gd name="connsiteY5925" fmla="*/ 442211 h 3690338"/>
                <a:gd name="connsiteX5926" fmla="*/ 696365 w 4878487"/>
                <a:gd name="connsiteY5926" fmla="*/ 442998 h 3690338"/>
                <a:gd name="connsiteX5927" fmla="*/ 699512 w 4878487"/>
                <a:gd name="connsiteY5927" fmla="*/ 443391 h 3690338"/>
                <a:gd name="connsiteX5928" fmla="*/ 702660 w 4878487"/>
                <a:gd name="connsiteY5928" fmla="*/ 442998 h 3690338"/>
                <a:gd name="connsiteX5929" fmla="*/ 701873 w 4878487"/>
                <a:gd name="connsiteY5929" fmla="*/ 443391 h 3690338"/>
                <a:gd name="connsiteX5930" fmla="*/ 699119 w 4878487"/>
                <a:gd name="connsiteY5930" fmla="*/ 444965 h 3690338"/>
                <a:gd name="connsiteX5931" fmla="*/ 702266 w 4878487"/>
                <a:gd name="connsiteY5931" fmla="*/ 444965 h 3690338"/>
                <a:gd name="connsiteX5932" fmla="*/ 699119 w 4878487"/>
                <a:gd name="connsiteY5932" fmla="*/ 446539 h 3690338"/>
                <a:gd name="connsiteX5933" fmla="*/ 696365 w 4878487"/>
                <a:gd name="connsiteY5933" fmla="*/ 446539 h 3690338"/>
                <a:gd name="connsiteX5934" fmla="*/ 696758 w 4878487"/>
                <a:gd name="connsiteY5934" fmla="*/ 449293 h 3690338"/>
                <a:gd name="connsiteX5935" fmla="*/ 702660 w 4878487"/>
                <a:gd name="connsiteY5935" fmla="*/ 449293 h 3690338"/>
                <a:gd name="connsiteX5936" fmla="*/ 705807 w 4878487"/>
                <a:gd name="connsiteY5936" fmla="*/ 448899 h 3690338"/>
                <a:gd name="connsiteX5937" fmla="*/ 703840 w 4878487"/>
                <a:gd name="connsiteY5937" fmla="*/ 449293 h 3690338"/>
                <a:gd name="connsiteX5938" fmla="*/ 703053 w 4878487"/>
                <a:gd name="connsiteY5938" fmla="*/ 449686 h 3690338"/>
                <a:gd name="connsiteX5939" fmla="*/ 699906 w 4878487"/>
                <a:gd name="connsiteY5939" fmla="*/ 450080 h 3690338"/>
                <a:gd name="connsiteX5940" fmla="*/ 696365 w 4878487"/>
                <a:gd name="connsiteY5940" fmla="*/ 450473 h 3690338"/>
                <a:gd name="connsiteX5941" fmla="*/ 699906 w 4878487"/>
                <a:gd name="connsiteY5941" fmla="*/ 450080 h 3690338"/>
                <a:gd name="connsiteX5942" fmla="*/ 702660 w 4878487"/>
                <a:gd name="connsiteY5942" fmla="*/ 449686 h 3690338"/>
                <a:gd name="connsiteX5943" fmla="*/ 703053 w 4878487"/>
                <a:gd name="connsiteY5943" fmla="*/ 449686 h 3690338"/>
                <a:gd name="connsiteX5944" fmla="*/ 695972 w 4878487"/>
                <a:gd name="connsiteY5944" fmla="*/ 455981 h 3690338"/>
                <a:gd name="connsiteX5945" fmla="*/ 697939 w 4878487"/>
                <a:gd name="connsiteY5945" fmla="*/ 458342 h 3690338"/>
                <a:gd name="connsiteX5946" fmla="*/ 697939 w 4878487"/>
                <a:gd name="connsiteY5946" fmla="*/ 458735 h 3690338"/>
                <a:gd name="connsiteX5947" fmla="*/ 698332 w 4878487"/>
                <a:gd name="connsiteY5947" fmla="*/ 458735 h 3690338"/>
                <a:gd name="connsiteX5948" fmla="*/ 698725 w 4878487"/>
                <a:gd name="connsiteY5948" fmla="*/ 459129 h 3690338"/>
                <a:gd name="connsiteX5949" fmla="*/ 697939 w 4878487"/>
                <a:gd name="connsiteY5949" fmla="*/ 459522 h 3690338"/>
                <a:gd name="connsiteX5950" fmla="*/ 701086 w 4878487"/>
                <a:gd name="connsiteY5950" fmla="*/ 462276 h 3690338"/>
                <a:gd name="connsiteX5951" fmla="*/ 697939 w 4878487"/>
                <a:gd name="connsiteY5951" fmla="*/ 462669 h 3690338"/>
                <a:gd name="connsiteX5952" fmla="*/ 701480 w 4878487"/>
                <a:gd name="connsiteY5952" fmla="*/ 463850 h 3690338"/>
                <a:gd name="connsiteX5953" fmla="*/ 704627 w 4878487"/>
                <a:gd name="connsiteY5953" fmla="*/ 465817 h 3690338"/>
                <a:gd name="connsiteX5954" fmla="*/ 705807 w 4878487"/>
                <a:gd name="connsiteY5954" fmla="*/ 466210 h 3690338"/>
                <a:gd name="connsiteX5955" fmla="*/ 723118 w 4878487"/>
                <a:gd name="connsiteY5955" fmla="*/ 463456 h 3690338"/>
                <a:gd name="connsiteX5956" fmla="*/ 723118 w 4878487"/>
                <a:gd name="connsiteY5956" fmla="*/ 463456 h 3690338"/>
                <a:gd name="connsiteX5957" fmla="*/ 726265 w 4878487"/>
                <a:gd name="connsiteY5957" fmla="*/ 463850 h 3690338"/>
                <a:gd name="connsiteX5958" fmla="*/ 729019 w 4878487"/>
                <a:gd name="connsiteY5958" fmla="*/ 464243 h 3690338"/>
                <a:gd name="connsiteX5959" fmla="*/ 721938 w 4878487"/>
                <a:gd name="connsiteY5959" fmla="*/ 464637 h 3690338"/>
                <a:gd name="connsiteX5960" fmla="*/ 721151 w 4878487"/>
                <a:gd name="connsiteY5960" fmla="*/ 464637 h 3690338"/>
                <a:gd name="connsiteX5961" fmla="*/ 718003 w 4878487"/>
                <a:gd name="connsiteY5961" fmla="*/ 464243 h 3690338"/>
                <a:gd name="connsiteX5962" fmla="*/ 714856 w 4878487"/>
                <a:gd name="connsiteY5962" fmla="*/ 464637 h 3690338"/>
                <a:gd name="connsiteX5963" fmla="*/ 712102 w 4878487"/>
                <a:gd name="connsiteY5963" fmla="*/ 465030 h 3690338"/>
                <a:gd name="connsiteX5964" fmla="*/ 709348 w 4878487"/>
                <a:gd name="connsiteY5964" fmla="*/ 465817 h 3690338"/>
                <a:gd name="connsiteX5965" fmla="*/ 706200 w 4878487"/>
                <a:gd name="connsiteY5965" fmla="*/ 467390 h 3690338"/>
                <a:gd name="connsiteX5966" fmla="*/ 703053 w 4878487"/>
                <a:gd name="connsiteY5966" fmla="*/ 466604 h 3690338"/>
                <a:gd name="connsiteX5967" fmla="*/ 699906 w 4878487"/>
                <a:gd name="connsiteY5967" fmla="*/ 465817 h 3690338"/>
                <a:gd name="connsiteX5968" fmla="*/ 696758 w 4878487"/>
                <a:gd name="connsiteY5968" fmla="*/ 466210 h 3690338"/>
                <a:gd name="connsiteX5969" fmla="*/ 696758 w 4878487"/>
                <a:gd name="connsiteY5969" fmla="*/ 468964 h 3690338"/>
                <a:gd name="connsiteX5970" fmla="*/ 699906 w 4878487"/>
                <a:gd name="connsiteY5970" fmla="*/ 468964 h 3690338"/>
                <a:gd name="connsiteX5971" fmla="*/ 699906 w 4878487"/>
                <a:gd name="connsiteY5971" fmla="*/ 469358 h 3690338"/>
                <a:gd name="connsiteX5972" fmla="*/ 698332 w 4878487"/>
                <a:gd name="connsiteY5972" fmla="*/ 470931 h 3690338"/>
                <a:gd name="connsiteX5973" fmla="*/ 697545 w 4878487"/>
                <a:gd name="connsiteY5973" fmla="*/ 472112 h 3690338"/>
                <a:gd name="connsiteX5974" fmla="*/ 695185 w 4878487"/>
                <a:gd name="connsiteY5974" fmla="*/ 470538 h 3690338"/>
                <a:gd name="connsiteX5975" fmla="*/ 696758 w 4878487"/>
                <a:gd name="connsiteY5975" fmla="*/ 473685 h 3690338"/>
                <a:gd name="connsiteX5976" fmla="*/ 701480 w 4878487"/>
                <a:gd name="connsiteY5976" fmla="*/ 474079 h 3690338"/>
                <a:gd name="connsiteX5977" fmla="*/ 700692 w 4878487"/>
                <a:gd name="connsiteY5977" fmla="*/ 476439 h 3690338"/>
                <a:gd name="connsiteX5978" fmla="*/ 699906 w 4878487"/>
                <a:gd name="connsiteY5978" fmla="*/ 476439 h 3690338"/>
                <a:gd name="connsiteX5979" fmla="*/ 696758 w 4878487"/>
                <a:gd name="connsiteY5979" fmla="*/ 474866 h 3690338"/>
                <a:gd name="connsiteX5980" fmla="*/ 694004 w 4878487"/>
                <a:gd name="connsiteY5980" fmla="*/ 474472 h 3690338"/>
                <a:gd name="connsiteX5981" fmla="*/ 696758 w 4878487"/>
                <a:gd name="connsiteY5981" fmla="*/ 476046 h 3690338"/>
                <a:gd name="connsiteX5982" fmla="*/ 697939 w 4878487"/>
                <a:gd name="connsiteY5982" fmla="*/ 478800 h 3690338"/>
                <a:gd name="connsiteX5983" fmla="*/ 695972 w 4878487"/>
                <a:gd name="connsiteY5983" fmla="*/ 477226 h 3690338"/>
                <a:gd name="connsiteX5984" fmla="*/ 693218 w 4878487"/>
                <a:gd name="connsiteY5984" fmla="*/ 478013 h 3690338"/>
                <a:gd name="connsiteX5985" fmla="*/ 695972 w 4878487"/>
                <a:gd name="connsiteY5985" fmla="*/ 479587 h 3690338"/>
                <a:gd name="connsiteX5986" fmla="*/ 698725 w 4878487"/>
                <a:gd name="connsiteY5986" fmla="*/ 479587 h 3690338"/>
                <a:gd name="connsiteX5987" fmla="*/ 701086 w 4878487"/>
                <a:gd name="connsiteY5987" fmla="*/ 481554 h 3690338"/>
                <a:gd name="connsiteX5988" fmla="*/ 703053 w 4878487"/>
                <a:gd name="connsiteY5988" fmla="*/ 483128 h 3690338"/>
                <a:gd name="connsiteX5989" fmla="*/ 701480 w 4878487"/>
                <a:gd name="connsiteY5989" fmla="*/ 485882 h 3690338"/>
                <a:gd name="connsiteX5990" fmla="*/ 698725 w 4878487"/>
                <a:gd name="connsiteY5990" fmla="*/ 487455 h 3690338"/>
                <a:gd name="connsiteX5991" fmla="*/ 701480 w 4878487"/>
                <a:gd name="connsiteY5991" fmla="*/ 489029 h 3690338"/>
                <a:gd name="connsiteX5992" fmla="*/ 701086 w 4878487"/>
                <a:gd name="connsiteY5992" fmla="*/ 491783 h 3690338"/>
                <a:gd name="connsiteX5993" fmla="*/ 703840 w 4878487"/>
                <a:gd name="connsiteY5993" fmla="*/ 494143 h 3690338"/>
                <a:gd name="connsiteX5994" fmla="*/ 706594 w 4878487"/>
                <a:gd name="connsiteY5994" fmla="*/ 492963 h 3690338"/>
                <a:gd name="connsiteX5995" fmla="*/ 707774 w 4878487"/>
                <a:gd name="connsiteY5995" fmla="*/ 491389 h 3690338"/>
                <a:gd name="connsiteX5996" fmla="*/ 712102 w 4878487"/>
                <a:gd name="connsiteY5996" fmla="*/ 499258 h 3690338"/>
                <a:gd name="connsiteX5997" fmla="*/ 712889 w 4878487"/>
                <a:gd name="connsiteY5997" fmla="*/ 499258 h 3690338"/>
                <a:gd name="connsiteX5998" fmla="*/ 713676 w 4878487"/>
                <a:gd name="connsiteY5998" fmla="*/ 499258 h 3690338"/>
                <a:gd name="connsiteX5999" fmla="*/ 715250 w 4878487"/>
                <a:gd name="connsiteY5999" fmla="*/ 499258 h 3690338"/>
                <a:gd name="connsiteX6000" fmla="*/ 717610 w 4878487"/>
                <a:gd name="connsiteY6000" fmla="*/ 499258 h 3690338"/>
                <a:gd name="connsiteX6001" fmla="*/ 718003 w 4878487"/>
                <a:gd name="connsiteY6001" fmla="*/ 499651 h 3690338"/>
                <a:gd name="connsiteX6002" fmla="*/ 714856 w 4878487"/>
                <a:gd name="connsiteY6002" fmla="*/ 501225 h 3690338"/>
                <a:gd name="connsiteX6003" fmla="*/ 712102 w 4878487"/>
                <a:gd name="connsiteY6003" fmla="*/ 503586 h 3690338"/>
                <a:gd name="connsiteX6004" fmla="*/ 711315 w 4878487"/>
                <a:gd name="connsiteY6004" fmla="*/ 504766 h 3690338"/>
                <a:gd name="connsiteX6005" fmla="*/ 714069 w 4878487"/>
                <a:gd name="connsiteY6005" fmla="*/ 506340 h 3690338"/>
                <a:gd name="connsiteX6006" fmla="*/ 715643 w 4878487"/>
                <a:gd name="connsiteY6006" fmla="*/ 506733 h 3690338"/>
                <a:gd name="connsiteX6007" fmla="*/ 716823 w 4878487"/>
                <a:gd name="connsiteY6007" fmla="*/ 507913 h 3690338"/>
                <a:gd name="connsiteX6008" fmla="*/ 713676 w 4878487"/>
                <a:gd name="connsiteY6008" fmla="*/ 509487 h 3690338"/>
                <a:gd name="connsiteX6009" fmla="*/ 714462 w 4878487"/>
                <a:gd name="connsiteY6009" fmla="*/ 509487 h 3690338"/>
                <a:gd name="connsiteX6010" fmla="*/ 712495 w 4878487"/>
                <a:gd name="connsiteY6010" fmla="*/ 510667 h 3690338"/>
                <a:gd name="connsiteX6011" fmla="*/ 710922 w 4878487"/>
                <a:gd name="connsiteY6011" fmla="*/ 510274 h 3690338"/>
                <a:gd name="connsiteX6012" fmla="*/ 707774 w 4878487"/>
                <a:gd name="connsiteY6012" fmla="*/ 510667 h 3690338"/>
                <a:gd name="connsiteX6013" fmla="*/ 708168 w 4878487"/>
                <a:gd name="connsiteY6013" fmla="*/ 513421 h 3690338"/>
                <a:gd name="connsiteX6014" fmla="*/ 705807 w 4878487"/>
                <a:gd name="connsiteY6014" fmla="*/ 514208 h 3690338"/>
                <a:gd name="connsiteX6015" fmla="*/ 706988 w 4878487"/>
                <a:gd name="connsiteY6015" fmla="*/ 511454 h 3690338"/>
                <a:gd name="connsiteX6016" fmla="*/ 707774 w 4878487"/>
                <a:gd name="connsiteY6016" fmla="*/ 508700 h 3690338"/>
                <a:gd name="connsiteX6017" fmla="*/ 704627 w 4878487"/>
                <a:gd name="connsiteY6017" fmla="*/ 510274 h 3690338"/>
                <a:gd name="connsiteX6018" fmla="*/ 701873 w 4878487"/>
                <a:gd name="connsiteY6018" fmla="*/ 513028 h 3690338"/>
                <a:gd name="connsiteX6019" fmla="*/ 701480 w 4878487"/>
                <a:gd name="connsiteY6019" fmla="*/ 515388 h 3690338"/>
                <a:gd name="connsiteX6020" fmla="*/ 701086 w 4878487"/>
                <a:gd name="connsiteY6020" fmla="*/ 518536 h 3690338"/>
                <a:gd name="connsiteX6021" fmla="*/ 701480 w 4878487"/>
                <a:gd name="connsiteY6021" fmla="*/ 519323 h 3690338"/>
                <a:gd name="connsiteX6022" fmla="*/ 704233 w 4878487"/>
                <a:gd name="connsiteY6022" fmla="*/ 521683 h 3690338"/>
                <a:gd name="connsiteX6023" fmla="*/ 704233 w 4878487"/>
                <a:gd name="connsiteY6023" fmla="*/ 521290 h 3690338"/>
                <a:gd name="connsiteX6024" fmla="*/ 705021 w 4878487"/>
                <a:gd name="connsiteY6024" fmla="*/ 521683 h 3690338"/>
                <a:gd name="connsiteX6025" fmla="*/ 705021 w 4878487"/>
                <a:gd name="connsiteY6025" fmla="*/ 521683 h 3690338"/>
                <a:gd name="connsiteX6026" fmla="*/ 705414 w 4878487"/>
                <a:gd name="connsiteY6026" fmla="*/ 521683 h 3690338"/>
                <a:gd name="connsiteX6027" fmla="*/ 708168 w 4878487"/>
                <a:gd name="connsiteY6027" fmla="*/ 520896 h 3690338"/>
                <a:gd name="connsiteX6028" fmla="*/ 708168 w 4878487"/>
                <a:gd name="connsiteY6028" fmla="*/ 520896 h 3690338"/>
                <a:gd name="connsiteX6029" fmla="*/ 709348 w 4878487"/>
                <a:gd name="connsiteY6029" fmla="*/ 520503 h 3690338"/>
                <a:gd name="connsiteX6030" fmla="*/ 709348 w 4878487"/>
                <a:gd name="connsiteY6030" fmla="*/ 521683 h 3690338"/>
                <a:gd name="connsiteX6031" fmla="*/ 712495 w 4878487"/>
                <a:gd name="connsiteY6031" fmla="*/ 520110 h 3690338"/>
                <a:gd name="connsiteX6032" fmla="*/ 715250 w 4878487"/>
                <a:gd name="connsiteY6032" fmla="*/ 520110 h 3690338"/>
                <a:gd name="connsiteX6033" fmla="*/ 714856 w 4878487"/>
                <a:gd name="connsiteY6033" fmla="*/ 518536 h 3690338"/>
                <a:gd name="connsiteX6034" fmla="*/ 717610 w 4878487"/>
                <a:gd name="connsiteY6034" fmla="*/ 517356 h 3690338"/>
                <a:gd name="connsiteX6035" fmla="*/ 716823 w 4878487"/>
                <a:gd name="connsiteY6035" fmla="*/ 519323 h 3690338"/>
                <a:gd name="connsiteX6036" fmla="*/ 719970 w 4878487"/>
                <a:gd name="connsiteY6036" fmla="*/ 517749 h 3690338"/>
                <a:gd name="connsiteX6037" fmla="*/ 723118 w 4878487"/>
                <a:gd name="connsiteY6037" fmla="*/ 516175 h 3690338"/>
                <a:gd name="connsiteX6038" fmla="*/ 721544 w 4878487"/>
                <a:gd name="connsiteY6038" fmla="*/ 517749 h 3690338"/>
                <a:gd name="connsiteX6039" fmla="*/ 718397 w 4878487"/>
                <a:gd name="connsiteY6039" fmla="*/ 520110 h 3690338"/>
                <a:gd name="connsiteX6040" fmla="*/ 721544 w 4878487"/>
                <a:gd name="connsiteY6040" fmla="*/ 520503 h 3690338"/>
                <a:gd name="connsiteX6041" fmla="*/ 722331 w 4878487"/>
                <a:gd name="connsiteY6041" fmla="*/ 520503 h 3690338"/>
                <a:gd name="connsiteX6042" fmla="*/ 722331 w 4878487"/>
                <a:gd name="connsiteY6042" fmla="*/ 520896 h 3690338"/>
                <a:gd name="connsiteX6043" fmla="*/ 721151 w 4878487"/>
                <a:gd name="connsiteY6043" fmla="*/ 520896 h 3690338"/>
                <a:gd name="connsiteX6044" fmla="*/ 721544 w 4878487"/>
                <a:gd name="connsiteY6044" fmla="*/ 522077 h 3690338"/>
                <a:gd name="connsiteX6045" fmla="*/ 721544 w 4878487"/>
                <a:gd name="connsiteY6045" fmla="*/ 522864 h 3690338"/>
                <a:gd name="connsiteX6046" fmla="*/ 718790 w 4878487"/>
                <a:gd name="connsiteY6046" fmla="*/ 525224 h 3690338"/>
                <a:gd name="connsiteX6047" fmla="*/ 720758 w 4878487"/>
                <a:gd name="connsiteY6047" fmla="*/ 525618 h 3690338"/>
                <a:gd name="connsiteX6048" fmla="*/ 720758 w 4878487"/>
                <a:gd name="connsiteY6048" fmla="*/ 526011 h 3690338"/>
                <a:gd name="connsiteX6049" fmla="*/ 718397 w 4878487"/>
                <a:gd name="connsiteY6049" fmla="*/ 526798 h 3690338"/>
                <a:gd name="connsiteX6050" fmla="*/ 715643 w 4878487"/>
                <a:gd name="connsiteY6050" fmla="*/ 527585 h 3690338"/>
                <a:gd name="connsiteX6051" fmla="*/ 718790 w 4878487"/>
                <a:gd name="connsiteY6051" fmla="*/ 529945 h 3690338"/>
                <a:gd name="connsiteX6052" fmla="*/ 718397 w 4878487"/>
                <a:gd name="connsiteY6052" fmla="*/ 532699 h 3690338"/>
                <a:gd name="connsiteX6053" fmla="*/ 718790 w 4878487"/>
                <a:gd name="connsiteY6053" fmla="*/ 533093 h 3690338"/>
                <a:gd name="connsiteX6054" fmla="*/ 718397 w 4878487"/>
                <a:gd name="connsiteY6054" fmla="*/ 533486 h 3690338"/>
                <a:gd name="connsiteX6055" fmla="*/ 715643 w 4878487"/>
                <a:gd name="connsiteY6055" fmla="*/ 531912 h 3690338"/>
                <a:gd name="connsiteX6056" fmla="*/ 712889 w 4878487"/>
                <a:gd name="connsiteY6056" fmla="*/ 532306 h 3690338"/>
                <a:gd name="connsiteX6057" fmla="*/ 710135 w 4878487"/>
                <a:gd name="connsiteY6057" fmla="*/ 530339 h 3690338"/>
                <a:gd name="connsiteX6058" fmla="*/ 707381 w 4878487"/>
                <a:gd name="connsiteY6058" fmla="*/ 529945 h 3690338"/>
                <a:gd name="connsiteX6059" fmla="*/ 710135 w 4878487"/>
                <a:gd name="connsiteY6059" fmla="*/ 531912 h 3690338"/>
                <a:gd name="connsiteX6060" fmla="*/ 707381 w 4878487"/>
                <a:gd name="connsiteY6060" fmla="*/ 534273 h 3690338"/>
                <a:gd name="connsiteX6061" fmla="*/ 705807 w 4878487"/>
                <a:gd name="connsiteY6061" fmla="*/ 537420 h 3690338"/>
                <a:gd name="connsiteX6062" fmla="*/ 706200 w 4878487"/>
                <a:gd name="connsiteY6062" fmla="*/ 540174 h 3690338"/>
                <a:gd name="connsiteX6063" fmla="*/ 706200 w 4878487"/>
                <a:gd name="connsiteY6063" fmla="*/ 540568 h 3690338"/>
                <a:gd name="connsiteX6064" fmla="*/ 708955 w 4878487"/>
                <a:gd name="connsiteY6064" fmla="*/ 543715 h 3690338"/>
                <a:gd name="connsiteX6065" fmla="*/ 711709 w 4878487"/>
                <a:gd name="connsiteY6065" fmla="*/ 544895 h 3690338"/>
                <a:gd name="connsiteX6066" fmla="*/ 714856 w 4878487"/>
                <a:gd name="connsiteY6066" fmla="*/ 546863 h 3690338"/>
                <a:gd name="connsiteX6067" fmla="*/ 717610 w 4878487"/>
                <a:gd name="connsiteY6067" fmla="*/ 549223 h 3690338"/>
                <a:gd name="connsiteX6068" fmla="*/ 721151 w 4878487"/>
                <a:gd name="connsiteY6068" fmla="*/ 550797 h 3690338"/>
                <a:gd name="connsiteX6069" fmla="*/ 723905 w 4878487"/>
                <a:gd name="connsiteY6069" fmla="*/ 551190 h 3690338"/>
                <a:gd name="connsiteX6070" fmla="*/ 726265 w 4878487"/>
                <a:gd name="connsiteY6070" fmla="*/ 552764 h 3690338"/>
                <a:gd name="connsiteX6071" fmla="*/ 729019 w 4878487"/>
                <a:gd name="connsiteY6071" fmla="*/ 553157 h 3690338"/>
                <a:gd name="connsiteX6072" fmla="*/ 731773 w 4878487"/>
                <a:gd name="connsiteY6072" fmla="*/ 553551 h 3690338"/>
                <a:gd name="connsiteX6073" fmla="*/ 734921 w 4878487"/>
                <a:gd name="connsiteY6073" fmla="*/ 553944 h 3690338"/>
                <a:gd name="connsiteX6074" fmla="*/ 736101 w 4878487"/>
                <a:gd name="connsiteY6074" fmla="*/ 553551 h 3690338"/>
                <a:gd name="connsiteX6075" fmla="*/ 736495 w 4878487"/>
                <a:gd name="connsiteY6075" fmla="*/ 553551 h 3690338"/>
                <a:gd name="connsiteX6076" fmla="*/ 734527 w 4878487"/>
                <a:gd name="connsiteY6076" fmla="*/ 554731 h 3690338"/>
                <a:gd name="connsiteX6077" fmla="*/ 731773 w 4878487"/>
                <a:gd name="connsiteY6077" fmla="*/ 557092 h 3690338"/>
                <a:gd name="connsiteX6078" fmla="*/ 734527 w 4878487"/>
                <a:gd name="connsiteY6078" fmla="*/ 559452 h 3690338"/>
                <a:gd name="connsiteX6079" fmla="*/ 737675 w 4878487"/>
                <a:gd name="connsiteY6079" fmla="*/ 559059 h 3690338"/>
                <a:gd name="connsiteX6080" fmla="*/ 740429 w 4878487"/>
                <a:gd name="connsiteY6080" fmla="*/ 560239 h 3690338"/>
                <a:gd name="connsiteX6081" fmla="*/ 743183 w 4878487"/>
                <a:gd name="connsiteY6081" fmla="*/ 559846 h 3690338"/>
                <a:gd name="connsiteX6082" fmla="*/ 745936 w 4878487"/>
                <a:gd name="connsiteY6082" fmla="*/ 560239 h 3690338"/>
                <a:gd name="connsiteX6083" fmla="*/ 749084 w 4878487"/>
                <a:gd name="connsiteY6083" fmla="*/ 560239 h 3690338"/>
                <a:gd name="connsiteX6084" fmla="*/ 751838 w 4878487"/>
                <a:gd name="connsiteY6084" fmla="*/ 561419 h 3690338"/>
                <a:gd name="connsiteX6085" fmla="*/ 754592 w 4878487"/>
                <a:gd name="connsiteY6085" fmla="*/ 561813 h 3690338"/>
                <a:gd name="connsiteX6086" fmla="*/ 757346 w 4878487"/>
                <a:gd name="connsiteY6086" fmla="*/ 561419 h 3690338"/>
                <a:gd name="connsiteX6087" fmla="*/ 760100 w 4878487"/>
                <a:gd name="connsiteY6087" fmla="*/ 559846 h 3690338"/>
                <a:gd name="connsiteX6088" fmla="*/ 763247 w 4878487"/>
                <a:gd name="connsiteY6088" fmla="*/ 560239 h 3690338"/>
                <a:gd name="connsiteX6089" fmla="*/ 766002 w 4878487"/>
                <a:gd name="connsiteY6089" fmla="*/ 557879 h 3690338"/>
                <a:gd name="connsiteX6090" fmla="*/ 766395 w 4878487"/>
                <a:gd name="connsiteY6090" fmla="*/ 557485 h 3690338"/>
                <a:gd name="connsiteX6091" fmla="*/ 766788 w 4878487"/>
                <a:gd name="connsiteY6091" fmla="*/ 557485 h 3690338"/>
                <a:gd name="connsiteX6092" fmla="*/ 769542 w 4878487"/>
                <a:gd name="connsiteY6092" fmla="*/ 557879 h 3690338"/>
                <a:gd name="connsiteX6093" fmla="*/ 769542 w 4878487"/>
                <a:gd name="connsiteY6093" fmla="*/ 557092 h 3690338"/>
                <a:gd name="connsiteX6094" fmla="*/ 772296 w 4878487"/>
                <a:gd name="connsiteY6094" fmla="*/ 556698 h 3690338"/>
                <a:gd name="connsiteX6095" fmla="*/ 775443 w 4878487"/>
                <a:gd name="connsiteY6095" fmla="*/ 555125 h 3690338"/>
                <a:gd name="connsiteX6096" fmla="*/ 778198 w 4878487"/>
                <a:gd name="connsiteY6096" fmla="*/ 553551 h 3690338"/>
                <a:gd name="connsiteX6097" fmla="*/ 780952 w 4878487"/>
                <a:gd name="connsiteY6097" fmla="*/ 551977 h 3690338"/>
                <a:gd name="connsiteX6098" fmla="*/ 783706 w 4878487"/>
                <a:gd name="connsiteY6098" fmla="*/ 549223 h 3690338"/>
                <a:gd name="connsiteX6099" fmla="*/ 786460 w 4878487"/>
                <a:gd name="connsiteY6099" fmla="*/ 546863 h 3690338"/>
                <a:gd name="connsiteX6100" fmla="*/ 786460 w 4878487"/>
                <a:gd name="connsiteY6100" fmla="*/ 546469 h 3690338"/>
                <a:gd name="connsiteX6101" fmla="*/ 792361 w 4878487"/>
                <a:gd name="connsiteY6101" fmla="*/ 542928 h 3690338"/>
                <a:gd name="connsiteX6102" fmla="*/ 798262 w 4878487"/>
                <a:gd name="connsiteY6102" fmla="*/ 538601 h 3690338"/>
                <a:gd name="connsiteX6103" fmla="*/ 802590 w 4878487"/>
                <a:gd name="connsiteY6103" fmla="*/ 533486 h 3690338"/>
                <a:gd name="connsiteX6104" fmla="*/ 805344 w 4878487"/>
                <a:gd name="connsiteY6104" fmla="*/ 532306 h 3690338"/>
                <a:gd name="connsiteX6105" fmla="*/ 805344 w 4878487"/>
                <a:gd name="connsiteY6105" fmla="*/ 529945 h 3690338"/>
                <a:gd name="connsiteX6106" fmla="*/ 803770 w 4878487"/>
                <a:gd name="connsiteY6106" fmla="*/ 527585 h 3690338"/>
                <a:gd name="connsiteX6107" fmla="*/ 805344 w 4878487"/>
                <a:gd name="connsiteY6107" fmla="*/ 529158 h 3690338"/>
                <a:gd name="connsiteX6108" fmla="*/ 808885 w 4878487"/>
                <a:gd name="connsiteY6108" fmla="*/ 530339 h 3690338"/>
                <a:gd name="connsiteX6109" fmla="*/ 811639 w 4878487"/>
                <a:gd name="connsiteY6109" fmla="*/ 531912 h 3690338"/>
                <a:gd name="connsiteX6110" fmla="*/ 812819 w 4878487"/>
                <a:gd name="connsiteY6110" fmla="*/ 532306 h 3690338"/>
                <a:gd name="connsiteX6111" fmla="*/ 813999 w 4878487"/>
                <a:gd name="connsiteY6111" fmla="*/ 529945 h 3690338"/>
                <a:gd name="connsiteX6112" fmla="*/ 816753 w 4878487"/>
                <a:gd name="connsiteY6112" fmla="*/ 529945 h 3690338"/>
                <a:gd name="connsiteX6113" fmla="*/ 818720 w 4878487"/>
                <a:gd name="connsiteY6113" fmla="*/ 527191 h 3690338"/>
                <a:gd name="connsiteX6114" fmla="*/ 821475 w 4878487"/>
                <a:gd name="connsiteY6114" fmla="*/ 525618 h 3690338"/>
                <a:gd name="connsiteX6115" fmla="*/ 822655 w 4878487"/>
                <a:gd name="connsiteY6115" fmla="*/ 522864 h 3690338"/>
                <a:gd name="connsiteX6116" fmla="*/ 822655 w 4878487"/>
                <a:gd name="connsiteY6116" fmla="*/ 525618 h 3690338"/>
                <a:gd name="connsiteX6117" fmla="*/ 823442 w 4878487"/>
                <a:gd name="connsiteY6117" fmla="*/ 522864 h 3690338"/>
                <a:gd name="connsiteX6118" fmla="*/ 824622 w 4878487"/>
                <a:gd name="connsiteY6118" fmla="*/ 520110 h 3690338"/>
                <a:gd name="connsiteX6119" fmla="*/ 822261 w 4878487"/>
                <a:gd name="connsiteY6119" fmla="*/ 516962 h 3690338"/>
                <a:gd name="connsiteX6120" fmla="*/ 821475 w 4878487"/>
                <a:gd name="connsiteY6120" fmla="*/ 516175 h 3690338"/>
                <a:gd name="connsiteX6121" fmla="*/ 822261 w 4878487"/>
                <a:gd name="connsiteY6121" fmla="*/ 514602 h 3690338"/>
                <a:gd name="connsiteX6122" fmla="*/ 822655 w 4878487"/>
                <a:gd name="connsiteY6122" fmla="*/ 514602 h 3690338"/>
                <a:gd name="connsiteX6123" fmla="*/ 823835 w 4878487"/>
                <a:gd name="connsiteY6123" fmla="*/ 512241 h 3690338"/>
                <a:gd name="connsiteX6124" fmla="*/ 826196 w 4878487"/>
                <a:gd name="connsiteY6124" fmla="*/ 514995 h 3690338"/>
                <a:gd name="connsiteX6125" fmla="*/ 828556 w 4878487"/>
                <a:gd name="connsiteY6125" fmla="*/ 512241 h 3690338"/>
                <a:gd name="connsiteX6126" fmla="*/ 826196 w 4878487"/>
                <a:gd name="connsiteY6126" fmla="*/ 509094 h 3690338"/>
                <a:gd name="connsiteX6127" fmla="*/ 825802 w 4878487"/>
                <a:gd name="connsiteY6127" fmla="*/ 506340 h 3690338"/>
                <a:gd name="connsiteX6128" fmla="*/ 829343 w 4878487"/>
                <a:gd name="connsiteY6128" fmla="*/ 502799 h 3690338"/>
                <a:gd name="connsiteX6129" fmla="*/ 832097 w 4878487"/>
                <a:gd name="connsiteY6129" fmla="*/ 505159 h 3690338"/>
                <a:gd name="connsiteX6130" fmla="*/ 831310 w 4878487"/>
                <a:gd name="connsiteY6130" fmla="*/ 507913 h 3690338"/>
                <a:gd name="connsiteX6131" fmla="*/ 830523 w 4878487"/>
                <a:gd name="connsiteY6131" fmla="*/ 505159 h 3690338"/>
                <a:gd name="connsiteX6132" fmla="*/ 827769 w 4878487"/>
                <a:gd name="connsiteY6132" fmla="*/ 507913 h 3690338"/>
                <a:gd name="connsiteX6133" fmla="*/ 829343 w 4878487"/>
                <a:gd name="connsiteY6133" fmla="*/ 511061 h 3690338"/>
                <a:gd name="connsiteX6134" fmla="*/ 830130 w 4878487"/>
                <a:gd name="connsiteY6134" fmla="*/ 513815 h 3690338"/>
                <a:gd name="connsiteX6135" fmla="*/ 830917 w 4878487"/>
                <a:gd name="connsiteY6135" fmla="*/ 515388 h 3690338"/>
                <a:gd name="connsiteX6136" fmla="*/ 830523 w 4878487"/>
                <a:gd name="connsiteY6136" fmla="*/ 518536 h 3690338"/>
                <a:gd name="connsiteX6137" fmla="*/ 830917 w 4878487"/>
                <a:gd name="connsiteY6137" fmla="*/ 521290 h 3690338"/>
                <a:gd name="connsiteX6138" fmla="*/ 833671 w 4878487"/>
                <a:gd name="connsiteY6138" fmla="*/ 524437 h 3690338"/>
                <a:gd name="connsiteX6139" fmla="*/ 836425 w 4878487"/>
                <a:gd name="connsiteY6139" fmla="*/ 524437 h 3690338"/>
                <a:gd name="connsiteX6140" fmla="*/ 839572 w 4878487"/>
                <a:gd name="connsiteY6140" fmla="*/ 526404 h 3690338"/>
                <a:gd name="connsiteX6141" fmla="*/ 841933 w 4878487"/>
                <a:gd name="connsiteY6141" fmla="*/ 526011 h 3690338"/>
                <a:gd name="connsiteX6142" fmla="*/ 843900 w 4878487"/>
                <a:gd name="connsiteY6142" fmla="*/ 527978 h 3690338"/>
                <a:gd name="connsiteX6143" fmla="*/ 841539 w 4878487"/>
                <a:gd name="connsiteY6143" fmla="*/ 530732 h 3690338"/>
                <a:gd name="connsiteX6144" fmla="*/ 841933 w 4878487"/>
                <a:gd name="connsiteY6144" fmla="*/ 530732 h 3690338"/>
                <a:gd name="connsiteX6145" fmla="*/ 841539 w 4878487"/>
                <a:gd name="connsiteY6145" fmla="*/ 531126 h 3690338"/>
                <a:gd name="connsiteX6146" fmla="*/ 843506 w 4878487"/>
                <a:gd name="connsiteY6146" fmla="*/ 533880 h 3690338"/>
                <a:gd name="connsiteX6147" fmla="*/ 844293 w 4878487"/>
                <a:gd name="connsiteY6147" fmla="*/ 536634 h 3690338"/>
                <a:gd name="connsiteX6148" fmla="*/ 844687 w 4878487"/>
                <a:gd name="connsiteY6148" fmla="*/ 539781 h 3690338"/>
                <a:gd name="connsiteX6149" fmla="*/ 845080 w 4878487"/>
                <a:gd name="connsiteY6149" fmla="*/ 542928 h 3690338"/>
                <a:gd name="connsiteX6150" fmla="*/ 845474 w 4878487"/>
                <a:gd name="connsiteY6150" fmla="*/ 545682 h 3690338"/>
                <a:gd name="connsiteX6151" fmla="*/ 845867 w 4878487"/>
                <a:gd name="connsiteY6151" fmla="*/ 548436 h 3690338"/>
                <a:gd name="connsiteX6152" fmla="*/ 845080 w 4878487"/>
                <a:gd name="connsiteY6152" fmla="*/ 551584 h 3690338"/>
                <a:gd name="connsiteX6153" fmla="*/ 848227 w 4878487"/>
                <a:gd name="connsiteY6153" fmla="*/ 550403 h 3690338"/>
                <a:gd name="connsiteX6154" fmla="*/ 849801 w 4878487"/>
                <a:gd name="connsiteY6154" fmla="*/ 553157 h 3690338"/>
                <a:gd name="connsiteX6155" fmla="*/ 852949 w 4878487"/>
                <a:gd name="connsiteY6155" fmla="*/ 551190 h 3690338"/>
                <a:gd name="connsiteX6156" fmla="*/ 852949 w 4878487"/>
                <a:gd name="connsiteY6156" fmla="*/ 550797 h 3690338"/>
                <a:gd name="connsiteX6157" fmla="*/ 853342 w 4878487"/>
                <a:gd name="connsiteY6157" fmla="*/ 551977 h 3690338"/>
                <a:gd name="connsiteX6158" fmla="*/ 851375 w 4878487"/>
                <a:gd name="connsiteY6158" fmla="*/ 554731 h 3690338"/>
                <a:gd name="connsiteX6159" fmla="*/ 854523 w 4878487"/>
                <a:gd name="connsiteY6159" fmla="*/ 554338 h 3690338"/>
                <a:gd name="connsiteX6160" fmla="*/ 854916 w 4878487"/>
                <a:gd name="connsiteY6160" fmla="*/ 555125 h 3690338"/>
                <a:gd name="connsiteX6161" fmla="*/ 850194 w 4878487"/>
                <a:gd name="connsiteY6161" fmla="*/ 557485 h 3690338"/>
                <a:gd name="connsiteX6162" fmla="*/ 852949 w 4878487"/>
                <a:gd name="connsiteY6162" fmla="*/ 559846 h 3690338"/>
                <a:gd name="connsiteX6163" fmla="*/ 856096 w 4878487"/>
                <a:gd name="connsiteY6163" fmla="*/ 559452 h 3690338"/>
                <a:gd name="connsiteX6164" fmla="*/ 856490 w 4878487"/>
                <a:gd name="connsiteY6164" fmla="*/ 559452 h 3690338"/>
                <a:gd name="connsiteX6165" fmla="*/ 856883 w 4878487"/>
                <a:gd name="connsiteY6165" fmla="*/ 561026 h 3690338"/>
                <a:gd name="connsiteX6166" fmla="*/ 854916 w 4878487"/>
                <a:gd name="connsiteY6166" fmla="*/ 561026 h 3690338"/>
                <a:gd name="connsiteX6167" fmla="*/ 854129 w 4878487"/>
                <a:gd name="connsiteY6167" fmla="*/ 561419 h 3690338"/>
                <a:gd name="connsiteX6168" fmla="*/ 852555 w 4878487"/>
                <a:gd name="connsiteY6168" fmla="*/ 564173 h 3690338"/>
                <a:gd name="connsiteX6169" fmla="*/ 855703 w 4878487"/>
                <a:gd name="connsiteY6169" fmla="*/ 563780 h 3690338"/>
                <a:gd name="connsiteX6170" fmla="*/ 857276 w 4878487"/>
                <a:gd name="connsiteY6170" fmla="*/ 561813 h 3690338"/>
                <a:gd name="connsiteX6171" fmla="*/ 858063 w 4878487"/>
                <a:gd name="connsiteY6171" fmla="*/ 563780 h 3690338"/>
                <a:gd name="connsiteX6172" fmla="*/ 856490 w 4878487"/>
                <a:gd name="connsiteY6172" fmla="*/ 566534 h 3690338"/>
                <a:gd name="connsiteX6173" fmla="*/ 857276 w 4878487"/>
                <a:gd name="connsiteY6173" fmla="*/ 569288 h 3690338"/>
                <a:gd name="connsiteX6174" fmla="*/ 860030 w 4878487"/>
                <a:gd name="connsiteY6174" fmla="*/ 568895 h 3690338"/>
                <a:gd name="connsiteX6175" fmla="*/ 857276 w 4878487"/>
                <a:gd name="connsiteY6175" fmla="*/ 570468 h 3690338"/>
                <a:gd name="connsiteX6176" fmla="*/ 860030 w 4878487"/>
                <a:gd name="connsiteY6176" fmla="*/ 572042 h 3690338"/>
                <a:gd name="connsiteX6177" fmla="*/ 860817 w 4878487"/>
                <a:gd name="connsiteY6177" fmla="*/ 574796 h 3690338"/>
                <a:gd name="connsiteX6178" fmla="*/ 861997 w 4878487"/>
                <a:gd name="connsiteY6178" fmla="*/ 575583 h 3690338"/>
                <a:gd name="connsiteX6179" fmla="*/ 861604 w 4878487"/>
                <a:gd name="connsiteY6179" fmla="*/ 578337 h 3690338"/>
                <a:gd name="connsiteX6180" fmla="*/ 861211 w 4878487"/>
                <a:gd name="connsiteY6180" fmla="*/ 581484 h 3690338"/>
                <a:gd name="connsiteX6181" fmla="*/ 864358 w 4878487"/>
                <a:gd name="connsiteY6181" fmla="*/ 581091 h 3690338"/>
                <a:gd name="connsiteX6182" fmla="*/ 866325 w 4878487"/>
                <a:gd name="connsiteY6182" fmla="*/ 582664 h 3690338"/>
                <a:gd name="connsiteX6183" fmla="*/ 867112 w 4878487"/>
                <a:gd name="connsiteY6183" fmla="*/ 583845 h 3690338"/>
                <a:gd name="connsiteX6184" fmla="*/ 867112 w 4878487"/>
                <a:gd name="connsiteY6184" fmla="*/ 586205 h 3690338"/>
                <a:gd name="connsiteX6185" fmla="*/ 869079 w 4878487"/>
                <a:gd name="connsiteY6185" fmla="*/ 588959 h 3690338"/>
                <a:gd name="connsiteX6186" fmla="*/ 869866 w 4878487"/>
                <a:gd name="connsiteY6186" fmla="*/ 591713 h 3690338"/>
                <a:gd name="connsiteX6187" fmla="*/ 872620 w 4878487"/>
                <a:gd name="connsiteY6187" fmla="*/ 593680 h 3690338"/>
                <a:gd name="connsiteX6188" fmla="*/ 874981 w 4878487"/>
                <a:gd name="connsiteY6188" fmla="*/ 597221 h 3690338"/>
                <a:gd name="connsiteX6189" fmla="*/ 875767 w 4878487"/>
                <a:gd name="connsiteY6189" fmla="*/ 597615 h 3690338"/>
                <a:gd name="connsiteX6190" fmla="*/ 877734 w 4878487"/>
                <a:gd name="connsiteY6190" fmla="*/ 599188 h 3690338"/>
                <a:gd name="connsiteX6191" fmla="*/ 878915 w 4878487"/>
                <a:gd name="connsiteY6191" fmla="*/ 601942 h 3690338"/>
                <a:gd name="connsiteX6192" fmla="*/ 881669 w 4878487"/>
                <a:gd name="connsiteY6192" fmla="*/ 604696 h 3690338"/>
                <a:gd name="connsiteX6193" fmla="*/ 883242 w 4878487"/>
                <a:gd name="connsiteY6193" fmla="*/ 604696 h 3690338"/>
                <a:gd name="connsiteX6194" fmla="*/ 886783 w 4878487"/>
                <a:gd name="connsiteY6194" fmla="*/ 608237 h 3690338"/>
                <a:gd name="connsiteX6195" fmla="*/ 885997 w 4878487"/>
                <a:gd name="connsiteY6195" fmla="*/ 611385 h 3690338"/>
                <a:gd name="connsiteX6196" fmla="*/ 883242 w 4878487"/>
                <a:gd name="connsiteY6196" fmla="*/ 610991 h 3690338"/>
                <a:gd name="connsiteX6197" fmla="*/ 880489 w 4878487"/>
                <a:gd name="connsiteY6197" fmla="*/ 611385 h 3690338"/>
                <a:gd name="connsiteX6198" fmla="*/ 881275 w 4878487"/>
                <a:gd name="connsiteY6198" fmla="*/ 614139 h 3690338"/>
                <a:gd name="connsiteX6199" fmla="*/ 884030 w 4878487"/>
                <a:gd name="connsiteY6199" fmla="*/ 616499 h 3690338"/>
                <a:gd name="connsiteX6200" fmla="*/ 883242 w 4878487"/>
                <a:gd name="connsiteY6200" fmla="*/ 618466 h 3690338"/>
                <a:gd name="connsiteX6201" fmla="*/ 880489 w 4878487"/>
                <a:gd name="connsiteY6201" fmla="*/ 617679 h 3690338"/>
                <a:gd name="connsiteX6202" fmla="*/ 876948 w 4878487"/>
                <a:gd name="connsiteY6202" fmla="*/ 616499 h 3690338"/>
                <a:gd name="connsiteX6203" fmla="*/ 877341 w 4878487"/>
                <a:gd name="connsiteY6203" fmla="*/ 619253 h 3690338"/>
                <a:gd name="connsiteX6204" fmla="*/ 879308 w 4878487"/>
                <a:gd name="connsiteY6204" fmla="*/ 622007 h 3690338"/>
                <a:gd name="connsiteX6205" fmla="*/ 880882 w 4878487"/>
                <a:gd name="connsiteY6205" fmla="*/ 624368 h 3690338"/>
                <a:gd name="connsiteX6206" fmla="*/ 882849 w 4878487"/>
                <a:gd name="connsiteY6206" fmla="*/ 627515 h 3690338"/>
                <a:gd name="connsiteX6207" fmla="*/ 885603 w 4878487"/>
                <a:gd name="connsiteY6207" fmla="*/ 629876 h 3690338"/>
                <a:gd name="connsiteX6208" fmla="*/ 886390 w 4878487"/>
                <a:gd name="connsiteY6208" fmla="*/ 632630 h 3690338"/>
                <a:gd name="connsiteX6209" fmla="*/ 889931 w 4878487"/>
                <a:gd name="connsiteY6209" fmla="*/ 634990 h 3690338"/>
                <a:gd name="connsiteX6210" fmla="*/ 888357 w 4878487"/>
                <a:gd name="connsiteY6210" fmla="*/ 637744 h 3690338"/>
                <a:gd name="connsiteX6211" fmla="*/ 886390 w 4878487"/>
                <a:gd name="connsiteY6211" fmla="*/ 640498 h 3690338"/>
                <a:gd name="connsiteX6212" fmla="*/ 887964 w 4878487"/>
                <a:gd name="connsiteY6212" fmla="*/ 643646 h 3690338"/>
                <a:gd name="connsiteX6213" fmla="*/ 885210 w 4878487"/>
                <a:gd name="connsiteY6213" fmla="*/ 644432 h 3690338"/>
                <a:gd name="connsiteX6214" fmla="*/ 887964 w 4878487"/>
                <a:gd name="connsiteY6214" fmla="*/ 644826 h 3690338"/>
                <a:gd name="connsiteX6215" fmla="*/ 891111 w 4878487"/>
                <a:gd name="connsiteY6215" fmla="*/ 645613 h 3690338"/>
                <a:gd name="connsiteX6216" fmla="*/ 893865 w 4878487"/>
                <a:gd name="connsiteY6216" fmla="*/ 646006 h 3690338"/>
                <a:gd name="connsiteX6217" fmla="*/ 897012 w 4878487"/>
                <a:gd name="connsiteY6217" fmla="*/ 646793 h 3690338"/>
                <a:gd name="connsiteX6218" fmla="*/ 899767 w 4878487"/>
                <a:gd name="connsiteY6218" fmla="*/ 646399 h 3690338"/>
                <a:gd name="connsiteX6219" fmla="*/ 902520 w 4878487"/>
                <a:gd name="connsiteY6219" fmla="*/ 645219 h 3690338"/>
                <a:gd name="connsiteX6220" fmla="*/ 905668 w 4878487"/>
                <a:gd name="connsiteY6220" fmla="*/ 644432 h 3690338"/>
                <a:gd name="connsiteX6221" fmla="*/ 908422 w 4878487"/>
                <a:gd name="connsiteY6221" fmla="*/ 644039 h 3690338"/>
                <a:gd name="connsiteX6222" fmla="*/ 909602 w 4878487"/>
                <a:gd name="connsiteY6222" fmla="*/ 644039 h 3690338"/>
                <a:gd name="connsiteX6223" fmla="*/ 913930 w 4878487"/>
                <a:gd name="connsiteY6223" fmla="*/ 644432 h 3690338"/>
                <a:gd name="connsiteX6224" fmla="*/ 915897 w 4878487"/>
                <a:gd name="connsiteY6224" fmla="*/ 645219 h 3690338"/>
                <a:gd name="connsiteX6225" fmla="*/ 918651 w 4878487"/>
                <a:gd name="connsiteY6225" fmla="*/ 645613 h 3690338"/>
                <a:gd name="connsiteX6226" fmla="*/ 919438 w 4878487"/>
                <a:gd name="connsiteY6226" fmla="*/ 644826 h 3690338"/>
                <a:gd name="connsiteX6227" fmla="*/ 919831 w 4878487"/>
                <a:gd name="connsiteY6227" fmla="*/ 644432 h 3690338"/>
                <a:gd name="connsiteX6228" fmla="*/ 922192 w 4878487"/>
                <a:gd name="connsiteY6228" fmla="*/ 641678 h 3690338"/>
                <a:gd name="connsiteX6229" fmla="*/ 922192 w 4878487"/>
                <a:gd name="connsiteY6229" fmla="*/ 638531 h 3690338"/>
                <a:gd name="connsiteX6230" fmla="*/ 920618 w 4878487"/>
                <a:gd name="connsiteY6230" fmla="*/ 636170 h 3690338"/>
                <a:gd name="connsiteX6231" fmla="*/ 921798 w 4878487"/>
                <a:gd name="connsiteY6231" fmla="*/ 627515 h 3690338"/>
                <a:gd name="connsiteX6232" fmla="*/ 926913 w 4878487"/>
                <a:gd name="connsiteY6232" fmla="*/ 623974 h 3690338"/>
                <a:gd name="connsiteX6233" fmla="*/ 929667 w 4878487"/>
                <a:gd name="connsiteY6233" fmla="*/ 625548 h 3690338"/>
                <a:gd name="connsiteX6234" fmla="*/ 932421 w 4878487"/>
                <a:gd name="connsiteY6234" fmla="*/ 625154 h 3690338"/>
                <a:gd name="connsiteX6235" fmla="*/ 930847 w 4878487"/>
                <a:gd name="connsiteY6235" fmla="*/ 622400 h 3690338"/>
                <a:gd name="connsiteX6236" fmla="*/ 932027 w 4878487"/>
                <a:gd name="connsiteY6236" fmla="*/ 620827 h 3690338"/>
                <a:gd name="connsiteX6237" fmla="*/ 937535 w 4878487"/>
                <a:gd name="connsiteY6237" fmla="*/ 620827 h 3690338"/>
                <a:gd name="connsiteX6238" fmla="*/ 940683 w 4878487"/>
                <a:gd name="connsiteY6238" fmla="*/ 621220 h 3690338"/>
                <a:gd name="connsiteX6239" fmla="*/ 943437 w 4878487"/>
                <a:gd name="connsiteY6239" fmla="*/ 620827 h 3690338"/>
                <a:gd name="connsiteX6240" fmla="*/ 946191 w 4878487"/>
                <a:gd name="connsiteY6240" fmla="*/ 620827 h 3690338"/>
                <a:gd name="connsiteX6241" fmla="*/ 949338 w 4878487"/>
                <a:gd name="connsiteY6241" fmla="*/ 620433 h 3690338"/>
                <a:gd name="connsiteX6242" fmla="*/ 952092 w 4878487"/>
                <a:gd name="connsiteY6242" fmla="*/ 620040 h 3690338"/>
                <a:gd name="connsiteX6243" fmla="*/ 954846 w 4878487"/>
                <a:gd name="connsiteY6243" fmla="*/ 620433 h 3690338"/>
                <a:gd name="connsiteX6244" fmla="*/ 957600 w 4878487"/>
                <a:gd name="connsiteY6244" fmla="*/ 621220 h 3690338"/>
                <a:gd name="connsiteX6245" fmla="*/ 960354 w 4878487"/>
                <a:gd name="connsiteY6245" fmla="*/ 621614 h 3690338"/>
                <a:gd name="connsiteX6246" fmla="*/ 963108 w 4878487"/>
                <a:gd name="connsiteY6246" fmla="*/ 618860 h 3690338"/>
                <a:gd name="connsiteX6247" fmla="*/ 963895 w 4878487"/>
                <a:gd name="connsiteY6247" fmla="*/ 616106 h 3690338"/>
                <a:gd name="connsiteX6248" fmla="*/ 963895 w 4878487"/>
                <a:gd name="connsiteY6248" fmla="*/ 615712 h 3690338"/>
                <a:gd name="connsiteX6249" fmla="*/ 967436 w 4878487"/>
                <a:gd name="connsiteY6249" fmla="*/ 609024 h 3690338"/>
                <a:gd name="connsiteX6250" fmla="*/ 968616 w 4878487"/>
                <a:gd name="connsiteY6250" fmla="*/ 606270 h 3690338"/>
                <a:gd name="connsiteX6251" fmla="*/ 970977 w 4878487"/>
                <a:gd name="connsiteY6251" fmla="*/ 603516 h 3690338"/>
                <a:gd name="connsiteX6252" fmla="*/ 972157 w 4878487"/>
                <a:gd name="connsiteY6252" fmla="*/ 600762 h 3690338"/>
                <a:gd name="connsiteX6253" fmla="*/ 972550 w 4878487"/>
                <a:gd name="connsiteY6253" fmla="*/ 598008 h 3690338"/>
                <a:gd name="connsiteX6254" fmla="*/ 972157 w 4878487"/>
                <a:gd name="connsiteY6254" fmla="*/ 595254 h 3690338"/>
                <a:gd name="connsiteX6255" fmla="*/ 974911 w 4878487"/>
                <a:gd name="connsiteY6255" fmla="*/ 593680 h 3690338"/>
                <a:gd name="connsiteX6256" fmla="*/ 974124 w 4878487"/>
                <a:gd name="connsiteY6256" fmla="*/ 591320 h 3690338"/>
                <a:gd name="connsiteX6257" fmla="*/ 973337 w 4878487"/>
                <a:gd name="connsiteY6257" fmla="*/ 590926 h 3690338"/>
                <a:gd name="connsiteX6258" fmla="*/ 972944 w 4878487"/>
                <a:gd name="connsiteY6258" fmla="*/ 590140 h 3690338"/>
                <a:gd name="connsiteX6259" fmla="*/ 972944 w 4878487"/>
                <a:gd name="connsiteY6259" fmla="*/ 587386 h 3690338"/>
                <a:gd name="connsiteX6260" fmla="*/ 972157 w 4878487"/>
                <a:gd name="connsiteY6260" fmla="*/ 586992 h 3690338"/>
                <a:gd name="connsiteX6261" fmla="*/ 974124 w 4878487"/>
                <a:gd name="connsiteY6261" fmla="*/ 584238 h 3690338"/>
                <a:gd name="connsiteX6262" fmla="*/ 976878 w 4878487"/>
                <a:gd name="connsiteY6262" fmla="*/ 582664 h 3690338"/>
                <a:gd name="connsiteX6263" fmla="*/ 977271 w 4878487"/>
                <a:gd name="connsiteY6263" fmla="*/ 579517 h 3690338"/>
                <a:gd name="connsiteX6264" fmla="*/ 974518 w 4878487"/>
                <a:gd name="connsiteY6264" fmla="*/ 577550 h 3690338"/>
                <a:gd name="connsiteX6265" fmla="*/ 975304 w 4878487"/>
                <a:gd name="connsiteY6265" fmla="*/ 574402 h 3690338"/>
                <a:gd name="connsiteX6266" fmla="*/ 977665 w 4878487"/>
                <a:gd name="connsiteY6266" fmla="*/ 573616 h 3690338"/>
                <a:gd name="connsiteX6267" fmla="*/ 976485 w 4878487"/>
                <a:gd name="connsiteY6267" fmla="*/ 570862 h 3690338"/>
                <a:gd name="connsiteX6268" fmla="*/ 976091 w 4878487"/>
                <a:gd name="connsiteY6268" fmla="*/ 570468 h 3690338"/>
                <a:gd name="connsiteX6269" fmla="*/ 971763 w 4878487"/>
                <a:gd name="connsiteY6269" fmla="*/ 566927 h 3690338"/>
                <a:gd name="connsiteX6270" fmla="*/ 978058 w 4878487"/>
                <a:gd name="connsiteY6270" fmla="*/ 567714 h 3690338"/>
                <a:gd name="connsiteX6271" fmla="*/ 978058 w 4878487"/>
                <a:gd name="connsiteY6271" fmla="*/ 564567 h 3690338"/>
                <a:gd name="connsiteX6272" fmla="*/ 976485 w 4878487"/>
                <a:gd name="connsiteY6272" fmla="*/ 564567 h 3690338"/>
                <a:gd name="connsiteX6273" fmla="*/ 976091 w 4878487"/>
                <a:gd name="connsiteY6273" fmla="*/ 564173 h 3690338"/>
                <a:gd name="connsiteX6274" fmla="*/ 978845 w 4878487"/>
                <a:gd name="connsiteY6274" fmla="*/ 562600 h 3690338"/>
                <a:gd name="connsiteX6275" fmla="*/ 980025 w 4878487"/>
                <a:gd name="connsiteY6275" fmla="*/ 559846 h 3690338"/>
                <a:gd name="connsiteX6276" fmla="*/ 979632 w 4878487"/>
                <a:gd name="connsiteY6276" fmla="*/ 557092 h 3690338"/>
                <a:gd name="connsiteX6277" fmla="*/ 977271 w 4878487"/>
                <a:gd name="connsiteY6277" fmla="*/ 554338 h 3690338"/>
                <a:gd name="connsiteX6278" fmla="*/ 974911 w 4878487"/>
                <a:gd name="connsiteY6278" fmla="*/ 551190 h 3690338"/>
                <a:gd name="connsiteX6279" fmla="*/ 972157 w 4878487"/>
                <a:gd name="connsiteY6279" fmla="*/ 550403 h 3690338"/>
                <a:gd name="connsiteX6280" fmla="*/ 969403 w 4878487"/>
                <a:gd name="connsiteY6280" fmla="*/ 549617 h 3690338"/>
                <a:gd name="connsiteX6281" fmla="*/ 972157 w 4878487"/>
                <a:gd name="connsiteY6281" fmla="*/ 550010 h 3690338"/>
                <a:gd name="connsiteX6282" fmla="*/ 975304 w 4878487"/>
                <a:gd name="connsiteY6282" fmla="*/ 550797 h 3690338"/>
                <a:gd name="connsiteX6283" fmla="*/ 978058 w 4878487"/>
                <a:gd name="connsiteY6283" fmla="*/ 550797 h 3690338"/>
                <a:gd name="connsiteX6284" fmla="*/ 980812 w 4878487"/>
                <a:gd name="connsiteY6284" fmla="*/ 549617 h 3690338"/>
                <a:gd name="connsiteX6285" fmla="*/ 978452 w 4878487"/>
                <a:gd name="connsiteY6285" fmla="*/ 546863 h 3690338"/>
                <a:gd name="connsiteX6286" fmla="*/ 975698 w 4878487"/>
                <a:gd name="connsiteY6286" fmla="*/ 546076 h 3690338"/>
                <a:gd name="connsiteX6287" fmla="*/ 977665 w 4878487"/>
                <a:gd name="connsiteY6287" fmla="*/ 544895 h 3690338"/>
                <a:gd name="connsiteX6288" fmla="*/ 980419 w 4878487"/>
                <a:gd name="connsiteY6288" fmla="*/ 545289 h 3690338"/>
                <a:gd name="connsiteX6289" fmla="*/ 983959 w 4878487"/>
                <a:gd name="connsiteY6289" fmla="*/ 544895 h 3690338"/>
                <a:gd name="connsiteX6290" fmla="*/ 986714 w 4878487"/>
                <a:gd name="connsiteY6290" fmla="*/ 543715 h 3690338"/>
                <a:gd name="connsiteX6291" fmla="*/ 983959 w 4878487"/>
                <a:gd name="connsiteY6291" fmla="*/ 541355 h 3690338"/>
                <a:gd name="connsiteX6292" fmla="*/ 983959 w 4878487"/>
                <a:gd name="connsiteY6292" fmla="*/ 541355 h 3690338"/>
                <a:gd name="connsiteX6293" fmla="*/ 986714 w 4878487"/>
                <a:gd name="connsiteY6293" fmla="*/ 541748 h 3690338"/>
                <a:gd name="connsiteX6294" fmla="*/ 989468 w 4878487"/>
                <a:gd name="connsiteY6294" fmla="*/ 542142 h 3690338"/>
                <a:gd name="connsiteX6295" fmla="*/ 992222 w 4878487"/>
                <a:gd name="connsiteY6295" fmla="*/ 541748 h 3690338"/>
                <a:gd name="connsiteX6296" fmla="*/ 995369 w 4878487"/>
                <a:gd name="connsiteY6296" fmla="*/ 540174 h 3690338"/>
                <a:gd name="connsiteX6297" fmla="*/ 993795 w 4878487"/>
                <a:gd name="connsiteY6297" fmla="*/ 537420 h 3690338"/>
                <a:gd name="connsiteX6298" fmla="*/ 996943 w 4878487"/>
                <a:gd name="connsiteY6298" fmla="*/ 537814 h 3690338"/>
                <a:gd name="connsiteX6299" fmla="*/ 996549 w 4878487"/>
                <a:gd name="connsiteY6299" fmla="*/ 534666 h 3690338"/>
                <a:gd name="connsiteX6300" fmla="*/ 996549 w 4878487"/>
                <a:gd name="connsiteY6300" fmla="*/ 534273 h 3690338"/>
                <a:gd name="connsiteX6301" fmla="*/ 999303 w 4878487"/>
                <a:gd name="connsiteY6301" fmla="*/ 536240 h 3690338"/>
                <a:gd name="connsiteX6302" fmla="*/ 999303 w 4878487"/>
                <a:gd name="connsiteY6302" fmla="*/ 533486 h 3690338"/>
                <a:gd name="connsiteX6303" fmla="*/ 999303 w 4878487"/>
                <a:gd name="connsiteY6303" fmla="*/ 533486 h 3690338"/>
                <a:gd name="connsiteX6304" fmla="*/ 1000090 w 4878487"/>
                <a:gd name="connsiteY6304" fmla="*/ 533093 h 3690338"/>
                <a:gd name="connsiteX6305" fmla="*/ 1000090 w 4878487"/>
                <a:gd name="connsiteY6305" fmla="*/ 533880 h 3690338"/>
                <a:gd name="connsiteX6306" fmla="*/ 1001270 w 4878487"/>
                <a:gd name="connsiteY6306" fmla="*/ 536634 h 3690338"/>
                <a:gd name="connsiteX6307" fmla="*/ 1004025 w 4878487"/>
                <a:gd name="connsiteY6307" fmla="*/ 537027 h 3690338"/>
                <a:gd name="connsiteX6308" fmla="*/ 1005598 w 4878487"/>
                <a:gd name="connsiteY6308" fmla="*/ 533880 h 3690338"/>
                <a:gd name="connsiteX6309" fmla="*/ 1007172 w 4878487"/>
                <a:gd name="connsiteY6309" fmla="*/ 531126 h 3690338"/>
                <a:gd name="connsiteX6310" fmla="*/ 1009926 w 4878487"/>
                <a:gd name="connsiteY6310" fmla="*/ 530339 h 3690338"/>
                <a:gd name="connsiteX6311" fmla="*/ 1011499 w 4878487"/>
                <a:gd name="connsiteY6311" fmla="*/ 529158 h 3690338"/>
                <a:gd name="connsiteX6312" fmla="*/ 1014647 w 4878487"/>
                <a:gd name="connsiteY6312" fmla="*/ 528765 h 3690338"/>
                <a:gd name="connsiteX6313" fmla="*/ 1017401 w 4878487"/>
                <a:gd name="connsiteY6313" fmla="*/ 527585 h 3690338"/>
                <a:gd name="connsiteX6314" fmla="*/ 1015827 w 4878487"/>
                <a:gd name="connsiteY6314" fmla="*/ 526798 h 3690338"/>
                <a:gd name="connsiteX6315" fmla="*/ 1018581 w 4878487"/>
                <a:gd name="connsiteY6315" fmla="*/ 525618 h 3690338"/>
                <a:gd name="connsiteX6316" fmla="*/ 1018581 w 4878487"/>
                <a:gd name="connsiteY6316" fmla="*/ 525618 h 3690338"/>
                <a:gd name="connsiteX6317" fmla="*/ 1020155 w 4878487"/>
                <a:gd name="connsiteY6317" fmla="*/ 524831 h 3690338"/>
                <a:gd name="connsiteX6318" fmla="*/ 1022122 w 4878487"/>
                <a:gd name="connsiteY6318" fmla="*/ 516175 h 3690338"/>
                <a:gd name="connsiteX6319" fmla="*/ 1022515 w 4878487"/>
                <a:gd name="connsiteY6319" fmla="*/ 515782 h 3690338"/>
                <a:gd name="connsiteX6320" fmla="*/ 1022122 w 4878487"/>
                <a:gd name="connsiteY6320" fmla="*/ 515782 h 3690338"/>
                <a:gd name="connsiteX6321" fmla="*/ 1023302 w 4878487"/>
                <a:gd name="connsiteY6321" fmla="*/ 510667 h 3690338"/>
                <a:gd name="connsiteX6322" fmla="*/ 1026056 w 4878487"/>
                <a:gd name="connsiteY6322" fmla="*/ 510274 h 3690338"/>
                <a:gd name="connsiteX6323" fmla="*/ 1026843 w 4878487"/>
                <a:gd name="connsiteY6323" fmla="*/ 509881 h 3690338"/>
                <a:gd name="connsiteX6324" fmla="*/ 1027236 w 4878487"/>
                <a:gd name="connsiteY6324" fmla="*/ 509881 h 3690338"/>
                <a:gd name="connsiteX6325" fmla="*/ 1030384 w 4878487"/>
                <a:gd name="connsiteY6325" fmla="*/ 509487 h 3690338"/>
                <a:gd name="connsiteX6326" fmla="*/ 1028417 w 4878487"/>
                <a:gd name="connsiteY6326" fmla="*/ 506340 h 3690338"/>
                <a:gd name="connsiteX6327" fmla="*/ 1025663 w 4878487"/>
                <a:gd name="connsiteY6327" fmla="*/ 503586 h 3690338"/>
                <a:gd name="connsiteX6328" fmla="*/ 1028417 w 4878487"/>
                <a:gd name="connsiteY6328" fmla="*/ 505553 h 3690338"/>
                <a:gd name="connsiteX6329" fmla="*/ 1026056 w 4878487"/>
                <a:gd name="connsiteY6329" fmla="*/ 502799 h 3690338"/>
                <a:gd name="connsiteX6330" fmla="*/ 1024483 w 4878487"/>
                <a:gd name="connsiteY6330" fmla="*/ 500832 h 3690338"/>
                <a:gd name="connsiteX6331" fmla="*/ 1023302 w 4878487"/>
                <a:gd name="connsiteY6331" fmla="*/ 497684 h 3690338"/>
                <a:gd name="connsiteX6332" fmla="*/ 1020548 w 4878487"/>
                <a:gd name="connsiteY6332" fmla="*/ 497291 h 3690338"/>
                <a:gd name="connsiteX6333" fmla="*/ 1017401 w 4878487"/>
                <a:gd name="connsiteY6333" fmla="*/ 496897 h 3690338"/>
                <a:gd name="connsiteX6334" fmla="*/ 1016614 w 4878487"/>
                <a:gd name="connsiteY6334" fmla="*/ 496897 h 3690338"/>
                <a:gd name="connsiteX6335" fmla="*/ 1013860 w 4878487"/>
                <a:gd name="connsiteY6335" fmla="*/ 493750 h 3690338"/>
                <a:gd name="connsiteX6336" fmla="*/ 1016614 w 4878487"/>
                <a:gd name="connsiteY6336" fmla="*/ 493357 h 3690338"/>
                <a:gd name="connsiteX6337" fmla="*/ 1013860 w 4878487"/>
                <a:gd name="connsiteY6337" fmla="*/ 490996 h 3690338"/>
                <a:gd name="connsiteX6338" fmla="*/ 1010713 w 4878487"/>
                <a:gd name="connsiteY6338" fmla="*/ 490603 h 3690338"/>
                <a:gd name="connsiteX6339" fmla="*/ 1007959 w 4878487"/>
                <a:gd name="connsiteY6339" fmla="*/ 489422 h 3690338"/>
                <a:gd name="connsiteX6340" fmla="*/ 1002451 w 4878487"/>
                <a:gd name="connsiteY6340" fmla="*/ 485488 h 3690338"/>
                <a:gd name="connsiteX6341" fmla="*/ 1002451 w 4878487"/>
                <a:gd name="connsiteY6341" fmla="*/ 482341 h 3690338"/>
                <a:gd name="connsiteX6342" fmla="*/ 999697 w 4878487"/>
                <a:gd name="connsiteY6342" fmla="*/ 483128 h 3690338"/>
                <a:gd name="connsiteX6343" fmla="*/ 996549 w 4878487"/>
                <a:gd name="connsiteY6343" fmla="*/ 485095 h 3690338"/>
                <a:gd name="connsiteX6344" fmla="*/ 994189 w 4878487"/>
                <a:gd name="connsiteY6344" fmla="*/ 484308 h 3690338"/>
                <a:gd name="connsiteX6345" fmla="*/ 993402 w 4878487"/>
                <a:gd name="connsiteY6345" fmla="*/ 483914 h 3690338"/>
                <a:gd name="connsiteX6346" fmla="*/ 992222 w 4878487"/>
                <a:gd name="connsiteY6346" fmla="*/ 480767 h 3690338"/>
                <a:gd name="connsiteX6347" fmla="*/ 989468 w 4878487"/>
                <a:gd name="connsiteY6347" fmla="*/ 481160 h 3690338"/>
                <a:gd name="connsiteX6348" fmla="*/ 987500 w 4878487"/>
                <a:gd name="connsiteY6348" fmla="*/ 480767 h 3690338"/>
                <a:gd name="connsiteX6349" fmla="*/ 986320 w 4878487"/>
                <a:gd name="connsiteY6349" fmla="*/ 478013 h 3690338"/>
                <a:gd name="connsiteX6350" fmla="*/ 986714 w 4878487"/>
                <a:gd name="connsiteY6350" fmla="*/ 477620 h 3690338"/>
                <a:gd name="connsiteX6351" fmla="*/ 985533 w 4878487"/>
                <a:gd name="connsiteY6351" fmla="*/ 476046 h 3690338"/>
                <a:gd name="connsiteX6352" fmla="*/ 980812 w 4878487"/>
                <a:gd name="connsiteY6352" fmla="*/ 463456 h 3690338"/>
                <a:gd name="connsiteX6353" fmla="*/ 981206 w 4878487"/>
                <a:gd name="connsiteY6353" fmla="*/ 461882 h 3690338"/>
                <a:gd name="connsiteX6354" fmla="*/ 981992 w 4878487"/>
                <a:gd name="connsiteY6354" fmla="*/ 459522 h 3690338"/>
                <a:gd name="connsiteX6355" fmla="*/ 980812 w 4878487"/>
                <a:gd name="connsiteY6355" fmla="*/ 458735 h 3690338"/>
                <a:gd name="connsiteX6356" fmla="*/ 980812 w 4878487"/>
                <a:gd name="connsiteY6356" fmla="*/ 457555 h 3690338"/>
                <a:gd name="connsiteX6357" fmla="*/ 981992 w 4878487"/>
                <a:gd name="connsiteY6357" fmla="*/ 457555 h 3690338"/>
                <a:gd name="connsiteX6358" fmla="*/ 980419 w 4878487"/>
                <a:gd name="connsiteY6358" fmla="*/ 454801 h 3690338"/>
                <a:gd name="connsiteX6359" fmla="*/ 980812 w 4878487"/>
                <a:gd name="connsiteY6359" fmla="*/ 453621 h 3690338"/>
                <a:gd name="connsiteX6360" fmla="*/ 981992 w 4878487"/>
                <a:gd name="connsiteY6360" fmla="*/ 453621 h 3690338"/>
                <a:gd name="connsiteX6361" fmla="*/ 980812 w 4878487"/>
                <a:gd name="connsiteY6361" fmla="*/ 453227 h 3690338"/>
                <a:gd name="connsiteX6362" fmla="*/ 981206 w 4878487"/>
                <a:gd name="connsiteY6362" fmla="*/ 452047 h 3690338"/>
                <a:gd name="connsiteX6363" fmla="*/ 981992 w 4878487"/>
                <a:gd name="connsiteY6363" fmla="*/ 452047 h 3690338"/>
                <a:gd name="connsiteX6364" fmla="*/ 981206 w 4878487"/>
                <a:gd name="connsiteY6364" fmla="*/ 452047 h 3690338"/>
                <a:gd name="connsiteX6365" fmla="*/ 981599 w 4878487"/>
                <a:gd name="connsiteY6365" fmla="*/ 450473 h 3690338"/>
                <a:gd name="connsiteX6366" fmla="*/ 982386 w 4878487"/>
                <a:gd name="connsiteY6366" fmla="*/ 450080 h 3690338"/>
                <a:gd name="connsiteX6367" fmla="*/ 981992 w 4878487"/>
                <a:gd name="connsiteY6367" fmla="*/ 450080 h 3690338"/>
                <a:gd name="connsiteX6368" fmla="*/ 982386 w 4878487"/>
                <a:gd name="connsiteY6368" fmla="*/ 448899 h 3690338"/>
                <a:gd name="connsiteX6369" fmla="*/ 984747 w 4878487"/>
                <a:gd name="connsiteY6369" fmla="*/ 450080 h 3690338"/>
                <a:gd name="connsiteX6370" fmla="*/ 987500 w 4878487"/>
                <a:gd name="connsiteY6370" fmla="*/ 452440 h 3690338"/>
                <a:gd name="connsiteX6371" fmla="*/ 987894 w 4878487"/>
                <a:gd name="connsiteY6371" fmla="*/ 449293 h 3690338"/>
                <a:gd name="connsiteX6372" fmla="*/ 984747 w 4878487"/>
                <a:gd name="connsiteY6372" fmla="*/ 448113 h 3690338"/>
                <a:gd name="connsiteX6373" fmla="*/ 983566 w 4878487"/>
                <a:gd name="connsiteY6373" fmla="*/ 445752 h 3690338"/>
                <a:gd name="connsiteX6374" fmla="*/ 985140 w 4878487"/>
                <a:gd name="connsiteY6374" fmla="*/ 441031 h 3690338"/>
                <a:gd name="connsiteX6375" fmla="*/ 986320 w 4878487"/>
                <a:gd name="connsiteY6375" fmla="*/ 439457 h 3690338"/>
                <a:gd name="connsiteX6376" fmla="*/ 986714 w 4878487"/>
                <a:gd name="connsiteY6376" fmla="*/ 436310 h 3690338"/>
                <a:gd name="connsiteX6377" fmla="*/ 987107 w 4878487"/>
                <a:gd name="connsiteY6377" fmla="*/ 434736 h 3690338"/>
                <a:gd name="connsiteX6378" fmla="*/ 989861 w 4878487"/>
                <a:gd name="connsiteY6378" fmla="*/ 433556 h 3690338"/>
                <a:gd name="connsiteX6379" fmla="*/ 986714 w 4878487"/>
                <a:gd name="connsiteY6379" fmla="*/ 433162 h 3690338"/>
                <a:gd name="connsiteX6380" fmla="*/ 983566 w 4878487"/>
                <a:gd name="connsiteY6380" fmla="*/ 431589 h 3690338"/>
                <a:gd name="connsiteX6381" fmla="*/ 983566 w 4878487"/>
                <a:gd name="connsiteY6381" fmla="*/ 428835 h 3690338"/>
                <a:gd name="connsiteX6382" fmla="*/ 983566 w 4878487"/>
                <a:gd name="connsiteY6382" fmla="*/ 429622 h 3690338"/>
                <a:gd name="connsiteX6383" fmla="*/ 984353 w 4878487"/>
                <a:gd name="connsiteY6383" fmla="*/ 426474 h 3690338"/>
                <a:gd name="connsiteX6384" fmla="*/ 983566 w 4878487"/>
                <a:gd name="connsiteY6384" fmla="*/ 426474 h 3690338"/>
                <a:gd name="connsiteX6385" fmla="*/ 983566 w 4878487"/>
                <a:gd name="connsiteY6385" fmla="*/ 424900 h 3690338"/>
                <a:gd name="connsiteX6386" fmla="*/ 983173 w 4878487"/>
                <a:gd name="connsiteY6386" fmla="*/ 426474 h 3690338"/>
                <a:gd name="connsiteX6387" fmla="*/ 983173 w 4878487"/>
                <a:gd name="connsiteY6387" fmla="*/ 426474 h 3690338"/>
                <a:gd name="connsiteX6388" fmla="*/ 983173 w 4878487"/>
                <a:gd name="connsiteY6388" fmla="*/ 426474 h 3690338"/>
                <a:gd name="connsiteX6389" fmla="*/ 982779 w 4878487"/>
                <a:gd name="connsiteY6389" fmla="*/ 427654 h 3690338"/>
                <a:gd name="connsiteX6390" fmla="*/ 983173 w 4878487"/>
                <a:gd name="connsiteY6390" fmla="*/ 426474 h 3690338"/>
                <a:gd name="connsiteX6391" fmla="*/ 983566 w 4878487"/>
                <a:gd name="connsiteY6391" fmla="*/ 424900 h 3690338"/>
                <a:gd name="connsiteX6392" fmla="*/ 985927 w 4878487"/>
                <a:gd name="connsiteY6392" fmla="*/ 426868 h 3690338"/>
                <a:gd name="connsiteX6393" fmla="*/ 989074 w 4878487"/>
                <a:gd name="connsiteY6393" fmla="*/ 427654 h 3690338"/>
                <a:gd name="connsiteX6394" fmla="*/ 991828 w 4878487"/>
                <a:gd name="connsiteY6394" fmla="*/ 425687 h 3690338"/>
                <a:gd name="connsiteX6395" fmla="*/ 994582 w 4878487"/>
                <a:gd name="connsiteY6395" fmla="*/ 424507 h 3690338"/>
                <a:gd name="connsiteX6396" fmla="*/ 995369 w 4878487"/>
                <a:gd name="connsiteY6396" fmla="*/ 421360 h 3690338"/>
                <a:gd name="connsiteX6397" fmla="*/ 995762 w 4878487"/>
                <a:gd name="connsiteY6397" fmla="*/ 418606 h 3690338"/>
                <a:gd name="connsiteX6398" fmla="*/ 993402 w 4878487"/>
                <a:gd name="connsiteY6398" fmla="*/ 415458 h 3690338"/>
                <a:gd name="connsiteX6399" fmla="*/ 993008 w 4878487"/>
                <a:gd name="connsiteY6399" fmla="*/ 413884 h 3690338"/>
                <a:gd name="connsiteX6400" fmla="*/ 993008 w 4878487"/>
                <a:gd name="connsiteY6400" fmla="*/ 413491 h 3690338"/>
                <a:gd name="connsiteX6401" fmla="*/ 992615 w 4878487"/>
                <a:gd name="connsiteY6401" fmla="*/ 413098 h 3690338"/>
                <a:gd name="connsiteX6402" fmla="*/ 991828 w 4878487"/>
                <a:gd name="connsiteY6402" fmla="*/ 411131 h 3690338"/>
                <a:gd name="connsiteX6403" fmla="*/ 994189 w 4878487"/>
                <a:gd name="connsiteY6403" fmla="*/ 413098 h 3690338"/>
                <a:gd name="connsiteX6404" fmla="*/ 993795 w 4878487"/>
                <a:gd name="connsiteY6404" fmla="*/ 415065 h 3690338"/>
                <a:gd name="connsiteX6405" fmla="*/ 996549 w 4878487"/>
                <a:gd name="connsiteY6405" fmla="*/ 414671 h 3690338"/>
                <a:gd name="connsiteX6406" fmla="*/ 999303 w 4878487"/>
                <a:gd name="connsiteY6406" fmla="*/ 415852 h 3690338"/>
                <a:gd name="connsiteX6407" fmla="*/ 996549 w 4878487"/>
                <a:gd name="connsiteY6407" fmla="*/ 416245 h 3690338"/>
                <a:gd name="connsiteX6408" fmla="*/ 999697 w 4878487"/>
                <a:gd name="connsiteY6408" fmla="*/ 416638 h 3690338"/>
                <a:gd name="connsiteX6409" fmla="*/ 1001270 w 4878487"/>
                <a:gd name="connsiteY6409" fmla="*/ 413491 h 3690338"/>
                <a:gd name="connsiteX6410" fmla="*/ 1004025 w 4878487"/>
                <a:gd name="connsiteY6410" fmla="*/ 415065 h 3690338"/>
                <a:gd name="connsiteX6411" fmla="*/ 1006778 w 4878487"/>
                <a:gd name="connsiteY6411" fmla="*/ 413098 h 3690338"/>
                <a:gd name="connsiteX6412" fmla="*/ 1007565 w 4878487"/>
                <a:gd name="connsiteY6412" fmla="*/ 410344 h 3690338"/>
                <a:gd name="connsiteX6413" fmla="*/ 1004418 w 4878487"/>
                <a:gd name="connsiteY6413" fmla="*/ 410344 h 3690338"/>
                <a:gd name="connsiteX6414" fmla="*/ 1001664 w 4878487"/>
                <a:gd name="connsiteY6414" fmla="*/ 409950 h 3690338"/>
                <a:gd name="connsiteX6415" fmla="*/ 1003237 w 4878487"/>
                <a:gd name="connsiteY6415" fmla="*/ 408770 h 3690338"/>
                <a:gd name="connsiteX6416" fmla="*/ 1005598 w 4878487"/>
                <a:gd name="connsiteY6416" fmla="*/ 407983 h 3690338"/>
                <a:gd name="connsiteX6417" fmla="*/ 1007565 w 4878487"/>
                <a:gd name="connsiteY6417" fmla="*/ 407590 h 3690338"/>
                <a:gd name="connsiteX6418" fmla="*/ 1008352 w 4878487"/>
                <a:gd name="connsiteY6418" fmla="*/ 406803 h 3690338"/>
                <a:gd name="connsiteX6419" fmla="*/ 1016221 w 4878487"/>
                <a:gd name="connsiteY6419" fmla="*/ 403262 h 3690338"/>
                <a:gd name="connsiteX6420" fmla="*/ 1017795 w 4878487"/>
                <a:gd name="connsiteY6420" fmla="*/ 403655 h 3690338"/>
                <a:gd name="connsiteX6421" fmla="*/ 1020548 w 4878487"/>
                <a:gd name="connsiteY6421" fmla="*/ 403262 h 3690338"/>
                <a:gd name="connsiteX6422" fmla="*/ 1020942 w 4878487"/>
                <a:gd name="connsiteY6422" fmla="*/ 400508 h 3690338"/>
                <a:gd name="connsiteX6423" fmla="*/ 1024089 w 4878487"/>
                <a:gd name="connsiteY6423" fmla="*/ 398934 h 3690338"/>
                <a:gd name="connsiteX6424" fmla="*/ 1024876 w 4878487"/>
                <a:gd name="connsiteY6424" fmla="*/ 395787 h 3690338"/>
                <a:gd name="connsiteX6425" fmla="*/ 1027630 w 4878487"/>
                <a:gd name="connsiteY6425" fmla="*/ 396180 h 3690338"/>
                <a:gd name="connsiteX6426" fmla="*/ 1030777 w 4878487"/>
                <a:gd name="connsiteY6426" fmla="*/ 396574 h 3690338"/>
                <a:gd name="connsiteX6427" fmla="*/ 1030384 w 4878487"/>
                <a:gd name="connsiteY6427" fmla="*/ 394607 h 3690338"/>
                <a:gd name="connsiteX6428" fmla="*/ 1030777 w 4878487"/>
                <a:gd name="connsiteY6428" fmla="*/ 394607 h 3690338"/>
                <a:gd name="connsiteX6429" fmla="*/ 1032744 w 4878487"/>
                <a:gd name="connsiteY6429" fmla="*/ 396574 h 3690338"/>
                <a:gd name="connsiteX6430" fmla="*/ 1035499 w 4878487"/>
                <a:gd name="connsiteY6430" fmla="*/ 395393 h 3690338"/>
                <a:gd name="connsiteX6431" fmla="*/ 1037072 w 4878487"/>
                <a:gd name="connsiteY6431" fmla="*/ 392639 h 3690338"/>
                <a:gd name="connsiteX6432" fmla="*/ 1040220 w 4878487"/>
                <a:gd name="connsiteY6432" fmla="*/ 391853 h 3690338"/>
                <a:gd name="connsiteX6433" fmla="*/ 1042580 w 4878487"/>
                <a:gd name="connsiteY6433" fmla="*/ 390279 h 3690338"/>
                <a:gd name="connsiteX6434" fmla="*/ 1045728 w 4878487"/>
                <a:gd name="connsiteY6434" fmla="*/ 389886 h 3690338"/>
                <a:gd name="connsiteX6435" fmla="*/ 1048088 w 4878487"/>
                <a:gd name="connsiteY6435" fmla="*/ 386738 h 3690338"/>
                <a:gd name="connsiteX6436" fmla="*/ 1050055 w 4878487"/>
                <a:gd name="connsiteY6436" fmla="*/ 389886 h 3690338"/>
                <a:gd name="connsiteX6437" fmla="*/ 1050055 w 4878487"/>
                <a:gd name="connsiteY6437" fmla="*/ 387131 h 3690338"/>
                <a:gd name="connsiteX6438" fmla="*/ 1052809 w 4878487"/>
                <a:gd name="connsiteY6438" fmla="*/ 387131 h 3690338"/>
                <a:gd name="connsiteX6439" fmla="*/ 1058317 w 4878487"/>
                <a:gd name="connsiteY6439" fmla="*/ 382410 h 3690338"/>
                <a:gd name="connsiteX6440" fmla="*/ 1060678 w 4878487"/>
                <a:gd name="connsiteY6440" fmla="*/ 379656 h 3690338"/>
                <a:gd name="connsiteX6441" fmla="*/ 1061465 w 4878487"/>
                <a:gd name="connsiteY6441" fmla="*/ 376509 h 3690338"/>
                <a:gd name="connsiteX6442" fmla="*/ 1064219 w 4878487"/>
                <a:gd name="connsiteY6442" fmla="*/ 372968 h 3690338"/>
                <a:gd name="connsiteX6443" fmla="*/ 1066973 w 4878487"/>
                <a:gd name="connsiteY6443" fmla="*/ 371394 h 3690338"/>
                <a:gd name="connsiteX6444" fmla="*/ 1070120 w 4878487"/>
                <a:gd name="connsiteY6444" fmla="*/ 370214 h 3690338"/>
                <a:gd name="connsiteX6445" fmla="*/ 1072874 w 4878487"/>
                <a:gd name="connsiteY6445" fmla="*/ 368247 h 3690338"/>
                <a:gd name="connsiteX6446" fmla="*/ 1076021 w 4878487"/>
                <a:gd name="connsiteY6446" fmla="*/ 366673 h 3690338"/>
                <a:gd name="connsiteX6447" fmla="*/ 1073661 w 4878487"/>
                <a:gd name="connsiteY6447" fmla="*/ 363919 h 3690338"/>
                <a:gd name="connsiteX6448" fmla="*/ 1070120 w 4878487"/>
                <a:gd name="connsiteY6448" fmla="*/ 361952 h 3690338"/>
                <a:gd name="connsiteX6449" fmla="*/ 1066973 w 4878487"/>
                <a:gd name="connsiteY6449" fmla="*/ 361559 h 3690338"/>
                <a:gd name="connsiteX6450" fmla="*/ 1064219 w 4878487"/>
                <a:gd name="connsiteY6450" fmla="*/ 358805 h 3690338"/>
                <a:gd name="connsiteX6451" fmla="*/ 1064612 w 4878487"/>
                <a:gd name="connsiteY6451" fmla="*/ 358805 h 3690338"/>
                <a:gd name="connsiteX6452" fmla="*/ 1067366 w 4878487"/>
                <a:gd name="connsiteY6452" fmla="*/ 357231 h 3690338"/>
                <a:gd name="connsiteX6453" fmla="*/ 1065399 w 4878487"/>
                <a:gd name="connsiteY6453" fmla="*/ 356444 h 3690338"/>
                <a:gd name="connsiteX6454" fmla="*/ 1068940 w 4878487"/>
                <a:gd name="connsiteY6454" fmla="*/ 349756 h 3690338"/>
                <a:gd name="connsiteX6455" fmla="*/ 1072480 w 4878487"/>
                <a:gd name="connsiteY6455" fmla="*/ 347789 h 3690338"/>
                <a:gd name="connsiteX6456" fmla="*/ 1072874 w 4878487"/>
                <a:gd name="connsiteY6456" fmla="*/ 345428 h 3690338"/>
                <a:gd name="connsiteX6457" fmla="*/ 1073661 w 4878487"/>
                <a:gd name="connsiteY6457" fmla="*/ 342674 h 3690338"/>
                <a:gd name="connsiteX6458" fmla="*/ 1073268 w 4878487"/>
                <a:gd name="connsiteY6458" fmla="*/ 339920 h 3690338"/>
                <a:gd name="connsiteX6459" fmla="*/ 1070120 w 4878487"/>
                <a:gd name="connsiteY6459" fmla="*/ 340314 h 3690338"/>
                <a:gd name="connsiteX6460" fmla="*/ 1073661 w 4878487"/>
                <a:gd name="connsiteY6460" fmla="*/ 337953 h 3690338"/>
                <a:gd name="connsiteX6461" fmla="*/ 1076021 w 4878487"/>
                <a:gd name="connsiteY6461" fmla="*/ 337953 h 3690338"/>
                <a:gd name="connsiteX6462" fmla="*/ 1078776 w 4878487"/>
                <a:gd name="connsiteY6462" fmla="*/ 337560 h 3690338"/>
                <a:gd name="connsiteX6463" fmla="*/ 1081923 w 4878487"/>
                <a:gd name="connsiteY6463" fmla="*/ 335593 h 3690338"/>
                <a:gd name="connsiteX6464" fmla="*/ 1079562 w 4878487"/>
                <a:gd name="connsiteY6464" fmla="*/ 334019 h 3690338"/>
                <a:gd name="connsiteX6465" fmla="*/ 1079956 w 4878487"/>
                <a:gd name="connsiteY6465" fmla="*/ 334019 h 3690338"/>
                <a:gd name="connsiteX6466" fmla="*/ 1082710 w 4878487"/>
                <a:gd name="connsiteY6466" fmla="*/ 334412 h 3690338"/>
                <a:gd name="connsiteX6467" fmla="*/ 1085857 w 4878487"/>
                <a:gd name="connsiteY6467" fmla="*/ 332839 h 3690338"/>
                <a:gd name="connsiteX6468" fmla="*/ 1083103 w 4878487"/>
                <a:gd name="connsiteY6468" fmla="*/ 332052 h 3690338"/>
                <a:gd name="connsiteX6469" fmla="*/ 1082710 w 4878487"/>
                <a:gd name="connsiteY6469" fmla="*/ 331265 h 3690338"/>
                <a:gd name="connsiteX6470" fmla="*/ 1084677 w 4878487"/>
                <a:gd name="connsiteY6470" fmla="*/ 332052 h 3690338"/>
                <a:gd name="connsiteX6471" fmla="*/ 1088218 w 4878487"/>
                <a:gd name="connsiteY6471" fmla="*/ 333232 h 3690338"/>
                <a:gd name="connsiteX6472" fmla="*/ 1090972 w 4878487"/>
                <a:gd name="connsiteY6472" fmla="*/ 333626 h 3690338"/>
                <a:gd name="connsiteX6473" fmla="*/ 1090185 w 4878487"/>
                <a:gd name="connsiteY6473" fmla="*/ 330872 h 3690338"/>
                <a:gd name="connsiteX6474" fmla="*/ 1101987 w 4878487"/>
                <a:gd name="connsiteY6474" fmla="*/ 326544 h 3690338"/>
                <a:gd name="connsiteX6475" fmla="*/ 1103955 w 4878487"/>
                <a:gd name="connsiteY6475" fmla="*/ 327331 h 3690338"/>
                <a:gd name="connsiteX6476" fmla="*/ 1109856 w 4878487"/>
                <a:gd name="connsiteY6476" fmla="*/ 327331 h 3690338"/>
                <a:gd name="connsiteX6477" fmla="*/ 1107102 w 4878487"/>
                <a:gd name="connsiteY6477" fmla="*/ 324577 h 3690338"/>
                <a:gd name="connsiteX6478" fmla="*/ 1108676 w 4878487"/>
                <a:gd name="connsiteY6478" fmla="*/ 325757 h 3690338"/>
                <a:gd name="connsiteX6479" fmla="*/ 1111430 w 4878487"/>
                <a:gd name="connsiteY6479" fmla="*/ 327331 h 3690338"/>
                <a:gd name="connsiteX6480" fmla="*/ 1114577 w 4878487"/>
                <a:gd name="connsiteY6480" fmla="*/ 325757 h 3690338"/>
                <a:gd name="connsiteX6481" fmla="*/ 1117331 w 4878487"/>
                <a:gd name="connsiteY6481" fmla="*/ 326150 h 3690338"/>
                <a:gd name="connsiteX6482" fmla="*/ 1120085 w 4878487"/>
                <a:gd name="connsiteY6482" fmla="*/ 325757 h 3690338"/>
                <a:gd name="connsiteX6483" fmla="*/ 1123233 w 4878487"/>
                <a:gd name="connsiteY6483" fmla="*/ 326937 h 3690338"/>
                <a:gd name="connsiteX6484" fmla="*/ 1125987 w 4878487"/>
                <a:gd name="connsiteY6484" fmla="*/ 326150 h 3690338"/>
                <a:gd name="connsiteX6485" fmla="*/ 1129134 w 4878487"/>
                <a:gd name="connsiteY6485" fmla="*/ 325757 h 3690338"/>
                <a:gd name="connsiteX6486" fmla="*/ 1129527 w 4878487"/>
                <a:gd name="connsiteY6486" fmla="*/ 326544 h 3690338"/>
                <a:gd name="connsiteX6487" fmla="*/ 1133462 w 4878487"/>
                <a:gd name="connsiteY6487" fmla="*/ 326544 h 3690338"/>
                <a:gd name="connsiteX6488" fmla="*/ 1134642 w 4878487"/>
                <a:gd name="connsiteY6488" fmla="*/ 326937 h 3690338"/>
                <a:gd name="connsiteX6489" fmla="*/ 1137396 w 4878487"/>
                <a:gd name="connsiteY6489" fmla="*/ 326544 h 3690338"/>
                <a:gd name="connsiteX6490" fmla="*/ 1137790 w 4878487"/>
                <a:gd name="connsiteY6490" fmla="*/ 326150 h 3690338"/>
                <a:gd name="connsiteX6491" fmla="*/ 1137790 w 4878487"/>
                <a:gd name="connsiteY6491" fmla="*/ 326937 h 3690338"/>
                <a:gd name="connsiteX6492" fmla="*/ 1138970 w 4878487"/>
                <a:gd name="connsiteY6492" fmla="*/ 328904 h 3690338"/>
                <a:gd name="connsiteX6493" fmla="*/ 1139363 w 4878487"/>
                <a:gd name="connsiteY6493" fmla="*/ 328904 h 3690338"/>
                <a:gd name="connsiteX6494" fmla="*/ 1142117 w 4878487"/>
                <a:gd name="connsiteY6494" fmla="*/ 330872 h 3690338"/>
                <a:gd name="connsiteX6495" fmla="*/ 1144478 w 4878487"/>
                <a:gd name="connsiteY6495" fmla="*/ 330478 h 3690338"/>
                <a:gd name="connsiteX6496" fmla="*/ 1148019 w 4878487"/>
                <a:gd name="connsiteY6496" fmla="*/ 331658 h 3690338"/>
                <a:gd name="connsiteX6497" fmla="*/ 1150772 w 4878487"/>
                <a:gd name="connsiteY6497" fmla="*/ 332839 h 3690338"/>
                <a:gd name="connsiteX6498" fmla="*/ 1155494 w 4878487"/>
                <a:gd name="connsiteY6498" fmla="*/ 340314 h 3690338"/>
                <a:gd name="connsiteX6499" fmla="*/ 1156280 w 4878487"/>
                <a:gd name="connsiteY6499" fmla="*/ 342674 h 3690338"/>
                <a:gd name="connsiteX6500" fmla="*/ 1155100 w 4878487"/>
                <a:gd name="connsiteY6500" fmla="*/ 345428 h 3690338"/>
                <a:gd name="connsiteX6501" fmla="*/ 1157854 w 4878487"/>
                <a:gd name="connsiteY6501" fmla="*/ 346609 h 3690338"/>
                <a:gd name="connsiteX6502" fmla="*/ 1161001 w 4878487"/>
                <a:gd name="connsiteY6502" fmla="*/ 349363 h 3690338"/>
                <a:gd name="connsiteX6503" fmla="*/ 1160215 w 4878487"/>
                <a:gd name="connsiteY6503" fmla="*/ 349756 h 3690338"/>
                <a:gd name="connsiteX6504" fmla="*/ 1150379 w 4878487"/>
                <a:gd name="connsiteY6504" fmla="*/ 352903 h 3690338"/>
                <a:gd name="connsiteX6505" fmla="*/ 1149986 w 4878487"/>
                <a:gd name="connsiteY6505" fmla="*/ 353297 h 3690338"/>
                <a:gd name="connsiteX6506" fmla="*/ 1146838 w 4878487"/>
                <a:gd name="connsiteY6506" fmla="*/ 353690 h 3690338"/>
                <a:gd name="connsiteX6507" fmla="*/ 1144084 w 4878487"/>
                <a:gd name="connsiteY6507" fmla="*/ 354871 h 3690338"/>
                <a:gd name="connsiteX6508" fmla="*/ 1141330 w 4878487"/>
                <a:gd name="connsiteY6508" fmla="*/ 358018 h 3690338"/>
                <a:gd name="connsiteX6509" fmla="*/ 1137790 w 4878487"/>
                <a:gd name="connsiteY6509" fmla="*/ 360772 h 3690338"/>
                <a:gd name="connsiteX6510" fmla="*/ 1137396 w 4878487"/>
                <a:gd name="connsiteY6510" fmla="*/ 363526 h 3690338"/>
                <a:gd name="connsiteX6511" fmla="*/ 1134642 w 4878487"/>
                <a:gd name="connsiteY6511" fmla="*/ 365886 h 3690338"/>
                <a:gd name="connsiteX6512" fmla="*/ 1131888 w 4878487"/>
                <a:gd name="connsiteY6512" fmla="*/ 367067 h 3690338"/>
                <a:gd name="connsiteX6513" fmla="*/ 1129527 w 4878487"/>
                <a:gd name="connsiteY6513" fmla="*/ 369821 h 3690338"/>
                <a:gd name="connsiteX6514" fmla="*/ 1126380 w 4878487"/>
                <a:gd name="connsiteY6514" fmla="*/ 372181 h 3690338"/>
                <a:gd name="connsiteX6515" fmla="*/ 1124020 w 4878487"/>
                <a:gd name="connsiteY6515" fmla="*/ 374935 h 3690338"/>
                <a:gd name="connsiteX6516" fmla="*/ 1122839 w 4878487"/>
                <a:gd name="connsiteY6516" fmla="*/ 375329 h 3690338"/>
                <a:gd name="connsiteX6517" fmla="*/ 1121659 w 4878487"/>
                <a:gd name="connsiteY6517" fmla="*/ 378083 h 3690338"/>
                <a:gd name="connsiteX6518" fmla="*/ 1119298 w 4878487"/>
                <a:gd name="connsiteY6518" fmla="*/ 378476 h 3690338"/>
                <a:gd name="connsiteX6519" fmla="*/ 1116545 w 4878487"/>
                <a:gd name="connsiteY6519" fmla="*/ 378870 h 3690338"/>
                <a:gd name="connsiteX6520" fmla="*/ 1116938 w 4878487"/>
                <a:gd name="connsiteY6520" fmla="*/ 380443 h 3690338"/>
                <a:gd name="connsiteX6521" fmla="*/ 1111430 w 4878487"/>
                <a:gd name="connsiteY6521" fmla="*/ 383591 h 3690338"/>
                <a:gd name="connsiteX6522" fmla="*/ 1109856 w 4878487"/>
                <a:gd name="connsiteY6522" fmla="*/ 383591 h 3690338"/>
                <a:gd name="connsiteX6523" fmla="*/ 1108283 w 4878487"/>
                <a:gd name="connsiteY6523" fmla="*/ 386345 h 3690338"/>
                <a:gd name="connsiteX6524" fmla="*/ 1105528 w 4878487"/>
                <a:gd name="connsiteY6524" fmla="*/ 387918 h 3690338"/>
                <a:gd name="connsiteX6525" fmla="*/ 1105528 w 4878487"/>
                <a:gd name="connsiteY6525" fmla="*/ 390672 h 3690338"/>
                <a:gd name="connsiteX6526" fmla="*/ 1104742 w 4878487"/>
                <a:gd name="connsiteY6526" fmla="*/ 390672 h 3690338"/>
                <a:gd name="connsiteX6527" fmla="*/ 1101594 w 4878487"/>
                <a:gd name="connsiteY6527" fmla="*/ 388705 h 3690338"/>
                <a:gd name="connsiteX6528" fmla="*/ 1098840 w 4878487"/>
                <a:gd name="connsiteY6528" fmla="*/ 389886 h 3690338"/>
                <a:gd name="connsiteX6529" fmla="*/ 1097660 w 4878487"/>
                <a:gd name="connsiteY6529" fmla="*/ 393033 h 3690338"/>
                <a:gd name="connsiteX6530" fmla="*/ 1096086 w 4878487"/>
                <a:gd name="connsiteY6530" fmla="*/ 395787 h 3690338"/>
                <a:gd name="connsiteX6531" fmla="*/ 1093332 w 4878487"/>
                <a:gd name="connsiteY6531" fmla="*/ 394213 h 3690338"/>
                <a:gd name="connsiteX6532" fmla="*/ 1096086 w 4878487"/>
                <a:gd name="connsiteY6532" fmla="*/ 396967 h 3690338"/>
                <a:gd name="connsiteX6533" fmla="*/ 1093332 w 4878487"/>
                <a:gd name="connsiteY6533" fmla="*/ 395393 h 3690338"/>
                <a:gd name="connsiteX6534" fmla="*/ 1094513 w 4878487"/>
                <a:gd name="connsiteY6534" fmla="*/ 398541 h 3690338"/>
                <a:gd name="connsiteX6535" fmla="*/ 1096086 w 4878487"/>
                <a:gd name="connsiteY6535" fmla="*/ 400115 h 3690338"/>
                <a:gd name="connsiteX6536" fmla="*/ 1092546 w 4878487"/>
                <a:gd name="connsiteY6536" fmla="*/ 401295 h 3690338"/>
                <a:gd name="connsiteX6537" fmla="*/ 1092152 w 4878487"/>
                <a:gd name="connsiteY6537" fmla="*/ 399328 h 3690338"/>
                <a:gd name="connsiteX6538" fmla="*/ 1089398 w 4878487"/>
                <a:gd name="connsiteY6538" fmla="*/ 399721 h 3690338"/>
                <a:gd name="connsiteX6539" fmla="*/ 1092546 w 4878487"/>
                <a:gd name="connsiteY6539" fmla="*/ 401295 h 3690338"/>
                <a:gd name="connsiteX6540" fmla="*/ 1089791 w 4878487"/>
                <a:gd name="connsiteY6540" fmla="*/ 402082 h 3690338"/>
                <a:gd name="connsiteX6541" fmla="*/ 1089005 w 4878487"/>
                <a:gd name="connsiteY6541" fmla="*/ 402082 h 3690338"/>
                <a:gd name="connsiteX6542" fmla="*/ 1085857 w 4878487"/>
                <a:gd name="connsiteY6542" fmla="*/ 403262 h 3690338"/>
                <a:gd name="connsiteX6543" fmla="*/ 1085464 w 4878487"/>
                <a:gd name="connsiteY6543" fmla="*/ 402082 h 3690338"/>
                <a:gd name="connsiteX6544" fmla="*/ 1082710 w 4878487"/>
                <a:gd name="connsiteY6544" fmla="*/ 403262 h 3690338"/>
                <a:gd name="connsiteX6545" fmla="*/ 1077202 w 4878487"/>
                <a:gd name="connsiteY6545" fmla="*/ 400901 h 3690338"/>
                <a:gd name="connsiteX6546" fmla="*/ 1076415 w 4878487"/>
                <a:gd name="connsiteY6546" fmla="*/ 402475 h 3690338"/>
                <a:gd name="connsiteX6547" fmla="*/ 1076415 w 4878487"/>
                <a:gd name="connsiteY6547" fmla="*/ 402475 h 3690338"/>
                <a:gd name="connsiteX6548" fmla="*/ 1070907 w 4878487"/>
                <a:gd name="connsiteY6548" fmla="*/ 414671 h 3690338"/>
                <a:gd name="connsiteX6549" fmla="*/ 1070513 w 4878487"/>
                <a:gd name="connsiteY6549" fmla="*/ 415065 h 3690338"/>
                <a:gd name="connsiteX6550" fmla="*/ 1069727 w 4878487"/>
                <a:gd name="connsiteY6550" fmla="*/ 417819 h 3690338"/>
                <a:gd name="connsiteX6551" fmla="*/ 1067760 w 4878487"/>
                <a:gd name="connsiteY6551" fmla="*/ 420966 h 3690338"/>
                <a:gd name="connsiteX6552" fmla="*/ 1070513 w 4878487"/>
                <a:gd name="connsiteY6552" fmla="*/ 421360 h 3690338"/>
                <a:gd name="connsiteX6553" fmla="*/ 1069333 w 4878487"/>
                <a:gd name="connsiteY6553" fmla="*/ 424114 h 3690338"/>
                <a:gd name="connsiteX6554" fmla="*/ 1071694 w 4878487"/>
                <a:gd name="connsiteY6554" fmla="*/ 427261 h 3690338"/>
                <a:gd name="connsiteX6555" fmla="*/ 1072874 w 4878487"/>
                <a:gd name="connsiteY6555" fmla="*/ 427654 h 3690338"/>
                <a:gd name="connsiteX6556" fmla="*/ 1073268 w 4878487"/>
                <a:gd name="connsiteY6556" fmla="*/ 428048 h 3690338"/>
                <a:gd name="connsiteX6557" fmla="*/ 1074841 w 4878487"/>
                <a:gd name="connsiteY6557" fmla="*/ 430802 h 3690338"/>
                <a:gd name="connsiteX6558" fmla="*/ 1075628 w 4878487"/>
                <a:gd name="connsiteY6558" fmla="*/ 431982 h 3690338"/>
                <a:gd name="connsiteX6559" fmla="*/ 1075235 w 4878487"/>
                <a:gd name="connsiteY6559" fmla="*/ 434736 h 3690338"/>
                <a:gd name="connsiteX6560" fmla="*/ 1074841 w 4878487"/>
                <a:gd name="connsiteY6560" fmla="*/ 437884 h 3690338"/>
                <a:gd name="connsiteX6561" fmla="*/ 1074054 w 4878487"/>
                <a:gd name="connsiteY6561" fmla="*/ 440637 h 3690338"/>
                <a:gd name="connsiteX6562" fmla="*/ 1074841 w 4878487"/>
                <a:gd name="connsiteY6562" fmla="*/ 441424 h 3690338"/>
                <a:gd name="connsiteX6563" fmla="*/ 1082710 w 4878487"/>
                <a:gd name="connsiteY6563" fmla="*/ 450867 h 3690338"/>
                <a:gd name="connsiteX6564" fmla="*/ 1083103 w 4878487"/>
                <a:gd name="connsiteY6564" fmla="*/ 451653 h 3690338"/>
                <a:gd name="connsiteX6565" fmla="*/ 1085857 w 4878487"/>
                <a:gd name="connsiteY6565" fmla="*/ 454014 h 3690338"/>
                <a:gd name="connsiteX6566" fmla="*/ 1083103 w 4878487"/>
                <a:gd name="connsiteY6566" fmla="*/ 453227 h 3690338"/>
                <a:gd name="connsiteX6567" fmla="*/ 1081529 w 4878487"/>
                <a:gd name="connsiteY6567" fmla="*/ 452834 h 3690338"/>
                <a:gd name="connsiteX6568" fmla="*/ 1080743 w 4878487"/>
                <a:gd name="connsiteY6568" fmla="*/ 455588 h 3690338"/>
                <a:gd name="connsiteX6569" fmla="*/ 1082316 w 4878487"/>
                <a:gd name="connsiteY6569" fmla="*/ 457948 h 3690338"/>
                <a:gd name="connsiteX6570" fmla="*/ 1082710 w 4878487"/>
                <a:gd name="connsiteY6570" fmla="*/ 462669 h 3690338"/>
                <a:gd name="connsiteX6571" fmla="*/ 1082316 w 4878487"/>
                <a:gd name="connsiteY6571" fmla="*/ 464243 h 3690338"/>
                <a:gd name="connsiteX6572" fmla="*/ 1081529 w 4878487"/>
                <a:gd name="connsiteY6572" fmla="*/ 466997 h 3690338"/>
                <a:gd name="connsiteX6573" fmla="*/ 1078382 w 4878487"/>
                <a:gd name="connsiteY6573" fmla="*/ 467784 h 3690338"/>
                <a:gd name="connsiteX6574" fmla="*/ 1079956 w 4878487"/>
                <a:gd name="connsiteY6574" fmla="*/ 470538 h 3690338"/>
                <a:gd name="connsiteX6575" fmla="*/ 1080743 w 4878487"/>
                <a:gd name="connsiteY6575" fmla="*/ 473292 h 3690338"/>
                <a:gd name="connsiteX6576" fmla="*/ 1080349 w 4878487"/>
                <a:gd name="connsiteY6576" fmla="*/ 476046 h 3690338"/>
                <a:gd name="connsiteX6577" fmla="*/ 1082710 w 4878487"/>
                <a:gd name="connsiteY6577" fmla="*/ 478800 h 3690338"/>
                <a:gd name="connsiteX6578" fmla="*/ 1081923 w 4878487"/>
                <a:gd name="connsiteY6578" fmla="*/ 481947 h 3690338"/>
                <a:gd name="connsiteX6579" fmla="*/ 1084677 w 4878487"/>
                <a:gd name="connsiteY6579" fmla="*/ 482341 h 3690338"/>
                <a:gd name="connsiteX6580" fmla="*/ 1085070 w 4878487"/>
                <a:gd name="connsiteY6580" fmla="*/ 482341 h 3690338"/>
                <a:gd name="connsiteX6581" fmla="*/ 1085464 w 4878487"/>
                <a:gd name="connsiteY6581" fmla="*/ 482734 h 3690338"/>
                <a:gd name="connsiteX6582" fmla="*/ 1085070 w 4878487"/>
                <a:gd name="connsiteY6582" fmla="*/ 483128 h 3690338"/>
                <a:gd name="connsiteX6583" fmla="*/ 1087824 w 4878487"/>
                <a:gd name="connsiteY6583" fmla="*/ 484701 h 3690338"/>
                <a:gd name="connsiteX6584" fmla="*/ 1087824 w 4878487"/>
                <a:gd name="connsiteY6584" fmla="*/ 481947 h 3690338"/>
                <a:gd name="connsiteX6585" fmla="*/ 1088611 w 4878487"/>
                <a:gd name="connsiteY6585" fmla="*/ 481554 h 3690338"/>
                <a:gd name="connsiteX6586" fmla="*/ 1091365 w 4878487"/>
                <a:gd name="connsiteY6586" fmla="*/ 483128 h 3690338"/>
                <a:gd name="connsiteX6587" fmla="*/ 1091365 w 4878487"/>
                <a:gd name="connsiteY6587" fmla="*/ 484308 h 3690338"/>
                <a:gd name="connsiteX6588" fmla="*/ 1093332 w 4878487"/>
                <a:gd name="connsiteY6588" fmla="*/ 484308 h 3690338"/>
                <a:gd name="connsiteX6589" fmla="*/ 1096873 w 4878487"/>
                <a:gd name="connsiteY6589" fmla="*/ 486275 h 3690338"/>
                <a:gd name="connsiteX6590" fmla="*/ 1099627 w 4878487"/>
                <a:gd name="connsiteY6590" fmla="*/ 487062 h 3690338"/>
                <a:gd name="connsiteX6591" fmla="*/ 1102381 w 4878487"/>
                <a:gd name="connsiteY6591" fmla="*/ 488242 h 3690338"/>
                <a:gd name="connsiteX6592" fmla="*/ 1105922 w 4878487"/>
                <a:gd name="connsiteY6592" fmla="*/ 488242 h 3690338"/>
                <a:gd name="connsiteX6593" fmla="*/ 1106316 w 4878487"/>
                <a:gd name="connsiteY6593" fmla="*/ 488635 h 3690338"/>
                <a:gd name="connsiteX6594" fmla="*/ 1105922 w 4878487"/>
                <a:gd name="connsiteY6594" fmla="*/ 488635 h 3690338"/>
                <a:gd name="connsiteX6595" fmla="*/ 1105528 w 4878487"/>
                <a:gd name="connsiteY6595" fmla="*/ 489422 h 3690338"/>
                <a:gd name="connsiteX6596" fmla="*/ 1106709 w 4878487"/>
                <a:gd name="connsiteY6596" fmla="*/ 488635 h 3690338"/>
                <a:gd name="connsiteX6597" fmla="*/ 1108676 w 4878487"/>
                <a:gd name="connsiteY6597" fmla="*/ 490603 h 3690338"/>
                <a:gd name="connsiteX6598" fmla="*/ 1108283 w 4878487"/>
                <a:gd name="connsiteY6598" fmla="*/ 491389 h 3690338"/>
                <a:gd name="connsiteX6599" fmla="*/ 1110643 w 4878487"/>
                <a:gd name="connsiteY6599" fmla="*/ 492963 h 3690338"/>
                <a:gd name="connsiteX6600" fmla="*/ 1112217 w 4878487"/>
                <a:gd name="connsiteY6600" fmla="*/ 493750 h 3690338"/>
                <a:gd name="connsiteX6601" fmla="*/ 1110643 w 4878487"/>
                <a:gd name="connsiteY6601" fmla="*/ 494143 h 3690338"/>
                <a:gd name="connsiteX6602" fmla="*/ 1107889 w 4878487"/>
                <a:gd name="connsiteY6602" fmla="*/ 493750 h 3690338"/>
                <a:gd name="connsiteX6603" fmla="*/ 1110643 w 4878487"/>
                <a:gd name="connsiteY6603" fmla="*/ 495324 h 3690338"/>
                <a:gd name="connsiteX6604" fmla="*/ 1107889 w 4878487"/>
                <a:gd name="connsiteY6604" fmla="*/ 496111 h 3690338"/>
                <a:gd name="connsiteX6605" fmla="*/ 1106316 w 4878487"/>
                <a:gd name="connsiteY6605" fmla="*/ 498865 h 3690338"/>
                <a:gd name="connsiteX6606" fmla="*/ 1107102 w 4878487"/>
                <a:gd name="connsiteY6606" fmla="*/ 500045 h 3690338"/>
                <a:gd name="connsiteX6607" fmla="*/ 1107496 w 4878487"/>
                <a:gd name="connsiteY6607" fmla="*/ 500045 h 3690338"/>
                <a:gd name="connsiteX6608" fmla="*/ 1108676 w 4878487"/>
                <a:gd name="connsiteY6608" fmla="*/ 500045 h 3690338"/>
                <a:gd name="connsiteX6609" fmla="*/ 1109069 w 4878487"/>
                <a:gd name="connsiteY6609" fmla="*/ 500045 h 3690338"/>
                <a:gd name="connsiteX6610" fmla="*/ 1111823 w 4878487"/>
                <a:gd name="connsiteY6610" fmla="*/ 498865 h 3690338"/>
                <a:gd name="connsiteX6611" fmla="*/ 1114577 w 4878487"/>
                <a:gd name="connsiteY6611" fmla="*/ 499651 h 3690338"/>
                <a:gd name="connsiteX6612" fmla="*/ 1117724 w 4878487"/>
                <a:gd name="connsiteY6612" fmla="*/ 496897 h 3690338"/>
                <a:gd name="connsiteX6613" fmla="*/ 1117331 w 4878487"/>
                <a:gd name="connsiteY6613" fmla="*/ 495717 h 3690338"/>
                <a:gd name="connsiteX6614" fmla="*/ 1120872 w 4878487"/>
                <a:gd name="connsiteY6614" fmla="*/ 497291 h 3690338"/>
                <a:gd name="connsiteX6615" fmla="*/ 1124806 w 4878487"/>
                <a:gd name="connsiteY6615" fmla="*/ 499258 h 3690338"/>
                <a:gd name="connsiteX6616" fmla="*/ 1124020 w 4878487"/>
                <a:gd name="connsiteY6616" fmla="*/ 499651 h 3690338"/>
                <a:gd name="connsiteX6617" fmla="*/ 1125593 w 4878487"/>
                <a:gd name="connsiteY6617" fmla="*/ 500045 h 3690338"/>
                <a:gd name="connsiteX6618" fmla="*/ 1124806 w 4878487"/>
                <a:gd name="connsiteY6618" fmla="*/ 500045 h 3690338"/>
                <a:gd name="connsiteX6619" fmla="*/ 1125200 w 4878487"/>
                <a:gd name="connsiteY6619" fmla="*/ 503192 h 3690338"/>
                <a:gd name="connsiteX6620" fmla="*/ 1122839 w 4878487"/>
                <a:gd name="connsiteY6620" fmla="*/ 504373 h 3690338"/>
                <a:gd name="connsiteX6621" fmla="*/ 1119692 w 4878487"/>
                <a:gd name="connsiteY6621" fmla="*/ 505946 h 3690338"/>
                <a:gd name="connsiteX6622" fmla="*/ 1122839 w 4878487"/>
                <a:gd name="connsiteY6622" fmla="*/ 505553 h 3690338"/>
                <a:gd name="connsiteX6623" fmla="*/ 1125593 w 4878487"/>
                <a:gd name="connsiteY6623" fmla="*/ 505159 h 3690338"/>
                <a:gd name="connsiteX6624" fmla="*/ 1128347 w 4878487"/>
                <a:gd name="connsiteY6624" fmla="*/ 502799 h 3690338"/>
                <a:gd name="connsiteX6625" fmla="*/ 1131494 w 4878487"/>
                <a:gd name="connsiteY6625" fmla="*/ 500832 h 3690338"/>
                <a:gd name="connsiteX6626" fmla="*/ 1131494 w 4878487"/>
                <a:gd name="connsiteY6626" fmla="*/ 500438 h 3690338"/>
                <a:gd name="connsiteX6627" fmla="*/ 1131888 w 4878487"/>
                <a:gd name="connsiteY6627" fmla="*/ 500045 h 3690338"/>
                <a:gd name="connsiteX6628" fmla="*/ 1133068 w 4878487"/>
                <a:gd name="connsiteY6628" fmla="*/ 500045 h 3690338"/>
                <a:gd name="connsiteX6629" fmla="*/ 1132675 w 4878487"/>
                <a:gd name="connsiteY6629" fmla="*/ 500438 h 3690338"/>
                <a:gd name="connsiteX6630" fmla="*/ 1129527 w 4878487"/>
                <a:gd name="connsiteY6630" fmla="*/ 502012 h 3690338"/>
                <a:gd name="connsiteX6631" fmla="*/ 1132675 w 4878487"/>
                <a:gd name="connsiteY6631" fmla="*/ 502405 h 3690338"/>
                <a:gd name="connsiteX6632" fmla="*/ 1135429 w 4878487"/>
                <a:gd name="connsiteY6632" fmla="*/ 502012 h 3690338"/>
                <a:gd name="connsiteX6633" fmla="*/ 1138576 w 4878487"/>
                <a:gd name="connsiteY6633" fmla="*/ 502012 h 3690338"/>
                <a:gd name="connsiteX6634" fmla="*/ 1141724 w 4878487"/>
                <a:gd name="connsiteY6634" fmla="*/ 500045 h 3690338"/>
                <a:gd name="connsiteX6635" fmla="*/ 1142117 w 4878487"/>
                <a:gd name="connsiteY6635" fmla="*/ 500045 h 3690338"/>
                <a:gd name="connsiteX6636" fmla="*/ 1143297 w 4878487"/>
                <a:gd name="connsiteY6636" fmla="*/ 500045 h 3690338"/>
                <a:gd name="connsiteX6637" fmla="*/ 1152346 w 4878487"/>
                <a:gd name="connsiteY6637" fmla="*/ 500045 h 3690338"/>
                <a:gd name="connsiteX6638" fmla="*/ 1153133 w 4878487"/>
                <a:gd name="connsiteY6638" fmla="*/ 500045 h 3690338"/>
                <a:gd name="connsiteX6639" fmla="*/ 1155100 w 4878487"/>
                <a:gd name="connsiteY6639" fmla="*/ 500045 h 3690338"/>
                <a:gd name="connsiteX6640" fmla="*/ 1157067 w 4878487"/>
                <a:gd name="connsiteY6640" fmla="*/ 500045 h 3690338"/>
                <a:gd name="connsiteX6641" fmla="*/ 1157854 w 4878487"/>
                <a:gd name="connsiteY6641" fmla="*/ 498865 h 3690338"/>
                <a:gd name="connsiteX6642" fmla="*/ 1159034 w 4878487"/>
                <a:gd name="connsiteY6642" fmla="*/ 495717 h 3690338"/>
                <a:gd name="connsiteX6643" fmla="*/ 1162575 w 4878487"/>
                <a:gd name="connsiteY6643" fmla="*/ 495717 h 3690338"/>
                <a:gd name="connsiteX6644" fmla="*/ 1165329 w 4878487"/>
                <a:gd name="connsiteY6644" fmla="*/ 494537 h 3690338"/>
                <a:gd name="connsiteX6645" fmla="*/ 1168477 w 4878487"/>
                <a:gd name="connsiteY6645" fmla="*/ 493750 h 3690338"/>
                <a:gd name="connsiteX6646" fmla="*/ 1171231 w 4878487"/>
                <a:gd name="connsiteY6646" fmla="*/ 493357 h 3690338"/>
                <a:gd name="connsiteX6647" fmla="*/ 1173985 w 4878487"/>
                <a:gd name="connsiteY6647" fmla="*/ 491783 h 3690338"/>
                <a:gd name="connsiteX6648" fmla="*/ 1177132 w 4878487"/>
                <a:gd name="connsiteY6648" fmla="*/ 491389 h 3690338"/>
                <a:gd name="connsiteX6649" fmla="*/ 1179886 w 4878487"/>
                <a:gd name="connsiteY6649" fmla="*/ 491783 h 3690338"/>
                <a:gd name="connsiteX6650" fmla="*/ 1183034 w 4878487"/>
                <a:gd name="connsiteY6650" fmla="*/ 489422 h 3690338"/>
                <a:gd name="connsiteX6651" fmla="*/ 1183820 w 4878487"/>
                <a:gd name="connsiteY6651" fmla="*/ 487849 h 3690338"/>
                <a:gd name="connsiteX6652" fmla="*/ 1184214 w 4878487"/>
                <a:gd name="connsiteY6652" fmla="*/ 490603 h 3690338"/>
                <a:gd name="connsiteX6653" fmla="*/ 1186968 w 4878487"/>
                <a:gd name="connsiteY6653" fmla="*/ 492176 h 3690338"/>
                <a:gd name="connsiteX6654" fmla="*/ 1189722 w 4878487"/>
                <a:gd name="connsiteY6654" fmla="*/ 491783 h 3690338"/>
                <a:gd name="connsiteX6655" fmla="*/ 1188541 w 4878487"/>
                <a:gd name="connsiteY6655" fmla="*/ 489029 h 3690338"/>
                <a:gd name="connsiteX6656" fmla="*/ 1191689 w 4878487"/>
                <a:gd name="connsiteY6656" fmla="*/ 487849 h 3690338"/>
                <a:gd name="connsiteX6657" fmla="*/ 1190902 w 4878487"/>
                <a:gd name="connsiteY6657" fmla="*/ 486668 h 3690338"/>
                <a:gd name="connsiteX6658" fmla="*/ 1192869 w 4878487"/>
                <a:gd name="connsiteY6658" fmla="*/ 486275 h 3690338"/>
                <a:gd name="connsiteX6659" fmla="*/ 1193263 w 4878487"/>
                <a:gd name="connsiteY6659" fmla="*/ 486275 h 3690338"/>
                <a:gd name="connsiteX6660" fmla="*/ 1196410 w 4878487"/>
                <a:gd name="connsiteY6660" fmla="*/ 486668 h 3690338"/>
                <a:gd name="connsiteX6661" fmla="*/ 1199164 w 4878487"/>
                <a:gd name="connsiteY6661" fmla="*/ 487455 h 3690338"/>
                <a:gd name="connsiteX6662" fmla="*/ 1201918 w 4878487"/>
                <a:gd name="connsiteY6662" fmla="*/ 485882 h 3690338"/>
                <a:gd name="connsiteX6663" fmla="*/ 1202311 w 4878487"/>
                <a:gd name="connsiteY6663" fmla="*/ 484308 h 3690338"/>
                <a:gd name="connsiteX6664" fmla="*/ 1203885 w 4878487"/>
                <a:gd name="connsiteY6664" fmla="*/ 485488 h 3690338"/>
                <a:gd name="connsiteX6665" fmla="*/ 1206639 w 4878487"/>
                <a:gd name="connsiteY6665" fmla="*/ 485488 h 3690338"/>
                <a:gd name="connsiteX6666" fmla="*/ 1209393 w 4878487"/>
                <a:gd name="connsiteY6666" fmla="*/ 484701 h 3690338"/>
                <a:gd name="connsiteX6667" fmla="*/ 1212541 w 4878487"/>
                <a:gd name="connsiteY6667" fmla="*/ 484308 h 3690338"/>
                <a:gd name="connsiteX6668" fmla="*/ 1215294 w 4878487"/>
                <a:gd name="connsiteY6668" fmla="*/ 483128 h 3690338"/>
                <a:gd name="connsiteX6669" fmla="*/ 1218442 w 4878487"/>
                <a:gd name="connsiteY6669" fmla="*/ 481554 h 3690338"/>
                <a:gd name="connsiteX6670" fmla="*/ 1218835 w 4878487"/>
                <a:gd name="connsiteY6670" fmla="*/ 481554 h 3690338"/>
                <a:gd name="connsiteX6671" fmla="*/ 1220409 w 4878487"/>
                <a:gd name="connsiteY6671" fmla="*/ 483128 h 3690338"/>
                <a:gd name="connsiteX6672" fmla="*/ 1223163 w 4878487"/>
                <a:gd name="connsiteY6672" fmla="*/ 483521 h 3690338"/>
                <a:gd name="connsiteX6673" fmla="*/ 1226311 w 4878487"/>
                <a:gd name="connsiteY6673" fmla="*/ 483128 h 3690338"/>
                <a:gd name="connsiteX6674" fmla="*/ 1229458 w 4878487"/>
                <a:gd name="connsiteY6674" fmla="*/ 483914 h 3690338"/>
                <a:gd name="connsiteX6675" fmla="*/ 1232212 w 4878487"/>
                <a:gd name="connsiteY6675" fmla="*/ 483521 h 3690338"/>
                <a:gd name="connsiteX6676" fmla="*/ 1231818 w 4878487"/>
                <a:gd name="connsiteY6676" fmla="*/ 486275 h 3690338"/>
                <a:gd name="connsiteX6677" fmla="*/ 1236540 w 4878487"/>
                <a:gd name="connsiteY6677" fmla="*/ 481947 h 3690338"/>
                <a:gd name="connsiteX6678" fmla="*/ 1237720 w 4878487"/>
                <a:gd name="connsiteY6678" fmla="*/ 481947 h 3690338"/>
                <a:gd name="connsiteX6679" fmla="*/ 1240867 w 4878487"/>
                <a:gd name="connsiteY6679" fmla="*/ 481947 h 3690338"/>
                <a:gd name="connsiteX6680" fmla="*/ 1243621 w 4878487"/>
                <a:gd name="connsiteY6680" fmla="*/ 480374 h 3690338"/>
                <a:gd name="connsiteX6681" fmla="*/ 1246769 w 4878487"/>
                <a:gd name="connsiteY6681" fmla="*/ 478013 h 3690338"/>
                <a:gd name="connsiteX6682" fmla="*/ 1249522 w 4878487"/>
                <a:gd name="connsiteY6682" fmla="*/ 477620 h 3690338"/>
                <a:gd name="connsiteX6683" fmla="*/ 1252670 w 4878487"/>
                <a:gd name="connsiteY6683" fmla="*/ 476046 h 3690338"/>
                <a:gd name="connsiteX6684" fmla="*/ 1253457 w 4878487"/>
                <a:gd name="connsiteY6684" fmla="*/ 476046 h 3690338"/>
                <a:gd name="connsiteX6685" fmla="*/ 1254637 w 4878487"/>
                <a:gd name="connsiteY6685" fmla="*/ 477226 h 3690338"/>
                <a:gd name="connsiteX6686" fmla="*/ 1253063 w 4878487"/>
                <a:gd name="connsiteY6686" fmla="*/ 478800 h 3690338"/>
                <a:gd name="connsiteX6687" fmla="*/ 1253850 w 4878487"/>
                <a:gd name="connsiteY6687" fmla="*/ 481947 h 3690338"/>
                <a:gd name="connsiteX6688" fmla="*/ 1254244 w 4878487"/>
                <a:gd name="connsiteY6688" fmla="*/ 483521 h 3690338"/>
                <a:gd name="connsiteX6689" fmla="*/ 1254244 w 4878487"/>
                <a:gd name="connsiteY6689" fmla="*/ 484701 h 3690338"/>
                <a:gd name="connsiteX6690" fmla="*/ 1251883 w 4878487"/>
                <a:gd name="connsiteY6690" fmla="*/ 483521 h 3690338"/>
                <a:gd name="connsiteX6691" fmla="*/ 1248736 w 4878487"/>
                <a:gd name="connsiteY6691" fmla="*/ 481947 h 3690338"/>
                <a:gd name="connsiteX6692" fmla="*/ 1253850 w 4878487"/>
                <a:gd name="connsiteY6692" fmla="*/ 487455 h 3690338"/>
                <a:gd name="connsiteX6693" fmla="*/ 1255424 w 4878487"/>
                <a:gd name="connsiteY6693" fmla="*/ 487849 h 3690338"/>
                <a:gd name="connsiteX6694" fmla="*/ 1260145 w 4878487"/>
                <a:gd name="connsiteY6694" fmla="*/ 489422 h 3690338"/>
                <a:gd name="connsiteX6695" fmla="*/ 1264079 w 4878487"/>
                <a:gd name="connsiteY6695" fmla="*/ 493357 h 3690338"/>
                <a:gd name="connsiteX6696" fmla="*/ 1266833 w 4878487"/>
                <a:gd name="connsiteY6696" fmla="*/ 493750 h 3690338"/>
                <a:gd name="connsiteX6697" fmla="*/ 1269981 w 4878487"/>
                <a:gd name="connsiteY6697" fmla="*/ 493357 h 3690338"/>
                <a:gd name="connsiteX6698" fmla="*/ 1273128 w 4878487"/>
                <a:gd name="connsiteY6698" fmla="*/ 493750 h 3690338"/>
                <a:gd name="connsiteX6699" fmla="*/ 1273915 w 4878487"/>
                <a:gd name="connsiteY6699" fmla="*/ 493357 h 3690338"/>
                <a:gd name="connsiteX6700" fmla="*/ 1288472 w 4878487"/>
                <a:gd name="connsiteY6700" fmla="*/ 498078 h 3690338"/>
                <a:gd name="connsiteX6701" fmla="*/ 1292013 w 4878487"/>
                <a:gd name="connsiteY6701" fmla="*/ 498471 h 3690338"/>
                <a:gd name="connsiteX6702" fmla="*/ 1293980 w 4878487"/>
                <a:gd name="connsiteY6702" fmla="*/ 501225 h 3690338"/>
                <a:gd name="connsiteX6703" fmla="*/ 1292406 w 4878487"/>
                <a:gd name="connsiteY6703" fmla="*/ 502799 h 3690338"/>
                <a:gd name="connsiteX6704" fmla="*/ 1288865 w 4878487"/>
                <a:gd name="connsiteY6704" fmla="*/ 502405 h 3690338"/>
                <a:gd name="connsiteX6705" fmla="*/ 1288078 w 4878487"/>
                <a:gd name="connsiteY6705" fmla="*/ 502012 h 3690338"/>
                <a:gd name="connsiteX6706" fmla="*/ 1285325 w 4878487"/>
                <a:gd name="connsiteY6706" fmla="*/ 501225 h 3690338"/>
                <a:gd name="connsiteX6707" fmla="*/ 1282177 w 4878487"/>
                <a:gd name="connsiteY6707" fmla="*/ 500832 h 3690338"/>
                <a:gd name="connsiteX6708" fmla="*/ 1279423 w 4878487"/>
                <a:gd name="connsiteY6708" fmla="*/ 500438 h 3690338"/>
                <a:gd name="connsiteX6709" fmla="*/ 1276276 w 4878487"/>
                <a:gd name="connsiteY6709" fmla="*/ 500045 h 3690338"/>
                <a:gd name="connsiteX6710" fmla="*/ 1273522 w 4878487"/>
                <a:gd name="connsiteY6710" fmla="*/ 499651 h 3690338"/>
                <a:gd name="connsiteX6711" fmla="*/ 1270374 w 4878487"/>
                <a:gd name="connsiteY6711" fmla="*/ 499258 h 3690338"/>
                <a:gd name="connsiteX6712" fmla="*/ 1268407 w 4878487"/>
                <a:gd name="connsiteY6712" fmla="*/ 499258 h 3690338"/>
                <a:gd name="connsiteX6713" fmla="*/ 1265653 w 4878487"/>
                <a:gd name="connsiteY6713" fmla="*/ 502012 h 3690338"/>
                <a:gd name="connsiteX6714" fmla="*/ 1258965 w 4878487"/>
                <a:gd name="connsiteY6714" fmla="*/ 505946 h 3690338"/>
                <a:gd name="connsiteX6715" fmla="*/ 1255818 w 4878487"/>
                <a:gd name="connsiteY6715" fmla="*/ 504766 h 3690338"/>
                <a:gd name="connsiteX6716" fmla="*/ 1252670 w 4878487"/>
                <a:gd name="connsiteY6716" fmla="*/ 503979 h 3690338"/>
                <a:gd name="connsiteX6717" fmla="*/ 1251096 w 4878487"/>
                <a:gd name="connsiteY6717" fmla="*/ 506733 h 3690338"/>
                <a:gd name="connsiteX6718" fmla="*/ 1249916 w 4878487"/>
                <a:gd name="connsiteY6718" fmla="*/ 509487 h 3690338"/>
                <a:gd name="connsiteX6719" fmla="*/ 1246769 w 4878487"/>
                <a:gd name="connsiteY6719" fmla="*/ 509094 h 3690338"/>
                <a:gd name="connsiteX6720" fmla="*/ 1244408 w 4878487"/>
                <a:gd name="connsiteY6720" fmla="*/ 506340 h 3690338"/>
                <a:gd name="connsiteX6721" fmla="*/ 1241654 w 4878487"/>
                <a:gd name="connsiteY6721" fmla="*/ 506733 h 3690338"/>
                <a:gd name="connsiteX6722" fmla="*/ 1242441 w 4878487"/>
                <a:gd name="connsiteY6722" fmla="*/ 509881 h 3690338"/>
                <a:gd name="connsiteX6723" fmla="*/ 1244015 w 4878487"/>
                <a:gd name="connsiteY6723" fmla="*/ 512635 h 3690338"/>
                <a:gd name="connsiteX6724" fmla="*/ 1242834 w 4878487"/>
                <a:gd name="connsiteY6724" fmla="*/ 515388 h 3690338"/>
                <a:gd name="connsiteX6725" fmla="*/ 1213327 w 4878487"/>
                <a:gd name="connsiteY6725" fmla="*/ 514995 h 3690338"/>
                <a:gd name="connsiteX6726" fmla="*/ 1210967 w 4878487"/>
                <a:gd name="connsiteY6726" fmla="*/ 513421 h 3690338"/>
                <a:gd name="connsiteX6727" fmla="*/ 1207819 w 4878487"/>
                <a:gd name="connsiteY6727" fmla="*/ 513028 h 3690338"/>
                <a:gd name="connsiteX6728" fmla="*/ 1205065 w 4878487"/>
                <a:gd name="connsiteY6728" fmla="*/ 513421 h 3690338"/>
                <a:gd name="connsiteX6729" fmla="*/ 1201918 w 4878487"/>
                <a:gd name="connsiteY6729" fmla="*/ 513028 h 3690338"/>
                <a:gd name="connsiteX6730" fmla="*/ 1199164 w 4878487"/>
                <a:gd name="connsiteY6730" fmla="*/ 512241 h 3690338"/>
                <a:gd name="connsiteX6731" fmla="*/ 1196016 w 4878487"/>
                <a:gd name="connsiteY6731" fmla="*/ 511848 h 3690338"/>
                <a:gd name="connsiteX6732" fmla="*/ 1193263 w 4878487"/>
                <a:gd name="connsiteY6732" fmla="*/ 512241 h 3690338"/>
                <a:gd name="connsiteX6733" fmla="*/ 1190115 w 4878487"/>
                <a:gd name="connsiteY6733" fmla="*/ 512635 h 3690338"/>
                <a:gd name="connsiteX6734" fmla="*/ 1187361 w 4878487"/>
                <a:gd name="connsiteY6734" fmla="*/ 512241 h 3690338"/>
                <a:gd name="connsiteX6735" fmla="*/ 1184607 w 4878487"/>
                <a:gd name="connsiteY6735" fmla="*/ 511848 h 3690338"/>
                <a:gd name="connsiteX6736" fmla="*/ 1181853 w 4878487"/>
                <a:gd name="connsiteY6736" fmla="*/ 511061 h 3690338"/>
                <a:gd name="connsiteX6737" fmla="*/ 1182247 w 4878487"/>
                <a:gd name="connsiteY6737" fmla="*/ 514208 h 3690338"/>
                <a:gd name="connsiteX6738" fmla="*/ 1181067 w 4878487"/>
                <a:gd name="connsiteY6738" fmla="*/ 514602 h 3690338"/>
                <a:gd name="connsiteX6739" fmla="*/ 1176738 w 4878487"/>
                <a:gd name="connsiteY6739" fmla="*/ 514602 h 3690338"/>
                <a:gd name="connsiteX6740" fmla="*/ 1176345 w 4878487"/>
                <a:gd name="connsiteY6740" fmla="*/ 514602 h 3690338"/>
                <a:gd name="connsiteX6741" fmla="*/ 1175952 w 4878487"/>
                <a:gd name="connsiteY6741" fmla="*/ 514602 h 3690338"/>
                <a:gd name="connsiteX6742" fmla="*/ 1170444 w 4878487"/>
                <a:gd name="connsiteY6742" fmla="*/ 514602 h 3690338"/>
                <a:gd name="connsiteX6743" fmla="*/ 1165329 w 4878487"/>
                <a:gd name="connsiteY6743" fmla="*/ 514602 h 3690338"/>
                <a:gd name="connsiteX6744" fmla="*/ 1157854 w 4878487"/>
                <a:gd name="connsiteY6744" fmla="*/ 516175 h 3690338"/>
                <a:gd name="connsiteX6745" fmla="*/ 1156280 w 4878487"/>
                <a:gd name="connsiteY6745" fmla="*/ 515782 h 3690338"/>
                <a:gd name="connsiteX6746" fmla="*/ 1155100 w 4878487"/>
                <a:gd name="connsiteY6746" fmla="*/ 516569 h 3690338"/>
                <a:gd name="connsiteX6747" fmla="*/ 1147625 w 4878487"/>
                <a:gd name="connsiteY6747" fmla="*/ 518142 h 3690338"/>
                <a:gd name="connsiteX6748" fmla="*/ 1147231 w 4878487"/>
                <a:gd name="connsiteY6748" fmla="*/ 518536 h 3690338"/>
                <a:gd name="connsiteX6749" fmla="*/ 1147231 w 4878487"/>
                <a:gd name="connsiteY6749" fmla="*/ 518536 h 3690338"/>
                <a:gd name="connsiteX6750" fmla="*/ 1146051 w 4878487"/>
                <a:gd name="connsiteY6750" fmla="*/ 521290 h 3690338"/>
                <a:gd name="connsiteX6751" fmla="*/ 1143297 w 4878487"/>
                <a:gd name="connsiteY6751" fmla="*/ 520896 h 3690338"/>
                <a:gd name="connsiteX6752" fmla="*/ 1140150 w 4878487"/>
                <a:gd name="connsiteY6752" fmla="*/ 522470 h 3690338"/>
                <a:gd name="connsiteX6753" fmla="*/ 1137396 w 4878487"/>
                <a:gd name="connsiteY6753" fmla="*/ 522470 h 3690338"/>
                <a:gd name="connsiteX6754" fmla="*/ 1134642 w 4878487"/>
                <a:gd name="connsiteY6754" fmla="*/ 524044 h 3690338"/>
                <a:gd name="connsiteX6755" fmla="*/ 1135429 w 4878487"/>
                <a:gd name="connsiteY6755" fmla="*/ 527191 h 3690338"/>
                <a:gd name="connsiteX6756" fmla="*/ 1134642 w 4878487"/>
                <a:gd name="connsiteY6756" fmla="*/ 530339 h 3690338"/>
                <a:gd name="connsiteX6757" fmla="*/ 1137396 w 4878487"/>
                <a:gd name="connsiteY6757" fmla="*/ 528765 h 3690338"/>
                <a:gd name="connsiteX6758" fmla="*/ 1138183 w 4878487"/>
                <a:gd name="connsiteY6758" fmla="*/ 531519 h 3690338"/>
                <a:gd name="connsiteX6759" fmla="*/ 1135429 w 4878487"/>
                <a:gd name="connsiteY6759" fmla="*/ 533880 h 3690338"/>
                <a:gd name="connsiteX6760" fmla="*/ 1136609 w 4878487"/>
                <a:gd name="connsiteY6760" fmla="*/ 537027 h 3690338"/>
                <a:gd name="connsiteX6761" fmla="*/ 1139757 w 4878487"/>
                <a:gd name="connsiteY6761" fmla="*/ 536634 h 3690338"/>
                <a:gd name="connsiteX6762" fmla="*/ 1139757 w 4878487"/>
                <a:gd name="connsiteY6762" fmla="*/ 536634 h 3690338"/>
                <a:gd name="connsiteX6763" fmla="*/ 1138970 w 4878487"/>
                <a:gd name="connsiteY6763" fmla="*/ 538601 h 3690338"/>
                <a:gd name="connsiteX6764" fmla="*/ 1137002 w 4878487"/>
                <a:gd name="connsiteY6764" fmla="*/ 540174 h 3690338"/>
                <a:gd name="connsiteX6765" fmla="*/ 1137396 w 4878487"/>
                <a:gd name="connsiteY6765" fmla="*/ 542928 h 3690338"/>
                <a:gd name="connsiteX6766" fmla="*/ 1137396 w 4878487"/>
                <a:gd name="connsiteY6766" fmla="*/ 543322 h 3690338"/>
                <a:gd name="connsiteX6767" fmla="*/ 1139757 w 4878487"/>
                <a:gd name="connsiteY6767" fmla="*/ 543715 h 3690338"/>
                <a:gd name="connsiteX6768" fmla="*/ 1142117 w 4878487"/>
                <a:gd name="connsiteY6768" fmla="*/ 544895 h 3690338"/>
                <a:gd name="connsiteX6769" fmla="*/ 1142904 w 4878487"/>
                <a:gd name="connsiteY6769" fmla="*/ 547649 h 3690338"/>
                <a:gd name="connsiteX6770" fmla="*/ 1145658 w 4878487"/>
                <a:gd name="connsiteY6770" fmla="*/ 550010 h 3690338"/>
                <a:gd name="connsiteX6771" fmla="*/ 1148412 w 4878487"/>
                <a:gd name="connsiteY6771" fmla="*/ 550797 h 3690338"/>
                <a:gd name="connsiteX6772" fmla="*/ 1151560 w 4878487"/>
                <a:gd name="connsiteY6772" fmla="*/ 551977 h 3690338"/>
                <a:gd name="connsiteX6773" fmla="*/ 1154313 w 4878487"/>
                <a:gd name="connsiteY6773" fmla="*/ 552371 h 3690338"/>
                <a:gd name="connsiteX6774" fmla="*/ 1157461 w 4878487"/>
                <a:gd name="connsiteY6774" fmla="*/ 551584 h 3690338"/>
                <a:gd name="connsiteX6775" fmla="*/ 1159034 w 4878487"/>
                <a:gd name="connsiteY6775" fmla="*/ 548830 h 3690338"/>
                <a:gd name="connsiteX6776" fmla="*/ 1162182 w 4878487"/>
                <a:gd name="connsiteY6776" fmla="*/ 549223 h 3690338"/>
                <a:gd name="connsiteX6777" fmla="*/ 1159821 w 4878487"/>
                <a:gd name="connsiteY6777" fmla="*/ 564960 h 3690338"/>
                <a:gd name="connsiteX6778" fmla="*/ 1159428 w 4878487"/>
                <a:gd name="connsiteY6778" fmla="*/ 566927 h 3690338"/>
                <a:gd name="connsiteX6779" fmla="*/ 1159428 w 4878487"/>
                <a:gd name="connsiteY6779" fmla="*/ 566927 h 3690338"/>
                <a:gd name="connsiteX6780" fmla="*/ 1155887 w 4878487"/>
                <a:gd name="connsiteY6780" fmla="*/ 590533 h 3690338"/>
                <a:gd name="connsiteX6781" fmla="*/ 1124413 w 4878487"/>
                <a:gd name="connsiteY6781" fmla="*/ 576763 h 3690338"/>
                <a:gd name="connsiteX6782" fmla="*/ 1123626 w 4878487"/>
                <a:gd name="connsiteY6782" fmla="*/ 576370 h 3690338"/>
                <a:gd name="connsiteX6783" fmla="*/ 1120872 w 4878487"/>
                <a:gd name="connsiteY6783" fmla="*/ 574796 h 3690338"/>
                <a:gd name="connsiteX6784" fmla="*/ 1118118 w 4878487"/>
                <a:gd name="connsiteY6784" fmla="*/ 571648 h 3690338"/>
                <a:gd name="connsiteX6785" fmla="*/ 1116545 w 4878487"/>
                <a:gd name="connsiteY6785" fmla="*/ 568895 h 3690338"/>
                <a:gd name="connsiteX6786" fmla="*/ 1113790 w 4878487"/>
                <a:gd name="connsiteY6786" fmla="*/ 569681 h 3690338"/>
                <a:gd name="connsiteX6787" fmla="*/ 1111036 w 4878487"/>
                <a:gd name="connsiteY6787" fmla="*/ 570862 h 3690338"/>
                <a:gd name="connsiteX6788" fmla="*/ 1109856 w 4878487"/>
                <a:gd name="connsiteY6788" fmla="*/ 571255 h 3690338"/>
                <a:gd name="connsiteX6789" fmla="*/ 1107102 w 4878487"/>
                <a:gd name="connsiteY6789" fmla="*/ 572829 h 3690338"/>
                <a:gd name="connsiteX6790" fmla="*/ 1104348 w 4878487"/>
                <a:gd name="connsiteY6790" fmla="*/ 574009 h 3690338"/>
                <a:gd name="connsiteX6791" fmla="*/ 1101201 w 4878487"/>
                <a:gd name="connsiteY6791" fmla="*/ 574009 h 3690338"/>
                <a:gd name="connsiteX6792" fmla="*/ 1098447 w 4878487"/>
                <a:gd name="connsiteY6792" fmla="*/ 574402 h 3690338"/>
                <a:gd name="connsiteX6793" fmla="*/ 1095693 w 4878487"/>
                <a:gd name="connsiteY6793" fmla="*/ 576763 h 3690338"/>
                <a:gd name="connsiteX6794" fmla="*/ 1093726 w 4878487"/>
                <a:gd name="connsiteY6794" fmla="*/ 579517 h 3690338"/>
                <a:gd name="connsiteX6795" fmla="*/ 1091365 w 4878487"/>
                <a:gd name="connsiteY6795" fmla="*/ 582664 h 3690338"/>
                <a:gd name="connsiteX6796" fmla="*/ 1090578 w 4878487"/>
                <a:gd name="connsiteY6796" fmla="*/ 585418 h 3690338"/>
                <a:gd name="connsiteX6797" fmla="*/ 1090578 w 4878487"/>
                <a:gd name="connsiteY6797" fmla="*/ 588172 h 3690338"/>
                <a:gd name="connsiteX6798" fmla="*/ 1090972 w 4878487"/>
                <a:gd name="connsiteY6798" fmla="*/ 590926 h 3690338"/>
                <a:gd name="connsiteX6799" fmla="*/ 1088218 w 4878487"/>
                <a:gd name="connsiteY6799" fmla="*/ 593680 h 3690338"/>
                <a:gd name="connsiteX6800" fmla="*/ 1085464 w 4878487"/>
                <a:gd name="connsiteY6800" fmla="*/ 596041 h 3690338"/>
                <a:gd name="connsiteX6801" fmla="*/ 1082710 w 4878487"/>
                <a:gd name="connsiteY6801" fmla="*/ 598795 h 3690338"/>
                <a:gd name="connsiteX6802" fmla="*/ 1083103 w 4878487"/>
                <a:gd name="connsiteY6802" fmla="*/ 601549 h 3690338"/>
                <a:gd name="connsiteX6803" fmla="*/ 1082710 w 4878487"/>
                <a:gd name="connsiteY6803" fmla="*/ 604303 h 3690338"/>
                <a:gd name="connsiteX6804" fmla="*/ 1082316 w 4878487"/>
                <a:gd name="connsiteY6804" fmla="*/ 607057 h 3690338"/>
                <a:gd name="connsiteX6805" fmla="*/ 1082316 w 4878487"/>
                <a:gd name="connsiteY6805" fmla="*/ 607450 h 3690338"/>
                <a:gd name="connsiteX6806" fmla="*/ 1082316 w 4878487"/>
                <a:gd name="connsiteY6806" fmla="*/ 609811 h 3690338"/>
                <a:gd name="connsiteX6807" fmla="*/ 1081529 w 4878487"/>
                <a:gd name="connsiteY6807" fmla="*/ 612565 h 3690338"/>
                <a:gd name="connsiteX6808" fmla="*/ 1081923 w 4878487"/>
                <a:gd name="connsiteY6808" fmla="*/ 615319 h 3690338"/>
                <a:gd name="connsiteX6809" fmla="*/ 1083103 w 4878487"/>
                <a:gd name="connsiteY6809" fmla="*/ 618073 h 3690338"/>
                <a:gd name="connsiteX6810" fmla="*/ 1084283 w 4878487"/>
                <a:gd name="connsiteY6810" fmla="*/ 621220 h 3690338"/>
                <a:gd name="connsiteX6811" fmla="*/ 1084677 w 4878487"/>
                <a:gd name="connsiteY6811" fmla="*/ 622400 h 3690338"/>
                <a:gd name="connsiteX6812" fmla="*/ 1085070 w 4878487"/>
                <a:gd name="connsiteY6812" fmla="*/ 624368 h 3690338"/>
                <a:gd name="connsiteX6813" fmla="*/ 1084677 w 4878487"/>
                <a:gd name="connsiteY6813" fmla="*/ 627515 h 3690338"/>
                <a:gd name="connsiteX6814" fmla="*/ 1085464 w 4878487"/>
                <a:gd name="connsiteY6814" fmla="*/ 630269 h 3690338"/>
                <a:gd name="connsiteX6815" fmla="*/ 1089005 w 4878487"/>
                <a:gd name="connsiteY6815" fmla="*/ 635777 h 3690338"/>
                <a:gd name="connsiteX6816" fmla="*/ 1090185 w 4878487"/>
                <a:gd name="connsiteY6816" fmla="*/ 638531 h 3690338"/>
                <a:gd name="connsiteX6817" fmla="*/ 1092152 w 4878487"/>
                <a:gd name="connsiteY6817" fmla="*/ 644432 h 3690338"/>
                <a:gd name="connsiteX6818" fmla="*/ 1092939 w 4878487"/>
                <a:gd name="connsiteY6818" fmla="*/ 646399 h 3690338"/>
                <a:gd name="connsiteX6819" fmla="*/ 1092546 w 4878487"/>
                <a:gd name="connsiteY6819" fmla="*/ 647186 h 3690338"/>
                <a:gd name="connsiteX6820" fmla="*/ 1091365 w 4878487"/>
                <a:gd name="connsiteY6820" fmla="*/ 647186 h 3690338"/>
                <a:gd name="connsiteX6821" fmla="*/ 1089398 w 4878487"/>
                <a:gd name="connsiteY6821" fmla="*/ 647186 h 3690338"/>
                <a:gd name="connsiteX6822" fmla="*/ 1092152 w 4878487"/>
                <a:gd name="connsiteY6822" fmla="*/ 647973 h 3690338"/>
                <a:gd name="connsiteX6823" fmla="*/ 1090578 w 4878487"/>
                <a:gd name="connsiteY6823" fmla="*/ 649940 h 3690338"/>
                <a:gd name="connsiteX6824" fmla="*/ 1091365 w 4878487"/>
                <a:gd name="connsiteY6824" fmla="*/ 652694 h 3690338"/>
                <a:gd name="connsiteX6825" fmla="*/ 1091758 w 4878487"/>
                <a:gd name="connsiteY6825" fmla="*/ 655842 h 3690338"/>
                <a:gd name="connsiteX6826" fmla="*/ 1076021 w 4878487"/>
                <a:gd name="connsiteY6826" fmla="*/ 655842 h 3690338"/>
                <a:gd name="connsiteX6827" fmla="*/ 1078776 w 4878487"/>
                <a:gd name="connsiteY6827" fmla="*/ 653875 h 3690338"/>
                <a:gd name="connsiteX6828" fmla="*/ 1081529 w 4878487"/>
                <a:gd name="connsiteY6828" fmla="*/ 651514 h 3690338"/>
                <a:gd name="connsiteX6829" fmla="*/ 1083497 w 4878487"/>
                <a:gd name="connsiteY6829" fmla="*/ 648760 h 3690338"/>
                <a:gd name="connsiteX6830" fmla="*/ 1085070 w 4878487"/>
                <a:gd name="connsiteY6830" fmla="*/ 647186 h 3690338"/>
                <a:gd name="connsiteX6831" fmla="*/ 1087824 w 4878487"/>
                <a:gd name="connsiteY6831" fmla="*/ 647580 h 3690338"/>
                <a:gd name="connsiteX6832" fmla="*/ 1089005 w 4878487"/>
                <a:gd name="connsiteY6832" fmla="*/ 647580 h 3690338"/>
                <a:gd name="connsiteX6833" fmla="*/ 1085070 w 4878487"/>
                <a:gd name="connsiteY6833" fmla="*/ 646793 h 3690338"/>
                <a:gd name="connsiteX6834" fmla="*/ 1086250 w 4878487"/>
                <a:gd name="connsiteY6834" fmla="*/ 644039 h 3690338"/>
                <a:gd name="connsiteX6835" fmla="*/ 1087038 w 4878487"/>
                <a:gd name="connsiteY6835" fmla="*/ 641285 h 3690338"/>
                <a:gd name="connsiteX6836" fmla="*/ 1087431 w 4878487"/>
                <a:gd name="connsiteY6836" fmla="*/ 638531 h 3690338"/>
                <a:gd name="connsiteX6837" fmla="*/ 1087431 w 4878487"/>
                <a:gd name="connsiteY6837" fmla="*/ 635384 h 3690338"/>
                <a:gd name="connsiteX6838" fmla="*/ 1086644 w 4878487"/>
                <a:gd name="connsiteY6838" fmla="*/ 638531 h 3690338"/>
                <a:gd name="connsiteX6839" fmla="*/ 1086250 w 4878487"/>
                <a:gd name="connsiteY6839" fmla="*/ 641285 h 3690338"/>
                <a:gd name="connsiteX6840" fmla="*/ 1085070 w 4878487"/>
                <a:gd name="connsiteY6840" fmla="*/ 644039 h 3690338"/>
                <a:gd name="connsiteX6841" fmla="*/ 1083497 w 4878487"/>
                <a:gd name="connsiteY6841" fmla="*/ 646399 h 3690338"/>
                <a:gd name="connsiteX6842" fmla="*/ 1082710 w 4878487"/>
                <a:gd name="connsiteY6842" fmla="*/ 646399 h 3690338"/>
                <a:gd name="connsiteX6843" fmla="*/ 1083497 w 4878487"/>
                <a:gd name="connsiteY6843" fmla="*/ 646793 h 3690338"/>
                <a:gd name="connsiteX6844" fmla="*/ 1074448 w 4878487"/>
                <a:gd name="connsiteY6844" fmla="*/ 656235 h 3690338"/>
                <a:gd name="connsiteX6845" fmla="*/ 1060678 w 4878487"/>
                <a:gd name="connsiteY6845" fmla="*/ 657809 h 3690338"/>
                <a:gd name="connsiteX6846" fmla="*/ 1059104 w 4878487"/>
                <a:gd name="connsiteY6846" fmla="*/ 659383 h 3690338"/>
                <a:gd name="connsiteX6847" fmla="*/ 1059891 w 4878487"/>
                <a:gd name="connsiteY6847" fmla="*/ 661743 h 3690338"/>
                <a:gd name="connsiteX6848" fmla="*/ 1058317 w 4878487"/>
                <a:gd name="connsiteY6848" fmla="*/ 668038 h 3690338"/>
                <a:gd name="connsiteX6849" fmla="*/ 1052809 w 4878487"/>
                <a:gd name="connsiteY6849" fmla="*/ 673546 h 3690338"/>
                <a:gd name="connsiteX6850" fmla="*/ 1035892 w 4878487"/>
                <a:gd name="connsiteY6850" fmla="*/ 677087 h 3690338"/>
                <a:gd name="connsiteX6851" fmla="*/ 1031958 w 4878487"/>
                <a:gd name="connsiteY6851" fmla="*/ 676693 h 3690338"/>
                <a:gd name="connsiteX6852" fmla="*/ 1029204 w 4878487"/>
                <a:gd name="connsiteY6852" fmla="*/ 675120 h 3690338"/>
                <a:gd name="connsiteX6853" fmla="*/ 1028810 w 4878487"/>
                <a:gd name="connsiteY6853" fmla="*/ 674726 h 3690338"/>
                <a:gd name="connsiteX6854" fmla="*/ 1025663 w 4878487"/>
                <a:gd name="connsiteY6854" fmla="*/ 669218 h 3690338"/>
                <a:gd name="connsiteX6855" fmla="*/ 1025663 w 4878487"/>
                <a:gd name="connsiteY6855" fmla="*/ 669218 h 3690338"/>
                <a:gd name="connsiteX6856" fmla="*/ 1024876 w 4878487"/>
                <a:gd name="connsiteY6856" fmla="*/ 667644 h 3690338"/>
                <a:gd name="connsiteX6857" fmla="*/ 1023302 w 4878487"/>
                <a:gd name="connsiteY6857" fmla="*/ 664104 h 3690338"/>
                <a:gd name="connsiteX6858" fmla="*/ 1024876 w 4878487"/>
                <a:gd name="connsiteY6858" fmla="*/ 663710 h 3690338"/>
                <a:gd name="connsiteX6859" fmla="*/ 1027630 w 4878487"/>
                <a:gd name="connsiteY6859" fmla="*/ 664891 h 3690338"/>
                <a:gd name="connsiteX6860" fmla="*/ 1030384 w 4878487"/>
                <a:gd name="connsiteY6860" fmla="*/ 666464 h 3690338"/>
                <a:gd name="connsiteX6861" fmla="*/ 1027630 w 4878487"/>
                <a:gd name="connsiteY6861" fmla="*/ 664497 h 3690338"/>
                <a:gd name="connsiteX6862" fmla="*/ 1024876 w 4878487"/>
                <a:gd name="connsiteY6862" fmla="*/ 663317 h 3690338"/>
                <a:gd name="connsiteX6863" fmla="*/ 1022909 w 4878487"/>
                <a:gd name="connsiteY6863" fmla="*/ 662530 h 3690338"/>
                <a:gd name="connsiteX6864" fmla="*/ 1020155 w 4878487"/>
                <a:gd name="connsiteY6864" fmla="*/ 660956 h 3690338"/>
                <a:gd name="connsiteX6865" fmla="*/ 1017401 w 4878487"/>
                <a:gd name="connsiteY6865" fmla="*/ 661350 h 3690338"/>
                <a:gd name="connsiteX6866" fmla="*/ 1014254 w 4878487"/>
                <a:gd name="connsiteY6866" fmla="*/ 660956 h 3690338"/>
                <a:gd name="connsiteX6867" fmla="*/ 1011499 w 4878487"/>
                <a:gd name="connsiteY6867" fmla="*/ 661350 h 3690338"/>
                <a:gd name="connsiteX6868" fmla="*/ 1008746 w 4878487"/>
                <a:gd name="connsiteY6868" fmla="*/ 661743 h 3690338"/>
                <a:gd name="connsiteX6869" fmla="*/ 1005992 w 4878487"/>
                <a:gd name="connsiteY6869" fmla="*/ 662137 h 3690338"/>
                <a:gd name="connsiteX6870" fmla="*/ 1004025 w 4878487"/>
                <a:gd name="connsiteY6870" fmla="*/ 662530 h 3690338"/>
                <a:gd name="connsiteX6871" fmla="*/ 1001270 w 4878487"/>
                <a:gd name="connsiteY6871" fmla="*/ 662923 h 3690338"/>
                <a:gd name="connsiteX6872" fmla="*/ 998517 w 4878487"/>
                <a:gd name="connsiteY6872" fmla="*/ 663317 h 3690338"/>
                <a:gd name="connsiteX6873" fmla="*/ 995762 w 4878487"/>
                <a:gd name="connsiteY6873" fmla="*/ 663710 h 3690338"/>
                <a:gd name="connsiteX6874" fmla="*/ 993008 w 4878487"/>
                <a:gd name="connsiteY6874" fmla="*/ 664104 h 3690338"/>
                <a:gd name="connsiteX6875" fmla="*/ 990255 w 4878487"/>
                <a:gd name="connsiteY6875" fmla="*/ 665284 h 3690338"/>
                <a:gd name="connsiteX6876" fmla="*/ 987107 w 4878487"/>
                <a:gd name="connsiteY6876" fmla="*/ 666858 h 3690338"/>
                <a:gd name="connsiteX6877" fmla="*/ 986320 w 4878487"/>
                <a:gd name="connsiteY6877" fmla="*/ 667251 h 3690338"/>
                <a:gd name="connsiteX6878" fmla="*/ 979632 w 4878487"/>
                <a:gd name="connsiteY6878" fmla="*/ 669218 h 3690338"/>
                <a:gd name="connsiteX6879" fmla="*/ 978452 w 4878487"/>
                <a:gd name="connsiteY6879" fmla="*/ 669218 h 3690338"/>
                <a:gd name="connsiteX6880" fmla="*/ 975698 w 4878487"/>
                <a:gd name="connsiteY6880" fmla="*/ 670005 h 3690338"/>
                <a:gd name="connsiteX6881" fmla="*/ 974518 w 4878487"/>
                <a:gd name="connsiteY6881" fmla="*/ 670398 h 3690338"/>
                <a:gd name="connsiteX6882" fmla="*/ 971763 w 4878487"/>
                <a:gd name="connsiteY6882" fmla="*/ 672759 h 3690338"/>
                <a:gd name="connsiteX6883" fmla="*/ 969403 w 4878487"/>
                <a:gd name="connsiteY6883" fmla="*/ 675513 h 3690338"/>
                <a:gd name="connsiteX6884" fmla="*/ 947371 w 4878487"/>
                <a:gd name="connsiteY6884" fmla="*/ 681808 h 3690338"/>
                <a:gd name="connsiteX6885" fmla="*/ 944617 w 4878487"/>
                <a:gd name="connsiteY6885" fmla="*/ 682201 h 3690338"/>
                <a:gd name="connsiteX6886" fmla="*/ 942650 w 4878487"/>
                <a:gd name="connsiteY6886" fmla="*/ 682988 h 3690338"/>
                <a:gd name="connsiteX6887" fmla="*/ 937535 w 4878487"/>
                <a:gd name="connsiteY6887" fmla="*/ 684562 h 3690338"/>
                <a:gd name="connsiteX6888" fmla="*/ 932027 w 4878487"/>
                <a:gd name="connsiteY6888" fmla="*/ 686136 h 3690338"/>
                <a:gd name="connsiteX6889" fmla="*/ 932027 w 4878487"/>
                <a:gd name="connsiteY6889" fmla="*/ 686136 h 3690338"/>
                <a:gd name="connsiteX6890" fmla="*/ 930847 w 4878487"/>
                <a:gd name="connsiteY6890" fmla="*/ 686529 h 3690338"/>
                <a:gd name="connsiteX6891" fmla="*/ 919438 w 4878487"/>
                <a:gd name="connsiteY6891" fmla="*/ 690070 h 3690338"/>
                <a:gd name="connsiteX6892" fmla="*/ 917864 w 4878487"/>
                <a:gd name="connsiteY6892" fmla="*/ 689676 h 3690338"/>
                <a:gd name="connsiteX6893" fmla="*/ 912356 w 4878487"/>
                <a:gd name="connsiteY6893" fmla="*/ 684955 h 3690338"/>
                <a:gd name="connsiteX6894" fmla="*/ 909602 w 4878487"/>
                <a:gd name="connsiteY6894" fmla="*/ 684168 h 3690338"/>
                <a:gd name="connsiteX6895" fmla="*/ 906848 w 4878487"/>
                <a:gd name="connsiteY6895" fmla="*/ 681808 h 3690338"/>
                <a:gd name="connsiteX6896" fmla="*/ 907635 w 4878487"/>
                <a:gd name="connsiteY6896" fmla="*/ 684562 h 3690338"/>
                <a:gd name="connsiteX6897" fmla="*/ 907241 w 4878487"/>
                <a:gd name="connsiteY6897" fmla="*/ 685742 h 3690338"/>
                <a:gd name="connsiteX6898" fmla="*/ 907241 w 4878487"/>
                <a:gd name="connsiteY6898" fmla="*/ 686136 h 3690338"/>
                <a:gd name="connsiteX6899" fmla="*/ 906848 w 4878487"/>
                <a:gd name="connsiteY6899" fmla="*/ 685742 h 3690338"/>
                <a:gd name="connsiteX6900" fmla="*/ 905668 w 4878487"/>
                <a:gd name="connsiteY6900" fmla="*/ 682988 h 3690338"/>
                <a:gd name="connsiteX6901" fmla="*/ 904881 w 4878487"/>
                <a:gd name="connsiteY6901" fmla="*/ 681808 h 3690338"/>
                <a:gd name="connsiteX6902" fmla="*/ 902127 w 4878487"/>
                <a:gd name="connsiteY6902" fmla="*/ 682988 h 3690338"/>
                <a:gd name="connsiteX6903" fmla="*/ 898979 w 4878487"/>
                <a:gd name="connsiteY6903" fmla="*/ 683382 h 3690338"/>
                <a:gd name="connsiteX6904" fmla="*/ 899767 w 4878487"/>
                <a:gd name="connsiteY6904" fmla="*/ 684562 h 3690338"/>
                <a:gd name="connsiteX6905" fmla="*/ 896619 w 4878487"/>
                <a:gd name="connsiteY6905" fmla="*/ 682201 h 3690338"/>
                <a:gd name="connsiteX6906" fmla="*/ 894259 w 4878487"/>
                <a:gd name="connsiteY6906" fmla="*/ 679841 h 3690338"/>
                <a:gd name="connsiteX6907" fmla="*/ 892291 w 4878487"/>
                <a:gd name="connsiteY6907" fmla="*/ 679054 h 3690338"/>
                <a:gd name="connsiteX6908" fmla="*/ 891111 w 4878487"/>
                <a:gd name="connsiteY6908" fmla="*/ 678267 h 3690338"/>
                <a:gd name="connsiteX6909" fmla="*/ 893471 w 4878487"/>
                <a:gd name="connsiteY6909" fmla="*/ 679054 h 3690338"/>
                <a:gd name="connsiteX6910" fmla="*/ 896226 w 4878487"/>
                <a:gd name="connsiteY6910" fmla="*/ 678660 h 3690338"/>
                <a:gd name="connsiteX6911" fmla="*/ 898979 w 4878487"/>
                <a:gd name="connsiteY6911" fmla="*/ 676693 h 3690338"/>
                <a:gd name="connsiteX6912" fmla="*/ 902520 w 4878487"/>
                <a:gd name="connsiteY6912" fmla="*/ 677480 h 3690338"/>
                <a:gd name="connsiteX6913" fmla="*/ 905274 w 4878487"/>
                <a:gd name="connsiteY6913" fmla="*/ 677874 h 3690338"/>
                <a:gd name="connsiteX6914" fmla="*/ 904881 w 4878487"/>
                <a:gd name="connsiteY6914" fmla="*/ 675120 h 3690338"/>
                <a:gd name="connsiteX6915" fmla="*/ 902914 w 4878487"/>
                <a:gd name="connsiteY6915" fmla="*/ 674333 h 3690338"/>
                <a:gd name="connsiteX6916" fmla="*/ 903307 w 4878487"/>
                <a:gd name="connsiteY6916" fmla="*/ 670792 h 3690338"/>
                <a:gd name="connsiteX6917" fmla="*/ 902914 w 4878487"/>
                <a:gd name="connsiteY6917" fmla="*/ 668825 h 3690338"/>
                <a:gd name="connsiteX6918" fmla="*/ 900160 w 4878487"/>
                <a:gd name="connsiteY6918" fmla="*/ 669218 h 3690338"/>
                <a:gd name="connsiteX6919" fmla="*/ 897012 w 4878487"/>
                <a:gd name="connsiteY6919" fmla="*/ 668825 h 3690338"/>
                <a:gd name="connsiteX6920" fmla="*/ 896226 w 4878487"/>
                <a:gd name="connsiteY6920" fmla="*/ 666071 h 3690338"/>
                <a:gd name="connsiteX6921" fmla="*/ 893471 w 4878487"/>
                <a:gd name="connsiteY6921" fmla="*/ 668431 h 3690338"/>
                <a:gd name="connsiteX6922" fmla="*/ 892685 w 4878487"/>
                <a:gd name="connsiteY6922" fmla="*/ 670005 h 3690338"/>
                <a:gd name="connsiteX6923" fmla="*/ 890718 w 4878487"/>
                <a:gd name="connsiteY6923" fmla="*/ 670005 h 3690338"/>
                <a:gd name="connsiteX6924" fmla="*/ 891898 w 4878487"/>
                <a:gd name="connsiteY6924" fmla="*/ 672366 h 3690338"/>
                <a:gd name="connsiteX6925" fmla="*/ 889931 w 4878487"/>
                <a:gd name="connsiteY6925" fmla="*/ 677087 h 3690338"/>
                <a:gd name="connsiteX6926" fmla="*/ 890324 w 4878487"/>
                <a:gd name="connsiteY6926" fmla="*/ 677480 h 3690338"/>
                <a:gd name="connsiteX6927" fmla="*/ 890324 w 4878487"/>
                <a:gd name="connsiteY6927" fmla="*/ 677874 h 3690338"/>
                <a:gd name="connsiteX6928" fmla="*/ 890718 w 4878487"/>
                <a:gd name="connsiteY6928" fmla="*/ 678660 h 3690338"/>
                <a:gd name="connsiteX6929" fmla="*/ 889931 w 4878487"/>
                <a:gd name="connsiteY6929" fmla="*/ 678267 h 3690338"/>
                <a:gd name="connsiteX6930" fmla="*/ 890718 w 4878487"/>
                <a:gd name="connsiteY6930" fmla="*/ 679054 h 3690338"/>
                <a:gd name="connsiteX6931" fmla="*/ 890718 w 4878487"/>
                <a:gd name="connsiteY6931" fmla="*/ 679054 h 3690338"/>
                <a:gd name="connsiteX6932" fmla="*/ 890718 w 4878487"/>
                <a:gd name="connsiteY6932" fmla="*/ 679054 h 3690338"/>
                <a:gd name="connsiteX6933" fmla="*/ 891111 w 4878487"/>
                <a:gd name="connsiteY6933" fmla="*/ 679447 h 3690338"/>
                <a:gd name="connsiteX6934" fmla="*/ 890324 w 4878487"/>
                <a:gd name="connsiteY6934" fmla="*/ 679054 h 3690338"/>
                <a:gd name="connsiteX6935" fmla="*/ 889537 w 4878487"/>
                <a:gd name="connsiteY6935" fmla="*/ 678267 h 3690338"/>
                <a:gd name="connsiteX6936" fmla="*/ 889144 w 4878487"/>
                <a:gd name="connsiteY6936" fmla="*/ 678267 h 3690338"/>
                <a:gd name="connsiteX6937" fmla="*/ 887177 w 4878487"/>
                <a:gd name="connsiteY6937" fmla="*/ 675513 h 3690338"/>
                <a:gd name="connsiteX6938" fmla="*/ 884423 w 4878487"/>
                <a:gd name="connsiteY6938" fmla="*/ 675513 h 3690338"/>
                <a:gd name="connsiteX6939" fmla="*/ 881275 w 4878487"/>
                <a:gd name="connsiteY6939" fmla="*/ 676300 h 3690338"/>
                <a:gd name="connsiteX6940" fmla="*/ 878521 w 4878487"/>
                <a:gd name="connsiteY6940" fmla="*/ 675120 h 3690338"/>
                <a:gd name="connsiteX6941" fmla="*/ 875767 w 4878487"/>
                <a:gd name="connsiteY6941" fmla="*/ 676300 h 3690338"/>
                <a:gd name="connsiteX6942" fmla="*/ 874194 w 4878487"/>
                <a:gd name="connsiteY6942" fmla="*/ 677480 h 3690338"/>
                <a:gd name="connsiteX6943" fmla="*/ 874194 w 4878487"/>
                <a:gd name="connsiteY6943" fmla="*/ 675906 h 3690338"/>
                <a:gd name="connsiteX6944" fmla="*/ 876948 w 4878487"/>
                <a:gd name="connsiteY6944" fmla="*/ 674726 h 3690338"/>
                <a:gd name="connsiteX6945" fmla="*/ 879701 w 4878487"/>
                <a:gd name="connsiteY6945" fmla="*/ 674333 h 3690338"/>
                <a:gd name="connsiteX6946" fmla="*/ 882456 w 4878487"/>
                <a:gd name="connsiteY6946" fmla="*/ 674726 h 3690338"/>
                <a:gd name="connsiteX6947" fmla="*/ 879701 w 4878487"/>
                <a:gd name="connsiteY6947" fmla="*/ 673939 h 3690338"/>
                <a:gd name="connsiteX6948" fmla="*/ 876948 w 4878487"/>
                <a:gd name="connsiteY6948" fmla="*/ 673546 h 3690338"/>
                <a:gd name="connsiteX6949" fmla="*/ 874194 w 4878487"/>
                <a:gd name="connsiteY6949" fmla="*/ 673152 h 3690338"/>
                <a:gd name="connsiteX6950" fmla="*/ 869472 w 4878487"/>
                <a:gd name="connsiteY6950" fmla="*/ 679054 h 3690338"/>
                <a:gd name="connsiteX6951" fmla="*/ 867112 w 4878487"/>
                <a:gd name="connsiteY6951" fmla="*/ 680234 h 3690338"/>
                <a:gd name="connsiteX6952" fmla="*/ 864358 w 4878487"/>
                <a:gd name="connsiteY6952" fmla="*/ 682595 h 3690338"/>
                <a:gd name="connsiteX6953" fmla="*/ 864752 w 4878487"/>
                <a:gd name="connsiteY6953" fmla="*/ 685349 h 3690338"/>
                <a:gd name="connsiteX6954" fmla="*/ 863964 w 4878487"/>
                <a:gd name="connsiteY6954" fmla="*/ 682201 h 3690338"/>
                <a:gd name="connsiteX6955" fmla="*/ 860817 w 4878487"/>
                <a:gd name="connsiteY6955" fmla="*/ 682595 h 3690338"/>
                <a:gd name="connsiteX6956" fmla="*/ 858063 w 4878487"/>
                <a:gd name="connsiteY6956" fmla="*/ 683382 h 3690338"/>
                <a:gd name="connsiteX6957" fmla="*/ 855309 w 4878487"/>
                <a:gd name="connsiteY6957" fmla="*/ 682988 h 3690338"/>
                <a:gd name="connsiteX6958" fmla="*/ 852555 w 4878487"/>
                <a:gd name="connsiteY6958" fmla="*/ 684562 h 3690338"/>
                <a:gd name="connsiteX6959" fmla="*/ 849801 w 4878487"/>
                <a:gd name="connsiteY6959" fmla="*/ 686136 h 3690338"/>
                <a:gd name="connsiteX6960" fmla="*/ 852555 w 4878487"/>
                <a:gd name="connsiteY6960" fmla="*/ 684955 h 3690338"/>
                <a:gd name="connsiteX6961" fmla="*/ 849801 w 4878487"/>
                <a:gd name="connsiteY6961" fmla="*/ 687316 h 3690338"/>
                <a:gd name="connsiteX6962" fmla="*/ 848621 w 4878487"/>
                <a:gd name="connsiteY6962" fmla="*/ 690070 h 3690338"/>
                <a:gd name="connsiteX6963" fmla="*/ 848227 w 4878487"/>
                <a:gd name="connsiteY6963" fmla="*/ 690857 h 3690338"/>
                <a:gd name="connsiteX6964" fmla="*/ 845474 w 4878487"/>
                <a:gd name="connsiteY6964" fmla="*/ 688890 h 3690338"/>
                <a:gd name="connsiteX6965" fmla="*/ 842720 w 4878487"/>
                <a:gd name="connsiteY6965" fmla="*/ 688496 h 3690338"/>
                <a:gd name="connsiteX6966" fmla="*/ 839965 w 4878487"/>
                <a:gd name="connsiteY6966" fmla="*/ 687316 h 3690338"/>
                <a:gd name="connsiteX6967" fmla="*/ 838392 w 4878487"/>
                <a:gd name="connsiteY6967" fmla="*/ 687709 h 3690338"/>
                <a:gd name="connsiteX6968" fmla="*/ 834457 w 4878487"/>
                <a:gd name="connsiteY6968" fmla="*/ 689283 h 3690338"/>
                <a:gd name="connsiteX6969" fmla="*/ 834064 w 4878487"/>
                <a:gd name="connsiteY6969" fmla="*/ 689283 h 3690338"/>
                <a:gd name="connsiteX6970" fmla="*/ 833671 w 4878487"/>
                <a:gd name="connsiteY6970" fmla="*/ 688890 h 3690338"/>
                <a:gd name="connsiteX6971" fmla="*/ 836031 w 4878487"/>
                <a:gd name="connsiteY6971" fmla="*/ 683382 h 3690338"/>
                <a:gd name="connsiteX6972" fmla="*/ 836818 w 4878487"/>
                <a:gd name="connsiteY6972" fmla="*/ 682988 h 3690338"/>
                <a:gd name="connsiteX6973" fmla="*/ 838786 w 4878487"/>
                <a:gd name="connsiteY6973" fmla="*/ 680234 h 3690338"/>
                <a:gd name="connsiteX6974" fmla="*/ 838786 w 4878487"/>
                <a:gd name="connsiteY6974" fmla="*/ 677087 h 3690338"/>
                <a:gd name="connsiteX6975" fmla="*/ 839572 w 4878487"/>
                <a:gd name="connsiteY6975" fmla="*/ 675513 h 3690338"/>
                <a:gd name="connsiteX6976" fmla="*/ 839179 w 4878487"/>
                <a:gd name="connsiteY6976" fmla="*/ 675513 h 3690338"/>
                <a:gd name="connsiteX6977" fmla="*/ 838786 w 4878487"/>
                <a:gd name="connsiteY6977" fmla="*/ 675906 h 3690338"/>
                <a:gd name="connsiteX6978" fmla="*/ 838392 w 4878487"/>
                <a:gd name="connsiteY6978" fmla="*/ 676300 h 3690338"/>
                <a:gd name="connsiteX6979" fmla="*/ 822655 w 4878487"/>
                <a:gd name="connsiteY6979" fmla="*/ 675120 h 3690338"/>
                <a:gd name="connsiteX6980" fmla="*/ 821081 w 4878487"/>
                <a:gd name="connsiteY6980" fmla="*/ 674333 h 3690338"/>
                <a:gd name="connsiteX6981" fmla="*/ 818327 w 4878487"/>
                <a:gd name="connsiteY6981" fmla="*/ 674726 h 3690338"/>
                <a:gd name="connsiteX6982" fmla="*/ 817934 w 4878487"/>
                <a:gd name="connsiteY6982" fmla="*/ 674726 h 3690338"/>
                <a:gd name="connsiteX6983" fmla="*/ 815180 w 4878487"/>
                <a:gd name="connsiteY6983" fmla="*/ 676300 h 3690338"/>
                <a:gd name="connsiteX6984" fmla="*/ 814786 w 4878487"/>
                <a:gd name="connsiteY6984" fmla="*/ 675906 h 3690338"/>
                <a:gd name="connsiteX6985" fmla="*/ 816360 w 4878487"/>
                <a:gd name="connsiteY6985" fmla="*/ 673152 h 3690338"/>
                <a:gd name="connsiteX6986" fmla="*/ 813213 w 4878487"/>
                <a:gd name="connsiteY6986" fmla="*/ 672366 h 3690338"/>
                <a:gd name="connsiteX6987" fmla="*/ 811246 w 4878487"/>
                <a:gd name="connsiteY6987" fmla="*/ 672759 h 3690338"/>
                <a:gd name="connsiteX6988" fmla="*/ 811246 w 4878487"/>
                <a:gd name="connsiteY6988" fmla="*/ 671185 h 3690338"/>
                <a:gd name="connsiteX6989" fmla="*/ 811639 w 4878487"/>
                <a:gd name="connsiteY6989" fmla="*/ 668431 h 3690338"/>
                <a:gd name="connsiteX6990" fmla="*/ 811246 w 4878487"/>
                <a:gd name="connsiteY6990" fmla="*/ 666464 h 3690338"/>
                <a:gd name="connsiteX6991" fmla="*/ 809672 w 4878487"/>
                <a:gd name="connsiteY6991" fmla="*/ 666858 h 3690338"/>
                <a:gd name="connsiteX6992" fmla="*/ 811246 w 4878487"/>
                <a:gd name="connsiteY6992" fmla="*/ 666071 h 3690338"/>
                <a:gd name="connsiteX6993" fmla="*/ 811246 w 4878487"/>
                <a:gd name="connsiteY6993" fmla="*/ 665284 h 3690338"/>
                <a:gd name="connsiteX6994" fmla="*/ 808885 w 4878487"/>
                <a:gd name="connsiteY6994" fmla="*/ 662923 h 3690338"/>
                <a:gd name="connsiteX6995" fmla="*/ 806131 w 4878487"/>
                <a:gd name="connsiteY6995" fmla="*/ 663317 h 3690338"/>
                <a:gd name="connsiteX6996" fmla="*/ 802983 w 4878487"/>
                <a:gd name="connsiteY6996" fmla="*/ 662137 h 3690338"/>
                <a:gd name="connsiteX6997" fmla="*/ 801410 w 4878487"/>
                <a:gd name="connsiteY6997" fmla="*/ 661743 h 3690338"/>
                <a:gd name="connsiteX6998" fmla="*/ 803377 w 4878487"/>
                <a:gd name="connsiteY6998" fmla="*/ 662137 h 3690338"/>
                <a:gd name="connsiteX6999" fmla="*/ 800230 w 4878487"/>
                <a:gd name="connsiteY6999" fmla="*/ 660563 h 3690338"/>
                <a:gd name="connsiteX7000" fmla="*/ 798262 w 4878487"/>
                <a:gd name="connsiteY7000" fmla="*/ 661350 h 3690338"/>
                <a:gd name="connsiteX7001" fmla="*/ 799049 w 4878487"/>
                <a:gd name="connsiteY7001" fmla="*/ 661350 h 3690338"/>
                <a:gd name="connsiteX7002" fmla="*/ 797082 w 4878487"/>
                <a:gd name="connsiteY7002" fmla="*/ 661743 h 3690338"/>
                <a:gd name="connsiteX7003" fmla="*/ 798262 w 4878487"/>
                <a:gd name="connsiteY7003" fmla="*/ 661350 h 3690338"/>
                <a:gd name="connsiteX7004" fmla="*/ 798262 w 4878487"/>
                <a:gd name="connsiteY7004" fmla="*/ 661350 h 3690338"/>
                <a:gd name="connsiteX7005" fmla="*/ 800623 w 4878487"/>
                <a:gd name="connsiteY7005" fmla="*/ 659383 h 3690338"/>
                <a:gd name="connsiteX7006" fmla="*/ 801410 w 4878487"/>
                <a:gd name="connsiteY7006" fmla="*/ 659776 h 3690338"/>
                <a:gd name="connsiteX7007" fmla="*/ 801803 w 4878487"/>
                <a:gd name="connsiteY7007" fmla="*/ 661350 h 3690338"/>
                <a:gd name="connsiteX7008" fmla="*/ 804950 w 4878487"/>
                <a:gd name="connsiteY7008" fmla="*/ 661743 h 3690338"/>
                <a:gd name="connsiteX7009" fmla="*/ 804950 w 4878487"/>
                <a:gd name="connsiteY7009" fmla="*/ 658596 h 3690338"/>
                <a:gd name="connsiteX7010" fmla="*/ 803377 w 4878487"/>
                <a:gd name="connsiteY7010" fmla="*/ 656629 h 3690338"/>
                <a:gd name="connsiteX7011" fmla="*/ 803377 w 4878487"/>
                <a:gd name="connsiteY7011" fmla="*/ 655842 h 3690338"/>
                <a:gd name="connsiteX7012" fmla="*/ 806131 w 4878487"/>
                <a:gd name="connsiteY7012" fmla="*/ 656629 h 3690338"/>
                <a:gd name="connsiteX7013" fmla="*/ 806131 w 4878487"/>
                <a:gd name="connsiteY7013" fmla="*/ 658989 h 3690338"/>
                <a:gd name="connsiteX7014" fmla="*/ 808885 w 4878487"/>
                <a:gd name="connsiteY7014" fmla="*/ 660563 h 3690338"/>
                <a:gd name="connsiteX7015" fmla="*/ 812032 w 4878487"/>
                <a:gd name="connsiteY7015" fmla="*/ 660956 h 3690338"/>
                <a:gd name="connsiteX7016" fmla="*/ 812819 w 4878487"/>
                <a:gd name="connsiteY7016" fmla="*/ 658989 h 3690338"/>
                <a:gd name="connsiteX7017" fmla="*/ 812032 w 4878487"/>
                <a:gd name="connsiteY7017" fmla="*/ 657022 h 3690338"/>
                <a:gd name="connsiteX7018" fmla="*/ 811639 w 4878487"/>
                <a:gd name="connsiteY7018" fmla="*/ 656629 h 3690338"/>
                <a:gd name="connsiteX7019" fmla="*/ 810065 w 4878487"/>
                <a:gd name="connsiteY7019" fmla="*/ 655842 h 3690338"/>
                <a:gd name="connsiteX7020" fmla="*/ 807311 w 4878487"/>
                <a:gd name="connsiteY7020" fmla="*/ 654268 h 3690338"/>
                <a:gd name="connsiteX7021" fmla="*/ 804557 w 4878487"/>
                <a:gd name="connsiteY7021" fmla="*/ 655055 h 3690338"/>
                <a:gd name="connsiteX7022" fmla="*/ 803770 w 4878487"/>
                <a:gd name="connsiteY7022" fmla="*/ 655448 h 3690338"/>
                <a:gd name="connsiteX7023" fmla="*/ 802590 w 4878487"/>
                <a:gd name="connsiteY7023" fmla="*/ 649547 h 3690338"/>
                <a:gd name="connsiteX7024" fmla="*/ 801410 w 4878487"/>
                <a:gd name="connsiteY7024" fmla="*/ 650334 h 3690338"/>
                <a:gd name="connsiteX7025" fmla="*/ 802590 w 4878487"/>
                <a:gd name="connsiteY7025" fmla="*/ 649153 h 3690338"/>
                <a:gd name="connsiteX7026" fmla="*/ 802590 w 4878487"/>
                <a:gd name="connsiteY7026" fmla="*/ 649547 h 3690338"/>
                <a:gd name="connsiteX7027" fmla="*/ 804164 w 4878487"/>
                <a:gd name="connsiteY7027" fmla="*/ 648760 h 3690338"/>
                <a:gd name="connsiteX7028" fmla="*/ 803770 w 4878487"/>
                <a:gd name="connsiteY7028" fmla="*/ 647973 h 3690338"/>
                <a:gd name="connsiteX7029" fmla="*/ 804164 w 4878487"/>
                <a:gd name="connsiteY7029" fmla="*/ 647580 h 3690338"/>
                <a:gd name="connsiteX7030" fmla="*/ 802197 w 4878487"/>
                <a:gd name="connsiteY7030" fmla="*/ 644826 h 3690338"/>
                <a:gd name="connsiteX7031" fmla="*/ 801410 w 4878487"/>
                <a:gd name="connsiteY7031" fmla="*/ 642859 h 3690338"/>
                <a:gd name="connsiteX7032" fmla="*/ 804164 w 4878487"/>
                <a:gd name="connsiteY7032" fmla="*/ 639318 h 3690338"/>
                <a:gd name="connsiteX7033" fmla="*/ 804557 w 4878487"/>
                <a:gd name="connsiteY7033" fmla="*/ 638924 h 3690338"/>
                <a:gd name="connsiteX7034" fmla="*/ 804950 w 4878487"/>
                <a:gd name="connsiteY7034" fmla="*/ 638138 h 3690338"/>
                <a:gd name="connsiteX7035" fmla="*/ 807705 w 4878487"/>
                <a:gd name="connsiteY7035" fmla="*/ 636170 h 3690338"/>
                <a:gd name="connsiteX7036" fmla="*/ 804557 w 4878487"/>
                <a:gd name="connsiteY7036" fmla="*/ 634990 h 3690338"/>
                <a:gd name="connsiteX7037" fmla="*/ 801410 w 4878487"/>
                <a:gd name="connsiteY7037" fmla="*/ 633810 h 3690338"/>
                <a:gd name="connsiteX7038" fmla="*/ 801803 w 4878487"/>
                <a:gd name="connsiteY7038" fmla="*/ 633416 h 3690338"/>
                <a:gd name="connsiteX7039" fmla="*/ 803770 w 4878487"/>
                <a:gd name="connsiteY7039" fmla="*/ 633416 h 3690338"/>
                <a:gd name="connsiteX7040" fmla="*/ 805738 w 4878487"/>
                <a:gd name="connsiteY7040" fmla="*/ 634203 h 3690338"/>
                <a:gd name="connsiteX7041" fmla="*/ 808491 w 4878487"/>
                <a:gd name="connsiteY7041" fmla="*/ 633810 h 3690338"/>
                <a:gd name="connsiteX7042" fmla="*/ 811639 w 4878487"/>
                <a:gd name="connsiteY7042" fmla="*/ 633416 h 3690338"/>
                <a:gd name="connsiteX7043" fmla="*/ 812032 w 4878487"/>
                <a:gd name="connsiteY7043" fmla="*/ 632630 h 3690338"/>
                <a:gd name="connsiteX7044" fmla="*/ 811639 w 4878487"/>
                <a:gd name="connsiteY7044" fmla="*/ 629876 h 3690338"/>
                <a:gd name="connsiteX7045" fmla="*/ 811639 w 4878487"/>
                <a:gd name="connsiteY7045" fmla="*/ 628302 h 3690338"/>
                <a:gd name="connsiteX7046" fmla="*/ 812032 w 4878487"/>
                <a:gd name="connsiteY7046" fmla="*/ 628302 h 3690338"/>
                <a:gd name="connsiteX7047" fmla="*/ 814393 w 4878487"/>
                <a:gd name="connsiteY7047" fmla="*/ 628302 h 3690338"/>
                <a:gd name="connsiteX7048" fmla="*/ 817147 w 4878487"/>
                <a:gd name="connsiteY7048" fmla="*/ 627122 h 3690338"/>
                <a:gd name="connsiteX7049" fmla="*/ 817540 w 4878487"/>
                <a:gd name="connsiteY7049" fmla="*/ 624368 h 3690338"/>
                <a:gd name="connsiteX7050" fmla="*/ 817540 w 4878487"/>
                <a:gd name="connsiteY7050" fmla="*/ 621614 h 3690338"/>
                <a:gd name="connsiteX7051" fmla="*/ 817147 w 4878487"/>
                <a:gd name="connsiteY7051" fmla="*/ 618466 h 3690338"/>
                <a:gd name="connsiteX7052" fmla="*/ 824622 w 4878487"/>
                <a:gd name="connsiteY7052" fmla="*/ 620827 h 3690338"/>
                <a:gd name="connsiteX7053" fmla="*/ 825016 w 4878487"/>
                <a:gd name="connsiteY7053" fmla="*/ 619646 h 3690338"/>
                <a:gd name="connsiteX7054" fmla="*/ 826589 w 4878487"/>
                <a:gd name="connsiteY7054" fmla="*/ 616893 h 3690338"/>
                <a:gd name="connsiteX7055" fmla="*/ 829343 w 4878487"/>
                <a:gd name="connsiteY7055" fmla="*/ 618466 h 3690338"/>
                <a:gd name="connsiteX7056" fmla="*/ 831704 w 4878487"/>
                <a:gd name="connsiteY7056" fmla="*/ 615712 h 3690338"/>
                <a:gd name="connsiteX7057" fmla="*/ 833671 w 4878487"/>
                <a:gd name="connsiteY7057" fmla="*/ 612565 h 3690338"/>
                <a:gd name="connsiteX7058" fmla="*/ 834064 w 4878487"/>
                <a:gd name="connsiteY7058" fmla="*/ 609811 h 3690338"/>
                <a:gd name="connsiteX7059" fmla="*/ 831310 w 4878487"/>
                <a:gd name="connsiteY7059" fmla="*/ 607450 h 3690338"/>
                <a:gd name="connsiteX7060" fmla="*/ 828556 w 4878487"/>
                <a:gd name="connsiteY7060" fmla="*/ 607450 h 3690338"/>
                <a:gd name="connsiteX7061" fmla="*/ 825802 w 4878487"/>
                <a:gd name="connsiteY7061" fmla="*/ 607844 h 3690338"/>
                <a:gd name="connsiteX7062" fmla="*/ 823048 w 4878487"/>
                <a:gd name="connsiteY7062" fmla="*/ 607844 h 3690338"/>
                <a:gd name="connsiteX7063" fmla="*/ 820294 w 4878487"/>
                <a:gd name="connsiteY7063" fmla="*/ 606663 h 3690338"/>
                <a:gd name="connsiteX7064" fmla="*/ 817934 w 4878487"/>
                <a:gd name="connsiteY7064" fmla="*/ 606663 h 3690338"/>
                <a:gd name="connsiteX7065" fmla="*/ 819508 w 4878487"/>
                <a:gd name="connsiteY7065" fmla="*/ 604696 h 3690338"/>
                <a:gd name="connsiteX7066" fmla="*/ 818327 w 4878487"/>
                <a:gd name="connsiteY7066" fmla="*/ 602336 h 3690338"/>
                <a:gd name="connsiteX7067" fmla="*/ 815573 w 4878487"/>
                <a:gd name="connsiteY7067" fmla="*/ 602336 h 3690338"/>
                <a:gd name="connsiteX7068" fmla="*/ 814393 w 4878487"/>
                <a:gd name="connsiteY7068" fmla="*/ 601942 h 3690338"/>
                <a:gd name="connsiteX7069" fmla="*/ 814393 w 4878487"/>
                <a:gd name="connsiteY7069" fmla="*/ 602336 h 3690338"/>
                <a:gd name="connsiteX7070" fmla="*/ 811246 w 4878487"/>
                <a:gd name="connsiteY7070" fmla="*/ 603909 h 3690338"/>
                <a:gd name="connsiteX7071" fmla="*/ 808098 w 4878487"/>
                <a:gd name="connsiteY7071" fmla="*/ 604303 h 3690338"/>
                <a:gd name="connsiteX7072" fmla="*/ 811246 w 4878487"/>
                <a:gd name="connsiteY7072" fmla="*/ 603123 h 3690338"/>
                <a:gd name="connsiteX7073" fmla="*/ 811639 w 4878487"/>
                <a:gd name="connsiteY7073" fmla="*/ 603123 h 3690338"/>
                <a:gd name="connsiteX7074" fmla="*/ 814393 w 4878487"/>
                <a:gd name="connsiteY7074" fmla="*/ 601942 h 3690338"/>
                <a:gd name="connsiteX7075" fmla="*/ 819508 w 4878487"/>
                <a:gd name="connsiteY7075" fmla="*/ 601942 h 3690338"/>
                <a:gd name="connsiteX7076" fmla="*/ 817934 w 4878487"/>
                <a:gd name="connsiteY7076" fmla="*/ 599188 h 3690338"/>
                <a:gd name="connsiteX7077" fmla="*/ 817540 w 4878487"/>
                <a:gd name="connsiteY7077" fmla="*/ 596434 h 3690338"/>
                <a:gd name="connsiteX7078" fmla="*/ 816753 w 4878487"/>
                <a:gd name="connsiteY7078" fmla="*/ 593680 h 3690338"/>
                <a:gd name="connsiteX7079" fmla="*/ 813999 w 4878487"/>
                <a:gd name="connsiteY7079" fmla="*/ 592500 h 3690338"/>
                <a:gd name="connsiteX7080" fmla="*/ 811246 w 4878487"/>
                <a:gd name="connsiteY7080" fmla="*/ 590533 h 3690338"/>
                <a:gd name="connsiteX7081" fmla="*/ 810852 w 4878487"/>
                <a:gd name="connsiteY7081" fmla="*/ 590533 h 3690338"/>
                <a:gd name="connsiteX7082" fmla="*/ 811246 w 4878487"/>
                <a:gd name="connsiteY7082" fmla="*/ 590140 h 3690338"/>
                <a:gd name="connsiteX7083" fmla="*/ 811639 w 4878487"/>
                <a:gd name="connsiteY7083" fmla="*/ 590533 h 3690338"/>
                <a:gd name="connsiteX7084" fmla="*/ 814393 w 4878487"/>
                <a:gd name="connsiteY7084" fmla="*/ 592107 h 3690338"/>
                <a:gd name="connsiteX7085" fmla="*/ 817147 w 4878487"/>
                <a:gd name="connsiteY7085" fmla="*/ 593287 h 3690338"/>
                <a:gd name="connsiteX7086" fmla="*/ 819901 w 4878487"/>
                <a:gd name="connsiteY7086" fmla="*/ 590926 h 3690338"/>
                <a:gd name="connsiteX7087" fmla="*/ 821475 w 4878487"/>
                <a:gd name="connsiteY7087" fmla="*/ 588172 h 3690338"/>
                <a:gd name="connsiteX7088" fmla="*/ 824228 w 4878487"/>
                <a:gd name="connsiteY7088" fmla="*/ 585812 h 3690338"/>
                <a:gd name="connsiteX7089" fmla="*/ 823835 w 4878487"/>
                <a:gd name="connsiteY7089" fmla="*/ 584238 h 3690338"/>
                <a:gd name="connsiteX7090" fmla="*/ 823442 w 4878487"/>
                <a:gd name="connsiteY7090" fmla="*/ 581484 h 3690338"/>
                <a:gd name="connsiteX7091" fmla="*/ 823442 w 4878487"/>
                <a:gd name="connsiteY7091" fmla="*/ 578337 h 3690338"/>
                <a:gd name="connsiteX7092" fmla="*/ 821475 w 4878487"/>
                <a:gd name="connsiteY7092" fmla="*/ 575583 h 3690338"/>
                <a:gd name="connsiteX7093" fmla="*/ 823048 w 4878487"/>
                <a:gd name="connsiteY7093" fmla="*/ 572829 h 3690338"/>
                <a:gd name="connsiteX7094" fmla="*/ 825409 w 4878487"/>
                <a:gd name="connsiteY7094" fmla="*/ 570075 h 3690338"/>
                <a:gd name="connsiteX7095" fmla="*/ 822655 w 4878487"/>
                <a:gd name="connsiteY7095" fmla="*/ 571255 h 3690338"/>
                <a:gd name="connsiteX7096" fmla="*/ 819901 w 4878487"/>
                <a:gd name="connsiteY7096" fmla="*/ 572829 h 3690338"/>
                <a:gd name="connsiteX7097" fmla="*/ 816753 w 4878487"/>
                <a:gd name="connsiteY7097" fmla="*/ 574402 h 3690338"/>
                <a:gd name="connsiteX7098" fmla="*/ 813999 w 4878487"/>
                <a:gd name="connsiteY7098" fmla="*/ 574796 h 3690338"/>
                <a:gd name="connsiteX7099" fmla="*/ 811246 w 4878487"/>
                <a:gd name="connsiteY7099" fmla="*/ 574796 h 3690338"/>
                <a:gd name="connsiteX7100" fmla="*/ 787246 w 4878487"/>
                <a:gd name="connsiteY7100" fmla="*/ 588566 h 3690338"/>
                <a:gd name="connsiteX7101" fmla="*/ 786460 w 4878487"/>
                <a:gd name="connsiteY7101" fmla="*/ 588566 h 3690338"/>
                <a:gd name="connsiteX7102" fmla="*/ 786066 w 4878487"/>
                <a:gd name="connsiteY7102" fmla="*/ 588566 h 3690338"/>
                <a:gd name="connsiteX7103" fmla="*/ 777411 w 4878487"/>
                <a:gd name="connsiteY7103" fmla="*/ 589353 h 3690338"/>
                <a:gd name="connsiteX7104" fmla="*/ 776231 w 4878487"/>
                <a:gd name="connsiteY7104" fmla="*/ 589746 h 3690338"/>
                <a:gd name="connsiteX7105" fmla="*/ 775837 w 4878487"/>
                <a:gd name="connsiteY7105" fmla="*/ 590140 h 3690338"/>
                <a:gd name="connsiteX7106" fmla="*/ 775837 w 4878487"/>
                <a:gd name="connsiteY7106" fmla="*/ 590140 h 3690338"/>
                <a:gd name="connsiteX7107" fmla="*/ 773476 w 4878487"/>
                <a:gd name="connsiteY7107" fmla="*/ 592500 h 3690338"/>
                <a:gd name="connsiteX7108" fmla="*/ 770723 w 4878487"/>
                <a:gd name="connsiteY7108" fmla="*/ 595254 h 3690338"/>
                <a:gd name="connsiteX7109" fmla="*/ 768362 w 4878487"/>
                <a:gd name="connsiteY7109" fmla="*/ 598008 h 3690338"/>
                <a:gd name="connsiteX7110" fmla="*/ 768755 w 4878487"/>
                <a:gd name="connsiteY7110" fmla="*/ 600762 h 3690338"/>
                <a:gd name="connsiteX7111" fmla="*/ 771509 w 4878487"/>
                <a:gd name="connsiteY7111" fmla="*/ 603516 h 3690338"/>
                <a:gd name="connsiteX7112" fmla="*/ 774657 w 4878487"/>
                <a:gd name="connsiteY7112" fmla="*/ 606270 h 3690338"/>
                <a:gd name="connsiteX7113" fmla="*/ 775050 w 4878487"/>
                <a:gd name="connsiteY7113" fmla="*/ 606270 h 3690338"/>
                <a:gd name="connsiteX7114" fmla="*/ 774657 w 4878487"/>
                <a:gd name="connsiteY7114" fmla="*/ 603123 h 3690338"/>
                <a:gd name="connsiteX7115" fmla="*/ 771903 w 4878487"/>
                <a:gd name="connsiteY7115" fmla="*/ 603123 h 3690338"/>
                <a:gd name="connsiteX7116" fmla="*/ 772296 w 4878487"/>
                <a:gd name="connsiteY7116" fmla="*/ 602729 h 3690338"/>
                <a:gd name="connsiteX7117" fmla="*/ 774657 w 4878487"/>
                <a:gd name="connsiteY7117" fmla="*/ 602336 h 3690338"/>
                <a:gd name="connsiteX7118" fmla="*/ 774263 w 4878487"/>
                <a:gd name="connsiteY7118" fmla="*/ 600369 h 3690338"/>
                <a:gd name="connsiteX7119" fmla="*/ 777017 w 4878487"/>
                <a:gd name="connsiteY7119" fmla="*/ 596828 h 3690338"/>
                <a:gd name="connsiteX7120" fmla="*/ 788820 w 4878487"/>
                <a:gd name="connsiteY7120" fmla="*/ 592107 h 3690338"/>
                <a:gd name="connsiteX7121" fmla="*/ 789607 w 4878487"/>
                <a:gd name="connsiteY7121" fmla="*/ 591713 h 3690338"/>
                <a:gd name="connsiteX7122" fmla="*/ 790787 w 4878487"/>
                <a:gd name="connsiteY7122" fmla="*/ 592500 h 3690338"/>
                <a:gd name="connsiteX7123" fmla="*/ 793541 w 4878487"/>
                <a:gd name="connsiteY7123" fmla="*/ 593287 h 3690338"/>
                <a:gd name="connsiteX7124" fmla="*/ 793935 w 4878487"/>
                <a:gd name="connsiteY7124" fmla="*/ 593287 h 3690338"/>
                <a:gd name="connsiteX7125" fmla="*/ 791968 w 4878487"/>
                <a:gd name="connsiteY7125" fmla="*/ 594861 h 3690338"/>
                <a:gd name="connsiteX7126" fmla="*/ 791968 w 4878487"/>
                <a:gd name="connsiteY7126" fmla="*/ 594861 h 3690338"/>
                <a:gd name="connsiteX7127" fmla="*/ 791181 w 4878487"/>
                <a:gd name="connsiteY7127" fmla="*/ 595647 h 3690338"/>
                <a:gd name="connsiteX7128" fmla="*/ 791968 w 4878487"/>
                <a:gd name="connsiteY7128" fmla="*/ 597615 h 3690338"/>
                <a:gd name="connsiteX7129" fmla="*/ 791574 w 4878487"/>
                <a:gd name="connsiteY7129" fmla="*/ 600369 h 3690338"/>
                <a:gd name="connsiteX7130" fmla="*/ 791574 w 4878487"/>
                <a:gd name="connsiteY7130" fmla="*/ 603123 h 3690338"/>
                <a:gd name="connsiteX7131" fmla="*/ 794328 w 4878487"/>
                <a:gd name="connsiteY7131" fmla="*/ 602729 h 3690338"/>
                <a:gd name="connsiteX7132" fmla="*/ 788820 w 4878487"/>
                <a:gd name="connsiteY7132" fmla="*/ 604696 h 3690338"/>
                <a:gd name="connsiteX7133" fmla="*/ 791181 w 4878487"/>
                <a:gd name="connsiteY7133" fmla="*/ 605090 h 3690338"/>
                <a:gd name="connsiteX7134" fmla="*/ 791181 w 4878487"/>
                <a:gd name="connsiteY7134" fmla="*/ 605090 h 3690338"/>
                <a:gd name="connsiteX7135" fmla="*/ 790787 w 4878487"/>
                <a:gd name="connsiteY7135" fmla="*/ 605090 h 3690338"/>
                <a:gd name="connsiteX7136" fmla="*/ 788820 w 4878487"/>
                <a:gd name="connsiteY7136" fmla="*/ 604696 h 3690338"/>
                <a:gd name="connsiteX7137" fmla="*/ 788820 w 4878487"/>
                <a:gd name="connsiteY7137" fmla="*/ 604696 h 3690338"/>
                <a:gd name="connsiteX7138" fmla="*/ 788033 w 4878487"/>
                <a:gd name="connsiteY7138" fmla="*/ 604696 h 3690338"/>
                <a:gd name="connsiteX7139" fmla="*/ 790787 w 4878487"/>
                <a:gd name="connsiteY7139" fmla="*/ 602336 h 3690338"/>
                <a:gd name="connsiteX7140" fmla="*/ 788427 w 4878487"/>
                <a:gd name="connsiteY7140" fmla="*/ 599582 h 3690338"/>
                <a:gd name="connsiteX7141" fmla="*/ 787640 w 4878487"/>
                <a:gd name="connsiteY7141" fmla="*/ 599582 h 3690338"/>
                <a:gd name="connsiteX7142" fmla="*/ 784886 w 4878487"/>
                <a:gd name="connsiteY7142" fmla="*/ 599975 h 3690338"/>
                <a:gd name="connsiteX7143" fmla="*/ 783312 w 4878487"/>
                <a:gd name="connsiteY7143" fmla="*/ 602729 h 3690338"/>
                <a:gd name="connsiteX7144" fmla="*/ 780558 w 4878487"/>
                <a:gd name="connsiteY7144" fmla="*/ 604696 h 3690338"/>
                <a:gd name="connsiteX7145" fmla="*/ 780558 w 4878487"/>
                <a:gd name="connsiteY7145" fmla="*/ 607450 h 3690338"/>
                <a:gd name="connsiteX7146" fmla="*/ 775837 w 4878487"/>
                <a:gd name="connsiteY7146" fmla="*/ 606663 h 3690338"/>
                <a:gd name="connsiteX7147" fmla="*/ 775837 w 4878487"/>
                <a:gd name="connsiteY7147" fmla="*/ 607057 h 3690338"/>
                <a:gd name="connsiteX7148" fmla="*/ 775050 w 4878487"/>
                <a:gd name="connsiteY7148" fmla="*/ 607450 h 3690338"/>
                <a:gd name="connsiteX7149" fmla="*/ 772296 w 4878487"/>
                <a:gd name="connsiteY7149" fmla="*/ 606270 h 3690338"/>
                <a:gd name="connsiteX7150" fmla="*/ 769542 w 4878487"/>
                <a:gd name="connsiteY7150" fmla="*/ 605877 h 3690338"/>
                <a:gd name="connsiteX7151" fmla="*/ 766788 w 4878487"/>
                <a:gd name="connsiteY7151" fmla="*/ 603516 h 3690338"/>
                <a:gd name="connsiteX7152" fmla="*/ 766788 w 4878487"/>
                <a:gd name="connsiteY7152" fmla="*/ 603909 h 3690338"/>
                <a:gd name="connsiteX7153" fmla="*/ 766788 w 4878487"/>
                <a:gd name="connsiteY7153" fmla="*/ 603909 h 3690338"/>
                <a:gd name="connsiteX7154" fmla="*/ 765608 w 4878487"/>
                <a:gd name="connsiteY7154" fmla="*/ 606663 h 3690338"/>
                <a:gd name="connsiteX7155" fmla="*/ 765214 w 4878487"/>
                <a:gd name="connsiteY7155" fmla="*/ 609417 h 3690338"/>
                <a:gd name="connsiteX7156" fmla="*/ 765214 w 4878487"/>
                <a:gd name="connsiteY7156" fmla="*/ 615319 h 3690338"/>
                <a:gd name="connsiteX7157" fmla="*/ 765608 w 4878487"/>
                <a:gd name="connsiteY7157" fmla="*/ 618466 h 3690338"/>
                <a:gd name="connsiteX7158" fmla="*/ 764821 w 4878487"/>
                <a:gd name="connsiteY7158" fmla="*/ 621220 h 3690338"/>
                <a:gd name="connsiteX7159" fmla="*/ 765608 w 4878487"/>
                <a:gd name="connsiteY7159" fmla="*/ 624368 h 3690338"/>
                <a:gd name="connsiteX7160" fmla="*/ 766002 w 4878487"/>
                <a:gd name="connsiteY7160" fmla="*/ 621220 h 3690338"/>
                <a:gd name="connsiteX7161" fmla="*/ 768755 w 4878487"/>
                <a:gd name="connsiteY7161" fmla="*/ 622400 h 3690338"/>
                <a:gd name="connsiteX7162" fmla="*/ 769936 w 4878487"/>
                <a:gd name="connsiteY7162" fmla="*/ 625154 h 3690338"/>
                <a:gd name="connsiteX7163" fmla="*/ 771903 w 4878487"/>
                <a:gd name="connsiteY7163" fmla="*/ 627908 h 3690338"/>
                <a:gd name="connsiteX7164" fmla="*/ 768755 w 4878487"/>
                <a:gd name="connsiteY7164" fmla="*/ 629482 h 3690338"/>
                <a:gd name="connsiteX7165" fmla="*/ 766395 w 4878487"/>
                <a:gd name="connsiteY7165" fmla="*/ 627908 h 3690338"/>
                <a:gd name="connsiteX7166" fmla="*/ 765214 w 4878487"/>
                <a:gd name="connsiteY7166" fmla="*/ 624761 h 3690338"/>
                <a:gd name="connsiteX7167" fmla="*/ 765608 w 4878487"/>
                <a:gd name="connsiteY7167" fmla="*/ 627515 h 3690338"/>
                <a:gd name="connsiteX7168" fmla="*/ 766002 w 4878487"/>
                <a:gd name="connsiteY7168" fmla="*/ 630662 h 3690338"/>
                <a:gd name="connsiteX7169" fmla="*/ 766002 w 4878487"/>
                <a:gd name="connsiteY7169" fmla="*/ 633416 h 3690338"/>
                <a:gd name="connsiteX7170" fmla="*/ 764821 w 4878487"/>
                <a:gd name="connsiteY7170" fmla="*/ 636170 h 3690338"/>
                <a:gd name="connsiteX7171" fmla="*/ 766002 w 4878487"/>
                <a:gd name="connsiteY7171" fmla="*/ 639318 h 3690338"/>
                <a:gd name="connsiteX7172" fmla="*/ 769149 w 4878487"/>
                <a:gd name="connsiteY7172" fmla="*/ 640498 h 3690338"/>
                <a:gd name="connsiteX7173" fmla="*/ 769542 w 4878487"/>
                <a:gd name="connsiteY7173" fmla="*/ 637744 h 3690338"/>
                <a:gd name="connsiteX7174" fmla="*/ 770329 w 4878487"/>
                <a:gd name="connsiteY7174" fmla="*/ 639318 h 3690338"/>
                <a:gd name="connsiteX7175" fmla="*/ 773083 w 4878487"/>
                <a:gd name="connsiteY7175" fmla="*/ 641678 h 3690338"/>
                <a:gd name="connsiteX7176" fmla="*/ 774263 w 4878487"/>
                <a:gd name="connsiteY7176" fmla="*/ 641678 h 3690338"/>
                <a:gd name="connsiteX7177" fmla="*/ 777804 w 4878487"/>
                <a:gd name="connsiteY7177" fmla="*/ 644826 h 3690338"/>
                <a:gd name="connsiteX7178" fmla="*/ 778198 w 4878487"/>
                <a:gd name="connsiteY7178" fmla="*/ 649153 h 3690338"/>
                <a:gd name="connsiteX7179" fmla="*/ 776231 w 4878487"/>
                <a:gd name="connsiteY7179" fmla="*/ 650334 h 3690338"/>
                <a:gd name="connsiteX7180" fmla="*/ 773476 w 4878487"/>
                <a:gd name="connsiteY7180" fmla="*/ 650727 h 3690338"/>
                <a:gd name="connsiteX7181" fmla="*/ 775443 w 4878487"/>
                <a:gd name="connsiteY7181" fmla="*/ 653481 h 3690338"/>
                <a:gd name="connsiteX7182" fmla="*/ 777804 w 4878487"/>
                <a:gd name="connsiteY7182" fmla="*/ 653088 h 3690338"/>
                <a:gd name="connsiteX7183" fmla="*/ 777411 w 4878487"/>
                <a:gd name="connsiteY7183" fmla="*/ 656235 h 3690338"/>
                <a:gd name="connsiteX7184" fmla="*/ 777804 w 4878487"/>
                <a:gd name="connsiteY7184" fmla="*/ 658596 h 3690338"/>
                <a:gd name="connsiteX7185" fmla="*/ 773870 w 4878487"/>
                <a:gd name="connsiteY7185" fmla="*/ 656235 h 3690338"/>
                <a:gd name="connsiteX7186" fmla="*/ 776624 w 4878487"/>
                <a:gd name="connsiteY7186" fmla="*/ 658202 h 3690338"/>
                <a:gd name="connsiteX7187" fmla="*/ 771116 w 4878487"/>
                <a:gd name="connsiteY7187" fmla="*/ 656235 h 3690338"/>
                <a:gd name="connsiteX7188" fmla="*/ 770329 w 4878487"/>
                <a:gd name="connsiteY7188" fmla="*/ 656235 h 3690338"/>
                <a:gd name="connsiteX7189" fmla="*/ 769542 w 4878487"/>
                <a:gd name="connsiteY7189" fmla="*/ 657809 h 3690338"/>
                <a:gd name="connsiteX7190" fmla="*/ 768755 w 4878487"/>
                <a:gd name="connsiteY7190" fmla="*/ 660563 h 3690338"/>
                <a:gd name="connsiteX7191" fmla="*/ 769149 w 4878487"/>
                <a:gd name="connsiteY7191" fmla="*/ 663317 h 3690338"/>
                <a:gd name="connsiteX7192" fmla="*/ 769149 w 4878487"/>
                <a:gd name="connsiteY7192" fmla="*/ 660563 h 3690338"/>
                <a:gd name="connsiteX7193" fmla="*/ 772296 w 4878487"/>
                <a:gd name="connsiteY7193" fmla="*/ 660956 h 3690338"/>
                <a:gd name="connsiteX7194" fmla="*/ 775050 w 4878487"/>
                <a:gd name="connsiteY7194" fmla="*/ 660169 h 3690338"/>
                <a:gd name="connsiteX7195" fmla="*/ 777804 w 4878487"/>
                <a:gd name="connsiteY7195" fmla="*/ 660169 h 3690338"/>
                <a:gd name="connsiteX7196" fmla="*/ 777804 w 4878487"/>
                <a:gd name="connsiteY7196" fmla="*/ 660563 h 3690338"/>
                <a:gd name="connsiteX7197" fmla="*/ 778591 w 4878487"/>
                <a:gd name="connsiteY7197" fmla="*/ 663317 h 3690338"/>
                <a:gd name="connsiteX7198" fmla="*/ 780952 w 4878487"/>
                <a:gd name="connsiteY7198" fmla="*/ 666071 h 3690338"/>
                <a:gd name="connsiteX7199" fmla="*/ 783312 w 4878487"/>
                <a:gd name="connsiteY7199" fmla="*/ 669218 h 3690338"/>
                <a:gd name="connsiteX7200" fmla="*/ 786066 w 4878487"/>
                <a:gd name="connsiteY7200" fmla="*/ 671579 h 3690338"/>
                <a:gd name="connsiteX7201" fmla="*/ 784492 w 4878487"/>
                <a:gd name="connsiteY7201" fmla="*/ 674333 h 3690338"/>
                <a:gd name="connsiteX7202" fmla="*/ 782132 w 4878487"/>
                <a:gd name="connsiteY7202" fmla="*/ 675120 h 3690338"/>
                <a:gd name="connsiteX7203" fmla="*/ 778984 w 4878487"/>
                <a:gd name="connsiteY7203" fmla="*/ 675513 h 3690338"/>
                <a:gd name="connsiteX7204" fmla="*/ 776624 w 4878487"/>
                <a:gd name="connsiteY7204" fmla="*/ 678267 h 3690338"/>
                <a:gd name="connsiteX7205" fmla="*/ 779772 w 4878487"/>
                <a:gd name="connsiteY7205" fmla="*/ 679054 h 3690338"/>
                <a:gd name="connsiteX7206" fmla="*/ 782525 w 4878487"/>
                <a:gd name="connsiteY7206" fmla="*/ 678660 h 3690338"/>
                <a:gd name="connsiteX7207" fmla="*/ 782919 w 4878487"/>
                <a:gd name="connsiteY7207" fmla="*/ 680234 h 3690338"/>
                <a:gd name="connsiteX7208" fmla="*/ 782525 w 4878487"/>
                <a:gd name="connsiteY7208" fmla="*/ 682988 h 3690338"/>
                <a:gd name="connsiteX7209" fmla="*/ 785279 w 4878487"/>
                <a:gd name="connsiteY7209" fmla="*/ 683382 h 3690338"/>
                <a:gd name="connsiteX7210" fmla="*/ 786853 w 4878487"/>
                <a:gd name="connsiteY7210" fmla="*/ 686136 h 3690338"/>
                <a:gd name="connsiteX7211" fmla="*/ 784099 w 4878487"/>
                <a:gd name="connsiteY7211" fmla="*/ 686529 h 3690338"/>
                <a:gd name="connsiteX7212" fmla="*/ 783706 w 4878487"/>
                <a:gd name="connsiteY7212" fmla="*/ 689283 h 3690338"/>
                <a:gd name="connsiteX7213" fmla="*/ 786853 w 4878487"/>
                <a:gd name="connsiteY7213" fmla="*/ 690857 h 3690338"/>
                <a:gd name="connsiteX7214" fmla="*/ 789607 w 4878487"/>
                <a:gd name="connsiteY7214" fmla="*/ 691250 h 3690338"/>
                <a:gd name="connsiteX7215" fmla="*/ 790001 w 4878487"/>
                <a:gd name="connsiteY7215" fmla="*/ 691250 h 3690338"/>
                <a:gd name="connsiteX7216" fmla="*/ 791181 w 4878487"/>
                <a:gd name="connsiteY7216" fmla="*/ 692037 h 3690338"/>
                <a:gd name="connsiteX7217" fmla="*/ 789607 w 4878487"/>
                <a:gd name="connsiteY7217" fmla="*/ 692037 h 3690338"/>
                <a:gd name="connsiteX7218" fmla="*/ 786853 w 4878487"/>
                <a:gd name="connsiteY7218" fmla="*/ 692824 h 3690338"/>
                <a:gd name="connsiteX7219" fmla="*/ 784099 w 4878487"/>
                <a:gd name="connsiteY7219" fmla="*/ 693217 h 3690338"/>
                <a:gd name="connsiteX7220" fmla="*/ 781739 w 4878487"/>
                <a:gd name="connsiteY7220" fmla="*/ 692824 h 3690338"/>
                <a:gd name="connsiteX7221" fmla="*/ 780165 w 4878487"/>
                <a:gd name="connsiteY7221" fmla="*/ 692037 h 3690338"/>
                <a:gd name="connsiteX7222" fmla="*/ 777411 w 4878487"/>
                <a:gd name="connsiteY7222" fmla="*/ 691250 h 3690338"/>
                <a:gd name="connsiteX7223" fmla="*/ 775050 w 4878487"/>
                <a:gd name="connsiteY7223" fmla="*/ 694004 h 3690338"/>
                <a:gd name="connsiteX7224" fmla="*/ 773476 w 4878487"/>
                <a:gd name="connsiteY7224" fmla="*/ 696758 h 3690338"/>
                <a:gd name="connsiteX7225" fmla="*/ 773870 w 4878487"/>
                <a:gd name="connsiteY7225" fmla="*/ 699512 h 3690338"/>
                <a:gd name="connsiteX7226" fmla="*/ 775050 w 4878487"/>
                <a:gd name="connsiteY7226" fmla="*/ 703053 h 3690338"/>
                <a:gd name="connsiteX7227" fmla="*/ 773476 w 4878487"/>
                <a:gd name="connsiteY7227" fmla="*/ 705807 h 3690338"/>
                <a:gd name="connsiteX7228" fmla="*/ 773476 w 4878487"/>
                <a:gd name="connsiteY7228" fmla="*/ 708167 h 3690338"/>
                <a:gd name="connsiteX7229" fmla="*/ 773083 w 4878487"/>
                <a:gd name="connsiteY7229" fmla="*/ 707774 h 3690338"/>
                <a:gd name="connsiteX7230" fmla="*/ 772690 w 4878487"/>
                <a:gd name="connsiteY7230" fmla="*/ 706200 h 3690338"/>
                <a:gd name="connsiteX7231" fmla="*/ 773476 w 4878487"/>
                <a:gd name="connsiteY7231" fmla="*/ 703446 h 3690338"/>
                <a:gd name="connsiteX7232" fmla="*/ 770723 w 4878487"/>
                <a:gd name="connsiteY7232" fmla="*/ 701086 h 3690338"/>
                <a:gd name="connsiteX7233" fmla="*/ 767969 w 4878487"/>
                <a:gd name="connsiteY7233" fmla="*/ 699905 h 3690338"/>
                <a:gd name="connsiteX7234" fmla="*/ 766395 w 4878487"/>
                <a:gd name="connsiteY7234" fmla="*/ 702659 h 3690338"/>
                <a:gd name="connsiteX7235" fmla="*/ 766395 w 4878487"/>
                <a:gd name="connsiteY7235" fmla="*/ 702659 h 3690338"/>
                <a:gd name="connsiteX7236" fmla="*/ 764428 w 4878487"/>
                <a:gd name="connsiteY7236" fmla="*/ 701479 h 3690338"/>
                <a:gd name="connsiteX7237" fmla="*/ 764428 w 4878487"/>
                <a:gd name="connsiteY7237" fmla="*/ 701479 h 3690338"/>
                <a:gd name="connsiteX7238" fmla="*/ 758920 w 4878487"/>
                <a:gd name="connsiteY7238" fmla="*/ 696365 h 3690338"/>
                <a:gd name="connsiteX7239" fmla="*/ 756166 w 4878487"/>
                <a:gd name="connsiteY7239" fmla="*/ 696758 h 3690338"/>
                <a:gd name="connsiteX7240" fmla="*/ 755379 w 4878487"/>
                <a:gd name="connsiteY7240" fmla="*/ 696758 h 3690338"/>
                <a:gd name="connsiteX7241" fmla="*/ 752625 w 4878487"/>
                <a:gd name="connsiteY7241" fmla="*/ 697151 h 3690338"/>
                <a:gd name="connsiteX7242" fmla="*/ 749871 w 4878487"/>
                <a:gd name="connsiteY7242" fmla="*/ 697545 h 3690338"/>
                <a:gd name="connsiteX7243" fmla="*/ 747117 w 4878487"/>
                <a:gd name="connsiteY7243" fmla="*/ 697151 h 3690338"/>
                <a:gd name="connsiteX7244" fmla="*/ 744363 w 4878487"/>
                <a:gd name="connsiteY7244" fmla="*/ 697151 h 3690338"/>
                <a:gd name="connsiteX7245" fmla="*/ 741609 w 4878487"/>
                <a:gd name="connsiteY7245" fmla="*/ 697938 h 3690338"/>
                <a:gd name="connsiteX7246" fmla="*/ 738855 w 4878487"/>
                <a:gd name="connsiteY7246" fmla="*/ 699905 h 3690338"/>
                <a:gd name="connsiteX7247" fmla="*/ 738462 w 4878487"/>
                <a:gd name="connsiteY7247" fmla="*/ 702659 h 3690338"/>
                <a:gd name="connsiteX7248" fmla="*/ 736101 w 4878487"/>
                <a:gd name="connsiteY7248" fmla="*/ 705413 h 3690338"/>
                <a:gd name="connsiteX7249" fmla="*/ 737281 w 4878487"/>
                <a:gd name="connsiteY7249" fmla="*/ 708167 h 3690338"/>
                <a:gd name="connsiteX7250" fmla="*/ 740035 w 4878487"/>
                <a:gd name="connsiteY7250" fmla="*/ 708167 h 3690338"/>
                <a:gd name="connsiteX7251" fmla="*/ 742789 w 4878487"/>
                <a:gd name="connsiteY7251" fmla="*/ 708561 h 3690338"/>
                <a:gd name="connsiteX7252" fmla="*/ 744756 w 4878487"/>
                <a:gd name="connsiteY7252" fmla="*/ 709348 h 3690338"/>
                <a:gd name="connsiteX7253" fmla="*/ 742002 w 4878487"/>
                <a:gd name="connsiteY7253" fmla="*/ 708954 h 3690338"/>
                <a:gd name="connsiteX7254" fmla="*/ 740429 w 4878487"/>
                <a:gd name="connsiteY7254" fmla="*/ 711315 h 3690338"/>
                <a:gd name="connsiteX7255" fmla="*/ 735314 w 4878487"/>
                <a:gd name="connsiteY7255" fmla="*/ 709348 h 3690338"/>
                <a:gd name="connsiteX7256" fmla="*/ 734527 w 4878487"/>
                <a:gd name="connsiteY7256" fmla="*/ 708954 h 3690338"/>
                <a:gd name="connsiteX7257" fmla="*/ 733740 w 4878487"/>
                <a:gd name="connsiteY7257" fmla="*/ 708954 h 3690338"/>
                <a:gd name="connsiteX7258" fmla="*/ 733347 w 4878487"/>
                <a:gd name="connsiteY7258" fmla="*/ 708561 h 3690338"/>
                <a:gd name="connsiteX7259" fmla="*/ 731773 w 4878487"/>
                <a:gd name="connsiteY7259" fmla="*/ 705807 h 3690338"/>
                <a:gd name="connsiteX7260" fmla="*/ 729019 w 4878487"/>
                <a:gd name="connsiteY7260" fmla="*/ 704233 h 3690338"/>
                <a:gd name="connsiteX7261" fmla="*/ 726265 w 4878487"/>
                <a:gd name="connsiteY7261" fmla="*/ 704627 h 3690338"/>
                <a:gd name="connsiteX7262" fmla="*/ 723118 w 4878487"/>
                <a:gd name="connsiteY7262" fmla="*/ 705020 h 3690338"/>
                <a:gd name="connsiteX7263" fmla="*/ 720364 w 4878487"/>
                <a:gd name="connsiteY7263" fmla="*/ 705413 h 3690338"/>
                <a:gd name="connsiteX7264" fmla="*/ 717610 w 4878487"/>
                <a:gd name="connsiteY7264" fmla="*/ 706200 h 3690338"/>
                <a:gd name="connsiteX7265" fmla="*/ 715250 w 4878487"/>
                <a:gd name="connsiteY7265" fmla="*/ 705807 h 3690338"/>
                <a:gd name="connsiteX7266" fmla="*/ 714462 w 4878487"/>
                <a:gd name="connsiteY7266" fmla="*/ 705807 h 3690338"/>
                <a:gd name="connsiteX7267" fmla="*/ 714069 w 4878487"/>
                <a:gd name="connsiteY7267" fmla="*/ 705807 h 3690338"/>
                <a:gd name="connsiteX7268" fmla="*/ 711315 w 4878487"/>
                <a:gd name="connsiteY7268" fmla="*/ 705807 h 3690338"/>
                <a:gd name="connsiteX7269" fmla="*/ 708561 w 4878487"/>
                <a:gd name="connsiteY7269" fmla="*/ 706200 h 3690338"/>
                <a:gd name="connsiteX7270" fmla="*/ 707381 w 4878487"/>
                <a:gd name="connsiteY7270" fmla="*/ 706594 h 3690338"/>
                <a:gd name="connsiteX7271" fmla="*/ 705807 w 4878487"/>
                <a:gd name="connsiteY7271" fmla="*/ 706987 h 3690338"/>
                <a:gd name="connsiteX7272" fmla="*/ 703053 w 4878487"/>
                <a:gd name="connsiteY7272" fmla="*/ 707774 h 3690338"/>
                <a:gd name="connsiteX7273" fmla="*/ 699906 w 4878487"/>
                <a:gd name="connsiteY7273" fmla="*/ 708954 h 3690338"/>
                <a:gd name="connsiteX7274" fmla="*/ 697152 w 4878487"/>
                <a:gd name="connsiteY7274" fmla="*/ 710528 h 3690338"/>
                <a:gd name="connsiteX7275" fmla="*/ 694398 w 4878487"/>
                <a:gd name="connsiteY7275" fmla="*/ 713282 h 3690338"/>
                <a:gd name="connsiteX7276" fmla="*/ 683775 w 4878487"/>
                <a:gd name="connsiteY7276" fmla="*/ 720757 h 3690338"/>
                <a:gd name="connsiteX7277" fmla="*/ 679841 w 4878487"/>
                <a:gd name="connsiteY7277" fmla="*/ 721544 h 3690338"/>
                <a:gd name="connsiteX7278" fmla="*/ 679054 w 4878487"/>
                <a:gd name="connsiteY7278" fmla="*/ 721544 h 3690338"/>
                <a:gd name="connsiteX7279" fmla="*/ 676300 w 4878487"/>
                <a:gd name="connsiteY7279" fmla="*/ 722331 h 3690338"/>
                <a:gd name="connsiteX7280" fmla="*/ 675907 w 4878487"/>
                <a:gd name="connsiteY7280" fmla="*/ 723118 h 3690338"/>
                <a:gd name="connsiteX7281" fmla="*/ 675514 w 4878487"/>
                <a:gd name="connsiteY7281" fmla="*/ 723904 h 3690338"/>
                <a:gd name="connsiteX7282" fmla="*/ 674333 w 4878487"/>
                <a:gd name="connsiteY7282" fmla="*/ 727052 h 3690338"/>
                <a:gd name="connsiteX7283" fmla="*/ 673546 w 4878487"/>
                <a:gd name="connsiteY7283" fmla="*/ 729806 h 3690338"/>
                <a:gd name="connsiteX7284" fmla="*/ 672759 w 4878487"/>
                <a:gd name="connsiteY7284" fmla="*/ 732560 h 3690338"/>
                <a:gd name="connsiteX7285" fmla="*/ 672366 w 4878487"/>
                <a:gd name="connsiteY7285" fmla="*/ 735707 h 3690338"/>
                <a:gd name="connsiteX7286" fmla="*/ 670792 w 4878487"/>
                <a:gd name="connsiteY7286" fmla="*/ 737281 h 3690338"/>
                <a:gd name="connsiteX7287" fmla="*/ 669218 w 4878487"/>
                <a:gd name="connsiteY7287" fmla="*/ 740035 h 3690338"/>
                <a:gd name="connsiteX7288" fmla="*/ 658596 w 4878487"/>
                <a:gd name="connsiteY7288" fmla="*/ 751444 h 3690338"/>
                <a:gd name="connsiteX7289" fmla="*/ 657022 w 4878487"/>
                <a:gd name="connsiteY7289" fmla="*/ 753018 h 3690338"/>
                <a:gd name="connsiteX7290" fmla="*/ 657809 w 4878487"/>
                <a:gd name="connsiteY7290" fmla="*/ 755772 h 3690338"/>
                <a:gd name="connsiteX7291" fmla="*/ 661744 w 4878487"/>
                <a:gd name="connsiteY7291" fmla="*/ 757739 h 3690338"/>
                <a:gd name="connsiteX7292" fmla="*/ 666071 w 4878487"/>
                <a:gd name="connsiteY7292" fmla="*/ 759313 h 3690338"/>
                <a:gd name="connsiteX7293" fmla="*/ 668825 w 4878487"/>
                <a:gd name="connsiteY7293" fmla="*/ 759706 h 3690338"/>
                <a:gd name="connsiteX7294" fmla="*/ 671579 w 4878487"/>
                <a:gd name="connsiteY7294" fmla="*/ 759313 h 3690338"/>
                <a:gd name="connsiteX7295" fmla="*/ 671973 w 4878487"/>
                <a:gd name="connsiteY7295" fmla="*/ 759313 h 3690338"/>
                <a:gd name="connsiteX7296" fmla="*/ 672366 w 4878487"/>
                <a:gd name="connsiteY7296" fmla="*/ 758919 h 3690338"/>
                <a:gd name="connsiteX7297" fmla="*/ 675907 w 4878487"/>
                <a:gd name="connsiteY7297" fmla="*/ 756952 h 3690338"/>
                <a:gd name="connsiteX7298" fmla="*/ 677087 w 4878487"/>
                <a:gd name="connsiteY7298" fmla="*/ 759313 h 3690338"/>
                <a:gd name="connsiteX7299" fmla="*/ 674333 w 4878487"/>
                <a:gd name="connsiteY7299" fmla="*/ 758919 h 3690338"/>
                <a:gd name="connsiteX7300" fmla="*/ 672759 w 4878487"/>
                <a:gd name="connsiteY7300" fmla="*/ 759313 h 3690338"/>
                <a:gd name="connsiteX7301" fmla="*/ 672366 w 4878487"/>
                <a:gd name="connsiteY7301" fmla="*/ 759313 h 3690338"/>
                <a:gd name="connsiteX7302" fmla="*/ 667251 w 4878487"/>
                <a:gd name="connsiteY7302" fmla="*/ 760100 h 3690338"/>
                <a:gd name="connsiteX7303" fmla="*/ 666071 w 4878487"/>
                <a:gd name="connsiteY7303" fmla="*/ 760100 h 3690338"/>
                <a:gd name="connsiteX7304" fmla="*/ 665678 w 4878487"/>
                <a:gd name="connsiteY7304" fmla="*/ 760493 h 3690338"/>
                <a:gd name="connsiteX7305" fmla="*/ 660170 w 4878487"/>
                <a:gd name="connsiteY7305" fmla="*/ 762067 h 3690338"/>
                <a:gd name="connsiteX7306" fmla="*/ 658203 w 4878487"/>
                <a:gd name="connsiteY7306" fmla="*/ 761673 h 3690338"/>
                <a:gd name="connsiteX7307" fmla="*/ 659776 w 4878487"/>
                <a:gd name="connsiteY7307" fmla="*/ 762854 h 3690338"/>
                <a:gd name="connsiteX7308" fmla="*/ 660563 w 4878487"/>
                <a:gd name="connsiteY7308" fmla="*/ 763641 h 3690338"/>
                <a:gd name="connsiteX7309" fmla="*/ 657809 w 4878487"/>
                <a:gd name="connsiteY7309" fmla="*/ 763247 h 3690338"/>
                <a:gd name="connsiteX7310" fmla="*/ 655055 w 4878487"/>
                <a:gd name="connsiteY7310" fmla="*/ 764427 h 3690338"/>
                <a:gd name="connsiteX7311" fmla="*/ 657809 w 4878487"/>
                <a:gd name="connsiteY7311" fmla="*/ 766001 h 3690338"/>
                <a:gd name="connsiteX7312" fmla="*/ 660956 w 4878487"/>
                <a:gd name="connsiteY7312" fmla="*/ 766395 h 3690338"/>
                <a:gd name="connsiteX7313" fmla="*/ 661744 w 4878487"/>
                <a:gd name="connsiteY7313" fmla="*/ 768755 h 3690338"/>
                <a:gd name="connsiteX7314" fmla="*/ 651908 w 4878487"/>
                <a:gd name="connsiteY7314" fmla="*/ 763641 h 3690338"/>
                <a:gd name="connsiteX7315" fmla="*/ 644039 w 4878487"/>
                <a:gd name="connsiteY7315" fmla="*/ 763641 h 3690338"/>
                <a:gd name="connsiteX7316" fmla="*/ 641285 w 4878487"/>
                <a:gd name="connsiteY7316" fmla="*/ 766395 h 3690338"/>
                <a:gd name="connsiteX7317" fmla="*/ 644039 w 4878487"/>
                <a:gd name="connsiteY7317" fmla="*/ 768755 h 3690338"/>
                <a:gd name="connsiteX7318" fmla="*/ 646793 w 4878487"/>
                <a:gd name="connsiteY7318" fmla="*/ 768362 h 3690338"/>
                <a:gd name="connsiteX7319" fmla="*/ 649547 w 4878487"/>
                <a:gd name="connsiteY7319" fmla="*/ 770329 h 3690338"/>
                <a:gd name="connsiteX7320" fmla="*/ 652301 w 4878487"/>
                <a:gd name="connsiteY7320" fmla="*/ 770329 h 3690338"/>
                <a:gd name="connsiteX7321" fmla="*/ 655055 w 4878487"/>
                <a:gd name="connsiteY7321" fmla="*/ 768755 h 3690338"/>
                <a:gd name="connsiteX7322" fmla="*/ 655448 w 4878487"/>
                <a:gd name="connsiteY7322" fmla="*/ 769148 h 3690338"/>
                <a:gd name="connsiteX7323" fmla="*/ 658203 w 4878487"/>
                <a:gd name="connsiteY7323" fmla="*/ 770329 h 3690338"/>
                <a:gd name="connsiteX7324" fmla="*/ 660956 w 4878487"/>
                <a:gd name="connsiteY7324" fmla="*/ 771116 h 3690338"/>
                <a:gd name="connsiteX7325" fmla="*/ 660563 w 4878487"/>
                <a:gd name="connsiteY7325" fmla="*/ 771509 h 3690338"/>
                <a:gd name="connsiteX7326" fmla="*/ 660956 w 4878487"/>
                <a:gd name="connsiteY7326" fmla="*/ 771509 h 3690338"/>
                <a:gd name="connsiteX7327" fmla="*/ 662137 w 4878487"/>
                <a:gd name="connsiteY7327" fmla="*/ 774656 h 3690338"/>
                <a:gd name="connsiteX7328" fmla="*/ 660563 w 4878487"/>
                <a:gd name="connsiteY7328" fmla="*/ 771902 h 3690338"/>
                <a:gd name="connsiteX7329" fmla="*/ 657809 w 4878487"/>
                <a:gd name="connsiteY7329" fmla="*/ 771509 h 3690338"/>
                <a:gd name="connsiteX7330" fmla="*/ 655055 w 4878487"/>
                <a:gd name="connsiteY7330" fmla="*/ 769935 h 3690338"/>
                <a:gd name="connsiteX7331" fmla="*/ 653088 w 4878487"/>
                <a:gd name="connsiteY7331" fmla="*/ 770722 h 3690338"/>
                <a:gd name="connsiteX7332" fmla="*/ 643646 w 4878487"/>
                <a:gd name="connsiteY7332" fmla="*/ 769935 h 3690338"/>
                <a:gd name="connsiteX7333" fmla="*/ 641285 w 4878487"/>
                <a:gd name="connsiteY7333" fmla="*/ 769935 h 3690338"/>
                <a:gd name="connsiteX7334" fmla="*/ 638531 w 4878487"/>
                <a:gd name="connsiteY7334" fmla="*/ 770722 h 3690338"/>
                <a:gd name="connsiteX7335" fmla="*/ 637351 w 4878487"/>
                <a:gd name="connsiteY7335" fmla="*/ 771116 h 3690338"/>
                <a:gd name="connsiteX7336" fmla="*/ 634597 w 4878487"/>
                <a:gd name="connsiteY7336" fmla="*/ 771902 h 3690338"/>
                <a:gd name="connsiteX7337" fmla="*/ 631843 w 4878487"/>
                <a:gd name="connsiteY7337" fmla="*/ 772689 h 3690338"/>
                <a:gd name="connsiteX7338" fmla="*/ 622401 w 4878487"/>
                <a:gd name="connsiteY7338" fmla="*/ 777410 h 3690338"/>
                <a:gd name="connsiteX7339" fmla="*/ 620040 w 4878487"/>
                <a:gd name="connsiteY7339" fmla="*/ 778591 h 3690338"/>
                <a:gd name="connsiteX7340" fmla="*/ 617286 w 4878487"/>
                <a:gd name="connsiteY7340" fmla="*/ 780164 h 3690338"/>
                <a:gd name="connsiteX7341" fmla="*/ 611778 w 4878487"/>
                <a:gd name="connsiteY7341" fmla="*/ 781345 h 3690338"/>
                <a:gd name="connsiteX7342" fmla="*/ 610598 w 4878487"/>
                <a:gd name="connsiteY7342" fmla="*/ 781345 h 3690338"/>
                <a:gd name="connsiteX7343" fmla="*/ 608237 w 4878487"/>
                <a:gd name="connsiteY7343" fmla="*/ 782132 h 3690338"/>
                <a:gd name="connsiteX7344" fmla="*/ 605090 w 4878487"/>
                <a:gd name="connsiteY7344" fmla="*/ 782918 h 3690338"/>
                <a:gd name="connsiteX7345" fmla="*/ 599189 w 4878487"/>
                <a:gd name="connsiteY7345" fmla="*/ 784099 h 3690338"/>
                <a:gd name="connsiteX7346" fmla="*/ 597615 w 4878487"/>
                <a:gd name="connsiteY7346" fmla="*/ 784492 h 3690338"/>
                <a:gd name="connsiteX7347" fmla="*/ 594467 w 4878487"/>
                <a:gd name="connsiteY7347" fmla="*/ 786459 h 3690338"/>
                <a:gd name="connsiteX7348" fmla="*/ 592500 w 4878487"/>
                <a:gd name="connsiteY7348" fmla="*/ 789213 h 3690338"/>
                <a:gd name="connsiteX7349" fmla="*/ 591714 w 4878487"/>
                <a:gd name="connsiteY7349" fmla="*/ 791967 h 3690338"/>
                <a:gd name="connsiteX7350" fmla="*/ 591714 w 4878487"/>
                <a:gd name="connsiteY7350" fmla="*/ 794721 h 3690338"/>
                <a:gd name="connsiteX7351" fmla="*/ 592107 w 4878487"/>
                <a:gd name="connsiteY7351" fmla="*/ 797869 h 3690338"/>
                <a:gd name="connsiteX7352" fmla="*/ 591320 w 4878487"/>
                <a:gd name="connsiteY7352" fmla="*/ 800623 h 3690338"/>
                <a:gd name="connsiteX7353" fmla="*/ 592107 w 4878487"/>
                <a:gd name="connsiteY7353" fmla="*/ 803377 h 3690338"/>
                <a:gd name="connsiteX7354" fmla="*/ 590533 w 4878487"/>
                <a:gd name="connsiteY7354" fmla="*/ 803770 h 3690338"/>
                <a:gd name="connsiteX7355" fmla="*/ 590140 w 4878487"/>
                <a:gd name="connsiteY7355" fmla="*/ 806917 h 3690338"/>
                <a:gd name="connsiteX7356" fmla="*/ 592500 w 4878487"/>
                <a:gd name="connsiteY7356" fmla="*/ 809671 h 3690338"/>
                <a:gd name="connsiteX7357" fmla="*/ 590927 w 4878487"/>
                <a:gd name="connsiteY7357" fmla="*/ 808885 h 3690338"/>
                <a:gd name="connsiteX7358" fmla="*/ 588173 w 4878487"/>
                <a:gd name="connsiteY7358" fmla="*/ 810458 h 3690338"/>
                <a:gd name="connsiteX7359" fmla="*/ 585419 w 4878487"/>
                <a:gd name="connsiteY7359" fmla="*/ 813606 h 3690338"/>
                <a:gd name="connsiteX7360" fmla="*/ 582271 w 4878487"/>
                <a:gd name="connsiteY7360" fmla="*/ 815573 h 3690338"/>
                <a:gd name="connsiteX7361" fmla="*/ 581091 w 4878487"/>
                <a:gd name="connsiteY7361" fmla="*/ 816360 h 3690338"/>
                <a:gd name="connsiteX7362" fmla="*/ 579124 w 4878487"/>
                <a:gd name="connsiteY7362" fmla="*/ 817146 h 3690338"/>
                <a:gd name="connsiteX7363" fmla="*/ 576370 w 4878487"/>
                <a:gd name="connsiteY7363" fmla="*/ 817933 h 3690338"/>
                <a:gd name="connsiteX7364" fmla="*/ 573223 w 4878487"/>
                <a:gd name="connsiteY7364" fmla="*/ 818327 h 3690338"/>
                <a:gd name="connsiteX7365" fmla="*/ 570468 w 4878487"/>
                <a:gd name="connsiteY7365" fmla="*/ 819114 h 3690338"/>
                <a:gd name="connsiteX7366" fmla="*/ 567715 w 4878487"/>
                <a:gd name="connsiteY7366" fmla="*/ 819507 h 3690338"/>
                <a:gd name="connsiteX7367" fmla="*/ 564960 w 4878487"/>
                <a:gd name="connsiteY7367" fmla="*/ 819900 h 3690338"/>
                <a:gd name="connsiteX7368" fmla="*/ 561813 w 4878487"/>
                <a:gd name="connsiteY7368" fmla="*/ 821474 h 3690338"/>
                <a:gd name="connsiteX7369" fmla="*/ 559059 w 4878487"/>
                <a:gd name="connsiteY7369" fmla="*/ 822654 h 3690338"/>
                <a:gd name="connsiteX7370" fmla="*/ 556305 w 4878487"/>
                <a:gd name="connsiteY7370" fmla="*/ 823835 h 3690338"/>
                <a:gd name="connsiteX7371" fmla="*/ 553551 w 4878487"/>
                <a:gd name="connsiteY7371" fmla="*/ 826195 h 3690338"/>
                <a:gd name="connsiteX7372" fmla="*/ 551978 w 4878487"/>
                <a:gd name="connsiteY7372" fmla="*/ 828949 h 3690338"/>
                <a:gd name="connsiteX7373" fmla="*/ 552371 w 4878487"/>
                <a:gd name="connsiteY7373" fmla="*/ 831703 h 3690338"/>
                <a:gd name="connsiteX7374" fmla="*/ 555518 w 4878487"/>
                <a:gd name="connsiteY7374" fmla="*/ 832490 h 3690338"/>
                <a:gd name="connsiteX7375" fmla="*/ 558272 w 4878487"/>
                <a:gd name="connsiteY7375" fmla="*/ 832884 h 3690338"/>
                <a:gd name="connsiteX7376" fmla="*/ 561026 w 4878487"/>
                <a:gd name="connsiteY7376" fmla="*/ 832097 h 3690338"/>
                <a:gd name="connsiteX7377" fmla="*/ 562207 w 4878487"/>
                <a:gd name="connsiteY7377" fmla="*/ 831703 h 3690338"/>
                <a:gd name="connsiteX7378" fmla="*/ 561420 w 4878487"/>
                <a:gd name="connsiteY7378" fmla="*/ 832097 h 3690338"/>
                <a:gd name="connsiteX7379" fmla="*/ 556698 w 4878487"/>
                <a:gd name="connsiteY7379" fmla="*/ 833670 h 3690338"/>
                <a:gd name="connsiteX7380" fmla="*/ 553945 w 4878487"/>
                <a:gd name="connsiteY7380" fmla="*/ 834064 h 3690338"/>
                <a:gd name="connsiteX7381" fmla="*/ 551190 w 4878487"/>
                <a:gd name="connsiteY7381" fmla="*/ 835638 h 3690338"/>
                <a:gd name="connsiteX7382" fmla="*/ 548830 w 4878487"/>
                <a:gd name="connsiteY7382" fmla="*/ 836818 h 3690338"/>
                <a:gd name="connsiteX7383" fmla="*/ 537420 w 4878487"/>
                <a:gd name="connsiteY7383" fmla="*/ 836818 h 3690338"/>
                <a:gd name="connsiteX7384" fmla="*/ 536634 w 4878487"/>
                <a:gd name="connsiteY7384" fmla="*/ 836818 h 3690338"/>
                <a:gd name="connsiteX7385" fmla="*/ 533880 w 4878487"/>
                <a:gd name="connsiteY7385" fmla="*/ 836424 h 3690338"/>
                <a:gd name="connsiteX7386" fmla="*/ 531126 w 4878487"/>
                <a:gd name="connsiteY7386" fmla="*/ 836424 h 3690338"/>
                <a:gd name="connsiteX7387" fmla="*/ 528372 w 4878487"/>
                <a:gd name="connsiteY7387" fmla="*/ 836031 h 3690338"/>
                <a:gd name="connsiteX7388" fmla="*/ 525224 w 4878487"/>
                <a:gd name="connsiteY7388" fmla="*/ 835244 h 3690338"/>
                <a:gd name="connsiteX7389" fmla="*/ 522471 w 4878487"/>
                <a:gd name="connsiteY7389" fmla="*/ 834851 h 3690338"/>
                <a:gd name="connsiteX7390" fmla="*/ 519716 w 4878487"/>
                <a:gd name="connsiteY7390" fmla="*/ 836424 h 3690338"/>
                <a:gd name="connsiteX7391" fmla="*/ 518930 w 4878487"/>
                <a:gd name="connsiteY7391" fmla="*/ 835638 h 3690338"/>
                <a:gd name="connsiteX7392" fmla="*/ 518143 w 4878487"/>
                <a:gd name="connsiteY7392" fmla="*/ 833277 h 3690338"/>
                <a:gd name="connsiteX7393" fmla="*/ 515782 w 4878487"/>
                <a:gd name="connsiteY7393" fmla="*/ 830523 h 3690338"/>
                <a:gd name="connsiteX7394" fmla="*/ 517356 w 4878487"/>
                <a:gd name="connsiteY7394" fmla="*/ 827769 h 3690338"/>
                <a:gd name="connsiteX7395" fmla="*/ 515782 w 4878487"/>
                <a:gd name="connsiteY7395" fmla="*/ 825015 h 3690338"/>
                <a:gd name="connsiteX7396" fmla="*/ 513028 w 4878487"/>
                <a:gd name="connsiteY7396" fmla="*/ 824622 h 3690338"/>
                <a:gd name="connsiteX7397" fmla="*/ 510274 w 4878487"/>
                <a:gd name="connsiteY7397" fmla="*/ 826195 h 3690338"/>
                <a:gd name="connsiteX7398" fmla="*/ 507913 w 4878487"/>
                <a:gd name="connsiteY7398" fmla="*/ 826589 h 3690338"/>
                <a:gd name="connsiteX7399" fmla="*/ 505160 w 4878487"/>
                <a:gd name="connsiteY7399" fmla="*/ 825408 h 3690338"/>
                <a:gd name="connsiteX7400" fmla="*/ 502012 w 4878487"/>
                <a:gd name="connsiteY7400" fmla="*/ 824622 h 3690338"/>
                <a:gd name="connsiteX7401" fmla="*/ 499258 w 4878487"/>
                <a:gd name="connsiteY7401" fmla="*/ 824228 h 3690338"/>
                <a:gd name="connsiteX7402" fmla="*/ 501619 w 4878487"/>
                <a:gd name="connsiteY7402" fmla="*/ 827376 h 3690338"/>
                <a:gd name="connsiteX7403" fmla="*/ 500832 w 4878487"/>
                <a:gd name="connsiteY7403" fmla="*/ 830130 h 3690338"/>
                <a:gd name="connsiteX7404" fmla="*/ 502012 w 4878487"/>
                <a:gd name="connsiteY7404" fmla="*/ 832884 h 3690338"/>
                <a:gd name="connsiteX7405" fmla="*/ 502406 w 4878487"/>
                <a:gd name="connsiteY7405" fmla="*/ 835638 h 3690338"/>
                <a:gd name="connsiteX7406" fmla="*/ 505553 w 4878487"/>
                <a:gd name="connsiteY7406" fmla="*/ 837998 h 3690338"/>
                <a:gd name="connsiteX7407" fmla="*/ 507913 w 4878487"/>
                <a:gd name="connsiteY7407" fmla="*/ 839965 h 3690338"/>
                <a:gd name="connsiteX7408" fmla="*/ 507913 w 4878487"/>
                <a:gd name="connsiteY7408" fmla="*/ 843899 h 3690338"/>
                <a:gd name="connsiteX7409" fmla="*/ 507127 w 4878487"/>
                <a:gd name="connsiteY7409" fmla="*/ 846260 h 3690338"/>
                <a:gd name="connsiteX7410" fmla="*/ 507913 w 4878487"/>
                <a:gd name="connsiteY7410" fmla="*/ 848227 h 3690338"/>
                <a:gd name="connsiteX7411" fmla="*/ 507913 w 4878487"/>
                <a:gd name="connsiteY7411" fmla="*/ 850194 h 3690338"/>
                <a:gd name="connsiteX7412" fmla="*/ 507520 w 4878487"/>
                <a:gd name="connsiteY7412" fmla="*/ 851768 h 3690338"/>
                <a:gd name="connsiteX7413" fmla="*/ 507913 w 4878487"/>
                <a:gd name="connsiteY7413" fmla="*/ 854522 h 3690338"/>
                <a:gd name="connsiteX7414" fmla="*/ 507520 w 4878487"/>
                <a:gd name="connsiteY7414" fmla="*/ 854915 h 3690338"/>
                <a:gd name="connsiteX7415" fmla="*/ 507520 w 4878487"/>
                <a:gd name="connsiteY7415" fmla="*/ 854915 h 3690338"/>
                <a:gd name="connsiteX7416" fmla="*/ 506733 w 4878487"/>
                <a:gd name="connsiteY7416" fmla="*/ 859243 h 3690338"/>
                <a:gd name="connsiteX7417" fmla="*/ 502406 w 4878487"/>
                <a:gd name="connsiteY7417" fmla="*/ 860030 h 3690338"/>
                <a:gd name="connsiteX7418" fmla="*/ 500832 w 4878487"/>
                <a:gd name="connsiteY7418" fmla="*/ 860030 h 3690338"/>
                <a:gd name="connsiteX7419" fmla="*/ 499258 w 4878487"/>
                <a:gd name="connsiteY7419" fmla="*/ 857276 h 3690338"/>
                <a:gd name="connsiteX7420" fmla="*/ 496504 w 4878487"/>
                <a:gd name="connsiteY7420" fmla="*/ 858456 h 3690338"/>
                <a:gd name="connsiteX7421" fmla="*/ 496504 w 4878487"/>
                <a:gd name="connsiteY7421" fmla="*/ 861210 h 3690338"/>
                <a:gd name="connsiteX7422" fmla="*/ 497291 w 4878487"/>
                <a:gd name="connsiteY7422" fmla="*/ 862784 h 3690338"/>
                <a:gd name="connsiteX7423" fmla="*/ 497684 w 4878487"/>
                <a:gd name="connsiteY7423" fmla="*/ 863177 h 3690338"/>
                <a:gd name="connsiteX7424" fmla="*/ 496898 w 4878487"/>
                <a:gd name="connsiteY7424" fmla="*/ 863571 h 3690338"/>
                <a:gd name="connsiteX7425" fmla="*/ 496504 w 4878487"/>
                <a:gd name="connsiteY7425" fmla="*/ 861604 h 3690338"/>
                <a:gd name="connsiteX7426" fmla="*/ 495717 w 4878487"/>
                <a:gd name="connsiteY7426" fmla="*/ 859637 h 3690338"/>
                <a:gd name="connsiteX7427" fmla="*/ 492964 w 4878487"/>
                <a:gd name="connsiteY7427" fmla="*/ 860030 h 3690338"/>
                <a:gd name="connsiteX7428" fmla="*/ 492964 w 4878487"/>
                <a:gd name="connsiteY7428" fmla="*/ 860423 h 3690338"/>
                <a:gd name="connsiteX7429" fmla="*/ 488242 w 4878487"/>
                <a:gd name="connsiteY7429" fmla="*/ 858063 h 3690338"/>
                <a:gd name="connsiteX7430" fmla="*/ 472899 w 4878487"/>
                <a:gd name="connsiteY7430" fmla="*/ 858063 h 3690338"/>
                <a:gd name="connsiteX7431" fmla="*/ 470538 w 4878487"/>
                <a:gd name="connsiteY7431" fmla="*/ 855702 h 3690338"/>
                <a:gd name="connsiteX7432" fmla="*/ 467391 w 4878487"/>
                <a:gd name="connsiteY7432" fmla="*/ 855309 h 3690338"/>
                <a:gd name="connsiteX7433" fmla="*/ 467784 w 4878487"/>
                <a:gd name="connsiteY7433" fmla="*/ 852555 h 3690338"/>
                <a:gd name="connsiteX7434" fmla="*/ 465030 w 4878487"/>
                <a:gd name="connsiteY7434" fmla="*/ 852555 h 3690338"/>
                <a:gd name="connsiteX7435" fmla="*/ 461883 w 4878487"/>
                <a:gd name="connsiteY7435" fmla="*/ 853735 h 3690338"/>
                <a:gd name="connsiteX7436" fmla="*/ 459129 w 4878487"/>
                <a:gd name="connsiteY7436" fmla="*/ 854129 h 3690338"/>
                <a:gd name="connsiteX7437" fmla="*/ 456375 w 4878487"/>
                <a:gd name="connsiteY7437" fmla="*/ 854129 h 3690338"/>
                <a:gd name="connsiteX7438" fmla="*/ 455981 w 4878487"/>
                <a:gd name="connsiteY7438" fmla="*/ 856883 h 3690338"/>
                <a:gd name="connsiteX7439" fmla="*/ 453228 w 4878487"/>
                <a:gd name="connsiteY7439" fmla="*/ 858456 h 3690338"/>
                <a:gd name="connsiteX7440" fmla="*/ 451654 w 4878487"/>
                <a:gd name="connsiteY7440" fmla="*/ 858063 h 3690338"/>
                <a:gd name="connsiteX7441" fmla="*/ 448899 w 4878487"/>
                <a:gd name="connsiteY7441" fmla="*/ 857276 h 3690338"/>
                <a:gd name="connsiteX7442" fmla="*/ 446146 w 4878487"/>
                <a:gd name="connsiteY7442" fmla="*/ 858850 h 3690338"/>
                <a:gd name="connsiteX7443" fmla="*/ 443392 w 4878487"/>
                <a:gd name="connsiteY7443" fmla="*/ 857669 h 3690338"/>
                <a:gd name="connsiteX7444" fmla="*/ 440638 w 4878487"/>
                <a:gd name="connsiteY7444" fmla="*/ 858456 h 3690338"/>
                <a:gd name="connsiteX7445" fmla="*/ 437491 w 4878487"/>
                <a:gd name="connsiteY7445" fmla="*/ 860030 h 3690338"/>
                <a:gd name="connsiteX7446" fmla="*/ 434736 w 4878487"/>
                <a:gd name="connsiteY7446" fmla="*/ 859243 h 3690338"/>
                <a:gd name="connsiteX7447" fmla="*/ 431982 w 4878487"/>
                <a:gd name="connsiteY7447" fmla="*/ 860817 h 3690338"/>
                <a:gd name="connsiteX7448" fmla="*/ 429228 w 4878487"/>
                <a:gd name="connsiteY7448" fmla="*/ 861997 h 3690338"/>
                <a:gd name="connsiteX7449" fmla="*/ 426474 w 4878487"/>
                <a:gd name="connsiteY7449" fmla="*/ 862784 h 3690338"/>
                <a:gd name="connsiteX7450" fmla="*/ 423327 w 4878487"/>
                <a:gd name="connsiteY7450" fmla="*/ 864751 h 3690338"/>
                <a:gd name="connsiteX7451" fmla="*/ 422933 w 4878487"/>
                <a:gd name="connsiteY7451" fmla="*/ 867899 h 3690338"/>
                <a:gd name="connsiteX7452" fmla="*/ 423721 w 4878487"/>
                <a:gd name="connsiteY7452" fmla="*/ 870652 h 3690338"/>
                <a:gd name="connsiteX7453" fmla="*/ 424507 w 4878487"/>
                <a:gd name="connsiteY7453" fmla="*/ 870652 h 3690338"/>
                <a:gd name="connsiteX7454" fmla="*/ 427261 w 4878487"/>
                <a:gd name="connsiteY7454" fmla="*/ 870259 h 3690338"/>
                <a:gd name="connsiteX7455" fmla="*/ 430015 w 4878487"/>
                <a:gd name="connsiteY7455" fmla="*/ 869079 h 3690338"/>
                <a:gd name="connsiteX7456" fmla="*/ 432769 w 4878487"/>
                <a:gd name="connsiteY7456" fmla="*/ 868292 h 3690338"/>
                <a:gd name="connsiteX7457" fmla="*/ 433556 w 4878487"/>
                <a:gd name="connsiteY7457" fmla="*/ 868685 h 3690338"/>
                <a:gd name="connsiteX7458" fmla="*/ 430802 w 4878487"/>
                <a:gd name="connsiteY7458" fmla="*/ 871833 h 3690338"/>
                <a:gd name="connsiteX7459" fmla="*/ 429622 w 4878487"/>
                <a:gd name="connsiteY7459" fmla="*/ 871439 h 3690338"/>
                <a:gd name="connsiteX7460" fmla="*/ 426868 w 4878487"/>
                <a:gd name="connsiteY7460" fmla="*/ 871833 h 3690338"/>
                <a:gd name="connsiteX7461" fmla="*/ 428442 w 4878487"/>
                <a:gd name="connsiteY7461" fmla="*/ 873800 h 3690338"/>
                <a:gd name="connsiteX7462" fmla="*/ 423327 w 4878487"/>
                <a:gd name="connsiteY7462" fmla="*/ 879701 h 3690338"/>
                <a:gd name="connsiteX7463" fmla="*/ 430409 w 4878487"/>
                <a:gd name="connsiteY7463" fmla="*/ 882062 h 3690338"/>
                <a:gd name="connsiteX7464" fmla="*/ 431195 w 4878487"/>
                <a:gd name="connsiteY7464" fmla="*/ 882455 h 3690338"/>
                <a:gd name="connsiteX7465" fmla="*/ 432769 w 4878487"/>
                <a:gd name="connsiteY7465" fmla="*/ 885209 h 3690338"/>
                <a:gd name="connsiteX7466" fmla="*/ 434736 w 4878487"/>
                <a:gd name="connsiteY7466" fmla="*/ 887963 h 3690338"/>
                <a:gd name="connsiteX7467" fmla="*/ 437884 w 4878487"/>
                <a:gd name="connsiteY7467" fmla="*/ 885603 h 3690338"/>
                <a:gd name="connsiteX7468" fmla="*/ 440638 w 4878487"/>
                <a:gd name="connsiteY7468" fmla="*/ 885209 h 3690338"/>
                <a:gd name="connsiteX7469" fmla="*/ 441031 w 4878487"/>
                <a:gd name="connsiteY7469" fmla="*/ 885209 h 3690338"/>
                <a:gd name="connsiteX7470" fmla="*/ 444965 w 4878487"/>
                <a:gd name="connsiteY7470" fmla="*/ 886389 h 3690338"/>
                <a:gd name="connsiteX7471" fmla="*/ 445752 w 4878487"/>
                <a:gd name="connsiteY7471" fmla="*/ 887176 h 3690338"/>
                <a:gd name="connsiteX7472" fmla="*/ 448506 w 4878487"/>
                <a:gd name="connsiteY7472" fmla="*/ 887570 h 3690338"/>
                <a:gd name="connsiteX7473" fmla="*/ 451654 w 4878487"/>
                <a:gd name="connsiteY7473" fmla="*/ 888357 h 3690338"/>
                <a:gd name="connsiteX7474" fmla="*/ 454408 w 4878487"/>
                <a:gd name="connsiteY7474" fmla="*/ 888357 h 3690338"/>
                <a:gd name="connsiteX7475" fmla="*/ 455195 w 4878487"/>
                <a:gd name="connsiteY7475" fmla="*/ 889144 h 3690338"/>
                <a:gd name="connsiteX7476" fmla="*/ 457948 w 4878487"/>
                <a:gd name="connsiteY7476" fmla="*/ 889537 h 3690338"/>
                <a:gd name="connsiteX7477" fmla="*/ 458342 w 4878487"/>
                <a:gd name="connsiteY7477" fmla="*/ 889537 h 3690338"/>
                <a:gd name="connsiteX7478" fmla="*/ 459916 w 4878487"/>
                <a:gd name="connsiteY7478" fmla="*/ 889930 h 3690338"/>
                <a:gd name="connsiteX7479" fmla="*/ 459522 w 4878487"/>
                <a:gd name="connsiteY7479" fmla="*/ 890717 h 3690338"/>
                <a:gd name="connsiteX7480" fmla="*/ 462276 w 4878487"/>
                <a:gd name="connsiteY7480" fmla="*/ 891898 h 3690338"/>
                <a:gd name="connsiteX7481" fmla="*/ 463063 w 4878487"/>
                <a:gd name="connsiteY7481" fmla="*/ 891111 h 3690338"/>
                <a:gd name="connsiteX7482" fmla="*/ 463063 w 4878487"/>
                <a:gd name="connsiteY7482" fmla="*/ 891111 h 3690338"/>
                <a:gd name="connsiteX7483" fmla="*/ 462669 w 4878487"/>
                <a:gd name="connsiteY7483" fmla="*/ 891898 h 3690338"/>
                <a:gd name="connsiteX7484" fmla="*/ 464243 w 4878487"/>
                <a:gd name="connsiteY7484" fmla="*/ 894651 h 3690338"/>
                <a:gd name="connsiteX7485" fmla="*/ 465030 w 4878487"/>
                <a:gd name="connsiteY7485" fmla="*/ 897799 h 3690338"/>
                <a:gd name="connsiteX7486" fmla="*/ 466210 w 4878487"/>
                <a:gd name="connsiteY7486" fmla="*/ 895045 h 3690338"/>
                <a:gd name="connsiteX7487" fmla="*/ 468965 w 4878487"/>
                <a:gd name="connsiteY7487" fmla="*/ 893078 h 3690338"/>
                <a:gd name="connsiteX7488" fmla="*/ 470145 w 4878487"/>
                <a:gd name="connsiteY7488" fmla="*/ 894651 h 3690338"/>
                <a:gd name="connsiteX7489" fmla="*/ 471718 w 4878487"/>
                <a:gd name="connsiteY7489" fmla="*/ 893865 h 3690338"/>
                <a:gd name="connsiteX7490" fmla="*/ 475259 w 4878487"/>
                <a:gd name="connsiteY7490" fmla="*/ 894651 h 3690338"/>
                <a:gd name="connsiteX7491" fmla="*/ 473292 w 4878487"/>
                <a:gd name="connsiteY7491" fmla="*/ 895438 h 3690338"/>
                <a:gd name="connsiteX7492" fmla="*/ 470538 w 4878487"/>
                <a:gd name="connsiteY7492" fmla="*/ 895832 h 3690338"/>
                <a:gd name="connsiteX7493" fmla="*/ 473292 w 4878487"/>
                <a:gd name="connsiteY7493" fmla="*/ 897799 h 3690338"/>
                <a:gd name="connsiteX7494" fmla="*/ 476046 w 4878487"/>
                <a:gd name="connsiteY7494" fmla="*/ 897405 h 3690338"/>
                <a:gd name="connsiteX7495" fmla="*/ 478800 w 4878487"/>
                <a:gd name="connsiteY7495" fmla="*/ 896619 h 3690338"/>
                <a:gd name="connsiteX7496" fmla="*/ 481554 w 4878487"/>
                <a:gd name="connsiteY7496" fmla="*/ 896619 h 3690338"/>
                <a:gd name="connsiteX7497" fmla="*/ 484702 w 4878487"/>
                <a:gd name="connsiteY7497" fmla="*/ 897012 h 3690338"/>
                <a:gd name="connsiteX7498" fmla="*/ 481947 w 4878487"/>
                <a:gd name="connsiteY7498" fmla="*/ 898586 h 3690338"/>
                <a:gd name="connsiteX7499" fmla="*/ 482735 w 4878487"/>
                <a:gd name="connsiteY7499" fmla="*/ 900159 h 3690338"/>
                <a:gd name="connsiteX7500" fmla="*/ 479980 w 4878487"/>
                <a:gd name="connsiteY7500" fmla="*/ 901340 h 3690338"/>
                <a:gd name="connsiteX7501" fmla="*/ 480374 w 4878487"/>
                <a:gd name="connsiteY7501" fmla="*/ 904094 h 3690338"/>
                <a:gd name="connsiteX7502" fmla="*/ 483128 w 4878487"/>
                <a:gd name="connsiteY7502" fmla="*/ 904487 h 3690338"/>
                <a:gd name="connsiteX7503" fmla="*/ 486275 w 4878487"/>
                <a:gd name="connsiteY7503" fmla="*/ 906061 h 3690338"/>
                <a:gd name="connsiteX7504" fmla="*/ 489029 w 4878487"/>
                <a:gd name="connsiteY7504" fmla="*/ 904094 h 3690338"/>
                <a:gd name="connsiteX7505" fmla="*/ 491390 w 4878487"/>
                <a:gd name="connsiteY7505" fmla="*/ 904487 h 3690338"/>
                <a:gd name="connsiteX7506" fmla="*/ 490209 w 4878487"/>
                <a:gd name="connsiteY7506" fmla="*/ 904881 h 3690338"/>
                <a:gd name="connsiteX7507" fmla="*/ 489816 w 4878487"/>
                <a:gd name="connsiteY7507" fmla="*/ 906848 h 3690338"/>
                <a:gd name="connsiteX7508" fmla="*/ 488242 w 4878487"/>
                <a:gd name="connsiteY7508" fmla="*/ 909602 h 3690338"/>
                <a:gd name="connsiteX7509" fmla="*/ 490996 w 4878487"/>
                <a:gd name="connsiteY7509" fmla="*/ 909995 h 3690338"/>
                <a:gd name="connsiteX7510" fmla="*/ 494144 w 4878487"/>
                <a:gd name="connsiteY7510" fmla="*/ 912356 h 3690338"/>
                <a:gd name="connsiteX7511" fmla="*/ 493357 w 4878487"/>
                <a:gd name="connsiteY7511" fmla="*/ 912749 h 3690338"/>
                <a:gd name="connsiteX7512" fmla="*/ 492176 w 4878487"/>
                <a:gd name="connsiteY7512" fmla="*/ 915110 h 3690338"/>
                <a:gd name="connsiteX7513" fmla="*/ 489423 w 4878487"/>
                <a:gd name="connsiteY7513" fmla="*/ 917864 h 3690338"/>
                <a:gd name="connsiteX7514" fmla="*/ 491783 w 4878487"/>
                <a:gd name="connsiteY7514" fmla="*/ 920618 h 3690338"/>
                <a:gd name="connsiteX7515" fmla="*/ 494537 w 4878487"/>
                <a:gd name="connsiteY7515" fmla="*/ 922978 h 3690338"/>
                <a:gd name="connsiteX7516" fmla="*/ 498078 w 4878487"/>
                <a:gd name="connsiteY7516" fmla="*/ 928880 h 3690338"/>
                <a:gd name="connsiteX7517" fmla="*/ 498472 w 4878487"/>
                <a:gd name="connsiteY7517" fmla="*/ 929666 h 3690338"/>
                <a:gd name="connsiteX7518" fmla="*/ 501619 w 4878487"/>
                <a:gd name="connsiteY7518" fmla="*/ 931240 h 3690338"/>
                <a:gd name="connsiteX7519" fmla="*/ 503979 w 4878487"/>
                <a:gd name="connsiteY7519" fmla="*/ 932027 h 3690338"/>
                <a:gd name="connsiteX7520" fmla="*/ 507127 w 4878487"/>
                <a:gd name="connsiteY7520" fmla="*/ 934781 h 3690338"/>
                <a:gd name="connsiteX7521" fmla="*/ 509881 w 4878487"/>
                <a:gd name="connsiteY7521" fmla="*/ 934781 h 3690338"/>
                <a:gd name="connsiteX7522" fmla="*/ 512635 w 4878487"/>
                <a:gd name="connsiteY7522" fmla="*/ 936355 h 3690338"/>
                <a:gd name="connsiteX7523" fmla="*/ 515782 w 4878487"/>
                <a:gd name="connsiteY7523" fmla="*/ 935174 h 3690338"/>
                <a:gd name="connsiteX7524" fmla="*/ 514209 w 4878487"/>
                <a:gd name="connsiteY7524" fmla="*/ 937928 h 3690338"/>
                <a:gd name="connsiteX7525" fmla="*/ 514209 w 4878487"/>
                <a:gd name="connsiteY7525" fmla="*/ 940682 h 3690338"/>
                <a:gd name="connsiteX7526" fmla="*/ 514995 w 4878487"/>
                <a:gd name="connsiteY7526" fmla="*/ 942256 h 3690338"/>
                <a:gd name="connsiteX7527" fmla="*/ 514209 w 4878487"/>
                <a:gd name="connsiteY7527" fmla="*/ 952879 h 3690338"/>
                <a:gd name="connsiteX7528" fmla="*/ 511848 w 4878487"/>
                <a:gd name="connsiteY7528" fmla="*/ 952485 h 3690338"/>
                <a:gd name="connsiteX7529" fmla="*/ 511061 w 4878487"/>
                <a:gd name="connsiteY7529" fmla="*/ 955239 h 3690338"/>
                <a:gd name="connsiteX7530" fmla="*/ 524831 w 4878487"/>
                <a:gd name="connsiteY7530" fmla="*/ 968222 h 3690338"/>
                <a:gd name="connsiteX7531" fmla="*/ 525224 w 4878487"/>
                <a:gd name="connsiteY7531" fmla="*/ 970189 h 3690338"/>
                <a:gd name="connsiteX7532" fmla="*/ 525618 w 4878487"/>
                <a:gd name="connsiteY7532" fmla="*/ 972943 h 3690338"/>
                <a:gd name="connsiteX7533" fmla="*/ 526405 w 4878487"/>
                <a:gd name="connsiteY7533" fmla="*/ 975697 h 3690338"/>
                <a:gd name="connsiteX7534" fmla="*/ 528765 w 4878487"/>
                <a:gd name="connsiteY7534" fmla="*/ 978845 h 3690338"/>
                <a:gd name="connsiteX7535" fmla="*/ 528765 w 4878487"/>
                <a:gd name="connsiteY7535" fmla="*/ 982386 h 3690338"/>
                <a:gd name="connsiteX7536" fmla="*/ 528372 w 4878487"/>
                <a:gd name="connsiteY7536" fmla="*/ 978845 h 3690338"/>
                <a:gd name="connsiteX7537" fmla="*/ 525618 w 4878487"/>
                <a:gd name="connsiteY7537" fmla="*/ 976484 h 3690338"/>
                <a:gd name="connsiteX7538" fmla="*/ 524831 w 4878487"/>
                <a:gd name="connsiteY7538" fmla="*/ 973730 h 3690338"/>
                <a:gd name="connsiteX7539" fmla="*/ 524438 w 4878487"/>
                <a:gd name="connsiteY7539" fmla="*/ 970583 h 3690338"/>
                <a:gd name="connsiteX7540" fmla="*/ 523257 w 4878487"/>
                <a:gd name="connsiteY7540" fmla="*/ 967829 h 3690338"/>
                <a:gd name="connsiteX7541" fmla="*/ 520503 w 4878487"/>
                <a:gd name="connsiteY7541" fmla="*/ 965075 h 3690338"/>
                <a:gd name="connsiteX7542" fmla="*/ 517749 w 4878487"/>
                <a:gd name="connsiteY7542" fmla="*/ 963108 h 3690338"/>
                <a:gd name="connsiteX7543" fmla="*/ 514995 w 4878487"/>
                <a:gd name="connsiteY7543" fmla="*/ 961534 h 3690338"/>
                <a:gd name="connsiteX7544" fmla="*/ 513815 w 4878487"/>
                <a:gd name="connsiteY7544" fmla="*/ 964681 h 3690338"/>
                <a:gd name="connsiteX7545" fmla="*/ 513422 w 4878487"/>
                <a:gd name="connsiteY7545" fmla="*/ 967435 h 3690338"/>
                <a:gd name="connsiteX7546" fmla="*/ 513028 w 4878487"/>
                <a:gd name="connsiteY7546" fmla="*/ 970189 h 3690338"/>
                <a:gd name="connsiteX7547" fmla="*/ 512242 w 4878487"/>
                <a:gd name="connsiteY7547" fmla="*/ 973337 h 3690338"/>
                <a:gd name="connsiteX7548" fmla="*/ 511454 w 4878487"/>
                <a:gd name="connsiteY7548" fmla="*/ 976091 h 3690338"/>
                <a:gd name="connsiteX7549" fmla="*/ 511061 w 4878487"/>
                <a:gd name="connsiteY7549" fmla="*/ 979238 h 3690338"/>
                <a:gd name="connsiteX7550" fmla="*/ 511061 w 4878487"/>
                <a:gd name="connsiteY7550" fmla="*/ 980025 h 3690338"/>
                <a:gd name="connsiteX7551" fmla="*/ 510668 w 4878487"/>
                <a:gd name="connsiteY7551" fmla="*/ 982386 h 3690338"/>
                <a:gd name="connsiteX7552" fmla="*/ 510274 w 4878487"/>
                <a:gd name="connsiteY7552" fmla="*/ 985533 h 3690338"/>
                <a:gd name="connsiteX7553" fmla="*/ 509881 w 4878487"/>
                <a:gd name="connsiteY7553" fmla="*/ 988287 h 3690338"/>
                <a:gd name="connsiteX7554" fmla="*/ 509881 w 4878487"/>
                <a:gd name="connsiteY7554" fmla="*/ 991434 h 3690338"/>
                <a:gd name="connsiteX7555" fmla="*/ 509881 w 4878487"/>
                <a:gd name="connsiteY7555" fmla="*/ 991041 h 3690338"/>
                <a:gd name="connsiteX7556" fmla="*/ 509094 w 4878487"/>
                <a:gd name="connsiteY7556" fmla="*/ 996942 h 3690338"/>
                <a:gd name="connsiteX7557" fmla="*/ 500439 w 4878487"/>
                <a:gd name="connsiteY7557" fmla="*/ 1028416 h 3690338"/>
                <a:gd name="connsiteX7558" fmla="*/ 492964 w 4878487"/>
                <a:gd name="connsiteY7558" fmla="*/ 1034318 h 3690338"/>
                <a:gd name="connsiteX7559" fmla="*/ 490603 w 4878487"/>
                <a:gd name="connsiteY7559" fmla="*/ 1033924 h 3690338"/>
                <a:gd name="connsiteX7560" fmla="*/ 487849 w 4878487"/>
                <a:gd name="connsiteY7560" fmla="*/ 1035105 h 3690338"/>
                <a:gd name="connsiteX7561" fmla="*/ 487455 w 4878487"/>
                <a:gd name="connsiteY7561" fmla="*/ 1035498 h 3690338"/>
                <a:gd name="connsiteX7562" fmla="*/ 475653 w 4878487"/>
                <a:gd name="connsiteY7562" fmla="*/ 1035498 h 3690338"/>
                <a:gd name="connsiteX7563" fmla="*/ 473292 w 4878487"/>
                <a:gd name="connsiteY7563" fmla="*/ 1033924 h 3690338"/>
                <a:gd name="connsiteX7564" fmla="*/ 470538 w 4878487"/>
                <a:gd name="connsiteY7564" fmla="*/ 1033531 h 3690338"/>
                <a:gd name="connsiteX7565" fmla="*/ 467391 w 4878487"/>
                <a:gd name="connsiteY7565" fmla="*/ 1032351 h 3690338"/>
                <a:gd name="connsiteX7566" fmla="*/ 464637 w 4878487"/>
                <a:gd name="connsiteY7566" fmla="*/ 1031957 h 3690338"/>
                <a:gd name="connsiteX7567" fmla="*/ 461883 w 4878487"/>
                <a:gd name="connsiteY7567" fmla="*/ 1032744 h 3690338"/>
                <a:gd name="connsiteX7568" fmla="*/ 461489 w 4878487"/>
                <a:gd name="connsiteY7568" fmla="*/ 1032351 h 3690338"/>
                <a:gd name="connsiteX7569" fmla="*/ 459916 w 4878487"/>
                <a:gd name="connsiteY7569" fmla="*/ 1035498 h 3690338"/>
                <a:gd name="connsiteX7570" fmla="*/ 459129 w 4878487"/>
                <a:gd name="connsiteY7570" fmla="*/ 1035105 h 3690338"/>
                <a:gd name="connsiteX7571" fmla="*/ 456768 w 4878487"/>
                <a:gd name="connsiteY7571" fmla="*/ 1034711 h 3690338"/>
                <a:gd name="connsiteX7572" fmla="*/ 456375 w 4878487"/>
                <a:gd name="connsiteY7572" fmla="*/ 1034318 h 3690338"/>
                <a:gd name="connsiteX7573" fmla="*/ 453621 w 4878487"/>
                <a:gd name="connsiteY7573" fmla="*/ 1032744 h 3690338"/>
                <a:gd name="connsiteX7574" fmla="*/ 450473 w 4878487"/>
                <a:gd name="connsiteY7574" fmla="*/ 1032351 h 3690338"/>
                <a:gd name="connsiteX7575" fmla="*/ 447720 w 4878487"/>
                <a:gd name="connsiteY7575" fmla="*/ 1030777 h 3690338"/>
                <a:gd name="connsiteX7576" fmla="*/ 444965 w 4878487"/>
                <a:gd name="connsiteY7576" fmla="*/ 1029597 h 3690338"/>
                <a:gd name="connsiteX7577" fmla="*/ 442211 w 4878487"/>
                <a:gd name="connsiteY7577" fmla="*/ 1030777 h 3690338"/>
                <a:gd name="connsiteX7578" fmla="*/ 439458 w 4878487"/>
                <a:gd name="connsiteY7578" fmla="*/ 1030384 h 3690338"/>
                <a:gd name="connsiteX7579" fmla="*/ 436703 w 4878487"/>
                <a:gd name="connsiteY7579" fmla="*/ 1030777 h 3690338"/>
                <a:gd name="connsiteX7580" fmla="*/ 433556 w 4878487"/>
                <a:gd name="connsiteY7580" fmla="*/ 1032744 h 3690338"/>
                <a:gd name="connsiteX7581" fmla="*/ 433162 w 4878487"/>
                <a:gd name="connsiteY7581" fmla="*/ 1031957 h 3690338"/>
                <a:gd name="connsiteX7582" fmla="*/ 432769 w 4878487"/>
                <a:gd name="connsiteY7582" fmla="*/ 1031957 h 3690338"/>
                <a:gd name="connsiteX7583" fmla="*/ 432376 w 4878487"/>
                <a:gd name="connsiteY7583" fmla="*/ 1031957 h 3690338"/>
                <a:gd name="connsiteX7584" fmla="*/ 424114 w 4878487"/>
                <a:gd name="connsiteY7584" fmla="*/ 1033138 h 3690338"/>
                <a:gd name="connsiteX7585" fmla="*/ 423327 w 4878487"/>
                <a:gd name="connsiteY7585" fmla="*/ 1032744 h 3690338"/>
                <a:gd name="connsiteX7586" fmla="*/ 420573 w 4878487"/>
                <a:gd name="connsiteY7586" fmla="*/ 1033138 h 3690338"/>
                <a:gd name="connsiteX7587" fmla="*/ 415458 w 4878487"/>
                <a:gd name="connsiteY7587" fmla="*/ 1032351 h 3690338"/>
                <a:gd name="connsiteX7588" fmla="*/ 413491 w 4878487"/>
                <a:gd name="connsiteY7588" fmla="*/ 1031957 h 3690338"/>
                <a:gd name="connsiteX7589" fmla="*/ 410344 w 4878487"/>
                <a:gd name="connsiteY7589" fmla="*/ 1031564 h 3690338"/>
                <a:gd name="connsiteX7590" fmla="*/ 407196 w 4878487"/>
                <a:gd name="connsiteY7590" fmla="*/ 1031170 h 3690338"/>
                <a:gd name="connsiteX7591" fmla="*/ 405623 w 4878487"/>
                <a:gd name="connsiteY7591" fmla="*/ 1030777 h 3690338"/>
                <a:gd name="connsiteX7592" fmla="*/ 404443 w 4878487"/>
                <a:gd name="connsiteY7592" fmla="*/ 1030384 h 3690338"/>
                <a:gd name="connsiteX7593" fmla="*/ 403262 w 4878487"/>
                <a:gd name="connsiteY7593" fmla="*/ 1030384 h 3690338"/>
                <a:gd name="connsiteX7594" fmla="*/ 401295 w 4878487"/>
                <a:gd name="connsiteY7594" fmla="*/ 1029990 h 3690338"/>
                <a:gd name="connsiteX7595" fmla="*/ 398935 w 4878487"/>
                <a:gd name="connsiteY7595" fmla="*/ 1028416 h 3690338"/>
                <a:gd name="connsiteX7596" fmla="*/ 396181 w 4878487"/>
                <a:gd name="connsiteY7596" fmla="*/ 1028023 h 3690338"/>
                <a:gd name="connsiteX7597" fmla="*/ 393033 w 4878487"/>
                <a:gd name="connsiteY7597" fmla="*/ 1028023 h 3690338"/>
                <a:gd name="connsiteX7598" fmla="*/ 390279 w 4878487"/>
                <a:gd name="connsiteY7598" fmla="*/ 1028416 h 3690338"/>
                <a:gd name="connsiteX7599" fmla="*/ 387132 w 4878487"/>
                <a:gd name="connsiteY7599" fmla="*/ 1026449 h 3690338"/>
                <a:gd name="connsiteX7600" fmla="*/ 384378 w 4878487"/>
                <a:gd name="connsiteY7600" fmla="*/ 1025662 h 3690338"/>
                <a:gd name="connsiteX7601" fmla="*/ 381624 w 4878487"/>
                <a:gd name="connsiteY7601" fmla="*/ 1027236 h 3690338"/>
                <a:gd name="connsiteX7602" fmla="*/ 378870 w 4878487"/>
                <a:gd name="connsiteY7602" fmla="*/ 1027630 h 3690338"/>
                <a:gd name="connsiteX7603" fmla="*/ 378477 w 4878487"/>
                <a:gd name="connsiteY7603" fmla="*/ 1027630 h 3690338"/>
                <a:gd name="connsiteX7604" fmla="*/ 375722 w 4878487"/>
                <a:gd name="connsiteY7604" fmla="*/ 1027236 h 3690338"/>
                <a:gd name="connsiteX7605" fmla="*/ 372968 w 4878487"/>
                <a:gd name="connsiteY7605" fmla="*/ 1027630 h 3690338"/>
                <a:gd name="connsiteX7606" fmla="*/ 369821 w 4878487"/>
                <a:gd name="connsiteY7606" fmla="*/ 1028023 h 3690338"/>
                <a:gd name="connsiteX7607" fmla="*/ 367067 w 4878487"/>
                <a:gd name="connsiteY7607" fmla="*/ 1028416 h 3690338"/>
                <a:gd name="connsiteX7608" fmla="*/ 364313 w 4878487"/>
                <a:gd name="connsiteY7608" fmla="*/ 1028023 h 3690338"/>
                <a:gd name="connsiteX7609" fmla="*/ 361559 w 4878487"/>
                <a:gd name="connsiteY7609" fmla="*/ 1028810 h 3690338"/>
                <a:gd name="connsiteX7610" fmla="*/ 359985 w 4878487"/>
                <a:gd name="connsiteY7610" fmla="*/ 1028416 h 3690338"/>
                <a:gd name="connsiteX7611" fmla="*/ 358411 w 4878487"/>
                <a:gd name="connsiteY7611" fmla="*/ 1028023 h 3690338"/>
                <a:gd name="connsiteX7612" fmla="*/ 355658 w 4878487"/>
                <a:gd name="connsiteY7612" fmla="*/ 1028023 h 3690338"/>
                <a:gd name="connsiteX7613" fmla="*/ 352510 w 4878487"/>
                <a:gd name="connsiteY7613" fmla="*/ 1030384 h 3690338"/>
                <a:gd name="connsiteX7614" fmla="*/ 352117 w 4878487"/>
                <a:gd name="connsiteY7614" fmla="*/ 1028023 h 3690338"/>
                <a:gd name="connsiteX7615" fmla="*/ 349363 w 4878487"/>
                <a:gd name="connsiteY7615" fmla="*/ 1028023 h 3690338"/>
                <a:gd name="connsiteX7616" fmla="*/ 346609 w 4878487"/>
                <a:gd name="connsiteY7616" fmla="*/ 1026843 h 3690338"/>
                <a:gd name="connsiteX7617" fmla="*/ 344248 w 4878487"/>
                <a:gd name="connsiteY7617" fmla="*/ 1024089 h 3690338"/>
                <a:gd name="connsiteX7618" fmla="*/ 341494 w 4878487"/>
                <a:gd name="connsiteY7618" fmla="*/ 1022515 h 3690338"/>
                <a:gd name="connsiteX7619" fmla="*/ 338740 w 4878487"/>
                <a:gd name="connsiteY7619" fmla="*/ 1024089 h 3690338"/>
                <a:gd name="connsiteX7620" fmla="*/ 335593 w 4878487"/>
                <a:gd name="connsiteY7620" fmla="*/ 1022515 h 3690338"/>
                <a:gd name="connsiteX7621" fmla="*/ 335593 w 4878487"/>
                <a:gd name="connsiteY7621" fmla="*/ 1020941 h 3690338"/>
                <a:gd name="connsiteX7622" fmla="*/ 330085 w 4878487"/>
                <a:gd name="connsiteY7622" fmla="*/ 1024482 h 3690338"/>
                <a:gd name="connsiteX7623" fmla="*/ 330085 w 4878487"/>
                <a:gd name="connsiteY7623" fmla="*/ 1021728 h 3690338"/>
                <a:gd name="connsiteX7624" fmla="*/ 327331 w 4878487"/>
                <a:gd name="connsiteY7624" fmla="*/ 1023302 h 3690338"/>
                <a:gd name="connsiteX7625" fmla="*/ 324577 w 4878487"/>
                <a:gd name="connsiteY7625" fmla="*/ 1025269 h 3690338"/>
                <a:gd name="connsiteX7626" fmla="*/ 321430 w 4878487"/>
                <a:gd name="connsiteY7626" fmla="*/ 1027236 h 3690338"/>
                <a:gd name="connsiteX7627" fmla="*/ 318675 w 4878487"/>
                <a:gd name="connsiteY7627" fmla="*/ 1028810 h 3690338"/>
                <a:gd name="connsiteX7628" fmla="*/ 318675 w 4878487"/>
                <a:gd name="connsiteY7628" fmla="*/ 1031564 h 3690338"/>
                <a:gd name="connsiteX7629" fmla="*/ 321823 w 4878487"/>
                <a:gd name="connsiteY7629" fmla="*/ 1030777 h 3690338"/>
                <a:gd name="connsiteX7630" fmla="*/ 322216 w 4878487"/>
                <a:gd name="connsiteY7630" fmla="*/ 1030384 h 3690338"/>
                <a:gd name="connsiteX7631" fmla="*/ 322216 w 4878487"/>
                <a:gd name="connsiteY7631" fmla="*/ 1030384 h 3690338"/>
                <a:gd name="connsiteX7632" fmla="*/ 321823 w 4878487"/>
                <a:gd name="connsiteY7632" fmla="*/ 1030777 h 3690338"/>
                <a:gd name="connsiteX7633" fmla="*/ 319069 w 4878487"/>
                <a:gd name="connsiteY7633" fmla="*/ 1032351 h 3690338"/>
                <a:gd name="connsiteX7634" fmla="*/ 322216 w 4878487"/>
                <a:gd name="connsiteY7634" fmla="*/ 1032744 h 3690338"/>
                <a:gd name="connsiteX7635" fmla="*/ 322216 w 4878487"/>
                <a:gd name="connsiteY7635" fmla="*/ 1033138 h 3690338"/>
                <a:gd name="connsiteX7636" fmla="*/ 319463 w 4878487"/>
                <a:gd name="connsiteY7636" fmla="*/ 1033924 h 3690338"/>
                <a:gd name="connsiteX7637" fmla="*/ 316315 w 4878487"/>
                <a:gd name="connsiteY7637" fmla="*/ 1035498 h 3690338"/>
                <a:gd name="connsiteX7638" fmla="*/ 313561 w 4878487"/>
                <a:gd name="connsiteY7638" fmla="*/ 1035105 h 3690338"/>
                <a:gd name="connsiteX7639" fmla="*/ 310807 w 4878487"/>
                <a:gd name="connsiteY7639" fmla="*/ 1036678 h 3690338"/>
                <a:gd name="connsiteX7640" fmla="*/ 307660 w 4878487"/>
                <a:gd name="connsiteY7640" fmla="*/ 1037465 h 3690338"/>
                <a:gd name="connsiteX7641" fmla="*/ 304906 w 4878487"/>
                <a:gd name="connsiteY7641" fmla="*/ 1036678 h 3690338"/>
                <a:gd name="connsiteX7642" fmla="*/ 302152 w 4878487"/>
                <a:gd name="connsiteY7642" fmla="*/ 1036678 h 3690338"/>
                <a:gd name="connsiteX7643" fmla="*/ 300185 w 4878487"/>
                <a:gd name="connsiteY7643" fmla="*/ 1039432 h 3690338"/>
                <a:gd name="connsiteX7644" fmla="*/ 297430 w 4878487"/>
                <a:gd name="connsiteY7644" fmla="*/ 1041006 h 3690338"/>
                <a:gd name="connsiteX7645" fmla="*/ 294677 w 4878487"/>
                <a:gd name="connsiteY7645" fmla="*/ 1041400 h 3690338"/>
                <a:gd name="connsiteX7646" fmla="*/ 293103 w 4878487"/>
                <a:gd name="connsiteY7646" fmla="*/ 1044153 h 3690338"/>
                <a:gd name="connsiteX7647" fmla="*/ 291923 w 4878487"/>
                <a:gd name="connsiteY7647" fmla="*/ 1047301 h 3690338"/>
                <a:gd name="connsiteX7648" fmla="*/ 292316 w 4878487"/>
                <a:gd name="connsiteY7648" fmla="*/ 1050055 h 3690338"/>
                <a:gd name="connsiteX7649" fmla="*/ 295463 w 4878487"/>
                <a:gd name="connsiteY7649" fmla="*/ 1050448 h 3690338"/>
                <a:gd name="connsiteX7650" fmla="*/ 294677 w 4878487"/>
                <a:gd name="connsiteY7650" fmla="*/ 1052022 h 3690338"/>
                <a:gd name="connsiteX7651" fmla="*/ 295463 w 4878487"/>
                <a:gd name="connsiteY7651" fmla="*/ 1052415 h 3690338"/>
                <a:gd name="connsiteX7652" fmla="*/ 296250 w 4878487"/>
                <a:gd name="connsiteY7652" fmla="*/ 1055563 h 3690338"/>
                <a:gd name="connsiteX7653" fmla="*/ 299397 w 4878487"/>
                <a:gd name="connsiteY7653" fmla="*/ 1055170 h 3690338"/>
                <a:gd name="connsiteX7654" fmla="*/ 302152 w 4878487"/>
                <a:gd name="connsiteY7654" fmla="*/ 1053596 h 3690338"/>
                <a:gd name="connsiteX7655" fmla="*/ 300578 w 4878487"/>
                <a:gd name="connsiteY7655" fmla="*/ 1054776 h 3690338"/>
                <a:gd name="connsiteX7656" fmla="*/ 297824 w 4878487"/>
                <a:gd name="connsiteY7656" fmla="*/ 1057137 h 3690338"/>
                <a:gd name="connsiteX7657" fmla="*/ 296250 w 4878487"/>
                <a:gd name="connsiteY7657" fmla="*/ 1059891 h 3690338"/>
                <a:gd name="connsiteX7658" fmla="*/ 297430 w 4878487"/>
                <a:gd name="connsiteY7658" fmla="*/ 1063038 h 3690338"/>
                <a:gd name="connsiteX7659" fmla="*/ 299791 w 4878487"/>
                <a:gd name="connsiteY7659" fmla="*/ 1059891 h 3690338"/>
                <a:gd name="connsiteX7660" fmla="*/ 302545 w 4878487"/>
                <a:gd name="connsiteY7660" fmla="*/ 1059497 h 3690338"/>
                <a:gd name="connsiteX7661" fmla="*/ 305299 w 4878487"/>
                <a:gd name="connsiteY7661" fmla="*/ 1057530 h 3690338"/>
                <a:gd name="connsiteX7662" fmla="*/ 305299 w 4878487"/>
                <a:gd name="connsiteY7662" fmla="*/ 1058710 h 3690338"/>
                <a:gd name="connsiteX7663" fmla="*/ 302938 w 4878487"/>
                <a:gd name="connsiteY7663" fmla="*/ 1061464 h 3690338"/>
                <a:gd name="connsiteX7664" fmla="*/ 300185 w 4878487"/>
                <a:gd name="connsiteY7664" fmla="*/ 1064218 h 3690338"/>
                <a:gd name="connsiteX7665" fmla="*/ 300578 w 4878487"/>
                <a:gd name="connsiteY7665" fmla="*/ 1066972 h 3690338"/>
                <a:gd name="connsiteX7666" fmla="*/ 303332 w 4878487"/>
                <a:gd name="connsiteY7666" fmla="*/ 1067366 h 3690338"/>
                <a:gd name="connsiteX7667" fmla="*/ 306479 w 4878487"/>
                <a:gd name="connsiteY7667" fmla="*/ 1066579 h 3690338"/>
                <a:gd name="connsiteX7668" fmla="*/ 304512 w 4878487"/>
                <a:gd name="connsiteY7668" fmla="*/ 1067759 h 3690338"/>
                <a:gd name="connsiteX7669" fmla="*/ 301365 w 4878487"/>
                <a:gd name="connsiteY7669" fmla="*/ 1069726 h 3690338"/>
                <a:gd name="connsiteX7670" fmla="*/ 300185 w 4878487"/>
                <a:gd name="connsiteY7670" fmla="*/ 1072480 h 3690338"/>
                <a:gd name="connsiteX7671" fmla="*/ 302938 w 4878487"/>
                <a:gd name="connsiteY7671" fmla="*/ 1072087 h 3690338"/>
                <a:gd name="connsiteX7672" fmla="*/ 305693 w 4878487"/>
                <a:gd name="connsiteY7672" fmla="*/ 1070907 h 3690338"/>
                <a:gd name="connsiteX7673" fmla="*/ 307266 w 4878487"/>
                <a:gd name="connsiteY7673" fmla="*/ 1068546 h 3690338"/>
                <a:gd name="connsiteX7674" fmla="*/ 307660 w 4878487"/>
                <a:gd name="connsiteY7674" fmla="*/ 1068939 h 3690338"/>
                <a:gd name="connsiteX7675" fmla="*/ 305693 w 4878487"/>
                <a:gd name="connsiteY7675" fmla="*/ 1071300 h 3690338"/>
                <a:gd name="connsiteX7676" fmla="*/ 304119 w 4878487"/>
                <a:gd name="connsiteY7676" fmla="*/ 1072874 h 3690338"/>
                <a:gd name="connsiteX7677" fmla="*/ 300971 w 4878487"/>
                <a:gd name="connsiteY7677" fmla="*/ 1075234 h 3690338"/>
                <a:gd name="connsiteX7678" fmla="*/ 298611 w 4878487"/>
                <a:gd name="connsiteY7678" fmla="*/ 1077988 h 3690338"/>
                <a:gd name="connsiteX7679" fmla="*/ 298611 w 4878487"/>
                <a:gd name="connsiteY7679" fmla="*/ 1080742 h 3690338"/>
                <a:gd name="connsiteX7680" fmla="*/ 299397 w 4878487"/>
                <a:gd name="connsiteY7680" fmla="*/ 1083890 h 3690338"/>
                <a:gd name="connsiteX7681" fmla="*/ 302152 w 4878487"/>
                <a:gd name="connsiteY7681" fmla="*/ 1082316 h 3690338"/>
                <a:gd name="connsiteX7682" fmla="*/ 301758 w 4878487"/>
                <a:gd name="connsiteY7682" fmla="*/ 1083103 h 3690338"/>
                <a:gd name="connsiteX7683" fmla="*/ 299004 w 4878487"/>
                <a:gd name="connsiteY7683" fmla="*/ 1085463 h 3690338"/>
                <a:gd name="connsiteX7684" fmla="*/ 298611 w 4878487"/>
                <a:gd name="connsiteY7684" fmla="*/ 1088217 h 3690338"/>
                <a:gd name="connsiteX7685" fmla="*/ 299004 w 4878487"/>
                <a:gd name="connsiteY7685" fmla="*/ 1090971 h 3690338"/>
                <a:gd name="connsiteX7686" fmla="*/ 299397 w 4878487"/>
                <a:gd name="connsiteY7686" fmla="*/ 1090578 h 3690338"/>
                <a:gd name="connsiteX7687" fmla="*/ 301758 w 4878487"/>
                <a:gd name="connsiteY7687" fmla="*/ 1090578 h 3690338"/>
                <a:gd name="connsiteX7688" fmla="*/ 299791 w 4878487"/>
                <a:gd name="connsiteY7688" fmla="*/ 1090971 h 3690338"/>
                <a:gd name="connsiteX7689" fmla="*/ 299397 w 4878487"/>
                <a:gd name="connsiteY7689" fmla="*/ 1091365 h 3690338"/>
                <a:gd name="connsiteX7690" fmla="*/ 299791 w 4878487"/>
                <a:gd name="connsiteY7690" fmla="*/ 1093725 h 3690338"/>
                <a:gd name="connsiteX7691" fmla="*/ 300185 w 4878487"/>
                <a:gd name="connsiteY7691" fmla="*/ 1096479 h 3690338"/>
                <a:gd name="connsiteX7692" fmla="*/ 300185 w 4878487"/>
                <a:gd name="connsiteY7692" fmla="*/ 1098840 h 3690338"/>
                <a:gd name="connsiteX7693" fmla="*/ 299791 w 4878487"/>
                <a:gd name="connsiteY7693" fmla="*/ 1100414 h 3690338"/>
                <a:gd name="connsiteX7694" fmla="*/ 300578 w 4878487"/>
                <a:gd name="connsiteY7694" fmla="*/ 1103167 h 3690338"/>
                <a:gd name="connsiteX7695" fmla="*/ 300971 w 4878487"/>
                <a:gd name="connsiteY7695" fmla="*/ 1105135 h 3690338"/>
                <a:gd name="connsiteX7696" fmla="*/ 301365 w 4878487"/>
                <a:gd name="connsiteY7696" fmla="*/ 1108282 h 3690338"/>
                <a:gd name="connsiteX7697" fmla="*/ 302938 w 4878487"/>
                <a:gd name="connsiteY7697" fmla="*/ 1109856 h 3690338"/>
                <a:gd name="connsiteX7698" fmla="*/ 302152 w 4878487"/>
                <a:gd name="connsiteY7698" fmla="*/ 1111429 h 3690338"/>
                <a:gd name="connsiteX7699" fmla="*/ 302545 w 4878487"/>
                <a:gd name="connsiteY7699" fmla="*/ 1114183 h 3690338"/>
                <a:gd name="connsiteX7700" fmla="*/ 302152 w 4878487"/>
                <a:gd name="connsiteY7700" fmla="*/ 1116544 h 3690338"/>
                <a:gd name="connsiteX7701" fmla="*/ 301365 w 4878487"/>
                <a:gd name="connsiteY7701" fmla="*/ 1119298 h 3690338"/>
                <a:gd name="connsiteX7702" fmla="*/ 300578 w 4878487"/>
                <a:gd name="connsiteY7702" fmla="*/ 1122052 h 3690338"/>
                <a:gd name="connsiteX7703" fmla="*/ 299791 w 4878487"/>
                <a:gd name="connsiteY7703" fmla="*/ 1125199 h 3690338"/>
                <a:gd name="connsiteX7704" fmla="*/ 301365 w 4878487"/>
                <a:gd name="connsiteY7704" fmla="*/ 1122445 h 3690338"/>
                <a:gd name="connsiteX7705" fmla="*/ 302152 w 4878487"/>
                <a:gd name="connsiteY7705" fmla="*/ 1125199 h 3690338"/>
                <a:gd name="connsiteX7706" fmla="*/ 300971 w 4878487"/>
                <a:gd name="connsiteY7706" fmla="*/ 1126773 h 3690338"/>
                <a:gd name="connsiteX7707" fmla="*/ 298611 w 4878487"/>
                <a:gd name="connsiteY7707" fmla="*/ 1127953 h 3690338"/>
                <a:gd name="connsiteX7708" fmla="*/ 297824 w 4878487"/>
                <a:gd name="connsiteY7708" fmla="*/ 1131101 h 3690338"/>
                <a:gd name="connsiteX7709" fmla="*/ 297430 w 4878487"/>
                <a:gd name="connsiteY7709" fmla="*/ 1131888 h 3690338"/>
                <a:gd name="connsiteX7710" fmla="*/ 296250 w 4878487"/>
                <a:gd name="connsiteY7710" fmla="*/ 1134642 h 3690338"/>
                <a:gd name="connsiteX7711" fmla="*/ 295463 w 4878487"/>
                <a:gd name="connsiteY7711" fmla="*/ 1137396 h 3690338"/>
                <a:gd name="connsiteX7712" fmla="*/ 293890 w 4878487"/>
                <a:gd name="connsiteY7712" fmla="*/ 1140149 h 3690338"/>
                <a:gd name="connsiteX7713" fmla="*/ 294283 w 4878487"/>
                <a:gd name="connsiteY7713" fmla="*/ 1143297 h 3690338"/>
                <a:gd name="connsiteX7714" fmla="*/ 293890 w 4878487"/>
                <a:gd name="connsiteY7714" fmla="*/ 1144084 h 3690338"/>
                <a:gd name="connsiteX7715" fmla="*/ 292709 w 4878487"/>
                <a:gd name="connsiteY7715" fmla="*/ 1146444 h 3690338"/>
                <a:gd name="connsiteX7716" fmla="*/ 292316 w 4878487"/>
                <a:gd name="connsiteY7716" fmla="*/ 1148018 h 3690338"/>
                <a:gd name="connsiteX7717" fmla="*/ 280907 w 4878487"/>
                <a:gd name="connsiteY7717" fmla="*/ 1168083 h 3690338"/>
                <a:gd name="connsiteX7718" fmla="*/ 278153 w 4878487"/>
                <a:gd name="connsiteY7718" fmla="*/ 1168870 h 3690338"/>
                <a:gd name="connsiteX7719" fmla="*/ 278939 w 4878487"/>
                <a:gd name="connsiteY7719" fmla="*/ 1171624 h 3690338"/>
                <a:gd name="connsiteX7720" fmla="*/ 278546 w 4878487"/>
                <a:gd name="connsiteY7720" fmla="*/ 1173984 h 3690338"/>
                <a:gd name="connsiteX7721" fmla="*/ 276972 w 4878487"/>
                <a:gd name="connsiteY7721" fmla="*/ 1176738 h 3690338"/>
                <a:gd name="connsiteX7722" fmla="*/ 276186 w 4878487"/>
                <a:gd name="connsiteY7722" fmla="*/ 1179492 h 3690338"/>
                <a:gd name="connsiteX7723" fmla="*/ 276186 w 4878487"/>
                <a:gd name="connsiteY7723" fmla="*/ 1182640 h 3690338"/>
                <a:gd name="connsiteX7724" fmla="*/ 275005 w 4878487"/>
                <a:gd name="connsiteY7724" fmla="*/ 1185787 h 3690338"/>
                <a:gd name="connsiteX7725" fmla="*/ 273431 w 4878487"/>
                <a:gd name="connsiteY7725" fmla="*/ 1188541 h 3690338"/>
                <a:gd name="connsiteX7726" fmla="*/ 276186 w 4878487"/>
                <a:gd name="connsiteY7726" fmla="*/ 1191295 h 3690338"/>
                <a:gd name="connsiteX7727" fmla="*/ 278939 w 4878487"/>
                <a:gd name="connsiteY7727" fmla="*/ 1191688 h 3690338"/>
                <a:gd name="connsiteX7728" fmla="*/ 281693 w 4878487"/>
                <a:gd name="connsiteY7728" fmla="*/ 1191295 h 3690338"/>
                <a:gd name="connsiteX7729" fmla="*/ 284448 w 4878487"/>
                <a:gd name="connsiteY7729" fmla="*/ 1188934 h 3690338"/>
                <a:gd name="connsiteX7730" fmla="*/ 286021 w 4878487"/>
                <a:gd name="connsiteY7730" fmla="*/ 1185787 h 3690338"/>
                <a:gd name="connsiteX7731" fmla="*/ 287988 w 4878487"/>
                <a:gd name="connsiteY7731" fmla="*/ 1183033 h 3690338"/>
                <a:gd name="connsiteX7732" fmla="*/ 287595 w 4878487"/>
                <a:gd name="connsiteY7732" fmla="*/ 1183820 h 3690338"/>
                <a:gd name="connsiteX7733" fmla="*/ 288382 w 4878487"/>
                <a:gd name="connsiteY7733" fmla="*/ 1186574 h 3690338"/>
                <a:gd name="connsiteX7734" fmla="*/ 289168 w 4878487"/>
                <a:gd name="connsiteY7734" fmla="*/ 1188934 h 3690338"/>
                <a:gd name="connsiteX7735" fmla="*/ 281300 w 4878487"/>
                <a:gd name="connsiteY7735" fmla="*/ 1192082 h 3690338"/>
                <a:gd name="connsiteX7736" fmla="*/ 280907 w 4878487"/>
                <a:gd name="connsiteY7736" fmla="*/ 1195229 h 3690338"/>
                <a:gd name="connsiteX7737" fmla="*/ 281300 w 4878487"/>
                <a:gd name="connsiteY7737" fmla="*/ 1197983 h 3690338"/>
                <a:gd name="connsiteX7738" fmla="*/ 280120 w 4878487"/>
                <a:gd name="connsiteY7738" fmla="*/ 1200737 h 3690338"/>
                <a:gd name="connsiteX7739" fmla="*/ 282874 w 4878487"/>
                <a:gd name="connsiteY7739" fmla="*/ 1199950 h 3690338"/>
                <a:gd name="connsiteX7740" fmla="*/ 286021 w 4878487"/>
                <a:gd name="connsiteY7740" fmla="*/ 1199557 h 3690338"/>
                <a:gd name="connsiteX7741" fmla="*/ 288775 w 4878487"/>
                <a:gd name="connsiteY7741" fmla="*/ 1197590 h 3690338"/>
                <a:gd name="connsiteX7742" fmla="*/ 291529 w 4878487"/>
                <a:gd name="connsiteY7742" fmla="*/ 1199163 h 3690338"/>
                <a:gd name="connsiteX7743" fmla="*/ 293103 w 4878487"/>
                <a:gd name="connsiteY7743" fmla="*/ 1196410 h 3690338"/>
                <a:gd name="connsiteX7744" fmla="*/ 293496 w 4878487"/>
                <a:gd name="connsiteY7744" fmla="*/ 1196016 h 3690338"/>
                <a:gd name="connsiteX7745" fmla="*/ 292709 w 4878487"/>
                <a:gd name="connsiteY7745" fmla="*/ 1199950 h 3690338"/>
                <a:gd name="connsiteX7746" fmla="*/ 291136 w 4878487"/>
                <a:gd name="connsiteY7746" fmla="*/ 1201917 h 3690338"/>
                <a:gd name="connsiteX7747" fmla="*/ 289562 w 4878487"/>
                <a:gd name="connsiteY7747" fmla="*/ 1199163 h 3690338"/>
                <a:gd name="connsiteX7748" fmla="*/ 291136 w 4878487"/>
                <a:gd name="connsiteY7748" fmla="*/ 1201917 h 3690338"/>
                <a:gd name="connsiteX7749" fmla="*/ 291923 w 4878487"/>
                <a:gd name="connsiteY7749" fmla="*/ 1204672 h 3690338"/>
                <a:gd name="connsiteX7750" fmla="*/ 291923 w 4878487"/>
                <a:gd name="connsiteY7750" fmla="*/ 1208212 h 3690338"/>
                <a:gd name="connsiteX7751" fmla="*/ 288775 w 4878487"/>
                <a:gd name="connsiteY7751" fmla="*/ 1216868 h 3690338"/>
                <a:gd name="connsiteX7752" fmla="*/ 290349 w 4878487"/>
                <a:gd name="connsiteY7752" fmla="*/ 1221589 h 3690338"/>
                <a:gd name="connsiteX7753" fmla="*/ 290742 w 4878487"/>
                <a:gd name="connsiteY7753" fmla="*/ 1224736 h 3690338"/>
                <a:gd name="connsiteX7754" fmla="*/ 289956 w 4878487"/>
                <a:gd name="connsiteY7754" fmla="*/ 1225523 h 3690338"/>
                <a:gd name="connsiteX7755" fmla="*/ 289168 w 4878487"/>
                <a:gd name="connsiteY7755" fmla="*/ 1228277 h 3690338"/>
                <a:gd name="connsiteX7756" fmla="*/ 289562 w 4878487"/>
                <a:gd name="connsiteY7756" fmla="*/ 1231031 h 3690338"/>
                <a:gd name="connsiteX7757" fmla="*/ 289168 w 4878487"/>
                <a:gd name="connsiteY7757" fmla="*/ 1234178 h 3690338"/>
                <a:gd name="connsiteX7758" fmla="*/ 288775 w 4878487"/>
                <a:gd name="connsiteY7758" fmla="*/ 1234572 h 3690338"/>
                <a:gd name="connsiteX7759" fmla="*/ 287201 w 4878487"/>
                <a:gd name="connsiteY7759" fmla="*/ 1237326 h 3690338"/>
                <a:gd name="connsiteX7760" fmla="*/ 286415 w 4878487"/>
                <a:gd name="connsiteY7760" fmla="*/ 1240080 h 3690338"/>
                <a:gd name="connsiteX7761" fmla="*/ 284841 w 4878487"/>
                <a:gd name="connsiteY7761" fmla="*/ 1242834 h 3690338"/>
                <a:gd name="connsiteX7762" fmla="*/ 283267 w 4878487"/>
                <a:gd name="connsiteY7762" fmla="*/ 1245588 h 3690338"/>
                <a:gd name="connsiteX7763" fmla="*/ 283660 w 4878487"/>
                <a:gd name="connsiteY7763" fmla="*/ 1248342 h 3690338"/>
                <a:gd name="connsiteX7764" fmla="*/ 286808 w 4878487"/>
                <a:gd name="connsiteY7764" fmla="*/ 1246375 h 3690338"/>
                <a:gd name="connsiteX7765" fmla="*/ 289562 w 4878487"/>
                <a:gd name="connsiteY7765" fmla="*/ 1245981 h 3690338"/>
                <a:gd name="connsiteX7766" fmla="*/ 292316 w 4878487"/>
                <a:gd name="connsiteY7766" fmla="*/ 1244407 h 3690338"/>
                <a:gd name="connsiteX7767" fmla="*/ 295463 w 4878487"/>
                <a:gd name="connsiteY7767" fmla="*/ 1244014 h 3690338"/>
                <a:gd name="connsiteX7768" fmla="*/ 295463 w 4878487"/>
                <a:gd name="connsiteY7768" fmla="*/ 1243621 h 3690338"/>
                <a:gd name="connsiteX7769" fmla="*/ 295857 w 4878487"/>
                <a:gd name="connsiteY7769" fmla="*/ 1243621 h 3690338"/>
                <a:gd name="connsiteX7770" fmla="*/ 295463 w 4878487"/>
                <a:gd name="connsiteY7770" fmla="*/ 1244014 h 3690338"/>
                <a:gd name="connsiteX7771" fmla="*/ 297824 w 4878487"/>
                <a:gd name="connsiteY7771" fmla="*/ 1245588 h 3690338"/>
                <a:gd name="connsiteX7772" fmla="*/ 300971 w 4878487"/>
                <a:gd name="connsiteY7772" fmla="*/ 1245981 h 3690338"/>
                <a:gd name="connsiteX7773" fmla="*/ 303726 w 4878487"/>
                <a:gd name="connsiteY7773" fmla="*/ 1245588 h 3690338"/>
                <a:gd name="connsiteX7774" fmla="*/ 306479 w 4878487"/>
                <a:gd name="connsiteY7774" fmla="*/ 1245981 h 3690338"/>
                <a:gd name="connsiteX7775" fmla="*/ 309627 w 4878487"/>
                <a:gd name="connsiteY7775" fmla="*/ 1247555 h 3690338"/>
                <a:gd name="connsiteX7776" fmla="*/ 312381 w 4878487"/>
                <a:gd name="connsiteY7776" fmla="*/ 1248342 h 3690338"/>
                <a:gd name="connsiteX7777" fmla="*/ 315135 w 4878487"/>
                <a:gd name="connsiteY7777" fmla="*/ 1247161 h 3690338"/>
                <a:gd name="connsiteX7778" fmla="*/ 317495 w 4878487"/>
                <a:gd name="connsiteY7778" fmla="*/ 1246768 h 3690338"/>
                <a:gd name="connsiteX7779" fmla="*/ 320249 w 4878487"/>
                <a:gd name="connsiteY7779" fmla="*/ 1245194 h 3690338"/>
                <a:gd name="connsiteX7780" fmla="*/ 322216 w 4878487"/>
                <a:gd name="connsiteY7780" fmla="*/ 1244014 h 3690338"/>
                <a:gd name="connsiteX7781" fmla="*/ 326151 w 4878487"/>
                <a:gd name="connsiteY7781" fmla="*/ 1242047 h 3690338"/>
                <a:gd name="connsiteX7782" fmla="*/ 325757 w 4878487"/>
                <a:gd name="connsiteY7782" fmla="*/ 1240080 h 3690338"/>
                <a:gd name="connsiteX7783" fmla="*/ 326151 w 4878487"/>
                <a:gd name="connsiteY7783" fmla="*/ 1241260 h 3690338"/>
                <a:gd name="connsiteX7784" fmla="*/ 326151 w 4878487"/>
                <a:gd name="connsiteY7784" fmla="*/ 1241654 h 3690338"/>
                <a:gd name="connsiteX7785" fmla="*/ 326544 w 4878487"/>
                <a:gd name="connsiteY7785" fmla="*/ 1243227 h 3690338"/>
                <a:gd name="connsiteX7786" fmla="*/ 329692 w 4878487"/>
                <a:gd name="connsiteY7786" fmla="*/ 1242047 h 3690338"/>
                <a:gd name="connsiteX7787" fmla="*/ 332445 w 4878487"/>
                <a:gd name="connsiteY7787" fmla="*/ 1241654 h 3690338"/>
                <a:gd name="connsiteX7788" fmla="*/ 335200 w 4878487"/>
                <a:gd name="connsiteY7788" fmla="*/ 1242047 h 3690338"/>
                <a:gd name="connsiteX7789" fmla="*/ 337953 w 4878487"/>
                <a:gd name="connsiteY7789" fmla="*/ 1242440 h 3690338"/>
                <a:gd name="connsiteX7790" fmla="*/ 338347 w 4878487"/>
                <a:gd name="connsiteY7790" fmla="*/ 1239686 h 3690338"/>
                <a:gd name="connsiteX7791" fmla="*/ 341101 w 4878487"/>
                <a:gd name="connsiteY7791" fmla="*/ 1240080 h 3690338"/>
                <a:gd name="connsiteX7792" fmla="*/ 339527 w 4878487"/>
                <a:gd name="connsiteY7792" fmla="*/ 1242047 h 3690338"/>
                <a:gd name="connsiteX7793" fmla="*/ 341101 w 4878487"/>
                <a:gd name="connsiteY7793" fmla="*/ 1244407 h 3690338"/>
                <a:gd name="connsiteX7794" fmla="*/ 343855 w 4878487"/>
                <a:gd name="connsiteY7794" fmla="*/ 1245981 h 3690338"/>
                <a:gd name="connsiteX7795" fmla="*/ 346609 w 4878487"/>
                <a:gd name="connsiteY7795" fmla="*/ 1247555 h 3690338"/>
                <a:gd name="connsiteX7796" fmla="*/ 349756 w 4878487"/>
                <a:gd name="connsiteY7796" fmla="*/ 1249916 h 3690338"/>
                <a:gd name="connsiteX7797" fmla="*/ 352117 w 4878487"/>
                <a:gd name="connsiteY7797" fmla="*/ 1252669 h 3690338"/>
                <a:gd name="connsiteX7798" fmla="*/ 354477 w 4878487"/>
                <a:gd name="connsiteY7798" fmla="*/ 1255030 h 3690338"/>
                <a:gd name="connsiteX7799" fmla="*/ 354477 w 4878487"/>
                <a:gd name="connsiteY7799" fmla="*/ 1255030 h 3690338"/>
                <a:gd name="connsiteX7800" fmla="*/ 354477 w 4878487"/>
                <a:gd name="connsiteY7800" fmla="*/ 1255030 h 3690338"/>
                <a:gd name="connsiteX7801" fmla="*/ 354477 w 4878487"/>
                <a:gd name="connsiteY7801" fmla="*/ 1255030 h 3690338"/>
                <a:gd name="connsiteX7802" fmla="*/ 354477 w 4878487"/>
                <a:gd name="connsiteY7802" fmla="*/ 1255030 h 3690338"/>
                <a:gd name="connsiteX7803" fmla="*/ 354084 w 4878487"/>
                <a:gd name="connsiteY7803" fmla="*/ 1256604 h 3690338"/>
                <a:gd name="connsiteX7804" fmla="*/ 351723 w 4878487"/>
                <a:gd name="connsiteY7804" fmla="*/ 1258964 h 3690338"/>
                <a:gd name="connsiteX7805" fmla="*/ 354477 w 4878487"/>
                <a:gd name="connsiteY7805" fmla="*/ 1261718 h 3690338"/>
                <a:gd name="connsiteX7806" fmla="*/ 357231 w 4878487"/>
                <a:gd name="connsiteY7806" fmla="*/ 1263292 h 3690338"/>
                <a:gd name="connsiteX7807" fmla="*/ 358805 w 4878487"/>
                <a:gd name="connsiteY7807" fmla="*/ 1265259 h 3690338"/>
                <a:gd name="connsiteX7808" fmla="*/ 358805 w 4878487"/>
                <a:gd name="connsiteY7808" fmla="*/ 1265653 h 3690338"/>
                <a:gd name="connsiteX7809" fmla="*/ 356444 w 4878487"/>
                <a:gd name="connsiteY7809" fmla="*/ 1266439 h 3690338"/>
                <a:gd name="connsiteX7810" fmla="*/ 357625 w 4878487"/>
                <a:gd name="connsiteY7810" fmla="*/ 1269193 h 3690338"/>
                <a:gd name="connsiteX7811" fmla="*/ 358805 w 4878487"/>
                <a:gd name="connsiteY7811" fmla="*/ 1270767 h 3690338"/>
                <a:gd name="connsiteX7812" fmla="*/ 360772 w 4878487"/>
                <a:gd name="connsiteY7812" fmla="*/ 1273914 h 3690338"/>
                <a:gd name="connsiteX7813" fmla="*/ 362346 w 4878487"/>
                <a:gd name="connsiteY7813" fmla="*/ 1276668 h 3690338"/>
                <a:gd name="connsiteX7814" fmla="*/ 365100 w 4878487"/>
                <a:gd name="connsiteY7814" fmla="*/ 1276668 h 3690338"/>
                <a:gd name="connsiteX7815" fmla="*/ 367854 w 4878487"/>
                <a:gd name="connsiteY7815" fmla="*/ 1279423 h 3690338"/>
                <a:gd name="connsiteX7816" fmla="*/ 371001 w 4878487"/>
                <a:gd name="connsiteY7816" fmla="*/ 1280996 h 3690338"/>
                <a:gd name="connsiteX7817" fmla="*/ 373755 w 4878487"/>
                <a:gd name="connsiteY7817" fmla="*/ 1282963 h 3690338"/>
                <a:gd name="connsiteX7818" fmla="*/ 375329 w 4878487"/>
                <a:gd name="connsiteY7818" fmla="*/ 1282176 h 3690338"/>
                <a:gd name="connsiteX7819" fmla="*/ 378477 w 4878487"/>
                <a:gd name="connsiteY7819" fmla="*/ 1280996 h 3690338"/>
                <a:gd name="connsiteX7820" fmla="*/ 378477 w 4878487"/>
                <a:gd name="connsiteY7820" fmla="*/ 1279816 h 3690338"/>
                <a:gd name="connsiteX7821" fmla="*/ 381230 w 4878487"/>
                <a:gd name="connsiteY7821" fmla="*/ 1277849 h 3690338"/>
                <a:gd name="connsiteX7822" fmla="*/ 381624 w 4878487"/>
                <a:gd name="connsiteY7822" fmla="*/ 1277849 h 3690338"/>
                <a:gd name="connsiteX7823" fmla="*/ 383984 w 4878487"/>
                <a:gd name="connsiteY7823" fmla="*/ 1273128 h 3690338"/>
                <a:gd name="connsiteX7824" fmla="*/ 384771 w 4878487"/>
                <a:gd name="connsiteY7824" fmla="*/ 1271947 h 3690338"/>
                <a:gd name="connsiteX7825" fmla="*/ 392246 w 4878487"/>
                <a:gd name="connsiteY7825" fmla="*/ 1266833 h 3690338"/>
                <a:gd name="connsiteX7826" fmla="*/ 394214 w 4878487"/>
                <a:gd name="connsiteY7826" fmla="*/ 1266046 h 3690338"/>
                <a:gd name="connsiteX7827" fmla="*/ 396967 w 4878487"/>
                <a:gd name="connsiteY7827" fmla="*/ 1265653 h 3690338"/>
                <a:gd name="connsiteX7828" fmla="*/ 399721 w 4878487"/>
                <a:gd name="connsiteY7828" fmla="*/ 1266046 h 3690338"/>
                <a:gd name="connsiteX7829" fmla="*/ 402475 w 4878487"/>
                <a:gd name="connsiteY7829" fmla="*/ 1265259 h 3690338"/>
                <a:gd name="connsiteX7830" fmla="*/ 405623 w 4878487"/>
                <a:gd name="connsiteY7830" fmla="*/ 1262899 h 3690338"/>
                <a:gd name="connsiteX7831" fmla="*/ 408377 w 4878487"/>
                <a:gd name="connsiteY7831" fmla="*/ 1259751 h 3690338"/>
                <a:gd name="connsiteX7832" fmla="*/ 416245 w 4878487"/>
                <a:gd name="connsiteY7832" fmla="*/ 1258177 h 3690338"/>
                <a:gd name="connsiteX7833" fmla="*/ 427261 w 4878487"/>
                <a:gd name="connsiteY7833" fmla="*/ 1257784 h 3690338"/>
                <a:gd name="connsiteX7834" fmla="*/ 430015 w 4878487"/>
                <a:gd name="connsiteY7834" fmla="*/ 1258177 h 3690338"/>
                <a:gd name="connsiteX7835" fmla="*/ 432769 w 4878487"/>
                <a:gd name="connsiteY7835" fmla="*/ 1258177 h 3690338"/>
                <a:gd name="connsiteX7836" fmla="*/ 433556 w 4878487"/>
                <a:gd name="connsiteY7836" fmla="*/ 1258571 h 3690338"/>
                <a:gd name="connsiteX7837" fmla="*/ 436310 w 4878487"/>
                <a:gd name="connsiteY7837" fmla="*/ 1259751 h 3690338"/>
                <a:gd name="connsiteX7838" fmla="*/ 439064 w 4878487"/>
                <a:gd name="connsiteY7838" fmla="*/ 1258177 h 3690338"/>
                <a:gd name="connsiteX7839" fmla="*/ 439458 w 4878487"/>
                <a:gd name="connsiteY7839" fmla="*/ 1258177 h 3690338"/>
                <a:gd name="connsiteX7840" fmla="*/ 444965 w 4878487"/>
                <a:gd name="connsiteY7840" fmla="*/ 1257784 h 3690338"/>
                <a:gd name="connsiteX7841" fmla="*/ 450473 w 4878487"/>
                <a:gd name="connsiteY7841" fmla="*/ 1257784 h 3690338"/>
                <a:gd name="connsiteX7842" fmla="*/ 453621 w 4878487"/>
                <a:gd name="connsiteY7842" fmla="*/ 1259358 h 3690338"/>
                <a:gd name="connsiteX7843" fmla="*/ 456375 w 4878487"/>
                <a:gd name="connsiteY7843" fmla="*/ 1260145 h 3690338"/>
                <a:gd name="connsiteX7844" fmla="*/ 459129 w 4878487"/>
                <a:gd name="connsiteY7844" fmla="*/ 1258571 h 3690338"/>
                <a:gd name="connsiteX7845" fmla="*/ 461096 w 4878487"/>
                <a:gd name="connsiteY7845" fmla="*/ 1255817 h 3690338"/>
                <a:gd name="connsiteX7846" fmla="*/ 463850 w 4878487"/>
                <a:gd name="connsiteY7846" fmla="*/ 1255423 h 3690338"/>
                <a:gd name="connsiteX7847" fmla="*/ 465817 w 4878487"/>
                <a:gd name="connsiteY7847" fmla="*/ 1255030 h 3690338"/>
                <a:gd name="connsiteX7848" fmla="*/ 468571 w 4878487"/>
                <a:gd name="connsiteY7848" fmla="*/ 1255423 h 3690338"/>
                <a:gd name="connsiteX7849" fmla="*/ 470932 w 4878487"/>
                <a:gd name="connsiteY7849" fmla="*/ 1258177 h 3690338"/>
                <a:gd name="connsiteX7850" fmla="*/ 473686 w 4878487"/>
                <a:gd name="connsiteY7850" fmla="*/ 1256997 h 3690338"/>
                <a:gd name="connsiteX7851" fmla="*/ 476439 w 4878487"/>
                <a:gd name="connsiteY7851" fmla="*/ 1254637 h 3690338"/>
                <a:gd name="connsiteX7852" fmla="*/ 479980 w 4878487"/>
                <a:gd name="connsiteY7852" fmla="*/ 1249129 h 3690338"/>
                <a:gd name="connsiteX7853" fmla="*/ 481554 w 4878487"/>
                <a:gd name="connsiteY7853" fmla="*/ 1245981 h 3690338"/>
                <a:gd name="connsiteX7854" fmla="*/ 482341 w 4878487"/>
                <a:gd name="connsiteY7854" fmla="*/ 1243227 h 3690338"/>
                <a:gd name="connsiteX7855" fmla="*/ 481947 w 4878487"/>
                <a:gd name="connsiteY7855" fmla="*/ 1240473 h 3690338"/>
                <a:gd name="connsiteX7856" fmla="*/ 485095 w 4878487"/>
                <a:gd name="connsiteY7856" fmla="*/ 1239686 h 3690338"/>
                <a:gd name="connsiteX7857" fmla="*/ 487849 w 4878487"/>
                <a:gd name="connsiteY7857" fmla="*/ 1236932 h 3690338"/>
                <a:gd name="connsiteX7858" fmla="*/ 489816 w 4878487"/>
                <a:gd name="connsiteY7858" fmla="*/ 1235752 h 3690338"/>
                <a:gd name="connsiteX7859" fmla="*/ 491783 w 4878487"/>
                <a:gd name="connsiteY7859" fmla="*/ 1235359 h 3690338"/>
                <a:gd name="connsiteX7860" fmla="*/ 492964 w 4878487"/>
                <a:gd name="connsiteY7860" fmla="*/ 1233392 h 3690338"/>
                <a:gd name="connsiteX7861" fmla="*/ 497684 w 4878487"/>
                <a:gd name="connsiteY7861" fmla="*/ 1230244 h 3690338"/>
                <a:gd name="connsiteX7862" fmla="*/ 499258 w 4878487"/>
                <a:gd name="connsiteY7862" fmla="*/ 1230244 h 3690338"/>
                <a:gd name="connsiteX7863" fmla="*/ 502406 w 4878487"/>
                <a:gd name="connsiteY7863" fmla="*/ 1230638 h 3690338"/>
                <a:gd name="connsiteX7864" fmla="*/ 505160 w 4878487"/>
                <a:gd name="connsiteY7864" fmla="*/ 1230244 h 3690338"/>
                <a:gd name="connsiteX7865" fmla="*/ 507913 w 4878487"/>
                <a:gd name="connsiteY7865" fmla="*/ 1230638 h 3690338"/>
                <a:gd name="connsiteX7866" fmla="*/ 511061 w 4878487"/>
                <a:gd name="connsiteY7866" fmla="*/ 1230244 h 3690338"/>
                <a:gd name="connsiteX7867" fmla="*/ 513815 w 4878487"/>
                <a:gd name="connsiteY7867" fmla="*/ 1227884 h 3690338"/>
                <a:gd name="connsiteX7868" fmla="*/ 513028 w 4878487"/>
                <a:gd name="connsiteY7868" fmla="*/ 1224736 h 3690338"/>
                <a:gd name="connsiteX7869" fmla="*/ 513422 w 4878487"/>
                <a:gd name="connsiteY7869" fmla="*/ 1227884 h 3690338"/>
                <a:gd name="connsiteX7870" fmla="*/ 510668 w 4878487"/>
                <a:gd name="connsiteY7870" fmla="*/ 1226703 h 3690338"/>
                <a:gd name="connsiteX7871" fmla="*/ 511061 w 4878487"/>
                <a:gd name="connsiteY7871" fmla="*/ 1223949 h 3690338"/>
                <a:gd name="connsiteX7872" fmla="*/ 512635 w 4878487"/>
                <a:gd name="connsiteY7872" fmla="*/ 1220802 h 3690338"/>
                <a:gd name="connsiteX7873" fmla="*/ 514209 w 4878487"/>
                <a:gd name="connsiteY7873" fmla="*/ 1217655 h 3690338"/>
                <a:gd name="connsiteX7874" fmla="*/ 515782 w 4878487"/>
                <a:gd name="connsiteY7874" fmla="*/ 1214900 h 3690338"/>
                <a:gd name="connsiteX7875" fmla="*/ 516176 w 4878487"/>
                <a:gd name="connsiteY7875" fmla="*/ 1212147 h 3690338"/>
                <a:gd name="connsiteX7876" fmla="*/ 519716 w 4878487"/>
                <a:gd name="connsiteY7876" fmla="*/ 1208999 h 3690338"/>
                <a:gd name="connsiteX7877" fmla="*/ 519716 w 4878487"/>
                <a:gd name="connsiteY7877" fmla="*/ 1208999 h 3690338"/>
                <a:gd name="connsiteX7878" fmla="*/ 519716 w 4878487"/>
                <a:gd name="connsiteY7878" fmla="*/ 1208999 h 3690338"/>
                <a:gd name="connsiteX7879" fmla="*/ 531126 w 4878487"/>
                <a:gd name="connsiteY7879" fmla="*/ 1198377 h 3690338"/>
                <a:gd name="connsiteX7880" fmla="*/ 532700 w 4878487"/>
                <a:gd name="connsiteY7880" fmla="*/ 1197983 h 3690338"/>
                <a:gd name="connsiteX7881" fmla="*/ 534667 w 4878487"/>
                <a:gd name="connsiteY7881" fmla="*/ 1195229 h 3690338"/>
                <a:gd name="connsiteX7882" fmla="*/ 537420 w 4878487"/>
                <a:gd name="connsiteY7882" fmla="*/ 1193655 h 3690338"/>
                <a:gd name="connsiteX7883" fmla="*/ 540175 w 4878487"/>
                <a:gd name="connsiteY7883" fmla="*/ 1191688 h 3690338"/>
                <a:gd name="connsiteX7884" fmla="*/ 539781 w 4878487"/>
                <a:gd name="connsiteY7884" fmla="*/ 1188934 h 3690338"/>
                <a:gd name="connsiteX7885" fmla="*/ 536634 w 4878487"/>
                <a:gd name="connsiteY7885" fmla="*/ 1187361 h 3690338"/>
                <a:gd name="connsiteX7886" fmla="*/ 535060 w 4878487"/>
                <a:gd name="connsiteY7886" fmla="*/ 1186967 h 3690338"/>
                <a:gd name="connsiteX7887" fmla="*/ 534273 w 4878487"/>
                <a:gd name="connsiteY7887" fmla="*/ 1186574 h 3690338"/>
                <a:gd name="connsiteX7888" fmla="*/ 528765 w 4878487"/>
                <a:gd name="connsiteY7888" fmla="*/ 1177525 h 3690338"/>
                <a:gd name="connsiteX7889" fmla="*/ 528765 w 4878487"/>
                <a:gd name="connsiteY7889" fmla="*/ 1175165 h 3690338"/>
                <a:gd name="connsiteX7890" fmla="*/ 527191 w 4878487"/>
                <a:gd name="connsiteY7890" fmla="*/ 1172410 h 3690338"/>
                <a:gd name="connsiteX7891" fmla="*/ 527191 w 4878487"/>
                <a:gd name="connsiteY7891" fmla="*/ 1171230 h 3690338"/>
                <a:gd name="connsiteX7892" fmla="*/ 526405 w 4878487"/>
                <a:gd name="connsiteY7892" fmla="*/ 1168476 h 3690338"/>
                <a:gd name="connsiteX7893" fmla="*/ 530339 w 4878487"/>
                <a:gd name="connsiteY7893" fmla="*/ 1160608 h 3690338"/>
                <a:gd name="connsiteX7894" fmla="*/ 530339 w 4878487"/>
                <a:gd name="connsiteY7894" fmla="*/ 1160214 h 3690338"/>
                <a:gd name="connsiteX7895" fmla="*/ 531126 w 4878487"/>
                <a:gd name="connsiteY7895" fmla="*/ 1158641 h 3690338"/>
                <a:gd name="connsiteX7896" fmla="*/ 535847 w 4878487"/>
                <a:gd name="connsiteY7896" fmla="*/ 1151952 h 3690338"/>
                <a:gd name="connsiteX7897" fmla="*/ 536240 w 4878487"/>
                <a:gd name="connsiteY7897" fmla="*/ 1151952 h 3690338"/>
                <a:gd name="connsiteX7898" fmla="*/ 537027 w 4878487"/>
                <a:gd name="connsiteY7898" fmla="*/ 1149592 h 3690338"/>
                <a:gd name="connsiteX7899" fmla="*/ 538601 w 4878487"/>
                <a:gd name="connsiteY7899" fmla="*/ 1147625 h 3690338"/>
                <a:gd name="connsiteX7900" fmla="*/ 540568 w 4878487"/>
                <a:gd name="connsiteY7900" fmla="*/ 1146444 h 3690338"/>
                <a:gd name="connsiteX7901" fmla="*/ 542535 w 4878487"/>
                <a:gd name="connsiteY7901" fmla="*/ 1143297 h 3690338"/>
                <a:gd name="connsiteX7902" fmla="*/ 547650 w 4878487"/>
                <a:gd name="connsiteY7902" fmla="*/ 1137789 h 3690338"/>
                <a:gd name="connsiteX7903" fmla="*/ 551190 w 4878487"/>
                <a:gd name="connsiteY7903" fmla="*/ 1132281 h 3690338"/>
                <a:gd name="connsiteX7904" fmla="*/ 553551 w 4878487"/>
                <a:gd name="connsiteY7904" fmla="*/ 1130707 h 3690338"/>
                <a:gd name="connsiteX7905" fmla="*/ 554731 w 4878487"/>
                <a:gd name="connsiteY7905" fmla="*/ 1131101 h 3690338"/>
                <a:gd name="connsiteX7906" fmla="*/ 557879 w 4878487"/>
                <a:gd name="connsiteY7906" fmla="*/ 1128740 h 3690338"/>
                <a:gd name="connsiteX7907" fmla="*/ 560633 w 4878487"/>
                <a:gd name="connsiteY7907" fmla="*/ 1127166 h 3690338"/>
                <a:gd name="connsiteX7908" fmla="*/ 561026 w 4878487"/>
                <a:gd name="connsiteY7908" fmla="*/ 1125986 h 3690338"/>
                <a:gd name="connsiteX7909" fmla="*/ 567715 w 4878487"/>
                <a:gd name="connsiteY7909" fmla="*/ 1114183 h 3690338"/>
                <a:gd name="connsiteX7910" fmla="*/ 568895 w 4878487"/>
                <a:gd name="connsiteY7910" fmla="*/ 1113790 h 3690338"/>
                <a:gd name="connsiteX7911" fmla="*/ 571649 w 4878487"/>
                <a:gd name="connsiteY7911" fmla="*/ 1112216 h 3690338"/>
                <a:gd name="connsiteX7912" fmla="*/ 574009 w 4878487"/>
                <a:gd name="connsiteY7912" fmla="*/ 1111823 h 3690338"/>
                <a:gd name="connsiteX7913" fmla="*/ 575190 w 4878487"/>
                <a:gd name="connsiteY7913" fmla="*/ 1111429 h 3690338"/>
                <a:gd name="connsiteX7914" fmla="*/ 582665 w 4878487"/>
                <a:gd name="connsiteY7914" fmla="*/ 1109462 h 3690338"/>
                <a:gd name="connsiteX7915" fmla="*/ 585025 w 4878487"/>
                <a:gd name="connsiteY7915" fmla="*/ 1109069 h 3690338"/>
                <a:gd name="connsiteX7916" fmla="*/ 588173 w 4878487"/>
                <a:gd name="connsiteY7916" fmla="*/ 1108282 h 3690338"/>
                <a:gd name="connsiteX7917" fmla="*/ 590927 w 4878487"/>
                <a:gd name="connsiteY7917" fmla="*/ 1107495 h 3690338"/>
                <a:gd name="connsiteX7918" fmla="*/ 593681 w 4878487"/>
                <a:gd name="connsiteY7918" fmla="*/ 1107102 h 3690338"/>
                <a:gd name="connsiteX7919" fmla="*/ 596828 w 4878487"/>
                <a:gd name="connsiteY7919" fmla="*/ 1105528 h 3690338"/>
                <a:gd name="connsiteX7920" fmla="*/ 614532 w 4878487"/>
                <a:gd name="connsiteY7920" fmla="*/ 1093725 h 3690338"/>
                <a:gd name="connsiteX7921" fmla="*/ 616893 w 4878487"/>
                <a:gd name="connsiteY7921" fmla="*/ 1092152 h 3690338"/>
                <a:gd name="connsiteX7922" fmla="*/ 618467 w 4878487"/>
                <a:gd name="connsiteY7922" fmla="*/ 1091758 h 3690338"/>
                <a:gd name="connsiteX7923" fmla="*/ 621220 w 4878487"/>
                <a:gd name="connsiteY7923" fmla="*/ 1089791 h 3690338"/>
                <a:gd name="connsiteX7924" fmla="*/ 623974 w 4878487"/>
                <a:gd name="connsiteY7924" fmla="*/ 1087430 h 3690338"/>
                <a:gd name="connsiteX7925" fmla="*/ 624368 w 4878487"/>
                <a:gd name="connsiteY7925" fmla="*/ 1087037 h 3690338"/>
                <a:gd name="connsiteX7926" fmla="*/ 626335 w 4878487"/>
                <a:gd name="connsiteY7926" fmla="*/ 1084283 h 3690338"/>
                <a:gd name="connsiteX7927" fmla="*/ 625941 w 4878487"/>
                <a:gd name="connsiteY7927" fmla="*/ 1081529 h 3690338"/>
                <a:gd name="connsiteX7928" fmla="*/ 625941 w 4878487"/>
                <a:gd name="connsiteY7928" fmla="*/ 1081136 h 3690338"/>
                <a:gd name="connsiteX7929" fmla="*/ 625548 w 4878487"/>
                <a:gd name="connsiteY7929" fmla="*/ 1080742 h 3690338"/>
                <a:gd name="connsiteX7930" fmla="*/ 623974 w 4878487"/>
                <a:gd name="connsiteY7930" fmla="*/ 1075234 h 3690338"/>
                <a:gd name="connsiteX7931" fmla="*/ 625155 w 4878487"/>
                <a:gd name="connsiteY7931" fmla="*/ 1073267 h 3690338"/>
                <a:gd name="connsiteX7932" fmla="*/ 628302 w 4878487"/>
                <a:gd name="connsiteY7932" fmla="*/ 1073660 h 3690338"/>
                <a:gd name="connsiteX7933" fmla="*/ 629089 w 4878487"/>
                <a:gd name="connsiteY7933" fmla="*/ 1070907 h 3690338"/>
                <a:gd name="connsiteX7934" fmla="*/ 626335 w 4878487"/>
                <a:gd name="connsiteY7934" fmla="*/ 1070513 h 3690338"/>
                <a:gd name="connsiteX7935" fmla="*/ 625548 w 4878487"/>
                <a:gd name="connsiteY7935" fmla="*/ 1067759 h 3690338"/>
                <a:gd name="connsiteX7936" fmla="*/ 625548 w 4878487"/>
                <a:gd name="connsiteY7936" fmla="*/ 1067366 h 3690338"/>
                <a:gd name="connsiteX7937" fmla="*/ 625941 w 4878487"/>
                <a:gd name="connsiteY7937" fmla="*/ 1066972 h 3690338"/>
                <a:gd name="connsiteX7938" fmla="*/ 622401 w 4878487"/>
                <a:gd name="connsiteY7938" fmla="*/ 1053989 h 3690338"/>
                <a:gd name="connsiteX7939" fmla="*/ 622007 w 4878487"/>
                <a:gd name="connsiteY7939" fmla="*/ 1053989 h 3690338"/>
                <a:gd name="connsiteX7940" fmla="*/ 620434 w 4878487"/>
                <a:gd name="connsiteY7940" fmla="*/ 1052809 h 3690338"/>
                <a:gd name="connsiteX7941" fmla="*/ 621220 w 4878487"/>
                <a:gd name="connsiteY7941" fmla="*/ 1052022 h 3690338"/>
                <a:gd name="connsiteX7942" fmla="*/ 621220 w 4878487"/>
                <a:gd name="connsiteY7942" fmla="*/ 1051629 h 3690338"/>
                <a:gd name="connsiteX7943" fmla="*/ 621614 w 4878487"/>
                <a:gd name="connsiteY7943" fmla="*/ 1050448 h 3690338"/>
                <a:gd name="connsiteX7944" fmla="*/ 621614 w 4878487"/>
                <a:gd name="connsiteY7944" fmla="*/ 1050055 h 3690338"/>
                <a:gd name="connsiteX7945" fmla="*/ 628302 w 4878487"/>
                <a:gd name="connsiteY7945" fmla="*/ 1041006 h 3690338"/>
                <a:gd name="connsiteX7946" fmla="*/ 632630 w 4878487"/>
                <a:gd name="connsiteY7946" fmla="*/ 1039039 h 3690338"/>
                <a:gd name="connsiteX7947" fmla="*/ 634204 w 4878487"/>
                <a:gd name="connsiteY7947" fmla="*/ 1039039 h 3690338"/>
                <a:gd name="connsiteX7948" fmla="*/ 636958 w 4878487"/>
                <a:gd name="connsiteY7948" fmla="*/ 1037465 h 3690338"/>
                <a:gd name="connsiteX7949" fmla="*/ 638925 w 4878487"/>
                <a:gd name="connsiteY7949" fmla="*/ 1035891 h 3690338"/>
                <a:gd name="connsiteX7950" fmla="*/ 641285 w 4878487"/>
                <a:gd name="connsiteY7950" fmla="*/ 1034711 h 3690338"/>
                <a:gd name="connsiteX7951" fmla="*/ 642859 w 4878487"/>
                <a:gd name="connsiteY7951" fmla="*/ 1033924 h 3690338"/>
                <a:gd name="connsiteX7952" fmla="*/ 643646 w 4878487"/>
                <a:gd name="connsiteY7952" fmla="*/ 1033138 h 3690338"/>
                <a:gd name="connsiteX7953" fmla="*/ 651514 w 4878487"/>
                <a:gd name="connsiteY7953" fmla="*/ 1029203 h 3690338"/>
                <a:gd name="connsiteX7954" fmla="*/ 653088 w 4878487"/>
                <a:gd name="connsiteY7954" fmla="*/ 1031564 h 3690338"/>
                <a:gd name="connsiteX7955" fmla="*/ 655842 w 4878487"/>
                <a:gd name="connsiteY7955" fmla="*/ 1031957 h 3690338"/>
                <a:gd name="connsiteX7956" fmla="*/ 660170 w 4878487"/>
                <a:gd name="connsiteY7956" fmla="*/ 1032744 h 3690338"/>
                <a:gd name="connsiteX7957" fmla="*/ 665284 w 4878487"/>
                <a:gd name="connsiteY7957" fmla="*/ 1033924 h 3690338"/>
                <a:gd name="connsiteX7958" fmla="*/ 667251 w 4878487"/>
                <a:gd name="connsiteY7958" fmla="*/ 1036285 h 3690338"/>
                <a:gd name="connsiteX7959" fmla="*/ 670005 w 4878487"/>
                <a:gd name="connsiteY7959" fmla="*/ 1035105 h 3690338"/>
                <a:gd name="connsiteX7960" fmla="*/ 671185 w 4878487"/>
                <a:gd name="connsiteY7960" fmla="*/ 1035498 h 3690338"/>
                <a:gd name="connsiteX7961" fmla="*/ 676300 w 4878487"/>
                <a:gd name="connsiteY7961" fmla="*/ 1034711 h 3690338"/>
                <a:gd name="connsiteX7962" fmla="*/ 677087 w 4878487"/>
                <a:gd name="connsiteY7962" fmla="*/ 1034711 h 3690338"/>
                <a:gd name="connsiteX7963" fmla="*/ 677481 w 4878487"/>
                <a:gd name="connsiteY7963" fmla="*/ 1035105 h 3690338"/>
                <a:gd name="connsiteX7964" fmla="*/ 677087 w 4878487"/>
                <a:gd name="connsiteY7964" fmla="*/ 1035498 h 3690338"/>
                <a:gd name="connsiteX7965" fmla="*/ 677481 w 4878487"/>
                <a:gd name="connsiteY7965" fmla="*/ 1037072 h 3690338"/>
                <a:gd name="connsiteX7966" fmla="*/ 680234 w 4878487"/>
                <a:gd name="connsiteY7966" fmla="*/ 1037465 h 3690338"/>
                <a:gd name="connsiteX7967" fmla="*/ 682202 w 4878487"/>
                <a:gd name="connsiteY7967" fmla="*/ 1037465 h 3690338"/>
                <a:gd name="connsiteX7968" fmla="*/ 686529 w 4878487"/>
                <a:gd name="connsiteY7968" fmla="*/ 1039039 h 3690338"/>
                <a:gd name="connsiteX7969" fmla="*/ 686136 w 4878487"/>
                <a:gd name="connsiteY7969" fmla="*/ 1041400 h 3690338"/>
                <a:gd name="connsiteX7970" fmla="*/ 688890 w 4878487"/>
                <a:gd name="connsiteY7970" fmla="*/ 1041400 h 3690338"/>
                <a:gd name="connsiteX7971" fmla="*/ 692037 w 4878487"/>
                <a:gd name="connsiteY7971" fmla="*/ 1042580 h 3690338"/>
                <a:gd name="connsiteX7972" fmla="*/ 695185 w 4878487"/>
                <a:gd name="connsiteY7972" fmla="*/ 1042580 h 3690338"/>
                <a:gd name="connsiteX7973" fmla="*/ 695972 w 4878487"/>
                <a:gd name="connsiteY7973" fmla="*/ 1043760 h 3690338"/>
                <a:gd name="connsiteX7974" fmla="*/ 698725 w 4878487"/>
                <a:gd name="connsiteY7974" fmla="*/ 1046907 h 3690338"/>
                <a:gd name="connsiteX7975" fmla="*/ 701480 w 4878487"/>
                <a:gd name="connsiteY7975" fmla="*/ 1044547 h 3690338"/>
                <a:gd name="connsiteX7976" fmla="*/ 704233 w 4878487"/>
                <a:gd name="connsiteY7976" fmla="*/ 1045727 h 3690338"/>
                <a:gd name="connsiteX7977" fmla="*/ 706988 w 4878487"/>
                <a:gd name="connsiteY7977" fmla="*/ 1047301 h 3690338"/>
                <a:gd name="connsiteX7978" fmla="*/ 710135 w 4878487"/>
                <a:gd name="connsiteY7978" fmla="*/ 1044940 h 3690338"/>
                <a:gd name="connsiteX7979" fmla="*/ 712889 w 4878487"/>
                <a:gd name="connsiteY7979" fmla="*/ 1046514 h 3690338"/>
                <a:gd name="connsiteX7980" fmla="*/ 716036 w 4878487"/>
                <a:gd name="connsiteY7980" fmla="*/ 1044153 h 3690338"/>
                <a:gd name="connsiteX7981" fmla="*/ 718790 w 4878487"/>
                <a:gd name="connsiteY7981" fmla="*/ 1042973 h 3690338"/>
                <a:gd name="connsiteX7982" fmla="*/ 721544 w 4878487"/>
                <a:gd name="connsiteY7982" fmla="*/ 1042580 h 3690338"/>
                <a:gd name="connsiteX7983" fmla="*/ 719577 w 4878487"/>
                <a:gd name="connsiteY7983" fmla="*/ 1039826 h 3690338"/>
                <a:gd name="connsiteX7984" fmla="*/ 722331 w 4878487"/>
                <a:gd name="connsiteY7984" fmla="*/ 1037859 h 3690338"/>
                <a:gd name="connsiteX7985" fmla="*/ 725478 w 4878487"/>
                <a:gd name="connsiteY7985" fmla="*/ 1035498 h 3690338"/>
                <a:gd name="connsiteX7986" fmla="*/ 728232 w 4878487"/>
                <a:gd name="connsiteY7986" fmla="*/ 1034318 h 3690338"/>
                <a:gd name="connsiteX7987" fmla="*/ 729806 w 4878487"/>
                <a:gd name="connsiteY7987" fmla="*/ 1031564 h 3690338"/>
                <a:gd name="connsiteX7988" fmla="*/ 731380 w 4878487"/>
                <a:gd name="connsiteY7988" fmla="*/ 1031170 h 3690338"/>
                <a:gd name="connsiteX7989" fmla="*/ 732954 w 4878487"/>
                <a:gd name="connsiteY7989" fmla="*/ 1030777 h 3690338"/>
                <a:gd name="connsiteX7990" fmla="*/ 736101 w 4878487"/>
                <a:gd name="connsiteY7990" fmla="*/ 1031957 h 3690338"/>
                <a:gd name="connsiteX7991" fmla="*/ 740429 w 4878487"/>
                <a:gd name="connsiteY7991" fmla="*/ 1027630 h 3690338"/>
                <a:gd name="connsiteX7992" fmla="*/ 740035 w 4878487"/>
                <a:gd name="connsiteY7992" fmla="*/ 1025662 h 3690338"/>
                <a:gd name="connsiteX7993" fmla="*/ 741216 w 4878487"/>
                <a:gd name="connsiteY7993" fmla="*/ 1024876 h 3690338"/>
                <a:gd name="connsiteX7994" fmla="*/ 742789 w 4878487"/>
                <a:gd name="connsiteY7994" fmla="*/ 1024089 h 3690338"/>
                <a:gd name="connsiteX7995" fmla="*/ 745543 w 4878487"/>
                <a:gd name="connsiteY7995" fmla="*/ 1023302 h 3690338"/>
                <a:gd name="connsiteX7996" fmla="*/ 748297 w 4878487"/>
                <a:gd name="connsiteY7996" fmla="*/ 1023302 h 3690338"/>
                <a:gd name="connsiteX7997" fmla="*/ 751445 w 4878487"/>
                <a:gd name="connsiteY7997" fmla="*/ 1022515 h 3690338"/>
                <a:gd name="connsiteX7998" fmla="*/ 754199 w 4878487"/>
                <a:gd name="connsiteY7998" fmla="*/ 1021728 h 3690338"/>
                <a:gd name="connsiteX7999" fmla="*/ 755772 w 4878487"/>
                <a:gd name="connsiteY7999" fmla="*/ 1021335 h 3690338"/>
                <a:gd name="connsiteX8000" fmla="*/ 758526 w 4878487"/>
                <a:gd name="connsiteY8000" fmla="*/ 1019761 h 3690338"/>
                <a:gd name="connsiteX8001" fmla="*/ 761280 w 4878487"/>
                <a:gd name="connsiteY8001" fmla="*/ 1017794 h 3690338"/>
                <a:gd name="connsiteX8002" fmla="*/ 762461 w 4878487"/>
                <a:gd name="connsiteY8002" fmla="*/ 1017401 h 3690338"/>
                <a:gd name="connsiteX8003" fmla="*/ 764034 w 4878487"/>
                <a:gd name="connsiteY8003" fmla="*/ 1014646 h 3690338"/>
                <a:gd name="connsiteX8004" fmla="*/ 767969 w 4878487"/>
                <a:gd name="connsiteY8004" fmla="*/ 1009925 h 3690338"/>
                <a:gd name="connsiteX8005" fmla="*/ 769149 w 4878487"/>
                <a:gd name="connsiteY8005" fmla="*/ 1008352 h 3690338"/>
                <a:gd name="connsiteX8006" fmla="*/ 770723 w 4878487"/>
                <a:gd name="connsiteY8006" fmla="*/ 1005598 h 3690338"/>
                <a:gd name="connsiteX8007" fmla="*/ 774657 w 4878487"/>
                <a:gd name="connsiteY8007" fmla="*/ 1003237 h 3690338"/>
                <a:gd name="connsiteX8008" fmla="*/ 798262 w 4878487"/>
                <a:gd name="connsiteY8008" fmla="*/ 1008745 h 3690338"/>
                <a:gd name="connsiteX8009" fmla="*/ 798656 w 4878487"/>
                <a:gd name="connsiteY8009" fmla="*/ 1009139 h 3690338"/>
                <a:gd name="connsiteX8010" fmla="*/ 801410 w 4878487"/>
                <a:gd name="connsiteY8010" fmla="*/ 1011106 h 3690338"/>
                <a:gd name="connsiteX8011" fmla="*/ 804164 w 4878487"/>
                <a:gd name="connsiteY8011" fmla="*/ 1012679 h 3690338"/>
                <a:gd name="connsiteX8012" fmla="*/ 806918 w 4878487"/>
                <a:gd name="connsiteY8012" fmla="*/ 1012286 h 3690338"/>
                <a:gd name="connsiteX8013" fmla="*/ 809279 w 4878487"/>
                <a:gd name="connsiteY8013" fmla="*/ 1013860 h 3690338"/>
                <a:gd name="connsiteX8014" fmla="*/ 812032 w 4878487"/>
                <a:gd name="connsiteY8014" fmla="*/ 1014253 h 3690338"/>
                <a:gd name="connsiteX8015" fmla="*/ 812426 w 4878487"/>
                <a:gd name="connsiteY8015" fmla="*/ 1014646 h 3690338"/>
                <a:gd name="connsiteX8016" fmla="*/ 815967 w 4878487"/>
                <a:gd name="connsiteY8016" fmla="*/ 1017007 h 3690338"/>
                <a:gd name="connsiteX8017" fmla="*/ 818720 w 4878487"/>
                <a:gd name="connsiteY8017" fmla="*/ 1021728 h 3690338"/>
                <a:gd name="connsiteX8018" fmla="*/ 819114 w 4878487"/>
                <a:gd name="connsiteY8018" fmla="*/ 1023302 h 3690338"/>
                <a:gd name="connsiteX8019" fmla="*/ 819508 w 4878487"/>
                <a:gd name="connsiteY8019" fmla="*/ 1026056 h 3690338"/>
                <a:gd name="connsiteX8020" fmla="*/ 819508 w 4878487"/>
                <a:gd name="connsiteY8020" fmla="*/ 1026449 h 3690338"/>
                <a:gd name="connsiteX8021" fmla="*/ 819901 w 4878487"/>
                <a:gd name="connsiteY8021" fmla="*/ 1029203 h 3690338"/>
                <a:gd name="connsiteX8022" fmla="*/ 820294 w 4878487"/>
                <a:gd name="connsiteY8022" fmla="*/ 1030777 h 3690338"/>
                <a:gd name="connsiteX8023" fmla="*/ 821081 w 4878487"/>
                <a:gd name="connsiteY8023" fmla="*/ 1031957 h 3690338"/>
                <a:gd name="connsiteX8024" fmla="*/ 827376 w 4878487"/>
                <a:gd name="connsiteY8024" fmla="*/ 1051235 h 3690338"/>
                <a:gd name="connsiteX8025" fmla="*/ 832490 w 4878487"/>
                <a:gd name="connsiteY8025" fmla="*/ 1051629 h 3690338"/>
                <a:gd name="connsiteX8026" fmla="*/ 833277 w 4878487"/>
                <a:gd name="connsiteY8026" fmla="*/ 1053989 h 3690338"/>
                <a:gd name="connsiteX8027" fmla="*/ 834851 w 4878487"/>
                <a:gd name="connsiteY8027" fmla="*/ 1056743 h 3690338"/>
                <a:gd name="connsiteX8028" fmla="*/ 837605 w 4878487"/>
                <a:gd name="connsiteY8028" fmla="*/ 1057923 h 3690338"/>
                <a:gd name="connsiteX8029" fmla="*/ 839965 w 4878487"/>
                <a:gd name="connsiteY8029" fmla="*/ 1060677 h 3690338"/>
                <a:gd name="connsiteX8030" fmla="*/ 843113 w 4878487"/>
                <a:gd name="connsiteY8030" fmla="*/ 1063431 h 3690338"/>
                <a:gd name="connsiteX8031" fmla="*/ 844293 w 4878487"/>
                <a:gd name="connsiteY8031" fmla="*/ 1064612 h 3690338"/>
                <a:gd name="connsiteX8032" fmla="*/ 844687 w 4878487"/>
                <a:gd name="connsiteY8032" fmla="*/ 1067366 h 3690338"/>
                <a:gd name="connsiteX8033" fmla="*/ 843506 w 4878487"/>
                <a:gd name="connsiteY8033" fmla="*/ 1070120 h 3690338"/>
                <a:gd name="connsiteX8034" fmla="*/ 846260 w 4878487"/>
                <a:gd name="connsiteY8034" fmla="*/ 1068939 h 3690338"/>
                <a:gd name="connsiteX8035" fmla="*/ 849014 w 4878487"/>
                <a:gd name="connsiteY8035" fmla="*/ 1069333 h 3690338"/>
                <a:gd name="connsiteX8036" fmla="*/ 852162 w 4878487"/>
                <a:gd name="connsiteY8036" fmla="*/ 1070120 h 3690338"/>
                <a:gd name="connsiteX8037" fmla="*/ 860030 w 4878487"/>
                <a:gd name="connsiteY8037" fmla="*/ 1077595 h 3690338"/>
                <a:gd name="connsiteX8038" fmla="*/ 860817 w 4878487"/>
                <a:gd name="connsiteY8038" fmla="*/ 1079955 h 3690338"/>
                <a:gd name="connsiteX8039" fmla="*/ 861211 w 4878487"/>
                <a:gd name="connsiteY8039" fmla="*/ 1079955 h 3690338"/>
                <a:gd name="connsiteX8040" fmla="*/ 862391 w 4878487"/>
                <a:gd name="connsiteY8040" fmla="*/ 1081922 h 3690338"/>
                <a:gd name="connsiteX8041" fmla="*/ 863571 w 4878487"/>
                <a:gd name="connsiteY8041" fmla="*/ 1081922 h 3690338"/>
                <a:gd name="connsiteX8042" fmla="*/ 873800 w 4878487"/>
                <a:gd name="connsiteY8042" fmla="*/ 1091365 h 3690338"/>
                <a:gd name="connsiteX8043" fmla="*/ 880095 w 4878487"/>
                <a:gd name="connsiteY8043" fmla="*/ 1095692 h 3690338"/>
                <a:gd name="connsiteX8044" fmla="*/ 880882 w 4878487"/>
                <a:gd name="connsiteY8044" fmla="*/ 1096479 h 3690338"/>
                <a:gd name="connsiteX8045" fmla="*/ 883242 w 4878487"/>
                <a:gd name="connsiteY8045" fmla="*/ 1099233 h 3690338"/>
                <a:gd name="connsiteX8046" fmla="*/ 885997 w 4878487"/>
                <a:gd name="connsiteY8046" fmla="*/ 1100807 h 3690338"/>
                <a:gd name="connsiteX8047" fmla="*/ 888750 w 4878487"/>
                <a:gd name="connsiteY8047" fmla="*/ 1102381 h 3690338"/>
                <a:gd name="connsiteX8048" fmla="*/ 892291 w 4878487"/>
                <a:gd name="connsiteY8048" fmla="*/ 1103561 h 3690338"/>
                <a:gd name="connsiteX8049" fmla="*/ 894652 w 4878487"/>
                <a:gd name="connsiteY8049" fmla="*/ 1105921 h 3690338"/>
                <a:gd name="connsiteX8050" fmla="*/ 896226 w 4878487"/>
                <a:gd name="connsiteY8050" fmla="*/ 1108675 h 3690338"/>
                <a:gd name="connsiteX8051" fmla="*/ 898979 w 4878487"/>
                <a:gd name="connsiteY8051" fmla="*/ 1107102 h 3690338"/>
                <a:gd name="connsiteX8052" fmla="*/ 901734 w 4878487"/>
                <a:gd name="connsiteY8052" fmla="*/ 1106315 h 3690338"/>
                <a:gd name="connsiteX8053" fmla="*/ 910389 w 4878487"/>
                <a:gd name="connsiteY8053" fmla="*/ 1109069 h 3690338"/>
                <a:gd name="connsiteX8054" fmla="*/ 914717 w 4878487"/>
                <a:gd name="connsiteY8054" fmla="*/ 1107889 h 3690338"/>
                <a:gd name="connsiteX8055" fmla="*/ 915110 w 4878487"/>
                <a:gd name="connsiteY8055" fmla="*/ 1108282 h 3690338"/>
                <a:gd name="connsiteX8056" fmla="*/ 919831 w 4878487"/>
                <a:gd name="connsiteY8056" fmla="*/ 1114970 h 3690338"/>
                <a:gd name="connsiteX8057" fmla="*/ 919831 w 4878487"/>
                <a:gd name="connsiteY8057" fmla="*/ 1115364 h 3690338"/>
                <a:gd name="connsiteX8058" fmla="*/ 922192 w 4878487"/>
                <a:gd name="connsiteY8058" fmla="*/ 1118118 h 3690338"/>
                <a:gd name="connsiteX8059" fmla="*/ 922585 w 4878487"/>
                <a:gd name="connsiteY8059" fmla="*/ 1118904 h 3690338"/>
                <a:gd name="connsiteX8060" fmla="*/ 923372 w 4878487"/>
                <a:gd name="connsiteY8060" fmla="*/ 1120085 h 3690338"/>
                <a:gd name="connsiteX8061" fmla="*/ 926126 w 4878487"/>
                <a:gd name="connsiteY8061" fmla="*/ 1122052 h 3690338"/>
                <a:gd name="connsiteX8062" fmla="*/ 926519 w 4878487"/>
                <a:gd name="connsiteY8062" fmla="*/ 1122052 h 3690338"/>
                <a:gd name="connsiteX8063" fmla="*/ 933208 w 4878487"/>
                <a:gd name="connsiteY8063" fmla="*/ 1127953 h 3690338"/>
                <a:gd name="connsiteX8064" fmla="*/ 931634 w 4878487"/>
                <a:gd name="connsiteY8064" fmla="*/ 1130314 h 3690338"/>
                <a:gd name="connsiteX8065" fmla="*/ 934388 w 4878487"/>
                <a:gd name="connsiteY8065" fmla="*/ 1128740 h 3690338"/>
                <a:gd name="connsiteX8066" fmla="*/ 950125 w 4878487"/>
                <a:gd name="connsiteY8066" fmla="*/ 1142510 h 3690338"/>
                <a:gd name="connsiteX8067" fmla="*/ 951699 w 4878487"/>
                <a:gd name="connsiteY8067" fmla="*/ 1144084 h 3690338"/>
                <a:gd name="connsiteX8068" fmla="*/ 952485 w 4878487"/>
                <a:gd name="connsiteY8068" fmla="*/ 1144084 h 3690338"/>
                <a:gd name="connsiteX8069" fmla="*/ 960354 w 4878487"/>
                <a:gd name="connsiteY8069" fmla="*/ 1149592 h 3690338"/>
                <a:gd name="connsiteX8070" fmla="*/ 961141 w 4878487"/>
                <a:gd name="connsiteY8070" fmla="*/ 1149592 h 3690338"/>
                <a:gd name="connsiteX8071" fmla="*/ 961534 w 4878487"/>
                <a:gd name="connsiteY8071" fmla="*/ 1149592 h 3690338"/>
                <a:gd name="connsiteX8072" fmla="*/ 962321 w 4878487"/>
                <a:gd name="connsiteY8072" fmla="*/ 1149592 h 3690338"/>
                <a:gd name="connsiteX8073" fmla="*/ 968222 w 4878487"/>
                <a:gd name="connsiteY8073" fmla="*/ 1148018 h 3690338"/>
                <a:gd name="connsiteX8074" fmla="*/ 969403 w 4878487"/>
                <a:gd name="connsiteY8074" fmla="*/ 1149592 h 3690338"/>
                <a:gd name="connsiteX8075" fmla="*/ 971370 w 4878487"/>
                <a:gd name="connsiteY8075" fmla="*/ 1151952 h 3690338"/>
                <a:gd name="connsiteX8076" fmla="*/ 972157 w 4878487"/>
                <a:gd name="connsiteY8076" fmla="*/ 1154313 h 3690338"/>
                <a:gd name="connsiteX8077" fmla="*/ 972550 w 4878487"/>
                <a:gd name="connsiteY8077" fmla="*/ 1155887 h 3690338"/>
                <a:gd name="connsiteX8078" fmla="*/ 972944 w 4878487"/>
                <a:gd name="connsiteY8078" fmla="*/ 1158641 h 3690338"/>
                <a:gd name="connsiteX8079" fmla="*/ 974124 w 4878487"/>
                <a:gd name="connsiteY8079" fmla="*/ 1161395 h 3690338"/>
                <a:gd name="connsiteX8080" fmla="*/ 974911 w 4878487"/>
                <a:gd name="connsiteY8080" fmla="*/ 1164542 h 3690338"/>
                <a:gd name="connsiteX8081" fmla="*/ 976091 w 4878487"/>
                <a:gd name="connsiteY8081" fmla="*/ 1165722 h 3690338"/>
                <a:gd name="connsiteX8082" fmla="*/ 981599 w 4878487"/>
                <a:gd name="connsiteY8082" fmla="*/ 1181459 h 3690338"/>
                <a:gd name="connsiteX8083" fmla="*/ 981992 w 4878487"/>
                <a:gd name="connsiteY8083" fmla="*/ 1181853 h 3690338"/>
                <a:gd name="connsiteX8084" fmla="*/ 979239 w 4878487"/>
                <a:gd name="connsiteY8084" fmla="*/ 1193262 h 3690338"/>
                <a:gd name="connsiteX8085" fmla="*/ 977665 w 4878487"/>
                <a:gd name="connsiteY8085" fmla="*/ 1194049 h 3690338"/>
                <a:gd name="connsiteX8086" fmla="*/ 976091 w 4878487"/>
                <a:gd name="connsiteY8086" fmla="*/ 1196803 h 3690338"/>
                <a:gd name="connsiteX8087" fmla="*/ 977665 w 4878487"/>
                <a:gd name="connsiteY8087" fmla="*/ 1199557 h 3690338"/>
                <a:gd name="connsiteX8088" fmla="*/ 977665 w 4878487"/>
                <a:gd name="connsiteY8088" fmla="*/ 1199950 h 3690338"/>
                <a:gd name="connsiteX8089" fmla="*/ 976485 w 4878487"/>
                <a:gd name="connsiteY8089" fmla="*/ 1202704 h 3690338"/>
                <a:gd name="connsiteX8090" fmla="*/ 974911 w 4878487"/>
                <a:gd name="connsiteY8090" fmla="*/ 1205458 h 3690338"/>
                <a:gd name="connsiteX8091" fmla="*/ 972157 w 4878487"/>
                <a:gd name="connsiteY8091" fmla="*/ 1208212 h 3690338"/>
                <a:gd name="connsiteX8092" fmla="*/ 969403 w 4878487"/>
                <a:gd name="connsiteY8092" fmla="*/ 1210573 h 3690338"/>
                <a:gd name="connsiteX8093" fmla="*/ 969403 w 4878487"/>
                <a:gd name="connsiteY8093" fmla="*/ 1213327 h 3690338"/>
                <a:gd name="connsiteX8094" fmla="*/ 969796 w 4878487"/>
                <a:gd name="connsiteY8094" fmla="*/ 1216081 h 3690338"/>
                <a:gd name="connsiteX8095" fmla="*/ 972157 w 4878487"/>
                <a:gd name="connsiteY8095" fmla="*/ 1219228 h 3690338"/>
                <a:gd name="connsiteX8096" fmla="*/ 974911 w 4878487"/>
                <a:gd name="connsiteY8096" fmla="*/ 1219622 h 3690338"/>
                <a:gd name="connsiteX8097" fmla="*/ 977665 w 4878487"/>
                <a:gd name="connsiteY8097" fmla="*/ 1219228 h 3690338"/>
                <a:gd name="connsiteX8098" fmla="*/ 980419 w 4878487"/>
                <a:gd name="connsiteY8098" fmla="*/ 1219228 h 3690338"/>
                <a:gd name="connsiteX8099" fmla="*/ 983173 w 4878487"/>
                <a:gd name="connsiteY8099" fmla="*/ 1216868 h 3690338"/>
                <a:gd name="connsiteX8100" fmla="*/ 983959 w 4878487"/>
                <a:gd name="connsiteY8100" fmla="*/ 1213720 h 3690338"/>
                <a:gd name="connsiteX8101" fmla="*/ 985533 w 4878487"/>
                <a:gd name="connsiteY8101" fmla="*/ 1210966 h 3690338"/>
                <a:gd name="connsiteX8102" fmla="*/ 987500 w 4878487"/>
                <a:gd name="connsiteY8102" fmla="*/ 1208212 h 3690338"/>
                <a:gd name="connsiteX8103" fmla="*/ 990648 w 4878487"/>
                <a:gd name="connsiteY8103" fmla="*/ 1206245 h 3690338"/>
                <a:gd name="connsiteX8104" fmla="*/ 993402 w 4878487"/>
                <a:gd name="connsiteY8104" fmla="*/ 1204672 h 3690338"/>
                <a:gd name="connsiteX8105" fmla="*/ 995369 w 4878487"/>
                <a:gd name="connsiteY8105" fmla="*/ 1201917 h 3690338"/>
                <a:gd name="connsiteX8106" fmla="*/ 1005205 w 4878487"/>
                <a:gd name="connsiteY8106" fmla="*/ 1185394 h 3690338"/>
                <a:gd name="connsiteX8107" fmla="*/ 1005205 w 4878487"/>
                <a:gd name="connsiteY8107" fmla="*/ 1185394 h 3690338"/>
                <a:gd name="connsiteX8108" fmla="*/ 1007959 w 4878487"/>
                <a:gd name="connsiteY8108" fmla="*/ 1185787 h 3690338"/>
                <a:gd name="connsiteX8109" fmla="*/ 1010713 w 4878487"/>
                <a:gd name="connsiteY8109" fmla="*/ 1184607 h 3690338"/>
                <a:gd name="connsiteX8110" fmla="*/ 1011106 w 4878487"/>
                <a:gd name="connsiteY8110" fmla="*/ 1181853 h 3690338"/>
                <a:gd name="connsiteX8111" fmla="*/ 1009532 w 4878487"/>
                <a:gd name="connsiteY8111" fmla="*/ 1179099 h 3690338"/>
                <a:gd name="connsiteX8112" fmla="*/ 1010319 w 4878487"/>
                <a:gd name="connsiteY8112" fmla="*/ 1176345 h 3690338"/>
                <a:gd name="connsiteX8113" fmla="*/ 1009532 w 4878487"/>
                <a:gd name="connsiteY8113" fmla="*/ 1173984 h 3690338"/>
                <a:gd name="connsiteX8114" fmla="*/ 1009532 w 4878487"/>
                <a:gd name="connsiteY8114" fmla="*/ 1172410 h 3690338"/>
                <a:gd name="connsiteX8115" fmla="*/ 1009532 w 4878487"/>
                <a:gd name="connsiteY8115" fmla="*/ 1169263 h 3690338"/>
                <a:gd name="connsiteX8116" fmla="*/ 1006778 w 4878487"/>
                <a:gd name="connsiteY8116" fmla="*/ 1166903 h 3690338"/>
                <a:gd name="connsiteX8117" fmla="*/ 994976 w 4878487"/>
                <a:gd name="connsiteY8117" fmla="*/ 1149198 h 3690338"/>
                <a:gd name="connsiteX8118" fmla="*/ 995762 w 4878487"/>
                <a:gd name="connsiteY8118" fmla="*/ 1144871 h 3690338"/>
                <a:gd name="connsiteX8119" fmla="*/ 996156 w 4878487"/>
                <a:gd name="connsiteY8119" fmla="*/ 1144871 h 3690338"/>
                <a:gd name="connsiteX8120" fmla="*/ 998517 w 4878487"/>
                <a:gd name="connsiteY8120" fmla="*/ 1142117 h 3690338"/>
                <a:gd name="connsiteX8121" fmla="*/ 1002057 w 4878487"/>
                <a:gd name="connsiteY8121" fmla="*/ 1135822 h 3690338"/>
                <a:gd name="connsiteX8122" fmla="*/ 1011499 w 4878487"/>
                <a:gd name="connsiteY8122" fmla="*/ 1132674 h 3690338"/>
                <a:gd name="connsiteX8123" fmla="*/ 1011893 w 4878487"/>
                <a:gd name="connsiteY8123" fmla="*/ 1132674 h 3690338"/>
                <a:gd name="connsiteX8124" fmla="*/ 1013073 w 4878487"/>
                <a:gd name="connsiteY8124" fmla="*/ 1132281 h 3690338"/>
                <a:gd name="connsiteX8125" fmla="*/ 1013466 w 4878487"/>
                <a:gd name="connsiteY8125" fmla="*/ 1133068 h 3690338"/>
                <a:gd name="connsiteX8126" fmla="*/ 1012286 w 4878487"/>
                <a:gd name="connsiteY8126" fmla="*/ 1133068 h 3690338"/>
                <a:gd name="connsiteX8127" fmla="*/ 1012680 w 4878487"/>
                <a:gd name="connsiteY8127" fmla="*/ 1133461 h 3690338"/>
                <a:gd name="connsiteX8128" fmla="*/ 1012680 w 4878487"/>
                <a:gd name="connsiteY8128" fmla="*/ 1135428 h 3690338"/>
                <a:gd name="connsiteX8129" fmla="*/ 1015827 w 4878487"/>
                <a:gd name="connsiteY8129" fmla="*/ 1137002 h 3690338"/>
                <a:gd name="connsiteX8130" fmla="*/ 1018581 w 4878487"/>
                <a:gd name="connsiteY8130" fmla="*/ 1138182 h 3690338"/>
                <a:gd name="connsiteX8131" fmla="*/ 1021335 w 4878487"/>
                <a:gd name="connsiteY8131" fmla="*/ 1138969 h 3690338"/>
                <a:gd name="connsiteX8132" fmla="*/ 1024089 w 4878487"/>
                <a:gd name="connsiteY8132" fmla="*/ 1138576 h 3690338"/>
                <a:gd name="connsiteX8133" fmla="*/ 1027236 w 4878487"/>
                <a:gd name="connsiteY8133" fmla="*/ 1138969 h 3690338"/>
                <a:gd name="connsiteX8134" fmla="*/ 1031958 w 4878487"/>
                <a:gd name="connsiteY8134" fmla="*/ 1142904 h 3690338"/>
                <a:gd name="connsiteX8135" fmla="*/ 1034712 w 4878487"/>
                <a:gd name="connsiteY8135" fmla="*/ 1149198 h 3690338"/>
                <a:gd name="connsiteX8136" fmla="*/ 1034318 w 4878487"/>
                <a:gd name="connsiteY8136" fmla="*/ 1149198 h 3690338"/>
                <a:gd name="connsiteX8137" fmla="*/ 1033925 w 4878487"/>
                <a:gd name="connsiteY8137" fmla="*/ 1149198 h 3690338"/>
                <a:gd name="connsiteX8138" fmla="*/ 1033925 w 4878487"/>
                <a:gd name="connsiteY8138" fmla="*/ 1149592 h 3690338"/>
                <a:gd name="connsiteX8139" fmla="*/ 1036285 w 4878487"/>
                <a:gd name="connsiteY8139" fmla="*/ 1152346 h 3690338"/>
                <a:gd name="connsiteX8140" fmla="*/ 1039039 w 4878487"/>
                <a:gd name="connsiteY8140" fmla="*/ 1154313 h 3690338"/>
                <a:gd name="connsiteX8141" fmla="*/ 1042187 w 4878487"/>
                <a:gd name="connsiteY8141" fmla="*/ 1155100 h 3690338"/>
                <a:gd name="connsiteX8142" fmla="*/ 1044941 w 4878487"/>
                <a:gd name="connsiteY8142" fmla="*/ 1154706 h 3690338"/>
                <a:gd name="connsiteX8143" fmla="*/ 1044941 w 4878487"/>
                <a:gd name="connsiteY8143" fmla="*/ 1151952 h 3690338"/>
                <a:gd name="connsiteX8144" fmla="*/ 1045728 w 4878487"/>
                <a:gd name="connsiteY8144" fmla="*/ 1149198 h 3690338"/>
                <a:gd name="connsiteX8145" fmla="*/ 1047302 w 4878487"/>
                <a:gd name="connsiteY8145" fmla="*/ 1146838 h 3690338"/>
                <a:gd name="connsiteX8146" fmla="*/ 1047695 w 4878487"/>
                <a:gd name="connsiteY8146" fmla="*/ 1143690 h 3690338"/>
                <a:gd name="connsiteX8147" fmla="*/ 1046514 w 4878487"/>
                <a:gd name="connsiteY8147" fmla="*/ 1140936 h 3690338"/>
                <a:gd name="connsiteX8148" fmla="*/ 1044154 w 4878487"/>
                <a:gd name="connsiteY8148" fmla="*/ 1138182 h 3690338"/>
                <a:gd name="connsiteX8149" fmla="*/ 1041400 w 4878487"/>
                <a:gd name="connsiteY8149" fmla="*/ 1135428 h 3690338"/>
                <a:gd name="connsiteX8150" fmla="*/ 1038253 w 4878487"/>
                <a:gd name="connsiteY8150" fmla="*/ 1133068 h 3690338"/>
                <a:gd name="connsiteX8151" fmla="*/ 1035499 w 4878487"/>
                <a:gd name="connsiteY8151" fmla="*/ 1131101 h 3690338"/>
                <a:gd name="connsiteX8152" fmla="*/ 1031958 w 4878487"/>
                <a:gd name="connsiteY8152" fmla="*/ 1127166 h 3690338"/>
                <a:gd name="connsiteX8153" fmla="*/ 1030384 w 4878487"/>
                <a:gd name="connsiteY8153" fmla="*/ 1125986 h 3690338"/>
                <a:gd name="connsiteX8154" fmla="*/ 1028417 w 4878487"/>
                <a:gd name="connsiteY8154" fmla="*/ 1125593 h 3690338"/>
                <a:gd name="connsiteX8155" fmla="*/ 1024876 w 4878487"/>
                <a:gd name="connsiteY8155" fmla="*/ 1123626 h 3690338"/>
                <a:gd name="connsiteX8156" fmla="*/ 1024876 w 4878487"/>
                <a:gd name="connsiteY8156" fmla="*/ 1123626 h 3690338"/>
                <a:gd name="connsiteX8157" fmla="*/ 1024876 w 4878487"/>
                <a:gd name="connsiteY8157" fmla="*/ 1123626 h 3690338"/>
                <a:gd name="connsiteX8158" fmla="*/ 1016221 w 4878487"/>
                <a:gd name="connsiteY8158" fmla="*/ 1119298 h 3690338"/>
                <a:gd name="connsiteX8159" fmla="*/ 1018975 w 4878487"/>
                <a:gd name="connsiteY8159" fmla="*/ 1121659 h 3690338"/>
                <a:gd name="connsiteX8160" fmla="*/ 1016221 w 4878487"/>
                <a:gd name="connsiteY8160" fmla="*/ 1119298 h 3690338"/>
                <a:gd name="connsiteX8161" fmla="*/ 1016221 w 4878487"/>
                <a:gd name="connsiteY8161" fmla="*/ 1119298 h 3690338"/>
                <a:gd name="connsiteX8162" fmla="*/ 1011893 w 4878487"/>
                <a:gd name="connsiteY8162" fmla="*/ 1115757 h 3690338"/>
                <a:gd name="connsiteX8163" fmla="*/ 1009139 w 4878487"/>
                <a:gd name="connsiteY8163" fmla="*/ 1114183 h 3690338"/>
                <a:gd name="connsiteX8164" fmla="*/ 1005992 w 4878487"/>
                <a:gd name="connsiteY8164" fmla="*/ 1112610 h 3690338"/>
                <a:gd name="connsiteX8165" fmla="*/ 1003237 w 4878487"/>
                <a:gd name="connsiteY8165" fmla="*/ 1111823 h 3690338"/>
                <a:gd name="connsiteX8166" fmla="*/ 1000484 w 4878487"/>
                <a:gd name="connsiteY8166" fmla="*/ 1111036 h 3690338"/>
                <a:gd name="connsiteX8167" fmla="*/ 997729 w 4878487"/>
                <a:gd name="connsiteY8167" fmla="*/ 1109462 h 3690338"/>
                <a:gd name="connsiteX8168" fmla="*/ 994582 w 4878487"/>
                <a:gd name="connsiteY8168" fmla="*/ 1108675 h 3690338"/>
                <a:gd name="connsiteX8169" fmla="*/ 991828 w 4878487"/>
                <a:gd name="connsiteY8169" fmla="*/ 1107102 h 3690338"/>
                <a:gd name="connsiteX8170" fmla="*/ 990648 w 4878487"/>
                <a:gd name="connsiteY8170" fmla="*/ 1106708 h 3690338"/>
                <a:gd name="connsiteX8171" fmla="*/ 983566 w 4878487"/>
                <a:gd name="connsiteY8171" fmla="*/ 1103167 h 3690338"/>
                <a:gd name="connsiteX8172" fmla="*/ 975304 w 4878487"/>
                <a:gd name="connsiteY8172" fmla="*/ 1098053 h 3690338"/>
                <a:gd name="connsiteX8173" fmla="*/ 974518 w 4878487"/>
                <a:gd name="connsiteY8173" fmla="*/ 1096873 h 3690338"/>
                <a:gd name="connsiteX8174" fmla="*/ 976091 w 4878487"/>
                <a:gd name="connsiteY8174" fmla="*/ 1094119 h 3690338"/>
                <a:gd name="connsiteX8175" fmla="*/ 978845 w 4878487"/>
                <a:gd name="connsiteY8175" fmla="*/ 1092545 h 3690338"/>
                <a:gd name="connsiteX8176" fmla="*/ 981599 w 4878487"/>
                <a:gd name="connsiteY8176" fmla="*/ 1090184 h 3690338"/>
                <a:gd name="connsiteX8177" fmla="*/ 981992 w 4878487"/>
                <a:gd name="connsiteY8177" fmla="*/ 1087430 h 3690338"/>
                <a:gd name="connsiteX8178" fmla="*/ 979239 w 4878487"/>
                <a:gd name="connsiteY8178" fmla="*/ 1084676 h 3690338"/>
                <a:gd name="connsiteX8179" fmla="*/ 976485 w 4878487"/>
                <a:gd name="connsiteY8179" fmla="*/ 1084283 h 3690338"/>
                <a:gd name="connsiteX8180" fmla="*/ 973730 w 4878487"/>
                <a:gd name="connsiteY8180" fmla="*/ 1084676 h 3690338"/>
                <a:gd name="connsiteX8181" fmla="*/ 970977 w 4878487"/>
                <a:gd name="connsiteY8181" fmla="*/ 1085070 h 3690338"/>
                <a:gd name="connsiteX8182" fmla="*/ 965075 w 4878487"/>
                <a:gd name="connsiteY8182" fmla="*/ 1085070 h 3690338"/>
                <a:gd name="connsiteX8183" fmla="*/ 962321 w 4878487"/>
                <a:gd name="connsiteY8183" fmla="*/ 1085463 h 3690338"/>
                <a:gd name="connsiteX8184" fmla="*/ 959567 w 4878487"/>
                <a:gd name="connsiteY8184" fmla="*/ 1085070 h 3690338"/>
                <a:gd name="connsiteX8185" fmla="*/ 956813 w 4878487"/>
                <a:gd name="connsiteY8185" fmla="*/ 1084676 h 3690338"/>
                <a:gd name="connsiteX8186" fmla="*/ 953666 w 4878487"/>
                <a:gd name="connsiteY8186" fmla="*/ 1084283 h 3690338"/>
                <a:gd name="connsiteX8187" fmla="*/ 950125 w 4878487"/>
                <a:gd name="connsiteY8187" fmla="*/ 1081922 h 3690338"/>
                <a:gd name="connsiteX8188" fmla="*/ 943437 w 4878487"/>
                <a:gd name="connsiteY8188" fmla="*/ 1079562 h 3690338"/>
                <a:gd name="connsiteX8189" fmla="*/ 942256 w 4878487"/>
                <a:gd name="connsiteY8189" fmla="*/ 1078382 h 3690338"/>
                <a:gd name="connsiteX8190" fmla="*/ 940289 w 4878487"/>
                <a:gd name="connsiteY8190" fmla="*/ 1075234 h 3690338"/>
                <a:gd name="connsiteX8191" fmla="*/ 937535 w 4878487"/>
                <a:gd name="connsiteY8191" fmla="*/ 1073660 h 3690338"/>
                <a:gd name="connsiteX8192" fmla="*/ 933995 w 4878487"/>
                <a:gd name="connsiteY8192" fmla="*/ 1070907 h 3690338"/>
                <a:gd name="connsiteX8193" fmla="*/ 932421 w 4878487"/>
                <a:gd name="connsiteY8193" fmla="*/ 1068939 h 3690338"/>
                <a:gd name="connsiteX8194" fmla="*/ 929667 w 4878487"/>
                <a:gd name="connsiteY8194" fmla="*/ 1066972 h 3690338"/>
                <a:gd name="connsiteX8195" fmla="*/ 926519 w 4878487"/>
                <a:gd name="connsiteY8195" fmla="*/ 1064218 h 3690338"/>
                <a:gd name="connsiteX8196" fmla="*/ 924946 w 4878487"/>
                <a:gd name="connsiteY8196" fmla="*/ 1062251 h 3690338"/>
                <a:gd name="connsiteX8197" fmla="*/ 922585 w 4878487"/>
                <a:gd name="connsiteY8197" fmla="*/ 1059497 h 3690338"/>
                <a:gd name="connsiteX8198" fmla="*/ 922585 w 4878487"/>
                <a:gd name="connsiteY8198" fmla="*/ 1059104 h 3690338"/>
                <a:gd name="connsiteX8199" fmla="*/ 921011 w 4878487"/>
                <a:gd name="connsiteY8199" fmla="*/ 1056350 h 3690338"/>
                <a:gd name="connsiteX8200" fmla="*/ 919438 w 4878487"/>
                <a:gd name="connsiteY8200" fmla="*/ 1051629 h 3690338"/>
                <a:gd name="connsiteX8201" fmla="*/ 917864 w 4878487"/>
                <a:gd name="connsiteY8201" fmla="*/ 1047301 h 3690338"/>
                <a:gd name="connsiteX8202" fmla="*/ 917864 w 4878487"/>
                <a:gd name="connsiteY8202" fmla="*/ 1045334 h 3690338"/>
                <a:gd name="connsiteX8203" fmla="*/ 916290 w 4878487"/>
                <a:gd name="connsiteY8203" fmla="*/ 1042580 h 3690338"/>
                <a:gd name="connsiteX8204" fmla="*/ 915897 w 4878487"/>
                <a:gd name="connsiteY8204" fmla="*/ 1041006 h 3690338"/>
                <a:gd name="connsiteX8205" fmla="*/ 914717 w 4878487"/>
                <a:gd name="connsiteY8205" fmla="*/ 1038252 h 3690338"/>
                <a:gd name="connsiteX8206" fmla="*/ 914323 w 4878487"/>
                <a:gd name="connsiteY8206" fmla="*/ 1037859 h 3690338"/>
                <a:gd name="connsiteX8207" fmla="*/ 913930 w 4878487"/>
                <a:gd name="connsiteY8207" fmla="*/ 1036285 h 3690338"/>
                <a:gd name="connsiteX8208" fmla="*/ 912356 w 4878487"/>
                <a:gd name="connsiteY8208" fmla="*/ 1033531 h 3690338"/>
                <a:gd name="connsiteX8209" fmla="*/ 911569 w 4878487"/>
                <a:gd name="connsiteY8209" fmla="*/ 1031957 h 3690338"/>
                <a:gd name="connsiteX8210" fmla="*/ 910389 w 4878487"/>
                <a:gd name="connsiteY8210" fmla="*/ 1029203 h 3690338"/>
                <a:gd name="connsiteX8211" fmla="*/ 907635 w 4878487"/>
                <a:gd name="connsiteY8211" fmla="*/ 1027630 h 3690338"/>
                <a:gd name="connsiteX8212" fmla="*/ 904881 w 4878487"/>
                <a:gd name="connsiteY8212" fmla="*/ 1026449 h 3690338"/>
                <a:gd name="connsiteX8213" fmla="*/ 902127 w 4878487"/>
                <a:gd name="connsiteY8213" fmla="*/ 1024876 h 3690338"/>
                <a:gd name="connsiteX8214" fmla="*/ 898979 w 4878487"/>
                <a:gd name="connsiteY8214" fmla="*/ 1022515 h 3690338"/>
                <a:gd name="connsiteX8215" fmla="*/ 898979 w 4878487"/>
                <a:gd name="connsiteY8215" fmla="*/ 1022122 h 3690338"/>
                <a:gd name="connsiteX8216" fmla="*/ 896226 w 4878487"/>
                <a:gd name="connsiteY8216" fmla="*/ 1019761 h 3690338"/>
                <a:gd name="connsiteX8217" fmla="*/ 893471 w 4878487"/>
                <a:gd name="connsiteY8217" fmla="*/ 1017794 h 3690338"/>
                <a:gd name="connsiteX8218" fmla="*/ 890718 w 4878487"/>
                <a:gd name="connsiteY8218" fmla="*/ 1016220 h 3690338"/>
                <a:gd name="connsiteX8219" fmla="*/ 887964 w 4878487"/>
                <a:gd name="connsiteY8219" fmla="*/ 1014646 h 3690338"/>
                <a:gd name="connsiteX8220" fmla="*/ 883242 w 4878487"/>
                <a:gd name="connsiteY8220" fmla="*/ 1011106 h 3690338"/>
                <a:gd name="connsiteX8221" fmla="*/ 877734 w 4878487"/>
                <a:gd name="connsiteY8221" fmla="*/ 1005598 h 3690338"/>
                <a:gd name="connsiteX8222" fmla="*/ 874981 w 4878487"/>
                <a:gd name="connsiteY8222" fmla="*/ 993008 h 3690338"/>
                <a:gd name="connsiteX8223" fmla="*/ 874587 w 4878487"/>
                <a:gd name="connsiteY8223" fmla="*/ 992615 h 3690338"/>
                <a:gd name="connsiteX8224" fmla="*/ 874194 w 4878487"/>
                <a:gd name="connsiteY8224" fmla="*/ 991041 h 3690338"/>
                <a:gd name="connsiteX8225" fmla="*/ 874587 w 4878487"/>
                <a:gd name="connsiteY8225" fmla="*/ 986320 h 3690338"/>
                <a:gd name="connsiteX8226" fmla="*/ 878128 w 4878487"/>
                <a:gd name="connsiteY8226" fmla="*/ 987107 h 3690338"/>
                <a:gd name="connsiteX8227" fmla="*/ 878521 w 4878487"/>
                <a:gd name="connsiteY8227" fmla="*/ 986713 h 3690338"/>
                <a:gd name="connsiteX8228" fmla="*/ 879701 w 4878487"/>
                <a:gd name="connsiteY8228" fmla="*/ 985926 h 3690338"/>
                <a:gd name="connsiteX8229" fmla="*/ 881275 w 4878487"/>
                <a:gd name="connsiteY8229" fmla="*/ 983172 h 3690338"/>
                <a:gd name="connsiteX8230" fmla="*/ 881669 w 4878487"/>
                <a:gd name="connsiteY8230" fmla="*/ 981599 h 3690338"/>
                <a:gd name="connsiteX8231" fmla="*/ 879308 w 4878487"/>
                <a:gd name="connsiteY8231" fmla="*/ 980418 h 3690338"/>
                <a:gd name="connsiteX8232" fmla="*/ 875767 w 4878487"/>
                <a:gd name="connsiteY8232" fmla="*/ 974910 h 3690338"/>
                <a:gd name="connsiteX8233" fmla="*/ 874194 w 4878487"/>
                <a:gd name="connsiteY8233" fmla="*/ 973337 h 3690338"/>
                <a:gd name="connsiteX8234" fmla="*/ 872620 w 4878487"/>
                <a:gd name="connsiteY8234" fmla="*/ 972943 h 3690338"/>
                <a:gd name="connsiteX8235" fmla="*/ 872227 w 4878487"/>
                <a:gd name="connsiteY8235" fmla="*/ 971370 h 3690338"/>
                <a:gd name="connsiteX8236" fmla="*/ 871046 w 4878487"/>
                <a:gd name="connsiteY8236" fmla="*/ 970976 h 3690338"/>
                <a:gd name="connsiteX8237" fmla="*/ 871046 w 4878487"/>
                <a:gd name="connsiteY8237" fmla="*/ 970583 h 3690338"/>
                <a:gd name="connsiteX8238" fmla="*/ 871440 w 4878487"/>
                <a:gd name="connsiteY8238" fmla="*/ 970189 h 3690338"/>
                <a:gd name="connsiteX8239" fmla="*/ 871833 w 4878487"/>
                <a:gd name="connsiteY8239" fmla="*/ 970583 h 3690338"/>
                <a:gd name="connsiteX8240" fmla="*/ 872227 w 4878487"/>
                <a:gd name="connsiteY8240" fmla="*/ 970583 h 3690338"/>
                <a:gd name="connsiteX8241" fmla="*/ 873800 w 4878487"/>
                <a:gd name="connsiteY8241" fmla="*/ 968222 h 3690338"/>
                <a:gd name="connsiteX8242" fmla="*/ 874194 w 4878487"/>
                <a:gd name="connsiteY8242" fmla="*/ 965468 h 3690338"/>
                <a:gd name="connsiteX8243" fmla="*/ 874587 w 4878487"/>
                <a:gd name="connsiteY8243" fmla="*/ 965075 h 3690338"/>
                <a:gd name="connsiteX8244" fmla="*/ 878521 w 4878487"/>
                <a:gd name="connsiteY8244" fmla="*/ 965468 h 3690338"/>
                <a:gd name="connsiteX8245" fmla="*/ 880489 w 4878487"/>
                <a:gd name="connsiteY8245" fmla="*/ 965468 h 3690338"/>
                <a:gd name="connsiteX8246" fmla="*/ 883242 w 4878487"/>
                <a:gd name="connsiteY8246" fmla="*/ 964288 h 3690338"/>
                <a:gd name="connsiteX8247" fmla="*/ 885997 w 4878487"/>
                <a:gd name="connsiteY8247" fmla="*/ 963108 h 3690338"/>
                <a:gd name="connsiteX8248" fmla="*/ 896226 w 4878487"/>
                <a:gd name="connsiteY8248" fmla="*/ 959173 h 3690338"/>
                <a:gd name="connsiteX8249" fmla="*/ 900947 w 4878487"/>
                <a:gd name="connsiteY8249" fmla="*/ 955633 h 3690338"/>
                <a:gd name="connsiteX8250" fmla="*/ 903307 w 4878487"/>
                <a:gd name="connsiteY8250" fmla="*/ 956026 h 3690338"/>
                <a:gd name="connsiteX8251" fmla="*/ 904094 w 4878487"/>
                <a:gd name="connsiteY8251" fmla="*/ 956419 h 3690338"/>
                <a:gd name="connsiteX8252" fmla="*/ 904094 w 4878487"/>
                <a:gd name="connsiteY8252" fmla="*/ 957993 h 3690338"/>
                <a:gd name="connsiteX8253" fmla="*/ 906061 w 4878487"/>
                <a:gd name="connsiteY8253" fmla="*/ 957206 h 3690338"/>
                <a:gd name="connsiteX8254" fmla="*/ 908815 w 4878487"/>
                <a:gd name="connsiteY8254" fmla="*/ 954846 h 3690338"/>
                <a:gd name="connsiteX8255" fmla="*/ 912749 w 4878487"/>
                <a:gd name="connsiteY8255" fmla="*/ 961140 h 3690338"/>
                <a:gd name="connsiteX8256" fmla="*/ 912356 w 4878487"/>
                <a:gd name="connsiteY8256" fmla="*/ 962714 h 3690338"/>
                <a:gd name="connsiteX8257" fmla="*/ 910389 w 4878487"/>
                <a:gd name="connsiteY8257" fmla="*/ 963108 h 3690338"/>
                <a:gd name="connsiteX8258" fmla="*/ 909208 w 4878487"/>
                <a:gd name="connsiteY8258" fmla="*/ 965075 h 3690338"/>
                <a:gd name="connsiteX8259" fmla="*/ 906455 w 4878487"/>
                <a:gd name="connsiteY8259" fmla="*/ 964681 h 3690338"/>
                <a:gd name="connsiteX8260" fmla="*/ 907635 w 4878487"/>
                <a:gd name="connsiteY8260" fmla="*/ 967435 h 3690338"/>
                <a:gd name="connsiteX8261" fmla="*/ 909602 w 4878487"/>
                <a:gd name="connsiteY8261" fmla="*/ 970189 h 3690338"/>
                <a:gd name="connsiteX8262" fmla="*/ 908815 w 4878487"/>
                <a:gd name="connsiteY8262" fmla="*/ 970583 h 3690338"/>
                <a:gd name="connsiteX8263" fmla="*/ 909208 w 4878487"/>
                <a:gd name="connsiteY8263" fmla="*/ 973337 h 3690338"/>
                <a:gd name="connsiteX8264" fmla="*/ 909996 w 4878487"/>
                <a:gd name="connsiteY8264" fmla="*/ 976484 h 3690338"/>
                <a:gd name="connsiteX8265" fmla="*/ 912749 w 4878487"/>
                <a:gd name="connsiteY8265" fmla="*/ 976484 h 3690338"/>
                <a:gd name="connsiteX8266" fmla="*/ 911176 w 4878487"/>
                <a:gd name="connsiteY8266" fmla="*/ 978845 h 3690338"/>
                <a:gd name="connsiteX8267" fmla="*/ 913143 w 4878487"/>
                <a:gd name="connsiteY8267" fmla="*/ 981205 h 3690338"/>
                <a:gd name="connsiteX8268" fmla="*/ 915110 w 4878487"/>
                <a:gd name="connsiteY8268" fmla="*/ 984353 h 3690338"/>
                <a:gd name="connsiteX8269" fmla="*/ 915504 w 4878487"/>
                <a:gd name="connsiteY8269" fmla="*/ 985926 h 3690338"/>
                <a:gd name="connsiteX8270" fmla="*/ 918257 w 4878487"/>
                <a:gd name="connsiteY8270" fmla="*/ 988680 h 3690338"/>
                <a:gd name="connsiteX8271" fmla="*/ 919831 w 4878487"/>
                <a:gd name="connsiteY8271" fmla="*/ 986713 h 3690338"/>
                <a:gd name="connsiteX8272" fmla="*/ 921011 w 4878487"/>
                <a:gd name="connsiteY8272" fmla="*/ 983959 h 3690338"/>
                <a:gd name="connsiteX8273" fmla="*/ 921798 w 4878487"/>
                <a:gd name="connsiteY8273" fmla="*/ 979632 h 3690338"/>
                <a:gd name="connsiteX8274" fmla="*/ 922585 w 4878487"/>
                <a:gd name="connsiteY8274" fmla="*/ 981205 h 3690338"/>
                <a:gd name="connsiteX8275" fmla="*/ 924946 w 4878487"/>
                <a:gd name="connsiteY8275" fmla="*/ 981205 h 3690338"/>
                <a:gd name="connsiteX8276" fmla="*/ 926519 w 4878487"/>
                <a:gd name="connsiteY8276" fmla="*/ 975697 h 3690338"/>
                <a:gd name="connsiteX8277" fmla="*/ 928880 w 4878487"/>
                <a:gd name="connsiteY8277" fmla="*/ 969009 h 3690338"/>
                <a:gd name="connsiteX8278" fmla="*/ 936355 w 4878487"/>
                <a:gd name="connsiteY8278" fmla="*/ 973337 h 3690338"/>
                <a:gd name="connsiteX8279" fmla="*/ 943830 w 4878487"/>
                <a:gd name="connsiteY8279" fmla="*/ 980025 h 3690338"/>
                <a:gd name="connsiteX8280" fmla="*/ 944223 w 4878487"/>
                <a:gd name="connsiteY8280" fmla="*/ 981205 h 3690338"/>
                <a:gd name="connsiteX8281" fmla="*/ 944617 w 4878487"/>
                <a:gd name="connsiteY8281" fmla="*/ 983566 h 3690338"/>
                <a:gd name="connsiteX8282" fmla="*/ 944617 w 4878487"/>
                <a:gd name="connsiteY8282" fmla="*/ 983959 h 3690338"/>
                <a:gd name="connsiteX8283" fmla="*/ 943830 w 4878487"/>
                <a:gd name="connsiteY8283" fmla="*/ 986713 h 3690338"/>
                <a:gd name="connsiteX8284" fmla="*/ 944223 w 4878487"/>
                <a:gd name="connsiteY8284" fmla="*/ 989467 h 3690338"/>
                <a:gd name="connsiteX8285" fmla="*/ 945011 w 4878487"/>
                <a:gd name="connsiteY8285" fmla="*/ 992221 h 3690338"/>
                <a:gd name="connsiteX8286" fmla="*/ 946978 w 4878487"/>
                <a:gd name="connsiteY8286" fmla="*/ 994975 h 3690338"/>
                <a:gd name="connsiteX8287" fmla="*/ 954846 w 4878487"/>
                <a:gd name="connsiteY8287" fmla="*/ 1001663 h 3690338"/>
                <a:gd name="connsiteX8288" fmla="*/ 956026 w 4878487"/>
                <a:gd name="connsiteY8288" fmla="*/ 1002450 h 3690338"/>
                <a:gd name="connsiteX8289" fmla="*/ 959174 w 4878487"/>
                <a:gd name="connsiteY8289" fmla="*/ 1004024 h 3690338"/>
                <a:gd name="connsiteX8290" fmla="*/ 961928 w 4878487"/>
                <a:gd name="connsiteY8290" fmla="*/ 1005598 h 3690338"/>
                <a:gd name="connsiteX8291" fmla="*/ 961928 w 4878487"/>
                <a:gd name="connsiteY8291" fmla="*/ 1005991 h 3690338"/>
                <a:gd name="connsiteX8292" fmla="*/ 959567 w 4878487"/>
                <a:gd name="connsiteY8292" fmla="*/ 1005598 h 3690338"/>
                <a:gd name="connsiteX8293" fmla="*/ 956813 w 4878487"/>
                <a:gd name="connsiteY8293" fmla="*/ 1004417 h 3690338"/>
                <a:gd name="connsiteX8294" fmla="*/ 954059 w 4878487"/>
                <a:gd name="connsiteY8294" fmla="*/ 1004811 h 3690338"/>
                <a:gd name="connsiteX8295" fmla="*/ 950912 w 4878487"/>
                <a:gd name="connsiteY8295" fmla="*/ 1005204 h 3690338"/>
                <a:gd name="connsiteX8296" fmla="*/ 952485 w 4878487"/>
                <a:gd name="connsiteY8296" fmla="*/ 1007958 h 3690338"/>
                <a:gd name="connsiteX8297" fmla="*/ 955240 w 4878487"/>
                <a:gd name="connsiteY8297" fmla="*/ 1010712 h 3690338"/>
                <a:gd name="connsiteX8298" fmla="*/ 957993 w 4878487"/>
                <a:gd name="connsiteY8298" fmla="*/ 1013860 h 3690338"/>
                <a:gd name="connsiteX8299" fmla="*/ 960354 w 4878487"/>
                <a:gd name="connsiteY8299" fmla="*/ 1016220 h 3690338"/>
                <a:gd name="connsiteX8300" fmla="*/ 963501 w 4878487"/>
                <a:gd name="connsiteY8300" fmla="*/ 1018581 h 3690338"/>
                <a:gd name="connsiteX8301" fmla="*/ 965862 w 4878487"/>
                <a:gd name="connsiteY8301" fmla="*/ 1020548 h 3690338"/>
                <a:gd name="connsiteX8302" fmla="*/ 969010 w 4878487"/>
                <a:gd name="connsiteY8302" fmla="*/ 1022122 h 3690338"/>
                <a:gd name="connsiteX8303" fmla="*/ 971763 w 4878487"/>
                <a:gd name="connsiteY8303" fmla="*/ 1023302 h 3690338"/>
                <a:gd name="connsiteX8304" fmla="*/ 973730 w 4878487"/>
                <a:gd name="connsiteY8304" fmla="*/ 1027236 h 3690338"/>
                <a:gd name="connsiteX8305" fmla="*/ 973730 w 4878487"/>
                <a:gd name="connsiteY8305" fmla="*/ 1028023 h 3690338"/>
                <a:gd name="connsiteX8306" fmla="*/ 975698 w 4878487"/>
                <a:gd name="connsiteY8306" fmla="*/ 1030777 h 3690338"/>
                <a:gd name="connsiteX8307" fmla="*/ 978452 w 4878487"/>
                <a:gd name="connsiteY8307" fmla="*/ 1031564 h 3690338"/>
                <a:gd name="connsiteX8308" fmla="*/ 981206 w 4878487"/>
                <a:gd name="connsiteY8308" fmla="*/ 1029990 h 3690338"/>
                <a:gd name="connsiteX8309" fmla="*/ 983959 w 4878487"/>
                <a:gd name="connsiteY8309" fmla="*/ 1029203 h 3690338"/>
                <a:gd name="connsiteX8310" fmla="*/ 991041 w 4878487"/>
                <a:gd name="connsiteY8310" fmla="*/ 1031170 h 3690338"/>
                <a:gd name="connsiteX8311" fmla="*/ 994189 w 4878487"/>
                <a:gd name="connsiteY8311" fmla="*/ 1032351 h 3690338"/>
                <a:gd name="connsiteX8312" fmla="*/ 996943 w 4878487"/>
                <a:gd name="connsiteY8312" fmla="*/ 1033531 h 3690338"/>
                <a:gd name="connsiteX8313" fmla="*/ 999697 w 4878487"/>
                <a:gd name="connsiteY8313" fmla="*/ 1033924 h 3690338"/>
                <a:gd name="connsiteX8314" fmla="*/ 1002451 w 4878487"/>
                <a:gd name="connsiteY8314" fmla="*/ 1036678 h 3690338"/>
                <a:gd name="connsiteX8315" fmla="*/ 1005205 w 4878487"/>
                <a:gd name="connsiteY8315" fmla="*/ 1039432 h 3690338"/>
                <a:gd name="connsiteX8316" fmla="*/ 1007959 w 4878487"/>
                <a:gd name="connsiteY8316" fmla="*/ 1041400 h 3690338"/>
                <a:gd name="connsiteX8317" fmla="*/ 1010713 w 4878487"/>
                <a:gd name="connsiteY8317" fmla="*/ 1042580 h 3690338"/>
                <a:gd name="connsiteX8318" fmla="*/ 1014647 w 4878487"/>
                <a:gd name="connsiteY8318" fmla="*/ 1045334 h 3690338"/>
                <a:gd name="connsiteX8319" fmla="*/ 1015040 w 4878487"/>
                <a:gd name="connsiteY8319" fmla="*/ 1045727 h 3690338"/>
                <a:gd name="connsiteX8320" fmla="*/ 1015827 w 4878487"/>
                <a:gd name="connsiteY8320" fmla="*/ 1046121 h 3690338"/>
                <a:gd name="connsiteX8321" fmla="*/ 1016221 w 4878487"/>
                <a:gd name="connsiteY8321" fmla="*/ 1047694 h 3690338"/>
                <a:gd name="connsiteX8322" fmla="*/ 1018975 w 4878487"/>
                <a:gd name="connsiteY8322" fmla="*/ 1049268 h 3690338"/>
                <a:gd name="connsiteX8323" fmla="*/ 1021335 w 4878487"/>
                <a:gd name="connsiteY8323" fmla="*/ 1051235 h 3690338"/>
                <a:gd name="connsiteX8324" fmla="*/ 1023302 w 4878487"/>
                <a:gd name="connsiteY8324" fmla="*/ 1052809 h 3690338"/>
                <a:gd name="connsiteX8325" fmla="*/ 1020548 w 4878487"/>
                <a:gd name="connsiteY8325" fmla="*/ 1051235 h 3690338"/>
                <a:gd name="connsiteX8326" fmla="*/ 1017795 w 4878487"/>
                <a:gd name="connsiteY8326" fmla="*/ 1050842 h 3690338"/>
                <a:gd name="connsiteX8327" fmla="*/ 1015040 w 4878487"/>
                <a:gd name="connsiteY8327" fmla="*/ 1048875 h 3690338"/>
                <a:gd name="connsiteX8328" fmla="*/ 1011893 w 4878487"/>
                <a:gd name="connsiteY8328" fmla="*/ 1047301 h 3690338"/>
                <a:gd name="connsiteX8329" fmla="*/ 1009139 w 4878487"/>
                <a:gd name="connsiteY8329" fmla="*/ 1046907 h 3690338"/>
                <a:gd name="connsiteX8330" fmla="*/ 1006385 w 4878487"/>
                <a:gd name="connsiteY8330" fmla="*/ 1048481 h 3690338"/>
                <a:gd name="connsiteX8331" fmla="*/ 1009139 w 4878487"/>
                <a:gd name="connsiteY8331" fmla="*/ 1048481 h 3690338"/>
                <a:gd name="connsiteX8332" fmla="*/ 1011893 w 4878487"/>
                <a:gd name="connsiteY8332" fmla="*/ 1050055 h 3690338"/>
                <a:gd name="connsiteX8333" fmla="*/ 1015040 w 4878487"/>
                <a:gd name="connsiteY8333" fmla="*/ 1050842 h 3690338"/>
                <a:gd name="connsiteX8334" fmla="*/ 1017795 w 4878487"/>
                <a:gd name="connsiteY8334" fmla="*/ 1052809 h 3690338"/>
                <a:gd name="connsiteX8335" fmla="*/ 1020548 w 4878487"/>
                <a:gd name="connsiteY8335" fmla="*/ 1053596 h 3690338"/>
                <a:gd name="connsiteX8336" fmla="*/ 1023696 w 4878487"/>
                <a:gd name="connsiteY8336" fmla="*/ 1053989 h 3690338"/>
                <a:gd name="connsiteX8337" fmla="*/ 1026056 w 4878487"/>
                <a:gd name="connsiteY8337" fmla="*/ 1054383 h 3690338"/>
                <a:gd name="connsiteX8338" fmla="*/ 1026843 w 4878487"/>
                <a:gd name="connsiteY8338" fmla="*/ 1054776 h 3690338"/>
                <a:gd name="connsiteX8339" fmla="*/ 1029204 w 4878487"/>
                <a:gd name="connsiteY8339" fmla="*/ 1056743 h 3690338"/>
                <a:gd name="connsiteX8340" fmla="*/ 1031958 w 4878487"/>
                <a:gd name="connsiteY8340" fmla="*/ 1057923 h 3690338"/>
                <a:gd name="connsiteX8341" fmla="*/ 1031958 w 4878487"/>
                <a:gd name="connsiteY8341" fmla="*/ 1058317 h 3690338"/>
                <a:gd name="connsiteX8342" fmla="*/ 1033532 w 4878487"/>
                <a:gd name="connsiteY8342" fmla="*/ 1059891 h 3690338"/>
                <a:gd name="connsiteX8343" fmla="*/ 1038253 w 4878487"/>
                <a:gd name="connsiteY8343" fmla="*/ 1062645 h 3690338"/>
                <a:gd name="connsiteX8344" fmla="*/ 1039039 w 4878487"/>
                <a:gd name="connsiteY8344" fmla="*/ 1063825 h 3690338"/>
                <a:gd name="connsiteX8345" fmla="*/ 1041793 w 4878487"/>
                <a:gd name="connsiteY8345" fmla="*/ 1065398 h 3690338"/>
                <a:gd name="connsiteX8346" fmla="*/ 1044941 w 4878487"/>
                <a:gd name="connsiteY8346" fmla="*/ 1066185 h 3690338"/>
                <a:gd name="connsiteX8347" fmla="*/ 1046514 w 4878487"/>
                <a:gd name="connsiteY8347" fmla="*/ 1066185 h 3690338"/>
                <a:gd name="connsiteX8348" fmla="*/ 1049269 w 4878487"/>
                <a:gd name="connsiteY8348" fmla="*/ 1065792 h 3690338"/>
                <a:gd name="connsiteX8349" fmla="*/ 1051629 w 4878487"/>
                <a:gd name="connsiteY8349" fmla="*/ 1064612 h 3690338"/>
                <a:gd name="connsiteX8350" fmla="*/ 1052022 w 4878487"/>
                <a:gd name="connsiteY8350" fmla="*/ 1066185 h 3690338"/>
                <a:gd name="connsiteX8351" fmla="*/ 1052416 w 4878487"/>
                <a:gd name="connsiteY8351" fmla="*/ 1066579 h 3690338"/>
                <a:gd name="connsiteX8352" fmla="*/ 1052022 w 4878487"/>
                <a:gd name="connsiteY8352" fmla="*/ 1066972 h 3690338"/>
                <a:gd name="connsiteX8353" fmla="*/ 1049662 w 4878487"/>
                <a:gd name="connsiteY8353" fmla="*/ 1065792 h 3690338"/>
                <a:gd name="connsiteX8354" fmla="*/ 1049662 w 4878487"/>
                <a:gd name="connsiteY8354" fmla="*/ 1067366 h 3690338"/>
                <a:gd name="connsiteX8355" fmla="*/ 1046908 w 4878487"/>
                <a:gd name="connsiteY8355" fmla="*/ 1067759 h 3690338"/>
                <a:gd name="connsiteX8356" fmla="*/ 1049662 w 4878487"/>
                <a:gd name="connsiteY8356" fmla="*/ 1068153 h 3690338"/>
                <a:gd name="connsiteX8357" fmla="*/ 1051629 w 4878487"/>
                <a:gd name="connsiteY8357" fmla="*/ 1070907 h 3690338"/>
                <a:gd name="connsiteX8358" fmla="*/ 1052416 w 4878487"/>
                <a:gd name="connsiteY8358" fmla="*/ 1071693 h 3690338"/>
                <a:gd name="connsiteX8359" fmla="*/ 1052809 w 4878487"/>
                <a:gd name="connsiteY8359" fmla="*/ 1071693 h 3690338"/>
                <a:gd name="connsiteX8360" fmla="*/ 1057531 w 4878487"/>
                <a:gd name="connsiteY8360" fmla="*/ 1074447 h 3690338"/>
                <a:gd name="connsiteX8361" fmla="*/ 1062645 w 4878487"/>
                <a:gd name="connsiteY8361" fmla="*/ 1081529 h 3690338"/>
                <a:gd name="connsiteX8362" fmla="*/ 1063039 w 4878487"/>
                <a:gd name="connsiteY8362" fmla="*/ 1081922 h 3690338"/>
                <a:gd name="connsiteX8363" fmla="*/ 1065792 w 4878487"/>
                <a:gd name="connsiteY8363" fmla="*/ 1083890 h 3690338"/>
                <a:gd name="connsiteX8364" fmla="*/ 1068546 w 4878487"/>
                <a:gd name="connsiteY8364" fmla="*/ 1085463 h 3690338"/>
                <a:gd name="connsiteX8365" fmla="*/ 1069333 w 4878487"/>
                <a:gd name="connsiteY8365" fmla="*/ 1085857 h 3690338"/>
                <a:gd name="connsiteX8366" fmla="*/ 1073661 w 4878487"/>
                <a:gd name="connsiteY8366" fmla="*/ 1086250 h 3690338"/>
                <a:gd name="connsiteX8367" fmla="*/ 1075235 w 4878487"/>
                <a:gd name="connsiteY8367" fmla="*/ 1089004 h 3690338"/>
                <a:gd name="connsiteX8368" fmla="*/ 1075235 w 4878487"/>
                <a:gd name="connsiteY8368" fmla="*/ 1091758 h 3690338"/>
                <a:gd name="connsiteX8369" fmla="*/ 1075235 w 4878487"/>
                <a:gd name="connsiteY8369" fmla="*/ 1092152 h 3690338"/>
                <a:gd name="connsiteX8370" fmla="*/ 1075235 w 4878487"/>
                <a:gd name="connsiteY8370" fmla="*/ 1091758 h 3690338"/>
                <a:gd name="connsiteX8371" fmla="*/ 1075628 w 4878487"/>
                <a:gd name="connsiteY8371" fmla="*/ 1094119 h 3690338"/>
                <a:gd name="connsiteX8372" fmla="*/ 1074054 w 4878487"/>
                <a:gd name="connsiteY8372" fmla="*/ 1095692 h 3690338"/>
                <a:gd name="connsiteX8373" fmla="*/ 1072874 w 4878487"/>
                <a:gd name="connsiteY8373" fmla="*/ 1098446 h 3690338"/>
                <a:gd name="connsiteX8374" fmla="*/ 1071300 w 4878487"/>
                <a:gd name="connsiteY8374" fmla="*/ 1101200 h 3690338"/>
                <a:gd name="connsiteX8375" fmla="*/ 1073661 w 4878487"/>
                <a:gd name="connsiteY8375" fmla="*/ 1103561 h 3690338"/>
                <a:gd name="connsiteX8376" fmla="*/ 1073268 w 4878487"/>
                <a:gd name="connsiteY8376" fmla="*/ 1106708 h 3690338"/>
                <a:gd name="connsiteX8377" fmla="*/ 1073268 w 4878487"/>
                <a:gd name="connsiteY8377" fmla="*/ 1106708 h 3690338"/>
                <a:gd name="connsiteX8378" fmla="*/ 1072874 w 4878487"/>
                <a:gd name="connsiteY8378" fmla="*/ 1109462 h 3690338"/>
                <a:gd name="connsiteX8379" fmla="*/ 1072480 w 4878487"/>
                <a:gd name="connsiteY8379" fmla="*/ 1112216 h 3690338"/>
                <a:gd name="connsiteX8380" fmla="*/ 1072874 w 4878487"/>
                <a:gd name="connsiteY8380" fmla="*/ 1116937 h 3690338"/>
                <a:gd name="connsiteX8381" fmla="*/ 1070907 w 4878487"/>
                <a:gd name="connsiteY8381" fmla="*/ 1116544 h 3690338"/>
                <a:gd name="connsiteX8382" fmla="*/ 1071300 w 4878487"/>
                <a:gd name="connsiteY8382" fmla="*/ 1119691 h 3690338"/>
                <a:gd name="connsiteX8383" fmla="*/ 1070907 w 4878487"/>
                <a:gd name="connsiteY8383" fmla="*/ 1121659 h 3690338"/>
                <a:gd name="connsiteX8384" fmla="*/ 1069333 w 4878487"/>
                <a:gd name="connsiteY8384" fmla="*/ 1125593 h 3690338"/>
                <a:gd name="connsiteX8385" fmla="*/ 1070907 w 4878487"/>
                <a:gd name="connsiteY8385" fmla="*/ 1127560 h 3690338"/>
                <a:gd name="connsiteX8386" fmla="*/ 1073661 w 4878487"/>
                <a:gd name="connsiteY8386" fmla="*/ 1129921 h 3690338"/>
                <a:gd name="connsiteX8387" fmla="*/ 1072087 w 4878487"/>
                <a:gd name="connsiteY8387" fmla="*/ 1130314 h 3690338"/>
                <a:gd name="connsiteX8388" fmla="*/ 1073661 w 4878487"/>
                <a:gd name="connsiteY8388" fmla="*/ 1132281 h 3690338"/>
                <a:gd name="connsiteX8389" fmla="*/ 1073661 w 4878487"/>
                <a:gd name="connsiteY8389" fmla="*/ 1136215 h 3690338"/>
                <a:gd name="connsiteX8390" fmla="*/ 1072874 w 4878487"/>
                <a:gd name="connsiteY8390" fmla="*/ 1136609 h 3690338"/>
                <a:gd name="connsiteX8391" fmla="*/ 1071694 w 4878487"/>
                <a:gd name="connsiteY8391" fmla="*/ 1134642 h 3690338"/>
                <a:gd name="connsiteX8392" fmla="*/ 1068940 w 4878487"/>
                <a:gd name="connsiteY8392" fmla="*/ 1133461 h 3690338"/>
                <a:gd name="connsiteX8393" fmla="*/ 1070907 w 4878487"/>
                <a:gd name="connsiteY8393" fmla="*/ 1136215 h 3690338"/>
                <a:gd name="connsiteX8394" fmla="*/ 1072874 w 4878487"/>
                <a:gd name="connsiteY8394" fmla="*/ 1139363 h 3690338"/>
                <a:gd name="connsiteX8395" fmla="*/ 1076021 w 4878487"/>
                <a:gd name="connsiteY8395" fmla="*/ 1141330 h 3690338"/>
                <a:gd name="connsiteX8396" fmla="*/ 1078776 w 4878487"/>
                <a:gd name="connsiteY8396" fmla="*/ 1142904 h 3690338"/>
                <a:gd name="connsiteX8397" fmla="*/ 1081529 w 4878487"/>
                <a:gd name="connsiteY8397" fmla="*/ 1144084 h 3690338"/>
                <a:gd name="connsiteX8398" fmla="*/ 1084283 w 4878487"/>
                <a:gd name="connsiteY8398" fmla="*/ 1145658 h 3690338"/>
                <a:gd name="connsiteX8399" fmla="*/ 1085857 w 4878487"/>
                <a:gd name="connsiteY8399" fmla="*/ 1147625 h 3690338"/>
                <a:gd name="connsiteX8400" fmla="*/ 1089005 w 4878487"/>
                <a:gd name="connsiteY8400" fmla="*/ 1151952 h 3690338"/>
                <a:gd name="connsiteX8401" fmla="*/ 1089398 w 4878487"/>
                <a:gd name="connsiteY8401" fmla="*/ 1154313 h 3690338"/>
                <a:gd name="connsiteX8402" fmla="*/ 1089398 w 4878487"/>
                <a:gd name="connsiteY8402" fmla="*/ 1154706 h 3690338"/>
                <a:gd name="connsiteX8403" fmla="*/ 1089398 w 4878487"/>
                <a:gd name="connsiteY8403" fmla="*/ 1155100 h 3690338"/>
                <a:gd name="connsiteX8404" fmla="*/ 1089398 w 4878487"/>
                <a:gd name="connsiteY8404" fmla="*/ 1158247 h 3690338"/>
                <a:gd name="connsiteX8405" fmla="*/ 1089791 w 4878487"/>
                <a:gd name="connsiteY8405" fmla="*/ 1158247 h 3690338"/>
                <a:gd name="connsiteX8406" fmla="*/ 1099234 w 4878487"/>
                <a:gd name="connsiteY8406" fmla="*/ 1171230 h 3690338"/>
                <a:gd name="connsiteX8407" fmla="*/ 1107889 w 4878487"/>
                <a:gd name="connsiteY8407" fmla="*/ 1177918 h 3690338"/>
                <a:gd name="connsiteX8408" fmla="*/ 1111823 w 4878487"/>
                <a:gd name="connsiteY8408" fmla="*/ 1183033 h 3690338"/>
                <a:gd name="connsiteX8409" fmla="*/ 1113397 w 4878487"/>
                <a:gd name="connsiteY8409" fmla="*/ 1177918 h 3690338"/>
                <a:gd name="connsiteX8410" fmla="*/ 1116151 w 4878487"/>
                <a:gd name="connsiteY8410" fmla="*/ 1179492 h 3690338"/>
                <a:gd name="connsiteX8411" fmla="*/ 1118905 w 4878487"/>
                <a:gd name="connsiteY8411" fmla="*/ 1181459 h 3690338"/>
                <a:gd name="connsiteX8412" fmla="*/ 1121659 w 4878487"/>
                <a:gd name="connsiteY8412" fmla="*/ 1180672 h 3690338"/>
                <a:gd name="connsiteX8413" fmla="*/ 1119298 w 4878487"/>
                <a:gd name="connsiteY8413" fmla="*/ 1185394 h 3690338"/>
                <a:gd name="connsiteX8414" fmla="*/ 1117724 w 4878487"/>
                <a:gd name="connsiteY8414" fmla="*/ 1183820 h 3690338"/>
                <a:gd name="connsiteX8415" fmla="*/ 1114971 w 4878487"/>
                <a:gd name="connsiteY8415" fmla="*/ 1183426 h 3690338"/>
                <a:gd name="connsiteX8416" fmla="*/ 1112217 w 4878487"/>
                <a:gd name="connsiteY8416" fmla="*/ 1183820 h 3690338"/>
                <a:gd name="connsiteX8417" fmla="*/ 1111823 w 4878487"/>
                <a:gd name="connsiteY8417" fmla="*/ 1184213 h 3690338"/>
                <a:gd name="connsiteX8418" fmla="*/ 1111823 w 4878487"/>
                <a:gd name="connsiteY8418" fmla="*/ 1186967 h 3690338"/>
                <a:gd name="connsiteX8419" fmla="*/ 1113004 w 4878487"/>
                <a:gd name="connsiteY8419" fmla="*/ 1189721 h 3690338"/>
                <a:gd name="connsiteX8420" fmla="*/ 1114971 w 4878487"/>
                <a:gd name="connsiteY8420" fmla="*/ 1190115 h 3690338"/>
                <a:gd name="connsiteX8421" fmla="*/ 1117724 w 4878487"/>
                <a:gd name="connsiteY8421" fmla="*/ 1193262 h 3690338"/>
                <a:gd name="connsiteX8422" fmla="*/ 1118118 w 4878487"/>
                <a:gd name="connsiteY8422" fmla="*/ 1193262 h 3690338"/>
                <a:gd name="connsiteX8423" fmla="*/ 1119298 w 4878487"/>
                <a:gd name="connsiteY8423" fmla="*/ 1194049 h 3690338"/>
                <a:gd name="connsiteX8424" fmla="*/ 1120085 w 4878487"/>
                <a:gd name="connsiteY8424" fmla="*/ 1196803 h 3690338"/>
                <a:gd name="connsiteX8425" fmla="*/ 1122446 w 4878487"/>
                <a:gd name="connsiteY8425" fmla="*/ 1199950 h 3690338"/>
                <a:gd name="connsiteX8426" fmla="*/ 1123233 w 4878487"/>
                <a:gd name="connsiteY8426" fmla="*/ 1202704 h 3690338"/>
                <a:gd name="connsiteX8427" fmla="*/ 1124020 w 4878487"/>
                <a:gd name="connsiteY8427" fmla="*/ 1205458 h 3690338"/>
                <a:gd name="connsiteX8428" fmla="*/ 1126773 w 4878487"/>
                <a:gd name="connsiteY8428" fmla="*/ 1203491 h 3690338"/>
                <a:gd name="connsiteX8429" fmla="*/ 1129134 w 4878487"/>
                <a:gd name="connsiteY8429" fmla="*/ 1200737 h 3690338"/>
                <a:gd name="connsiteX8430" fmla="*/ 1129134 w 4878487"/>
                <a:gd name="connsiteY8430" fmla="*/ 1199950 h 3690338"/>
                <a:gd name="connsiteX8431" fmla="*/ 1129527 w 4878487"/>
                <a:gd name="connsiteY8431" fmla="*/ 1200737 h 3690338"/>
                <a:gd name="connsiteX8432" fmla="*/ 1130314 w 4878487"/>
                <a:gd name="connsiteY8432" fmla="*/ 1202311 h 3690338"/>
                <a:gd name="connsiteX8433" fmla="*/ 1132282 w 4878487"/>
                <a:gd name="connsiteY8433" fmla="*/ 1205065 h 3690338"/>
                <a:gd name="connsiteX8434" fmla="*/ 1135429 w 4878487"/>
                <a:gd name="connsiteY8434" fmla="*/ 1204672 h 3690338"/>
                <a:gd name="connsiteX8435" fmla="*/ 1138183 w 4878487"/>
                <a:gd name="connsiteY8435" fmla="*/ 1203885 h 3690338"/>
                <a:gd name="connsiteX8436" fmla="*/ 1140937 w 4878487"/>
                <a:gd name="connsiteY8436" fmla="*/ 1203491 h 3690338"/>
                <a:gd name="connsiteX8437" fmla="*/ 1143691 w 4878487"/>
                <a:gd name="connsiteY8437" fmla="*/ 1203098 h 3690338"/>
                <a:gd name="connsiteX8438" fmla="*/ 1151953 w 4878487"/>
                <a:gd name="connsiteY8438" fmla="*/ 1204278 h 3690338"/>
                <a:gd name="connsiteX8439" fmla="*/ 1152346 w 4878487"/>
                <a:gd name="connsiteY8439" fmla="*/ 1204672 h 3690338"/>
                <a:gd name="connsiteX8440" fmla="*/ 1152740 w 4878487"/>
                <a:gd name="connsiteY8440" fmla="*/ 1204672 h 3690338"/>
                <a:gd name="connsiteX8441" fmla="*/ 1163362 w 4878487"/>
                <a:gd name="connsiteY8441" fmla="*/ 1206245 h 3690338"/>
                <a:gd name="connsiteX8442" fmla="*/ 1164936 w 4878487"/>
                <a:gd name="connsiteY8442" fmla="*/ 1203885 h 3690338"/>
                <a:gd name="connsiteX8443" fmla="*/ 1166903 w 4878487"/>
                <a:gd name="connsiteY8443" fmla="*/ 1205458 h 3690338"/>
                <a:gd name="connsiteX8444" fmla="*/ 1169657 w 4878487"/>
                <a:gd name="connsiteY8444" fmla="*/ 1208212 h 3690338"/>
                <a:gd name="connsiteX8445" fmla="*/ 1172411 w 4878487"/>
                <a:gd name="connsiteY8445" fmla="*/ 1208606 h 3690338"/>
                <a:gd name="connsiteX8446" fmla="*/ 1176738 w 4878487"/>
                <a:gd name="connsiteY8446" fmla="*/ 1208606 h 3690338"/>
                <a:gd name="connsiteX8447" fmla="*/ 1181067 w 4878487"/>
                <a:gd name="connsiteY8447" fmla="*/ 1210179 h 3690338"/>
                <a:gd name="connsiteX8448" fmla="*/ 1179493 w 4878487"/>
                <a:gd name="connsiteY8448" fmla="*/ 1212933 h 3690338"/>
                <a:gd name="connsiteX8449" fmla="*/ 1161001 w 4878487"/>
                <a:gd name="connsiteY8449" fmla="*/ 1210966 h 3690338"/>
                <a:gd name="connsiteX8450" fmla="*/ 1161001 w 4878487"/>
                <a:gd name="connsiteY8450" fmla="*/ 1210966 h 3690338"/>
                <a:gd name="connsiteX8451" fmla="*/ 1157854 w 4878487"/>
                <a:gd name="connsiteY8451" fmla="*/ 1210573 h 3690338"/>
                <a:gd name="connsiteX8452" fmla="*/ 1156674 w 4878487"/>
                <a:gd name="connsiteY8452" fmla="*/ 1210179 h 3690338"/>
                <a:gd name="connsiteX8453" fmla="*/ 1153527 w 4878487"/>
                <a:gd name="connsiteY8453" fmla="*/ 1209393 h 3690338"/>
                <a:gd name="connsiteX8454" fmla="*/ 1150772 w 4878487"/>
                <a:gd name="connsiteY8454" fmla="*/ 1207425 h 3690338"/>
                <a:gd name="connsiteX8455" fmla="*/ 1148019 w 4878487"/>
                <a:gd name="connsiteY8455" fmla="*/ 1206245 h 3690338"/>
                <a:gd name="connsiteX8456" fmla="*/ 1145264 w 4878487"/>
                <a:gd name="connsiteY8456" fmla="*/ 1204278 h 3690338"/>
                <a:gd name="connsiteX8457" fmla="*/ 1142511 w 4878487"/>
                <a:gd name="connsiteY8457" fmla="*/ 1204278 h 3690338"/>
                <a:gd name="connsiteX8458" fmla="*/ 1139757 w 4878487"/>
                <a:gd name="connsiteY8458" fmla="*/ 1206245 h 3690338"/>
                <a:gd name="connsiteX8459" fmla="*/ 1138183 w 4878487"/>
                <a:gd name="connsiteY8459" fmla="*/ 1208999 h 3690338"/>
                <a:gd name="connsiteX8460" fmla="*/ 1135035 w 4878487"/>
                <a:gd name="connsiteY8460" fmla="*/ 1210573 h 3690338"/>
                <a:gd name="connsiteX8461" fmla="*/ 1132282 w 4878487"/>
                <a:gd name="connsiteY8461" fmla="*/ 1209393 h 3690338"/>
                <a:gd name="connsiteX8462" fmla="*/ 1129527 w 4878487"/>
                <a:gd name="connsiteY8462" fmla="*/ 1210966 h 3690338"/>
                <a:gd name="connsiteX8463" fmla="*/ 1129527 w 4878487"/>
                <a:gd name="connsiteY8463" fmla="*/ 1211360 h 3690338"/>
                <a:gd name="connsiteX8464" fmla="*/ 1127954 w 4878487"/>
                <a:gd name="connsiteY8464" fmla="*/ 1214507 h 3690338"/>
                <a:gd name="connsiteX8465" fmla="*/ 1125593 w 4878487"/>
                <a:gd name="connsiteY8465" fmla="*/ 1217261 h 3690338"/>
                <a:gd name="connsiteX8466" fmla="*/ 1122839 w 4878487"/>
                <a:gd name="connsiteY8466" fmla="*/ 1218835 h 3690338"/>
                <a:gd name="connsiteX8467" fmla="*/ 1125593 w 4878487"/>
                <a:gd name="connsiteY8467" fmla="*/ 1221982 h 3690338"/>
                <a:gd name="connsiteX8468" fmla="*/ 1128347 w 4878487"/>
                <a:gd name="connsiteY8468" fmla="*/ 1224343 h 3690338"/>
                <a:gd name="connsiteX8469" fmla="*/ 1129921 w 4878487"/>
                <a:gd name="connsiteY8469" fmla="*/ 1227097 h 3690338"/>
                <a:gd name="connsiteX8470" fmla="*/ 1133068 w 4878487"/>
                <a:gd name="connsiteY8470" fmla="*/ 1229064 h 3690338"/>
                <a:gd name="connsiteX8471" fmla="*/ 1139757 w 4878487"/>
                <a:gd name="connsiteY8471" fmla="*/ 1236539 h 3690338"/>
                <a:gd name="connsiteX8472" fmla="*/ 1140150 w 4878487"/>
                <a:gd name="connsiteY8472" fmla="*/ 1239293 h 3690338"/>
                <a:gd name="connsiteX8473" fmla="*/ 1138970 w 4878487"/>
                <a:gd name="connsiteY8473" fmla="*/ 1241260 h 3690338"/>
                <a:gd name="connsiteX8474" fmla="*/ 1137002 w 4878487"/>
                <a:gd name="connsiteY8474" fmla="*/ 1244014 h 3690338"/>
                <a:gd name="connsiteX8475" fmla="*/ 1137396 w 4878487"/>
                <a:gd name="connsiteY8475" fmla="*/ 1247161 h 3690338"/>
                <a:gd name="connsiteX8476" fmla="*/ 1139757 w 4878487"/>
                <a:gd name="connsiteY8476" fmla="*/ 1249916 h 3690338"/>
                <a:gd name="connsiteX8477" fmla="*/ 1141330 w 4878487"/>
                <a:gd name="connsiteY8477" fmla="*/ 1252669 h 3690338"/>
                <a:gd name="connsiteX8478" fmla="*/ 1140937 w 4878487"/>
                <a:gd name="connsiteY8478" fmla="*/ 1253063 h 3690338"/>
                <a:gd name="connsiteX8479" fmla="*/ 1142511 w 4878487"/>
                <a:gd name="connsiteY8479" fmla="*/ 1255817 h 3690338"/>
                <a:gd name="connsiteX8480" fmla="*/ 1145264 w 4878487"/>
                <a:gd name="connsiteY8480" fmla="*/ 1256604 h 3690338"/>
                <a:gd name="connsiteX8481" fmla="*/ 1148019 w 4878487"/>
                <a:gd name="connsiteY8481" fmla="*/ 1256997 h 3690338"/>
                <a:gd name="connsiteX8482" fmla="*/ 1147625 w 4878487"/>
                <a:gd name="connsiteY8482" fmla="*/ 1254243 h 3690338"/>
                <a:gd name="connsiteX8483" fmla="*/ 1147625 w 4878487"/>
                <a:gd name="connsiteY8483" fmla="*/ 1251489 h 3690338"/>
                <a:gd name="connsiteX8484" fmla="*/ 1148805 w 4878487"/>
                <a:gd name="connsiteY8484" fmla="*/ 1249522 h 3690338"/>
                <a:gd name="connsiteX8485" fmla="*/ 1152346 w 4878487"/>
                <a:gd name="connsiteY8485" fmla="*/ 1248342 h 3690338"/>
                <a:gd name="connsiteX8486" fmla="*/ 1153527 w 4878487"/>
                <a:gd name="connsiteY8486" fmla="*/ 1250309 h 3690338"/>
                <a:gd name="connsiteX8487" fmla="*/ 1154313 w 4878487"/>
                <a:gd name="connsiteY8487" fmla="*/ 1253063 h 3690338"/>
                <a:gd name="connsiteX8488" fmla="*/ 1155887 w 4878487"/>
                <a:gd name="connsiteY8488" fmla="*/ 1254243 h 3690338"/>
                <a:gd name="connsiteX8489" fmla="*/ 1158248 w 4878487"/>
                <a:gd name="connsiteY8489" fmla="*/ 1257784 h 3690338"/>
                <a:gd name="connsiteX8490" fmla="*/ 1158641 w 4878487"/>
                <a:gd name="connsiteY8490" fmla="*/ 1258177 h 3690338"/>
                <a:gd name="connsiteX8491" fmla="*/ 1159821 w 4878487"/>
                <a:gd name="connsiteY8491" fmla="*/ 1260931 h 3690338"/>
                <a:gd name="connsiteX8492" fmla="*/ 1160215 w 4878487"/>
                <a:gd name="connsiteY8492" fmla="*/ 1263685 h 3690338"/>
                <a:gd name="connsiteX8493" fmla="*/ 1160608 w 4878487"/>
                <a:gd name="connsiteY8493" fmla="*/ 1266439 h 3690338"/>
                <a:gd name="connsiteX8494" fmla="*/ 1163362 w 4878487"/>
                <a:gd name="connsiteY8494" fmla="*/ 1266833 h 3690338"/>
                <a:gd name="connsiteX8495" fmla="*/ 1162575 w 4878487"/>
                <a:gd name="connsiteY8495" fmla="*/ 1264079 h 3690338"/>
                <a:gd name="connsiteX8496" fmla="*/ 1163362 w 4878487"/>
                <a:gd name="connsiteY8496" fmla="*/ 1261325 h 3690338"/>
                <a:gd name="connsiteX8497" fmla="*/ 1168083 w 4878487"/>
                <a:gd name="connsiteY8497" fmla="*/ 1255817 h 3690338"/>
                <a:gd name="connsiteX8498" fmla="*/ 1172411 w 4878487"/>
                <a:gd name="connsiteY8498" fmla="*/ 1260145 h 3690338"/>
                <a:gd name="connsiteX8499" fmla="*/ 1173591 w 4878487"/>
                <a:gd name="connsiteY8499" fmla="*/ 1262112 h 3690338"/>
                <a:gd name="connsiteX8500" fmla="*/ 1175952 w 4878487"/>
                <a:gd name="connsiteY8500" fmla="*/ 1264866 h 3690338"/>
                <a:gd name="connsiteX8501" fmla="*/ 1177919 w 4878487"/>
                <a:gd name="connsiteY8501" fmla="*/ 1265259 h 3690338"/>
                <a:gd name="connsiteX8502" fmla="*/ 1181460 w 4878487"/>
                <a:gd name="connsiteY8502" fmla="*/ 1268800 h 3690338"/>
                <a:gd name="connsiteX8503" fmla="*/ 1183034 w 4878487"/>
                <a:gd name="connsiteY8503" fmla="*/ 1267620 h 3690338"/>
                <a:gd name="connsiteX8504" fmla="*/ 1181460 w 4878487"/>
                <a:gd name="connsiteY8504" fmla="*/ 1264866 h 3690338"/>
                <a:gd name="connsiteX8505" fmla="*/ 1180279 w 4878487"/>
                <a:gd name="connsiteY8505" fmla="*/ 1264079 h 3690338"/>
                <a:gd name="connsiteX8506" fmla="*/ 1178706 w 4878487"/>
                <a:gd name="connsiteY8506" fmla="*/ 1257784 h 3690338"/>
                <a:gd name="connsiteX8507" fmla="*/ 1179099 w 4878487"/>
                <a:gd name="connsiteY8507" fmla="*/ 1256604 h 3690338"/>
                <a:gd name="connsiteX8508" fmla="*/ 1177132 w 4878487"/>
                <a:gd name="connsiteY8508" fmla="*/ 1251883 h 3690338"/>
                <a:gd name="connsiteX8509" fmla="*/ 1176345 w 4878487"/>
                <a:gd name="connsiteY8509" fmla="*/ 1248342 h 3690338"/>
                <a:gd name="connsiteX8510" fmla="*/ 1168083 w 4878487"/>
                <a:gd name="connsiteY8510" fmla="*/ 1231818 h 3690338"/>
                <a:gd name="connsiteX8511" fmla="*/ 1175952 w 4878487"/>
                <a:gd name="connsiteY8511" fmla="*/ 1232998 h 3690338"/>
                <a:gd name="connsiteX8512" fmla="*/ 1176738 w 4878487"/>
                <a:gd name="connsiteY8512" fmla="*/ 1233392 h 3690338"/>
                <a:gd name="connsiteX8513" fmla="*/ 1179493 w 4878487"/>
                <a:gd name="connsiteY8513" fmla="*/ 1234572 h 3690338"/>
                <a:gd name="connsiteX8514" fmla="*/ 1179099 w 4878487"/>
                <a:gd name="connsiteY8514" fmla="*/ 1237719 h 3690338"/>
                <a:gd name="connsiteX8515" fmla="*/ 1181853 w 4878487"/>
                <a:gd name="connsiteY8515" fmla="*/ 1239293 h 3690338"/>
                <a:gd name="connsiteX8516" fmla="*/ 1183427 w 4878487"/>
                <a:gd name="connsiteY8516" fmla="*/ 1236539 h 3690338"/>
                <a:gd name="connsiteX8517" fmla="*/ 1186181 w 4878487"/>
                <a:gd name="connsiteY8517" fmla="*/ 1235752 h 3690338"/>
                <a:gd name="connsiteX8518" fmla="*/ 1188935 w 4878487"/>
                <a:gd name="connsiteY8518" fmla="*/ 1235359 h 3690338"/>
                <a:gd name="connsiteX8519" fmla="*/ 1189722 w 4878487"/>
                <a:gd name="connsiteY8519" fmla="*/ 1233392 h 3690338"/>
                <a:gd name="connsiteX8520" fmla="*/ 1186574 w 4878487"/>
                <a:gd name="connsiteY8520" fmla="*/ 1231424 h 3690338"/>
                <a:gd name="connsiteX8521" fmla="*/ 1184607 w 4878487"/>
                <a:gd name="connsiteY8521" fmla="*/ 1228670 h 3690338"/>
                <a:gd name="connsiteX8522" fmla="*/ 1184214 w 4878487"/>
                <a:gd name="connsiteY8522" fmla="*/ 1231424 h 3690338"/>
                <a:gd name="connsiteX8523" fmla="*/ 1181460 w 4878487"/>
                <a:gd name="connsiteY8523" fmla="*/ 1229851 h 3690338"/>
                <a:gd name="connsiteX8524" fmla="*/ 1179493 w 4878487"/>
                <a:gd name="connsiteY8524" fmla="*/ 1225130 h 3690338"/>
                <a:gd name="connsiteX8525" fmla="*/ 1178706 w 4878487"/>
                <a:gd name="connsiteY8525" fmla="*/ 1223556 h 3690338"/>
                <a:gd name="connsiteX8526" fmla="*/ 1178706 w 4878487"/>
                <a:gd name="connsiteY8526" fmla="*/ 1220802 h 3690338"/>
                <a:gd name="connsiteX8527" fmla="*/ 1175952 w 4878487"/>
                <a:gd name="connsiteY8527" fmla="*/ 1220802 h 3690338"/>
                <a:gd name="connsiteX8528" fmla="*/ 1175165 w 4878487"/>
                <a:gd name="connsiteY8528" fmla="*/ 1218441 h 3690338"/>
                <a:gd name="connsiteX8529" fmla="*/ 1177526 w 4878487"/>
                <a:gd name="connsiteY8529" fmla="*/ 1218441 h 3690338"/>
                <a:gd name="connsiteX8530" fmla="*/ 1180673 w 4878487"/>
                <a:gd name="connsiteY8530" fmla="*/ 1216868 h 3690338"/>
                <a:gd name="connsiteX8531" fmla="*/ 1204672 w 4878487"/>
                <a:gd name="connsiteY8531" fmla="*/ 1227490 h 3690338"/>
                <a:gd name="connsiteX8532" fmla="*/ 1205065 w 4878487"/>
                <a:gd name="connsiteY8532" fmla="*/ 1227097 h 3690338"/>
                <a:gd name="connsiteX8533" fmla="*/ 1205852 w 4878487"/>
                <a:gd name="connsiteY8533" fmla="*/ 1224343 h 3690338"/>
                <a:gd name="connsiteX8534" fmla="*/ 1205065 w 4878487"/>
                <a:gd name="connsiteY8534" fmla="*/ 1221589 h 3690338"/>
                <a:gd name="connsiteX8535" fmla="*/ 1203885 w 4878487"/>
                <a:gd name="connsiteY8535" fmla="*/ 1219228 h 3690338"/>
                <a:gd name="connsiteX8536" fmla="*/ 1203492 w 4878487"/>
                <a:gd name="connsiteY8536" fmla="*/ 1217261 h 3690338"/>
                <a:gd name="connsiteX8537" fmla="*/ 1203098 w 4878487"/>
                <a:gd name="connsiteY8537" fmla="*/ 1214507 h 3690338"/>
                <a:gd name="connsiteX8538" fmla="*/ 1204672 w 4878487"/>
                <a:gd name="connsiteY8538" fmla="*/ 1211360 h 3690338"/>
                <a:gd name="connsiteX8539" fmla="*/ 1203492 w 4878487"/>
                <a:gd name="connsiteY8539" fmla="*/ 1208606 h 3690338"/>
                <a:gd name="connsiteX8540" fmla="*/ 1203098 w 4878487"/>
                <a:gd name="connsiteY8540" fmla="*/ 1208212 h 3690338"/>
                <a:gd name="connsiteX8541" fmla="*/ 1217262 w 4878487"/>
                <a:gd name="connsiteY8541" fmla="*/ 1217655 h 3690338"/>
                <a:gd name="connsiteX8542" fmla="*/ 1218048 w 4878487"/>
                <a:gd name="connsiteY8542" fmla="*/ 1216868 h 3690338"/>
                <a:gd name="connsiteX8543" fmla="*/ 1219622 w 4878487"/>
                <a:gd name="connsiteY8543" fmla="*/ 1214114 h 3690338"/>
                <a:gd name="connsiteX8544" fmla="*/ 1217262 w 4878487"/>
                <a:gd name="connsiteY8544" fmla="*/ 1211360 h 3690338"/>
                <a:gd name="connsiteX8545" fmla="*/ 1214508 w 4878487"/>
                <a:gd name="connsiteY8545" fmla="*/ 1210966 h 3690338"/>
                <a:gd name="connsiteX8546" fmla="*/ 1211754 w 4878487"/>
                <a:gd name="connsiteY8546" fmla="*/ 1209786 h 3690338"/>
                <a:gd name="connsiteX8547" fmla="*/ 1210180 w 4878487"/>
                <a:gd name="connsiteY8547" fmla="*/ 1207032 h 3690338"/>
                <a:gd name="connsiteX8548" fmla="*/ 1208606 w 4878487"/>
                <a:gd name="connsiteY8548" fmla="*/ 1204278 h 3690338"/>
                <a:gd name="connsiteX8549" fmla="*/ 1207819 w 4878487"/>
                <a:gd name="connsiteY8549" fmla="*/ 1201131 h 3690338"/>
                <a:gd name="connsiteX8550" fmla="*/ 1208606 w 4878487"/>
                <a:gd name="connsiteY8550" fmla="*/ 1198377 h 3690338"/>
                <a:gd name="connsiteX8551" fmla="*/ 1205852 w 4878487"/>
                <a:gd name="connsiteY8551" fmla="*/ 1196016 h 3690338"/>
                <a:gd name="connsiteX8552" fmla="*/ 1204278 w 4878487"/>
                <a:gd name="connsiteY8552" fmla="*/ 1193262 h 3690338"/>
                <a:gd name="connsiteX8553" fmla="*/ 1201525 w 4878487"/>
                <a:gd name="connsiteY8553" fmla="*/ 1193655 h 3690338"/>
                <a:gd name="connsiteX8554" fmla="*/ 1198771 w 4878487"/>
                <a:gd name="connsiteY8554" fmla="*/ 1193262 h 3690338"/>
                <a:gd name="connsiteX8555" fmla="*/ 1196016 w 4878487"/>
                <a:gd name="connsiteY8555" fmla="*/ 1192082 h 3690338"/>
                <a:gd name="connsiteX8556" fmla="*/ 1192869 w 4878487"/>
                <a:gd name="connsiteY8556" fmla="*/ 1190508 h 3690338"/>
                <a:gd name="connsiteX8557" fmla="*/ 1190115 w 4878487"/>
                <a:gd name="connsiteY8557" fmla="*/ 1188934 h 3690338"/>
                <a:gd name="connsiteX8558" fmla="*/ 1187361 w 4878487"/>
                <a:gd name="connsiteY8558" fmla="*/ 1186967 h 3690338"/>
                <a:gd name="connsiteX8559" fmla="*/ 1186181 w 4878487"/>
                <a:gd name="connsiteY8559" fmla="*/ 1184213 h 3690338"/>
                <a:gd name="connsiteX8560" fmla="*/ 1183427 w 4878487"/>
                <a:gd name="connsiteY8560" fmla="*/ 1181459 h 3690338"/>
                <a:gd name="connsiteX8561" fmla="*/ 1180673 w 4878487"/>
                <a:gd name="connsiteY8561" fmla="*/ 1181459 h 3690338"/>
                <a:gd name="connsiteX8562" fmla="*/ 1177526 w 4878487"/>
                <a:gd name="connsiteY8562" fmla="*/ 1181853 h 3690338"/>
                <a:gd name="connsiteX8563" fmla="*/ 1174771 w 4878487"/>
                <a:gd name="connsiteY8563" fmla="*/ 1184607 h 3690338"/>
                <a:gd name="connsiteX8564" fmla="*/ 1172411 w 4878487"/>
                <a:gd name="connsiteY8564" fmla="*/ 1187361 h 3690338"/>
                <a:gd name="connsiteX8565" fmla="*/ 1175165 w 4878487"/>
                <a:gd name="connsiteY8565" fmla="*/ 1185787 h 3690338"/>
                <a:gd name="connsiteX8566" fmla="*/ 1177919 w 4878487"/>
                <a:gd name="connsiteY8566" fmla="*/ 1186574 h 3690338"/>
                <a:gd name="connsiteX8567" fmla="*/ 1180673 w 4878487"/>
                <a:gd name="connsiteY8567" fmla="*/ 1188541 h 3690338"/>
                <a:gd name="connsiteX8568" fmla="*/ 1183820 w 4878487"/>
                <a:gd name="connsiteY8568" fmla="*/ 1190508 h 3690338"/>
                <a:gd name="connsiteX8569" fmla="*/ 1186574 w 4878487"/>
                <a:gd name="connsiteY8569" fmla="*/ 1192475 h 3690338"/>
                <a:gd name="connsiteX8570" fmla="*/ 1188541 w 4878487"/>
                <a:gd name="connsiteY8570" fmla="*/ 1195229 h 3690338"/>
                <a:gd name="connsiteX8571" fmla="*/ 1191296 w 4878487"/>
                <a:gd name="connsiteY8571" fmla="*/ 1196803 h 3690338"/>
                <a:gd name="connsiteX8572" fmla="*/ 1191296 w 4878487"/>
                <a:gd name="connsiteY8572" fmla="*/ 1199557 h 3690338"/>
                <a:gd name="connsiteX8573" fmla="*/ 1192869 w 4878487"/>
                <a:gd name="connsiteY8573" fmla="*/ 1201524 h 3690338"/>
                <a:gd name="connsiteX8574" fmla="*/ 1194836 w 4878487"/>
                <a:gd name="connsiteY8574" fmla="*/ 1201524 h 3690338"/>
                <a:gd name="connsiteX8575" fmla="*/ 1199951 w 4878487"/>
                <a:gd name="connsiteY8575" fmla="*/ 1205065 h 3690338"/>
                <a:gd name="connsiteX8576" fmla="*/ 1198377 w 4878487"/>
                <a:gd name="connsiteY8576" fmla="*/ 1204672 h 3690338"/>
                <a:gd name="connsiteX8577" fmla="*/ 1195623 w 4878487"/>
                <a:gd name="connsiteY8577" fmla="*/ 1203885 h 3690338"/>
                <a:gd name="connsiteX8578" fmla="*/ 1194443 w 4878487"/>
                <a:gd name="connsiteY8578" fmla="*/ 1203885 h 3690338"/>
                <a:gd name="connsiteX8579" fmla="*/ 1191689 w 4878487"/>
                <a:gd name="connsiteY8579" fmla="*/ 1199557 h 3690338"/>
                <a:gd name="connsiteX8580" fmla="*/ 1188935 w 4878487"/>
                <a:gd name="connsiteY8580" fmla="*/ 1199163 h 3690338"/>
                <a:gd name="connsiteX8581" fmla="*/ 1186181 w 4878487"/>
                <a:gd name="connsiteY8581" fmla="*/ 1198770 h 3690338"/>
                <a:gd name="connsiteX8582" fmla="*/ 1183820 w 4878487"/>
                <a:gd name="connsiteY8582" fmla="*/ 1198770 h 3690338"/>
                <a:gd name="connsiteX8583" fmla="*/ 1182247 w 4878487"/>
                <a:gd name="connsiteY8583" fmla="*/ 1196410 h 3690338"/>
                <a:gd name="connsiteX8584" fmla="*/ 1182640 w 4878487"/>
                <a:gd name="connsiteY8584" fmla="*/ 1193655 h 3690338"/>
                <a:gd name="connsiteX8585" fmla="*/ 1179886 w 4878487"/>
                <a:gd name="connsiteY8585" fmla="*/ 1192475 h 3690338"/>
                <a:gd name="connsiteX8586" fmla="*/ 1177132 w 4878487"/>
                <a:gd name="connsiteY8586" fmla="*/ 1193655 h 3690338"/>
                <a:gd name="connsiteX8587" fmla="*/ 1175558 w 4878487"/>
                <a:gd name="connsiteY8587" fmla="*/ 1190902 h 3690338"/>
                <a:gd name="connsiteX8588" fmla="*/ 1172804 w 4878487"/>
                <a:gd name="connsiteY8588" fmla="*/ 1190508 h 3690338"/>
                <a:gd name="connsiteX8589" fmla="*/ 1170050 w 4878487"/>
                <a:gd name="connsiteY8589" fmla="*/ 1189721 h 3690338"/>
                <a:gd name="connsiteX8590" fmla="*/ 1167297 w 4878487"/>
                <a:gd name="connsiteY8590" fmla="*/ 1188934 h 3690338"/>
                <a:gd name="connsiteX8591" fmla="*/ 1174378 w 4878487"/>
                <a:gd name="connsiteY8591" fmla="*/ 1182640 h 3690338"/>
                <a:gd name="connsiteX8592" fmla="*/ 1175952 w 4878487"/>
                <a:gd name="connsiteY8592" fmla="*/ 1181066 h 3690338"/>
                <a:gd name="connsiteX8593" fmla="*/ 1174378 w 4878487"/>
                <a:gd name="connsiteY8593" fmla="*/ 1181066 h 3690338"/>
                <a:gd name="connsiteX8594" fmla="*/ 1174378 w 4878487"/>
                <a:gd name="connsiteY8594" fmla="*/ 1174378 h 3690338"/>
                <a:gd name="connsiteX8595" fmla="*/ 1175952 w 4878487"/>
                <a:gd name="connsiteY8595" fmla="*/ 1179492 h 3690338"/>
                <a:gd name="connsiteX8596" fmla="*/ 1177132 w 4878487"/>
                <a:gd name="connsiteY8596" fmla="*/ 1179492 h 3690338"/>
                <a:gd name="connsiteX8597" fmla="*/ 1179886 w 4878487"/>
                <a:gd name="connsiteY8597" fmla="*/ 1177918 h 3690338"/>
                <a:gd name="connsiteX8598" fmla="*/ 1182640 w 4878487"/>
                <a:gd name="connsiteY8598" fmla="*/ 1175558 h 3690338"/>
                <a:gd name="connsiteX8599" fmla="*/ 1181067 w 4878487"/>
                <a:gd name="connsiteY8599" fmla="*/ 1172804 h 3690338"/>
                <a:gd name="connsiteX8600" fmla="*/ 1178706 w 4878487"/>
                <a:gd name="connsiteY8600" fmla="*/ 1170050 h 3690338"/>
                <a:gd name="connsiteX8601" fmla="*/ 1176345 w 4878487"/>
                <a:gd name="connsiteY8601" fmla="*/ 1167296 h 3690338"/>
                <a:gd name="connsiteX8602" fmla="*/ 1173591 w 4878487"/>
                <a:gd name="connsiteY8602" fmla="*/ 1164935 h 3690338"/>
                <a:gd name="connsiteX8603" fmla="*/ 1170837 w 4878487"/>
                <a:gd name="connsiteY8603" fmla="*/ 1162575 h 3690338"/>
                <a:gd name="connsiteX8604" fmla="*/ 1170050 w 4878487"/>
                <a:gd name="connsiteY8604" fmla="*/ 1161001 h 3690338"/>
                <a:gd name="connsiteX8605" fmla="*/ 1167690 w 4878487"/>
                <a:gd name="connsiteY8605" fmla="*/ 1155493 h 3690338"/>
                <a:gd name="connsiteX8606" fmla="*/ 1164936 w 4878487"/>
                <a:gd name="connsiteY8606" fmla="*/ 1153133 h 3690338"/>
                <a:gd name="connsiteX8607" fmla="*/ 1162969 w 4878487"/>
                <a:gd name="connsiteY8607" fmla="*/ 1149985 h 3690338"/>
                <a:gd name="connsiteX8608" fmla="*/ 1161395 w 4878487"/>
                <a:gd name="connsiteY8608" fmla="*/ 1149198 h 3690338"/>
                <a:gd name="connsiteX8609" fmla="*/ 1161789 w 4878487"/>
                <a:gd name="connsiteY8609" fmla="*/ 1133068 h 3690338"/>
                <a:gd name="connsiteX8610" fmla="*/ 1161789 w 4878487"/>
                <a:gd name="connsiteY8610" fmla="*/ 1132674 h 3690338"/>
                <a:gd name="connsiteX8611" fmla="*/ 1162575 w 4878487"/>
                <a:gd name="connsiteY8611" fmla="*/ 1131494 h 3690338"/>
                <a:gd name="connsiteX8612" fmla="*/ 1162969 w 4878487"/>
                <a:gd name="connsiteY8612" fmla="*/ 1131888 h 3690338"/>
                <a:gd name="connsiteX8613" fmla="*/ 1172018 w 4878487"/>
                <a:gd name="connsiteY8613" fmla="*/ 1138182 h 3690338"/>
                <a:gd name="connsiteX8614" fmla="*/ 1182247 w 4878487"/>
                <a:gd name="connsiteY8614" fmla="*/ 1149198 h 3690338"/>
                <a:gd name="connsiteX8615" fmla="*/ 1182640 w 4878487"/>
                <a:gd name="connsiteY8615" fmla="*/ 1150379 h 3690338"/>
                <a:gd name="connsiteX8616" fmla="*/ 1185394 w 4878487"/>
                <a:gd name="connsiteY8616" fmla="*/ 1150379 h 3690338"/>
                <a:gd name="connsiteX8617" fmla="*/ 1188148 w 4878487"/>
                <a:gd name="connsiteY8617" fmla="*/ 1151952 h 3690338"/>
                <a:gd name="connsiteX8618" fmla="*/ 1191296 w 4878487"/>
                <a:gd name="connsiteY8618" fmla="*/ 1151559 h 3690338"/>
                <a:gd name="connsiteX8619" fmla="*/ 1188541 w 4878487"/>
                <a:gd name="connsiteY8619" fmla="*/ 1149592 h 3690338"/>
                <a:gd name="connsiteX8620" fmla="*/ 1196016 w 4878487"/>
                <a:gd name="connsiteY8620" fmla="*/ 1149592 h 3690338"/>
                <a:gd name="connsiteX8621" fmla="*/ 1196410 w 4878487"/>
                <a:gd name="connsiteY8621" fmla="*/ 1149985 h 3690338"/>
                <a:gd name="connsiteX8622" fmla="*/ 1199164 w 4878487"/>
                <a:gd name="connsiteY8622" fmla="*/ 1149592 h 3690338"/>
                <a:gd name="connsiteX8623" fmla="*/ 1198771 w 4878487"/>
                <a:gd name="connsiteY8623" fmla="*/ 1148018 h 3690338"/>
                <a:gd name="connsiteX8624" fmla="*/ 1197984 w 4878487"/>
                <a:gd name="connsiteY8624" fmla="*/ 1145264 h 3690338"/>
                <a:gd name="connsiteX8625" fmla="*/ 1195230 w 4878487"/>
                <a:gd name="connsiteY8625" fmla="*/ 1143690 h 3690338"/>
                <a:gd name="connsiteX8626" fmla="*/ 1207819 w 4878487"/>
                <a:gd name="connsiteY8626" fmla="*/ 1145264 h 3690338"/>
                <a:gd name="connsiteX8627" fmla="*/ 1210180 w 4878487"/>
                <a:gd name="connsiteY8627" fmla="*/ 1144477 h 3690338"/>
                <a:gd name="connsiteX8628" fmla="*/ 1207426 w 4878487"/>
                <a:gd name="connsiteY8628" fmla="*/ 1141723 h 3690338"/>
                <a:gd name="connsiteX8629" fmla="*/ 1205065 w 4878487"/>
                <a:gd name="connsiteY8629" fmla="*/ 1138969 h 3690338"/>
                <a:gd name="connsiteX8630" fmla="*/ 1202311 w 4878487"/>
                <a:gd name="connsiteY8630" fmla="*/ 1137396 h 3690338"/>
                <a:gd name="connsiteX8631" fmla="*/ 1199557 w 4878487"/>
                <a:gd name="connsiteY8631" fmla="*/ 1134642 h 3690338"/>
                <a:gd name="connsiteX8632" fmla="*/ 1198377 w 4878487"/>
                <a:gd name="connsiteY8632" fmla="*/ 1135428 h 3690338"/>
                <a:gd name="connsiteX8633" fmla="*/ 1194836 w 4878487"/>
                <a:gd name="connsiteY8633" fmla="*/ 1131494 h 3690338"/>
                <a:gd name="connsiteX8634" fmla="*/ 1195230 w 4878487"/>
                <a:gd name="connsiteY8634" fmla="*/ 1130707 h 3690338"/>
                <a:gd name="connsiteX8635" fmla="*/ 1192476 w 4878487"/>
                <a:gd name="connsiteY8635" fmla="*/ 1128740 h 3690338"/>
                <a:gd name="connsiteX8636" fmla="*/ 1190902 w 4878487"/>
                <a:gd name="connsiteY8636" fmla="*/ 1124019 h 3690338"/>
                <a:gd name="connsiteX8637" fmla="*/ 1194049 w 4878487"/>
                <a:gd name="connsiteY8637" fmla="*/ 1122839 h 3690338"/>
                <a:gd name="connsiteX8638" fmla="*/ 1195230 w 4878487"/>
                <a:gd name="connsiteY8638" fmla="*/ 1123232 h 3690338"/>
                <a:gd name="connsiteX8639" fmla="*/ 1195623 w 4878487"/>
                <a:gd name="connsiteY8639" fmla="*/ 1123626 h 3690338"/>
                <a:gd name="connsiteX8640" fmla="*/ 1198771 w 4878487"/>
                <a:gd name="connsiteY8640" fmla="*/ 1124806 h 3690338"/>
                <a:gd name="connsiteX8641" fmla="*/ 1201525 w 4878487"/>
                <a:gd name="connsiteY8641" fmla="*/ 1124806 h 3690338"/>
                <a:gd name="connsiteX8642" fmla="*/ 1204278 w 4878487"/>
                <a:gd name="connsiteY8642" fmla="*/ 1123232 h 3690338"/>
                <a:gd name="connsiteX8643" fmla="*/ 1205459 w 4878487"/>
                <a:gd name="connsiteY8643" fmla="*/ 1122052 h 3690338"/>
                <a:gd name="connsiteX8644" fmla="*/ 1220015 w 4878487"/>
                <a:gd name="connsiteY8644" fmla="*/ 1120478 h 3690338"/>
                <a:gd name="connsiteX8645" fmla="*/ 1220803 w 4878487"/>
                <a:gd name="connsiteY8645" fmla="*/ 1120085 h 3690338"/>
                <a:gd name="connsiteX8646" fmla="*/ 1225523 w 4878487"/>
                <a:gd name="connsiteY8646" fmla="*/ 1116937 h 3690338"/>
                <a:gd name="connsiteX8647" fmla="*/ 1229458 w 4878487"/>
                <a:gd name="connsiteY8647" fmla="*/ 1115364 h 3690338"/>
                <a:gd name="connsiteX8648" fmla="*/ 1231818 w 4878487"/>
                <a:gd name="connsiteY8648" fmla="*/ 1117724 h 3690338"/>
                <a:gd name="connsiteX8649" fmla="*/ 1234966 w 4878487"/>
                <a:gd name="connsiteY8649" fmla="*/ 1117331 h 3690338"/>
                <a:gd name="connsiteX8650" fmla="*/ 1237720 w 4878487"/>
                <a:gd name="connsiteY8650" fmla="*/ 1118904 h 3690338"/>
                <a:gd name="connsiteX8651" fmla="*/ 1240474 w 4878487"/>
                <a:gd name="connsiteY8651" fmla="*/ 1120085 h 3690338"/>
                <a:gd name="connsiteX8652" fmla="*/ 1243228 w 4878487"/>
                <a:gd name="connsiteY8652" fmla="*/ 1120478 h 3690338"/>
                <a:gd name="connsiteX8653" fmla="*/ 1254637 w 4878487"/>
                <a:gd name="connsiteY8653" fmla="*/ 1124806 h 3690338"/>
                <a:gd name="connsiteX8654" fmla="*/ 1255030 w 4878487"/>
                <a:gd name="connsiteY8654" fmla="*/ 1126773 h 3690338"/>
                <a:gd name="connsiteX8655" fmla="*/ 1256998 w 4878487"/>
                <a:gd name="connsiteY8655" fmla="*/ 1129527 h 3690338"/>
                <a:gd name="connsiteX8656" fmla="*/ 1260145 w 4878487"/>
                <a:gd name="connsiteY8656" fmla="*/ 1129134 h 3690338"/>
                <a:gd name="connsiteX8657" fmla="*/ 1262899 w 4878487"/>
                <a:gd name="connsiteY8657" fmla="*/ 1129134 h 3690338"/>
                <a:gd name="connsiteX8658" fmla="*/ 1265653 w 4878487"/>
                <a:gd name="connsiteY8658" fmla="*/ 1128740 h 3690338"/>
                <a:gd name="connsiteX8659" fmla="*/ 1268407 w 4878487"/>
                <a:gd name="connsiteY8659" fmla="*/ 1129134 h 3690338"/>
                <a:gd name="connsiteX8660" fmla="*/ 1271161 w 4878487"/>
                <a:gd name="connsiteY8660" fmla="*/ 1128347 h 3690338"/>
                <a:gd name="connsiteX8661" fmla="*/ 1273915 w 4878487"/>
                <a:gd name="connsiteY8661" fmla="*/ 1127560 h 3690338"/>
                <a:gd name="connsiteX8662" fmla="*/ 1275489 w 4878487"/>
                <a:gd name="connsiteY8662" fmla="*/ 1128347 h 3690338"/>
                <a:gd name="connsiteX8663" fmla="*/ 1275095 w 4878487"/>
                <a:gd name="connsiteY8663" fmla="*/ 1131101 h 3690338"/>
                <a:gd name="connsiteX8664" fmla="*/ 1272341 w 4878487"/>
                <a:gd name="connsiteY8664" fmla="*/ 1132674 h 3690338"/>
                <a:gd name="connsiteX8665" fmla="*/ 1269194 w 4878487"/>
                <a:gd name="connsiteY8665" fmla="*/ 1133461 h 3690338"/>
                <a:gd name="connsiteX8666" fmla="*/ 1266440 w 4878487"/>
                <a:gd name="connsiteY8666" fmla="*/ 1135035 h 3690338"/>
                <a:gd name="connsiteX8667" fmla="*/ 1263686 w 4878487"/>
                <a:gd name="connsiteY8667" fmla="*/ 1137002 h 3690338"/>
                <a:gd name="connsiteX8668" fmla="*/ 1260932 w 4878487"/>
                <a:gd name="connsiteY8668" fmla="*/ 1139363 h 3690338"/>
                <a:gd name="connsiteX8669" fmla="*/ 1262112 w 4878487"/>
                <a:gd name="connsiteY8669" fmla="*/ 1142117 h 3690338"/>
                <a:gd name="connsiteX8670" fmla="*/ 1260932 w 4878487"/>
                <a:gd name="connsiteY8670" fmla="*/ 1145264 h 3690338"/>
                <a:gd name="connsiteX8671" fmla="*/ 1261325 w 4878487"/>
                <a:gd name="connsiteY8671" fmla="*/ 1148018 h 3690338"/>
                <a:gd name="connsiteX8672" fmla="*/ 1264079 w 4878487"/>
                <a:gd name="connsiteY8672" fmla="*/ 1146051 h 3690338"/>
                <a:gd name="connsiteX8673" fmla="*/ 1264473 w 4878487"/>
                <a:gd name="connsiteY8673" fmla="*/ 1143297 h 3690338"/>
                <a:gd name="connsiteX8674" fmla="*/ 1267227 w 4878487"/>
                <a:gd name="connsiteY8674" fmla="*/ 1141723 h 3690338"/>
                <a:gd name="connsiteX8675" fmla="*/ 1269981 w 4878487"/>
                <a:gd name="connsiteY8675" fmla="*/ 1139363 h 3690338"/>
                <a:gd name="connsiteX8676" fmla="*/ 1272341 w 4878487"/>
                <a:gd name="connsiteY8676" fmla="*/ 1136609 h 3690338"/>
                <a:gd name="connsiteX8677" fmla="*/ 1275095 w 4878487"/>
                <a:gd name="connsiteY8677" fmla="*/ 1133855 h 3690338"/>
                <a:gd name="connsiteX8678" fmla="*/ 1278243 w 4878487"/>
                <a:gd name="connsiteY8678" fmla="*/ 1132674 h 3690338"/>
                <a:gd name="connsiteX8679" fmla="*/ 1280996 w 4878487"/>
                <a:gd name="connsiteY8679" fmla="*/ 1131494 h 3690338"/>
                <a:gd name="connsiteX8680" fmla="*/ 1284144 w 4878487"/>
                <a:gd name="connsiteY8680" fmla="*/ 1129527 h 3690338"/>
                <a:gd name="connsiteX8681" fmla="*/ 1286898 w 4878487"/>
                <a:gd name="connsiteY8681" fmla="*/ 1128347 h 3690338"/>
                <a:gd name="connsiteX8682" fmla="*/ 1289259 w 4878487"/>
                <a:gd name="connsiteY8682" fmla="*/ 1126380 h 3690338"/>
                <a:gd name="connsiteX8683" fmla="*/ 1305389 w 4878487"/>
                <a:gd name="connsiteY8683" fmla="*/ 1116937 h 3690338"/>
                <a:gd name="connsiteX8684" fmla="*/ 1306176 w 4878487"/>
                <a:gd name="connsiteY8684" fmla="*/ 1117331 h 3690338"/>
                <a:gd name="connsiteX8685" fmla="*/ 1308930 w 4878487"/>
                <a:gd name="connsiteY8685" fmla="*/ 1114970 h 3690338"/>
                <a:gd name="connsiteX8686" fmla="*/ 1320733 w 4878487"/>
                <a:gd name="connsiteY8686" fmla="*/ 1115364 h 3690338"/>
                <a:gd name="connsiteX8687" fmla="*/ 1321126 w 4878487"/>
                <a:gd name="connsiteY8687" fmla="*/ 1115364 h 3690338"/>
                <a:gd name="connsiteX8688" fmla="*/ 1324273 w 4878487"/>
                <a:gd name="connsiteY8688" fmla="*/ 1115364 h 3690338"/>
                <a:gd name="connsiteX8689" fmla="*/ 1325061 w 4878487"/>
                <a:gd name="connsiteY8689" fmla="*/ 1114970 h 3690338"/>
                <a:gd name="connsiteX8690" fmla="*/ 1326634 w 4878487"/>
                <a:gd name="connsiteY8690" fmla="*/ 1117331 h 3690338"/>
                <a:gd name="connsiteX8691" fmla="*/ 1329388 w 4878487"/>
                <a:gd name="connsiteY8691" fmla="*/ 1116937 h 3690338"/>
                <a:gd name="connsiteX8692" fmla="*/ 1332536 w 4878487"/>
                <a:gd name="connsiteY8692" fmla="*/ 1117331 h 3690338"/>
                <a:gd name="connsiteX8693" fmla="*/ 1335290 w 4878487"/>
                <a:gd name="connsiteY8693" fmla="*/ 1115757 h 3690338"/>
                <a:gd name="connsiteX8694" fmla="*/ 1338043 w 4878487"/>
                <a:gd name="connsiteY8694" fmla="*/ 1113397 h 3690338"/>
                <a:gd name="connsiteX8695" fmla="*/ 1337257 w 4878487"/>
                <a:gd name="connsiteY8695" fmla="*/ 1111036 h 3690338"/>
                <a:gd name="connsiteX8696" fmla="*/ 1336470 w 4878487"/>
                <a:gd name="connsiteY8696" fmla="*/ 1108282 h 3690338"/>
                <a:gd name="connsiteX8697" fmla="*/ 1333716 w 4878487"/>
                <a:gd name="connsiteY8697" fmla="*/ 1107495 h 3690338"/>
                <a:gd name="connsiteX8698" fmla="*/ 1330569 w 4878487"/>
                <a:gd name="connsiteY8698" fmla="*/ 1106708 h 3690338"/>
                <a:gd name="connsiteX8699" fmla="*/ 1327814 w 4878487"/>
                <a:gd name="connsiteY8699" fmla="*/ 1105135 h 3690338"/>
                <a:gd name="connsiteX8700" fmla="*/ 1325061 w 4878487"/>
                <a:gd name="connsiteY8700" fmla="*/ 1103954 h 3690338"/>
                <a:gd name="connsiteX8701" fmla="*/ 1321913 w 4878487"/>
                <a:gd name="connsiteY8701" fmla="*/ 1102381 h 3690338"/>
                <a:gd name="connsiteX8702" fmla="*/ 1319159 w 4878487"/>
                <a:gd name="connsiteY8702" fmla="*/ 1101200 h 3690338"/>
                <a:gd name="connsiteX8703" fmla="*/ 1316405 w 4878487"/>
                <a:gd name="connsiteY8703" fmla="*/ 1099627 h 3690338"/>
                <a:gd name="connsiteX8704" fmla="*/ 1313651 w 4878487"/>
                <a:gd name="connsiteY8704" fmla="*/ 1098053 h 3690338"/>
                <a:gd name="connsiteX8705" fmla="*/ 1307356 w 4878487"/>
                <a:gd name="connsiteY8705" fmla="*/ 1083103 h 3690338"/>
                <a:gd name="connsiteX8706" fmla="*/ 1307750 w 4878487"/>
                <a:gd name="connsiteY8706" fmla="*/ 1082316 h 3690338"/>
                <a:gd name="connsiteX8707" fmla="*/ 1305389 w 4878487"/>
                <a:gd name="connsiteY8707" fmla="*/ 1079168 h 3690338"/>
                <a:gd name="connsiteX8708" fmla="*/ 1304602 w 4878487"/>
                <a:gd name="connsiteY8708" fmla="*/ 1078382 h 3690338"/>
                <a:gd name="connsiteX8709" fmla="*/ 1295947 w 4878487"/>
                <a:gd name="connsiteY8709" fmla="*/ 1063431 h 3690338"/>
                <a:gd name="connsiteX8710" fmla="*/ 1298701 w 4878487"/>
                <a:gd name="connsiteY8710" fmla="*/ 1058710 h 3690338"/>
                <a:gd name="connsiteX8711" fmla="*/ 1299094 w 4878487"/>
                <a:gd name="connsiteY8711" fmla="*/ 1058317 h 3690338"/>
                <a:gd name="connsiteX8712" fmla="*/ 1301848 w 4878487"/>
                <a:gd name="connsiteY8712" fmla="*/ 1056743 h 3690338"/>
                <a:gd name="connsiteX8713" fmla="*/ 1301455 w 4878487"/>
                <a:gd name="connsiteY8713" fmla="*/ 1053989 h 3690338"/>
                <a:gd name="connsiteX8714" fmla="*/ 1301848 w 4878487"/>
                <a:gd name="connsiteY8714" fmla="*/ 1053596 h 3690338"/>
                <a:gd name="connsiteX8715" fmla="*/ 1301848 w 4878487"/>
                <a:gd name="connsiteY8715" fmla="*/ 1050842 h 3690338"/>
                <a:gd name="connsiteX8716" fmla="*/ 1301455 w 4878487"/>
                <a:gd name="connsiteY8716" fmla="*/ 1049268 h 3690338"/>
                <a:gd name="connsiteX8717" fmla="*/ 1301455 w 4878487"/>
                <a:gd name="connsiteY8717" fmla="*/ 1046121 h 3690338"/>
                <a:gd name="connsiteX8718" fmla="*/ 1301848 w 4878487"/>
                <a:gd name="connsiteY8718" fmla="*/ 1044940 h 3690338"/>
                <a:gd name="connsiteX8719" fmla="*/ 1301455 w 4878487"/>
                <a:gd name="connsiteY8719" fmla="*/ 1042186 h 3690338"/>
                <a:gd name="connsiteX8720" fmla="*/ 1304209 w 4878487"/>
                <a:gd name="connsiteY8720" fmla="*/ 1041006 h 3690338"/>
                <a:gd name="connsiteX8721" fmla="*/ 1305389 w 4878487"/>
                <a:gd name="connsiteY8721" fmla="*/ 1038252 h 3690338"/>
                <a:gd name="connsiteX8722" fmla="*/ 1307750 w 4878487"/>
                <a:gd name="connsiteY8722" fmla="*/ 1035498 h 3690338"/>
                <a:gd name="connsiteX8723" fmla="*/ 1310503 w 4878487"/>
                <a:gd name="connsiteY8723" fmla="*/ 1035105 h 3690338"/>
                <a:gd name="connsiteX8724" fmla="*/ 1313258 w 4878487"/>
                <a:gd name="connsiteY8724" fmla="*/ 1035498 h 3690338"/>
                <a:gd name="connsiteX8725" fmla="*/ 1316405 w 4878487"/>
                <a:gd name="connsiteY8725" fmla="*/ 1035891 h 3690338"/>
                <a:gd name="connsiteX8726" fmla="*/ 1318372 w 4878487"/>
                <a:gd name="connsiteY8726" fmla="*/ 1033138 h 3690338"/>
                <a:gd name="connsiteX8727" fmla="*/ 1318372 w 4878487"/>
                <a:gd name="connsiteY8727" fmla="*/ 1029990 h 3690338"/>
                <a:gd name="connsiteX8728" fmla="*/ 1317585 w 4878487"/>
                <a:gd name="connsiteY8728" fmla="*/ 1027236 h 3690338"/>
                <a:gd name="connsiteX8729" fmla="*/ 1317585 w 4878487"/>
                <a:gd name="connsiteY8729" fmla="*/ 1024482 h 3690338"/>
                <a:gd name="connsiteX8730" fmla="*/ 1325847 w 4878487"/>
                <a:gd name="connsiteY8730" fmla="*/ 993008 h 3690338"/>
                <a:gd name="connsiteX8731" fmla="*/ 1320339 w 4878487"/>
                <a:gd name="connsiteY8731" fmla="*/ 993401 h 3690338"/>
                <a:gd name="connsiteX8732" fmla="*/ 1323093 w 4878487"/>
                <a:gd name="connsiteY8732" fmla="*/ 991041 h 3690338"/>
                <a:gd name="connsiteX8733" fmla="*/ 1323487 w 4878487"/>
                <a:gd name="connsiteY8733" fmla="*/ 987894 h 3690338"/>
                <a:gd name="connsiteX8734" fmla="*/ 1322700 w 4878487"/>
                <a:gd name="connsiteY8734" fmla="*/ 986713 h 3690338"/>
                <a:gd name="connsiteX8735" fmla="*/ 1324273 w 4878487"/>
                <a:gd name="connsiteY8735" fmla="*/ 982779 h 3690338"/>
                <a:gd name="connsiteX8736" fmla="*/ 1325454 w 4878487"/>
                <a:gd name="connsiteY8736" fmla="*/ 982779 h 3690338"/>
                <a:gd name="connsiteX8737" fmla="*/ 1325847 w 4878487"/>
                <a:gd name="connsiteY8737" fmla="*/ 982779 h 3690338"/>
                <a:gd name="connsiteX8738" fmla="*/ 1326634 w 4878487"/>
                <a:gd name="connsiteY8738" fmla="*/ 982779 h 3690338"/>
                <a:gd name="connsiteX8739" fmla="*/ 1326634 w 4878487"/>
                <a:gd name="connsiteY8739" fmla="*/ 985533 h 3690338"/>
                <a:gd name="connsiteX8740" fmla="*/ 1327421 w 4878487"/>
                <a:gd name="connsiteY8740" fmla="*/ 988287 h 3690338"/>
                <a:gd name="connsiteX8741" fmla="*/ 1325454 w 4878487"/>
                <a:gd name="connsiteY8741" fmla="*/ 991041 h 3690338"/>
                <a:gd name="connsiteX8742" fmla="*/ 1328208 w 4878487"/>
                <a:gd name="connsiteY8742" fmla="*/ 990647 h 3690338"/>
                <a:gd name="connsiteX8743" fmla="*/ 1330962 w 4878487"/>
                <a:gd name="connsiteY8743" fmla="*/ 989074 h 3690338"/>
                <a:gd name="connsiteX8744" fmla="*/ 1333716 w 4878487"/>
                <a:gd name="connsiteY8744" fmla="*/ 988680 h 3690338"/>
                <a:gd name="connsiteX8745" fmla="*/ 1336863 w 4878487"/>
                <a:gd name="connsiteY8745" fmla="*/ 988287 h 3690338"/>
                <a:gd name="connsiteX8746" fmla="*/ 1339617 w 4878487"/>
                <a:gd name="connsiteY8746" fmla="*/ 987894 h 3690338"/>
                <a:gd name="connsiteX8747" fmla="*/ 1341584 w 4878487"/>
                <a:gd name="connsiteY8747" fmla="*/ 985533 h 3690338"/>
                <a:gd name="connsiteX8748" fmla="*/ 1342371 w 4878487"/>
                <a:gd name="connsiteY8748" fmla="*/ 981992 h 3690338"/>
                <a:gd name="connsiteX8749" fmla="*/ 1342765 w 4878487"/>
                <a:gd name="connsiteY8749" fmla="*/ 976878 h 3690338"/>
                <a:gd name="connsiteX8750" fmla="*/ 1341584 w 4878487"/>
                <a:gd name="connsiteY8750" fmla="*/ 974910 h 3690338"/>
                <a:gd name="connsiteX8751" fmla="*/ 1343158 w 4878487"/>
                <a:gd name="connsiteY8751" fmla="*/ 974517 h 3690338"/>
                <a:gd name="connsiteX8752" fmla="*/ 1343551 w 4878487"/>
                <a:gd name="connsiteY8752" fmla="*/ 970583 h 3690338"/>
                <a:gd name="connsiteX8753" fmla="*/ 1343158 w 4878487"/>
                <a:gd name="connsiteY8753" fmla="*/ 967435 h 3690338"/>
                <a:gd name="connsiteX8754" fmla="*/ 1346306 w 4878487"/>
                <a:gd name="connsiteY8754" fmla="*/ 959567 h 3690338"/>
                <a:gd name="connsiteX8755" fmla="*/ 1349059 w 4878487"/>
                <a:gd name="connsiteY8755" fmla="*/ 957206 h 3690338"/>
                <a:gd name="connsiteX8756" fmla="*/ 1351813 w 4878487"/>
                <a:gd name="connsiteY8756" fmla="*/ 954846 h 3690338"/>
                <a:gd name="connsiteX8757" fmla="*/ 1354568 w 4878487"/>
                <a:gd name="connsiteY8757" fmla="*/ 952879 h 3690338"/>
                <a:gd name="connsiteX8758" fmla="*/ 1356535 w 4878487"/>
                <a:gd name="connsiteY8758" fmla="*/ 950518 h 3690338"/>
                <a:gd name="connsiteX8759" fmla="*/ 1358895 w 4878487"/>
                <a:gd name="connsiteY8759" fmla="*/ 948157 h 3690338"/>
                <a:gd name="connsiteX8760" fmla="*/ 1360076 w 4878487"/>
                <a:gd name="connsiteY8760" fmla="*/ 946584 h 3690338"/>
                <a:gd name="connsiteX8761" fmla="*/ 1360076 w 4878487"/>
                <a:gd name="connsiteY8761" fmla="*/ 946190 h 3690338"/>
                <a:gd name="connsiteX8762" fmla="*/ 1360469 w 4878487"/>
                <a:gd name="connsiteY8762" fmla="*/ 945403 h 3690338"/>
                <a:gd name="connsiteX8763" fmla="*/ 1360076 w 4878487"/>
                <a:gd name="connsiteY8763" fmla="*/ 945797 h 3690338"/>
                <a:gd name="connsiteX8764" fmla="*/ 1359682 w 4878487"/>
                <a:gd name="connsiteY8764" fmla="*/ 946190 h 3690338"/>
                <a:gd name="connsiteX8765" fmla="*/ 1360076 w 4878487"/>
                <a:gd name="connsiteY8765" fmla="*/ 945797 h 3690338"/>
                <a:gd name="connsiteX8766" fmla="*/ 1360076 w 4878487"/>
                <a:gd name="connsiteY8766" fmla="*/ 945797 h 3690338"/>
                <a:gd name="connsiteX8767" fmla="*/ 1360076 w 4878487"/>
                <a:gd name="connsiteY8767" fmla="*/ 945797 h 3690338"/>
                <a:gd name="connsiteX8768" fmla="*/ 1377386 w 4878487"/>
                <a:gd name="connsiteY8768" fmla="*/ 927699 h 3690338"/>
                <a:gd name="connsiteX8769" fmla="*/ 1381320 w 4878487"/>
                <a:gd name="connsiteY8769" fmla="*/ 928486 h 3690338"/>
                <a:gd name="connsiteX8770" fmla="*/ 1386828 w 4878487"/>
                <a:gd name="connsiteY8770" fmla="*/ 928093 h 3690338"/>
                <a:gd name="connsiteX8771" fmla="*/ 1389583 w 4878487"/>
                <a:gd name="connsiteY8771" fmla="*/ 926912 h 3690338"/>
                <a:gd name="connsiteX8772" fmla="*/ 1392336 w 4878487"/>
                <a:gd name="connsiteY8772" fmla="*/ 927699 h 3690338"/>
                <a:gd name="connsiteX8773" fmla="*/ 1395484 w 4878487"/>
                <a:gd name="connsiteY8773" fmla="*/ 927306 h 3690338"/>
                <a:gd name="connsiteX8774" fmla="*/ 1396271 w 4878487"/>
                <a:gd name="connsiteY8774" fmla="*/ 924552 h 3690338"/>
                <a:gd name="connsiteX8775" fmla="*/ 1394697 w 4878487"/>
                <a:gd name="connsiteY8775" fmla="*/ 921798 h 3690338"/>
                <a:gd name="connsiteX8776" fmla="*/ 1396664 w 4878487"/>
                <a:gd name="connsiteY8776" fmla="*/ 919044 h 3690338"/>
                <a:gd name="connsiteX8777" fmla="*/ 1397057 w 4878487"/>
                <a:gd name="connsiteY8777" fmla="*/ 920618 h 3690338"/>
                <a:gd name="connsiteX8778" fmla="*/ 1396271 w 4878487"/>
                <a:gd name="connsiteY8778" fmla="*/ 921798 h 3690338"/>
                <a:gd name="connsiteX8779" fmla="*/ 1397451 w 4878487"/>
                <a:gd name="connsiteY8779" fmla="*/ 924158 h 3690338"/>
                <a:gd name="connsiteX8780" fmla="*/ 1399024 w 4878487"/>
                <a:gd name="connsiteY8780" fmla="*/ 926912 h 3690338"/>
                <a:gd name="connsiteX8781" fmla="*/ 1401779 w 4878487"/>
                <a:gd name="connsiteY8781" fmla="*/ 928093 h 3690338"/>
                <a:gd name="connsiteX8782" fmla="*/ 1404532 w 4878487"/>
                <a:gd name="connsiteY8782" fmla="*/ 928880 h 3690338"/>
                <a:gd name="connsiteX8783" fmla="*/ 1407680 w 4878487"/>
                <a:gd name="connsiteY8783" fmla="*/ 929666 h 3690338"/>
                <a:gd name="connsiteX8784" fmla="*/ 1410434 w 4878487"/>
                <a:gd name="connsiteY8784" fmla="*/ 929273 h 3690338"/>
                <a:gd name="connsiteX8785" fmla="*/ 1413188 w 4878487"/>
                <a:gd name="connsiteY8785" fmla="*/ 927699 h 3690338"/>
                <a:gd name="connsiteX8786" fmla="*/ 1415549 w 4878487"/>
                <a:gd name="connsiteY8786" fmla="*/ 926912 h 3690338"/>
                <a:gd name="connsiteX8787" fmla="*/ 1415942 w 4878487"/>
                <a:gd name="connsiteY8787" fmla="*/ 926912 h 3690338"/>
                <a:gd name="connsiteX8788" fmla="*/ 1413188 w 4878487"/>
                <a:gd name="connsiteY8788" fmla="*/ 928880 h 3690338"/>
                <a:gd name="connsiteX8789" fmla="*/ 1410434 w 4878487"/>
                <a:gd name="connsiteY8789" fmla="*/ 930453 h 3690338"/>
                <a:gd name="connsiteX8790" fmla="*/ 1410827 w 4878487"/>
                <a:gd name="connsiteY8790" fmla="*/ 932027 h 3690338"/>
                <a:gd name="connsiteX8791" fmla="*/ 1395484 w 4878487"/>
                <a:gd name="connsiteY8791" fmla="*/ 930847 h 3690338"/>
                <a:gd name="connsiteX8792" fmla="*/ 1392730 w 4878487"/>
                <a:gd name="connsiteY8792" fmla="*/ 929666 h 3690338"/>
                <a:gd name="connsiteX8793" fmla="*/ 1389583 w 4878487"/>
                <a:gd name="connsiteY8793" fmla="*/ 930060 h 3690338"/>
                <a:gd name="connsiteX8794" fmla="*/ 1386828 w 4878487"/>
                <a:gd name="connsiteY8794" fmla="*/ 929273 h 3690338"/>
                <a:gd name="connsiteX8795" fmla="*/ 1389583 w 4878487"/>
                <a:gd name="connsiteY8795" fmla="*/ 931634 h 3690338"/>
                <a:gd name="connsiteX8796" fmla="*/ 1392336 w 4878487"/>
                <a:gd name="connsiteY8796" fmla="*/ 931634 h 3690338"/>
                <a:gd name="connsiteX8797" fmla="*/ 1394697 w 4878487"/>
                <a:gd name="connsiteY8797" fmla="*/ 932027 h 3690338"/>
                <a:gd name="connsiteX8798" fmla="*/ 1398238 w 4878487"/>
                <a:gd name="connsiteY8798" fmla="*/ 936748 h 3690338"/>
                <a:gd name="connsiteX8799" fmla="*/ 1397451 w 4878487"/>
                <a:gd name="connsiteY8799" fmla="*/ 937142 h 3690338"/>
                <a:gd name="connsiteX8800" fmla="*/ 1394303 w 4878487"/>
                <a:gd name="connsiteY8800" fmla="*/ 938322 h 3690338"/>
                <a:gd name="connsiteX8801" fmla="*/ 1397451 w 4878487"/>
                <a:gd name="connsiteY8801" fmla="*/ 937928 h 3690338"/>
                <a:gd name="connsiteX8802" fmla="*/ 1400205 w 4878487"/>
                <a:gd name="connsiteY8802" fmla="*/ 939502 h 3690338"/>
                <a:gd name="connsiteX8803" fmla="*/ 1401779 w 4878487"/>
                <a:gd name="connsiteY8803" fmla="*/ 939895 h 3690338"/>
                <a:gd name="connsiteX8804" fmla="*/ 1404532 w 4878487"/>
                <a:gd name="connsiteY8804" fmla="*/ 941863 h 3690338"/>
                <a:gd name="connsiteX8805" fmla="*/ 1407680 w 4878487"/>
                <a:gd name="connsiteY8805" fmla="*/ 943043 h 3690338"/>
                <a:gd name="connsiteX8806" fmla="*/ 1410434 w 4878487"/>
                <a:gd name="connsiteY8806" fmla="*/ 945010 h 3690338"/>
                <a:gd name="connsiteX8807" fmla="*/ 1413188 w 4878487"/>
                <a:gd name="connsiteY8807" fmla="*/ 945797 h 3690338"/>
                <a:gd name="connsiteX8808" fmla="*/ 1416335 w 4878487"/>
                <a:gd name="connsiteY8808" fmla="*/ 945403 h 3690338"/>
                <a:gd name="connsiteX8809" fmla="*/ 1419090 w 4878487"/>
                <a:gd name="connsiteY8809" fmla="*/ 945010 h 3690338"/>
                <a:gd name="connsiteX8810" fmla="*/ 1421843 w 4878487"/>
                <a:gd name="connsiteY8810" fmla="*/ 944223 h 3690338"/>
                <a:gd name="connsiteX8811" fmla="*/ 1424991 w 4878487"/>
                <a:gd name="connsiteY8811" fmla="*/ 945010 h 3690338"/>
                <a:gd name="connsiteX8812" fmla="*/ 1427745 w 4878487"/>
                <a:gd name="connsiteY8812" fmla="*/ 944617 h 3690338"/>
                <a:gd name="connsiteX8813" fmla="*/ 1441515 w 4878487"/>
                <a:gd name="connsiteY8813" fmla="*/ 946977 h 3690338"/>
                <a:gd name="connsiteX8814" fmla="*/ 1444268 w 4878487"/>
                <a:gd name="connsiteY8814" fmla="*/ 944223 h 3690338"/>
                <a:gd name="connsiteX8815" fmla="*/ 1444268 w 4878487"/>
                <a:gd name="connsiteY8815" fmla="*/ 944617 h 3690338"/>
                <a:gd name="connsiteX8816" fmla="*/ 1431679 w 4878487"/>
                <a:gd name="connsiteY8816" fmla="*/ 957993 h 3690338"/>
                <a:gd name="connsiteX8817" fmla="*/ 1426958 w 4878487"/>
                <a:gd name="connsiteY8817" fmla="*/ 960354 h 3690338"/>
                <a:gd name="connsiteX8818" fmla="*/ 1425384 w 4878487"/>
                <a:gd name="connsiteY8818" fmla="*/ 963108 h 3690338"/>
                <a:gd name="connsiteX8819" fmla="*/ 1422630 w 4878487"/>
                <a:gd name="connsiteY8819" fmla="*/ 963895 h 3690338"/>
                <a:gd name="connsiteX8820" fmla="*/ 1419483 w 4878487"/>
                <a:gd name="connsiteY8820" fmla="*/ 965075 h 3690338"/>
                <a:gd name="connsiteX8821" fmla="*/ 1416729 w 4878487"/>
                <a:gd name="connsiteY8821" fmla="*/ 968222 h 3690338"/>
                <a:gd name="connsiteX8822" fmla="*/ 1419483 w 4878487"/>
                <a:gd name="connsiteY8822" fmla="*/ 970976 h 3690338"/>
                <a:gd name="connsiteX8823" fmla="*/ 1436794 w 4878487"/>
                <a:gd name="connsiteY8823" fmla="*/ 974910 h 3690338"/>
                <a:gd name="connsiteX8824" fmla="*/ 1437187 w 4878487"/>
                <a:gd name="connsiteY8824" fmla="*/ 974910 h 3690338"/>
                <a:gd name="connsiteX8825" fmla="*/ 1439941 w 4878487"/>
                <a:gd name="connsiteY8825" fmla="*/ 975304 h 3690338"/>
                <a:gd name="connsiteX8826" fmla="*/ 1448203 w 4878487"/>
                <a:gd name="connsiteY8826" fmla="*/ 981205 h 3690338"/>
                <a:gd name="connsiteX8827" fmla="*/ 1447809 w 4878487"/>
                <a:gd name="connsiteY8827" fmla="*/ 986713 h 3690338"/>
                <a:gd name="connsiteX8828" fmla="*/ 1447023 w 4878487"/>
                <a:gd name="connsiteY8828" fmla="*/ 987500 h 3690338"/>
                <a:gd name="connsiteX8829" fmla="*/ 1447416 w 4878487"/>
                <a:gd name="connsiteY8829" fmla="*/ 989861 h 3690338"/>
                <a:gd name="connsiteX8830" fmla="*/ 1447416 w 4878487"/>
                <a:gd name="connsiteY8830" fmla="*/ 993401 h 3690338"/>
                <a:gd name="connsiteX8831" fmla="*/ 1444662 w 4878487"/>
                <a:gd name="connsiteY8831" fmla="*/ 994975 h 3690338"/>
                <a:gd name="connsiteX8832" fmla="*/ 1443875 w 4878487"/>
                <a:gd name="connsiteY8832" fmla="*/ 994582 h 3690338"/>
                <a:gd name="connsiteX8833" fmla="*/ 1445842 w 4878487"/>
                <a:gd name="connsiteY8833" fmla="*/ 996942 h 3690338"/>
                <a:gd name="connsiteX8834" fmla="*/ 1448990 w 4878487"/>
                <a:gd name="connsiteY8834" fmla="*/ 998123 h 3690338"/>
                <a:gd name="connsiteX8835" fmla="*/ 1450170 w 4878487"/>
                <a:gd name="connsiteY8835" fmla="*/ 998123 h 3690338"/>
                <a:gd name="connsiteX8836" fmla="*/ 1452531 w 4878487"/>
                <a:gd name="connsiteY8836" fmla="*/ 1000483 h 3690338"/>
                <a:gd name="connsiteX8837" fmla="*/ 1455285 w 4878487"/>
                <a:gd name="connsiteY8837" fmla="*/ 1001663 h 3690338"/>
                <a:gd name="connsiteX8838" fmla="*/ 1458432 w 4878487"/>
                <a:gd name="connsiteY8838" fmla="*/ 1001663 h 3690338"/>
                <a:gd name="connsiteX8839" fmla="*/ 1461186 w 4878487"/>
                <a:gd name="connsiteY8839" fmla="*/ 1001270 h 3690338"/>
                <a:gd name="connsiteX8840" fmla="*/ 1463940 w 4878487"/>
                <a:gd name="connsiteY8840" fmla="*/ 1000483 h 3690338"/>
                <a:gd name="connsiteX8841" fmla="*/ 1466694 w 4878487"/>
                <a:gd name="connsiteY8841" fmla="*/ 998123 h 3690338"/>
                <a:gd name="connsiteX8842" fmla="*/ 1469841 w 4878487"/>
                <a:gd name="connsiteY8842" fmla="*/ 996549 h 3690338"/>
                <a:gd name="connsiteX8843" fmla="*/ 1470628 w 4878487"/>
                <a:gd name="connsiteY8843" fmla="*/ 993401 h 3690338"/>
                <a:gd name="connsiteX8844" fmla="*/ 1471808 w 4878487"/>
                <a:gd name="connsiteY8844" fmla="*/ 991041 h 3690338"/>
                <a:gd name="connsiteX8845" fmla="*/ 1486365 w 4878487"/>
                <a:gd name="connsiteY8845" fmla="*/ 986320 h 3690338"/>
                <a:gd name="connsiteX8846" fmla="*/ 1486759 w 4878487"/>
                <a:gd name="connsiteY8846" fmla="*/ 986713 h 3690338"/>
                <a:gd name="connsiteX8847" fmla="*/ 1489512 w 4878487"/>
                <a:gd name="connsiteY8847" fmla="*/ 986713 h 3690338"/>
                <a:gd name="connsiteX8848" fmla="*/ 1491873 w 4878487"/>
                <a:gd name="connsiteY8848" fmla="*/ 983959 h 3690338"/>
                <a:gd name="connsiteX8849" fmla="*/ 1492660 w 4878487"/>
                <a:gd name="connsiteY8849" fmla="*/ 983566 h 3690338"/>
                <a:gd name="connsiteX8850" fmla="*/ 1497775 w 4878487"/>
                <a:gd name="connsiteY8850" fmla="*/ 981205 h 3690338"/>
                <a:gd name="connsiteX8851" fmla="*/ 1508397 w 4878487"/>
                <a:gd name="connsiteY8851" fmla="*/ 981205 h 3690338"/>
                <a:gd name="connsiteX8852" fmla="*/ 1510758 w 4878487"/>
                <a:gd name="connsiteY8852" fmla="*/ 981205 h 3690338"/>
                <a:gd name="connsiteX8853" fmla="*/ 1511545 w 4878487"/>
                <a:gd name="connsiteY8853" fmla="*/ 980812 h 3690338"/>
                <a:gd name="connsiteX8854" fmla="*/ 1511938 w 4878487"/>
                <a:gd name="connsiteY8854" fmla="*/ 981205 h 3690338"/>
                <a:gd name="connsiteX8855" fmla="*/ 1513118 w 4878487"/>
                <a:gd name="connsiteY8855" fmla="*/ 981205 h 3690338"/>
                <a:gd name="connsiteX8856" fmla="*/ 1517839 w 4878487"/>
                <a:gd name="connsiteY8856" fmla="*/ 980812 h 3690338"/>
                <a:gd name="connsiteX8857" fmla="*/ 1520593 w 4878487"/>
                <a:gd name="connsiteY8857" fmla="*/ 980025 h 3690338"/>
                <a:gd name="connsiteX8858" fmla="*/ 1523348 w 4878487"/>
                <a:gd name="connsiteY8858" fmla="*/ 979632 h 3690338"/>
                <a:gd name="connsiteX8859" fmla="*/ 1523741 w 4878487"/>
                <a:gd name="connsiteY8859" fmla="*/ 976878 h 3690338"/>
                <a:gd name="connsiteX8860" fmla="*/ 1523741 w 4878487"/>
                <a:gd name="connsiteY8860" fmla="*/ 974910 h 3690338"/>
                <a:gd name="connsiteX8861" fmla="*/ 1528855 w 4878487"/>
                <a:gd name="connsiteY8861" fmla="*/ 969796 h 3690338"/>
                <a:gd name="connsiteX8862" fmla="*/ 1526101 w 4878487"/>
                <a:gd name="connsiteY8862" fmla="*/ 967829 h 3690338"/>
                <a:gd name="connsiteX8863" fmla="*/ 1523348 w 4878487"/>
                <a:gd name="connsiteY8863" fmla="*/ 966649 h 3690338"/>
                <a:gd name="connsiteX8864" fmla="*/ 1520593 w 4878487"/>
                <a:gd name="connsiteY8864" fmla="*/ 966255 h 3690338"/>
                <a:gd name="connsiteX8865" fmla="*/ 1517446 w 4878487"/>
                <a:gd name="connsiteY8865" fmla="*/ 965862 h 3690338"/>
                <a:gd name="connsiteX8866" fmla="*/ 1514692 w 4878487"/>
                <a:gd name="connsiteY8866" fmla="*/ 966255 h 3690338"/>
                <a:gd name="connsiteX8867" fmla="*/ 1513118 w 4878487"/>
                <a:gd name="connsiteY8867" fmla="*/ 968616 h 3690338"/>
                <a:gd name="connsiteX8868" fmla="*/ 1509184 w 4878487"/>
                <a:gd name="connsiteY8868" fmla="*/ 968222 h 3690338"/>
                <a:gd name="connsiteX8869" fmla="*/ 1506430 w 4878487"/>
                <a:gd name="connsiteY8869" fmla="*/ 965862 h 3690338"/>
                <a:gd name="connsiteX8870" fmla="*/ 1504856 w 4878487"/>
                <a:gd name="connsiteY8870" fmla="*/ 968616 h 3690338"/>
                <a:gd name="connsiteX8871" fmla="*/ 1502102 w 4878487"/>
                <a:gd name="connsiteY8871" fmla="*/ 970189 h 3690338"/>
                <a:gd name="connsiteX8872" fmla="*/ 1499348 w 4878487"/>
                <a:gd name="connsiteY8872" fmla="*/ 971370 h 3690338"/>
                <a:gd name="connsiteX8873" fmla="*/ 1484398 w 4878487"/>
                <a:gd name="connsiteY8873" fmla="*/ 957206 h 3690338"/>
                <a:gd name="connsiteX8874" fmla="*/ 1484005 w 4878487"/>
                <a:gd name="connsiteY8874" fmla="*/ 956419 h 3690338"/>
                <a:gd name="connsiteX8875" fmla="*/ 1483611 w 4878487"/>
                <a:gd name="connsiteY8875" fmla="*/ 956419 h 3690338"/>
                <a:gd name="connsiteX8876" fmla="*/ 1482824 w 4878487"/>
                <a:gd name="connsiteY8876" fmla="*/ 955633 h 3690338"/>
                <a:gd name="connsiteX8877" fmla="*/ 1478104 w 4878487"/>
                <a:gd name="connsiteY8877" fmla="*/ 946190 h 3690338"/>
                <a:gd name="connsiteX8878" fmla="*/ 1481644 w 4878487"/>
                <a:gd name="connsiteY8878" fmla="*/ 939109 h 3690338"/>
                <a:gd name="connsiteX8879" fmla="*/ 1484398 w 4878487"/>
                <a:gd name="connsiteY8879" fmla="*/ 937535 h 3690338"/>
                <a:gd name="connsiteX8880" fmla="*/ 1488726 w 4878487"/>
                <a:gd name="connsiteY8880" fmla="*/ 938715 h 3690338"/>
                <a:gd name="connsiteX8881" fmla="*/ 1484398 w 4878487"/>
                <a:gd name="connsiteY8881" fmla="*/ 942256 h 3690338"/>
                <a:gd name="connsiteX8882" fmla="*/ 1484005 w 4878487"/>
                <a:gd name="connsiteY8882" fmla="*/ 942256 h 3690338"/>
                <a:gd name="connsiteX8883" fmla="*/ 1482431 w 4878487"/>
                <a:gd name="connsiteY8883" fmla="*/ 943830 h 3690338"/>
                <a:gd name="connsiteX8884" fmla="*/ 1482431 w 4878487"/>
                <a:gd name="connsiteY8884" fmla="*/ 944617 h 3690338"/>
                <a:gd name="connsiteX8885" fmla="*/ 1485185 w 4878487"/>
                <a:gd name="connsiteY8885" fmla="*/ 943436 h 3690338"/>
                <a:gd name="connsiteX8886" fmla="*/ 1487939 w 4878487"/>
                <a:gd name="connsiteY8886" fmla="*/ 940682 h 3690338"/>
                <a:gd name="connsiteX8887" fmla="*/ 1489119 w 4878487"/>
                <a:gd name="connsiteY8887" fmla="*/ 938715 h 3690338"/>
                <a:gd name="connsiteX8888" fmla="*/ 1525315 w 4878487"/>
                <a:gd name="connsiteY8888" fmla="*/ 921798 h 3690338"/>
                <a:gd name="connsiteX8889" fmla="*/ 1527675 w 4878487"/>
                <a:gd name="connsiteY8889" fmla="*/ 924158 h 3690338"/>
                <a:gd name="connsiteX8890" fmla="*/ 1528855 w 4878487"/>
                <a:gd name="connsiteY8890" fmla="*/ 921405 h 3690338"/>
                <a:gd name="connsiteX8891" fmla="*/ 1532003 w 4878487"/>
                <a:gd name="connsiteY8891" fmla="*/ 918650 h 3690338"/>
                <a:gd name="connsiteX8892" fmla="*/ 1533183 w 4878487"/>
                <a:gd name="connsiteY8892" fmla="*/ 918257 h 3690338"/>
                <a:gd name="connsiteX8893" fmla="*/ 1536330 w 4878487"/>
                <a:gd name="connsiteY8893" fmla="*/ 917077 h 3690338"/>
                <a:gd name="connsiteX8894" fmla="*/ 1539085 w 4878487"/>
                <a:gd name="connsiteY8894" fmla="*/ 916683 h 3690338"/>
                <a:gd name="connsiteX8895" fmla="*/ 1541838 w 4878487"/>
                <a:gd name="connsiteY8895" fmla="*/ 916683 h 3690338"/>
                <a:gd name="connsiteX8896" fmla="*/ 1543412 w 4878487"/>
                <a:gd name="connsiteY8896" fmla="*/ 913929 h 3690338"/>
                <a:gd name="connsiteX8897" fmla="*/ 1544986 w 4878487"/>
                <a:gd name="connsiteY8897" fmla="*/ 912356 h 3690338"/>
                <a:gd name="connsiteX8898" fmla="*/ 1549707 w 4878487"/>
                <a:gd name="connsiteY8898" fmla="*/ 911962 h 3690338"/>
                <a:gd name="connsiteX8899" fmla="*/ 1550887 w 4878487"/>
                <a:gd name="connsiteY8899" fmla="*/ 911962 h 3690338"/>
                <a:gd name="connsiteX8900" fmla="*/ 1552067 w 4878487"/>
                <a:gd name="connsiteY8900" fmla="*/ 911569 h 3690338"/>
                <a:gd name="connsiteX8901" fmla="*/ 1557575 w 4878487"/>
                <a:gd name="connsiteY8901" fmla="*/ 911175 h 3690338"/>
                <a:gd name="connsiteX8902" fmla="*/ 1559543 w 4878487"/>
                <a:gd name="connsiteY8902" fmla="*/ 911175 h 3690338"/>
                <a:gd name="connsiteX8903" fmla="*/ 1562296 w 4878487"/>
                <a:gd name="connsiteY8903" fmla="*/ 911962 h 3690338"/>
                <a:gd name="connsiteX8904" fmla="*/ 1563870 w 4878487"/>
                <a:gd name="connsiteY8904" fmla="*/ 910389 h 3690338"/>
                <a:gd name="connsiteX8905" fmla="*/ 1564657 w 4878487"/>
                <a:gd name="connsiteY8905" fmla="*/ 910389 h 3690338"/>
                <a:gd name="connsiteX8906" fmla="*/ 1565444 w 4878487"/>
                <a:gd name="connsiteY8906" fmla="*/ 909995 h 3690338"/>
                <a:gd name="connsiteX8907" fmla="*/ 1567804 w 4878487"/>
                <a:gd name="connsiteY8907" fmla="*/ 909602 h 3690338"/>
                <a:gd name="connsiteX8908" fmla="*/ 1570559 w 4878487"/>
                <a:gd name="connsiteY8908" fmla="*/ 907241 h 3690338"/>
                <a:gd name="connsiteX8909" fmla="*/ 1571345 w 4878487"/>
                <a:gd name="connsiteY8909" fmla="*/ 907635 h 3690338"/>
                <a:gd name="connsiteX8910" fmla="*/ 1570165 w 4878487"/>
                <a:gd name="connsiteY8910" fmla="*/ 909602 h 3690338"/>
                <a:gd name="connsiteX8911" fmla="*/ 1573313 w 4878487"/>
                <a:gd name="connsiteY8911" fmla="*/ 909602 h 3690338"/>
                <a:gd name="connsiteX8912" fmla="*/ 1576066 w 4878487"/>
                <a:gd name="connsiteY8912" fmla="*/ 908815 h 3690338"/>
                <a:gd name="connsiteX8913" fmla="*/ 1579214 w 4878487"/>
                <a:gd name="connsiteY8913" fmla="*/ 908815 h 3690338"/>
                <a:gd name="connsiteX8914" fmla="*/ 1581968 w 4878487"/>
                <a:gd name="connsiteY8914" fmla="*/ 908028 h 3690338"/>
                <a:gd name="connsiteX8915" fmla="*/ 1582362 w 4878487"/>
                <a:gd name="connsiteY8915" fmla="*/ 907635 h 3690338"/>
                <a:gd name="connsiteX8916" fmla="*/ 1590623 w 4878487"/>
                <a:gd name="connsiteY8916" fmla="*/ 906061 h 3690338"/>
                <a:gd name="connsiteX8917" fmla="*/ 1591410 w 4878487"/>
                <a:gd name="connsiteY8917" fmla="*/ 907241 h 3690338"/>
                <a:gd name="connsiteX8918" fmla="*/ 1591410 w 4878487"/>
                <a:gd name="connsiteY8918" fmla="*/ 909995 h 3690338"/>
                <a:gd name="connsiteX8919" fmla="*/ 1591803 w 4878487"/>
                <a:gd name="connsiteY8919" fmla="*/ 911569 h 3690338"/>
                <a:gd name="connsiteX8920" fmla="*/ 1594558 w 4878487"/>
                <a:gd name="connsiteY8920" fmla="*/ 910782 h 3690338"/>
                <a:gd name="connsiteX8921" fmla="*/ 1594558 w 4878487"/>
                <a:gd name="connsiteY8921" fmla="*/ 911175 h 3690338"/>
                <a:gd name="connsiteX8922" fmla="*/ 1592984 w 4878487"/>
                <a:gd name="connsiteY8922" fmla="*/ 911569 h 3690338"/>
                <a:gd name="connsiteX8923" fmla="*/ 1592984 w 4878487"/>
                <a:gd name="connsiteY8923" fmla="*/ 911962 h 3690338"/>
                <a:gd name="connsiteX8924" fmla="*/ 1588263 w 4878487"/>
                <a:gd name="connsiteY8924" fmla="*/ 914323 h 3690338"/>
                <a:gd name="connsiteX8925" fmla="*/ 1586296 w 4878487"/>
                <a:gd name="connsiteY8925" fmla="*/ 914716 h 3690338"/>
                <a:gd name="connsiteX8926" fmla="*/ 1583542 w 4878487"/>
                <a:gd name="connsiteY8926" fmla="*/ 916683 h 3690338"/>
                <a:gd name="connsiteX8927" fmla="*/ 1576853 w 4878487"/>
                <a:gd name="connsiteY8927" fmla="*/ 919437 h 3690338"/>
                <a:gd name="connsiteX8928" fmla="*/ 1575673 w 4878487"/>
                <a:gd name="connsiteY8928" fmla="*/ 919831 h 3690338"/>
                <a:gd name="connsiteX8929" fmla="*/ 1572919 w 4878487"/>
                <a:gd name="connsiteY8929" fmla="*/ 920224 h 3690338"/>
                <a:gd name="connsiteX8930" fmla="*/ 1570165 w 4878487"/>
                <a:gd name="connsiteY8930" fmla="*/ 921011 h 3690338"/>
                <a:gd name="connsiteX8931" fmla="*/ 1570559 w 4878487"/>
                <a:gd name="connsiteY8931" fmla="*/ 923372 h 3690338"/>
                <a:gd name="connsiteX8932" fmla="*/ 1567804 w 4878487"/>
                <a:gd name="connsiteY8932" fmla="*/ 924945 h 3690338"/>
                <a:gd name="connsiteX8933" fmla="*/ 1565444 w 4878487"/>
                <a:gd name="connsiteY8933" fmla="*/ 925732 h 3690338"/>
                <a:gd name="connsiteX8934" fmla="*/ 1562690 w 4878487"/>
                <a:gd name="connsiteY8934" fmla="*/ 926519 h 3690338"/>
                <a:gd name="connsiteX8935" fmla="*/ 1559543 w 4878487"/>
                <a:gd name="connsiteY8935" fmla="*/ 928093 h 3690338"/>
                <a:gd name="connsiteX8936" fmla="*/ 1556789 w 4878487"/>
                <a:gd name="connsiteY8936" fmla="*/ 928093 h 3690338"/>
                <a:gd name="connsiteX8937" fmla="*/ 1554035 w 4878487"/>
                <a:gd name="connsiteY8937" fmla="*/ 927306 h 3690338"/>
                <a:gd name="connsiteX8938" fmla="*/ 1555215 w 4878487"/>
                <a:gd name="connsiteY8938" fmla="*/ 930060 h 3690338"/>
                <a:gd name="connsiteX8939" fmla="*/ 1556789 w 4878487"/>
                <a:gd name="connsiteY8939" fmla="*/ 932814 h 3690338"/>
                <a:gd name="connsiteX8940" fmla="*/ 1559543 w 4878487"/>
                <a:gd name="connsiteY8940" fmla="*/ 935568 h 3690338"/>
                <a:gd name="connsiteX8941" fmla="*/ 1562690 w 4878487"/>
                <a:gd name="connsiteY8941" fmla="*/ 935174 h 3690338"/>
                <a:gd name="connsiteX8942" fmla="*/ 1565444 w 4878487"/>
                <a:gd name="connsiteY8942" fmla="*/ 936748 h 3690338"/>
                <a:gd name="connsiteX8943" fmla="*/ 1567411 w 4878487"/>
                <a:gd name="connsiteY8943" fmla="*/ 938322 h 3690338"/>
                <a:gd name="connsiteX8944" fmla="*/ 1567018 w 4878487"/>
                <a:gd name="connsiteY8944" fmla="*/ 946977 h 3690338"/>
                <a:gd name="connsiteX8945" fmla="*/ 1564264 w 4878487"/>
                <a:gd name="connsiteY8945" fmla="*/ 950911 h 3690338"/>
                <a:gd name="connsiteX8946" fmla="*/ 1564264 w 4878487"/>
                <a:gd name="connsiteY8946" fmla="*/ 950125 h 3690338"/>
                <a:gd name="connsiteX8947" fmla="*/ 1563870 w 4878487"/>
                <a:gd name="connsiteY8947" fmla="*/ 947371 h 3690338"/>
                <a:gd name="connsiteX8948" fmla="*/ 1561116 w 4878487"/>
                <a:gd name="connsiteY8948" fmla="*/ 950125 h 3690338"/>
                <a:gd name="connsiteX8949" fmla="*/ 1560723 w 4878487"/>
                <a:gd name="connsiteY8949" fmla="*/ 955633 h 3690338"/>
                <a:gd name="connsiteX8950" fmla="*/ 1557969 w 4878487"/>
                <a:gd name="connsiteY8950" fmla="*/ 958387 h 3690338"/>
                <a:gd name="connsiteX8951" fmla="*/ 1557182 w 4878487"/>
                <a:gd name="connsiteY8951" fmla="*/ 961534 h 3690338"/>
                <a:gd name="connsiteX8952" fmla="*/ 1554428 w 4878487"/>
                <a:gd name="connsiteY8952" fmla="*/ 960747 h 3690338"/>
                <a:gd name="connsiteX8953" fmla="*/ 1554428 w 4878487"/>
                <a:gd name="connsiteY8953" fmla="*/ 963501 h 3690338"/>
                <a:gd name="connsiteX8954" fmla="*/ 1555215 w 4878487"/>
                <a:gd name="connsiteY8954" fmla="*/ 964681 h 3690338"/>
                <a:gd name="connsiteX8955" fmla="*/ 1550100 w 4878487"/>
                <a:gd name="connsiteY8955" fmla="*/ 971763 h 3690338"/>
                <a:gd name="connsiteX8956" fmla="*/ 1549707 w 4878487"/>
                <a:gd name="connsiteY8956" fmla="*/ 971370 h 3690338"/>
                <a:gd name="connsiteX8957" fmla="*/ 1546953 w 4878487"/>
                <a:gd name="connsiteY8957" fmla="*/ 971370 h 3690338"/>
                <a:gd name="connsiteX8958" fmla="*/ 1544199 w 4878487"/>
                <a:gd name="connsiteY8958" fmla="*/ 971763 h 3690338"/>
                <a:gd name="connsiteX8959" fmla="*/ 1543412 w 4878487"/>
                <a:gd name="connsiteY8959" fmla="*/ 971370 h 3690338"/>
                <a:gd name="connsiteX8960" fmla="*/ 1541838 w 4878487"/>
                <a:gd name="connsiteY8960" fmla="*/ 970583 h 3690338"/>
                <a:gd name="connsiteX8961" fmla="*/ 1536330 w 4878487"/>
                <a:gd name="connsiteY8961" fmla="*/ 967829 h 3690338"/>
                <a:gd name="connsiteX8962" fmla="*/ 1533577 w 4878487"/>
                <a:gd name="connsiteY8962" fmla="*/ 968222 h 3690338"/>
                <a:gd name="connsiteX8963" fmla="*/ 1532789 w 4878487"/>
                <a:gd name="connsiteY8963" fmla="*/ 968616 h 3690338"/>
                <a:gd name="connsiteX8964" fmla="*/ 1531216 w 4878487"/>
                <a:gd name="connsiteY8964" fmla="*/ 971370 h 3690338"/>
                <a:gd name="connsiteX8965" fmla="*/ 1533577 w 4878487"/>
                <a:gd name="connsiteY8965" fmla="*/ 969796 h 3690338"/>
                <a:gd name="connsiteX8966" fmla="*/ 1532789 w 4878487"/>
                <a:gd name="connsiteY8966" fmla="*/ 975697 h 3690338"/>
                <a:gd name="connsiteX8967" fmla="*/ 1531216 w 4878487"/>
                <a:gd name="connsiteY8967" fmla="*/ 978058 h 3690338"/>
                <a:gd name="connsiteX8968" fmla="*/ 1533970 w 4878487"/>
                <a:gd name="connsiteY8968" fmla="*/ 978845 h 3690338"/>
                <a:gd name="connsiteX8969" fmla="*/ 1536724 w 4878487"/>
                <a:gd name="connsiteY8969" fmla="*/ 978451 h 3690338"/>
                <a:gd name="connsiteX8970" fmla="*/ 1539478 w 4878487"/>
                <a:gd name="connsiteY8970" fmla="*/ 980025 h 3690338"/>
                <a:gd name="connsiteX8971" fmla="*/ 1542232 w 4878487"/>
                <a:gd name="connsiteY8971" fmla="*/ 980812 h 3690338"/>
                <a:gd name="connsiteX8972" fmla="*/ 1545379 w 4878487"/>
                <a:gd name="connsiteY8972" fmla="*/ 982386 h 3690338"/>
                <a:gd name="connsiteX8973" fmla="*/ 1548920 w 4878487"/>
                <a:gd name="connsiteY8973" fmla="*/ 984746 h 3690338"/>
                <a:gd name="connsiteX8974" fmla="*/ 1550100 w 4878487"/>
                <a:gd name="connsiteY8974" fmla="*/ 985926 h 3690338"/>
                <a:gd name="connsiteX8975" fmla="*/ 1551281 w 4878487"/>
                <a:gd name="connsiteY8975" fmla="*/ 988680 h 3690338"/>
                <a:gd name="connsiteX8976" fmla="*/ 1553641 w 4878487"/>
                <a:gd name="connsiteY8976" fmla="*/ 991434 h 3690338"/>
                <a:gd name="connsiteX8977" fmla="*/ 1556395 w 4878487"/>
                <a:gd name="connsiteY8977" fmla="*/ 993401 h 3690338"/>
                <a:gd name="connsiteX8978" fmla="*/ 1559543 w 4878487"/>
                <a:gd name="connsiteY8978" fmla="*/ 993401 h 3690338"/>
                <a:gd name="connsiteX8979" fmla="*/ 1562296 w 4878487"/>
                <a:gd name="connsiteY8979" fmla="*/ 994188 h 3690338"/>
                <a:gd name="connsiteX8980" fmla="*/ 1563870 w 4878487"/>
                <a:gd name="connsiteY8980" fmla="*/ 994188 h 3690338"/>
                <a:gd name="connsiteX8981" fmla="*/ 1575673 w 4878487"/>
                <a:gd name="connsiteY8981" fmla="*/ 1001663 h 3690338"/>
                <a:gd name="connsiteX8982" fmla="*/ 1576066 w 4878487"/>
                <a:gd name="connsiteY8982" fmla="*/ 1002450 h 3690338"/>
                <a:gd name="connsiteX8983" fmla="*/ 1576853 w 4878487"/>
                <a:gd name="connsiteY8983" fmla="*/ 1002450 h 3690338"/>
                <a:gd name="connsiteX8984" fmla="*/ 1626818 w 4878487"/>
                <a:gd name="connsiteY8984" fmla="*/ 1034318 h 3690338"/>
                <a:gd name="connsiteX8985" fmla="*/ 1626818 w 4878487"/>
                <a:gd name="connsiteY8985" fmla="*/ 1034711 h 3690338"/>
                <a:gd name="connsiteX8986" fmla="*/ 1629573 w 4878487"/>
                <a:gd name="connsiteY8986" fmla="*/ 1036285 h 3690338"/>
                <a:gd name="connsiteX8987" fmla="*/ 1629966 w 4878487"/>
                <a:gd name="connsiteY8987" fmla="*/ 1036678 h 3690338"/>
                <a:gd name="connsiteX8988" fmla="*/ 1639015 w 4878487"/>
                <a:gd name="connsiteY8988" fmla="*/ 1042973 h 3690338"/>
                <a:gd name="connsiteX8989" fmla="*/ 1640195 w 4878487"/>
                <a:gd name="connsiteY8989" fmla="*/ 1044153 h 3690338"/>
                <a:gd name="connsiteX8990" fmla="*/ 1641375 w 4878487"/>
                <a:gd name="connsiteY8990" fmla="*/ 1044547 h 3690338"/>
                <a:gd name="connsiteX8991" fmla="*/ 1676784 w 4878487"/>
                <a:gd name="connsiteY8991" fmla="*/ 1069333 h 3690338"/>
                <a:gd name="connsiteX8992" fmla="*/ 1680324 w 4878487"/>
                <a:gd name="connsiteY8992" fmla="*/ 1077201 h 3690338"/>
                <a:gd name="connsiteX8993" fmla="*/ 1680718 w 4878487"/>
                <a:gd name="connsiteY8993" fmla="*/ 1078382 h 3690338"/>
                <a:gd name="connsiteX8994" fmla="*/ 1681898 w 4878487"/>
                <a:gd name="connsiteY8994" fmla="*/ 1079955 h 3690338"/>
                <a:gd name="connsiteX8995" fmla="*/ 1685439 w 4878487"/>
                <a:gd name="connsiteY8995" fmla="*/ 1087430 h 3690338"/>
                <a:gd name="connsiteX8996" fmla="*/ 1682291 w 4878487"/>
                <a:gd name="connsiteY8996" fmla="*/ 1096086 h 3690338"/>
                <a:gd name="connsiteX8997" fmla="*/ 1681505 w 4878487"/>
                <a:gd name="connsiteY8997" fmla="*/ 1097659 h 3690338"/>
                <a:gd name="connsiteX8998" fmla="*/ 1680718 w 4878487"/>
                <a:gd name="connsiteY8998" fmla="*/ 1099627 h 3690338"/>
                <a:gd name="connsiteX8999" fmla="*/ 1672850 w 4878487"/>
                <a:gd name="connsiteY8999" fmla="*/ 1107102 h 3690338"/>
                <a:gd name="connsiteX9000" fmla="*/ 1670095 w 4878487"/>
                <a:gd name="connsiteY9000" fmla="*/ 1108282 h 3690338"/>
                <a:gd name="connsiteX9001" fmla="*/ 1668915 w 4878487"/>
                <a:gd name="connsiteY9001" fmla="*/ 1109069 h 3690338"/>
                <a:gd name="connsiteX9002" fmla="*/ 1665374 w 4878487"/>
                <a:gd name="connsiteY9002" fmla="*/ 1110643 h 3690338"/>
                <a:gd name="connsiteX9003" fmla="*/ 1664194 w 4878487"/>
                <a:gd name="connsiteY9003" fmla="*/ 1111036 h 3690338"/>
                <a:gd name="connsiteX9004" fmla="*/ 1661440 w 4878487"/>
                <a:gd name="connsiteY9004" fmla="*/ 1111823 h 3690338"/>
                <a:gd name="connsiteX9005" fmla="*/ 1659866 w 4878487"/>
                <a:gd name="connsiteY9005" fmla="*/ 1113397 h 3690338"/>
                <a:gd name="connsiteX9006" fmla="*/ 1652784 w 4878487"/>
                <a:gd name="connsiteY9006" fmla="*/ 1116544 h 3690338"/>
                <a:gd name="connsiteX9007" fmla="*/ 1652391 w 4878487"/>
                <a:gd name="connsiteY9007" fmla="*/ 1116544 h 3690338"/>
                <a:gd name="connsiteX9008" fmla="*/ 1650817 w 4878487"/>
                <a:gd name="connsiteY9008" fmla="*/ 1117331 h 3690338"/>
                <a:gd name="connsiteX9009" fmla="*/ 1650424 w 4878487"/>
                <a:gd name="connsiteY9009" fmla="*/ 1117724 h 3690338"/>
                <a:gd name="connsiteX9010" fmla="*/ 1640982 w 4878487"/>
                <a:gd name="connsiteY9010" fmla="*/ 1117724 h 3690338"/>
                <a:gd name="connsiteX9011" fmla="*/ 1629179 w 4878487"/>
                <a:gd name="connsiteY9011" fmla="*/ 1116151 h 3690338"/>
                <a:gd name="connsiteX9012" fmla="*/ 1628786 w 4878487"/>
                <a:gd name="connsiteY9012" fmla="*/ 1116151 h 3690338"/>
                <a:gd name="connsiteX9013" fmla="*/ 1626032 w 4878487"/>
                <a:gd name="connsiteY9013" fmla="*/ 1113790 h 3690338"/>
                <a:gd name="connsiteX9014" fmla="*/ 1622884 w 4878487"/>
                <a:gd name="connsiteY9014" fmla="*/ 1114577 h 3690338"/>
                <a:gd name="connsiteX9015" fmla="*/ 1620524 w 4878487"/>
                <a:gd name="connsiteY9015" fmla="*/ 1115364 h 3690338"/>
                <a:gd name="connsiteX9016" fmla="*/ 1617376 w 4878487"/>
                <a:gd name="connsiteY9016" fmla="*/ 1114970 h 3690338"/>
                <a:gd name="connsiteX9017" fmla="*/ 1613048 w 4878487"/>
                <a:gd name="connsiteY9017" fmla="*/ 1116151 h 3690338"/>
                <a:gd name="connsiteX9018" fmla="*/ 1611868 w 4878487"/>
                <a:gd name="connsiteY9018" fmla="*/ 1116151 h 3690338"/>
                <a:gd name="connsiteX9019" fmla="*/ 1609114 w 4878487"/>
                <a:gd name="connsiteY9019" fmla="*/ 1116937 h 3690338"/>
                <a:gd name="connsiteX9020" fmla="*/ 1589443 w 4878487"/>
                <a:gd name="connsiteY9020" fmla="*/ 1118904 h 3690338"/>
                <a:gd name="connsiteX9021" fmla="*/ 1587082 w 4878487"/>
                <a:gd name="connsiteY9021" fmla="*/ 1118118 h 3690338"/>
                <a:gd name="connsiteX9022" fmla="*/ 1583935 w 4878487"/>
                <a:gd name="connsiteY9022" fmla="*/ 1117724 h 3690338"/>
                <a:gd name="connsiteX9023" fmla="*/ 1580394 w 4878487"/>
                <a:gd name="connsiteY9023" fmla="*/ 1116151 h 3690338"/>
                <a:gd name="connsiteX9024" fmla="*/ 1578821 w 4878487"/>
                <a:gd name="connsiteY9024" fmla="*/ 1113397 h 3690338"/>
                <a:gd name="connsiteX9025" fmla="*/ 1575673 w 4878487"/>
                <a:gd name="connsiteY9025" fmla="*/ 1113790 h 3690338"/>
                <a:gd name="connsiteX9026" fmla="*/ 1574886 w 4878487"/>
                <a:gd name="connsiteY9026" fmla="*/ 1114577 h 3690338"/>
                <a:gd name="connsiteX9027" fmla="*/ 1556395 w 4878487"/>
                <a:gd name="connsiteY9027" fmla="*/ 1108675 h 3690338"/>
                <a:gd name="connsiteX9028" fmla="*/ 1555608 w 4878487"/>
                <a:gd name="connsiteY9028" fmla="*/ 1107495 h 3690338"/>
                <a:gd name="connsiteX9029" fmla="*/ 1552855 w 4878487"/>
                <a:gd name="connsiteY9029" fmla="*/ 1105921 h 3690338"/>
                <a:gd name="connsiteX9030" fmla="*/ 1550100 w 4878487"/>
                <a:gd name="connsiteY9030" fmla="*/ 1105528 h 3690338"/>
                <a:gd name="connsiteX9031" fmla="*/ 1547346 w 4878487"/>
                <a:gd name="connsiteY9031" fmla="*/ 1105528 h 3690338"/>
                <a:gd name="connsiteX9032" fmla="*/ 1532003 w 4878487"/>
                <a:gd name="connsiteY9032" fmla="*/ 1101200 h 3690338"/>
                <a:gd name="connsiteX9033" fmla="*/ 1531609 w 4878487"/>
                <a:gd name="connsiteY9033" fmla="*/ 1100414 h 3690338"/>
                <a:gd name="connsiteX9034" fmla="*/ 1532003 w 4878487"/>
                <a:gd name="connsiteY9034" fmla="*/ 1097659 h 3690338"/>
                <a:gd name="connsiteX9035" fmla="*/ 1529642 w 4878487"/>
                <a:gd name="connsiteY9035" fmla="*/ 1094512 h 3690338"/>
                <a:gd name="connsiteX9036" fmla="*/ 1526888 w 4878487"/>
                <a:gd name="connsiteY9036" fmla="*/ 1092938 h 3690338"/>
                <a:gd name="connsiteX9037" fmla="*/ 1525708 w 4878487"/>
                <a:gd name="connsiteY9037" fmla="*/ 1095692 h 3690338"/>
                <a:gd name="connsiteX9038" fmla="*/ 1525708 w 4878487"/>
                <a:gd name="connsiteY9038" fmla="*/ 1103561 h 3690338"/>
                <a:gd name="connsiteX9039" fmla="*/ 1522954 w 4878487"/>
                <a:gd name="connsiteY9039" fmla="*/ 1104741 h 3690338"/>
                <a:gd name="connsiteX9040" fmla="*/ 1520200 w 4878487"/>
                <a:gd name="connsiteY9040" fmla="*/ 1105528 h 3690338"/>
                <a:gd name="connsiteX9041" fmla="*/ 1518233 w 4878487"/>
                <a:gd name="connsiteY9041" fmla="*/ 1105921 h 3690338"/>
                <a:gd name="connsiteX9042" fmla="*/ 1514299 w 4878487"/>
                <a:gd name="connsiteY9042" fmla="*/ 1105921 h 3690338"/>
                <a:gd name="connsiteX9043" fmla="*/ 1502889 w 4878487"/>
                <a:gd name="connsiteY9043" fmla="*/ 1094512 h 3690338"/>
                <a:gd name="connsiteX9044" fmla="*/ 1503676 w 4878487"/>
                <a:gd name="connsiteY9044" fmla="*/ 1092545 h 3690338"/>
                <a:gd name="connsiteX9045" fmla="*/ 1500922 w 4878487"/>
                <a:gd name="connsiteY9045" fmla="*/ 1092545 h 3690338"/>
                <a:gd name="connsiteX9046" fmla="*/ 1499348 w 4878487"/>
                <a:gd name="connsiteY9046" fmla="*/ 1090971 h 3690338"/>
                <a:gd name="connsiteX9047" fmla="*/ 1478104 w 4878487"/>
                <a:gd name="connsiteY9047" fmla="*/ 1095299 h 3690338"/>
                <a:gd name="connsiteX9048" fmla="*/ 1477316 w 4878487"/>
                <a:gd name="connsiteY9048" fmla="*/ 1095299 h 3690338"/>
                <a:gd name="connsiteX9049" fmla="*/ 1474169 w 4878487"/>
                <a:gd name="connsiteY9049" fmla="*/ 1094905 h 3690338"/>
                <a:gd name="connsiteX9050" fmla="*/ 1465514 w 4878487"/>
                <a:gd name="connsiteY9050" fmla="*/ 1094905 h 3690338"/>
                <a:gd name="connsiteX9051" fmla="*/ 1462366 w 4878487"/>
                <a:gd name="connsiteY9051" fmla="*/ 1094512 h 3690338"/>
                <a:gd name="connsiteX9052" fmla="*/ 1459612 w 4878487"/>
                <a:gd name="connsiteY9052" fmla="*/ 1094119 h 3690338"/>
                <a:gd name="connsiteX9053" fmla="*/ 1456858 w 4878487"/>
                <a:gd name="connsiteY9053" fmla="*/ 1093725 h 3690338"/>
                <a:gd name="connsiteX9054" fmla="*/ 1454104 w 4878487"/>
                <a:gd name="connsiteY9054" fmla="*/ 1093332 h 3690338"/>
                <a:gd name="connsiteX9055" fmla="*/ 1451350 w 4878487"/>
                <a:gd name="connsiteY9055" fmla="*/ 1094905 h 3690338"/>
                <a:gd name="connsiteX9056" fmla="*/ 1448203 w 4878487"/>
                <a:gd name="connsiteY9056" fmla="*/ 1096086 h 3690338"/>
                <a:gd name="connsiteX9057" fmla="*/ 1445449 w 4878487"/>
                <a:gd name="connsiteY9057" fmla="*/ 1096873 h 3690338"/>
                <a:gd name="connsiteX9058" fmla="*/ 1442695 w 4878487"/>
                <a:gd name="connsiteY9058" fmla="*/ 1098446 h 3690338"/>
                <a:gd name="connsiteX9059" fmla="*/ 1439941 w 4878487"/>
                <a:gd name="connsiteY9059" fmla="*/ 1098840 h 3690338"/>
                <a:gd name="connsiteX9060" fmla="*/ 1437187 w 4878487"/>
                <a:gd name="connsiteY9060" fmla="*/ 1099627 h 3690338"/>
                <a:gd name="connsiteX9061" fmla="*/ 1436400 w 4878487"/>
                <a:gd name="connsiteY9061" fmla="*/ 1099627 h 3690338"/>
                <a:gd name="connsiteX9062" fmla="*/ 1433646 w 4878487"/>
                <a:gd name="connsiteY9062" fmla="*/ 1100414 h 3690338"/>
                <a:gd name="connsiteX9063" fmla="*/ 1430499 w 4878487"/>
                <a:gd name="connsiteY9063" fmla="*/ 1101987 h 3690338"/>
                <a:gd name="connsiteX9064" fmla="*/ 1427745 w 4878487"/>
                <a:gd name="connsiteY9064" fmla="*/ 1103561 h 3690338"/>
                <a:gd name="connsiteX9065" fmla="*/ 1424991 w 4878487"/>
                <a:gd name="connsiteY9065" fmla="*/ 1105921 h 3690338"/>
                <a:gd name="connsiteX9066" fmla="*/ 1420663 w 4878487"/>
                <a:gd name="connsiteY9066" fmla="*/ 1108675 h 3690338"/>
                <a:gd name="connsiteX9067" fmla="*/ 1417909 w 4878487"/>
                <a:gd name="connsiteY9067" fmla="*/ 1110249 h 3690338"/>
                <a:gd name="connsiteX9068" fmla="*/ 1415155 w 4878487"/>
                <a:gd name="connsiteY9068" fmla="*/ 1111823 h 3690338"/>
                <a:gd name="connsiteX9069" fmla="*/ 1412401 w 4878487"/>
                <a:gd name="connsiteY9069" fmla="*/ 1113790 h 3690338"/>
                <a:gd name="connsiteX9070" fmla="*/ 1409647 w 4878487"/>
                <a:gd name="connsiteY9070" fmla="*/ 1115364 h 3690338"/>
                <a:gd name="connsiteX9071" fmla="*/ 1406893 w 4878487"/>
                <a:gd name="connsiteY9071" fmla="*/ 1116151 h 3690338"/>
                <a:gd name="connsiteX9072" fmla="*/ 1403746 w 4878487"/>
                <a:gd name="connsiteY9072" fmla="*/ 1117724 h 3690338"/>
                <a:gd name="connsiteX9073" fmla="*/ 1404139 w 4878487"/>
                <a:gd name="connsiteY9073" fmla="*/ 1120478 h 3690338"/>
                <a:gd name="connsiteX9074" fmla="*/ 1402565 w 4878487"/>
                <a:gd name="connsiteY9074" fmla="*/ 1123232 h 3690338"/>
                <a:gd name="connsiteX9075" fmla="*/ 1391943 w 4878487"/>
                <a:gd name="connsiteY9075" fmla="*/ 1125593 h 3690338"/>
                <a:gd name="connsiteX9076" fmla="*/ 1383287 w 4878487"/>
                <a:gd name="connsiteY9076" fmla="*/ 1123626 h 3690338"/>
                <a:gd name="connsiteX9077" fmla="*/ 1377386 w 4878487"/>
                <a:gd name="connsiteY9077" fmla="*/ 1122445 h 3690338"/>
                <a:gd name="connsiteX9078" fmla="*/ 1376993 w 4878487"/>
                <a:gd name="connsiteY9078" fmla="*/ 1122445 h 3690338"/>
                <a:gd name="connsiteX9079" fmla="*/ 1374239 w 4878487"/>
                <a:gd name="connsiteY9079" fmla="*/ 1120872 h 3690338"/>
                <a:gd name="connsiteX9080" fmla="*/ 1371485 w 4878487"/>
                <a:gd name="connsiteY9080" fmla="*/ 1122445 h 3690338"/>
                <a:gd name="connsiteX9081" fmla="*/ 1369517 w 4878487"/>
                <a:gd name="connsiteY9081" fmla="*/ 1122839 h 3690338"/>
                <a:gd name="connsiteX9082" fmla="*/ 1365583 w 4878487"/>
                <a:gd name="connsiteY9082" fmla="*/ 1123232 h 3690338"/>
                <a:gd name="connsiteX9083" fmla="*/ 1364796 w 4878487"/>
                <a:gd name="connsiteY9083" fmla="*/ 1122839 h 3690338"/>
                <a:gd name="connsiteX9084" fmla="*/ 1361649 w 4878487"/>
                <a:gd name="connsiteY9084" fmla="*/ 1122839 h 3690338"/>
                <a:gd name="connsiteX9085" fmla="*/ 1356141 w 4878487"/>
                <a:gd name="connsiteY9085" fmla="*/ 1122052 h 3690338"/>
                <a:gd name="connsiteX9086" fmla="*/ 1354961 w 4878487"/>
                <a:gd name="connsiteY9086" fmla="*/ 1121659 h 3690338"/>
                <a:gd name="connsiteX9087" fmla="*/ 1352994 w 4878487"/>
                <a:gd name="connsiteY9087" fmla="*/ 1121265 h 3690338"/>
                <a:gd name="connsiteX9088" fmla="*/ 1350633 w 4878487"/>
                <a:gd name="connsiteY9088" fmla="*/ 1120872 h 3690338"/>
                <a:gd name="connsiteX9089" fmla="*/ 1349059 w 4878487"/>
                <a:gd name="connsiteY9089" fmla="*/ 1120478 h 3690338"/>
                <a:gd name="connsiteX9090" fmla="*/ 1346306 w 4878487"/>
                <a:gd name="connsiteY9090" fmla="*/ 1120085 h 3690338"/>
                <a:gd name="connsiteX9091" fmla="*/ 1343551 w 4878487"/>
                <a:gd name="connsiteY9091" fmla="*/ 1119691 h 3690338"/>
                <a:gd name="connsiteX9092" fmla="*/ 1342765 w 4878487"/>
                <a:gd name="connsiteY9092" fmla="*/ 1119691 h 3690338"/>
                <a:gd name="connsiteX9093" fmla="*/ 1340010 w 4878487"/>
                <a:gd name="connsiteY9093" fmla="*/ 1122052 h 3690338"/>
                <a:gd name="connsiteX9094" fmla="*/ 1339617 w 4878487"/>
                <a:gd name="connsiteY9094" fmla="*/ 1124806 h 3690338"/>
                <a:gd name="connsiteX9095" fmla="*/ 1339224 w 4878487"/>
                <a:gd name="connsiteY9095" fmla="*/ 1125593 h 3690338"/>
                <a:gd name="connsiteX9096" fmla="*/ 1339617 w 4878487"/>
                <a:gd name="connsiteY9096" fmla="*/ 1128347 h 3690338"/>
                <a:gd name="connsiteX9097" fmla="*/ 1342371 w 4878487"/>
                <a:gd name="connsiteY9097" fmla="*/ 1130707 h 3690338"/>
                <a:gd name="connsiteX9098" fmla="*/ 1345125 w 4878487"/>
                <a:gd name="connsiteY9098" fmla="*/ 1131888 h 3690338"/>
                <a:gd name="connsiteX9099" fmla="*/ 1345912 w 4878487"/>
                <a:gd name="connsiteY9099" fmla="*/ 1132674 h 3690338"/>
                <a:gd name="connsiteX9100" fmla="*/ 1347486 w 4878487"/>
                <a:gd name="connsiteY9100" fmla="*/ 1134642 h 3690338"/>
                <a:gd name="connsiteX9101" fmla="*/ 1347486 w 4878487"/>
                <a:gd name="connsiteY9101" fmla="*/ 1134642 h 3690338"/>
                <a:gd name="connsiteX9102" fmla="*/ 1350240 w 4878487"/>
                <a:gd name="connsiteY9102" fmla="*/ 1138182 h 3690338"/>
                <a:gd name="connsiteX9103" fmla="*/ 1347879 w 4878487"/>
                <a:gd name="connsiteY9103" fmla="*/ 1138576 h 3690338"/>
                <a:gd name="connsiteX9104" fmla="*/ 1344732 w 4878487"/>
                <a:gd name="connsiteY9104" fmla="*/ 1138969 h 3690338"/>
                <a:gd name="connsiteX9105" fmla="*/ 1341978 w 4878487"/>
                <a:gd name="connsiteY9105" fmla="*/ 1139363 h 3690338"/>
                <a:gd name="connsiteX9106" fmla="*/ 1339224 w 4878487"/>
                <a:gd name="connsiteY9106" fmla="*/ 1139363 h 3690338"/>
                <a:gd name="connsiteX9107" fmla="*/ 1336470 w 4878487"/>
                <a:gd name="connsiteY9107" fmla="*/ 1140936 h 3690338"/>
                <a:gd name="connsiteX9108" fmla="*/ 1334896 w 4878487"/>
                <a:gd name="connsiteY9108" fmla="*/ 1143690 h 3690338"/>
                <a:gd name="connsiteX9109" fmla="*/ 1337650 w 4878487"/>
                <a:gd name="connsiteY9109" fmla="*/ 1145264 h 3690338"/>
                <a:gd name="connsiteX9110" fmla="*/ 1340798 w 4878487"/>
                <a:gd name="connsiteY9110" fmla="*/ 1144871 h 3690338"/>
                <a:gd name="connsiteX9111" fmla="*/ 1343551 w 4878487"/>
                <a:gd name="connsiteY9111" fmla="*/ 1146444 h 3690338"/>
                <a:gd name="connsiteX9112" fmla="*/ 1325847 w 4878487"/>
                <a:gd name="connsiteY9112" fmla="*/ 1147625 h 3690338"/>
                <a:gd name="connsiteX9113" fmla="*/ 1321913 w 4878487"/>
                <a:gd name="connsiteY9113" fmla="*/ 1147625 h 3690338"/>
                <a:gd name="connsiteX9114" fmla="*/ 1320733 w 4878487"/>
                <a:gd name="connsiteY9114" fmla="*/ 1147625 h 3690338"/>
                <a:gd name="connsiteX9115" fmla="*/ 1317979 w 4878487"/>
                <a:gd name="connsiteY9115" fmla="*/ 1148018 h 3690338"/>
                <a:gd name="connsiteX9116" fmla="*/ 1317192 w 4878487"/>
                <a:gd name="connsiteY9116" fmla="*/ 1147625 h 3690338"/>
                <a:gd name="connsiteX9117" fmla="*/ 1314438 w 4878487"/>
                <a:gd name="connsiteY9117" fmla="*/ 1148018 h 3690338"/>
                <a:gd name="connsiteX9118" fmla="*/ 1311684 w 4878487"/>
                <a:gd name="connsiteY9118" fmla="*/ 1148805 h 3690338"/>
                <a:gd name="connsiteX9119" fmla="*/ 1310110 w 4878487"/>
                <a:gd name="connsiteY9119" fmla="*/ 1147231 h 3690338"/>
                <a:gd name="connsiteX9120" fmla="*/ 1312471 w 4878487"/>
                <a:gd name="connsiteY9120" fmla="*/ 1144477 h 3690338"/>
                <a:gd name="connsiteX9121" fmla="*/ 1309323 w 4878487"/>
                <a:gd name="connsiteY9121" fmla="*/ 1144084 h 3690338"/>
                <a:gd name="connsiteX9122" fmla="*/ 1306569 w 4878487"/>
                <a:gd name="connsiteY9122" fmla="*/ 1144084 h 3690338"/>
                <a:gd name="connsiteX9123" fmla="*/ 1303815 w 4878487"/>
                <a:gd name="connsiteY9123" fmla="*/ 1144871 h 3690338"/>
                <a:gd name="connsiteX9124" fmla="*/ 1306569 w 4878487"/>
                <a:gd name="connsiteY9124" fmla="*/ 1147625 h 3690338"/>
                <a:gd name="connsiteX9125" fmla="*/ 1306569 w 4878487"/>
                <a:gd name="connsiteY9125" fmla="*/ 1149592 h 3690338"/>
                <a:gd name="connsiteX9126" fmla="*/ 1301062 w 4878487"/>
                <a:gd name="connsiteY9126" fmla="*/ 1150379 h 3690338"/>
                <a:gd name="connsiteX9127" fmla="*/ 1293586 w 4878487"/>
                <a:gd name="connsiteY9127" fmla="*/ 1148018 h 3690338"/>
                <a:gd name="connsiteX9128" fmla="*/ 1293193 w 4878487"/>
                <a:gd name="connsiteY9128" fmla="*/ 1147625 h 3690338"/>
                <a:gd name="connsiteX9129" fmla="*/ 1291226 w 4878487"/>
                <a:gd name="connsiteY9129" fmla="*/ 1146051 h 3690338"/>
                <a:gd name="connsiteX9130" fmla="*/ 1288472 w 4878487"/>
                <a:gd name="connsiteY9130" fmla="*/ 1146051 h 3690338"/>
                <a:gd name="connsiteX9131" fmla="*/ 1285718 w 4878487"/>
                <a:gd name="connsiteY9131" fmla="*/ 1148018 h 3690338"/>
                <a:gd name="connsiteX9132" fmla="*/ 1282964 w 4878487"/>
                <a:gd name="connsiteY9132" fmla="*/ 1147625 h 3690338"/>
                <a:gd name="connsiteX9133" fmla="*/ 1279816 w 4878487"/>
                <a:gd name="connsiteY9133" fmla="*/ 1147625 h 3690338"/>
                <a:gd name="connsiteX9134" fmla="*/ 1277062 w 4878487"/>
                <a:gd name="connsiteY9134" fmla="*/ 1148018 h 3690338"/>
                <a:gd name="connsiteX9135" fmla="*/ 1274702 w 4878487"/>
                <a:gd name="connsiteY9135" fmla="*/ 1151165 h 3690338"/>
                <a:gd name="connsiteX9136" fmla="*/ 1271948 w 4878487"/>
                <a:gd name="connsiteY9136" fmla="*/ 1153526 h 3690338"/>
                <a:gd name="connsiteX9137" fmla="*/ 1268800 w 4878487"/>
                <a:gd name="connsiteY9137" fmla="*/ 1155100 h 3690338"/>
                <a:gd name="connsiteX9138" fmla="*/ 1268014 w 4878487"/>
                <a:gd name="connsiteY9138" fmla="*/ 1157854 h 3690338"/>
                <a:gd name="connsiteX9139" fmla="*/ 1265653 w 4878487"/>
                <a:gd name="connsiteY9139" fmla="*/ 1161001 h 3690338"/>
                <a:gd name="connsiteX9140" fmla="*/ 1264079 w 4878487"/>
                <a:gd name="connsiteY9140" fmla="*/ 1161001 h 3690338"/>
                <a:gd name="connsiteX9141" fmla="*/ 1262899 w 4878487"/>
                <a:gd name="connsiteY9141" fmla="*/ 1161001 h 3690338"/>
                <a:gd name="connsiteX9142" fmla="*/ 1262506 w 4878487"/>
                <a:gd name="connsiteY9142" fmla="*/ 1161395 h 3690338"/>
                <a:gd name="connsiteX9143" fmla="*/ 1262112 w 4878487"/>
                <a:gd name="connsiteY9143" fmla="*/ 1164149 h 3690338"/>
                <a:gd name="connsiteX9144" fmla="*/ 1262112 w 4878487"/>
                <a:gd name="connsiteY9144" fmla="*/ 1164935 h 3690338"/>
                <a:gd name="connsiteX9145" fmla="*/ 1260538 w 4878487"/>
                <a:gd name="connsiteY9145" fmla="*/ 1178312 h 3690338"/>
                <a:gd name="connsiteX9146" fmla="*/ 1262506 w 4878487"/>
                <a:gd name="connsiteY9146" fmla="*/ 1178705 h 3690338"/>
                <a:gd name="connsiteX9147" fmla="*/ 1265259 w 4878487"/>
                <a:gd name="connsiteY9147" fmla="*/ 1178312 h 3690338"/>
                <a:gd name="connsiteX9148" fmla="*/ 1268014 w 4878487"/>
                <a:gd name="connsiteY9148" fmla="*/ 1177918 h 3690338"/>
                <a:gd name="connsiteX9149" fmla="*/ 1270767 w 4878487"/>
                <a:gd name="connsiteY9149" fmla="*/ 1176345 h 3690338"/>
                <a:gd name="connsiteX9150" fmla="*/ 1273915 w 4878487"/>
                <a:gd name="connsiteY9150" fmla="*/ 1175951 h 3690338"/>
                <a:gd name="connsiteX9151" fmla="*/ 1276669 w 4878487"/>
                <a:gd name="connsiteY9151" fmla="*/ 1175165 h 3690338"/>
                <a:gd name="connsiteX9152" fmla="*/ 1278243 w 4878487"/>
                <a:gd name="connsiteY9152" fmla="*/ 1182640 h 3690338"/>
                <a:gd name="connsiteX9153" fmla="*/ 1276276 w 4878487"/>
                <a:gd name="connsiteY9153" fmla="*/ 1184607 h 3690338"/>
                <a:gd name="connsiteX9154" fmla="*/ 1279029 w 4878487"/>
                <a:gd name="connsiteY9154" fmla="*/ 1186967 h 3690338"/>
                <a:gd name="connsiteX9155" fmla="*/ 1279816 w 4878487"/>
                <a:gd name="connsiteY9155" fmla="*/ 1188148 h 3690338"/>
                <a:gd name="connsiteX9156" fmla="*/ 1281784 w 4878487"/>
                <a:gd name="connsiteY9156" fmla="*/ 1195623 h 3690338"/>
                <a:gd name="connsiteX9157" fmla="*/ 1282964 w 4878487"/>
                <a:gd name="connsiteY9157" fmla="*/ 1197196 h 3690338"/>
                <a:gd name="connsiteX9158" fmla="*/ 1286111 w 4878487"/>
                <a:gd name="connsiteY9158" fmla="*/ 1196410 h 3690338"/>
                <a:gd name="connsiteX9159" fmla="*/ 1284537 w 4878487"/>
                <a:gd name="connsiteY9159" fmla="*/ 1201131 h 3690338"/>
                <a:gd name="connsiteX9160" fmla="*/ 1282964 w 4878487"/>
                <a:gd name="connsiteY9160" fmla="*/ 1203098 h 3690338"/>
                <a:gd name="connsiteX9161" fmla="*/ 1280210 w 4878487"/>
                <a:gd name="connsiteY9161" fmla="*/ 1205065 h 3690338"/>
                <a:gd name="connsiteX9162" fmla="*/ 1282570 w 4878487"/>
                <a:gd name="connsiteY9162" fmla="*/ 1207819 h 3690338"/>
                <a:gd name="connsiteX9163" fmla="*/ 1285718 w 4878487"/>
                <a:gd name="connsiteY9163" fmla="*/ 1211753 h 3690338"/>
                <a:gd name="connsiteX9164" fmla="*/ 1285718 w 4878487"/>
                <a:gd name="connsiteY9164" fmla="*/ 1212147 h 3690338"/>
                <a:gd name="connsiteX9165" fmla="*/ 1291619 w 4878487"/>
                <a:gd name="connsiteY9165" fmla="*/ 1212540 h 3690338"/>
                <a:gd name="connsiteX9166" fmla="*/ 1285718 w 4878487"/>
                <a:gd name="connsiteY9166" fmla="*/ 1214900 h 3690338"/>
                <a:gd name="connsiteX9167" fmla="*/ 1285325 w 4878487"/>
                <a:gd name="connsiteY9167" fmla="*/ 1214900 h 3690338"/>
                <a:gd name="connsiteX9168" fmla="*/ 1282570 w 4878487"/>
                <a:gd name="connsiteY9168" fmla="*/ 1215294 h 3690338"/>
                <a:gd name="connsiteX9169" fmla="*/ 1279816 w 4878487"/>
                <a:gd name="connsiteY9169" fmla="*/ 1214507 h 3690338"/>
                <a:gd name="connsiteX9170" fmla="*/ 1280210 w 4878487"/>
                <a:gd name="connsiteY9170" fmla="*/ 1217261 h 3690338"/>
                <a:gd name="connsiteX9171" fmla="*/ 1279029 w 4878487"/>
                <a:gd name="connsiteY9171" fmla="*/ 1216081 h 3690338"/>
                <a:gd name="connsiteX9172" fmla="*/ 1277456 w 4878487"/>
                <a:gd name="connsiteY9172" fmla="*/ 1213327 h 3690338"/>
                <a:gd name="connsiteX9173" fmla="*/ 1278243 w 4878487"/>
                <a:gd name="connsiteY9173" fmla="*/ 1210179 h 3690338"/>
                <a:gd name="connsiteX9174" fmla="*/ 1275882 w 4878487"/>
                <a:gd name="connsiteY9174" fmla="*/ 1207425 h 3690338"/>
                <a:gd name="connsiteX9175" fmla="*/ 1273128 w 4878487"/>
                <a:gd name="connsiteY9175" fmla="*/ 1205065 h 3690338"/>
                <a:gd name="connsiteX9176" fmla="*/ 1270374 w 4878487"/>
                <a:gd name="connsiteY9176" fmla="*/ 1205458 h 3690338"/>
                <a:gd name="connsiteX9177" fmla="*/ 1270767 w 4878487"/>
                <a:gd name="connsiteY9177" fmla="*/ 1208212 h 3690338"/>
                <a:gd name="connsiteX9178" fmla="*/ 1272341 w 4878487"/>
                <a:gd name="connsiteY9178" fmla="*/ 1210966 h 3690338"/>
                <a:gd name="connsiteX9179" fmla="*/ 1274702 w 4878487"/>
                <a:gd name="connsiteY9179" fmla="*/ 1214114 h 3690338"/>
                <a:gd name="connsiteX9180" fmla="*/ 1272341 w 4878487"/>
                <a:gd name="connsiteY9180" fmla="*/ 1216474 h 3690338"/>
                <a:gd name="connsiteX9181" fmla="*/ 1269587 w 4878487"/>
                <a:gd name="connsiteY9181" fmla="*/ 1216474 h 3690338"/>
                <a:gd name="connsiteX9182" fmla="*/ 1270374 w 4878487"/>
                <a:gd name="connsiteY9182" fmla="*/ 1219228 h 3690338"/>
                <a:gd name="connsiteX9183" fmla="*/ 1273128 w 4878487"/>
                <a:gd name="connsiteY9183" fmla="*/ 1220409 h 3690338"/>
                <a:gd name="connsiteX9184" fmla="*/ 1275882 w 4878487"/>
                <a:gd name="connsiteY9184" fmla="*/ 1221982 h 3690338"/>
                <a:gd name="connsiteX9185" fmla="*/ 1278636 w 4878487"/>
                <a:gd name="connsiteY9185" fmla="*/ 1223556 h 3690338"/>
                <a:gd name="connsiteX9186" fmla="*/ 1280210 w 4878487"/>
                <a:gd name="connsiteY9186" fmla="*/ 1220802 h 3690338"/>
                <a:gd name="connsiteX9187" fmla="*/ 1282964 w 4878487"/>
                <a:gd name="connsiteY9187" fmla="*/ 1220409 h 3690338"/>
                <a:gd name="connsiteX9188" fmla="*/ 1284931 w 4878487"/>
                <a:gd name="connsiteY9188" fmla="*/ 1223162 h 3690338"/>
                <a:gd name="connsiteX9189" fmla="*/ 1285718 w 4878487"/>
                <a:gd name="connsiteY9189" fmla="*/ 1226310 h 3690338"/>
                <a:gd name="connsiteX9190" fmla="*/ 1288865 w 4878487"/>
                <a:gd name="connsiteY9190" fmla="*/ 1225917 h 3690338"/>
                <a:gd name="connsiteX9191" fmla="*/ 1291619 w 4878487"/>
                <a:gd name="connsiteY9191" fmla="*/ 1226703 h 3690338"/>
                <a:gd name="connsiteX9192" fmla="*/ 1294373 w 4878487"/>
                <a:gd name="connsiteY9192" fmla="*/ 1228670 h 3690338"/>
                <a:gd name="connsiteX9193" fmla="*/ 1297127 w 4878487"/>
                <a:gd name="connsiteY9193" fmla="*/ 1229064 h 3690338"/>
                <a:gd name="connsiteX9194" fmla="*/ 1297127 w 4878487"/>
                <a:gd name="connsiteY9194" fmla="*/ 1231424 h 3690338"/>
                <a:gd name="connsiteX9195" fmla="*/ 1296340 w 4878487"/>
                <a:gd name="connsiteY9195" fmla="*/ 1236932 h 3690338"/>
                <a:gd name="connsiteX9196" fmla="*/ 1293980 w 4878487"/>
                <a:gd name="connsiteY9196" fmla="*/ 1237719 h 3690338"/>
                <a:gd name="connsiteX9197" fmla="*/ 1291226 w 4878487"/>
                <a:gd name="connsiteY9197" fmla="*/ 1239293 h 3690338"/>
                <a:gd name="connsiteX9198" fmla="*/ 1293980 w 4878487"/>
                <a:gd name="connsiteY9198" fmla="*/ 1239686 h 3690338"/>
                <a:gd name="connsiteX9199" fmla="*/ 1295554 w 4878487"/>
                <a:gd name="connsiteY9199" fmla="*/ 1242440 h 3690338"/>
                <a:gd name="connsiteX9200" fmla="*/ 1296340 w 4878487"/>
                <a:gd name="connsiteY9200" fmla="*/ 1244801 h 3690338"/>
                <a:gd name="connsiteX9201" fmla="*/ 1296734 w 4878487"/>
                <a:gd name="connsiteY9201" fmla="*/ 1245981 h 3690338"/>
                <a:gd name="connsiteX9202" fmla="*/ 1297127 w 4878487"/>
                <a:gd name="connsiteY9202" fmla="*/ 1249129 h 3690338"/>
                <a:gd name="connsiteX9203" fmla="*/ 1299881 w 4878487"/>
                <a:gd name="connsiteY9203" fmla="*/ 1249522 h 3690338"/>
                <a:gd name="connsiteX9204" fmla="*/ 1302635 w 4878487"/>
                <a:gd name="connsiteY9204" fmla="*/ 1247161 h 3690338"/>
                <a:gd name="connsiteX9205" fmla="*/ 1302242 w 4878487"/>
                <a:gd name="connsiteY9205" fmla="*/ 1249916 h 3690338"/>
                <a:gd name="connsiteX9206" fmla="*/ 1304209 w 4878487"/>
                <a:gd name="connsiteY9206" fmla="*/ 1249916 h 3690338"/>
                <a:gd name="connsiteX9207" fmla="*/ 1305783 w 4878487"/>
                <a:gd name="connsiteY9207" fmla="*/ 1252669 h 3690338"/>
                <a:gd name="connsiteX9208" fmla="*/ 1303422 w 4878487"/>
                <a:gd name="connsiteY9208" fmla="*/ 1256604 h 3690338"/>
                <a:gd name="connsiteX9209" fmla="*/ 1302242 w 4878487"/>
                <a:gd name="connsiteY9209" fmla="*/ 1255817 h 3690338"/>
                <a:gd name="connsiteX9210" fmla="*/ 1299488 w 4878487"/>
                <a:gd name="connsiteY9210" fmla="*/ 1256604 h 3690338"/>
                <a:gd name="connsiteX9211" fmla="*/ 1298701 w 4878487"/>
                <a:gd name="connsiteY9211" fmla="*/ 1259358 h 3690338"/>
                <a:gd name="connsiteX9212" fmla="*/ 1300274 w 4878487"/>
                <a:gd name="connsiteY9212" fmla="*/ 1262112 h 3690338"/>
                <a:gd name="connsiteX9213" fmla="*/ 1312471 w 4878487"/>
                <a:gd name="connsiteY9213" fmla="*/ 1260538 h 3690338"/>
                <a:gd name="connsiteX9214" fmla="*/ 1310110 w 4878487"/>
                <a:gd name="connsiteY9214" fmla="*/ 1268406 h 3690338"/>
                <a:gd name="connsiteX9215" fmla="*/ 1309717 w 4878487"/>
                <a:gd name="connsiteY9215" fmla="*/ 1268800 h 3690338"/>
                <a:gd name="connsiteX9216" fmla="*/ 1306569 w 4878487"/>
                <a:gd name="connsiteY9216" fmla="*/ 1269193 h 3690338"/>
                <a:gd name="connsiteX9217" fmla="*/ 1303815 w 4878487"/>
                <a:gd name="connsiteY9217" fmla="*/ 1271554 h 3690338"/>
                <a:gd name="connsiteX9218" fmla="*/ 1306963 w 4878487"/>
                <a:gd name="connsiteY9218" fmla="*/ 1271947 h 3690338"/>
                <a:gd name="connsiteX9219" fmla="*/ 1309717 w 4878487"/>
                <a:gd name="connsiteY9219" fmla="*/ 1271554 h 3690338"/>
                <a:gd name="connsiteX9220" fmla="*/ 1312471 w 4878487"/>
                <a:gd name="connsiteY9220" fmla="*/ 1269587 h 3690338"/>
                <a:gd name="connsiteX9221" fmla="*/ 1312471 w 4878487"/>
                <a:gd name="connsiteY9221" fmla="*/ 1269587 h 3690338"/>
                <a:gd name="connsiteX9222" fmla="*/ 1322700 w 4878487"/>
                <a:gd name="connsiteY9222" fmla="*/ 1273521 h 3690338"/>
                <a:gd name="connsiteX9223" fmla="*/ 1321913 w 4878487"/>
                <a:gd name="connsiteY9223" fmla="*/ 1275095 h 3690338"/>
                <a:gd name="connsiteX9224" fmla="*/ 1324667 w 4878487"/>
                <a:gd name="connsiteY9224" fmla="*/ 1272734 h 3690338"/>
                <a:gd name="connsiteX9225" fmla="*/ 1325454 w 4878487"/>
                <a:gd name="connsiteY9225" fmla="*/ 1271947 h 3690338"/>
                <a:gd name="connsiteX9226" fmla="*/ 1337650 w 4878487"/>
                <a:gd name="connsiteY9226" fmla="*/ 1266439 h 3690338"/>
                <a:gd name="connsiteX9227" fmla="*/ 1338437 w 4878487"/>
                <a:gd name="connsiteY9227" fmla="*/ 1269980 h 3690338"/>
                <a:gd name="connsiteX9228" fmla="*/ 1341191 w 4878487"/>
                <a:gd name="connsiteY9228" fmla="*/ 1269980 h 3690338"/>
                <a:gd name="connsiteX9229" fmla="*/ 1350240 w 4878487"/>
                <a:gd name="connsiteY9229" fmla="*/ 1275488 h 3690338"/>
                <a:gd name="connsiteX9230" fmla="*/ 1353780 w 4878487"/>
                <a:gd name="connsiteY9230" fmla="*/ 1279423 h 3690338"/>
                <a:gd name="connsiteX9231" fmla="*/ 1354568 w 4878487"/>
                <a:gd name="connsiteY9231" fmla="*/ 1282176 h 3690338"/>
                <a:gd name="connsiteX9232" fmla="*/ 1357321 w 4878487"/>
                <a:gd name="connsiteY9232" fmla="*/ 1283750 h 3690338"/>
                <a:gd name="connsiteX9233" fmla="*/ 1358502 w 4878487"/>
                <a:gd name="connsiteY9233" fmla="*/ 1284930 h 3690338"/>
                <a:gd name="connsiteX9234" fmla="*/ 1361256 w 4878487"/>
                <a:gd name="connsiteY9234" fmla="*/ 1284930 h 3690338"/>
                <a:gd name="connsiteX9235" fmla="*/ 1364010 w 4878487"/>
                <a:gd name="connsiteY9235" fmla="*/ 1286898 h 3690338"/>
                <a:gd name="connsiteX9236" fmla="*/ 1367157 w 4878487"/>
                <a:gd name="connsiteY9236" fmla="*/ 1287684 h 3690338"/>
                <a:gd name="connsiteX9237" fmla="*/ 1369911 w 4878487"/>
                <a:gd name="connsiteY9237" fmla="*/ 1289258 h 3690338"/>
                <a:gd name="connsiteX9238" fmla="*/ 1372665 w 4878487"/>
                <a:gd name="connsiteY9238" fmla="*/ 1289258 h 3690338"/>
                <a:gd name="connsiteX9239" fmla="*/ 1375419 w 4878487"/>
                <a:gd name="connsiteY9239" fmla="*/ 1286898 h 3690338"/>
                <a:gd name="connsiteX9240" fmla="*/ 1378173 w 4878487"/>
                <a:gd name="connsiteY9240" fmla="*/ 1286504 h 3690338"/>
                <a:gd name="connsiteX9241" fmla="*/ 1381714 w 4878487"/>
                <a:gd name="connsiteY9241" fmla="*/ 1284144 h 3690338"/>
                <a:gd name="connsiteX9242" fmla="*/ 1389189 w 4878487"/>
                <a:gd name="connsiteY9242" fmla="*/ 1286898 h 3690338"/>
                <a:gd name="connsiteX9243" fmla="*/ 1390369 w 4878487"/>
                <a:gd name="connsiteY9243" fmla="*/ 1285717 h 3690338"/>
                <a:gd name="connsiteX9244" fmla="*/ 1392336 w 4878487"/>
                <a:gd name="connsiteY9244" fmla="*/ 1282963 h 3690338"/>
                <a:gd name="connsiteX9245" fmla="*/ 1391943 w 4878487"/>
                <a:gd name="connsiteY9245" fmla="*/ 1282176 h 3690338"/>
                <a:gd name="connsiteX9246" fmla="*/ 1401779 w 4878487"/>
                <a:gd name="connsiteY9246" fmla="*/ 1264866 h 3690338"/>
                <a:gd name="connsiteX9247" fmla="*/ 1406893 w 4878487"/>
                <a:gd name="connsiteY9247" fmla="*/ 1265653 h 3690338"/>
                <a:gd name="connsiteX9248" fmla="*/ 1409254 w 4878487"/>
                <a:gd name="connsiteY9248" fmla="*/ 1265653 h 3690338"/>
                <a:gd name="connsiteX9249" fmla="*/ 1423024 w 4878487"/>
                <a:gd name="connsiteY9249" fmla="*/ 1271161 h 3690338"/>
                <a:gd name="connsiteX9250" fmla="*/ 1423810 w 4878487"/>
                <a:gd name="connsiteY9250" fmla="*/ 1271554 h 3690338"/>
                <a:gd name="connsiteX9251" fmla="*/ 1426564 w 4878487"/>
                <a:gd name="connsiteY9251" fmla="*/ 1273128 h 3690338"/>
                <a:gd name="connsiteX9252" fmla="*/ 1427351 w 4878487"/>
                <a:gd name="connsiteY9252" fmla="*/ 1273128 h 3690338"/>
                <a:gd name="connsiteX9253" fmla="*/ 1437974 w 4878487"/>
                <a:gd name="connsiteY9253" fmla="*/ 1279029 h 3690338"/>
                <a:gd name="connsiteX9254" fmla="*/ 1439548 w 4878487"/>
                <a:gd name="connsiteY9254" fmla="*/ 1281390 h 3690338"/>
                <a:gd name="connsiteX9255" fmla="*/ 1441908 w 4878487"/>
                <a:gd name="connsiteY9255" fmla="*/ 1284537 h 3690338"/>
                <a:gd name="connsiteX9256" fmla="*/ 1444662 w 4878487"/>
                <a:gd name="connsiteY9256" fmla="*/ 1287291 h 3690338"/>
                <a:gd name="connsiteX9257" fmla="*/ 1447416 w 4878487"/>
                <a:gd name="connsiteY9257" fmla="*/ 1288865 h 3690338"/>
                <a:gd name="connsiteX9258" fmla="*/ 1450564 w 4878487"/>
                <a:gd name="connsiteY9258" fmla="*/ 1289651 h 3690338"/>
                <a:gd name="connsiteX9259" fmla="*/ 1451350 w 4878487"/>
                <a:gd name="connsiteY9259" fmla="*/ 1290438 h 3690338"/>
                <a:gd name="connsiteX9260" fmla="*/ 1454498 w 4878487"/>
                <a:gd name="connsiteY9260" fmla="*/ 1291619 h 3690338"/>
                <a:gd name="connsiteX9261" fmla="*/ 1457252 w 4878487"/>
                <a:gd name="connsiteY9261" fmla="*/ 1292012 h 3690338"/>
                <a:gd name="connsiteX9262" fmla="*/ 1463940 w 4878487"/>
                <a:gd name="connsiteY9262" fmla="*/ 1290045 h 3690338"/>
                <a:gd name="connsiteX9263" fmla="*/ 1464727 w 4878487"/>
                <a:gd name="connsiteY9263" fmla="*/ 1290045 h 3690338"/>
                <a:gd name="connsiteX9264" fmla="*/ 1467481 w 4878487"/>
                <a:gd name="connsiteY9264" fmla="*/ 1288471 h 3690338"/>
                <a:gd name="connsiteX9265" fmla="*/ 1470235 w 4878487"/>
                <a:gd name="connsiteY9265" fmla="*/ 1288471 h 3690338"/>
                <a:gd name="connsiteX9266" fmla="*/ 1472989 w 4878487"/>
                <a:gd name="connsiteY9266" fmla="*/ 1288078 h 3690338"/>
                <a:gd name="connsiteX9267" fmla="*/ 1475743 w 4878487"/>
                <a:gd name="connsiteY9267" fmla="*/ 1287684 h 3690338"/>
                <a:gd name="connsiteX9268" fmla="*/ 1478497 w 4878487"/>
                <a:gd name="connsiteY9268" fmla="*/ 1286898 h 3690338"/>
                <a:gd name="connsiteX9269" fmla="*/ 1481644 w 4878487"/>
                <a:gd name="connsiteY9269" fmla="*/ 1288078 h 3690338"/>
                <a:gd name="connsiteX9270" fmla="*/ 1484005 w 4878487"/>
                <a:gd name="connsiteY9270" fmla="*/ 1285324 h 3690338"/>
                <a:gd name="connsiteX9271" fmla="*/ 1485185 w 4878487"/>
                <a:gd name="connsiteY9271" fmla="*/ 1284144 h 3690338"/>
                <a:gd name="connsiteX9272" fmla="*/ 1487152 w 4878487"/>
                <a:gd name="connsiteY9272" fmla="*/ 1283750 h 3690338"/>
                <a:gd name="connsiteX9273" fmla="*/ 1488726 w 4878487"/>
                <a:gd name="connsiteY9273" fmla="*/ 1285717 h 3690338"/>
                <a:gd name="connsiteX9274" fmla="*/ 1490300 w 4878487"/>
                <a:gd name="connsiteY9274" fmla="*/ 1282963 h 3690338"/>
                <a:gd name="connsiteX9275" fmla="*/ 1491480 w 4878487"/>
                <a:gd name="connsiteY9275" fmla="*/ 1281783 h 3690338"/>
                <a:gd name="connsiteX9276" fmla="*/ 1491480 w 4878487"/>
                <a:gd name="connsiteY9276" fmla="*/ 1281390 h 3690338"/>
                <a:gd name="connsiteX9277" fmla="*/ 1502102 w 4878487"/>
                <a:gd name="connsiteY9277" fmla="*/ 1268406 h 3690338"/>
                <a:gd name="connsiteX9278" fmla="*/ 1502496 w 4878487"/>
                <a:gd name="connsiteY9278" fmla="*/ 1268406 h 3690338"/>
                <a:gd name="connsiteX9279" fmla="*/ 1505250 w 4878487"/>
                <a:gd name="connsiteY9279" fmla="*/ 1266046 h 3690338"/>
                <a:gd name="connsiteX9280" fmla="*/ 1511938 w 4878487"/>
                <a:gd name="connsiteY9280" fmla="*/ 1266439 h 3690338"/>
                <a:gd name="connsiteX9281" fmla="*/ 1513512 w 4878487"/>
                <a:gd name="connsiteY9281" fmla="*/ 1268800 h 3690338"/>
                <a:gd name="connsiteX9282" fmla="*/ 1515872 w 4878487"/>
                <a:gd name="connsiteY9282" fmla="*/ 1268800 h 3690338"/>
                <a:gd name="connsiteX9283" fmla="*/ 1516266 w 4878487"/>
                <a:gd name="connsiteY9283" fmla="*/ 1269193 h 3690338"/>
                <a:gd name="connsiteX9284" fmla="*/ 1519019 w 4878487"/>
                <a:gd name="connsiteY9284" fmla="*/ 1270767 h 3690338"/>
                <a:gd name="connsiteX9285" fmla="*/ 1524528 w 4878487"/>
                <a:gd name="connsiteY9285" fmla="*/ 1273521 h 3690338"/>
                <a:gd name="connsiteX9286" fmla="*/ 1527282 w 4878487"/>
                <a:gd name="connsiteY9286" fmla="*/ 1273914 h 3690338"/>
                <a:gd name="connsiteX9287" fmla="*/ 1532003 w 4878487"/>
                <a:gd name="connsiteY9287" fmla="*/ 1273521 h 3690338"/>
                <a:gd name="connsiteX9288" fmla="*/ 1533577 w 4878487"/>
                <a:gd name="connsiteY9288" fmla="*/ 1271947 h 3690338"/>
                <a:gd name="connsiteX9289" fmla="*/ 1534363 w 4878487"/>
                <a:gd name="connsiteY9289" fmla="*/ 1269193 h 3690338"/>
                <a:gd name="connsiteX9290" fmla="*/ 1531609 w 4878487"/>
                <a:gd name="connsiteY9290" fmla="*/ 1269587 h 3690338"/>
                <a:gd name="connsiteX9291" fmla="*/ 1533577 w 4878487"/>
                <a:gd name="connsiteY9291" fmla="*/ 1268406 h 3690338"/>
                <a:gd name="connsiteX9292" fmla="*/ 1535937 w 4878487"/>
                <a:gd name="connsiteY9292" fmla="*/ 1268013 h 3690338"/>
                <a:gd name="connsiteX9293" fmla="*/ 1538691 w 4878487"/>
                <a:gd name="connsiteY9293" fmla="*/ 1266833 h 3690338"/>
                <a:gd name="connsiteX9294" fmla="*/ 1541052 w 4878487"/>
                <a:gd name="connsiteY9294" fmla="*/ 1264079 h 3690338"/>
                <a:gd name="connsiteX9295" fmla="*/ 1542625 w 4878487"/>
                <a:gd name="connsiteY9295" fmla="*/ 1278636 h 3690338"/>
                <a:gd name="connsiteX9296" fmla="*/ 1540658 w 4878487"/>
                <a:gd name="connsiteY9296" fmla="*/ 1280603 h 3690338"/>
                <a:gd name="connsiteX9297" fmla="*/ 1538691 w 4878487"/>
                <a:gd name="connsiteY9297" fmla="*/ 1283750 h 3690338"/>
                <a:gd name="connsiteX9298" fmla="*/ 1541052 w 4878487"/>
                <a:gd name="connsiteY9298" fmla="*/ 1286504 h 3690338"/>
                <a:gd name="connsiteX9299" fmla="*/ 1543019 w 4878487"/>
                <a:gd name="connsiteY9299" fmla="*/ 1289258 h 3690338"/>
                <a:gd name="connsiteX9300" fmla="*/ 1544592 w 4878487"/>
                <a:gd name="connsiteY9300" fmla="*/ 1292406 h 3690338"/>
                <a:gd name="connsiteX9301" fmla="*/ 1545379 w 4878487"/>
                <a:gd name="connsiteY9301" fmla="*/ 1293979 h 3690338"/>
                <a:gd name="connsiteX9302" fmla="*/ 1543806 w 4878487"/>
                <a:gd name="connsiteY9302" fmla="*/ 1296340 h 3690338"/>
                <a:gd name="connsiteX9303" fmla="*/ 1543412 w 4878487"/>
                <a:gd name="connsiteY9303" fmla="*/ 1296733 h 3690338"/>
                <a:gd name="connsiteX9304" fmla="*/ 1540658 w 4878487"/>
                <a:gd name="connsiteY9304" fmla="*/ 1299094 h 3690338"/>
                <a:gd name="connsiteX9305" fmla="*/ 1542232 w 4878487"/>
                <a:gd name="connsiteY9305" fmla="*/ 1301848 h 3690338"/>
                <a:gd name="connsiteX9306" fmla="*/ 1540658 w 4878487"/>
                <a:gd name="connsiteY9306" fmla="*/ 1304602 h 3690338"/>
                <a:gd name="connsiteX9307" fmla="*/ 1539871 w 4878487"/>
                <a:gd name="connsiteY9307" fmla="*/ 1307356 h 3690338"/>
                <a:gd name="connsiteX9308" fmla="*/ 1541838 w 4878487"/>
                <a:gd name="connsiteY9308" fmla="*/ 1310110 h 3690338"/>
                <a:gd name="connsiteX9309" fmla="*/ 1544986 w 4878487"/>
                <a:gd name="connsiteY9309" fmla="*/ 1312470 h 3690338"/>
                <a:gd name="connsiteX9310" fmla="*/ 1545379 w 4878487"/>
                <a:gd name="connsiteY9310" fmla="*/ 1315224 h 3690338"/>
                <a:gd name="connsiteX9311" fmla="*/ 1545773 w 4878487"/>
                <a:gd name="connsiteY9311" fmla="*/ 1317978 h 3690338"/>
                <a:gd name="connsiteX9312" fmla="*/ 1545773 w 4878487"/>
                <a:gd name="connsiteY9312" fmla="*/ 1323486 h 3690338"/>
                <a:gd name="connsiteX9313" fmla="*/ 1545773 w 4878487"/>
                <a:gd name="connsiteY9313" fmla="*/ 1323880 h 3690338"/>
                <a:gd name="connsiteX9314" fmla="*/ 1545773 w 4878487"/>
                <a:gd name="connsiteY9314" fmla="*/ 1327027 h 3690338"/>
                <a:gd name="connsiteX9315" fmla="*/ 1545773 w 4878487"/>
                <a:gd name="connsiteY9315" fmla="*/ 1328601 h 3690338"/>
                <a:gd name="connsiteX9316" fmla="*/ 1546559 w 4878487"/>
                <a:gd name="connsiteY9316" fmla="*/ 1331355 h 3690338"/>
                <a:gd name="connsiteX9317" fmla="*/ 1547740 w 4878487"/>
                <a:gd name="connsiteY9317" fmla="*/ 1333715 h 3690338"/>
                <a:gd name="connsiteX9318" fmla="*/ 1548920 w 4878487"/>
                <a:gd name="connsiteY9318" fmla="*/ 1337256 h 3690338"/>
                <a:gd name="connsiteX9319" fmla="*/ 1549707 w 4878487"/>
                <a:gd name="connsiteY9319" fmla="*/ 1338830 h 3690338"/>
                <a:gd name="connsiteX9320" fmla="*/ 1550100 w 4878487"/>
                <a:gd name="connsiteY9320" fmla="*/ 1343157 h 3690338"/>
                <a:gd name="connsiteX9321" fmla="*/ 1549707 w 4878487"/>
                <a:gd name="connsiteY9321" fmla="*/ 1343157 h 3690338"/>
                <a:gd name="connsiteX9322" fmla="*/ 1546953 w 4878487"/>
                <a:gd name="connsiteY9322" fmla="*/ 1345125 h 3690338"/>
                <a:gd name="connsiteX9323" fmla="*/ 1545379 w 4878487"/>
                <a:gd name="connsiteY9323" fmla="*/ 1347485 h 3690338"/>
                <a:gd name="connsiteX9324" fmla="*/ 1543806 w 4878487"/>
                <a:gd name="connsiteY9324" fmla="*/ 1349059 h 3690338"/>
                <a:gd name="connsiteX9325" fmla="*/ 1541838 w 4878487"/>
                <a:gd name="connsiteY9325" fmla="*/ 1351419 h 3690338"/>
                <a:gd name="connsiteX9326" fmla="*/ 1541838 w 4878487"/>
                <a:gd name="connsiteY9326" fmla="*/ 1356141 h 3690338"/>
                <a:gd name="connsiteX9327" fmla="*/ 1542232 w 4878487"/>
                <a:gd name="connsiteY9327" fmla="*/ 1358108 h 3690338"/>
                <a:gd name="connsiteX9328" fmla="*/ 1541052 w 4878487"/>
                <a:gd name="connsiteY9328" fmla="*/ 1362042 h 3690338"/>
                <a:gd name="connsiteX9329" fmla="*/ 1539871 w 4878487"/>
                <a:gd name="connsiteY9329" fmla="*/ 1364009 h 3690338"/>
                <a:gd name="connsiteX9330" fmla="*/ 1538297 w 4878487"/>
                <a:gd name="connsiteY9330" fmla="*/ 1365189 h 3690338"/>
                <a:gd name="connsiteX9331" fmla="*/ 1538691 w 4878487"/>
                <a:gd name="connsiteY9331" fmla="*/ 1365583 h 3690338"/>
                <a:gd name="connsiteX9332" fmla="*/ 1537904 w 4878487"/>
                <a:gd name="connsiteY9332" fmla="*/ 1368730 h 3690338"/>
                <a:gd name="connsiteX9333" fmla="*/ 1537117 w 4878487"/>
                <a:gd name="connsiteY9333" fmla="*/ 1371484 h 3690338"/>
                <a:gd name="connsiteX9334" fmla="*/ 1536724 w 4878487"/>
                <a:gd name="connsiteY9334" fmla="*/ 1374238 h 3690338"/>
                <a:gd name="connsiteX9335" fmla="*/ 1536330 w 4878487"/>
                <a:gd name="connsiteY9335" fmla="*/ 1374632 h 3690338"/>
                <a:gd name="connsiteX9336" fmla="*/ 1534757 w 4878487"/>
                <a:gd name="connsiteY9336" fmla="*/ 1377386 h 3690338"/>
                <a:gd name="connsiteX9337" fmla="*/ 1533183 w 4878487"/>
                <a:gd name="connsiteY9337" fmla="*/ 1380533 h 3690338"/>
                <a:gd name="connsiteX9338" fmla="*/ 1532789 w 4878487"/>
                <a:gd name="connsiteY9338" fmla="*/ 1382107 h 3690338"/>
                <a:gd name="connsiteX9339" fmla="*/ 1532396 w 4878487"/>
                <a:gd name="connsiteY9339" fmla="*/ 1383287 h 3690338"/>
                <a:gd name="connsiteX9340" fmla="*/ 1532003 w 4878487"/>
                <a:gd name="connsiteY9340" fmla="*/ 1384467 h 3690338"/>
                <a:gd name="connsiteX9341" fmla="*/ 1532396 w 4878487"/>
                <a:gd name="connsiteY9341" fmla="*/ 1387221 h 3690338"/>
                <a:gd name="connsiteX9342" fmla="*/ 1532003 w 4878487"/>
                <a:gd name="connsiteY9342" fmla="*/ 1388008 h 3690338"/>
                <a:gd name="connsiteX9343" fmla="*/ 1530429 w 4878487"/>
                <a:gd name="connsiteY9343" fmla="*/ 1389975 h 3690338"/>
                <a:gd name="connsiteX9344" fmla="*/ 1530036 w 4878487"/>
                <a:gd name="connsiteY9344" fmla="*/ 1390762 h 3690338"/>
                <a:gd name="connsiteX9345" fmla="*/ 1529642 w 4878487"/>
                <a:gd name="connsiteY9345" fmla="*/ 1393516 h 3690338"/>
                <a:gd name="connsiteX9346" fmla="*/ 1529642 w 4878487"/>
                <a:gd name="connsiteY9346" fmla="*/ 1396270 h 3690338"/>
                <a:gd name="connsiteX9347" fmla="*/ 1530036 w 4878487"/>
                <a:gd name="connsiteY9347" fmla="*/ 1397450 h 3690338"/>
                <a:gd name="connsiteX9348" fmla="*/ 1528068 w 4878487"/>
                <a:gd name="connsiteY9348" fmla="*/ 1399811 h 3690338"/>
                <a:gd name="connsiteX9349" fmla="*/ 1526495 w 4878487"/>
                <a:gd name="connsiteY9349" fmla="*/ 1402565 h 3690338"/>
                <a:gd name="connsiteX9350" fmla="*/ 1526101 w 4878487"/>
                <a:gd name="connsiteY9350" fmla="*/ 1405319 h 3690338"/>
                <a:gd name="connsiteX9351" fmla="*/ 1525708 w 4878487"/>
                <a:gd name="connsiteY9351" fmla="*/ 1408073 h 3690338"/>
                <a:gd name="connsiteX9352" fmla="*/ 1525315 w 4878487"/>
                <a:gd name="connsiteY9352" fmla="*/ 1410827 h 3690338"/>
                <a:gd name="connsiteX9353" fmla="*/ 1524921 w 4878487"/>
                <a:gd name="connsiteY9353" fmla="*/ 1413581 h 3690338"/>
                <a:gd name="connsiteX9354" fmla="*/ 1524134 w 4878487"/>
                <a:gd name="connsiteY9354" fmla="*/ 1416335 h 3690338"/>
                <a:gd name="connsiteX9355" fmla="*/ 1524134 w 4878487"/>
                <a:gd name="connsiteY9355" fmla="*/ 1416728 h 3690338"/>
                <a:gd name="connsiteX9356" fmla="*/ 1523741 w 4878487"/>
                <a:gd name="connsiteY9356" fmla="*/ 1419876 h 3690338"/>
                <a:gd name="connsiteX9357" fmla="*/ 1523741 w 4878487"/>
                <a:gd name="connsiteY9357" fmla="*/ 1420663 h 3690338"/>
                <a:gd name="connsiteX9358" fmla="*/ 1522954 w 4878487"/>
                <a:gd name="connsiteY9358" fmla="*/ 1423416 h 3690338"/>
                <a:gd name="connsiteX9359" fmla="*/ 1522167 w 4878487"/>
                <a:gd name="connsiteY9359" fmla="*/ 1426170 h 3690338"/>
                <a:gd name="connsiteX9360" fmla="*/ 1522167 w 4878487"/>
                <a:gd name="connsiteY9360" fmla="*/ 1426564 h 3690338"/>
                <a:gd name="connsiteX9361" fmla="*/ 1521380 w 4878487"/>
                <a:gd name="connsiteY9361" fmla="*/ 1429318 h 3690338"/>
                <a:gd name="connsiteX9362" fmla="*/ 1519807 w 4878487"/>
                <a:gd name="connsiteY9362" fmla="*/ 1432859 h 3690338"/>
                <a:gd name="connsiteX9363" fmla="*/ 1519413 w 4878487"/>
                <a:gd name="connsiteY9363" fmla="*/ 1434039 h 3690338"/>
                <a:gd name="connsiteX9364" fmla="*/ 1517839 w 4878487"/>
                <a:gd name="connsiteY9364" fmla="*/ 1436793 h 3690338"/>
                <a:gd name="connsiteX9365" fmla="*/ 1517446 w 4878487"/>
                <a:gd name="connsiteY9365" fmla="*/ 1437973 h 3690338"/>
                <a:gd name="connsiteX9366" fmla="*/ 1515872 w 4878487"/>
                <a:gd name="connsiteY9366" fmla="*/ 1441121 h 3690338"/>
                <a:gd name="connsiteX9367" fmla="*/ 1509184 w 4878487"/>
                <a:gd name="connsiteY9367" fmla="*/ 1449776 h 3690338"/>
                <a:gd name="connsiteX9368" fmla="*/ 1508790 w 4878487"/>
                <a:gd name="connsiteY9368" fmla="*/ 1450170 h 3690338"/>
                <a:gd name="connsiteX9369" fmla="*/ 1506823 w 4878487"/>
                <a:gd name="connsiteY9369" fmla="*/ 1451743 h 3690338"/>
                <a:gd name="connsiteX9370" fmla="*/ 1505643 w 4878487"/>
                <a:gd name="connsiteY9370" fmla="*/ 1452923 h 3690338"/>
                <a:gd name="connsiteX9371" fmla="*/ 1504070 w 4878487"/>
                <a:gd name="connsiteY9371" fmla="*/ 1453710 h 3690338"/>
                <a:gd name="connsiteX9372" fmla="*/ 1498561 w 4878487"/>
                <a:gd name="connsiteY9372" fmla="*/ 1456071 h 3690338"/>
                <a:gd name="connsiteX9373" fmla="*/ 1497381 w 4878487"/>
                <a:gd name="connsiteY9373" fmla="*/ 1456464 h 3690338"/>
                <a:gd name="connsiteX9374" fmla="*/ 1489512 w 4878487"/>
                <a:gd name="connsiteY9374" fmla="*/ 1457251 h 3690338"/>
                <a:gd name="connsiteX9375" fmla="*/ 1489119 w 4878487"/>
                <a:gd name="connsiteY9375" fmla="*/ 1457251 h 3690338"/>
                <a:gd name="connsiteX9376" fmla="*/ 1486365 w 4878487"/>
                <a:gd name="connsiteY9376" fmla="*/ 1456858 h 3690338"/>
                <a:gd name="connsiteX9377" fmla="*/ 1485578 w 4878487"/>
                <a:gd name="connsiteY9377" fmla="*/ 1457645 h 3690338"/>
                <a:gd name="connsiteX9378" fmla="*/ 1482824 w 4878487"/>
                <a:gd name="connsiteY9378" fmla="*/ 1458038 h 3690338"/>
                <a:gd name="connsiteX9379" fmla="*/ 1480071 w 4878487"/>
                <a:gd name="connsiteY9379" fmla="*/ 1459612 h 3690338"/>
                <a:gd name="connsiteX9380" fmla="*/ 1479283 w 4878487"/>
                <a:gd name="connsiteY9380" fmla="*/ 1460005 h 3690338"/>
                <a:gd name="connsiteX9381" fmla="*/ 1479283 w 4878487"/>
                <a:gd name="connsiteY9381" fmla="*/ 1457251 h 3690338"/>
                <a:gd name="connsiteX9382" fmla="*/ 1476530 w 4878487"/>
                <a:gd name="connsiteY9382" fmla="*/ 1456071 h 3690338"/>
                <a:gd name="connsiteX9383" fmla="*/ 1474956 w 4878487"/>
                <a:gd name="connsiteY9383" fmla="*/ 1457645 h 3690338"/>
                <a:gd name="connsiteX9384" fmla="*/ 1474956 w 4878487"/>
                <a:gd name="connsiteY9384" fmla="*/ 1458431 h 3690338"/>
                <a:gd name="connsiteX9385" fmla="*/ 1475743 w 4878487"/>
                <a:gd name="connsiteY9385" fmla="*/ 1458431 h 3690338"/>
                <a:gd name="connsiteX9386" fmla="*/ 1474956 w 4878487"/>
                <a:gd name="connsiteY9386" fmla="*/ 1460005 h 3690338"/>
                <a:gd name="connsiteX9387" fmla="*/ 1472202 w 4878487"/>
                <a:gd name="connsiteY9387" fmla="*/ 1459218 h 3690338"/>
                <a:gd name="connsiteX9388" fmla="*/ 1472202 w 4878487"/>
                <a:gd name="connsiteY9388" fmla="*/ 1458825 h 3690338"/>
                <a:gd name="connsiteX9389" fmla="*/ 1471415 w 4878487"/>
                <a:gd name="connsiteY9389" fmla="*/ 1458825 h 3690338"/>
                <a:gd name="connsiteX9390" fmla="*/ 1469055 w 4878487"/>
                <a:gd name="connsiteY9390" fmla="*/ 1460005 h 3690338"/>
                <a:gd name="connsiteX9391" fmla="*/ 1468268 w 4878487"/>
                <a:gd name="connsiteY9391" fmla="*/ 1460399 h 3690338"/>
                <a:gd name="connsiteX9392" fmla="*/ 1468661 w 4878487"/>
                <a:gd name="connsiteY9392" fmla="*/ 1458825 h 3690338"/>
                <a:gd name="connsiteX9393" fmla="*/ 1468268 w 4878487"/>
                <a:gd name="connsiteY9393" fmla="*/ 1459218 h 3690338"/>
                <a:gd name="connsiteX9394" fmla="*/ 1465514 w 4878487"/>
                <a:gd name="connsiteY9394" fmla="*/ 1460005 h 3690338"/>
                <a:gd name="connsiteX9395" fmla="*/ 1465907 w 4878487"/>
                <a:gd name="connsiteY9395" fmla="*/ 1459612 h 3690338"/>
                <a:gd name="connsiteX9396" fmla="*/ 1468661 w 4878487"/>
                <a:gd name="connsiteY9396" fmla="*/ 1458431 h 3690338"/>
                <a:gd name="connsiteX9397" fmla="*/ 1463153 w 4878487"/>
                <a:gd name="connsiteY9397" fmla="*/ 1459612 h 3690338"/>
                <a:gd name="connsiteX9398" fmla="*/ 1460006 w 4878487"/>
                <a:gd name="connsiteY9398" fmla="*/ 1457645 h 3690338"/>
                <a:gd name="connsiteX9399" fmla="*/ 1458432 w 4878487"/>
                <a:gd name="connsiteY9399" fmla="*/ 1456071 h 3690338"/>
                <a:gd name="connsiteX9400" fmla="*/ 1455678 w 4878487"/>
                <a:gd name="connsiteY9400" fmla="*/ 1453710 h 3690338"/>
                <a:gd name="connsiteX9401" fmla="*/ 1454104 w 4878487"/>
                <a:gd name="connsiteY9401" fmla="*/ 1453710 h 3690338"/>
                <a:gd name="connsiteX9402" fmla="*/ 1454104 w 4878487"/>
                <a:gd name="connsiteY9402" fmla="*/ 1452137 h 3690338"/>
                <a:gd name="connsiteX9403" fmla="*/ 1452531 w 4878487"/>
                <a:gd name="connsiteY9403" fmla="*/ 1451743 h 3690338"/>
                <a:gd name="connsiteX9404" fmla="*/ 1451350 w 4878487"/>
                <a:gd name="connsiteY9404" fmla="*/ 1451743 h 3690338"/>
                <a:gd name="connsiteX9405" fmla="*/ 1452531 w 4878487"/>
                <a:gd name="connsiteY9405" fmla="*/ 1452137 h 3690338"/>
                <a:gd name="connsiteX9406" fmla="*/ 1453711 w 4878487"/>
                <a:gd name="connsiteY9406" fmla="*/ 1453710 h 3690338"/>
                <a:gd name="connsiteX9407" fmla="*/ 1453711 w 4878487"/>
                <a:gd name="connsiteY9407" fmla="*/ 1455677 h 3690338"/>
                <a:gd name="connsiteX9408" fmla="*/ 1452924 w 4878487"/>
                <a:gd name="connsiteY9408" fmla="*/ 1457645 h 3690338"/>
                <a:gd name="connsiteX9409" fmla="*/ 1452531 w 4878487"/>
                <a:gd name="connsiteY9409" fmla="*/ 1458038 h 3690338"/>
                <a:gd name="connsiteX9410" fmla="*/ 1449777 w 4878487"/>
                <a:gd name="connsiteY9410" fmla="*/ 1458431 h 3690338"/>
                <a:gd name="connsiteX9411" fmla="*/ 1449777 w 4878487"/>
                <a:gd name="connsiteY9411" fmla="*/ 1458825 h 3690338"/>
                <a:gd name="connsiteX9412" fmla="*/ 1448990 w 4878487"/>
                <a:gd name="connsiteY9412" fmla="*/ 1458431 h 3690338"/>
                <a:gd name="connsiteX9413" fmla="*/ 1448990 w 4878487"/>
                <a:gd name="connsiteY9413" fmla="*/ 1460005 h 3690338"/>
                <a:gd name="connsiteX9414" fmla="*/ 1447416 w 4878487"/>
                <a:gd name="connsiteY9414" fmla="*/ 1457645 h 3690338"/>
                <a:gd name="connsiteX9415" fmla="*/ 1447023 w 4878487"/>
                <a:gd name="connsiteY9415" fmla="*/ 1457251 h 3690338"/>
                <a:gd name="connsiteX9416" fmla="*/ 1446629 w 4878487"/>
                <a:gd name="connsiteY9416" fmla="*/ 1455284 h 3690338"/>
                <a:gd name="connsiteX9417" fmla="*/ 1439548 w 4878487"/>
                <a:gd name="connsiteY9417" fmla="*/ 1451743 h 3690338"/>
                <a:gd name="connsiteX9418" fmla="*/ 1440728 w 4878487"/>
                <a:gd name="connsiteY9418" fmla="*/ 1449383 h 3690338"/>
                <a:gd name="connsiteX9419" fmla="*/ 1441121 w 4878487"/>
                <a:gd name="connsiteY9419" fmla="*/ 1449383 h 3690338"/>
                <a:gd name="connsiteX9420" fmla="*/ 1441515 w 4878487"/>
                <a:gd name="connsiteY9420" fmla="*/ 1447415 h 3690338"/>
                <a:gd name="connsiteX9421" fmla="*/ 1447023 w 4878487"/>
                <a:gd name="connsiteY9421" fmla="*/ 1448989 h 3690338"/>
                <a:gd name="connsiteX9422" fmla="*/ 1450170 w 4878487"/>
                <a:gd name="connsiteY9422" fmla="*/ 1450956 h 3690338"/>
                <a:gd name="connsiteX9423" fmla="*/ 1447416 w 4878487"/>
                <a:gd name="connsiteY9423" fmla="*/ 1448989 h 3690338"/>
                <a:gd name="connsiteX9424" fmla="*/ 1444662 w 4878487"/>
                <a:gd name="connsiteY9424" fmla="*/ 1446629 h 3690338"/>
                <a:gd name="connsiteX9425" fmla="*/ 1443088 w 4878487"/>
                <a:gd name="connsiteY9425" fmla="*/ 1443875 h 3690338"/>
                <a:gd name="connsiteX9426" fmla="*/ 1440334 w 4878487"/>
                <a:gd name="connsiteY9426" fmla="*/ 1443481 h 3690338"/>
                <a:gd name="connsiteX9427" fmla="*/ 1432859 w 4878487"/>
                <a:gd name="connsiteY9427" fmla="*/ 1446235 h 3690338"/>
                <a:gd name="connsiteX9428" fmla="*/ 1432466 w 4878487"/>
                <a:gd name="connsiteY9428" fmla="*/ 1446235 h 3690338"/>
                <a:gd name="connsiteX9429" fmla="*/ 1427745 w 4878487"/>
                <a:gd name="connsiteY9429" fmla="*/ 1444268 h 3690338"/>
                <a:gd name="connsiteX9430" fmla="*/ 1426564 w 4878487"/>
                <a:gd name="connsiteY9430" fmla="*/ 1443481 h 3690338"/>
                <a:gd name="connsiteX9431" fmla="*/ 1426171 w 4878487"/>
                <a:gd name="connsiteY9431" fmla="*/ 1443481 h 3690338"/>
                <a:gd name="connsiteX9432" fmla="*/ 1423417 w 4878487"/>
                <a:gd name="connsiteY9432" fmla="*/ 1441908 h 3690338"/>
                <a:gd name="connsiteX9433" fmla="*/ 1421450 w 4878487"/>
                <a:gd name="connsiteY9433" fmla="*/ 1441514 h 3690338"/>
                <a:gd name="connsiteX9434" fmla="*/ 1418696 w 4878487"/>
                <a:gd name="connsiteY9434" fmla="*/ 1441121 h 3690338"/>
                <a:gd name="connsiteX9435" fmla="*/ 1415942 w 4878487"/>
                <a:gd name="connsiteY9435" fmla="*/ 1441514 h 3690338"/>
                <a:gd name="connsiteX9436" fmla="*/ 1418696 w 4878487"/>
                <a:gd name="connsiteY9436" fmla="*/ 1442301 h 3690338"/>
                <a:gd name="connsiteX9437" fmla="*/ 1413975 w 4878487"/>
                <a:gd name="connsiteY9437" fmla="*/ 1447022 h 3690338"/>
                <a:gd name="connsiteX9438" fmla="*/ 1410434 w 4878487"/>
                <a:gd name="connsiteY9438" fmla="*/ 1446629 h 3690338"/>
                <a:gd name="connsiteX9439" fmla="*/ 1407680 w 4878487"/>
                <a:gd name="connsiteY9439" fmla="*/ 1447415 h 3690338"/>
                <a:gd name="connsiteX9440" fmla="*/ 1404926 w 4878487"/>
                <a:gd name="connsiteY9440" fmla="*/ 1448989 h 3690338"/>
                <a:gd name="connsiteX9441" fmla="*/ 1408073 w 4878487"/>
                <a:gd name="connsiteY9441" fmla="*/ 1446235 h 3690338"/>
                <a:gd name="connsiteX9442" fmla="*/ 1410827 w 4878487"/>
                <a:gd name="connsiteY9442" fmla="*/ 1444662 h 3690338"/>
                <a:gd name="connsiteX9443" fmla="*/ 1413581 w 4878487"/>
                <a:gd name="connsiteY9443" fmla="*/ 1443088 h 3690338"/>
                <a:gd name="connsiteX9444" fmla="*/ 1410827 w 4878487"/>
                <a:gd name="connsiteY9444" fmla="*/ 1443481 h 3690338"/>
                <a:gd name="connsiteX9445" fmla="*/ 1401385 w 4878487"/>
                <a:gd name="connsiteY9445" fmla="*/ 1446235 h 3690338"/>
                <a:gd name="connsiteX9446" fmla="*/ 1399418 w 4878487"/>
                <a:gd name="connsiteY9446" fmla="*/ 1445448 h 3690338"/>
                <a:gd name="connsiteX9447" fmla="*/ 1399024 w 4878487"/>
                <a:gd name="connsiteY9447" fmla="*/ 1447022 h 3690338"/>
                <a:gd name="connsiteX9448" fmla="*/ 1393123 w 4878487"/>
                <a:gd name="connsiteY9448" fmla="*/ 1452530 h 3690338"/>
                <a:gd name="connsiteX9449" fmla="*/ 1393123 w 4878487"/>
                <a:gd name="connsiteY9449" fmla="*/ 1452923 h 3690338"/>
                <a:gd name="connsiteX9450" fmla="*/ 1392730 w 4878487"/>
                <a:gd name="connsiteY9450" fmla="*/ 1452923 h 3690338"/>
                <a:gd name="connsiteX9451" fmla="*/ 1391156 w 4878487"/>
                <a:gd name="connsiteY9451" fmla="*/ 1452530 h 3690338"/>
                <a:gd name="connsiteX9452" fmla="*/ 1389976 w 4878487"/>
                <a:gd name="connsiteY9452" fmla="*/ 1450956 h 3690338"/>
                <a:gd name="connsiteX9453" fmla="*/ 1388402 w 4878487"/>
                <a:gd name="connsiteY9453" fmla="*/ 1452530 h 3690338"/>
                <a:gd name="connsiteX9454" fmla="*/ 1385648 w 4878487"/>
                <a:gd name="connsiteY9454" fmla="*/ 1454891 h 3690338"/>
                <a:gd name="connsiteX9455" fmla="*/ 1385254 w 4878487"/>
                <a:gd name="connsiteY9455" fmla="*/ 1455284 h 3690338"/>
                <a:gd name="connsiteX9456" fmla="*/ 1382501 w 4878487"/>
                <a:gd name="connsiteY9456" fmla="*/ 1456858 h 3690338"/>
                <a:gd name="connsiteX9457" fmla="*/ 1380534 w 4878487"/>
                <a:gd name="connsiteY9457" fmla="*/ 1458431 h 3690338"/>
                <a:gd name="connsiteX9458" fmla="*/ 1377386 w 4878487"/>
                <a:gd name="connsiteY9458" fmla="*/ 1460792 h 3690338"/>
                <a:gd name="connsiteX9459" fmla="*/ 1361256 w 4878487"/>
                <a:gd name="connsiteY9459" fmla="*/ 1467087 h 3690338"/>
                <a:gd name="connsiteX9460" fmla="*/ 1355354 w 4878487"/>
                <a:gd name="connsiteY9460" fmla="*/ 1463546 h 3690338"/>
                <a:gd name="connsiteX9461" fmla="*/ 1352600 w 4878487"/>
                <a:gd name="connsiteY9461" fmla="*/ 1461579 h 3690338"/>
                <a:gd name="connsiteX9462" fmla="*/ 1349453 w 4878487"/>
                <a:gd name="connsiteY9462" fmla="*/ 1460792 h 3690338"/>
                <a:gd name="connsiteX9463" fmla="*/ 1346699 w 4878487"/>
                <a:gd name="connsiteY9463" fmla="*/ 1459218 h 3690338"/>
                <a:gd name="connsiteX9464" fmla="*/ 1343551 w 4878487"/>
                <a:gd name="connsiteY9464" fmla="*/ 1458038 h 3690338"/>
                <a:gd name="connsiteX9465" fmla="*/ 1340798 w 4878487"/>
                <a:gd name="connsiteY9465" fmla="*/ 1458825 h 3690338"/>
                <a:gd name="connsiteX9466" fmla="*/ 1338830 w 4878487"/>
                <a:gd name="connsiteY9466" fmla="*/ 1458825 h 3690338"/>
                <a:gd name="connsiteX9467" fmla="*/ 1328208 w 4878487"/>
                <a:gd name="connsiteY9467" fmla="*/ 1455677 h 3690338"/>
                <a:gd name="connsiteX9468" fmla="*/ 1327814 w 4878487"/>
                <a:gd name="connsiteY9468" fmla="*/ 1454497 h 3690338"/>
                <a:gd name="connsiteX9469" fmla="*/ 1325061 w 4878487"/>
                <a:gd name="connsiteY9469" fmla="*/ 1453710 h 3690338"/>
                <a:gd name="connsiteX9470" fmla="*/ 1323487 w 4878487"/>
                <a:gd name="connsiteY9470" fmla="*/ 1454104 h 3690338"/>
                <a:gd name="connsiteX9471" fmla="*/ 1313258 w 4878487"/>
                <a:gd name="connsiteY9471" fmla="*/ 1451350 h 3690338"/>
                <a:gd name="connsiteX9472" fmla="*/ 1312077 w 4878487"/>
                <a:gd name="connsiteY9472" fmla="*/ 1448989 h 3690338"/>
                <a:gd name="connsiteX9473" fmla="*/ 1309323 w 4878487"/>
                <a:gd name="connsiteY9473" fmla="*/ 1448202 h 3690338"/>
                <a:gd name="connsiteX9474" fmla="*/ 1306569 w 4878487"/>
                <a:gd name="connsiteY9474" fmla="*/ 1447809 h 3690338"/>
                <a:gd name="connsiteX9475" fmla="*/ 1303422 w 4878487"/>
                <a:gd name="connsiteY9475" fmla="*/ 1446629 h 3690338"/>
                <a:gd name="connsiteX9476" fmla="*/ 1300668 w 4878487"/>
                <a:gd name="connsiteY9476" fmla="*/ 1445842 h 3690338"/>
                <a:gd name="connsiteX9477" fmla="*/ 1297914 w 4878487"/>
                <a:gd name="connsiteY9477" fmla="*/ 1446235 h 3690338"/>
                <a:gd name="connsiteX9478" fmla="*/ 1294766 w 4878487"/>
                <a:gd name="connsiteY9478" fmla="*/ 1444662 h 3690338"/>
                <a:gd name="connsiteX9479" fmla="*/ 1292013 w 4878487"/>
                <a:gd name="connsiteY9479" fmla="*/ 1444268 h 3690338"/>
                <a:gd name="connsiteX9480" fmla="*/ 1288865 w 4878487"/>
                <a:gd name="connsiteY9480" fmla="*/ 1443481 h 3690338"/>
                <a:gd name="connsiteX9481" fmla="*/ 1285718 w 4878487"/>
                <a:gd name="connsiteY9481" fmla="*/ 1443088 h 3690338"/>
                <a:gd name="connsiteX9482" fmla="*/ 1284144 w 4878487"/>
                <a:gd name="connsiteY9482" fmla="*/ 1443088 h 3690338"/>
                <a:gd name="connsiteX9483" fmla="*/ 1280603 w 4878487"/>
                <a:gd name="connsiteY9483" fmla="*/ 1442301 h 3690338"/>
                <a:gd name="connsiteX9484" fmla="*/ 1277849 w 4878487"/>
                <a:gd name="connsiteY9484" fmla="*/ 1441908 h 3690338"/>
                <a:gd name="connsiteX9485" fmla="*/ 1275095 w 4878487"/>
                <a:gd name="connsiteY9485" fmla="*/ 1440727 h 3690338"/>
                <a:gd name="connsiteX9486" fmla="*/ 1271948 w 4878487"/>
                <a:gd name="connsiteY9486" fmla="*/ 1440334 h 3690338"/>
                <a:gd name="connsiteX9487" fmla="*/ 1269194 w 4878487"/>
                <a:gd name="connsiteY9487" fmla="*/ 1440334 h 3690338"/>
                <a:gd name="connsiteX9488" fmla="*/ 1266440 w 4878487"/>
                <a:gd name="connsiteY9488" fmla="*/ 1441514 h 3690338"/>
                <a:gd name="connsiteX9489" fmla="*/ 1263292 w 4878487"/>
                <a:gd name="connsiteY9489" fmla="*/ 1441908 h 3690338"/>
                <a:gd name="connsiteX9490" fmla="*/ 1262899 w 4878487"/>
                <a:gd name="connsiteY9490" fmla="*/ 1441908 h 3690338"/>
                <a:gd name="connsiteX9491" fmla="*/ 1249522 w 4878487"/>
                <a:gd name="connsiteY9491" fmla="*/ 1441514 h 3690338"/>
                <a:gd name="connsiteX9492" fmla="*/ 1248736 w 4878487"/>
                <a:gd name="connsiteY9492" fmla="*/ 1439153 h 3690338"/>
                <a:gd name="connsiteX9493" fmla="*/ 1247555 w 4878487"/>
                <a:gd name="connsiteY9493" fmla="*/ 1436400 h 3690338"/>
                <a:gd name="connsiteX9494" fmla="*/ 1247162 w 4878487"/>
                <a:gd name="connsiteY9494" fmla="*/ 1435613 h 3690338"/>
                <a:gd name="connsiteX9495" fmla="*/ 1245195 w 4878487"/>
                <a:gd name="connsiteY9495" fmla="*/ 1431678 h 3690338"/>
                <a:gd name="connsiteX9496" fmla="*/ 1245195 w 4878487"/>
                <a:gd name="connsiteY9496" fmla="*/ 1430892 h 3690338"/>
                <a:gd name="connsiteX9497" fmla="*/ 1244015 w 4878487"/>
                <a:gd name="connsiteY9497" fmla="*/ 1428925 h 3690338"/>
                <a:gd name="connsiteX9498" fmla="*/ 1241260 w 4878487"/>
                <a:gd name="connsiteY9498" fmla="*/ 1428138 h 3690338"/>
                <a:gd name="connsiteX9499" fmla="*/ 1238113 w 4878487"/>
                <a:gd name="connsiteY9499" fmla="*/ 1427744 h 3690338"/>
                <a:gd name="connsiteX9500" fmla="*/ 1235359 w 4878487"/>
                <a:gd name="connsiteY9500" fmla="*/ 1426957 h 3690338"/>
                <a:gd name="connsiteX9501" fmla="*/ 1232212 w 4878487"/>
                <a:gd name="connsiteY9501" fmla="*/ 1427744 h 3690338"/>
                <a:gd name="connsiteX9502" fmla="*/ 1231425 w 4878487"/>
                <a:gd name="connsiteY9502" fmla="*/ 1427744 h 3690338"/>
                <a:gd name="connsiteX9503" fmla="*/ 1214901 w 4878487"/>
                <a:gd name="connsiteY9503" fmla="*/ 1426170 h 3690338"/>
                <a:gd name="connsiteX9504" fmla="*/ 1211754 w 4878487"/>
                <a:gd name="connsiteY9504" fmla="*/ 1423810 h 3690338"/>
                <a:gd name="connsiteX9505" fmla="*/ 1209000 w 4878487"/>
                <a:gd name="connsiteY9505" fmla="*/ 1422630 h 3690338"/>
                <a:gd name="connsiteX9506" fmla="*/ 1205852 w 4878487"/>
                <a:gd name="connsiteY9506" fmla="*/ 1422236 h 3690338"/>
                <a:gd name="connsiteX9507" fmla="*/ 1203098 w 4878487"/>
                <a:gd name="connsiteY9507" fmla="*/ 1421843 h 3690338"/>
                <a:gd name="connsiteX9508" fmla="*/ 1200344 w 4878487"/>
                <a:gd name="connsiteY9508" fmla="*/ 1421843 h 3690338"/>
                <a:gd name="connsiteX9509" fmla="*/ 1197197 w 4878487"/>
                <a:gd name="connsiteY9509" fmla="*/ 1421449 h 3690338"/>
                <a:gd name="connsiteX9510" fmla="*/ 1195230 w 4878487"/>
                <a:gd name="connsiteY9510" fmla="*/ 1421449 h 3690338"/>
                <a:gd name="connsiteX9511" fmla="*/ 1192869 w 4878487"/>
                <a:gd name="connsiteY9511" fmla="*/ 1421056 h 3690338"/>
                <a:gd name="connsiteX9512" fmla="*/ 1188541 w 4878487"/>
                <a:gd name="connsiteY9512" fmla="*/ 1415548 h 3690338"/>
                <a:gd name="connsiteX9513" fmla="*/ 1190115 w 4878487"/>
                <a:gd name="connsiteY9513" fmla="*/ 1412794 h 3690338"/>
                <a:gd name="connsiteX9514" fmla="*/ 1188541 w 4878487"/>
                <a:gd name="connsiteY9514" fmla="*/ 1410040 h 3690338"/>
                <a:gd name="connsiteX9515" fmla="*/ 1188541 w 4878487"/>
                <a:gd name="connsiteY9515" fmla="*/ 1407286 h 3690338"/>
                <a:gd name="connsiteX9516" fmla="*/ 1185394 w 4878487"/>
                <a:gd name="connsiteY9516" fmla="*/ 1405712 h 3690338"/>
                <a:gd name="connsiteX9517" fmla="*/ 1182640 w 4878487"/>
                <a:gd name="connsiteY9517" fmla="*/ 1405319 h 3690338"/>
                <a:gd name="connsiteX9518" fmla="*/ 1179886 w 4878487"/>
                <a:gd name="connsiteY9518" fmla="*/ 1403745 h 3690338"/>
                <a:gd name="connsiteX9519" fmla="*/ 1176738 w 4878487"/>
                <a:gd name="connsiteY9519" fmla="*/ 1402958 h 3690338"/>
                <a:gd name="connsiteX9520" fmla="*/ 1175165 w 4878487"/>
                <a:gd name="connsiteY9520" fmla="*/ 1402565 h 3690338"/>
                <a:gd name="connsiteX9521" fmla="*/ 1171624 w 4878487"/>
                <a:gd name="connsiteY9521" fmla="*/ 1401385 h 3690338"/>
                <a:gd name="connsiteX9522" fmla="*/ 1166116 w 4878487"/>
                <a:gd name="connsiteY9522" fmla="*/ 1398237 h 3690338"/>
                <a:gd name="connsiteX9523" fmla="*/ 1163362 w 4878487"/>
                <a:gd name="connsiteY9523" fmla="*/ 1398237 h 3690338"/>
                <a:gd name="connsiteX9524" fmla="*/ 1160215 w 4878487"/>
                <a:gd name="connsiteY9524" fmla="*/ 1396270 h 3690338"/>
                <a:gd name="connsiteX9525" fmla="*/ 1157461 w 4878487"/>
                <a:gd name="connsiteY9525" fmla="*/ 1397450 h 3690338"/>
                <a:gd name="connsiteX9526" fmla="*/ 1156674 w 4878487"/>
                <a:gd name="connsiteY9526" fmla="*/ 1397057 h 3690338"/>
                <a:gd name="connsiteX9527" fmla="*/ 1148805 w 4878487"/>
                <a:gd name="connsiteY9527" fmla="*/ 1396663 h 3690338"/>
                <a:gd name="connsiteX9528" fmla="*/ 1146051 w 4878487"/>
                <a:gd name="connsiteY9528" fmla="*/ 1396663 h 3690338"/>
                <a:gd name="connsiteX9529" fmla="*/ 1140543 w 4878487"/>
                <a:gd name="connsiteY9529" fmla="*/ 1400991 h 3690338"/>
                <a:gd name="connsiteX9530" fmla="*/ 1138576 w 4878487"/>
                <a:gd name="connsiteY9530" fmla="*/ 1401778 h 3690338"/>
                <a:gd name="connsiteX9531" fmla="*/ 1129921 w 4878487"/>
                <a:gd name="connsiteY9531" fmla="*/ 1401778 h 3690338"/>
                <a:gd name="connsiteX9532" fmla="*/ 1126773 w 4878487"/>
                <a:gd name="connsiteY9532" fmla="*/ 1403352 h 3690338"/>
                <a:gd name="connsiteX9533" fmla="*/ 1124020 w 4878487"/>
                <a:gd name="connsiteY9533" fmla="*/ 1405319 h 3690338"/>
                <a:gd name="connsiteX9534" fmla="*/ 1121265 w 4878487"/>
                <a:gd name="connsiteY9534" fmla="*/ 1406893 h 3690338"/>
                <a:gd name="connsiteX9535" fmla="*/ 1118512 w 4878487"/>
                <a:gd name="connsiteY9535" fmla="*/ 1408466 h 3690338"/>
                <a:gd name="connsiteX9536" fmla="*/ 1116151 w 4878487"/>
                <a:gd name="connsiteY9536" fmla="*/ 1409647 h 3690338"/>
                <a:gd name="connsiteX9537" fmla="*/ 1113397 w 4878487"/>
                <a:gd name="connsiteY9537" fmla="*/ 1412007 h 3690338"/>
                <a:gd name="connsiteX9538" fmla="*/ 1110250 w 4878487"/>
                <a:gd name="connsiteY9538" fmla="*/ 1414368 h 3690338"/>
                <a:gd name="connsiteX9539" fmla="*/ 1107496 w 4878487"/>
                <a:gd name="connsiteY9539" fmla="*/ 1417122 h 3690338"/>
                <a:gd name="connsiteX9540" fmla="*/ 1105135 w 4878487"/>
                <a:gd name="connsiteY9540" fmla="*/ 1419876 h 3690338"/>
                <a:gd name="connsiteX9541" fmla="*/ 1102381 w 4878487"/>
                <a:gd name="connsiteY9541" fmla="*/ 1422630 h 3690338"/>
                <a:gd name="connsiteX9542" fmla="*/ 1100807 w 4878487"/>
                <a:gd name="connsiteY9542" fmla="*/ 1425777 h 3690338"/>
                <a:gd name="connsiteX9543" fmla="*/ 1100807 w 4878487"/>
                <a:gd name="connsiteY9543" fmla="*/ 1426170 h 3690338"/>
                <a:gd name="connsiteX9544" fmla="*/ 1099234 w 4878487"/>
                <a:gd name="connsiteY9544" fmla="*/ 1429318 h 3690338"/>
                <a:gd name="connsiteX9545" fmla="*/ 1099234 w 4878487"/>
                <a:gd name="connsiteY9545" fmla="*/ 1432072 h 3690338"/>
                <a:gd name="connsiteX9546" fmla="*/ 1098840 w 4878487"/>
                <a:gd name="connsiteY9546" fmla="*/ 1434826 h 3690338"/>
                <a:gd name="connsiteX9547" fmla="*/ 1098840 w 4878487"/>
                <a:gd name="connsiteY9547" fmla="*/ 1437580 h 3690338"/>
                <a:gd name="connsiteX9548" fmla="*/ 1099627 w 4878487"/>
                <a:gd name="connsiteY9548" fmla="*/ 1440334 h 3690338"/>
                <a:gd name="connsiteX9549" fmla="*/ 1100020 w 4878487"/>
                <a:gd name="connsiteY9549" fmla="*/ 1443088 h 3690338"/>
                <a:gd name="connsiteX9550" fmla="*/ 1101201 w 4878487"/>
                <a:gd name="connsiteY9550" fmla="*/ 1446235 h 3690338"/>
                <a:gd name="connsiteX9551" fmla="*/ 1101594 w 4878487"/>
                <a:gd name="connsiteY9551" fmla="*/ 1446629 h 3690338"/>
                <a:gd name="connsiteX9552" fmla="*/ 1102775 w 4878487"/>
                <a:gd name="connsiteY9552" fmla="*/ 1449383 h 3690338"/>
                <a:gd name="connsiteX9553" fmla="*/ 1103561 w 4878487"/>
                <a:gd name="connsiteY9553" fmla="*/ 1450563 h 3690338"/>
                <a:gd name="connsiteX9554" fmla="*/ 1105922 w 4878487"/>
                <a:gd name="connsiteY9554" fmla="*/ 1454891 h 3690338"/>
                <a:gd name="connsiteX9555" fmla="*/ 1106316 w 4878487"/>
                <a:gd name="connsiteY9555" fmla="*/ 1455677 h 3690338"/>
                <a:gd name="connsiteX9556" fmla="*/ 1102381 w 4878487"/>
                <a:gd name="connsiteY9556" fmla="*/ 1469054 h 3690338"/>
                <a:gd name="connsiteX9557" fmla="*/ 1067760 w 4878487"/>
                <a:gd name="connsiteY9557" fmla="*/ 1483611 h 3690338"/>
                <a:gd name="connsiteX9558" fmla="*/ 1061071 w 4878487"/>
                <a:gd name="connsiteY9558" fmla="*/ 1478890 h 3690338"/>
                <a:gd name="connsiteX9559" fmla="*/ 1055170 w 4878487"/>
                <a:gd name="connsiteY9559" fmla="*/ 1474562 h 3690338"/>
                <a:gd name="connsiteX9560" fmla="*/ 1054776 w 4878487"/>
                <a:gd name="connsiteY9560" fmla="*/ 1474169 h 3690338"/>
                <a:gd name="connsiteX9561" fmla="*/ 1052022 w 4878487"/>
                <a:gd name="connsiteY9561" fmla="*/ 1471415 h 3690338"/>
                <a:gd name="connsiteX9562" fmla="*/ 1049269 w 4878487"/>
                <a:gd name="connsiteY9562" fmla="*/ 1469054 h 3690338"/>
                <a:gd name="connsiteX9563" fmla="*/ 1046514 w 4878487"/>
                <a:gd name="connsiteY9563" fmla="*/ 1467874 h 3690338"/>
                <a:gd name="connsiteX9564" fmla="*/ 1043367 w 4878487"/>
                <a:gd name="connsiteY9564" fmla="*/ 1467087 h 3690338"/>
                <a:gd name="connsiteX9565" fmla="*/ 1040613 w 4878487"/>
                <a:gd name="connsiteY9565" fmla="*/ 1464333 h 3690338"/>
                <a:gd name="connsiteX9566" fmla="*/ 1037859 w 4878487"/>
                <a:gd name="connsiteY9566" fmla="*/ 1463939 h 3690338"/>
                <a:gd name="connsiteX9567" fmla="*/ 1034712 w 4878487"/>
                <a:gd name="connsiteY9567" fmla="*/ 1462366 h 3690338"/>
                <a:gd name="connsiteX9568" fmla="*/ 1031958 w 4878487"/>
                <a:gd name="connsiteY9568" fmla="*/ 1461185 h 3690338"/>
                <a:gd name="connsiteX9569" fmla="*/ 1030384 w 4878487"/>
                <a:gd name="connsiteY9569" fmla="*/ 1460792 h 3690338"/>
                <a:gd name="connsiteX9570" fmla="*/ 1027630 w 4878487"/>
                <a:gd name="connsiteY9570" fmla="*/ 1459218 h 3690338"/>
                <a:gd name="connsiteX9571" fmla="*/ 1024876 w 4878487"/>
                <a:gd name="connsiteY9571" fmla="*/ 1458825 h 3690338"/>
                <a:gd name="connsiteX9572" fmla="*/ 1024089 w 4878487"/>
                <a:gd name="connsiteY9572" fmla="*/ 1458431 h 3690338"/>
                <a:gd name="connsiteX9573" fmla="*/ 1020942 w 4878487"/>
                <a:gd name="connsiteY9573" fmla="*/ 1457645 h 3690338"/>
                <a:gd name="connsiteX9574" fmla="*/ 1018188 w 4878487"/>
                <a:gd name="connsiteY9574" fmla="*/ 1457251 h 3690338"/>
                <a:gd name="connsiteX9575" fmla="*/ 1015434 w 4878487"/>
                <a:gd name="connsiteY9575" fmla="*/ 1455677 h 3690338"/>
                <a:gd name="connsiteX9576" fmla="*/ 1012286 w 4878487"/>
                <a:gd name="connsiteY9576" fmla="*/ 1455284 h 3690338"/>
                <a:gd name="connsiteX9577" fmla="*/ 1009532 w 4878487"/>
                <a:gd name="connsiteY9577" fmla="*/ 1454497 h 3690338"/>
                <a:gd name="connsiteX9578" fmla="*/ 1006778 w 4878487"/>
                <a:gd name="connsiteY9578" fmla="*/ 1454104 h 3690338"/>
                <a:gd name="connsiteX9579" fmla="*/ 1004025 w 4878487"/>
                <a:gd name="connsiteY9579" fmla="*/ 1454497 h 3690338"/>
                <a:gd name="connsiteX9580" fmla="*/ 1000877 w 4878487"/>
                <a:gd name="connsiteY9580" fmla="*/ 1454497 h 3690338"/>
                <a:gd name="connsiteX9581" fmla="*/ 998123 w 4878487"/>
                <a:gd name="connsiteY9581" fmla="*/ 1454104 h 3690338"/>
                <a:gd name="connsiteX9582" fmla="*/ 997729 w 4878487"/>
                <a:gd name="connsiteY9582" fmla="*/ 1454104 h 3690338"/>
                <a:gd name="connsiteX9583" fmla="*/ 991041 w 4878487"/>
                <a:gd name="connsiteY9583" fmla="*/ 1452923 h 3690338"/>
                <a:gd name="connsiteX9584" fmla="*/ 972157 w 4878487"/>
                <a:gd name="connsiteY9584" fmla="*/ 1437580 h 3690338"/>
                <a:gd name="connsiteX9585" fmla="*/ 971370 w 4878487"/>
                <a:gd name="connsiteY9585" fmla="*/ 1435613 h 3690338"/>
                <a:gd name="connsiteX9586" fmla="*/ 968616 w 4878487"/>
                <a:gd name="connsiteY9586" fmla="*/ 1424597 h 3690338"/>
                <a:gd name="connsiteX9587" fmla="*/ 968616 w 4878487"/>
                <a:gd name="connsiteY9587" fmla="*/ 1421843 h 3690338"/>
                <a:gd name="connsiteX9588" fmla="*/ 967042 w 4878487"/>
                <a:gd name="connsiteY9588" fmla="*/ 1418695 h 3690338"/>
                <a:gd name="connsiteX9589" fmla="*/ 964682 w 4878487"/>
                <a:gd name="connsiteY9589" fmla="*/ 1415941 h 3690338"/>
                <a:gd name="connsiteX9590" fmla="*/ 961928 w 4878487"/>
                <a:gd name="connsiteY9590" fmla="*/ 1413974 h 3690338"/>
                <a:gd name="connsiteX9591" fmla="*/ 959174 w 4878487"/>
                <a:gd name="connsiteY9591" fmla="*/ 1413581 h 3690338"/>
                <a:gd name="connsiteX9592" fmla="*/ 958387 w 4878487"/>
                <a:gd name="connsiteY9592" fmla="*/ 1413581 h 3690338"/>
                <a:gd name="connsiteX9593" fmla="*/ 955633 w 4878487"/>
                <a:gd name="connsiteY9593" fmla="*/ 1412794 h 3690338"/>
                <a:gd name="connsiteX9594" fmla="*/ 952485 w 4878487"/>
                <a:gd name="connsiteY9594" fmla="*/ 1412401 h 3690338"/>
                <a:gd name="connsiteX9595" fmla="*/ 950518 w 4878487"/>
                <a:gd name="connsiteY9595" fmla="*/ 1412401 h 3690338"/>
                <a:gd name="connsiteX9596" fmla="*/ 947764 w 4878487"/>
                <a:gd name="connsiteY9596" fmla="*/ 1410827 h 3690338"/>
                <a:gd name="connsiteX9597" fmla="*/ 945011 w 4878487"/>
                <a:gd name="connsiteY9597" fmla="*/ 1410433 h 3690338"/>
                <a:gd name="connsiteX9598" fmla="*/ 942650 w 4878487"/>
                <a:gd name="connsiteY9598" fmla="*/ 1409647 h 3690338"/>
                <a:gd name="connsiteX9599" fmla="*/ 939896 w 4878487"/>
                <a:gd name="connsiteY9599" fmla="*/ 1406893 h 3690338"/>
                <a:gd name="connsiteX9600" fmla="*/ 937142 w 4878487"/>
                <a:gd name="connsiteY9600" fmla="*/ 1405319 h 3690338"/>
                <a:gd name="connsiteX9601" fmla="*/ 933995 w 4878487"/>
                <a:gd name="connsiteY9601" fmla="*/ 1403745 h 3690338"/>
                <a:gd name="connsiteX9602" fmla="*/ 931241 w 4878487"/>
                <a:gd name="connsiteY9602" fmla="*/ 1403352 h 3690338"/>
                <a:gd name="connsiteX9603" fmla="*/ 928093 w 4878487"/>
                <a:gd name="connsiteY9603" fmla="*/ 1401778 h 3690338"/>
                <a:gd name="connsiteX9604" fmla="*/ 925339 w 4878487"/>
                <a:gd name="connsiteY9604" fmla="*/ 1400991 h 3690338"/>
                <a:gd name="connsiteX9605" fmla="*/ 921798 w 4878487"/>
                <a:gd name="connsiteY9605" fmla="*/ 1400991 h 3690338"/>
                <a:gd name="connsiteX9606" fmla="*/ 917471 w 4878487"/>
                <a:gd name="connsiteY9606" fmla="*/ 1400598 h 3690338"/>
                <a:gd name="connsiteX9607" fmla="*/ 914717 w 4878487"/>
                <a:gd name="connsiteY9607" fmla="*/ 1399024 h 3690338"/>
                <a:gd name="connsiteX9608" fmla="*/ 911569 w 4878487"/>
                <a:gd name="connsiteY9608" fmla="*/ 1397450 h 3690338"/>
                <a:gd name="connsiteX9609" fmla="*/ 909996 w 4878487"/>
                <a:gd name="connsiteY9609" fmla="*/ 1397057 h 3690338"/>
                <a:gd name="connsiteX9610" fmla="*/ 907241 w 4878487"/>
                <a:gd name="connsiteY9610" fmla="*/ 1396663 h 3690338"/>
                <a:gd name="connsiteX9611" fmla="*/ 904488 w 4878487"/>
                <a:gd name="connsiteY9611" fmla="*/ 1398237 h 3690338"/>
                <a:gd name="connsiteX9612" fmla="*/ 902127 w 4878487"/>
                <a:gd name="connsiteY9612" fmla="*/ 1399024 h 3690338"/>
                <a:gd name="connsiteX9613" fmla="*/ 898586 w 4878487"/>
                <a:gd name="connsiteY9613" fmla="*/ 1400204 h 3690338"/>
                <a:gd name="connsiteX9614" fmla="*/ 891111 w 4878487"/>
                <a:gd name="connsiteY9614" fmla="*/ 1400598 h 3690338"/>
                <a:gd name="connsiteX9615" fmla="*/ 888750 w 4878487"/>
                <a:gd name="connsiteY9615" fmla="*/ 1400598 h 3690338"/>
                <a:gd name="connsiteX9616" fmla="*/ 885997 w 4878487"/>
                <a:gd name="connsiteY9616" fmla="*/ 1399811 h 3690338"/>
                <a:gd name="connsiteX9617" fmla="*/ 884030 w 4878487"/>
                <a:gd name="connsiteY9617" fmla="*/ 1399811 h 3690338"/>
                <a:gd name="connsiteX9618" fmla="*/ 882456 w 4878487"/>
                <a:gd name="connsiteY9618" fmla="*/ 1399418 h 3690338"/>
                <a:gd name="connsiteX9619" fmla="*/ 878915 w 4878487"/>
                <a:gd name="connsiteY9619" fmla="*/ 1397844 h 3690338"/>
                <a:gd name="connsiteX9620" fmla="*/ 874194 w 4878487"/>
                <a:gd name="connsiteY9620" fmla="*/ 1394696 h 3690338"/>
                <a:gd name="connsiteX9621" fmla="*/ 871440 w 4878487"/>
                <a:gd name="connsiteY9621" fmla="*/ 1393123 h 3690338"/>
                <a:gd name="connsiteX9622" fmla="*/ 868686 w 4878487"/>
                <a:gd name="connsiteY9622" fmla="*/ 1391156 h 3690338"/>
                <a:gd name="connsiteX9623" fmla="*/ 865932 w 4878487"/>
                <a:gd name="connsiteY9623" fmla="*/ 1389975 h 3690338"/>
                <a:gd name="connsiteX9624" fmla="*/ 864358 w 4878487"/>
                <a:gd name="connsiteY9624" fmla="*/ 1389975 h 3690338"/>
                <a:gd name="connsiteX9625" fmla="*/ 860817 w 4878487"/>
                <a:gd name="connsiteY9625" fmla="*/ 1388402 h 3690338"/>
                <a:gd name="connsiteX9626" fmla="*/ 860030 w 4878487"/>
                <a:gd name="connsiteY9626" fmla="*/ 1388008 h 3690338"/>
                <a:gd name="connsiteX9627" fmla="*/ 858850 w 4878487"/>
                <a:gd name="connsiteY9627" fmla="*/ 1387615 h 3690338"/>
                <a:gd name="connsiteX9628" fmla="*/ 853342 w 4878487"/>
                <a:gd name="connsiteY9628" fmla="*/ 1384861 h 3690338"/>
                <a:gd name="connsiteX9629" fmla="*/ 849014 w 4878487"/>
                <a:gd name="connsiteY9629" fmla="*/ 1382500 h 3690338"/>
                <a:gd name="connsiteX9630" fmla="*/ 847441 w 4878487"/>
                <a:gd name="connsiteY9630" fmla="*/ 1381320 h 3690338"/>
                <a:gd name="connsiteX9631" fmla="*/ 846654 w 4878487"/>
                <a:gd name="connsiteY9631" fmla="*/ 1381320 h 3690338"/>
                <a:gd name="connsiteX9632" fmla="*/ 846260 w 4878487"/>
                <a:gd name="connsiteY9632" fmla="*/ 1378566 h 3690338"/>
                <a:gd name="connsiteX9633" fmla="*/ 846654 w 4878487"/>
                <a:gd name="connsiteY9633" fmla="*/ 1375419 h 3690338"/>
                <a:gd name="connsiteX9634" fmla="*/ 844293 w 4878487"/>
                <a:gd name="connsiteY9634" fmla="*/ 1372664 h 3690338"/>
                <a:gd name="connsiteX9635" fmla="*/ 841539 w 4878487"/>
                <a:gd name="connsiteY9635" fmla="*/ 1372271 h 3690338"/>
                <a:gd name="connsiteX9636" fmla="*/ 835245 w 4878487"/>
                <a:gd name="connsiteY9636" fmla="*/ 1371878 h 3690338"/>
                <a:gd name="connsiteX9637" fmla="*/ 835245 w 4878487"/>
                <a:gd name="connsiteY9637" fmla="*/ 1371484 h 3690338"/>
                <a:gd name="connsiteX9638" fmla="*/ 832490 w 4878487"/>
                <a:gd name="connsiteY9638" fmla="*/ 1370697 h 3690338"/>
                <a:gd name="connsiteX9639" fmla="*/ 829343 w 4878487"/>
                <a:gd name="connsiteY9639" fmla="*/ 1371878 h 3690338"/>
                <a:gd name="connsiteX9640" fmla="*/ 827769 w 4878487"/>
                <a:gd name="connsiteY9640" fmla="*/ 1371878 h 3690338"/>
                <a:gd name="connsiteX9641" fmla="*/ 817147 w 4878487"/>
                <a:gd name="connsiteY9641" fmla="*/ 1362042 h 3690338"/>
                <a:gd name="connsiteX9642" fmla="*/ 815180 w 4878487"/>
                <a:gd name="connsiteY9642" fmla="*/ 1354174 h 3690338"/>
                <a:gd name="connsiteX9643" fmla="*/ 821475 w 4878487"/>
                <a:gd name="connsiteY9643" fmla="*/ 1347485 h 3690338"/>
                <a:gd name="connsiteX9644" fmla="*/ 822655 w 4878487"/>
                <a:gd name="connsiteY9644" fmla="*/ 1346698 h 3690338"/>
                <a:gd name="connsiteX9645" fmla="*/ 825409 w 4878487"/>
                <a:gd name="connsiteY9645" fmla="*/ 1345125 h 3690338"/>
                <a:gd name="connsiteX9646" fmla="*/ 828163 w 4878487"/>
                <a:gd name="connsiteY9646" fmla="*/ 1342764 h 3690338"/>
                <a:gd name="connsiteX9647" fmla="*/ 830917 w 4878487"/>
                <a:gd name="connsiteY9647" fmla="*/ 1341584 h 3690338"/>
                <a:gd name="connsiteX9648" fmla="*/ 832490 w 4878487"/>
                <a:gd name="connsiteY9648" fmla="*/ 1338830 h 3690338"/>
                <a:gd name="connsiteX9649" fmla="*/ 835245 w 4878487"/>
                <a:gd name="connsiteY9649" fmla="*/ 1337256 h 3690338"/>
                <a:gd name="connsiteX9650" fmla="*/ 836031 w 4878487"/>
                <a:gd name="connsiteY9650" fmla="*/ 1334502 h 3690338"/>
                <a:gd name="connsiteX9651" fmla="*/ 838786 w 4878487"/>
                <a:gd name="connsiteY9651" fmla="*/ 1331748 h 3690338"/>
                <a:gd name="connsiteX9652" fmla="*/ 840359 w 4878487"/>
                <a:gd name="connsiteY9652" fmla="*/ 1328994 h 3690338"/>
                <a:gd name="connsiteX9653" fmla="*/ 841933 w 4878487"/>
                <a:gd name="connsiteY9653" fmla="*/ 1326634 h 3690338"/>
                <a:gd name="connsiteX9654" fmla="*/ 843506 w 4878487"/>
                <a:gd name="connsiteY9654" fmla="*/ 1323486 h 3690338"/>
                <a:gd name="connsiteX9655" fmla="*/ 843506 w 4878487"/>
                <a:gd name="connsiteY9655" fmla="*/ 1327814 h 3690338"/>
                <a:gd name="connsiteX9656" fmla="*/ 845080 w 4878487"/>
                <a:gd name="connsiteY9656" fmla="*/ 1325060 h 3690338"/>
                <a:gd name="connsiteX9657" fmla="*/ 845474 w 4878487"/>
                <a:gd name="connsiteY9657" fmla="*/ 1322306 h 3690338"/>
                <a:gd name="connsiteX9658" fmla="*/ 843506 w 4878487"/>
                <a:gd name="connsiteY9658" fmla="*/ 1319158 h 3690338"/>
                <a:gd name="connsiteX9659" fmla="*/ 843506 w 4878487"/>
                <a:gd name="connsiteY9659" fmla="*/ 1313651 h 3690338"/>
                <a:gd name="connsiteX9660" fmla="*/ 843113 w 4878487"/>
                <a:gd name="connsiteY9660" fmla="*/ 1312077 h 3690338"/>
                <a:gd name="connsiteX9661" fmla="*/ 843113 w 4878487"/>
                <a:gd name="connsiteY9661" fmla="*/ 1309323 h 3690338"/>
                <a:gd name="connsiteX9662" fmla="*/ 840359 w 4878487"/>
                <a:gd name="connsiteY9662" fmla="*/ 1308536 h 3690338"/>
                <a:gd name="connsiteX9663" fmla="*/ 837605 w 4878487"/>
                <a:gd name="connsiteY9663" fmla="*/ 1306569 h 3690338"/>
                <a:gd name="connsiteX9664" fmla="*/ 834851 w 4878487"/>
                <a:gd name="connsiteY9664" fmla="*/ 1304995 h 3690338"/>
                <a:gd name="connsiteX9665" fmla="*/ 834064 w 4878487"/>
                <a:gd name="connsiteY9665" fmla="*/ 1304602 h 3690338"/>
                <a:gd name="connsiteX9666" fmla="*/ 829343 w 4878487"/>
                <a:gd name="connsiteY9666" fmla="*/ 1297520 h 3690338"/>
                <a:gd name="connsiteX9667" fmla="*/ 829343 w 4878487"/>
                <a:gd name="connsiteY9667" fmla="*/ 1284930 h 3690338"/>
                <a:gd name="connsiteX9668" fmla="*/ 832490 w 4878487"/>
                <a:gd name="connsiteY9668" fmla="*/ 1283357 h 3690338"/>
                <a:gd name="connsiteX9669" fmla="*/ 835245 w 4878487"/>
                <a:gd name="connsiteY9669" fmla="*/ 1281783 h 3690338"/>
                <a:gd name="connsiteX9670" fmla="*/ 837998 w 4878487"/>
                <a:gd name="connsiteY9670" fmla="*/ 1279423 h 3690338"/>
                <a:gd name="connsiteX9671" fmla="*/ 840753 w 4878487"/>
                <a:gd name="connsiteY9671" fmla="*/ 1273914 h 3690338"/>
                <a:gd name="connsiteX9672" fmla="*/ 842326 w 4878487"/>
                <a:gd name="connsiteY9672" fmla="*/ 1271161 h 3690338"/>
                <a:gd name="connsiteX9673" fmla="*/ 845474 w 4878487"/>
                <a:gd name="connsiteY9673" fmla="*/ 1268800 h 3690338"/>
                <a:gd name="connsiteX9674" fmla="*/ 845080 w 4878487"/>
                <a:gd name="connsiteY9674" fmla="*/ 1266046 h 3690338"/>
                <a:gd name="connsiteX9675" fmla="*/ 843900 w 4878487"/>
                <a:gd name="connsiteY9675" fmla="*/ 1263292 h 3690338"/>
                <a:gd name="connsiteX9676" fmla="*/ 840753 w 4878487"/>
                <a:gd name="connsiteY9676" fmla="*/ 1261718 h 3690338"/>
                <a:gd name="connsiteX9677" fmla="*/ 837998 w 4878487"/>
                <a:gd name="connsiteY9677" fmla="*/ 1264472 h 3690338"/>
                <a:gd name="connsiteX9678" fmla="*/ 835245 w 4878487"/>
                <a:gd name="connsiteY9678" fmla="*/ 1266833 h 3690338"/>
                <a:gd name="connsiteX9679" fmla="*/ 832490 w 4878487"/>
                <a:gd name="connsiteY9679" fmla="*/ 1268013 h 3690338"/>
                <a:gd name="connsiteX9680" fmla="*/ 829736 w 4878487"/>
                <a:gd name="connsiteY9680" fmla="*/ 1270374 h 3690338"/>
                <a:gd name="connsiteX9681" fmla="*/ 826589 w 4878487"/>
                <a:gd name="connsiteY9681" fmla="*/ 1272734 h 3690338"/>
                <a:gd name="connsiteX9682" fmla="*/ 826196 w 4878487"/>
                <a:gd name="connsiteY9682" fmla="*/ 1273128 h 3690338"/>
                <a:gd name="connsiteX9683" fmla="*/ 822655 w 4878487"/>
                <a:gd name="connsiteY9683" fmla="*/ 1271554 h 3690338"/>
                <a:gd name="connsiteX9684" fmla="*/ 822261 w 4878487"/>
                <a:gd name="connsiteY9684" fmla="*/ 1270374 h 3690338"/>
                <a:gd name="connsiteX9685" fmla="*/ 821475 w 4878487"/>
                <a:gd name="connsiteY9685" fmla="*/ 1270767 h 3690338"/>
                <a:gd name="connsiteX9686" fmla="*/ 822261 w 4878487"/>
                <a:gd name="connsiteY9686" fmla="*/ 1269980 h 3690338"/>
                <a:gd name="connsiteX9687" fmla="*/ 823835 w 4878487"/>
                <a:gd name="connsiteY9687" fmla="*/ 1267620 h 3690338"/>
                <a:gd name="connsiteX9688" fmla="*/ 822261 w 4878487"/>
                <a:gd name="connsiteY9688" fmla="*/ 1266046 h 3690338"/>
                <a:gd name="connsiteX9689" fmla="*/ 819901 w 4878487"/>
                <a:gd name="connsiteY9689" fmla="*/ 1260145 h 3690338"/>
                <a:gd name="connsiteX9690" fmla="*/ 819901 w 4878487"/>
                <a:gd name="connsiteY9690" fmla="*/ 1259358 h 3690338"/>
                <a:gd name="connsiteX9691" fmla="*/ 819508 w 4878487"/>
                <a:gd name="connsiteY9691" fmla="*/ 1256604 h 3690338"/>
                <a:gd name="connsiteX9692" fmla="*/ 816753 w 4878487"/>
                <a:gd name="connsiteY9692" fmla="*/ 1255817 h 3690338"/>
                <a:gd name="connsiteX9693" fmla="*/ 814393 w 4878487"/>
                <a:gd name="connsiteY9693" fmla="*/ 1255423 h 3690338"/>
                <a:gd name="connsiteX9694" fmla="*/ 810852 w 4878487"/>
                <a:gd name="connsiteY9694" fmla="*/ 1255030 h 3690338"/>
                <a:gd name="connsiteX9695" fmla="*/ 810459 w 4878487"/>
                <a:gd name="connsiteY9695" fmla="*/ 1254637 h 3690338"/>
                <a:gd name="connsiteX9696" fmla="*/ 810459 w 4878487"/>
                <a:gd name="connsiteY9696" fmla="*/ 1253063 h 3690338"/>
                <a:gd name="connsiteX9697" fmla="*/ 807705 w 4878487"/>
                <a:gd name="connsiteY9697" fmla="*/ 1251883 h 3690338"/>
                <a:gd name="connsiteX9698" fmla="*/ 804557 w 4878487"/>
                <a:gd name="connsiteY9698" fmla="*/ 1251883 h 3690338"/>
                <a:gd name="connsiteX9699" fmla="*/ 801803 w 4878487"/>
                <a:gd name="connsiteY9699" fmla="*/ 1253063 h 3690338"/>
                <a:gd name="connsiteX9700" fmla="*/ 798656 w 4878487"/>
                <a:gd name="connsiteY9700" fmla="*/ 1254243 h 3690338"/>
                <a:gd name="connsiteX9701" fmla="*/ 795902 w 4878487"/>
                <a:gd name="connsiteY9701" fmla="*/ 1255423 h 3690338"/>
                <a:gd name="connsiteX9702" fmla="*/ 793148 w 4878487"/>
                <a:gd name="connsiteY9702" fmla="*/ 1255817 h 3690338"/>
                <a:gd name="connsiteX9703" fmla="*/ 790394 w 4878487"/>
                <a:gd name="connsiteY9703" fmla="*/ 1257391 h 3690338"/>
                <a:gd name="connsiteX9704" fmla="*/ 788427 w 4878487"/>
                <a:gd name="connsiteY9704" fmla="*/ 1257784 h 3690338"/>
                <a:gd name="connsiteX9705" fmla="*/ 785673 w 4878487"/>
                <a:gd name="connsiteY9705" fmla="*/ 1260145 h 3690338"/>
                <a:gd name="connsiteX9706" fmla="*/ 783312 w 4878487"/>
                <a:gd name="connsiteY9706" fmla="*/ 1262899 h 3690338"/>
                <a:gd name="connsiteX9707" fmla="*/ 778198 w 4878487"/>
                <a:gd name="connsiteY9707" fmla="*/ 1264472 h 3690338"/>
                <a:gd name="connsiteX9708" fmla="*/ 777411 w 4878487"/>
                <a:gd name="connsiteY9708" fmla="*/ 1264472 h 3690338"/>
                <a:gd name="connsiteX9709" fmla="*/ 775837 w 4878487"/>
                <a:gd name="connsiteY9709" fmla="*/ 1265259 h 3690338"/>
                <a:gd name="connsiteX9710" fmla="*/ 767182 w 4878487"/>
                <a:gd name="connsiteY9710" fmla="*/ 1266046 h 3690338"/>
                <a:gd name="connsiteX9711" fmla="*/ 767182 w 4878487"/>
                <a:gd name="connsiteY9711" fmla="*/ 1266046 h 3690338"/>
                <a:gd name="connsiteX9712" fmla="*/ 764428 w 4878487"/>
                <a:gd name="connsiteY9712" fmla="*/ 1265259 h 3690338"/>
                <a:gd name="connsiteX9713" fmla="*/ 762461 w 4878487"/>
                <a:gd name="connsiteY9713" fmla="*/ 1266439 h 3690338"/>
                <a:gd name="connsiteX9714" fmla="*/ 752232 w 4878487"/>
                <a:gd name="connsiteY9714" fmla="*/ 1267226 h 3690338"/>
                <a:gd name="connsiteX9715" fmla="*/ 753018 w 4878487"/>
                <a:gd name="connsiteY9715" fmla="*/ 1264472 h 3690338"/>
                <a:gd name="connsiteX9716" fmla="*/ 750265 w 4878487"/>
                <a:gd name="connsiteY9716" fmla="*/ 1264472 h 3690338"/>
                <a:gd name="connsiteX9717" fmla="*/ 747117 w 4878487"/>
                <a:gd name="connsiteY9717" fmla="*/ 1264079 h 3690338"/>
                <a:gd name="connsiteX9718" fmla="*/ 744363 w 4878487"/>
                <a:gd name="connsiteY9718" fmla="*/ 1261718 h 3690338"/>
                <a:gd name="connsiteX9719" fmla="*/ 741609 w 4878487"/>
                <a:gd name="connsiteY9719" fmla="*/ 1260931 h 3690338"/>
                <a:gd name="connsiteX9720" fmla="*/ 738855 w 4878487"/>
                <a:gd name="connsiteY9720" fmla="*/ 1261325 h 3690338"/>
                <a:gd name="connsiteX9721" fmla="*/ 738462 w 4878487"/>
                <a:gd name="connsiteY9721" fmla="*/ 1261325 h 3690338"/>
                <a:gd name="connsiteX9722" fmla="*/ 720364 w 4878487"/>
                <a:gd name="connsiteY9722" fmla="*/ 1264472 h 3690338"/>
                <a:gd name="connsiteX9723" fmla="*/ 718397 w 4878487"/>
                <a:gd name="connsiteY9723" fmla="*/ 1262112 h 3690338"/>
                <a:gd name="connsiteX9724" fmla="*/ 715250 w 4878487"/>
                <a:gd name="connsiteY9724" fmla="*/ 1260538 h 3690338"/>
                <a:gd name="connsiteX9725" fmla="*/ 712495 w 4878487"/>
                <a:gd name="connsiteY9725" fmla="*/ 1261325 h 3690338"/>
                <a:gd name="connsiteX9726" fmla="*/ 710135 w 4878487"/>
                <a:gd name="connsiteY9726" fmla="*/ 1264079 h 3690338"/>
                <a:gd name="connsiteX9727" fmla="*/ 710528 w 4878487"/>
                <a:gd name="connsiteY9727" fmla="*/ 1265653 h 3690338"/>
                <a:gd name="connsiteX9728" fmla="*/ 702660 w 4878487"/>
                <a:gd name="connsiteY9728" fmla="*/ 1268800 h 3690338"/>
                <a:gd name="connsiteX9729" fmla="*/ 701873 w 4878487"/>
                <a:gd name="connsiteY9729" fmla="*/ 1269193 h 3690338"/>
                <a:gd name="connsiteX9730" fmla="*/ 699119 w 4878487"/>
                <a:gd name="connsiteY9730" fmla="*/ 1269587 h 3690338"/>
                <a:gd name="connsiteX9731" fmla="*/ 695972 w 4878487"/>
                <a:gd name="connsiteY9731" fmla="*/ 1269193 h 3690338"/>
                <a:gd name="connsiteX9732" fmla="*/ 693218 w 4878487"/>
                <a:gd name="connsiteY9732" fmla="*/ 1270767 h 3690338"/>
                <a:gd name="connsiteX9733" fmla="*/ 690070 w 4878487"/>
                <a:gd name="connsiteY9733" fmla="*/ 1273914 h 3690338"/>
                <a:gd name="connsiteX9734" fmla="*/ 687316 w 4878487"/>
                <a:gd name="connsiteY9734" fmla="*/ 1275095 h 3690338"/>
                <a:gd name="connsiteX9735" fmla="*/ 677481 w 4878487"/>
                <a:gd name="connsiteY9735" fmla="*/ 1272734 h 3690338"/>
                <a:gd name="connsiteX9736" fmla="*/ 675907 w 4878487"/>
                <a:gd name="connsiteY9736" fmla="*/ 1269980 h 3690338"/>
                <a:gd name="connsiteX9737" fmla="*/ 675514 w 4878487"/>
                <a:gd name="connsiteY9737" fmla="*/ 1269587 h 3690338"/>
                <a:gd name="connsiteX9738" fmla="*/ 672366 w 4878487"/>
                <a:gd name="connsiteY9738" fmla="*/ 1268406 h 3690338"/>
                <a:gd name="connsiteX9739" fmla="*/ 669612 w 4878487"/>
                <a:gd name="connsiteY9739" fmla="*/ 1266833 h 3690338"/>
                <a:gd name="connsiteX9740" fmla="*/ 666858 w 4878487"/>
                <a:gd name="connsiteY9740" fmla="*/ 1267226 h 3690338"/>
                <a:gd name="connsiteX9741" fmla="*/ 664104 w 4878487"/>
                <a:gd name="connsiteY9741" fmla="*/ 1267226 h 3690338"/>
                <a:gd name="connsiteX9742" fmla="*/ 661350 w 4878487"/>
                <a:gd name="connsiteY9742" fmla="*/ 1267226 h 3690338"/>
                <a:gd name="connsiteX9743" fmla="*/ 658596 w 4878487"/>
                <a:gd name="connsiteY9743" fmla="*/ 1266833 h 3690338"/>
                <a:gd name="connsiteX9744" fmla="*/ 655448 w 4878487"/>
                <a:gd name="connsiteY9744" fmla="*/ 1266439 h 3690338"/>
                <a:gd name="connsiteX9745" fmla="*/ 652695 w 4878487"/>
                <a:gd name="connsiteY9745" fmla="*/ 1266833 h 3690338"/>
                <a:gd name="connsiteX9746" fmla="*/ 648760 w 4878487"/>
                <a:gd name="connsiteY9746" fmla="*/ 1266833 h 3690338"/>
                <a:gd name="connsiteX9747" fmla="*/ 646007 w 4878487"/>
                <a:gd name="connsiteY9747" fmla="*/ 1266833 h 3690338"/>
                <a:gd name="connsiteX9748" fmla="*/ 643252 w 4878487"/>
                <a:gd name="connsiteY9748" fmla="*/ 1266439 h 3690338"/>
                <a:gd name="connsiteX9749" fmla="*/ 640105 w 4878487"/>
                <a:gd name="connsiteY9749" fmla="*/ 1267226 h 3690338"/>
                <a:gd name="connsiteX9750" fmla="*/ 637351 w 4878487"/>
                <a:gd name="connsiteY9750" fmla="*/ 1269193 h 3690338"/>
                <a:gd name="connsiteX9751" fmla="*/ 630269 w 4878487"/>
                <a:gd name="connsiteY9751" fmla="*/ 1270767 h 3690338"/>
                <a:gd name="connsiteX9752" fmla="*/ 628302 w 4878487"/>
                <a:gd name="connsiteY9752" fmla="*/ 1270767 h 3690338"/>
                <a:gd name="connsiteX9753" fmla="*/ 625548 w 4878487"/>
                <a:gd name="connsiteY9753" fmla="*/ 1269980 h 3690338"/>
                <a:gd name="connsiteX9754" fmla="*/ 623974 w 4878487"/>
                <a:gd name="connsiteY9754" fmla="*/ 1272341 h 3690338"/>
                <a:gd name="connsiteX9755" fmla="*/ 618860 w 4878487"/>
                <a:gd name="connsiteY9755" fmla="*/ 1269980 h 3690338"/>
                <a:gd name="connsiteX9756" fmla="*/ 582271 w 4878487"/>
                <a:gd name="connsiteY9756" fmla="*/ 1278636 h 3690338"/>
                <a:gd name="connsiteX9757" fmla="*/ 579517 w 4878487"/>
                <a:gd name="connsiteY9757" fmla="*/ 1279029 h 3690338"/>
                <a:gd name="connsiteX9758" fmla="*/ 576763 w 4878487"/>
                <a:gd name="connsiteY9758" fmla="*/ 1279423 h 3690338"/>
                <a:gd name="connsiteX9759" fmla="*/ 574009 w 4878487"/>
                <a:gd name="connsiteY9759" fmla="*/ 1279029 h 3690338"/>
                <a:gd name="connsiteX9760" fmla="*/ 571256 w 4878487"/>
                <a:gd name="connsiteY9760" fmla="*/ 1279423 h 3690338"/>
                <a:gd name="connsiteX9761" fmla="*/ 568108 w 4878487"/>
                <a:gd name="connsiteY9761" fmla="*/ 1279423 h 3690338"/>
                <a:gd name="connsiteX9762" fmla="*/ 565354 w 4878487"/>
                <a:gd name="connsiteY9762" fmla="*/ 1280209 h 3690338"/>
                <a:gd name="connsiteX9763" fmla="*/ 562600 w 4878487"/>
                <a:gd name="connsiteY9763" fmla="*/ 1280996 h 3690338"/>
                <a:gd name="connsiteX9764" fmla="*/ 559846 w 4878487"/>
                <a:gd name="connsiteY9764" fmla="*/ 1283357 h 3690338"/>
                <a:gd name="connsiteX9765" fmla="*/ 557092 w 4878487"/>
                <a:gd name="connsiteY9765" fmla="*/ 1284537 h 3690338"/>
                <a:gd name="connsiteX9766" fmla="*/ 555518 w 4878487"/>
                <a:gd name="connsiteY9766" fmla="*/ 1285324 h 3690338"/>
                <a:gd name="connsiteX9767" fmla="*/ 552764 w 4878487"/>
                <a:gd name="connsiteY9767" fmla="*/ 1285717 h 3690338"/>
                <a:gd name="connsiteX9768" fmla="*/ 550010 w 4878487"/>
                <a:gd name="connsiteY9768" fmla="*/ 1287291 h 3690338"/>
                <a:gd name="connsiteX9769" fmla="*/ 547256 w 4878487"/>
                <a:gd name="connsiteY9769" fmla="*/ 1288865 h 3690338"/>
                <a:gd name="connsiteX9770" fmla="*/ 544109 w 4878487"/>
                <a:gd name="connsiteY9770" fmla="*/ 1290045 h 3690338"/>
                <a:gd name="connsiteX9771" fmla="*/ 538601 w 4878487"/>
                <a:gd name="connsiteY9771" fmla="*/ 1294766 h 3690338"/>
                <a:gd name="connsiteX9772" fmla="*/ 537814 w 4878487"/>
                <a:gd name="connsiteY9772" fmla="*/ 1295160 h 3690338"/>
                <a:gd name="connsiteX9773" fmla="*/ 536240 w 4878487"/>
                <a:gd name="connsiteY9773" fmla="*/ 1299094 h 3690338"/>
                <a:gd name="connsiteX9774" fmla="*/ 533880 w 4878487"/>
                <a:gd name="connsiteY9774" fmla="*/ 1301848 h 3690338"/>
                <a:gd name="connsiteX9775" fmla="*/ 531126 w 4878487"/>
                <a:gd name="connsiteY9775" fmla="*/ 1303421 h 3690338"/>
                <a:gd name="connsiteX9776" fmla="*/ 530732 w 4878487"/>
                <a:gd name="connsiteY9776" fmla="*/ 1303815 h 3690338"/>
                <a:gd name="connsiteX9777" fmla="*/ 525618 w 4878487"/>
                <a:gd name="connsiteY9777" fmla="*/ 1302241 h 3690338"/>
                <a:gd name="connsiteX9778" fmla="*/ 522864 w 4878487"/>
                <a:gd name="connsiteY9778" fmla="*/ 1299881 h 3690338"/>
                <a:gd name="connsiteX9779" fmla="*/ 517749 w 4878487"/>
                <a:gd name="connsiteY9779" fmla="*/ 1304602 h 3690338"/>
                <a:gd name="connsiteX9780" fmla="*/ 514209 w 4878487"/>
                <a:gd name="connsiteY9780" fmla="*/ 1305782 h 3690338"/>
                <a:gd name="connsiteX9781" fmla="*/ 511454 w 4878487"/>
                <a:gd name="connsiteY9781" fmla="*/ 1304208 h 3690338"/>
                <a:gd name="connsiteX9782" fmla="*/ 508307 w 4878487"/>
                <a:gd name="connsiteY9782" fmla="*/ 1306175 h 3690338"/>
                <a:gd name="connsiteX9783" fmla="*/ 505553 w 4878487"/>
                <a:gd name="connsiteY9783" fmla="*/ 1307356 h 3690338"/>
                <a:gd name="connsiteX9784" fmla="*/ 502799 w 4878487"/>
                <a:gd name="connsiteY9784" fmla="*/ 1309323 h 3690338"/>
                <a:gd name="connsiteX9785" fmla="*/ 500045 w 4878487"/>
                <a:gd name="connsiteY9785" fmla="*/ 1312077 h 3690338"/>
                <a:gd name="connsiteX9786" fmla="*/ 498865 w 4878487"/>
                <a:gd name="connsiteY9786" fmla="*/ 1314437 h 3690338"/>
                <a:gd name="connsiteX9787" fmla="*/ 495324 w 4878487"/>
                <a:gd name="connsiteY9787" fmla="*/ 1319552 h 3690338"/>
                <a:gd name="connsiteX9788" fmla="*/ 492570 w 4878487"/>
                <a:gd name="connsiteY9788" fmla="*/ 1319945 h 3690338"/>
                <a:gd name="connsiteX9789" fmla="*/ 489816 w 4878487"/>
                <a:gd name="connsiteY9789" fmla="*/ 1321519 h 3690338"/>
                <a:gd name="connsiteX9790" fmla="*/ 487455 w 4878487"/>
                <a:gd name="connsiteY9790" fmla="*/ 1323486 h 3690338"/>
                <a:gd name="connsiteX9791" fmla="*/ 480767 w 4878487"/>
                <a:gd name="connsiteY9791" fmla="*/ 1327027 h 3690338"/>
                <a:gd name="connsiteX9792" fmla="*/ 472899 w 4878487"/>
                <a:gd name="connsiteY9792" fmla="*/ 1327420 h 3690338"/>
                <a:gd name="connsiteX9793" fmla="*/ 472112 w 4878487"/>
                <a:gd name="connsiteY9793" fmla="*/ 1327027 h 3690338"/>
                <a:gd name="connsiteX9794" fmla="*/ 472112 w 4878487"/>
                <a:gd name="connsiteY9794" fmla="*/ 1327420 h 3690338"/>
                <a:gd name="connsiteX9795" fmla="*/ 471325 w 4878487"/>
                <a:gd name="connsiteY9795" fmla="*/ 1327420 h 3690338"/>
                <a:gd name="connsiteX9796" fmla="*/ 468571 w 4878487"/>
                <a:gd name="connsiteY9796" fmla="*/ 1326240 h 3690338"/>
                <a:gd name="connsiteX9797" fmla="*/ 467784 w 4878487"/>
                <a:gd name="connsiteY9797" fmla="*/ 1326240 h 3690338"/>
                <a:gd name="connsiteX9798" fmla="*/ 454408 w 4878487"/>
                <a:gd name="connsiteY9798" fmla="*/ 1321912 h 3690338"/>
                <a:gd name="connsiteX9799" fmla="*/ 455588 w 4878487"/>
                <a:gd name="connsiteY9799" fmla="*/ 1318765 h 3690338"/>
                <a:gd name="connsiteX9800" fmla="*/ 451260 w 4878487"/>
                <a:gd name="connsiteY9800" fmla="*/ 1314437 h 3690338"/>
                <a:gd name="connsiteX9801" fmla="*/ 446932 w 4878487"/>
                <a:gd name="connsiteY9801" fmla="*/ 1318765 h 3690338"/>
                <a:gd name="connsiteX9802" fmla="*/ 446932 w 4878487"/>
                <a:gd name="connsiteY9802" fmla="*/ 1319552 h 3690338"/>
                <a:gd name="connsiteX9803" fmla="*/ 432376 w 4878487"/>
                <a:gd name="connsiteY9803" fmla="*/ 1321912 h 3690338"/>
                <a:gd name="connsiteX9804" fmla="*/ 430802 w 4878487"/>
                <a:gd name="connsiteY9804" fmla="*/ 1321126 h 3690338"/>
                <a:gd name="connsiteX9805" fmla="*/ 427655 w 4878487"/>
                <a:gd name="connsiteY9805" fmla="*/ 1321126 h 3690338"/>
                <a:gd name="connsiteX9806" fmla="*/ 426081 w 4878487"/>
                <a:gd name="connsiteY9806" fmla="*/ 1323093 h 3690338"/>
                <a:gd name="connsiteX9807" fmla="*/ 423327 w 4878487"/>
                <a:gd name="connsiteY9807" fmla="*/ 1322699 h 3690338"/>
                <a:gd name="connsiteX9808" fmla="*/ 420573 w 4878487"/>
                <a:gd name="connsiteY9808" fmla="*/ 1322306 h 3690338"/>
                <a:gd name="connsiteX9809" fmla="*/ 417819 w 4878487"/>
                <a:gd name="connsiteY9809" fmla="*/ 1323486 h 3690338"/>
                <a:gd name="connsiteX9810" fmla="*/ 415065 w 4878487"/>
                <a:gd name="connsiteY9810" fmla="*/ 1323880 h 3690338"/>
                <a:gd name="connsiteX9811" fmla="*/ 406016 w 4878487"/>
                <a:gd name="connsiteY9811" fmla="*/ 1324273 h 3690338"/>
                <a:gd name="connsiteX9812" fmla="*/ 392640 w 4878487"/>
                <a:gd name="connsiteY9812" fmla="*/ 1317191 h 3690338"/>
                <a:gd name="connsiteX9813" fmla="*/ 390279 w 4878487"/>
                <a:gd name="connsiteY9813" fmla="*/ 1315224 h 3690338"/>
                <a:gd name="connsiteX9814" fmla="*/ 384771 w 4878487"/>
                <a:gd name="connsiteY9814" fmla="*/ 1303815 h 3690338"/>
                <a:gd name="connsiteX9815" fmla="*/ 385951 w 4878487"/>
                <a:gd name="connsiteY9815" fmla="*/ 1301061 h 3690338"/>
                <a:gd name="connsiteX9816" fmla="*/ 381624 w 4878487"/>
                <a:gd name="connsiteY9816" fmla="*/ 1296733 h 3690338"/>
                <a:gd name="connsiteX9817" fmla="*/ 377296 w 4878487"/>
                <a:gd name="connsiteY9817" fmla="*/ 1301061 h 3690338"/>
                <a:gd name="connsiteX9818" fmla="*/ 377296 w 4878487"/>
                <a:gd name="connsiteY9818" fmla="*/ 1301848 h 3690338"/>
                <a:gd name="connsiteX9819" fmla="*/ 376116 w 4878487"/>
                <a:gd name="connsiteY9819" fmla="*/ 1302241 h 3690338"/>
                <a:gd name="connsiteX9820" fmla="*/ 373362 w 4878487"/>
                <a:gd name="connsiteY9820" fmla="*/ 1301848 h 3690338"/>
                <a:gd name="connsiteX9821" fmla="*/ 370608 w 4878487"/>
                <a:gd name="connsiteY9821" fmla="*/ 1303421 h 3690338"/>
                <a:gd name="connsiteX9822" fmla="*/ 367854 w 4878487"/>
                <a:gd name="connsiteY9822" fmla="*/ 1303028 h 3690338"/>
                <a:gd name="connsiteX9823" fmla="*/ 366674 w 4878487"/>
                <a:gd name="connsiteY9823" fmla="*/ 1306175 h 3690338"/>
                <a:gd name="connsiteX9824" fmla="*/ 365100 w 4878487"/>
                <a:gd name="connsiteY9824" fmla="*/ 1308929 h 3690338"/>
                <a:gd name="connsiteX9825" fmla="*/ 363919 w 4878487"/>
                <a:gd name="connsiteY9825" fmla="*/ 1311683 h 3690338"/>
                <a:gd name="connsiteX9826" fmla="*/ 362739 w 4878487"/>
                <a:gd name="connsiteY9826" fmla="*/ 1314831 h 3690338"/>
                <a:gd name="connsiteX9827" fmla="*/ 361559 w 4878487"/>
                <a:gd name="connsiteY9827" fmla="*/ 1317191 h 3690338"/>
                <a:gd name="connsiteX9828" fmla="*/ 358411 w 4878487"/>
                <a:gd name="connsiteY9828" fmla="*/ 1324667 h 3690338"/>
                <a:gd name="connsiteX9829" fmla="*/ 357625 w 4878487"/>
                <a:gd name="connsiteY9829" fmla="*/ 1325847 h 3690338"/>
                <a:gd name="connsiteX9830" fmla="*/ 356444 w 4878487"/>
                <a:gd name="connsiteY9830" fmla="*/ 1328994 h 3690338"/>
                <a:gd name="connsiteX9831" fmla="*/ 356051 w 4878487"/>
                <a:gd name="connsiteY9831" fmla="*/ 1329781 h 3690338"/>
                <a:gd name="connsiteX9832" fmla="*/ 343461 w 4878487"/>
                <a:gd name="connsiteY9832" fmla="*/ 1352600 h 3690338"/>
                <a:gd name="connsiteX9833" fmla="*/ 343068 w 4878487"/>
                <a:gd name="connsiteY9833" fmla="*/ 1352993 h 3690338"/>
                <a:gd name="connsiteX9834" fmla="*/ 342281 w 4878487"/>
                <a:gd name="connsiteY9834" fmla="*/ 1354567 h 3690338"/>
                <a:gd name="connsiteX9835" fmla="*/ 340707 w 4878487"/>
                <a:gd name="connsiteY9835" fmla="*/ 1357321 h 3690338"/>
                <a:gd name="connsiteX9836" fmla="*/ 337167 w 4878487"/>
                <a:gd name="connsiteY9836" fmla="*/ 1362042 h 3690338"/>
                <a:gd name="connsiteX9837" fmla="*/ 326937 w 4878487"/>
                <a:gd name="connsiteY9837" fmla="*/ 1369517 h 3690338"/>
                <a:gd name="connsiteX9838" fmla="*/ 324184 w 4878487"/>
                <a:gd name="connsiteY9838" fmla="*/ 1371091 h 3690338"/>
                <a:gd name="connsiteX9839" fmla="*/ 323397 w 4878487"/>
                <a:gd name="connsiteY9839" fmla="*/ 1371878 h 3690338"/>
                <a:gd name="connsiteX9840" fmla="*/ 319069 w 4878487"/>
                <a:gd name="connsiteY9840" fmla="*/ 1374238 h 3690338"/>
                <a:gd name="connsiteX9841" fmla="*/ 313561 w 4878487"/>
                <a:gd name="connsiteY9841" fmla="*/ 1376599 h 3690338"/>
                <a:gd name="connsiteX9842" fmla="*/ 313167 w 4878487"/>
                <a:gd name="connsiteY9842" fmla="*/ 1376599 h 3690338"/>
                <a:gd name="connsiteX9843" fmla="*/ 312381 w 4878487"/>
                <a:gd name="connsiteY9843" fmla="*/ 1376992 h 3690338"/>
                <a:gd name="connsiteX9844" fmla="*/ 307660 w 4878487"/>
                <a:gd name="connsiteY9844" fmla="*/ 1378959 h 3690338"/>
                <a:gd name="connsiteX9845" fmla="*/ 307266 w 4878487"/>
                <a:gd name="connsiteY9845" fmla="*/ 1378959 h 3690338"/>
                <a:gd name="connsiteX9846" fmla="*/ 304512 w 4878487"/>
                <a:gd name="connsiteY9846" fmla="*/ 1380533 h 3690338"/>
                <a:gd name="connsiteX9847" fmla="*/ 302938 w 4878487"/>
                <a:gd name="connsiteY9847" fmla="*/ 1381320 h 3690338"/>
                <a:gd name="connsiteX9848" fmla="*/ 299791 w 4878487"/>
                <a:gd name="connsiteY9848" fmla="*/ 1382894 h 3690338"/>
                <a:gd name="connsiteX9849" fmla="*/ 297037 w 4878487"/>
                <a:gd name="connsiteY9849" fmla="*/ 1383287 h 3690338"/>
                <a:gd name="connsiteX9850" fmla="*/ 294283 w 4878487"/>
                <a:gd name="connsiteY9850" fmla="*/ 1384467 h 3690338"/>
                <a:gd name="connsiteX9851" fmla="*/ 293103 w 4878487"/>
                <a:gd name="connsiteY9851" fmla="*/ 1386041 h 3690338"/>
                <a:gd name="connsiteX9852" fmla="*/ 289956 w 4878487"/>
                <a:gd name="connsiteY9852" fmla="*/ 1388402 h 3690338"/>
                <a:gd name="connsiteX9853" fmla="*/ 287201 w 4878487"/>
                <a:gd name="connsiteY9853" fmla="*/ 1388795 h 3690338"/>
                <a:gd name="connsiteX9854" fmla="*/ 284841 w 4878487"/>
                <a:gd name="connsiteY9854" fmla="*/ 1391942 h 3690338"/>
                <a:gd name="connsiteX9855" fmla="*/ 282874 w 4878487"/>
                <a:gd name="connsiteY9855" fmla="*/ 1394696 h 3690338"/>
                <a:gd name="connsiteX9856" fmla="*/ 280513 w 4878487"/>
                <a:gd name="connsiteY9856" fmla="*/ 1397450 h 3690338"/>
                <a:gd name="connsiteX9857" fmla="*/ 277366 w 4878487"/>
                <a:gd name="connsiteY9857" fmla="*/ 1400598 h 3690338"/>
                <a:gd name="connsiteX9858" fmla="*/ 274612 w 4878487"/>
                <a:gd name="connsiteY9858" fmla="*/ 1402958 h 3690338"/>
                <a:gd name="connsiteX9859" fmla="*/ 271858 w 4878487"/>
                <a:gd name="connsiteY9859" fmla="*/ 1405712 h 3690338"/>
                <a:gd name="connsiteX9860" fmla="*/ 271464 w 4878487"/>
                <a:gd name="connsiteY9860" fmla="*/ 1406106 h 3690338"/>
                <a:gd name="connsiteX9861" fmla="*/ 268710 w 4878487"/>
                <a:gd name="connsiteY9861" fmla="*/ 1408466 h 3690338"/>
                <a:gd name="connsiteX9862" fmla="*/ 265956 w 4878487"/>
                <a:gd name="connsiteY9862" fmla="*/ 1411220 h 3690338"/>
                <a:gd name="connsiteX9863" fmla="*/ 265170 w 4878487"/>
                <a:gd name="connsiteY9863" fmla="*/ 1413974 h 3690338"/>
                <a:gd name="connsiteX9864" fmla="*/ 264776 w 4878487"/>
                <a:gd name="connsiteY9864" fmla="*/ 1416728 h 3690338"/>
                <a:gd name="connsiteX9865" fmla="*/ 264776 w 4878487"/>
                <a:gd name="connsiteY9865" fmla="*/ 1419876 h 3690338"/>
                <a:gd name="connsiteX9866" fmla="*/ 264383 w 4878487"/>
                <a:gd name="connsiteY9866" fmla="*/ 1422630 h 3690338"/>
                <a:gd name="connsiteX9867" fmla="*/ 263989 w 4878487"/>
                <a:gd name="connsiteY9867" fmla="*/ 1423810 h 3690338"/>
                <a:gd name="connsiteX9868" fmla="*/ 263202 w 4878487"/>
                <a:gd name="connsiteY9868" fmla="*/ 1425384 h 3690338"/>
                <a:gd name="connsiteX9869" fmla="*/ 262416 w 4878487"/>
                <a:gd name="connsiteY9869" fmla="*/ 1427351 h 3690338"/>
                <a:gd name="connsiteX9870" fmla="*/ 261629 w 4878487"/>
                <a:gd name="connsiteY9870" fmla="*/ 1428925 h 3690338"/>
                <a:gd name="connsiteX9871" fmla="*/ 259268 w 4878487"/>
                <a:gd name="connsiteY9871" fmla="*/ 1431285 h 3690338"/>
                <a:gd name="connsiteX9872" fmla="*/ 256908 w 4878487"/>
                <a:gd name="connsiteY9872" fmla="*/ 1434039 h 3690338"/>
                <a:gd name="connsiteX9873" fmla="*/ 254153 w 4878487"/>
                <a:gd name="connsiteY9873" fmla="*/ 1436793 h 3690338"/>
                <a:gd name="connsiteX9874" fmla="*/ 251400 w 4878487"/>
                <a:gd name="connsiteY9874" fmla="*/ 1439940 h 3690338"/>
                <a:gd name="connsiteX9875" fmla="*/ 251006 w 4878487"/>
                <a:gd name="connsiteY9875" fmla="*/ 1442694 h 3690338"/>
                <a:gd name="connsiteX9876" fmla="*/ 249039 w 4878487"/>
                <a:gd name="connsiteY9876" fmla="*/ 1445448 h 3690338"/>
                <a:gd name="connsiteX9877" fmla="*/ 247465 w 4878487"/>
                <a:gd name="connsiteY9877" fmla="*/ 1448596 h 3690338"/>
                <a:gd name="connsiteX9878" fmla="*/ 247072 w 4878487"/>
                <a:gd name="connsiteY9878" fmla="*/ 1451350 h 3690338"/>
                <a:gd name="connsiteX9879" fmla="*/ 247465 w 4878487"/>
                <a:gd name="connsiteY9879" fmla="*/ 1454104 h 3690338"/>
                <a:gd name="connsiteX9880" fmla="*/ 246679 w 4878487"/>
                <a:gd name="connsiteY9880" fmla="*/ 1457251 h 3690338"/>
                <a:gd name="connsiteX9881" fmla="*/ 245892 w 4878487"/>
                <a:gd name="connsiteY9881" fmla="*/ 1460005 h 3690338"/>
                <a:gd name="connsiteX9882" fmla="*/ 246285 w 4878487"/>
                <a:gd name="connsiteY9882" fmla="*/ 1462759 h 3690338"/>
                <a:gd name="connsiteX9883" fmla="*/ 245892 w 4878487"/>
                <a:gd name="connsiteY9883" fmla="*/ 1465513 h 3690338"/>
                <a:gd name="connsiteX9884" fmla="*/ 246285 w 4878487"/>
                <a:gd name="connsiteY9884" fmla="*/ 1467480 h 3690338"/>
                <a:gd name="connsiteX9885" fmla="*/ 245892 w 4878487"/>
                <a:gd name="connsiteY9885" fmla="*/ 1470628 h 3690338"/>
                <a:gd name="connsiteX9886" fmla="*/ 244318 w 4878487"/>
                <a:gd name="connsiteY9886" fmla="*/ 1473382 h 3690338"/>
                <a:gd name="connsiteX9887" fmla="*/ 243924 w 4878487"/>
                <a:gd name="connsiteY9887" fmla="*/ 1476136 h 3690338"/>
                <a:gd name="connsiteX9888" fmla="*/ 246679 w 4878487"/>
                <a:gd name="connsiteY9888" fmla="*/ 1476922 h 3690338"/>
                <a:gd name="connsiteX9889" fmla="*/ 249039 w 4878487"/>
                <a:gd name="connsiteY9889" fmla="*/ 1479676 h 3690338"/>
                <a:gd name="connsiteX9890" fmla="*/ 250219 w 4878487"/>
                <a:gd name="connsiteY9890" fmla="*/ 1482430 h 3690338"/>
                <a:gd name="connsiteX9891" fmla="*/ 251006 w 4878487"/>
                <a:gd name="connsiteY9891" fmla="*/ 1484791 h 3690338"/>
                <a:gd name="connsiteX9892" fmla="*/ 247465 w 4878487"/>
                <a:gd name="connsiteY9892" fmla="*/ 1497381 h 3690338"/>
                <a:gd name="connsiteX9893" fmla="*/ 245105 w 4878487"/>
                <a:gd name="connsiteY9893" fmla="*/ 1502102 h 3690338"/>
                <a:gd name="connsiteX9894" fmla="*/ 242744 w 4878487"/>
                <a:gd name="connsiteY9894" fmla="*/ 1504856 h 3690338"/>
                <a:gd name="connsiteX9895" fmla="*/ 239990 w 4878487"/>
                <a:gd name="connsiteY9895" fmla="*/ 1508003 h 3690338"/>
                <a:gd name="connsiteX9896" fmla="*/ 238810 w 4878487"/>
                <a:gd name="connsiteY9896" fmla="*/ 1509577 h 3690338"/>
                <a:gd name="connsiteX9897" fmla="*/ 238810 w 4878487"/>
                <a:gd name="connsiteY9897" fmla="*/ 1509577 h 3690338"/>
                <a:gd name="connsiteX9898" fmla="*/ 238810 w 4878487"/>
                <a:gd name="connsiteY9898" fmla="*/ 1509577 h 3690338"/>
                <a:gd name="connsiteX9899" fmla="*/ 238810 w 4878487"/>
                <a:gd name="connsiteY9899" fmla="*/ 1509577 h 3690338"/>
                <a:gd name="connsiteX9900" fmla="*/ 236449 w 4878487"/>
                <a:gd name="connsiteY9900" fmla="*/ 1512331 h 3690338"/>
                <a:gd name="connsiteX9901" fmla="*/ 236449 w 4878487"/>
                <a:gd name="connsiteY9901" fmla="*/ 1512724 h 3690338"/>
                <a:gd name="connsiteX9902" fmla="*/ 228581 w 4878487"/>
                <a:gd name="connsiteY9902" fmla="*/ 1523347 h 3690338"/>
                <a:gd name="connsiteX9903" fmla="*/ 228581 w 4878487"/>
                <a:gd name="connsiteY9903" fmla="*/ 1523347 h 3690338"/>
                <a:gd name="connsiteX9904" fmla="*/ 227794 w 4878487"/>
                <a:gd name="connsiteY9904" fmla="*/ 1524527 h 3690338"/>
                <a:gd name="connsiteX9905" fmla="*/ 225434 w 4878487"/>
                <a:gd name="connsiteY9905" fmla="*/ 1527674 h 3690338"/>
                <a:gd name="connsiteX9906" fmla="*/ 212450 w 4878487"/>
                <a:gd name="connsiteY9906" fmla="*/ 1536723 h 3690338"/>
                <a:gd name="connsiteX9907" fmla="*/ 211664 w 4878487"/>
                <a:gd name="connsiteY9907" fmla="*/ 1537117 h 3690338"/>
                <a:gd name="connsiteX9908" fmla="*/ 208909 w 4878487"/>
                <a:gd name="connsiteY9908" fmla="*/ 1539084 h 3690338"/>
                <a:gd name="connsiteX9909" fmla="*/ 205762 w 4878487"/>
                <a:gd name="connsiteY9909" fmla="*/ 1541051 h 3690338"/>
                <a:gd name="connsiteX9910" fmla="*/ 205369 w 4878487"/>
                <a:gd name="connsiteY9910" fmla="*/ 1541838 h 3690338"/>
                <a:gd name="connsiteX9911" fmla="*/ 178616 w 4878487"/>
                <a:gd name="connsiteY9911" fmla="*/ 1561116 h 3690338"/>
                <a:gd name="connsiteX9912" fmla="*/ 178222 w 4878487"/>
                <a:gd name="connsiteY9912" fmla="*/ 1561509 h 3690338"/>
                <a:gd name="connsiteX9913" fmla="*/ 176649 w 4878487"/>
                <a:gd name="connsiteY9913" fmla="*/ 1562689 h 3690338"/>
                <a:gd name="connsiteX9914" fmla="*/ 171141 w 4878487"/>
                <a:gd name="connsiteY9914" fmla="*/ 1563870 h 3690338"/>
                <a:gd name="connsiteX9915" fmla="*/ 168387 w 4878487"/>
                <a:gd name="connsiteY9915" fmla="*/ 1564263 h 3690338"/>
                <a:gd name="connsiteX9916" fmla="*/ 165632 w 4878487"/>
                <a:gd name="connsiteY9916" fmla="*/ 1564657 h 3690338"/>
                <a:gd name="connsiteX9917" fmla="*/ 162485 w 4878487"/>
                <a:gd name="connsiteY9917" fmla="*/ 1565443 h 3690338"/>
                <a:gd name="connsiteX9918" fmla="*/ 159731 w 4878487"/>
                <a:gd name="connsiteY9918" fmla="*/ 1565443 h 3690338"/>
                <a:gd name="connsiteX9919" fmla="*/ 156977 w 4878487"/>
                <a:gd name="connsiteY9919" fmla="*/ 1565837 h 3690338"/>
                <a:gd name="connsiteX9920" fmla="*/ 154223 w 4878487"/>
                <a:gd name="connsiteY9920" fmla="*/ 1566624 h 3690338"/>
                <a:gd name="connsiteX9921" fmla="*/ 151076 w 4878487"/>
                <a:gd name="connsiteY9921" fmla="*/ 1567804 h 3690338"/>
                <a:gd name="connsiteX9922" fmla="*/ 149895 w 4878487"/>
                <a:gd name="connsiteY9922" fmla="*/ 1570558 h 3690338"/>
                <a:gd name="connsiteX9923" fmla="*/ 148322 w 4878487"/>
                <a:gd name="connsiteY9923" fmla="*/ 1573705 h 3690338"/>
                <a:gd name="connsiteX9924" fmla="*/ 145174 w 4878487"/>
                <a:gd name="connsiteY9924" fmla="*/ 1575279 h 3690338"/>
                <a:gd name="connsiteX9925" fmla="*/ 144781 w 4878487"/>
                <a:gd name="connsiteY9925" fmla="*/ 1576459 h 3690338"/>
                <a:gd name="connsiteX9926" fmla="*/ 143601 w 4878487"/>
                <a:gd name="connsiteY9926" fmla="*/ 1579213 h 3690338"/>
                <a:gd name="connsiteX9927" fmla="*/ 142814 w 4878487"/>
                <a:gd name="connsiteY9927" fmla="*/ 1582361 h 3690338"/>
                <a:gd name="connsiteX9928" fmla="*/ 141240 w 4878487"/>
                <a:gd name="connsiteY9928" fmla="*/ 1585115 h 3690338"/>
                <a:gd name="connsiteX9929" fmla="*/ 140060 w 4878487"/>
                <a:gd name="connsiteY9929" fmla="*/ 1587869 h 3690338"/>
                <a:gd name="connsiteX9930" fmla="*/ 138093 w 4878487"/>
                <a:gd name="connsiteY9930" fmla="*/ 1590623 h 3690338"/>
                <a:gd name="connsiteX9931" fmla="*/ 137699 w 4878487"/>
                <a:gd name="connsiteY9931" fmla="*/ 1591803 h 3690338"/>
                <a:gd name="connsiteX9932" fmla="*/ 136125 w 4878487"/>
                <a:gd name="connsiteY9932" fmla="*/ 1597311 h 3690338"/>
                <a:gd name="connsiteX9933" fmla="*/ 134945 w 4878487"/>
                <a:gd name="connsiteY9933" fmla="*/ 1600065 h 3690338"/>
                <a:gd name="connsiteX9934" fmla="*/ 134158 w 4878487"/>
                <a:gd name="connsiteY9934" fmla="*/ 1602819 h 3690338"/>
                <a:gd name="connsiteX9935" fmla="*/ 132585 w 4878487"/>
                <a:gd name="connsiteY9935" fmla="*/ 1605966 h 3690338"/>
                <a:gd name="connsiteX9936" fmla="*/ 130224 w 4878487"/>
                <a:gd name="connsiteY9936" fmla="*/ 1608720 h 3690338"/>
                <a:gd name="connsiteX9937" fmla="*/ 127470 w 4878487"/>
                <a:gd name="connsiteY9937" fmla="*/ 1611081 h 3690338"/>
                <a:gd name="connsiteX9938" fmla="*/ 124716 w 4878487"/>
                <a:gd name="connsiteY9938" fmla="*/ 1612655 h 3690338"/>
                <a:gd name="connsiteX9939" fmla="*/ 121962 w 4878487"/>
                <a:gd name="connsiteY9939" fmla="*/ 1614622 h 3690338"/>
                <a:gd name="connsiteX9940" fmla="*/ 118815 w 4878487"/>
                <a:gd name="connsiteY9940" fmla="*/ 1616589 h 3690338"/>
                <a:gd name="connsiteX9941" fmla="*/ 116061 w 4878487"/>
                <a:gd name="connsiteY9941" fmla="*/ 1617769 h 3690338"/>
                <a:gd name="connsiteX9942" fmla="*/ 113307 w 4878487"/>
                <a:gd name="connsiteY9942" fmla="*/ 1618162 h 3690338"/>
                <a:gd name="connsiteX9943" fmla="*/ 111340 w 4878487"/>
                <a:gd name="connsiteY9943" fmla="*/ 1621310 h 3690338"/>
                <a:gd name="connsiteX9944" fmla="*/ 108192 w 4878487"/>
                <a:gd name="connsiteY9944" fmla="*/ 1623277 h 3690338"/>
                <a:gd name="connsiteX9945" fmla="*/ 105438 w 4878487"/>
                <a:gd name="connsiteY9945" fmla="*/ 1625638 h 3690338"/>
                <a:gd name="connsiteX9946" fmla="*/ 103865 w 4878487"/>
                <a:gd name="connsiteY9946" fmla="*/ 1628392 h 3690338"/>
                <a:gd name="connsiteX9947" fmla="*/ 103471 w 4878487"/>
                <a:gd name="connsiteY9947" fmla="*/ 1631146 h 3690338"/>
                <a:gd name="connsiteX9948" fmla="*/ 103471 w 4878487"/>
                <a:gd name="connsiteY9948" fmla="*/ 1632719 h 3690338"/>
                <a:gd name="connsiteX9949" fmla="*/ 103471 w 4878487"/>
                <a:gd name="connsiteY9949" fmla="*/ 1633113 h 3690338"/>
                <a:gd name="connsiteX9950" fmla="*/ 103471 w 4878487"/>
                <a:gd name="connsiteY9950" fmla="*/ 1633113 h 3690338"/>
                <a:gd name="connsiteX9951" fmla="*/ 101898 w 4878487"/>
                <a:gd name="connsiteY9951" fmla="*/ 1636654 h 3690338"/>
                <a:gd name="connsiteX9952" fmla="*/ 100717 w 4878487"/>
                <a:gd name="connsiteY9952" fmla="*/ 1638621 h 3690338"/>
                <a:gd name="connsiteX9953" fmla="*/ 99144 w 4878487"/>
                <a:gd name="connsiteY9953" fmla="*/ 1641768 h 3690338"/>
                <a:gd name="connsiteX9954" fmla="*/ 98357 w 4878487"/>
                <a:gd name="connsiteY9954" fmla="*/ 1644522 h 3690338"/>
                <a:gd name="connsiteX9955" fmla="*/ 98357 w 4878487"/>
                <a:gd name="connsiteY9955" fmla="*/ 1644522 h 3690338"/>
                <a:gd name="connsiteX9956" fmla="*/ 95996 w 4878487"/>
                <a:gd name="connsiteY9956" fmla="*/ 1649637 h 3690338"/>
                <a:gd name="connsiteX9957" fmla="*/ 95603 w 4878487"/>
                <a:gd name="connsiteY9957" fmla="*/ 1650423 h 3690338"/>
                <a:gd name="connsiteX9958" fmla="*/ 94029 w 4878487"/>
                <a:gd name="connsiteY9958" fmla="*/ 1653178 h 3690338"/>
                <a:gd name="connsiteX9959" fmla="*/ 92849 w 4878487"/>
                <a:gd name="connsiteY9959" fmla="*/ 1655931 h 3690338"/>
                <a:gd name="connsiteX9960" fmla="*/ 92062 w 4878487"/>
                <a:gd name="connsiteY9960" fmla="*/ 1659079 h 3690338"/>
                <a:gd name="connsiteX9961" fmla="*/ 91669 w 4878487"/>
                <a:gd name="connsiteY9961" fmla="*/ 1662226 h 3690338"/>
                <a:gd name="connsiteX9962" fmla="*/ 91669 w 4878487"/>
                <a:gd name="connsiteY9962" fmla="*/ 1664193 h 3690338"/>
                <a:gd name="connsiteX9963" fmla="*/ 91669 w 4878487"/>
                <a:gd name="connsiteY9963" fmla="*/ 1666947 h 3690338"/>
                <a:gd name="connsiteX9964" fmla="*/ 65703 w 4878487"/>
                <a:gd name="connsiteY9964" fmla="*/ 1700782 h 3690338"/>
                <a:gd name="connsiteX9965" fmla="*/ 62555 w 4878487"/>
                <a:gd name="connsiteY9965" fmla="*/ 1702749 h 3690338"/>
                <a:gd name="connsiteX9966" fmla="*/ 59801 w 4878487"/>
                <a:gd name="connsiteY9966" fmla="*/ 1705503 h 3690338"/>
                <a:gd name="connsiteX9967" fmla="*/ 57834 w 4878487"/>
                <a:gd name="connsiteY9967" fmla="*/ 1708651 h 3690338"/>
                <a:gd name="connsiteX9968" fmla="*/ 56260 w 4878487"/>
                <a:gd name="connsiteY9968" fmla="*/ 1711405 h 3690338"/>
                <a:gd name="connsiteX9969" fmla="*/ 58621 w 4878487"/>
                <a:gd name="connsiteY9969" fmla="*/ 1708257 h 3690338"/>
                <a:gd name="connsiteX9970" fmla="*/ 61374 w 4878487"/>
                <a:gd name="connsiteY9970" fmla="*/ 1705897 h 3690338"/>
                <a:gd name="connsiteX9971" fmla="*/ 62162 w 4878487"/>
                <a:gd name="connsiteY9971" fmla="*/ 1708257 h 3690338"/>
                <a:gd name="connsiteX9972" fmla="*/ 60981 w 4878487"/>
                <a:gd name="connsiteY9972" fmla="*/ 1711011 h 3690338"/>
                <a:gd name="connsiteX9973" fmla="*/ 60588 w 4878487"/>
                <a:gd name="connsiteY9973" fmla="*/ 1711798 h 3690338"/>
                <a:gd name="connsiteX9974" fmla="*/ 58227 w 4878487"/>
                <a:gd name="connsiteY9974" fmla="*/ 1714552 h 3690338"/>
                <a:gd name="connsiteX9975" fmla="*/ 56654 w 4878487"/>
                <a:gd name="connsiteY9975" fmla="*/ 1717306 h 3690338"/>
                <a:gd name="connsiteX9976" fmla="*/ 55867 w 4878487"/>
                <a:gd name="connsiteY9976" fmla="*/ 1720453 h 3690338"/>
                <a:gd name="connsiteX9977" fmla="*/ 53506 w 4878487"/>
                <a:gd name="connsiteY9977" fmla="*/ 1723207 h 3690338"/>
                <a:gd name="connsiteX9978" fmla="*/ 51933 w 4878487"/>
                <a:gd name="connsiteY9978" fmla="*/ 1725961 h 3690338"/>
                <a:gd name="connsiteX9979" fmla="*/ 50752 w 4878487"/>
                <a:gd name="connsiteY9979" fmla="*/ 1728715 h 3690338"/>
                <a:gd name="connsiteX9980" fmla="*/ 48392 w 4878487"/>
                <a:gd name="connsiteY9980" fmla="*/ 1731863 h 3690338"/>
                <a:gd name="connsiteX9981" fmla="*/ 49572 w 4878487"/>
                <a:gd name="connsiteY9981" fmla="*/ 1734617 h 3690338"/>
                <a:gd name="connsiteX9982" fmla="*/ 48392 w 4878487"/>
                <a:gd name="connsiteY9982" fmla="*/ 1736977 h 3690338"/>
                <a:gd name="connsiteX9983" fmla="*/ 45637 w 4878487"/>
                <a:gd name="connsiteY9983" fmla="*/ 1738551 h 3690338"/>
                <a:gd name="connsiteX9984" fmla="*/ 44851 w 4878487"/>
                <a:gd name="connsiteY9984" fmla="*/ 1741305 h 3690338"/>
                <a:gd name="connsiteX9985" fmla="*/ 44064 w 4878487"/>
                <a:gd name="connsiteY9985" fmla="*/ 1744452 h 3690338"/>
                <a:gd name="connsiteX9986" fmla="*/ 43670 w 4878487"/>
                <a:gd name="connsiteY9986" fmla="*/ 1747206 h 3690338"/>
                <a:gd name="connsiteX9987" fmla="*/ 42490 w 4878487"/>
                <a:gd name="connsiteY9987" fmla="*/ 1749567 h 3690338"/>
                <a:gd name="connsiteX9988" fmla="*/ 40916 w 4878487"/>
                <a:gd name="connsiteY9988" fmla="*/ 1752321 h 3690338"/>
                <a:gd name="connsiteX9989" fmla="*/ 40523 w 4878487"/>
                <a:gd name="connsiteY9989" fmla="*/ 1753501 h 3690338"/>
                <a:gd name="connsiteX9990" fmla="*/ 39343 w 4878487"/>
                <a:gd name="connsiteY9990" fmla="*/ 1755468 h 3690338"/>
                <a:gd name="connsiteX9991" fmla="*/ 36589 w 4878487"/>
                <a:gd name="connsiteY9991" fmla="*/ 1757829 h 3690338"/>
                <a:gd name="connsiteX9992" fmla="*/ 33835 w 4878487"/>
                <a:gd name="connsiteY9992" fmla="*/ 1757829 h 3690338"/>
                <a:gd name="connsiteX9993" fmla="*/ 31081 w 4878487"/>
                <a:gd name="connsiteY9993" fmla="*/ 1760976 h 3690338"/>
                <a:gd name="connsiteX9994" fmla="*/ 29114 w 4878487"/>
                <a:gd name="connsiteY9994" fmla="*/ 1763730 h 3690338"/>
                <a:gd name="connsiteX9995" fmla="*/ 26360 w 4878487"/>
                <a:gd name="connsiteY9995" fmla="*/ 1769238 h 3690338"/>
                <a:gd name="connsiteX9996" fmla="*/ 25179 w 4878487"/>
                <a:gd name="connsiteY9996" fmla="*/ 1771992 h 3690338"/>
                <a:gd name="connsiteX9997" fmla="*/ 24393 w 4878487"/>
                <a:gd name="connsiteY9997" fmla="*/ 1774353 h 3690338"/>
                <a:gd name="connsiteX9998" fmla="*/ 24393 w 4878487"/>
                <a:gd name="connsiteY9998" fmla="*/ 1774746 h 3690338"/>
                <a:gd name="connsiteX9999" fmla="*/ 24393 w 4878487"/>
                <a:gd name="connsiteY9999" fmla="*/ 1777894 h 3690338"/>
                <a:gd name="connsiteX10000" fmla="*/ 23606 w 4878487"/>
                <a:gd name="connsiteY10000" fmla="*/ 1780648 h 3690338"/>
                <a:gd name="connsiteX10001" fmla="*/ 23212 w 4878487"/>
                <a:gd name="connsiteY10001" fmla="*/ 1783402 h 3690338"/>
                <a:gd name="connsiteX10002" fmla="*/ 22819 w 4878487"/>
                <a:gd name="connsiteY10002" fmla="*/ 1786156 h 3690338"/>
                <a:gd name="connsiteX10003" fmla="*/ 22426 w 4878487"/>
                <a:gd name="connsiteY10003" fmla="*/ 1789303 h 3690338"/>
                <a:gd name="connsiteX10004" fmla="*/ 22032 w 4878487"/>
                <a:gd name="connsiteY10004" fmla="*/ 1790090 h 3690338"/>
                <a:gd name="connsiteX10005" fmla="*/ 21638 w 4878487"/>
                <a:gd name="connsiteY10005" fmla="*/ 1793237 h 3690338"/>
                <a:gd name="connsiteX10006" fmla="*/ 21245 w 4878487"/>
                <a:gd name="connsiteY10006" fmla="*/ 1795991 h 3690338"/>
                <a:gd name="connsiteX10007" fmla="*/ 20458 w 4878487"/>
                <a:gd name="connsiteY10007" fmla="*/ 1798745 h 3690338"/>
                <a:gd name="connsiteX10008" fmla="*/ 20065 w 4878487"/>
                <a:gd name="connsiteY10008" fmla="*/ 1801893 h 3690338"/>
                <a:gd name="connsiteX10009" fmla="*/ 19278 w 4878487"/>
                <a:gd name="connsiteY10009" fmla="*/ 1804647 h 3690338"/>
                <a:gd name="connsiteX10010" fmla="*/ 19278 w 4878487"/>
                <a:gd name="connsiteY10010" fmla="*/ 1807401 h 3690338"/>
                <a:gd name="connsiteX10011" fmla="*/ 20065 w 4878487"/>
                <a:gd name="connsiteY10011" fmla="*/ 1808974 h 3690338"/>
                <a:gd name="connsiteX10012" fmla="*/ 28720 w 4878487"/>
                <a:gd name="connsiteY10012" fmla="*/ 1804647 h 3690338"/>
                <a:gd name="connsiteX10013" fmla="*/ 29114 w 4878487"/>
                <a:gd name="connsiteY10013" fmla="*/ 1805827 h 3690338"/>
                <a:gd name="connsiteX10014" fmla="*/ 29507 w 4878487"/>
                <a:gd name="connsiteY10014" fmla="*/ 1807007 h 3690338"/>
                <a:gd name="connsiteX10015" fmla="*/ 31081 w 4878487"/>
                <a:gd name="connsiteY10015" fmla="*/ 1809761 h 3690338"/>
                <a:gd name="connsiteX10016" fmla="*/ 31474 w 4878487"/>
                <a:gd name="connsiteY10016" fmla="*/ 1812515 h 3690338"/>
                <a:gd name="connsiteX10017" fmla="*/ 34228 w 4878487"/>
                <a:gd name="connsiteY10017" fmla="*/ 1815663 h 3690338"/>
                <a:gd name="connsiteX10018" fmla="*/ 35015 w 4878487"/>
                <a:gd name="connsiteY10018" fmla="*/ 1812515 h 3690338"/>
                <a:gd name="connsiteX10019" fmla="*/ 36196 w 4878487"/>
                <a:gd name="connsiteY10019" fmla="*/ 1810155 h 3690338"/>
                <a:gd name="connsiteX10020" fmla="*/ 37376 w 4878487"/>
                <a:gd name="connsiteY10020" fmla="*/ 1812908 h 3690338"/>
                <a:gd name="connsiteX10021" fmla="*/ 38949 w 4878487"/>
                <a:gd name="connsiteY10021" fmla="*/ 1815269 h 3690338"/>
                <a:gd name="connsiteX10022" fmla="*/ 43277 w 4878487"/>
                <a:gd name="connsiteY10022" fmla="*/ 1834940 h 3690338"/>
                <a:gd name="connsiteX10023" fmla="*/ 40916 w 4878487"/>
                <a:gd name="connsiteY10023" fmla="*/ 1837694 h 3690338"/>
                <a:gd name="connsiteX10024" fmla="*/ 41703 w 4878487"/>
                <a:gd name="connsiteY10024" fmla="*/ 1839268 h 3690338"/>
                <a:gd name="connsiteX10025" fmla="*/ 38556 w 4878487"/>
                <a:gd name="connsiteY10025" fmla="*/ 1848317 h 3690338"/>
                <a:gd name="connsiteX10026" fmla="*/ 38163 w 4878487"/>
                <a:gd name="connsiteY10026" fmla="*/ 1849104 h 3690338"/>
                <a:gd name="connsiteX10027" fmla="*/ 36196 w 4878487"/>
                <a:gd name="connsiteY10027" fmla="*/ 1851858 h 3690338"/>
                <a:gd name="connsiteX10028" fmla="*/ 35408 w 4878487"/>
                <a:gd name="connsiteY10028" fmla="*/ 1854612 h 3690338"/>
                <a:gd name="connsiteX10029" fmla="*/ 36982 w 4878487"/>
                <a:gd name="connsiteY10029" fmla="*/ 1851858 h 3690338"/>
                <a:gd name="connsiteX10030" fmla="*/ 37376 w 4878487"/>
                <a:gd name="connsiteY10030" fmla="*/ 1851464 h 3690338"/>
                <a:gd name="connsiteX10031" fmla="*/ 36196 w 4878487"/>
                <a:gd name="connsiteY10031" fmla="*/ 1855399 h 3690338"/>
                <a:gd name="connsiteX10032" fmla="*/ 33835 w 4878487"/>
                <a:gd name="connsiteY10032" fmla="*/ 1855005 h 3690338"/>
                <a:gd name="connsiteX10033" fmla="*/ 35015 w 4878487"/>
                <a:gd name="connsiteY10033" fmla="*/ 1858153 h 3690338"/>
                <a:gd name="connsiteX10034" fmla="*/ 35015 w 4878487"/>
                <a:gd name="connsiteY10034" fmla="*/ 1858939 h 3690338"/>
                <a:gd name="connsiteX10035" fmla="*/ 42097 w 4878487"/>
                <a:gd name="connsiteY10035" fmla="*/ 1866808 h 3690338"/>
                <a:gd name="connsiteX10036" fmla="*/ 42490 w 4878487"/>
                <a:gd name="connsiteY10036" fmla="*/ 1868382 h 3690338"/>
                <a:gd name="connsiteX10037" fmla="*/ 44064 w 4878487"/>
                <a:gd name="connsiteY10037" fmla="*/ 1875857 h 3690338"/>
                <a:gd name="connsiteX10038" fmla="*/ 44064 w 4878487"/>
                <a:gd name="connsiteY10038" fmla="*/ 1877431 h 3690338"/>
                <a:gd name="connsiteX10039" fmla="*/ 44457 w 4878487"/>
                <a:gd name="connsiteY10039" fmla="*/ 1880184 h 3690338"/>
                <a:gd name="connsiteX10040" fmla="*/ 45244 w 4878487"/>
                <a:gd name="connsiteY10040" fmla="*/ 1882938 h 3690338"/>
                <a:gd name="connsiteX10041" fmla="*/ 46031 w 4878487"/>
                <a:gd name="connsiteY10041" fmla="*/ 1886086 h 3690338"/>
                <a:gd name="connsiteX10042" fmla="*/ 46425 w 4878487"/>
                <a:gd name="connsiteY10042" fmla="*/ 1886873 h 3690338"/>
                <a:gd name="connsiteX10043" fmla="*/ 35408 w 4878487"/>
                <a:gd name="connsiteY10043" fmla="*/ 1941559 h 3690338"/>
                <a:gd name="connsiteX10044" fmla="*/ 35408 w 4878487"/>
                <a:gd name="connsiteY10044" fmla="*/ 1941952 h 3690338"/>
                <a:gd name="connsiteX10045" fmla="*/ 33835 w 4878487"/>
                <a:gd name="connsiteY10045" fmla="*/ 1945100 h 3690338"/>
                <a:gd name="connsiteX10046" fmla="*/ 32655 w 4878487"/>
                <a:gd name="connsiteY10046" fmla="*/ 1948247 h 3690338"/>
                <a:gd name="connsiteX10047" fmla="*/ 32261 w 4878487"/>
                <a:gd name="connsiteY10047" fmla="*/ 1951001 h 3690338"/>
                <a:gd name="connsiteX10048" fmla="*/ 31867 w 4878487"/>
                <a:gd name="connsiteY10048" fmla="*/ 1954149 h 3690338"/>
                <a:gd name="connsiteX10049" fmla="*/ 31081 w 4878487"/>
                <a:gd name="connsiteY10049" fmla="*/ 1956903 h 3690338"/>
                <a:gd name="connsiteX10050" fmla="*/ 29900 w 4878487"/>
                <a:gd name="connsiteY10050" fmla="*/ 1959656 h 3690338"/>
                <a:gd name="connsiteX10051" fmla="*/ 29900 w 4878487"/>
                <a:gd name="connsiteY10051" fmla="*/ 1968312 h 3690338"/>
                <a:gd name="connsiteX10052" fmla="*/ 29114 w 4878487"/>
                <a:gd name="connsiteY10052" fmla="*/ 1976967 h 3690338"/>
                <a:gd name="connsiteX10053" fmla="*/ 23212 w 4878487"/>
                <a:gd name="connsiteY10053" fmla="*/ 1988377 h 3690338"/>
                <a:gd name="connsiteX10054" fmla="*/ 12590 w 4878487"/>
                <a:gd name="connsiteY10054" fmla="*/ 2004507 h 3690338"/>
                <a:gd name="connsiteX10055" fmla="*/ 9442 w 4878487"/>
                <a:gd name="connsiteY10055" fmla="*/ 2008048 h 3690338"/>
                <a:gd name="connsiteX10056" fmla="*/ 6689 w 4878487"/>
                <a:gd name="connsiteY10056" fmla="*/ 2009622 h 3690338"/>
                <a:gd name="connsiteX10057" fmla="*/ 3541 w 4878487"/>
                <a:gd name="connsiteY10057" fmla="*/ 2011195 h 3690338"/>
                <a:gd name="connsiteX10058" fmla="*/ 787 w 4878487"/>
                <a:gd name="connsiteY10058" fmla="*/ 2012376 h 3690338"/>
                <a:gd name="connsiteX10059" fmla="*/ 0 w 4878487"/>
                <a:gd name="connsiteY10059" fmla="*/ 2015523 h 3690338"/>
                <a:gd name="connsiteX10060" fmla="*/ 3148 w 4878487"/>
                <a:gd name="connsiteY10060" fmla="*/ 2013556 h 3690338"/>
                <a:gd name="connsiteX10061" fmla="*/ 4721 w 4878487"/>
                <a:gd name="connsiteY10061" fmla="*/ 2013949 h 3690338"/>
                <a:gd name="connsiteX10062" fmla="*/ 10229 w 4878487"/>
                <a:gd name="connsiteY10062" fmla="*/ 2017884 h 3690338"/>
                <a:gd name="connsiteX10063" fmla="*/ 11409 w 4878487"/>
                <a:gd name="connsiteY10063" fmla="*/ 2020638 h 3690338"/>
                <a:gd name="connsiteX10064" fmla="*/ 12983 w 4878487"/>
                <a:gd name="connsiteY10064" fmla="*/ 2023392 h 3690338"/>
                <a:gd name="connsiteX10065" fmla="*/ 14557 w 4878487"/>
                <a:gd name="connsiteY10065" fmla="*/ 2023785 h 3690338"/>
                <a:gd name="connsiteX10066" fmla="*/ 16918 w 4878487"/>
                <a:gd name="connsiteY10066" fmla="*/ 2028506 h 3690338"/>
                <a:gd name="connsiteX10067" fmla="*/ 17704 w 4878487"/>
                <a:gd name="connsiteY10067" fmla="*/ 2030080 h 3690338"/>
                <a:gd name="connsiteX10068" fmla="*/ 18098 w 4878487"/>
                <a:gd name="connsiteY10068" fmla="*/ 2032834 h 3690338"/>
                <a:gd name="connsiteX10069" fmla="*/ 19671 w 4878487"/>
                <a:gd name="connsiteY10069" fmla="*/ 2034407 h 3690338"/>
                <a:gd name="connsiteX10070" fmla="*/ 20458 w 4878487"/>
                <a:gd name="connsiteY10070" fmla="*/ 2037555 h 3690338"/>
                <a:gd name="connsiteX10071" fmla="*/ 20458 w 4878487"/>
                <a:gd name="connsiteY10071" fmla="*/ 2043456 h 3690338"/>
                <a:gd name="connsiteX10072" fmla="*/ 20852 w 4878487"/>
                <a:gd name="connsiteY10072" fmla="*/ 2040702 h 3690338"/>
                <a:gd name="connsiteX10073" fmla="*/ 22426 w 4878487"/>
                <a:gd name="connsiteY10073" fmla="*/ 2037948 h 3690338"/>
                <a:gd name="connsiteX10074" fmla="*/ 25573 w 4878487"/>
                <a:gd name="connsiteY10074" fmla="*/ 2038342 h 3690338"/>
                <a:gd name="connsiteX10075" fmla="*/ 27933 w 4878487"/>
                <a:gd name="connsiteY10075" fmla="*/ 2035588 h 3690338"/>
                <a:gd name="connsiteX10076" fmla="*/ 30294 w 4878487"/>
                <a:gd name="connsiteY10076" fmla="*/ 2034014 h 3690338"/>
                <a:gd name="connsiteX10077" fmla="*/ 30294 w 4878487"/>
                <a:gd name="connsiteY10077" fmla="*/ 2033621 h 3690338"/>
                <a:gd name="connsiteX10078" fmla="*/ 30687 w 4878487"/>
                <a:gd name="connsiteY10078" fmla="*/ 2032834 h 3690338"/>
                <a:gd name="connsiteX10079" fmla="*/ 33048 w 4878487"/>
                <a:gd name="connsiteY10079" fmla="*/ 2033621 h 3690338"/>
                <a:gd name="connsiteX10080" fmla="*/ 33441 w 4878487"/>
                <a:gd name="connsiteY10080" fmla="*/ 2033621 h 3690338"/>
                <a:gd name="connsiteX10081" fmla="*/ 30294 w 4878487"/>
                <a:gd name="connsiteY10081" fmla="*/ 2034407 h 3690338"/>
                <a:gd name="connsiteX10082" fmla="*/ 27147 w 4878487"/>
                <a:gd name="connsiteY10082" fmla="*/ 2037162 h 3690338"/>
                <a:gd name="connsiteX10083" fmla="*/ 26753 w 4878487"/>
                <a:gd name="connsiteY10083" fmla="*/ 2039129 h 3690338"/>
                <a:gd name="connsiteX10084" fmla="*/ 23999 w 4878487"/>
                <a:gd name="connsiteY10084" fmla="*/ 2039522 h 3690338"/>
                <a:gd name="connsiteX10085" fmla="*/ 21638 w 4878487"/>
                <a:gd name="connsiteY10085" fmla="*/ 2042276 h 3690338"/>
                <a:gd name="connsiteX10086" fmla="*/ 22032 w 4878487"/>
                <a:gd name="connsiteY10086" fmla="*/ 2045030 h 3690338"/>
                <a:gd name="connsiteX10087" fmla="*/ 24786 w 4878487"/>
                <a:gd name="connsiteY10087" fmla="*/ 2044243 h 3690338"/>
                <a:gd name="connsiteX10088" fmla="*/ 26360 w 4878487"/>
                <a:gd name="connsiteY10088" fmla="*/ 2043850 h 3690338"/>
                <a:gd name="connsiteX10089" fmla="*/ 28327 w 4878487"/>
                <a:gd name="connsiteY10089" fmla="*/ 2041096 h 3690338"/>
                <a:gd name="connsiteX10090" fmla="*/ 29507 w 4878487"/>
                <a:gd name="connsiteY10090" fmla="*/ 2039129 h 3690338"/>
                <a:gd name="connsiteX10091" fmla="*/ 28720 w 4878487"/>
                <a:gd name="connsiteY10091" fmla="*/ 2042276 h 3690338"/>
                <a:gd name="connsiteX10092" fmla="*/ 28720 w 4878487"/>
                <a:gd name="connsiteY10092" fmla="*/ 2045030 h 3690338"/>
                <a:gd name="connsiteX10093" fmla="*/ 29114 w 4878487"/>
                <a:gd name="connsiteY10093" fmla="*/ 2046210 h 3690338"/>
                <a:gd name="connsiteX10094" fmla="*/ 26360 w 4878487"/>
                <a:gd name="connsiteY10094" fmla="*/ 2045817 h 3690338"/>
                <a:gd name="connsiteX10095" fmla="*/ 24786 w 4878487"/>
                <a:gd name="connsiteY10095" fmla="*/ 2048571 h 3690338"/>
                <a:gd name="connsiteX10096" fmla="*/ 27540 w 4878487"/>
                <a:gd name="connsiteY10096" fmla="*/ 2049751 h 3690338"/>
                <a:gd name="connsiteX10097" fmla="*/ 27147 w 4878487"/>
                <a:gd name="connsiteY10097" fmla="*/ 2050931 h 3690338"/>
                <a:gd name="connsiteX10098" fmla="*/ 26753 w 4878487"/>
                <a:gd name="connsiteY10098" fmla="*/ 2053292 h 3690338"/>
                <a:gd name="connsiteX10099" fmla="*/ 26753 w 4878487"/>
                <a:gd name="connsiteY10099" fmla="*/ 2056833 h 3690338"/>
                <a:gd name="connsiteX10100" fmla="*/ 28327 w 4878487"/>
                <a:gd name="connsiteY10100" fmla="*/ 2059980 h 3690338"/>
                <a:gd name="connsiteX10101" fmla="*/ 31081 w 4878487"/>
                <a:gd name="connsiteY10101" fmla="*/ 2062341 h 3690338"/>
                <a:gd name="connsiteX10102" fmla="*/ 33835 w 4878487"/>
                <a:gd name="connsiteY10102" fmla="*/ 2061947 h 3690338"/>
                <a:gd name="connsiteX10103" fmla="*/ 36589 w 4878487"/>
                <a:gd name="connsiteY10103" fmla="*/ 2059194 h 3690338"/>
                <a:gd name="connsiteX10104" fmla="*/ 39736 w 4878487"/>
                <a:gd name="connsiteY10104" fmla="*/ 2058407 h 3690338"/>
                <a:gd name="connsiteX10105" fmla="*/ 42490 w 4878487"/>
                <a:gd name="connsiteY10105" fmla="*/ 2058407 h 3690338"/>
                <a:gd name="connsiteX10106" fmla="*/ 45244 w 4878487"/>
                <a:gd name="connsiteY10106" fmla="*/ 2058013 h 3690338"/>
                <a:gd name="connsiteX10107" fmla="*/ 48392 w 4878487"/>
                <a:gd name="connsiteY10107" fmla="*/ 2057620 h 3690338"/>
                <a:gd name="connsiteX10108" fmla="*/ 51145 w 4878487"/>
                <a:gd name="connsiteY10108" fmla="*/ 2057226 h 3690338"/>
                <a:gd name="connsiteX10109" fmla="*/ 53900 w 4878487"/>
                <a:gd name="connsiteY10109" fmla="*/ 2057226 h 3690338"/>
                <a:gd name="connsiteX10110" fmla="*/ 53113 w 4878487"/>
                <a:gd name="connsiteY10110" fmla="*/ 2057620 h 3690338"/>
                <a:gd name="connsiteX10111" fmla="*/ 50359 w 4878487"/>
                <a:gd name="connsiteY10111" fmla="*/ 2058800 h 3690338"/>
                <a:gd name="connsiteX10112" fmla="*/ 47211 w 4878487"/>
                <a:gd name="connsiteY10112" fmla="*/ 2058407 h 3690338"/>
                <a:gd name="connsiteX10113" fmla="*/ 44457 w 4878487"/>
                <a:gd name="connsiteY10113" fmla="*/ 2059194 h 3690338"/>
                <a:gd name="connsiteX10114" fmla="*/ 41310 w 4878487"/>
                <a:gd name="connsiteY10114" fmla="*/ 2059980 h 3690338"/>
                <a:gd name="connsiteX10115" fmla="*/ 38556 w 4878487"/>
                <a:gd name="connsiteY10115" fmla="*/ 2059194 h 3690338"/>
                <a:gd name="connsiteX10116" fmla="*/ 36196 w 4878487"/>
                <a:gd name="connsiteY10116" fmla="*/ 2062341 h 3690338"/>
                <a:gd name="connsiteX10117" fmla="*/ 38163 w 4878487"/>
                <a:gd name="connsiteY10117" fmla="*/ 2063914 h 3690338"/>
                <a:gd name="connsiteX10118" fmla="*/ 35408 w 4878487"/>
                <a:gd name="connsiteY10118" fmla="*/ 2062734 h 3690338"/>
                <a:gd name="connsiteX10119" fmla="*/ 34228 w 4878487"/>
                <a:gd name="connsiteY10119" fmla="*/ 2063128 h 3690338"/>
                <a:gd name="connsiteX10120" fmla="*/ 25966 w 4878487"/>
                <a:gd name="connsiteY10120" fmla="*/ 2061947 h 3690338"/>
                <a:gd name="connsiteX10121" fmla="*/ 25179 w 4878487"/>
                <a:gd name="connsiteY10121" fmla="*/ 2060767 h 3690338"/>
                <a:gd name="connsiteX10122" fmla="*/ 25573 w 4878487"/>
                <a:gd name="connsiteY10122" fmla="*/ 2058013 h 3690338"/>
                <a:gd name="connsiteX10123" fmla="*/ 22819 w 4878487"/>
                <a:gd name="connsiteY10123" fmla="*/ 2057226 h 3690338"/>
                <a:gd name="connsiteX10124" fmla="*/ 20065 w 4878487"/>
                <a:gd name="connsiteY10124" fmla="*/ 2059980 h 3690338"/>
                <a:gd name="connsiteX10125" fmla="*/ 18491 w 4878487"/>
                <a:gd name="connsiteY10125" fmla="*/ 2061161 h 3690338"/>
                <a:gd name="connsiteX10126" fmla="*/ 18098 w 4878487"/>
                <a:gd name="connsiteY10126" fmla="*/ 2063914 h 3690338"/>
                <a:gd name="connsiteX10127" fmla="*/ 18885 w 4878487"/>
                <a:gd name="connsiteY10127" fmla="*/ 2067062 h 3690338"/>
                <a:gd name="connsiteX10128" fmla="*/ 19278 w 4878487"/>
                <a:gd name="connsiteY10128" fmla="*/ 2069816 h 3690338"/>
                <a:gd name="connsiteX10129" fmla="*/ 20065 w 4878487"/>
                <a:gd name="connsiteY10129" fmla="*/ 2071390 h 3690338"/>
                <a:gd name="connsiteX10130" fmla="*/ 19671 w 4878487"/>
                <a:gd name="connsiteY10130" fmla="*/ 2074537 h 3690338"/>
                <a:gd name="connsiteX10131" fmla="*/ 19278 w 4878487"/>
                <a:gd name="connsiteY10131" fmla="*/ 2077291 h 3690338"/>
                <a:gd name="connsiteX10132" fmla="*/ 17704 w 4878487"/>
                <a:gd name="connsiteY10132" fmla="*/ 2080045 h 3690338"/>
                <a:gd name="connsiteX10133" fmla="*/ 18098 w 4878487"/>
                <a:gd name="connsiteY10133" fmla="*/ 2082799 h 3690338"/>
                <a:gd name="connsiteX10134" fmla="*/ 20852 w 4878487"/>
                <a:gd name="connsiteY10134" fmla="*/ 2082406 h 3690338"/>
                <a:gd name="connsiteX10135" fmla="*/ 18491 w 4878487"/>
                <a:gd name="connsiteY10135" fmla="*/ 2085160 h 3690338"/>
                <a:gd name="connsiteX10136" fmla="*/ 18885 w 4878487"/>
                <a:gd name="connsiteY10136" fmla="*/ 2087914 h 3690338"/>
                <a:gd name="connsiteX10137" fmla="*/ 21638 w 4878487"/>
                <a:gd name="connsiteY10137" fmla="*/ 2086340 h 3690338"/>
                <a:gd name="connsiteX10138" fmla="*/ 22426 w 4878487"/>
                <a:gd name="connsiteY10138" fmla="*/ 2083192 h 3690338"/>
                <a:gd name="connsiteX10139" fmla="*/ 23999 w 4878487"/>
                <a:gd name="connsiteY10139" fmla="*/ 2080438 h 3690338"/>
                <a:gd name="connsiteX10140" fmla="*/ 24393 w 4878487"/>
                <a:gd name="connsiteY10140" fmla="*/ 2080045 h 3690338"/>
                <a:gd name="connsiteX10141" fmla="*/ 22819 w 4878487"/>
                <a:gd name="connsiteY10141" fmla="*/ 2083192 h 3690338"/>
                <a:gd name="connsiteX10142" fmla="*/ 25573 w 4878487"/>
                <a:gd name="connsiteY10142" fmla="*/ 2084766 h 3690338"/>
                <a:gd name="connsiteX10143" fmla="*/ 28720 w 4878487"/>
                <a:gd name="connsiteY10143" fmla="*/ 2086733 h 3690338"/>
                <a:gd name="connsiteX10144" fmla="*/ 31474 w 4878487"/>
                <a:gd name="connsiteY10144" fmla="*/ 2086733 h 3690338"/>
                <a:gd name="connsiteX10145" fmla="*/ 33441 w 4878487"/>
                <a:gd name="connsiteY10145" fmla="*/ 2086340 h 3690338"/>
                <a:gd name="connsiteX10146" fmla="*/ 36196 w 4878487"/>
                <a:gd name="connsiteY10146" fmla="*/ 2085946 h 3690338"/>
                <a:gd name="connsiteX10147" fmla="*/ 38949 w 4878487"/>
                <a:gd name="connsiteY10147" fmla="*/ 2085160 h 3690338"/>
                <a:gd name="connsiteX10148" fmla="*/ 40916 w 4878487"/>
                <a:gd name="connsiteY10148" fmla="*/ 2082012 h 3690338"/>
                <a:gd name="connsiteX10149" fmla="*/ 40916 w 4878487"/>
                <a:gd name="connsiteY10149" fmla="*/ 2081619 h 3690338"/>
                <a:gd name="connsiteX10150" fmla="*/ 42097 w 4878487"/>
                <a:gd name="connsiteY10150" fmla="*/ 2084373 h 3690338"/>
                <a:gd name="connsiteX10151" fmla="*/ 44064 w 4878487"/>
                <a:gd name="connsiteY10151" fmla="*/ 2085553 h 3690338"/>
                <a:gd name="connsiteX10152" fmla="*/ 42490 w 4878487"/>
                <a:gd name="connsiteY10152" fmla="*/ 2086340 h 3690338"/>
                <a:gd name="connsiteX10153" fmla="*/ 39343 w 4878487"/>
                <a:gd name="connsiteY10153" fmla="*/ 2085946 h 3690338"/>
                <a:gd name="connsiteX10154" fmla="*/ 36982 w 4878487"/>
                <a:gd name="connsiteY10154" fmla="*/ 2086733 h 3690338"/>
                <a:gd name="connsiteX10155" fmla="*/ 33048 w 4878487"/>
                <a:gd name="connsiteY10155" fmla="*/ 2086733 h 3690338"/>
                <a:gd name="connsiteX10156" fmla="*/ 26360 w 4878487"/>
                <a:gd name="connsiteY10156" fmla="*/ 2086340 h 3690338"/>
                <a:gd name="connsiteX10157" fmla="*/ 24393 w 4878487"/>
                <a:gd name="connsiteY10157" fmla="*/ 2085160 h 3690338"/>
                <a:gd name="connsiteX10158" fmla="*/ 22819 w 4878487"/>
                <a:gd name="connsiteY10158" fmla="*/ 2085946 h 3690338"/>
                <a:gd name="connsiteX10159" fmla="*/ 20065 w 4878487"/>
                <a:gd name="connsiteY10159" fmla="*/ 2087520 h 3690338"/>
                <a:gd name="connsiteX10160" fmla="*/ 17311 w 4878487"/>
                <a:gd name="connsiteY10160" fmla="*/ 2090668 h 3690338"/>
                <a:gd name="connsiteX10161" fmla="*/ 18885 w 4878487"/>
                <a:gd name="connsiteY10161" fmla="*/ 2093421 h 3690338"/>
                <a:gd name="connsiteX10162" fmla="*/ 19671 w 4878487"/>
                <a:gd name="connsiteY10162" fmla="*/ 2095389 h 3690338"/>
                <a:gd name="connsiteX10163" fmla="*/ 23606 w 4878487"/>
                <a:gd name="connsiteY10163" fmla="*/ 2096962 h 3690338"/>
                <a:gd name="connsiteX10164" fmla="*/ 25573 w 4878487"/>
                <a:gd name="connsiteY10164" fmla="*/ 2098536 h 3690338"/>
                <a:gd name="connsiteX10165" fmla="*/ 28720 w 4878487"/>
                <a:gd name="connsiteY10165" fmla="*/ 2100110 h 3690338"/>
                <a:gd name="connsiteX10166" fmla="*/ 29114 w 4878487"/>
                <a:gd name="connsiteY10166" fmla="*/ 2099716 h 3690338"/>
                <a:gd name="connsiteX10167" fmla="*/ 31867 w 4878487"/>
                <a:gd name="connsiteY10167" fmla="*/ 2096962 h 3690338"/>
                <a:gd name="connsiteX10168" fmla="*/ 34622 w 4878487"/>
                <a:gd name="connsiteY10168" fmla="*/ 2096569 h 3690338"/>
                <a:gd name="connsiteX10169" fmla="*/ 37376 w 4878487"/>
                <a:gd name="connsiteY10169" fmla="*/ 2095782 h 3690338"/>
                <a:gd name="connsiteX10170" fmla="*/ 34228 w 4878487"/>
                <a:gd name="connsiteY10170" fmla="*/ 2098143 h 3690338"/>
                <a:gd name="connsiteX10171" fmla="*/ 31474 w 4878487"/>
                <a:gd name="connsiteY10171" fmla="*/ 2100897 h 3690338"/>
                <a:gd name="connsiteX10172" fmla="*/ 30687 w 4878487"/>
                <a:gd name="connsiteY10172" fmla="*/ 2104044 h 3690338"/>
                <a:gd name="connsiteX10173" fmla="*/ 31081 w 4878487"/>
                <a:gd name="connsiteY10173" fmla="*/ 2106405 h 3690338"/>
                <a:gd name="connsiteX10174" fmla="*/ 31474 w 4878487"/>
                <a:gd name="connsiteY10174" fmla="*/ 2107191 h 3690338"/>
                <a:gd name="connsiteX10175" fmla="*/ 34622 w 4878487"/>
                <a:gd name="connsiteY10175" fmla="*/ 2109552 h 3690338"/>
                <a:gd name="connsiteX10176" fmla="*/ 37376 w 4878487"/>
                <a:gd name="connsiteY10176" fmla="*/ 2110339 h 3690338"/>
                <a:gd name="connsiteX10177" fmla="*/ 40130 w 4878487"/>
                <a:gd name="connsiteY10177" fmla="*/ 2109552 h 3690338"/>
                <a:gd name="connsiteX10178" fmla="*/ 42884 w 4878487"/>
                <a:gd name="connsiteY10178" fmla="*/ 2107585 h 3690338"/>
                <a:gd name="connsiteX10179" fmla="*/ 46425 w 4878487"/>
                <a:gd name="connsiteY10179" fmla="*/ 2106405 h 3690338"/>
                <a:gd name="connsiteX10180" fmla="*/ 49572 w 4878487"/>
                <a:gd name="connsiteY10180" fmla="*/ 2106405 h 3690338"/>
                <a:gd name="connsiteX10181" fmla="*/ 47211 w 4878487"/>
                <a:gd name="connsiteY10181" fmla="*/ 2107978 h 3690338"/>
                <a:gd name="connsiteX10182" fmla="*/ 44064 w 4878487"/>
                <a:gd name="connsiteY10182" fmla="*/ 2109552 h 3690338"/>
                <a:gd name="connsiteX10183" fmla="*/ 42097 w 4878487"/>
                <a:gd name="connsiteY10183" fmla="*/ 2112699 h 3690338"/>
                <a:gd name="connsiteX10184" fmla="*/ 41310 w 4878487"/>
                <a:gd name="connsiteY10184" fmla="*/ 2115847 h 3690338"/>
                <a:gd name="connsiteX10185" fmla="*/ 44064 w 4878487"/>
                <a:gd name="connsiteY10185" fmla="*/ 2115453 h 3690338"/>
                <a:gd name="connsiteX10186" fmla="*/ 46818 w 4878487"/>
                <a:gd name="connsiteY10186" fmla="*/ 2115060 h 3690338"/>
                <a:gd name="connsiteX10187" fmla="*/ 49965 w 4878487"/>
                <a:gd name="connsiteY10187" fmla="*/ 2113880 h 3690338"/>
                <a:gd name="connsiteX10188" fmla="*/ 51539 w 4878487"/>
                <a:gd name="connsiteY10188" fmla="*/ 2112699 h 3690338"/>
                <a:gd name="connsiteX10189" fmla="*/ 54293 w 4878487"/>
                <a:gd name="connsiteY10189" fmla="*/ 2110339 h 3690338"/>
                <a:gd name="connsiteX10190" fmla="*/ 60981 w 4878487"/>
                <a:gd name="connsiteY10190" fmla="*/ 2109159 h 3690338"/>
                <a:gd name="connsiteX10191" fmla="*/ 62948 w 4878487"/>
                <a:gd name="connsiteY10191" fmla="*/ 2110339 h 3690338"/>
                <a:gd name="connsiteX10192" fmla="*/ 66096 w 4878487"/>
                <a:gd name="connsiteY10192" fmla="*/ 2108765 h 3690338"/>
                <a:gd name="connsiteX10193" fmla="*/ 67670 w 4878487"/>
                <a:gd name="connsiteY10193" fmla="*/ 2108372 h 3690338"/>
                <a:gd name="connsiteX10194" fmla="*/ 70423 w 4878487"/>
                <a:gd name="connsiteY10194" fmla="*/ 2107978 h 3690338"/>
                <a:gd name="connsiteX10195" fmla="*/ 70817 w 4878487"/>
                <a:gd name="connsiteY10195" fmla="*/ 2108765 h 3690338"/>
                <a:gd name="connsiteX10196" fmla="*/ 70423 w 4878487"/>
                <a:gd name="connsiteY10196" fmla="*/ 2108765 h 3690338"/>
                <a:gd name="connsiteX10197" fmla="*/ 69243 w 4878487"/>
                <a:gd name="connsiteY10197" fmla="*/ 2110732 h 3690338"/>
                <a:gd name="connsiteX10198" fmla="*/ 70030 w 4878487"/>
                <a:gd name="connsiteY10198" fmla="*/ 2113880 h 3690338"/>
                <a:gd name="connsiteX10199" fmla="*/ 72391 w 4878487"/>
                <a:gd name="connsiteY10199" fmla="*/ 2115453 h 3690338"/>
                <a:gd name="connsiteX10200" fmla="*/ 70030 w 4878487"/>
                <a:gd name="connsiteY10200" fmla="*/ 2115060 h 3690338"/>
                <a:gd name="connsiteX10201" fmla="*/ 68456 w 4878487"/>
                <a:gd name="connsiteY10201" fmla="*/ 2114667 h 3690338"/>
                <a:gd name="connsiteX10202" fmla="*/ 66489 w 4878487"/>
                <a:gd name="connsiteY10202" fmla="*/ 2111519 h 3690338"/>
                <a:gd name="connsiteX10203" fmla="*/ 63342 w 4878487"/>
                <a:gd name="connsiteY10203" fmla="*/ 2112306 h 3690338"/>
                <a:gd name="connsiteX10204" fmla="*/ 60588 w 4878487"/>
                <a:gd name="connsiteY10204" fmla="*/ 2111913 h 3690338"/>
                <a:gd name="connsiteX10205" fmla="*/ 57834 w 4878487"/>
                <a:gd name="connsiteY10205" fmla="*/ 2113486 h 3690338"/>
                <a:gd name="connsiteX10206" fmla="*/ 54293 w 4878487"/>
                <a:gd name="connsiteY10206" fmla="*/ 2116240 h 3690338"/>
                <a:gd name="connsiteX10207" fmla="*/ 55867 w 4878487"/>
                <a:gd name="connsiteY10207" fmla="*/ 2119388 h 3690338"/>
                <a:gd name="connsiteX10208" fmla="*/ 57440 w 4878487"/>
                <a:gd name="connsiteY10208" fmla="*/ 2122535 h 3690338"/>
                <a:gd name="connsiteX10209" fmla="*/ 60194 w 4878487"/>
                <a:gd name="connsiteY10209" fmla="*/ 2120175 h 3690338"/>
                <a:gd name="connsiteX10210" fmla="*/ 59801 w 4878487"/>
                <a:gd name="connsiteY10210" fmla="*/ 2122535 h 3690338"/>
                <a:gd name="connsiteX10211" fmla="*/ 58227 w 4878487"/>
                <a:gd name="connsiteY10211" fmla="*/ 2124109 h 3690338"/>
                <a:gd name="connsiteX10212" fmla="*/ 55473 w 4878487"/>
                <a:gd name="connsiteY10212" fmla="*/ 2126469 h 3690338"/>
                <a:gd name="connsiteX10213" fmla="*/ 56260 w 4878487"/>
                <a:gd name="connsiteY10213" fmla="*/ 2129617 h 3690338"/>
                <a:gd name="connsiteX10214" fmla="*/ 59014 w 4878487"/>
                <a:gd name="connsiteY10214" fmla="*/ 2128437 h 3690338"/>
                <a:gd name="connsiteX10215" fmla="*/ 57047 w 4878487"/>
                <a:gd name="connsiteY10215" fmla="*/ 2131584 h 3690338"/>
                <a:gd name="connsiteX10216" fmla="*/ 59801 w 4878487"/>
                <a:gd name="connsiteY10216" fmla="*/ 2132764 h 3690338"/>
                <a:gd name="connsiteX10217" fmla="*/ 62162 w 4878487"/>
                <a:gd name="connsiteY10217" fmla="*/ 2133158 h 3690338"/>
                <a:gd name="connsiteX10218" fmla="*/ 62948 w 4878487"/>
                <a:gd name="connsiteY10218" fmla="*/ 2134731 h 3690338"/>
                <a:gd name="connsiteX10219" fmla="*/ 62948 w 4878487"/>
                <a:gd name="connsiteY10219" fmla="*/ 2136305 h 3690338"/>
                <a:gd name="connsiteX10220" fmla="*/ 64129 w 4878487"/>
                <a:gd name="connsiteY10220" fmla="*/ 2137092 h 3690338"/>
                <a:gd name="connsiteX10221" fmla="*/ 65703 w 4878487"/>
                <a:gd name="connsiteY10221" fmla="*/ 2139059 h 3690338"/>
                <a:gd name="connsiteX10222" fmla="*/ 65703 w 4878487"/>
                <a:gd name="connsiteY10222" fmla="*/ 2140633 h 3690338"/>
                <a:gd name="connsiteX10223" fmla="*/ 66489 w 4878487"/>
                <a:gd name="connsiteY10223" fmla="*/ 2143387 h 3690338"/>
                <a:gd name="connsiteX10224" fmla="*/ 68063 w 4878487"/>
                <a:gd name="connsiteY10224" fmla="*/ 2142600 h 3690338"/>
                <a:gd name="connsiteX10225" fmla="*/ 68456 w 4878487"/>
                <a:gd name="connsiteY10225" fmla="*/ 2142206 h 3690338"/>
                <a:gd name="connsiteX10226" fmla="*/ 69243 w 4878487"/>
                <a:gd name="connsiteY10226" fmla="*/ 2142993 h 3690338"/>
                <a:gd name="connsiteX10227" fmla="*/ 67670 w 4878487"/>
                <a:gd name="connsiteY10227" fmla="*/ 2142993 h 3690338"/>
                <a:gd name="connsiteX10228" fmla="*/ 67670 w 4878487"/>
                <a:gd name="connsiteY10228" fmla="*/ 2143387 h 3690338"/>
                <a:gd name="connsiteX10229" fmla="*/ 66096 w 4878487"/>
                <a:gd name="connsiteY10229" fmla="*/ 2146534 h 3690338"/>
                <a:gd name="connsiteX10230" fmla="*/ 68063 w 4878487"/>
                <a:gd name="connsiteY10230" fmla="*/ 2149288 h 3690338"/>
                <a:gd name="connsiteX10231" fmla="*/ 69243 w 4878487"/>
                <a:gd name="connsiteY10231" fmla="*/ 2149288 h 3690338"/>
                <a:gd name="connsiteX10232" fmla="*/ 68850 w 4878487"/>
                <a:gd name="connsiteY10232" fmla="*/ 2146534 h 3690338"/>
                <a:gd name="connsiteX10233" fmla="*/ 70423 w 4878487"/>
                <a:gd name="connsiteY10233" fmla="*/ 2144174 h 3690338"/>
                <a:gd name="connsiteX10234" fmla="*/ 75538 w 4878487"/>
                <a:gd name="connsiteY10234" fmla="*/ 2148108 h 3690338"/>
                <a:gd name="connsiteX10235" fmla="*/ 75144 w 4878487"/>
                <a:gd name="connsiteY10235" fmla="*/ 2148895 h 3690338"/>
                <a:gd name="connsiteX10236" fmla="*/ 75538 w 4878487"/>
                <a:gd name="connsiteY10236" fmla="*/ 2151649 h 3690338"/>
                <a:gd name="connsiteX10237" fmla="*/ 77505 w 4878487"/>
                <a:gd name="connsiteY10237" fmla="*/ 2149682 h 3690338"/>
                <a:gd name="connsiteX10238" fmla="*/ 78685 w 4878487"/>
                <a:gd name="connsiteY10238" fmla="*/ 2150468 h 3690338"/>
                <a:gd name="connsiteX10239" fmla="*/ 79079 w 4878487"/>
                <a:gd name="connsiteY10239" fmla="*/ 2151649 h 3690338"/>
                <a:gd name="connsiteX10240" fmla="*/ 79472 w 4878487"/>
                <a:gd name="connsiteY10240" fmla="*/ 2150862 h 3690338"/>
                <a:gd name="connsiteX10241" fmla="*/ 79866 w 4878487"/>
                <a:gd name="connsiteY10241" fmla="*/ 2151255 h 3690338"/>
                <a:gd name="connsiteX10242" fmla="*/ 79472 w 4878487"/>
                <a:gd name="connsiteY10242" fmla="*/ 2152829 h 3690338"/>
                <a:gd name="connsiteX10243" fmla="*/ 79079 w 4878487"/>
                <a:gd name="connsiteY10243" fmla="*/ 2155976 h 3690338"/>
                <a:gd name="connsiteX10244" fmla="*/ 77899 w 4878487"/>
                <a:gd name="connsiteY10244" fmla="*/ 2158730 h 3690338"/>
                <a:gd name="connsiteX10245" fmla="*/ 81046 w 4878487"/>
                <a:gd name="connsiteY10245" fmla="*/ 2158730 h 3690338"/>
                <a:gd name="connsiteX10246" fmla="*/ 81833 w 4878487"/>
                <a:gd name="connsiteY10246" fmla="*/ 2157943 h 3690338"/>
                <a:gd name="connsiteX10247" fmla="*/ 81046 w 4878487"/>
                <a:gd name="connsiteY10247" fmla="*/ 2161091 h 3690338"/>
                <a:gd name="connsiteX10248" fmla="*/ 83800 w 4878487"/>
                <a:gd name="connsiteY10248" fmla="*/ 2163845 h 3690338"/>
                <a:gd name="connsiteX10249" fmla="*/ 83800 w 4878487"/>
                <a:gd name="connsiteY10249" fmla="*/ 2166599 h 3690338"/>
                <a:gd name="connsiteX10250" fmla="*/ 86554 w 4878487"/>
                <a:gd name="connsiteY10250" fmla="*/ 2166992 h 3690338"/>
                <a:gd name="connsiteX10251" fmla="*/ 89308 w 4878487"/>
                <a:gd name="connsiteY10251" fmla="*/ 2169746 h 3690338"/>
                <a:gd name="connsiteX10252" fmla="*/ 92062 w 4878487"/>
                <a:gd name="connsiteY10252" fmla="*/ 2170533 h 3690338"/>
                <a:gd name="connsiteX10253" fmla="*/ 92849 w 4878487"/>
                <a:gd name="connsiteY10253" fmla="*/ 2173287 h 3690338"/>
                <a:gd name="connsiteX10254" fmla="*/ 94816 w 4878487"/>
                <a:gd name="connsiteY10254" fmla="*/ 2170140 h 3690338"/>
                <a:gd name="connsiteX10255" fmla="*/ 96783 w 4878487"/>
                <a:gd name="connsiteY10255" fmla="*/ 2169353 h 3690338"/>
                <a:gd name="connsiteX10256" fmla="*/ 96389 w 4878487"/>
                <a:gd name="connsiteY10256" fmla="*/ 2174861 h 3690338"/>
                <a:gd name="connsiteX10257" fmla="*/ 96783 w 4878487"/>
                <a:gd name="connsiteY10257" fmla="*/ 2174861 h 3690338"/>
                <a:gd name="connsiteX10258" fmla="*/ 99930 w 4878487"/>
                <a:gd name="connsiteY10258" fmla="*/ 2177221 h 3690338"/>
                <a:gd name="connsiteX10259" fmla="*/ 102684 w 4878487"/>
                <a:gd name="connsiteY10259" fmla="*/ 2179975 h 3690338"/>
                <a:gd name="connsiteX10260" fmla="*/ 105438 w 4878487"/>
                <a:gd name="connsiteY10260" fmla="*/ 2178402 h 3690338"/>
                <a:gd name="connsiteX10261" fmla="*/ 106225 w 4878487"/>
                <a:gd name="connsiteY10261" fmla="*/ 2176435 h 3690338"/>
                <a:gd name="connsiteX10262" fmla="*/ 106618 w 4878487"/>
                <a:gd name="connsiteY10262" fmla="*/ 2176828 h 3690338"/>
                <a:gd name="connsiteX10263" fmla="*/ 105438 w 4878487"/>
                <a:gd name="connsiteY10263" fmla="*/ 2179975 h 3690338"/>
                <a:gd name="connsiteX10264" fmla="*/ 104258 w 4878487"/>
                <a:gd name="connsiteY10264" fmla="*/ 2182729 h 3690338"/>
                <a:gd name="connsiteX10265" fmla="*/ 107012 w 4878487"/>
                <a:gd name="connsiteY10265" fmla="*/ 2182729 h 3690338"/>
                <a:gd name="connsiteX10266" fmla="*/ 107406 w 4878487"/>
                <a:gd name="connsiteY10266" fmla="*/ 2179975 h 3690338"/>
                <a:gd name="connsiteX10267" fmla="*/ 109373 w 4878487"/>
                <a:gd name="connsiteY10267" fmla="*/ 2183910 h 3690338"/>
                <a:gd name="connsiteX10268" fmla="*/ 108586 w 4878487"/>
                <a:gd name="connsiteY10268" fmla="*/ 2185877 h 3690338"/>
                <a:gd name="connsiteX10269" fmla="*/ 107406 w 4878487"/>
                <a:gd name="connsiteY10269" fmla="*/ 2189024 h 3690338"/>
                <a:gd name="connsiteX10270" fmla="*/ 110159 w 4878487"/>
                <a:gd name="connsiteY10270" fmla="*/ 2191385 h 3690338"/>
                <a:gd name="connsiteX10271" fmla="*/ 112127 w 4878487"/>
                <a:gd name="connsiteY10271" fmla="*/ 2189811 h 3690338"/>
                <a:gd name="connsiteX10272" fmla="*/ 111340 w 4878487"/>
                <a:gd name="connsiteY10272" fmla="*/ 2192565 h 3690338"/>
                <a:gd name="connsiteX10273" fmla="*/ 113700 w 4878487"/>
                <a:gd name="connsiteY10273" fmla="*/ 2194139 h 3690338"/>
                <a:gd name="connsiteX10274" fmla="*/ 114094 w 4878487"/>
                <a:gd name="connsiteY10274" fmla="*/ 2195319 h 3690338"/>
                <a:gd name="connsiteX10275" fmla="*/ 114094 w 4878487"/>
                <a:gd name="connsiteY10275" fmla="*/ 2197286 h 3690338"/>
                <a:gd name="connsiteX10276" fmla="*/ 114881 w 4878487"/>
                <a:gd name="connsiteY10276" fmla="*/ 2197286 h 3690338"/>
                <a:gd name="connsiteX10277" fmla="*/ 118028 w 4878487"/>
                <a:gd name="connsiteY10277" fmla="*/ 2205942 h 3690338"/>
                <a:gd name="connsiteX10278" fmla="*/ 118028 w 4878487"/>
                <a:gd name="connsiteY10278" fmla="*/ 2207515 h 3690338"/>
                <a:gd name="connsiteX10279" fmla="*/ 119602 w 4878487"/>
                <a:gd name="connsiteY10279" fmla="*/ 2218138 h 3690338"/>
                <a:gd name="connsiteX10280" fmla="*/ 119602 w 4878487"/>
                <a:gd name="connsiteY10280" fmla="*/ 2220105 h 3690338"/>
                <a:gd name="connsiteX10281" fmla="*/ 119995 w 4878487"/>
                <a:gd name="connsiteY10281" fmla="*/ 2220498 h 3690338"/>
                <a:gd name="connsiteX10282" fmla="*/ 121176 w 4878487"/>
                <a:gd name="connsiteY10282" fmla="*/ 2223252 h 3690338"/>
                <a:gd name="connsiteX10283" fmla="*/ 121962 w 4878487"/>
                <a:gd name="connsiteY10283" fmla="*/ 2221285 h 3690338"/>
                <a:gd name="connsiteX10284" fmla="*/ 125503 w 4878487"/>
                <a:gd name="connsiteY10284" fmla="*/ 2222859 h 3690338"/>
                <a:gd name="connsiteX10285" fmla="*/ 131011 w 4878487"/>
                <a:gd name="connsiteY10285" fmla="*/ 2223252 h 3690338"/>
                <a:gd name="connsiteX10286" fmla="*/ 128257 w 4878487"/>
                <a:gd name="connsiteY10286" fmla="*/ 2223646 h 3690338"/>
                <a:gd name="connsiteX10287" fmla="*/ 125503 w 4878487"/>
                <a:gd name="connsiteY10287" fmla="*/ 2226006 h 3690338"/>
                <a:gd name="connsiteX10288" fmla="*/ 123929 w 4878487"/>
                <a:gd name="connsiteY10288" fmla="*/ 2227973 h 3690338"/>
                <a:gd name="connsiteX10289" fmla="*/ 126290 w 4878487"/>
                <a:gd name="connsiteY10289" fmla="*/ 2229940 h 3690338"/>
                <a:gd name="connsiteX10290" fmla="*/ 123536 w 4878487"/>
                <a:gd name="connsiteY10290" fmla="*/ 2228367 h 3690338"/>
                <a:gd name="connsiteX10291" fmla="*/ 120388 w 4878487"/>
                <a:gd name="connsiteY10291" fmla="*/ 2226006 h 3690338"/>
                <a:gd name="connsiteX10292" fmla="*/ 119602 w 4878487"/>
                <a:gd name="connsiteY10292" fmla="*/ 2229154 h 3690338"/>
                <a:gd name="connsiteX10293" fmla="*/ 121962 w 4878487"/>
                <a:gd name="connsiteY10293" fmla="*/ 2231908 h 3690338"/>
                <a:gd name="connsiteX10294" fmla="*/ 122749 w 4878487"/>
                <a:gd name="connsiteY10294" fmla="*/ 2235055 h 3690338"/>
                <a:gd name="connsiteX10295" fmla="*/ 125503 w 4878487"/>
                <a:gd name="connsiteY10295" fmla="*/ 2234662 h 3690338"/>
                <a:gd name="connsiteX10296" fmla="*/ 128257 w 4878487"/>
                <a:gd name="connsiteY10296" fmla="*/ 2234268 h 3690338"/>
                <a:gd name="connsiteX10297" fmla="*/ 128651 w 4878487"/>
                <a:gd name="connsiteY10297" fmla="*/ 2246071 h 3690338"/>
                <a:gd name="connsiteX10298" fmla="*/ 131405 w 4878487"/>
                <a:gd name="connsiteY10298" fmla="*/ 2249218 h 3690338"/>
                <a:gd name="connsiteX10299" fmla="*/ 134158 w 4878487"/>
                <a:gd name="connsiteY10299" fmla="*/ 2249218 h 3690338"/>
                <a:gd name="connsiteX10300" fmla="*/ 134945 w 4878487"/>
                <a:gd name="connsiteY10300" fmla="*/ 2251972 h 3690338"/>
                <a:gd name="connsiteX10301" fmla="*/ 137699 w 4878487"/>
                <a:gd name="connsiteY10301" fmla="*/ 2253546 h 3690338"/>
                <a:gd name="connsiteX10302" fmla="*/ 140847 w 4878487"/>
                <a:gd name="connsiteY10302" fmla="*/ 2253153 h 3690338"/>
                <a:gd name="connsiteX10303" fmla="*/ 141240 w 4878487"/>
                <a:gd name="connsiteY10303" fmla="*/ 2252366 h 3690338"/>
                <a:gd name="connsiteX10304" fmla="*/ 142027 w 4878487"/>
                <a:gd name="connsiteY10304" fmla="*/ 2252759 h 3690338"/>
                <a:gd name="connsiteX10305" fmla="*/ 141634 w 4878487"/>
                <a:gd name="connsiteY10305" fmla="*/ 2255513 h 3690338"/>
                <a:gd name="connsiteX10306" fmla="*/ 144388 w 4878487"/>
                <a:gd name="connsiteY10306" fmla="*/ 2257874 h 3690338"/>
                <a:gd name="connsiteX10307" fmla="*/ 147142 w 4878487"/>
                <a:gd name="connsiteY10307" fmla="*/ 2257480 h 3690338"/>
                <a:gd name="connsiteX10308" fmla="*/ 149895 w 4878487"/>
                <a:gd name="connsiteY10308" fmla="*/ 2256300 h 3690338"/>
                <a:gd name="connsiteX10309" fmla="*/ 151469 w 4878487"/>
                <a:gd name="connsiteY10309" fmla="*/ 2256300 h 3690338"/>
                <a:gd name="connsiteX10310" fmla="*/ 148715 w 4878487"/>
                <a:gd name="connsiteY10310" fmla="*/ 2258267 h 3690338"/>
                <a:gd name="connsiteX10311" fmla="*/ 145961 w 4878487"/>
                <a:gd name="connsiteY10311" fmla="*/ 2258661 h 3690338"/>
                <a:gd name="connsiteX10312" fmla="*/ 142814 w 4878487"/>
                <a:gd name="connsiteY10312" fmla="*/ 2260234 h 3690338"/>
                <a:gd name="connsiteX10313" fmla="*/ 145961 w 4878487"/>
                <a:gd name="connsiteY10313" fmla="*/ 2262988 h 3690338"/>
                <a:gd name="connsiteX10314" fmla="*/ 146355 w 4878487"/>
                <a:gd name="connsiteY10314" fmla="*/ 2263382 h 3690338"/>
                <a:gd name="connsiteX10315" fmla="*/ 143207 w 4878487"/>
                <a:gd name="connsiteY10315" fmla="*/ 2262988 h 3690338"/>
                <a:gd name="connsiteX10316" fmla="*/ 146355 w 4878487"/>
                <a:gd name="connsiteY10316" fmla="*/ 2265349 h 3690338"/>
                <a:gd name="connsiteX10317" fmla="*/ 149109 w 4878487"/>
                <a:gd name="connsiteY10317" fmla="*/ 2266923 h 3690338"/>
                <a:gd name="connsiteX10318" fmla="*/ 151863 w 4878487"/>
                <a:gd name="connsiteY10318" fmla="*/ 2268496 h 3690338"/>
                <a:gd name="connsiteX10319" fmla="*/ 154617 w 4878487"/>
                <a:gd name="connsiteY10319" fmla="*/ 2269677 h 3690338"/>
                <a:gd name="connsiteX10320" fmla="*/ 157764 w 4878487"/>
                <a:gd name="connsiteY10320" fmla="*/ 2270857 h 3690338"/>
                <a:gd name="connsiteX10321" fmla="*/ 158158 w 4878487"/>
                <a:gd name="connsiteY10321" fmla="*/ 2270857 h 3690338"/>
                <a:gd name="connsiteX10322" fmla="*/ 166420 w 4878487"/>
                <a:gd name="connsiteY10322" fmla="*/ 2275578 h 3690338"/>
                <a:gd name="connsiteX10323" fmla="*/ 169173 w 4878487"/>
                <a:gd name="connsiteY10323" fmla="*/ 2277545 h 3690338"/>
                <a:gd name="connsiteX10324" fmla="*/ 169567 w 4878487"/>
                <a:gd name="connsiteY10324" fmla="*/ 2277152 h 3690338"/>
                <a:gd name="connsiteX10325" fmla="*/ 169173 w 4878487"/>
                <a:gd name="connsiteY10325" fmla="*/ 2277939 h 3690338"/>
                <a:gd name="connsiteX10326" fmla="*/ 171928 w 4878487"/>
                <a:gd name="connsiteY10326" fmla="*/ 2279512 h 3690338"/>
                <a:gd name="connsiteX10327" fmla="*/ 173895 w 4878487"/>
                <a:gd name="connsiteY10327" fmla="*/ 2281873 h 3690338"/>
                <a:gd name="connsiteX10328" fmla="*/ 175468 w 4878487"/>
                <a:gd name="connsiteY10328" fmla="*/ 2284627 h 3690338"/>
                <a:gd name="connsiteX10329" fmla="*/ 176649 w 4878487"/>
                <a:gd name="connsiteY10329" fmla="*/ 2287774 h 3690338"/>
                <a:gd name="connsiteX10330" fmla="*/ 179402 w 4878487"/>
                <a:gd name="connsiteY10330" fmla="*/ 2288954 h 3690338"/>
                <a:gd name="connsiteX10331" fmla="*/ 182550 w 4878487"/>
                <a:gd name="connsiteY10331" fmla="*/ 2290528 h 3690338"/>
                <a:gd name="connsiteX10332" fmla="*/ 184124 w 4878487"/>
                <a:gd name="connsiteY10332" fmla="*/ 2291315 h 3690338"/>
                <a:gd name="connsiteX10333" fmla="*/ 192386 w 4878487"/>
                <a:gd name="connsiteY10333" fmla="*/ 2297610 h 3690338"/>
                <a:gd name="connsiteX10334" fmla="*/ 192779 w 4878487"/>
                <a:gd name="connsiteY10334" fmla="*/ 2298003 h 3690338"/>
                <a:gd name="connsiteX10335" fmla="*/ 193959 w 4878487"/>
                <a:gd name="connsiteY10335" fmla="*/ 2297610 h 3690338"/>
                <a:gd name="connsiteX10336" fmla="*/ 193172 w 4878487"/>
                <a:gd name="connsiteY10336" fmla="*/ 2298003 h 3690338"/>
                <a:gd name="connsiteX10337" fmla="*/ 192779 w 4878487"/>
                <a:gd name="connsiteY10337" fmla="*/ 2298397 h 3690338"/>
                <a:gd name="connsiteX10338" fmla="*/ 192779 w 4878487"/>
                <a:gd name="connsiteY10338" fmla="*/ 2301151 h 3690338"/>
                <a:gd name="connsiteX10339" fmla="*/ 195533 w 4878487"/>
                <a:gd name="connsiteY10339" fmla="*/ 2303118 h 3690338"/>
                <a:gd name="connsiteX10340" fmla="*/ 197107 w 4878487"/>
                <a:gd name="connsiteY10340" fmla="*/ 2303511 h 3690338"/>
                <a:gd name="connsiteX10341" fmla="*/ 199861 w 4878487"/>
                <a:gd name="connsiteY10341" fmla="*/ 2304691 h 3690338"/>
                <a:gd name="connsiteX10342" fmla="*/ 203008 w 4878487"/>
                <a:gd name="connsiteY10342" fmla="*/ 2305478 h 3690338"/>
                <a:gd name="connsiteX10343" fmla="*/ 205369 w 4878487"/>
                <a:gd name="connsiteY10343" fmla="*/ 2305872 h 3690338"/>
                <a:gd name="connsiteX10344" fmla="*/ 208123 w 4878487"/>
                <a:gd name="connsiteY10344" fmla="*/ 2308626 h 3690338"/>
                <a:gd name="connsiteX10345" fmla="*/ 210483 w 4878487"/>
                <a:gd name="connsiteY10345" fmla="*/ 2311380 h 3690338"/>
                <a:gd name="connsiteX10346" fmla="*/ 213237 w 4878487"/>
                <a:gd name="connsiteY10346" fmla="*/ 2313347 h 3690338"/>
                <a:gd name="connsiteX10347" fmla="*/ 213631 w 4878487"/>
                <a:gd name="connsiteY10347" fmla="*/ 2313740 h 3690338"/>
                <a:gd name="connsiteX10348" fmla="*/ 215205 w 4878487"/>
                <a:gd name="connsiteY10348" fmla="*/ 2316494 h 3690338"/>
                <a:gd name="connsiteX10349" fmla="*/ 215598 w 4878487"/>
                <a:gd name="connsiteY10349" fmla="*/ 2316888 h 3690338"/>
                <a:gd name="connsiteX10350" fmla="*/ 223466 w 4878487"/>
                <a:gd name="connsiteY10350" fmla="*/ 2325543 h 3690338"/>
                <a:gd name="connsiteX10351" fmla="*/ 227794 w 4878487"/>
                <a:gd name="connsiteY10351" fmla="*/ 2329477 h 3690338"/>
                <a:gd name="connsiteX10352" fmla="*/ 232515 w 4878487"/>
                <a:gd name="connsiteY10352" fmla="*/ 2335379 h 3690338"/>
                <a:gd name="connsiteX10353" fmla="*/ 235269 w 4878487"/>
                <a:gd name="connsiteY10353" fmla="*/ 2338133 h 3690338"/>
                <a:gd name="connsiteX10354" fmla="*/ 238416 w 4878487"/>
                <a:gd name="connsiteY10354" fmla="*/ 2340887 h 3690338"/>
                <a:gd name="connsiteX10355" fmla="*/ 241171 w 4878487"/>
                <a:gd name="connsiteY10355" fmla="*/ 2343247 h 3690338"/>
                <a:gd name="connsiteX10356" fmla="*/ 243924 w 4878487"/>
                <a:gd name="connsiteY10356" fmla="*/ 2345214 h 3690338"/>
                <a:gd name="connsiteX10357" fmla="*/ 247072 w 4878487"/>
                <a:gd name="connsiteY10357" fmla="*/ 2346788 h 3690338"/>
                <a:gd name="connsiteX10358" fmla="*/ 248252 w 4878487"/>
                <a:gd name="connsiteY10358" fmla="*/ 2347575 h 3690338"/>
                <a:gd name="connsiteX10359" fmla="*/ 253760 w 4878487"/>
                <a:gd name="connsiteY10359" fmla="*/ 2351509 h 3690338"/>
                <a:gd name="connsiteX10360" fmla="*/ 259661 w 4878487"/>
                <a:gd name="connsiteY10360" fmla="*/ 2354263 h 3690338"/>
                <a:gd name="connsiteX10361" fmla="*/ 262416 w 4878487"/>
                <a:gd name="connsiteY10361" fmla="*/ 2356624 h 3690338"/>
                <a:gd name="connsiteX10362" fmla="*/ 265170 w 4878487"/>
                <a:gd name="connsiteY10362" fmla="*/ 2357411 h 3690338"/>
                <a:gd name="connsiteX10363" fmla="*/ 267923 w 4878487"/>
                <a:gd name="connsiteY10363" fmla="*/ 2360165 h 3690338"/>
                <a:gd name="connsiteX10364" fmla="*/ 271071 w 4878487"/>
                <a:gd name="connsiteY10364" fmla="*/ 2360558 h 3690338"/>
                <a:gd name="connsiteX10365" fmla="*/ 273825 w 4878487"/>
                <a:gd name="connsiteY10365" fmla="*/ 2361738 h 3690338"/>
                <a:gd name="connsiteX10366" fmla="*/ 276579 w 4878487"/>
                <a:gd name="connsiteY10366" fmla="*/ 2362919 h 3690338"/>
                <a:gd name="connsiteX10367" fmla="*/ 279333 w 4878487"/>
                <a:gd name="connsiteY10367" fmla="*/ 2364099 h 3690338"/>
                <a:gd name="connsiteX10368" fmla="*/ 282087 w 4878487"/>
                <a:gd name="connsiteY10368" fmla="*/ 2366459 h 3690338"/>
                <a:gd name="connsiteX10369" fmla="*/ 282874 w 4878487"/>
                <a:gd name="connsiteY10369" fmla="*/ 2366853 h 3690338"/>
                <a:gd name="connsiteX10370" fmla="*/ 285628 w 4878487"/>
                <a:gd name="connsiteY10370" fmla="*/ 2367246 h 3690338"/>
                <a:gd name="connsiteX10371" fmla="*/ 288775 w 4878487"/>
                <a:gd name="connsiteY10371" fmla="*/ 2366853 h 3690338"/>
                <a:gd name="connsiteX10372" fmla="*/ 291529 w 4878487"/>
                <a:gd name="connsiteY10372" fmla="*/ 2367246 h 3690338"/>
                <a:gd name="connsiteX10373" fmla="*/ 294283 w 4878487"/>
                <a:gd name="connsiteY10373" fmla="*/ 2364886 h 3690338"/>
                <a:gd name="connsiteX10374" fmla="*/ 297037 w 4878487"/>
                <a:gd name="connsiteY10374" fmla="*/ 2362919 h 3690338"/>
                <a:gd name="connsiteX10375" fmla="*/ 298611 w 4878487"/>
                <a:gd name="connsiteY10375" fmla="*/ 2361738 h 3690338"/>
                <a:gd name="connsiteX10376" fmla="*/ 301758 w 4878487"/>
                <a:gd name="connsiteY10376" fmla="*/ 2361345 h 3690338"/>
                <a:gd name="connsiteX10377" fmla="*/ 304512 w 4878487"/>
                <a:gd name="connsiteY10377" fmla="*/ 2359771 h 3690338"/>
                <a:gd name="connsiteX10378" fmla="*/ 305299 w 4878487"/>
                <a:gd name="connsiteY10378" fmla="*/ 2358984 h 3690338"/>
                <a:gd name="connsiteX10379" fmla="*/ 312774 w 4878487"/>
                <a:gd name="connsiteY10379" fmla="*/ 2355837 h 3690338"/>
                <a:gd name="connsiteX10380" fmla="*/ 313167 w 4878487"/>
                <a:gd name="connsiteY10380" fmla="*/ 2355837 h 3690338"/>
                <a:gd name="connsiteX10381" fmla="*/ 315922 w 4878487"/>
                <a:gd name="connsiteY10381" fmla="*/ 2354657 h 3690338"/>
                <a:gd name="connsiteX10382" fmla="*/ 321036 w 4878487"/>
                <a:gd name="connsiteY10382" fmla="*/ 2352296 h 3690338"/>
                <a:gd name="connsiteX10383" fmla="*/ 321823 w 4878487"/>
                <a:gd name="connsiteY10383" fmla="*/ 2351903 h 3690338"/>
                <a:gd name="connsiteX10384" fmla="*/ 322610 w 4878487"/>
                <a:gd name="connsiteY10384" fmla="*/ 2351509 h 3690338"/>
                <a:gd name="connsiteX10385" fmla="*/ 326937 w 4878487"/>
                <a:gd name="connsiteY10385" fmla="*/ 2349542 h 3690338"/>
                <a:gd name="connsiteX10386" fmla="*/ 329692 w 4878487"/>
                <a:gd name="connsiteY10386" fmla="*/ 2348362 h 3690338"/>
                <a:gd name="connsiteX10387" fmla="*/ 332052 w 4878487"/>
                <a:gd name="connsiteY10387" fmla="*/ 2346788 h 3690338"/>
                <a:gd name="connsiteX10388" fmla="*/ 332445 w 4878487"/>
                <a:gd name="connsiteY10388" fmla="*/ 2346788 h 3690338"/>
                <a:gd name="connsiteX10389" fmla="*/ 338347 w 4878487"/>
                <a:gd name="connsiteY10389" fmla="*/ 2344034 h 3690338"/>
                <a:gd name="connsiteX10390" fmla="*/ 351330 w 4878487"/>
                <a:gd name="connsiteY10390" fmla="*/ 2341674 h 3690338"/>
                <a:gd name="connsiteX10391" fmla="*/ 360772 w 4878487"/>
                <a:gd name="connsiteY10391" fmla="*/ 2340887 h 3690338"/>
                <a:gd name="connsiteX10392" fmla="*/ 363133 w 4878487"/>
                <a:gd name="connsiteY10392" fmla="*/ 2340887 h 3690338"/>
                <a:gd name="connsiteX10393" fmla="*/ 363919 w 4878487"/>
                <a:gd name="connsiteY10393" fmla="*/ 2340493 h 3690338"/>
                <a:gd name="connsiteX10394" fmla="*/ 361166 w 4878487"/>
                <a:gd name="connsiteY10394" fmla="*/ 2339313 h 3690338"/>
                <a:gd name="connsiteX10395" fmla="*/ 358411 w 4878487"/>
                <a:gd name="connsiteY10395" fmla="*/ 2337739 h 3690338"/>
                <a:gd name="connsiteX10396" fmla="*/ 356444 w 4878487"/>
                <a:gd name="connsiteY10396" fmla="*/ 2338526 h 3690338"/>
                <a:gd name="connsiteX10397" fmla="*/ 355264 w 4878487"/>
                <a:gd name="connsiteY10397" fmla="*/ 2338133 h 3690338"/>
                <a:gd name="connsiteX10398" fmla="*/ 356444 w 4878487"/>
                <a:gd name="connsiteY10398" fmla="*/ 2337346 h 3690338"/>
                <a:gd name="connsiteX10399" fmla="*/ 358411 w 4878487"/>
                <a:gd name="connsiteY10399" fmla="*/ 2337739 h 3690338"/>
                <a:gd name="connsiteX10400" fmla="*/ 359199 w 4878487"/>
                <a:gd name="connsiteY10400" fmla="*/ 2337739 h 3690338"/>
                <a:gd name="connsiteX10401" fmla="*/ 361952 w 4878487"/>
                <a:gd name="connsiteY10401" fmla="*/ 2337739 h 3690338"/>
                <a:gd name="connsiteX10402" fmla="*/ 364313 w 4878487"/>
                <a:gd name="connsiteY10402" fmla="*/ 2337346 h 3690338"/>
                <a:gd name="connsiteX10403" fmla="*/ 364313 w 4878487"/>
                <a:gd name="connsiteY10403" fmla="*/ 2337739 h 3690338"/>
                <a:gd name="connsiteX10404" fmla="*/ 364313 w 4878487"/>
                <a:gd name="connsiteY10404" fmla="*/ 2339707 h 3690338"/>
                <a:gd name="connsiteX10405" fmla="*/ 367067 w 4878487"/>
                <a:gd name="connsiteY10405" fmla="*/ 2340493 h 3690338"/>
                <a:gd name="connsiteX10406" fmla="*/ 369821 w 4878487"/>
                <a:gd name="connsiteY10406" fmla="*/ 2340100 h 3690338"/>
                <a:gd name="connsiteX10407" fmla="*/ 370608 w 4878487"/>
                <a:gd name="connsiteY10407" fmla="*/ 2340100 h 3690338"/>
                <a:gd name="connsiteX10408" fmla="*/ 373362 w 4878487"/>
                <a:gd name="connsiteY10408" fmla="*/ 2339707 h 3690338"/>
                <a:gd name="connsiteX10409" fmla="*/ 374148 w 4878487"/>
                <a:gd name="connsiteY10409" fmla="*/ 2339313 h 3690338"/>
                <a:gd name="connsiteX10410" fmla="*/ 377296 w 4878487"/>
                <a:gd name="connsiteY10410" fmla="*/ 2338526 h 3690338"/>
                <a:gd name="connsiteX10411" fmla="*/ 379263 w 4878487"/>
                <a:gd name="connsiteY10411" fmla="*/ 2338526 h 3690338"/>
                <a:gd name="connsiteX10412" fmla="*/ 382017 w 4878487"/>
                <a:gd name="connsiteY10412" fmla="*/ 2338526 h 3690338"/>
                <a:gd name="connsiteX10413" fmla="*/ 384771 w 4878487"/>
                <a:gd name="connsiteY10413" fmla="*/ 2338133 h 3690338"/>
                <a:gd name="connsiteX10414" fmla="*/ 387918 w 4878487"/>
                <a:gd name="connsiteY10414" fmla="*/ 2338133 h 3690338"/>
                <a:gd name="connsiteX10415" fmla="*/ 390673 w 4878487"/>
                <a:gd name="connsiteY10415" fmla="*/ 2337739 h 3690338"/>
                <a:gd name="connsiteX10416" fmla="*/ 393820 w 4878487"/>
                <a:gd name="connsiteY10416" fmla="*/ 2337346 h 3690338"/>
                <a:gd name="connsiteX10417" fmla="*/ 391853 w 4878487"/>
                <a:gd name="connsiteY10417" fmla="*/ 2335772 h 3690338"/>
                <a:gd name="connsiteX10418" fmla="*/ 389099 w 4878487"/>
                <a:gd name="connsiteY10418" fmla="*/ 2336166 h 3690338"/>
                <a:gd name="connsiteX10419" fmla="*/ 385951 w 4878487"/>
                <a:gd name="connsiteY10419" fmla="*/ 2336952 h 3690338"/>
                <a:gd name="connsiteX10420" fmla="*/ 383197 w 4878487"/>
                <a:gd name="connsiteY10420" fmla="*/ 2337346 h 3690338"/>
                <a:gd name="connsiteX10421" fmla="*/ 380050 w 4878487"/>
                <a:gd name="connsiteY10421" fmla="*/ 2338133 h 3690338"/>
                <a:gd name="connsiteX10422" fmla="*/ 377296 w 4878487"/>
                <a:gd name="connsiteY10422" fmla="*/ 2338133 h 3690338"/>
                <a:gd name="connsiteX10423" fmla="*/ 374542 w 4878487"/>
                <a:gd name="connsiteY10423" fmla="*/ 2338526 h 3690338"/>
                <a:gd name="connsiteX10424" fmla="*/ 372968 w 4878487"/>
                <a:gd name="connsiteY10424" fmla="*/ 2339707 h 3690338"/>
                <a:gd name="connsiteX10425" fmla="*/ 370608 w 4878487"/>
                <a:gd name="connsiteY10425" fmla="*/ 2340100 h 3690338"/>
                <a:gd name="connsiteX10426" fmla="*/ 370214 w 4878487"/>
                <a:gd name="connsiteY10426" fmla="*/ 2338526 h 3690338"/>
                <a:gd name="connsiteX10427" fmla="*/ 375722 w 4878487"/>
                <a:gd name="connsiteY10427" fmla="*/ 2337739 h 3690338"/>
                <a:gd name="connsiteX10428" fmla="*/ 376116 w 4878487"/>
                <a:gd name="connsiteY10428" fmla="*/ 2337739 h 3690338"/>
                <a:gd name="connsiteX10429" fmla="*/ 378870 w 4878487"/>
                <a:gd name="connsiteY10429" fmla="*/ 2337346 h 3690338"/>
                <a:gd name="connsiteX10430" fmla="*/ 380050 w 4878487"/>
                <a:gd name="connsiteY10430" fmla="*/ 2336952 h 3690338"/>
                <a:gd name="connsiteX10431" fmla="*/ 384378 w 4878487"/>
                <a:gd name="connsiteY10431" fmla="*/ 2336166 h 3690338"/>
                <a:gd name="connsiteX10432" fmla="*/ 387132 w 4878487"/>
                <a:gd name="connsiteY10432" fmla="*/ 2336559 h 3690338"/>
                <a:gd name="connsiteX10433" fmla="*/ 387918 w 4878487"/>
                <a:gd name="connsiteY10433" fmla="*/ 2336559 h 3690338"/>
                <a:gd name="connsiteX10434" fmla="*/ 395394 w 4878487"/>
                <a:gd name="connsiteY10434" fmla="*/ 2336559 h 3690338"/>
                <a:gd name="connsiteX10435" fmla="*/ 395000 w 4878487"/>
                <a:gd name="connsiteY10435" fmla="*/ 2335379 h 3690338"/>
                <a:gd name="connsiteX10436" fmla="*/ 401295 w 4878487"/>
                <a:gd name="connsiteY10436" fmla="*/ 2338133 h 3690338"/>
                <a:gd name="connsiteX10437" fmla="*/ 398148 w 4878487"/>
                <a:gd name="connsiteY10437" fmla="*/ 2336952 h 3690338"/>
                <a:gd name="connsiteX10438" fmla="*/ 395787 w 4878487"/>
                <a:gd name="connsiteY10438" fmla="*/ 2337346 h 3690338"/>
                <a:gd name="connsiteX10439" fmla="*/ 398541 w 4878487"/>
                <a:gd name="connsiteY10439" fmla="*/ 2339313 h 3690338"/>
                <a:gd name="connsiteX10440" fmla="*/ 401295 w 4878487"/>
                <a:gd name="connsiteY10440" fmla="*/ 2339707 h 3690338"/>
                <a:gd name="connsiteX10441" fmla="*/ 402082 w 4878487"/>
                <a:gd name="connsiteY10441" fmla="*/ 2338526 h 3690338"/>
                <a:gd name="connsiteX10442" fmla="*/ 402082 w 4878487"/>
                <a:gd name="connsiteY10442" fmla="*/ 2338133 h 3690338"/>
                <a:gd name="connsiteX10443" fmla="*/ 402475 w 4878487"/>
                <a:gd name="connsiteY10443" fmla="*/ 2338526 h 3690338"/>
                <a:gd name="connsiteX10444" fmla="*/ 402869 w 4878487"/>
                <a:gd name="connsiteY10444" fmla="*/ 2338920 h 3690338"/>
                <a:gd name="connsiteX10445" fmla="*/ 405623 w 4878487"/>
                <a:gd name="connsiteY10445" fmla="*/ 2340100 h 3690338"/>
                <a:gd name="connsiteX10446" fmla="*/ 407590 w 4878487"/>
                <a:gd name="connsiteY10446" fmla="*/ 2340493 h 3690338"/>
                <a:gd name="connsiteX10447" fmla="*/ 410737 w 4878487"/>
                <a:gd name="connsiteY10447" fmla="*/ 2340887 h 3690338"/>
                <a:gd name="connsiteX10448" fmla="*/ 413491 w 4878487"/>
                <a:gd name="connsiteY10448" fmla="*/ 2341674 h 3690338"/>
                <a:gd name="connsiteX10449" fmla="*/ 417032 w 4878487"/>
                <a:gd name="connsiteY10449" fmla="*/ 2336166 h 3690338"/>
                <a:gd name="connsiteX10450" fmla="*/ 418606 w 4878487"/>
                <a:gd name="connsiteY10450" fmla="*/ 2334198 h 3690338"/>
                <a:gd name="connsiteX10451" fmla="*/ 418999 w 4878487"/>
                <a:gd name="connsiteY10451" fmla="*/ 2338133 h 3690338"/>
                <a:gd name="connsiteX10452" fmla="*/ 418999 w 4878487"/>
                <a:gd name="connsiteY10452" fmla="*/ 2339707 h 3690338"/>
                <a:gd name="connsiteX10453" fmla="*/ 419393 w 4878487"/>
                <a:gd name="connsiteY10453" fmla="*/ 2340100 h 3690338"/>
                <a:gd name="connsiteX10454" fmla="*/ 426081 w 4878487"/>
                <a:gd name="connsiteY10454" fmla="*/ 2342461 h 3690338"/>
                <a:gd name="connsiteX10455" fmla="*/ 423721 w 4878487"/>
                <a:gd name="connsiteY10455" fmla="*/ 2341674 h 3690338"/>
                <a:gd name="connsiteX10456" fmla="*/ 420966 w 4878487"/>
                <a:gd name="connsiteY10456" fmla="*/ 2342067 h 3690338"/>
                <a:gd name="connsiteX10457" fmla="*/ 417819 w 4878487"/>
                <a:gd name="connsiteY10457" fmla="*/ 2340887 h 3690338"/>
                <a:gd name="connsiteX10458" fmla="*/ 420573 w 4878487"/>
                <a:gd name="connsiteY10458" fmla="*/ 2342854 h 3690338"/>
                <a:gd name="connsiteX10459" fmla="*/ 420966 w 4878487"/>
                <a:gd name="connsiteY10459" fmla="*/ 2342854 h 3690338"/>
                <a:gd name="connsiteX10460" fmla="*/ 423721 w 4878487"/>
                <a:gd name="connsiteY10460" fmla="*/ 2344034 h 3690338"/>
                <a:gd name="connsiteX10461" fmla="*/ 426474 w 4878487"/>
                <a:gd name="connsiteY10461" fmla="*/ 2344821 h 3690338"/>
                <a:gd name="connsiteX10462" fmla="*/ 428048 w 4878487"/>
                <a:gd name="connsiteY10462" fmla="*/ 2345214 h 3690338"/>
                <a:gd name="connsiteX10463" fmla="*/ 445359 w 4878487"/>
                <a:gd name="connsiteY10463" fmla="*/ 2349935 h 3690338"/>
                <a:gd name="connsiteX10464" fmla="*/ 448506 w 4878487"/>
                <a:gd name="connsiteY10464" fmla="*/ 2352296 h 3690338"/>
                <a:gd name="connsiteX10465" fmla="*/ 451260 w 4878487"/>
                <a:gd name="connsiteY10465" fmla="*/ 2355444 h 3690338"/>
                <a:gd name="connsiteX10466" fmla="*/ 454408 w 4878487"/>
                <a:gd name="connsiteY10466" fmla="*/ 2354657 h 3690338"/>
                <a:gd name="connsiteX10467" fmla="*/ 457162 w 4878487"/>
                <a:gd name="connsiteY10467" fmla="*/ 2351903 h 3690338"/>
                <a:gd name="connsiteX10468" fmla="*/ 460309 w 4878487"/>
                <a:gd name="connsiteY10468" fmla="*/ 2350329 h 3690338"/>
                <a:gd name="connsiteX10469" fmla="*/ 463063 w 4878487"/>
                <a:gd name="connsiteY10469" fmla="*/ 2347575 h 3690338"/>
                <a:gd name="connsiteX10470" fmla="*/ 465030 w 4878487"/>
                <a:gd name="connsiteY10470" fmla="*/ 2345214 h 3690338"/>
                <a:gd name="connsiteX10471" fmla="*/ 466604 w 4878487"/>
                <a:gd name="connsiteY10471" fmla="*/ 2344821 h 3690338"/>
                <a:gd name="connsiteX10472" fmla="*/ 469751 w 4878487"/>
                <a:gd name="connsiteY10472" fmla="*/ 2344034 h 3690338"/>
                <a:gd name="connsiteX10473" fmla="*/ 472505 w 4878487"/>
                <a:gd name="connsiteY10473" fmla="*/ 2343247 h 3690338"/>
                <a:gd name="connsiteX10474" fmla="*/ 475259 w 4878487"/>
                <a:gd name="connsiteY10474" fmla="*/ 2342854 h 3690338"/>
                <a:gd name="connsiteX10475" fmla="*/ 478013 w 4878487"/>
                <a:gd name="connsiteY10475" fmla="*/ 2341674 h 3690338"/>
                <a:gd name="connsiteX10476" fmla="*/ 478406 w 4878487"/>
                <a:gd name="connsiteY10476" fmla="*/ 2341280 h 3690338"/>
                <a:gd name="connsiteX10477" fmla="*/ 485488 w 4878487"/>
                <a:gd name="connsiteY10477" fmla="*/ 2338920 h 3690338"/>
                <a:gd name="connsiteX10478" fmla="*/ 486669 w 4878487"/>
                <a:gd name="connsiteY10478" fmla="*/ 2338920 h 3690338"/>
                <a:gd name="connsiteX10479" fmla="*/ 489423 w 4878487"/>
                <a:gd name="connsiteY10479" fmla="*/ 2338526 h 3690338"/>
                <a:gd name="connsiteX10480" fmla="*/ 490996 w 4878487"/>
                <a:gd name="connsiteY10480" fmla="*/ 2336952 h 3690338"/>
                <a:gd name="connsiteX10481" fmla="*/ 495717 w 4878487"/>
                <a:gd name="connsiteY10481" fmla="*/ 2333805 h 3690338"/>
                <a:gd name="connsiteX10482" fmla="*/ 496898 w 4878487"/>
                <a:gd name="connsiteY10482" fmla="*/ 2333412 h 3690338"/>
                <a:gd name="connsiteX10483" fmla="*/ 500045 w 4878487"/>
                <a:gd name="connsiteY10483" fmla="*/ 2331838 h 3690338"/>
                <a:gd name="connsiteX10484" fmla="*/ 502012 w 4878487"/>
                <a:gd name="connsiteY10484" fmla="*/ 2329084 h 3690338"/>
                <a:gd name="connsiteX10485" fmla="*/ 503193 w 4878487"/>
                <a:gd name="connsiteY10485" fmla="*/ 2328297 h 3690338"/>
                <a:gd name="connsiteX10486" fmla="*/ 505946 w 4878487"/>
                <a:gd name="connsiteY10486" fmla="*/ 2327510 h 3690338"/>
                <a:gd name="connsiteX10487" fmla="*/ 509094 w 4878487"/>
                <a:gd name="connsiteY10487" fmla="*/ 2326330 h 3690338"/>
                <a:gd name="connsiteX10488" fmla="*/ 511848 w 4878487"/>
                <a:gd name="connsiteY10488" fmla="*/ 2325150 h 3690338"/>
                <a:gd name="connsiteX10489" fmla="*/ 513815 w 4878487"/>
                <a:gd name="connsiteY10489" fmla="*/ 2323969 h 3690338"/>
                <a:gd name="connsiteX10490" fmla="*/ 526405 w 4878487"/>
                <a:gd name="connsiteY10490" fmla="*/ 2318855 h 3690338"/>
                <a:gd name="connsiteX10491" fmla="*/ 527979 w 4878487"/>
                <a:gd name="connsiteY10491" fmla="*/ 2318855 h 3690338"/>
                <a:gd name="connsiteX10492" fmla="*/ 530732 w 4878487"/>
                <a:gd name="connsiteY10492" fmla="*/ 2318855 h 3690338"/>
                <a:gd name="connsiteX10493" fmla="*/ 532700 w 4878487"/>
                <a:gd name="connsiteY10493" fmla="*/ 2316101 h 3690338"/>
                <a:gd name="connsiteX10494" fmla="*/ 531913 w 4878487"/>
                <a:gd name="connsiteY10494" fmla="*/ 2313347 h 3690338"/>
                <a:gd name="connsiteX10495" fmla="*/ 528765 w 4878487"/>
                <a:gd name="connsiteY10495" fmla="*/ 2310593 h 3690338"/>
                <a:gd name="connsiteX10496" fmla="*/ 526405 w 4878487"/>
                <a:gd name="connsiteY10496" fmla="*/ 2309019 h 3690338"/>
                <a:gd name="connsiteX10497" fmla="*/ 528372 w 4878487"/>
                <a:gd name="connsiteY10497" fmla="*/ 2309413 h 3690338"/>
                <a:gd name="connsiteX10498" fmla="*/ 531126 w 4878487"/>
                <a:gd name="connsiteY10498" fmla="*/ 2311773 h 3690338"/>
                <a:gd name="connsiteX10499" fmla="*/ 531519 w 4878487"/>
                <a:gd name="connsiteY10499" fmla="*/ 2312560 h 3690338"/>
                <a:gd name="connsiteX10500" fmla="*/ 532700 w 4878487"/>
                <a:gd name="connsiteY10500" fmla="*/ 2316888 h 3690338"/>
                <a:gd name="connsiteX10501" fmla="*/ 533880 w 4878487"/>
                <a:gd name="connsiteY10501" fmla="*/ 2319248 h 3690338"/>
                <a:gd name="connsiteX10502" fmla="*/ 537027 w 4878487"/>
                <a:gd name="connsiteY10502" fmla="*/ 2319642 h 3690338"/>
                <a:gd name="connsiteX10503" fmla="*/ 538994 w 4878487"/>
                <a:gd name="connsiteY10503" fmla="*/ 2319248 h 3690338"/>
                <a:gd name="connsiteX10504" fmla="*/ 541749 w 4878487"/>
                <a:gd name="connsiteY10504" fmla="*/ 2318855 h 3690338"/>
                <a:gd name="connsiteX10505" fmla="*/ 543322 w 4878487"/>
                <a:gd name="connsiteY10505" fmla="*/ 2315707 h 3690338"/>
                <a:gd name="connsiteX10506" fmla="*/ 543716 w 4878487"/>
                <a:gd name="connsiteY10506" fmla="*/ 2314134 h 3690338"/>
                <a:gd name="connsiteX10507" fmla="*/ 549223 w 4878487"/>
                <a:gd name="connsiteY10507" fmla="*/ 2308232 h 3690338"/>
                <a:gd name="connsiteX10508" fmla="*/ 555518 w 4878487"/>
                <a:gd name="connsiteY10508" fmla="*/ 2306265 h 3690338"/>
                <a:gd name="connsiteX10509" fmla="*/ 558666 w 4878487"/>
                <a:gd name="connsiteY10509" fmla="*/ 2305478 h 3690338"/>
                <a:gd name="connsiteX10510" fmla="*/ 561420 w 4878487"/>
                <a:gd name="connsiteY10510" fmla="*/ 2305085 h 3690338"/>
                <a:gd name="connsiteX10511" fmla="*/ 562207 w 4878487"/>
                <a:gd name="connsiteY10511" fmla="*/ 2304298 h 3690338"/>
                <a:gd name="connsiteX10512" fmla="*/ 565354 w 4878487"/>
                <a:gd name="connsiteY10512" fmla="*/ 2303905 h 3690338"/>
                <a:gd name="connsiteX10513" fmla="*/ 566927 w 4878487"/>
                <a:gd name="connsiteY10513" fmla="*/ 2303511 h 3690338"/>
                <a:gd name="connsiteX10514" fmla="*/ 571649 w 4878487"/>
                <a:gd name="connsiteY10514" fmla="*/ 2302331 h 3690338"/>
                <a:gd name="connsiteX10515" fmla="*/ 573223 w 4878487"/>
                <a:gd name="connsiteY10515" fmla="*/ 2302331 h 3690338"/>
                <a:gd name="connsiteX10516" fmla="*/ 587386 w 4878487"/>
                <a:gd name="connsiteY10516" fmla="*/ 2300364 h 3690338"/>
                <a:gd name="connsiteX10517" fmla="*/ 588173 w 4878487"/>
                <a:gd name="connsiteY10517" fmla="*/ 2300364 h 3690338"/>
                <a:gd name="connsiteX10518" fmla="*/ 591320 w 4878487"/>
                <a:gd name="connsiteY10518" fmla="*/ 2299970 h 3690338"/>
                <a:gd name="connsiteX10519" fmla="*/ 592107 w 4878487"/>
                <a:gd name="connsiteY10519" fmla="*/ 2299970 h 3690338"/>
                <a:gd name="connsiteX10520" fmla="*/ 595254 w 4878487"/>
                <a:gd name="connsiteY10520" fmla="*/ 2299577 h 3690338"/>
                <a:gd name="connsiteX10521" fmla="*/ 599189 w 4878487"/>
                <a:gd name="connsiteY10521" fmla="*/ 2298790 h 3690338"/>
                <a:gd name="connsiteX10522" fmla="*/ 601156 w 4878487"/>
                <a:gd name="connsiteY10522" fmla="*/ 2298397 h 3690338"/>
                <a:gd name="connsiteX10523" fmla="*/ 603910 w 4878487"/>
                <a:gd name="connsiteY10523" fmla="*/ 2298397 h 3690338"/>
                <a:gd name="connsiteX10524" fmla="*/ 606664 w 4878487"/>
                <a:gd name="connsiteY10524" fmla="*/ 2298790 h 3690338"/>
                <a:gd name="connsiteX10525" fmla="*/ 609418 w 4878487"/>
                <a:gd name="connsiteY10525" fmla="*/ 2298397 h 3690338"/>
                <a:gd name="connsiteX10526" fmla="*/ 612565 w 4878487"/>
                <a:gd name="connsiteY10526" fmla="*/ 2298397 h 3690338"/>
                <a:gd name="connsiteX10527" fmla="*/ 615319 w 4878487"/>
                <a:gd name="connsiteY10527" fmla="*/ 2298003 h 3690338"/>
                <a:gd name="connsiteX10528" fmla="*/ 614926 w 4878487"/>
                <a:gd name="connsiteY10528" fmla="*/ 2295643 h 3690338"/>
                <a:gd name="connsiteX10529" fmla="*/ 615319 w 4878487"/>
                <a:gd name="connsiteY10529" fmla="*/ 2295249 h 3690338"/>
                <a:gd name="connsiteX10530" fmla="*/ 615319 w 4878487"/>
                <a:gd name="connsiteY10530" fmla="*/ 2294856 h 3690338"/>
                <a:gd name="connsiteX10531" fmla="*/ 619253 w 4878487"/>
                <a:gd name="connsiteY10531" fmla="*/ 2293282 h 3690338"/>
                <a:gd name="connsiteX10532" fmla="*/ 619647 w 4878487"/>
                <a:gd name="connsiteY10532" fmla="*/ 2293282 h 3690338"/>
                <a:gd name="connsiteX10533" fmla="*/ 620827 w 4878487"/>
                <a:gd name="connsiteY10533" fmla="*/ 2292889 h 3690338"/>
                <a:gd name="connsiteX10534" fmla="*/ 615712 w 4878487"/>
                <a:gd name="connsiteY10534" fmla="*/ 2295643 h 3690338"/>
                <a:gd name="connsiteX10535" fmla="*/ 615712 w 4878487"/>
                <a:gd name="connsiteY10535" fmla="*/ 2296036 h 3690338"/>
                <a:gd name="connsiteX10536" fmla="*/ 618467 w 4878487"/>
                <a:gd name="connsiteY10536" fmla="*/ 2297217 h 3690338"/>
                <a:gd name="connsiteX10537" fmla="*/ 621220 w 4878487"/>
                <a:gd name="connsiteY10537" fmla="*/ 2296823 h 3690338"/>
                <a:gd name="connsiteX10538" fmla="*/ 623974 w 4878487"/>
                <a:gd name="connsiteY10538" fmla="*/ 2296823 h 3690338"/>
                <a:gd name="connsiteX10539" fmla="*/ 624368 w 4878487"/>
                <a:gd name="connsiteY10539" fmla="*/ 2296823 h 3690338"/>
                <a:gd name="connsiteX10540" fmla="*/ 643252 w 4878487"/>
                <a:gd name="connsiteY10540" fmla="*/ 2298397 h 3690338"/>
                <a:gd name="connsiteX10541" fmla="*/ 647580 w 4878487"/>
                <a:gd name="connsiteY10541" fmla="*/ 2299970 h 3690338"/>
                <a:gd name="connsiteX10542" fmla="*/ 663711 w 4878487"/>
                <a:gd name="connsiteY10542" fmla="*/ 2316101 h 3690338"/>
                <a:gd name="connsiteX10543" fmla="*/ 664104 w 4878487"/>
                <a:gd name="connsiteY10543" fmla="*/ 2316494 h 3690338"/>
                <a:gd name="connsiteX10544" fmla="*/ 665678 w 4878487"/>
                <a:gd name="connsiteY10544" fmla="*/ 2319248 h 3690338"/>
                <a:gd name="connsiteX10545" fmla="*/ 668432 w 4878487"/>
                <a:gd name="connsiteY10545" fmla="*/ 2316888 h 3690338"/>
                <a:gd name="connsiteX10546" fmla="*/ 668825 w 4878487"/>
                <a:gd name="connsiteY10546" fmla="*/ 2316494 h 3690338"/>
                <a:gd name="connsiteX10547" fmla="*/ 671579 w 4878487"/>
                <a:gd name="connsiteY10547" fmla="*/ 2314527 h 3690338"/>
                <a:gd name="connsiteX10548" fmla="*/ 671973 w 4878487"/>
                <a:gd name="connsiteY10548" fmla="*/ 2314527 h 3690338"/>
                <a:gd name="connsiteX10549" fmla="*/ 671579 w 4878487"/>
                <a:gd name="connsiteY10549" fmla="*/ 2315314 h 3690338"/>
                <a:gd name="connsiteX10550" fmla="*/ 668825 w 4878487"/>
                <a:gd name="connsiteY10550" fmla="*/ 2316888 h 3690338"/>
                <a:gd name="connsiteX10551" fmla="*/ 666071 w 4878487"/>
                <a:gd name="connsiteY10551" fmla="*/ 2319248 h 3690338"/>
                <a:gd name="connsiteX10552" fmla="*/ 666465 w 4878487"/>
                <a:gd name="connsiteY10552" fmla="*/ 2322002 h 3690338"/>
                <a:gd name="connsiteX10553" fmla="*/ 669218 w 4878487"/>
                <a:gd name="connsiteY10553" fmla="*/ 2324756 h 3690338"/>
                <a:gd name="connsiteX10554" fmla="*/ 671973 w 4878487"/>
                <a:gd name="connsiteY10554" fmla="*/ 2323183 h 3690338"/>
                <a:gd name="connsiteX10555" fmla="*/ 673153 w 4878487"/>
                <a:gd name="connsiteY10555" fmla="*/ 2320429 h 3690338"/>
                <a:gd name="connsiteX10556" fmla="*/ 673546 w 4878487"/>
                <a:gd name="connsiteY10556" fmla="*/ 2321215 h 3690338"/>
                <a:gd name="connsiteX10557" fmla="*/ 673153 w 4878487"/>
                <a:gd name="connsiteY10557" fmla="*/ 2323969 h 3690338"/>
                <a:gd name="connsiteX10558" fmla="*/ 675907 w 4878487"/>
                <a:gd name="connsiteY10558" fmla="*/ 2322789 h 3690338"/>
                <a:gd name="connsiteX10559" fmla="*/ 678661 w 4878487"/>
                <a:gd name="connsiteY10559" fmla="*/ 2324756 h 3690338"/>
                <a:gd name="connsiteX10560" fmla="*/ 675514 w 4878487"/>
                <a:gd name="connsiteY10560" fmla="*/ 2325150 h 3690338"/>
                <a:gd name="connsiteX10561" fmla="*/ 675514 w 4878487"/>
                <a:gd name="connsiteY10561" fmla="*/ 2325150 h 3690338"/>
                <a:gd name="connsiteX10562" fmla="*/ 672759 w 4878487"/>
                <a:gd name="connsiteY10562" fmla="*/ 2325543 h 3690338"/>
                <a:gd name="connsiteX10563" fmla="*/ 671973 w 4878487"/>
                <a:gd name="connsiteY10563" fmla="*/ 2325150 h 3690338"/>
                <a:gd name="connsiteX10564" fmla="*/ 669218 w 4878487"/>
                <a:gd name="connsiteY10564" fmla="*/ 2327510 h 3690338"/>
                <a:gd name="connsiteX10565" fmla="*/ 671973 w 4878487"/>
                <a:gd name="connsiteY10565" fmla="*/ 2330658 h 3690338"/>
                <a:gd name="connsiteX10566" fmla="*/ 675120 w 4878487"/>
                <a:gd name="connsiteY10566" fmla="*/ 2331838 h 3690338"/>
                <a:gd name="connsiteX10567" fmla="*/ 676300 w 4878487"/>
                <a:gd name="connsiteY10567" fmla="*/ 2330264 h 3690338"/>
                <a:gd name="connsiteX10568" fmla="*/ 676694 w 4878487"/>
                <a:gd name="connsiteY10568" fmla="*/ 2329871 h 3690338"/>
                <a:gd name="connsiteX10569" fmla="*/ 682202 w 4878487"/>
                <a:gd name="connsiteY10569" fmla="*/ 2327117 h 3690338"/>
                <a:gd name="connsiteX10570" fmla="*/ 679841 w 4878487"/>
                <a:gd name="connsiteY10570" fmla="*/ 2329871 h 3690338"/>
                <a:gd name="connsiteX10571" fmla="*/ 681415 w 4878487"/>
                <a:gd name="connsiteY10571" fmla="*/ 2331838 h 3690338"/>
                <a:gd name="connsiteX10572" fmla="*/ 678661 w 4878487"/>
                <a:gd name="connsiteY10572" fmla="*/ 2333018 h 3690338"/>
                <a:gd name="connsiteX10573" fmla="*/ 678267 w 4878487"/>
                <a:gd name="connsiteY10573" fmla="*/ 2333412 h 3690338"/>
                <a:gd name="connsiteX10574" fmla="*/ 675514 w 4878487"/>
                <a:gd name="connsiteY10574" fmla="*/ 2332625 h 3690338"/>
                <a:gd name="connsiteX10575" fmla="*/ 674726 w 4878487"/>
                <a:gd name="connsiteY10575" fmla="*/ 2335379 h 3690338"/>
                <a:gd name="connsiteX10576" fmla="*/ 675120 w 4878487"/>
                <a:gd name="connsiteY10576" fmla="*/ 2338526 h 3690338"/>
                <a:gd name="connsiteX10577" fmla="*/ 677874 w 4878487"/>
                <a:gd name="connsiteY10577" fmla="*/ 2338133 h 3690338"/>
                <a:gd name="connsiteX10578" fmla="*/ 679054 w 4878487"/>
                <a:gd name="connsiteY10578" fmla="*/ 2339707 h 3690338"/>
                <a:gd name="connsiteX10579" fmla="*/ 678267 w 4878487"/>
                <a:gd name="connsiteY10579" fmla="*/ 2341280 h 3690338"/>
                <a:gd name="connsiteX10580" fmla="*/ 677481 w 4878487"/>
                <a:gd name="connsiteY10580" fmla="*/ 2344034 h 3690338"/>
                <a:gd name="connsiteX10581" fmla="*/ 678267 w 4878487"/>
                <a:gd name="connsiteY10581" fmla="*/ 2346788 h 3690338"/>
                <a:gd name="connsiteX10582" fmla="*/ 679841 w 4878487"/>
                <a:gd name="connsiteY10582" fmla="*/ 2349935 h 3690338"/>
                <a:gd name="connsiteX10583" fmla="*/ 680234 w 4878487"/>
                <a:gd name="connsiteY10583" fmla="*/ 2350329 h 3690338"/>
                <a:gd name="connsiteX10584" fmla="*/ 681808 w 4878487"/>
                <a:gd name="connsiteY10584" fmla="*/ 2354263 h 3690338"/>
                <a:gd name="connsiteX10585" fmla="*/ 682988 w 4878487"/>
                <a:gd name="connsiteY10585" fmla="*/ 2357017 h 3690338"/>
                <a:gd name="connsiteX10586" fmla="*/ 685743 w 4878487"/>
                <a:gd name="connsiteY10586" fmla="*/ 2359771 h 3690338"/>
                <a:gd name="connsiteX10587" fmla="*/ 688103 w 4878487"/>
                <a:gd name="connsiteY10587" fmla="*/ 2361738 h 3690338"/>
                <a:gd name="connsiteX10588" fmla="*/ 688890 w 4878487"/>
                <a:gd name="connsiteY10588" fmla="*/ 2362525 h 3690338"/>
                <a:gd name="connsiteX10589" fmla="*/ 691644 w 4878487"/>
                <a:gd name="connsiteY10589" fmla="*/ 2365279 h 3690338"/>
                <a:gd name="connsiteX10590" fmla="*/ 694398 w 4878487"/>
                <a:gd name="connsiteY10590" fmla="*/ 2364886 h 3690338"/>
                <a:gd name="connsiteX10591" fmla="*/ 695185 w 4878487"/>
                <a:gd name="connsiteY10591" fmla="*/ 2365279 h 3690338"/>
                <a:gd name="connsiteX10592" fmla="*/ 696758 w 4878487"/>
                <a:gd name="connsiteY10592" fmla="*/ 2368033 h 3690338"/>
                <a:gd name="connsiteX10593" fmla="*/ 696758 w 4878487"/>
                <a:gd name="connsiteY10593" fmla="*/ 2365279 h 3690338"/>
                <a:gd name="connsiteX10594" fmla="*/ 697152 w 4878487"/>
                <a:gd name="connsiteY10594" fmla="*/ 2364099 h 3690338"/>
                <a:gd name="connsiteX10595" fmla="*/ 697939 w 4878487"/>
                <a:gd name="connsiteY10595" fmla="*/ 2366853 h 3690338"/>
                <a:gd name="connsiteX10596" fmla="*/ 698725 w 4878487"/>
                <a:gd name="connsiteY10596" fmla="*/ 2368820 h 3690338"/>
                <a:gd name="connsiteX10597" fmla="*/ 701873 w 4878487"/>
                <a:gd name="connsiteY10597" fmla="*/ 2368427 h 3690338"/>
                <a:gd name="connsiteX10598" fmla="*/ 702266 w 4878487"/>
                <a:gd name="connsiteY10598" fmla="*/ 2365673 h 3690338"/>
                <a:gd name="connsiteX10599" fmla="*/ 702660 w 4878487"/>
                <a:gd name="connsiteY10599" fmla="*/ 2362525 h 3690338"/>
                <a:gd name="connsiteX10600" fmla="*/ 702660 w 4878487"/>
                <a:gd name="connsiteY10600" fmla="*/ 2361345 h 3690338"/>
                <a:gd name="connsiteX10601" fmla="*/ 703447 w 4878487"/>
                <a:gd name="connsiteY10601" fmla="*/ 2364099 h 3690338"/>
                <a:gd name="connsiteX10602" fmla="*/ 703053 w 4878487"/>
                <a:gd name="connsiteY10602" fmla="*/ 2366853 h 3690338"/>
                <a:gd name="connsiteX10603" fmla="*/ 705807 w 4878487"/>
                <a:gd name="connsiteY10603" fmla="*/ 2367246 h 3690338"/>
                <a:gd name="connsiteX10604" fmla="*/ 708561 w 4878487"/>
                <a:gd name="connsiteY10604" fmla="*/ 2366459 h 3690338"/>
                <a:gd name="connsiteX10605" fmla="*/ 711709 w 4878487"/>
                <a:gd name="connsiteY10605" fmla="*/ 2366853 h 3690338"/>
                <a:gd name="connsiteX10606" fmla="*/ 712889 w 4878487"/>
                <a:gd name="connsiteY10606" fmla="*/ 2363705 h 3690338"/>
                <a:gd name="connsiteX10607" fmla="*/ 712495 w 4878487"/>
                <a:gd name="connsiteY10607" fmla="*/ 2361738 h 3690338"/>
                <a:gd name="connsiteX10608" fmla="*/ 713282 w 4878487"/>
                <a:gd name="connsiteY10608" fmla="*/ 2363312 h 3690338"/>
                <a:gd name="connsiteX10609" fmla="*/ 713676 w 4878487"/>
                <a:gd name="connsiteY10609" fmla="*/ 2366066 h 3690338"/>
                <a:gd name="connsiteX10610" fmla="*/ 715250 w 4878487"/>
                <a:gd name="connsiteY10610" fmla="*/ 2363312 h 3690338"/>
                <a:gd name="connsiteX10611" fmla="*/ 714856 w 4878487"/>
                <a:gd name="connsiteY10611" fmla="*/ 2360558 h 3690338"/>
                <a:gd name="connsiteX10612" fmla="*/ 715643 w 4878487"/>
                <a:gd name="connsiteY10612" fmla="*/ 2359771 h 3690338"/>
                <a:gd name="connsiteX10613" fmla="*/ 716036 w 4878487"/>
                <a:gd name="connsiteY10613" fmla="*/ 2362919 h 3690338"/>
                <a:gd name="connsiteX10614" fmla="*/ 716429 w 4878487"/>
                <a:gd name="connsiteY10614" fmla="*/ 2359771 h 3690338"/>
                <a:gd name="connsiteX10615" fmla="*/ 716823 w 4878487"/>
                <a:gd name="connsiteY10615" fmla="*/ 2359378 h 3690338"/>
                <a:gd name="connsiteX10616" fmla="*/ 717217 w 4878487"/>
                <a:gd name="connsiteY10616" fmla="*/ 2357411 h 3690338"/>
                <a:gd name="connsiteX10617" fmla="*/ 716823 w 4878487"/>
                <a:gd name="connsiteY10617" fmla="*/ 2360165 h 3690338"/>
                <a:gd name="connsiteX10618" fmla="*/ 716823 w 4878487"/>
                <a:gd name="connsiteY10618" fmla="*/ 2363312 h 3690338"/>
                <a:gd name="connsiteX10619" fmla="*/ 716429 w 4878487"/>
                <a:gd name="connsiteY10619" fmla="*/ 2366066 h 3690338"/>
                <a:gd name="connsiteX10620" fmla="*/ 718790 w 4878487"/>
                <a:gd name="connsiteY10620" fmla="*/ 2366459 h 3690338"/>
                <a:gd name="connsiteX10621" fmla="*/ 719577 w 4878487"/>
                <a:gd name="connsiteY10621" fmla="*/ 2363705 h 3690338"/>
                <a:gd name="connsiteX10622" fmla="*/ 718790 w 4878487"/>
                <a:gd name="connsiteY10622" fmla="*/ 2360951 h 3690338"/>
                <a:gd name="connsiteX10623" fmla="*/ 719577 w 4878487"/>
                <a:gd name="connsiteY10623" fmla="*/ 2357804 h 3690338"/>
                <a:gd name="connsiteX10624" fmla="*/ 718397 w 4878487"/>
                <a:gd name="connsiteY10624" fmla="*/ 2356230 h 3690338"/>
                <a:gd name="connsiteX10625" fmla="*/ 718397 w 4878487"/>
                <a:gd name="connsiteY10625" fmla="*/ 2354657 h 3690338"/>
                <a:gd name="connsiteX10626" fmla="*/ 719970 w 4878487"/>
                <a:gd name="connsiteY10626" fmla="*/ 2357017 h 3690338"/>
                <a:gd name="connsiteX10627" fmla="*/ 720364 w 4878487"/>
                <a:gd name="connsiteY10627" fmla="*/ 2357804 h 3690338"/>
                <a:gd name="connsiteX10628" fmla="*/ 719577 w 4878487"/>
                <a:gd name="connsiteY10628" fmla="*/ 2360558 h 3690338"/>
                <a:gd name="connsiteX10629" fmla="*/ 720758 w 4878487"/>
                <a:gd name="connsiteY10629" fmla="*/ 2363312 h 3690338"/>
                <a:gd name="connsiteX10630" fmla="*/ 723511 w 4878487"/>
                <a:gd name="connsiteY10630" fmla="*/ 2365279 h 3690338"/>
                <a:gd name="connsiteX10631" fmla="*/ 724298 w 4878487"/>
                <a:gd name="connsiteY10631" fmla="*/ 2362525 h 3690338"/>
                <a:gd name="connsiteX10632" fmla="*/ 723905 w 4878487"/>
                <a:gd name="connsiteY10632" fmla="*/ 2361738 h 3690338"/>
                <a:gd name="connsiteX10633" fmla="*/ 723905 w 4878487"/>
                <a:gd name="connsiteY10633" fmla="*/ 2358591 h 3690338"/>
                <a:gd name="connsiteX10634" fmla="*/ 721938 w 4878487"/>
                <a:gd name="connsiteY10634" fmla="*/ 2355837 h 3690338"/>
                <a:gd name="connsiteX10635" fmla="*/ 721544 w 4878487"/>
                <a:gd name="connsiteY10635" fmla="*/ 2354657 h 3690338"/>
                <a:gd name="connsiteX10636" fmla="*/ 725085 w 4878487"/>
                <a:gd name="connsiteY10636" fmla="*/ 2355444 h 3690338"/>
                <a:gd name="connsiteX10637" fmla="*/ 724692 w 4878487"/>
                <a:gd name="connsiteY10637" fmla="*/ 2358198 h 3690338"/>
                <a:gd name="connsiteX10638" fmla="*/ 725085 w 4878487"/>
                <a:gd name="connsiteY10638" fmla="*/ 2360951 h 3690338"/>
                <a:gd name="connsiteX10639" fmla="*/ 727839 w 4878487"/>
                <a:gd name="connsiteY10639" fmla="*/ 2362132 h 3690338"/>
                <a:gd name="connsiteX10640" fmla="*/ 729019 w 4878487"/>
                <a:gd name="connsiteY10640" fmla="*/ 2359378 h 3690338"/>
                <a:gd name="connsiteX10641" fmla="*/ 729019 w 4878487"/>
                <a:gd name="connsiteY10641" fmla="*/ 2357804 h 3690338"/>
                <a:gd name="connsiteX10642" fmla="*/ 731773 w 4878487"/>
                <a:gd name="connsiteY10642" fmla="*/ 2359378 h 3690338"/>
                <a:gd name="connsiteX10643" fmla="*/ 735314 w 4878487"/>
                <a:gd name="connsiteY10643" fmla="*/ 2358198 h 3690338"/>
                <a:gd name="connsiteX10644" fmla="*/ 738068 w 4878487"/>
                <a:gd name="connsiteY10644" fmla="*/ 2358984 h 3690338"/>
                <a:gd name="connsiteX10645" fmla="*/ 740035 w 4878487"/>
                <a:gd name="connsiteY10645" fmla="*/ 2357804 h 3690338"/>
                <a:gd name="connsiteX10646" fmla="*/ 741216 w 4878487"/>
                <a:gd name="connsiteY10646" fmla="*/ 2353870 h 3690338"/>
                <a:gd name="connsiteX10647" fmla="*/ 740822 w 4878487"/>
                <a:gd name="connsiteY10647" fmla="*/ 2356624 h 3690338"/>
                <a:gd name="connsiteX10648" fmla="*/ 741609 w 4878487"/>
                <a:gd name="connsiteY10648" fmla="*/ 2358198 h 3690338"/>
                <a:gd name="connsiteX10649" fmla="*/ 744363 w 4878487"/>
                <a:gd name="connsiteY10649" fmla="*/ 2360165 h 3690338"/>
                <a:gd name="connsiteX10650" fmla="*/ 747510 w 4878487"/>
                <a:gd name="connsiteY10650" fmla="*/ 2360951 h 3690338"/>
                <a:gd name="connsiteX10651" fmla="*/ 747510 w 4878487"/>
                <a:gd name="connsiteY10651" fmla="*/ 2360165 h 3690338"/>
                <a:gd name="connsiteX10652" fmla="*/ 750658 w 4878487"/>
                <a:gd name="connsiteY10652" fmla="*/ 2359771 h 3690338"/>
                <a:gd name="connsiteX10653" fmla="*/ 753412 w 4878487"/>
                <a:gd name="connsiteY10653" fmla="*/ 2359378 h 3690338"/>
                <a:gd name="connsiteX10654" fmla="*/ 756559 w 4878487"/>
                <a:gd name="connsiteY10654" fmla="*/ 2358984 h 3690338"/>
                <a:gd name="connsiteX10655" fmla="*/ 759313 w 4878487"/>
                <a:gd name="connsiteY10655" fmla="*/ 2358984 h 3690338"/>
                <a:gd name="connsiteX10656" fmla="*/ 762461 w 4878487"/>
                <a:gd name="connsiteY10656" fmla="*/ 2359378 h 3690338"/>
                <a:gd name="connsiteX10657" fmla="*/ 765214 w 4878487"/>
                <a:gd name="connsiteY10657" fmla="*/ 2356624 h 3690338"/>
                <a:gd name="connsiteX10658" fmla="*/ 764428 w 4878487"/>
                <a:gd name="connsiteY10658" fmla="*/ 2353870 h 3690338"/>
                <a:gd name="connsiteX10659" fmla="*/ 763247 w 4878487"/>
                <a:gd name="connsiteY10659" fmla="*/ 2350722 h 3690338"/>
                <a:gd name="connsiteX10660" fmla="*/ 762461 w 4878487"/>
                <a:gd name="connsiteY10660" fmla="*/ 2349542 h 3690338"/>
                <a:gd name="connsiteX10661" fmla="*/ 762854 w 4878487"/>
                <a:gd name="connsiteY10661" fmla="*/ 2349149 h 3690338"/>
                <a:gd name="connsiteX10662" fmla="*/ 761674 w 4878487"/>
                <a:gd name="connsiteY10662" fmla="*/ 2346001 h 3690338"/>
                <a:gd name="connsiteX10663" fmla="*/ 762461 w 4878487"/>
                <a:gd name="connsiteY10663" fmla="*/ 2346788 h 3690338"/>
                <a:gd name="connsiteX10664" fmla="*/ 764821 w 4878487"/>
                <a:gd name="connsiteY10664" fmla="*/ 2349542 h 3690338"/>
                <a:gd name="connsiteX10665" fmla="*/ 767182 w 4878487"/>
                <a:gd name="connsiteY10665" fmla="*/ 2348755 h 3690338"/>
                <a:gd name="connsiteX10666" fmla="*/ 766788 w 4878487"/>
                <a:gd name="connsiteY10666" fmla="*/ 2351903 h 3690338"/>
                <a:gd name="connsiteX10667" fmla="*/ 769542 w 4878487"/>
                <a:gd name="connsiteY10667" fmla="*/ 2353476 h 3690338"/>
                <a:gd name="connsiteX10668" fmla="*/ 771116 w 4878487"/>
                <a:gd name="connsiteY10668" fmla="*/ 2350722 h 3690338"/>
                <a:gd name="connsiteX10669" fmla="*/ 771509 w 4878487"/>
                <a:gd name="connsiteY10669" fmla="*/ 2350329 h 3690338"/>
                <a:gd name="connsiteX10670" fmla="*/ 769936 w 4878487"/>
                <a:gd name="connsiteY10670" fmla="*/ 2354263 h 3690338"/>
                <a:gd name="connsiteX10671" fmla="*/ 771116 w 4878487"/>
                <a:gd name="connsiteY10671" fmla="*/ 2352690 h 3690338"/>
                <a:gd name="connsiteX10672" fmla="*/ 772296 w 4878487"/>
                <a:gd name="connsiteY10672" fmla="*/ 2349542 h 3690338"/>
                <a:gd name="connsiteX10673" fmla="*/ 771509 w 4878487"/>
                <a:gd name="connsiteY10673" fmla="*/ 2352690 h 3690338"/>
                <a:gd name="connsiteX10674" fmla="*/ 769936 w 4878487"/>
                <a:gd name="connsiteY10674" fmla="*/ 2355444 h 3690338"/>
                <a:gd name="connsiteX10675" fmla="*/ 769542 w 4878487"/>
                <a:gd name="connsiteY10675" fmla="*/ 2358591 h 3690338"/>
                <a:gd name="connsiteX10676" fmla="*/ 772296 w 4878487"/>
                <a:gd name="connsiteY10676" fmla="*/ 2360165 h 3690338"/>
                <a:gd name="connsiteX10677" fmla="*/ 775050 w 4878487"/>
                <a:gd name="connsiteY10677" fmla="*/ 2360165 h 3690338"/>
                <a:gd name="connsiteX10678" fmla="*/ 775050 w 4878487"/>
                <a:gd name="connsiteY10678" fmla="*/ 2354657 h 3690338"/>
                <a:gd name="connsiteX10679" fmla="*/ 776231 w 4878487"/>
                <a:gd name="connsiteY10679" fmla="*/ 2357804 h 3690338"/>
                <a:gd name="connsiteX10680" fmla="*/ 778591 w 4878487"/>
                <a:gd name="connsiteY10680" fmla="*/ 2357017 h 3690338"/>
                <a:gd name="connsiteX10681" fmla="*/ 780165 w 4878487"/>
                <a:gd name="connsiteY10681" fmla="*/ 2355444 h 3690338"/>
                <a:gd name="connsiteX10682" fmla="*/ 781739 w 4878487"/>
                <a:gd name="connsiteY10682" fmla="*/ 2361345 h 3690338"/>
                <a:gd name="connsiteX10683" fmla="*/ 781739 w 4878487"/>
                <a:gd name="connsiteY10683" fmla="*/ 2364492 h 3690338"/>
                <a:gd name="connsiteX10684" fmla="*/ 782132 w 4878487"/>
                <a:gd name="connsiteY10684" fmla="*/ 2367246 h 3690338"/>
                <a:gd name="connsiteX10685" fmla="*/ 784099 w 4878487"/>
                <a:gd name="connsiteY10685" fmla="*/ 2370000 h 3690338"/>
                <a:gd name="connsiteX10686" fmla="*/ 783706 w 4878487"/>
                <a:gd name="connsiteY10686" fmla="*/ 2372754 h 3690338"/>
                <a:gd name="connsiteX10687" fmla="*/ 786460 w 4878487"/>
                <a:gd name="connsiteY10687" fmla="*/ 2375508 h 3690338"/>
                <a:gd name="connsiteX10688" fmla="*/ 789607 w 4878487"/>
                <a:gd name="connsiteY10688" fmla="*/ 2376688 h 3690338"/>
                <a:gd name="connsiteX10689" fmla="*/ 792361 w 4878487"/>
                <a:gd name="connsiteY10689" fmla="*/ 2378262 h 3690338"/>
                <a:gd name="connsiteX10690" fmla="*/ 793935 w 4878487"/>
                <a:gd name="connsiteY10690" fmla="*/ 2376295 h 3690338"/>
                <a:gd name="connsiteX10691" fmla="*/ 793541 w 4878487"/>
                <a:gd name="connsiteY10691" fmla="*/ 2377475 h 3690338"/>
                <a:gd name="connsiteX10692" fmla="*/ 793935 w 4878487"/>
                <a:gd name="connsiteY10692" fmla="*/ 2380229 h 3690338"/>
                <a:gd name="connsiteX10693" fmla="*/ 796689 w 4878487"/>
                <a:gd name="connsiteY10693" fmla="*/ 2381016 h 3690338"/>
                <a:gd name="connsiteX10694" fmla="*/ 797476 w 4878487"/>
                <a:gd name="connsiteY10694" fmla="*/ 2378262 h 3690338"/>
                <a:gd name="connsiteX10695" fmla="*/ 797082 w 4878487"/>
                <a:gd name="connsiteY10695" fmla="*/ 2376688 h 3690338"/>
                <a:gd name="connsiteX10696" fmla="*/ 797869 w 4878487"/>
                <a:gd name="connsiteY10696" fmla="*/ 2377475 h 3690338"/>
                <a:gd name="connsiteX10697" fmla="*/ 798262 w 4878487"/>
                <a:gd name="connsiteY10697" fmla="*/ 2376688 h 3690338"/>
                <a:gd name="connsiteX10698" fmla="*/ 797869 w 4878487"/>
                <a:gd name="connsiteY10698" fmla="*/ 2376295 h 3690338"/>
                <a:gd name="connsiteX10699" fmla="*/ 797082 w 4878487"/>
                <a:gd name="connsiteY10699" fmla="*/ 2375508 h 3690338"/>
                <a:gd name="connsiteX10700" fmla="*/ 796689 w 4878487"/>
                <a:gd name="connsiteY10700" fmla="*/ 2375115 h 3690338"/>
                <a:gd name="connsiteX10701" fmla="*/ 796689 w 4878487"/>
                <a:gd name="connsiteY10701" fmla="*/ 2374721 h 3690338"/>
                <a:gd name="connsiteX10702" fmla="*/ 798262 w 4878487"/>
                <a:gd name="connsiteY10702" fmla="*/ 2373935 h 3690338"/>
                <a:gd name="connsiteX10703" fmla="*/ 799836 w 4878487"/>
                <a:gd name="connsiteY10703" fmla="*/ 2376688 h 3690338"/>
                <a:gd name="connsiteX10704" fmla="*/ 802590 w 4878487"/>
                <a:gd name="connsiteY10704" fmla="*/ 2375115 h 3690338"/>
                <a:gd name="connsiteX10705" fmla="*/ 803377 w 4878487"/>
                <a:gd name="connsiteY10705" fmla="*/ 2374721 h 3690338"/>
                <a:gd name="connsiteX10706" fmla="*/ 803377 w 4878487"/>
                <a:gd name="connsiteY10706" fmla="*/ 2374328 h 3690338"/>
                <a:gd name="connsiteX10707" fmla="*/ 804164 w 4878487"/>
                <a:gd name="connsiteY10707" fmla="*/ 2373148 h 3690338"/>
                <a:gd name="connsiteX10708" fmla="*/ 804164 w 4878487"/>
                <a:gd name="connsiteY10708" fmla="*/ 2374721 h 3690338"/>
                <a:gd name="connsiteX10709" fmla="*/ 803770 w 4878487"/>
                <a:gd name="connsiteY10709" fmla="*/ 2375115 h 3690338"/>
                <a:gd name="connsiteX10710" fmla="*/ 802197 w 4878487"/>
                <a:gd name="connsiteY10710" fmla="*/ 2377869 h 3690338"/>
                <a:gd name="connsiteX10711" fmla="*/ 804164 w 4878487"/>
                <a:gd name="connsiteY10711" fmla="*/ 2378656 h 3690338"/>
                <a:gd name="connsiteX10712" fmla="*/ 804557 w 4878487"/>
                <a:gd name="connsiteY10712" fmla="*/ 2382196 h 3690338"/>
                <a:gd name="connsiteX10713" fmla="*/ 803770 w 4878487"/>
                <a:gd name="connsiteY10713" fmla="*/ 2382590 h 3690338"/>
                <a:gd name="connsiteX10714" fmla="*/ 801016 w 4878487"/>
                <a:gd name="connsiteY10714" fmla="*/ 2384557 h 3690338"/>
                <a:gd name="connsiteX10715" fmla="*/ 801803 w 4878487"/>
                <a:gd name="connsiteY10715" fmla="*/ 2387705 h 3690338"/>
                <a:gd name="connsiteX10716" fmla="*/ 801803 w 4878487"/>
                <a:gd name="connsiteY10716" fmla="*/ 2390458 h 3690338"/>
                <a:gd name="connsiteX10717" fmla="*/ 804950 w 4878487"/>
                <a:gd name="connsiteY10717" fmla="*/ 2390458 h 3690338"/>
                <a:gd name="connsiteX10718" fmla="*/ 807705 w 4878487"/>
                <a:gd name="connsiteY10718" fmla="*/ 2389278 h 3690338"/>
                <a:gd name="connsiteX10719" fmla="*/ 807705 w 4878487"/>
                <a:gd name="connsiteY10719" fmla="*/ 2389672 h 3690338"/>
                <a:gd name="connsiteX10720" fmla="*/ 804950 w 4878487"/>
                <a:gd name="connsiteY10720" fmla="*/ 2391245 h 3690338"/>
                <a:gd name="connsiteX10721" fmla="*/ 804557 w 4878487"/>
                <a:gd name="connsiteY10721" fmla="*/ 2393999 h 3690338"/>
                <a:gd name="connsiteX10722" fmla="*/ 807311 w 4878487"/>
                <a:gd name="connsiteY10722" fmla="*/ 2397147 h 3690338"/>
                <a:gd name="connsiteX10723" fmla="*/ 809279 w 4878487"/>
                <a:gd name="connsiteY10723" fmla="*/ 2399901 h 3690338"/>
                <a:gd name="connsiteX10724" fmla="*/ 811246 w 4878487"/>
                <a:gd name="connsiteY10724" fmla="*/ 2401868 h 3690338"/>
                <a:gd name="connsiteX10725" fmla="*/ 809672 w 4878487"/>
                <a:gd name="connsiteY10725" fmla="*/ 2415244 h 3690338"/>
                <a:gd name="connsiteX10726" fmla="*/ 809279 w 4878487"/>
                <a:gd name="connsiteY10726" fmla="*/ 2416818 h 3690338"/>
                <a:gd name="connsiteX10727" fmla="*/ 809279 w 4878487"/>
                <a:gd name="connsiteY10727" fmla="*/ 2417998 h 3690338"/>
                <a:gd name="connsiteX10728" fmla="*/ 808885 w 4878487"/>
                <a:gd name="connsiteY10728" fmla="*/ 2420752 h 3690338"/>
                <a:gd name="connsiteX10729" fmla="*/ 808491 w 4878487"/>
                <a:gd name="connsiteY10729" fmla="*/ 2422719 h 3690338"/>
                <a:gd name="connsiteX10730" fmla="*/ 808098 w 4878487"/>
                <a:gd name="connsiteY10730" fmla="*/ 2425473 h 3690338"/>
                <a:gd name="connsiteX10731" fmla="*/ 807705 w 4878487"/>
                <a:gd name="connsiteY10731" fmla="*/ 2428227 h 3690338"/>
                <a:gd name="connsiteX10732" fmla="*/ 807705 w 4878487"/>
                <a:gd name="connsiteY10732" fmla="*/ 2433342 h 3690338"/>
                <a:gd name="connsiteX10733" fmla="*/ 806918 w 4878487"/>
                <a:gd name="connsiteY10733" fmla="*/ 2436096 h 3690338"/>
                <a:gd name="connsiteX10734" fmla="*/ 806524 w 4878487"/>
                <a:gd name="connsiteY10734" fmla="*/ 2438456 h 3690338"/>
                <a:gd name="connsiteX10735" fmla="*/ 803377 w 4878487"/>
                <a:gd name="connsiteY10735" fmla="*/ 2454193 h 3690338"/>
                <a:gd name="connsiteX10736" fmla="*/ 801410 w 4878487"/>
                <a:gd name="connsiteY10736" fmla="*/ 2456554 h 3690338"/>
                <a:gd name="connsiteX10737" fmla="*/ 802197 w 4878487"/>
                <a:gd name="connsiteY10737" fmla="*/ 2458915 h 3690338"/>
                <a:gd name="connsiteX10738" fmla="*/ 801803 w 4878487"/>
                <a:gd name="connsiteY10738" fmla="*/ 2458915 h 3690338"/>
                <a:gd name="connsiteX10739" fmla="*/ 799836 w 4878487"/>
                <a:gd name="connsiteY10739" fmla="*/ 2462062 h 3690338"/>
                <a:gd name="connsiteX10740" fmla="*/ 797082 w 4878487"/>
                <a:gd name="connsiteY10740" fmla="*/ 2464816 h 3690338"/>
                <a:gd name="connsiteX10741" fmla="*/ 796689 w 4878487"/>
                <a:gd name="connsiteY10741" fmla="*/ 2467570 h 3690338"/>
                <a:gd name="connsiteX10742" fmla="*/ 794721 w 4878487"/>
                <a:gd name="connsiteY10742" fmla="*/ 2470324 h 3690338"/>
                <a:gd name="connsiteX10743" fmla="*/ 793935 w 4878487"/>
                <a:gd name="connsiteY10743" fmla="*/ 2473471 h 3690338"/>
                <a:gd name="connsiteX10744" fmla="*/ 796689 w 4878487"/>
                <a:gd name="connsiteY10744" fmla="*/ 2474652 h 3690338"/>
                <a:gd name="connsiteX10745" fmla="*/ 799443 w 4878487"/>
                <a:gd name="connsiteY10745" fmla="*/ 2475045 h 3690338"/>
                <a:gd name="connsiteX10746" fmla="*/ 802590 w 4878487"/>
                <a:gd name="connsiteY10746" fmla="*/ 2476619 h 3690338"/>
                <a:gd name="connsiteX10747" fmla="*/ 805344 w 4878487"/>
                <a:gd name="connsiteY10747" fmla="*/ 2475439 h 3690338"/>
                <a:gd name="connsiteX10748" fmla="*/ 806131 w 4878487"/>
                <a:gd name="connsiteY10748" fmla="*/ 2475832 h 3690338"/>
                <a:gd name="connsiteX10749" fmla="*/ 806918 w 4878487"/>
                <a:gd name="connsiteY10749" fmla="*/ 2478979 h 3690338"/>
                <a:gd name="connsiteX10750" fmla="*/ 803770 w 4878487"/>
                <a:gd name="connsiteY10750" fmla="*/ 2477406 h 3690338"/>
                <a:gd name="connsiteX10751" fmla="*/ 801016 w 4878487"/>
                <a:gd name="connsiteY10751" fmla="*/ 2478586 h 3690338"/>
                <a:gd name="connsiteX10752" fmla="*/ 799836 w 4878487"/>
                <a:gd name="connsiteY10752" fmla="*/ 2481340 h 3690338"/>
                <a:gd name="connsiteX10753" fmla="*/ 800623 w 4878487"/>
                <a:gd name="connsiteY10753" fmla="*/ 2484094 h 3690338"/>
                <a:gd name="connsiteX10754" fmla="*/ 801016 w 4878487"/>
                <a:gd name="connsiteY10754" fmla="*/ 2487241 h 3690338"/>
                <a:gd name="connsiteX10755" fmla="*/ 801410 w 4878487"/>
                <a:gd name="connsiteY10755" fmla="*/ 2492749 h 3690338"/>
                <a:gd name="connsiteX10756" fmla="*/ 800623 w 4878487"/>
                <a:gd name="connsiteY10756" fmla="*/ 2495503 h 3690338"/>
                <a:gd name="connsiteX10757" fmla="*/ 799836 w 4878487"/>
                <a:gd name="connsiteY10757" fmla="*/ 2492749 h 3690338"/>
                <a:gd name="connsiteX10758" fmla="*/ 797082 w 4878487"/>
                <a:gd name="connsiteY10758" fmla="*/ 2492356 h 3690338"/>
                <a:gd name="connsiteX10759" fmla="*/ 794328 w 4878487"/>
                <a:gd name="connsiteY10759" fmla="*/ 2491176 h 3690338"/>
                <a:gd name="connsiteX10760" fmla="*/ 791574 w 4878487"/>
                <a:gd name="connsiteY10760" fmla="*/ 2493930 h 3690338"/>
                <a:gd name="connsiteX10761" fmla="*/ 794328 w 4878487"/>
                <a:gd name="connsiteY10761" fmla="*/ 2496290 h 3690338"/>
                <a:gd name="connsiteX10762" fmla="*/ 795509 w 4878487"/>
                <a:gd name="connsiteY10762" fmla="*/ 2499044 h 3690338"/>
                <a:gd name="connsiteX10763" fmla="*/ 797082 w 4878487"/>
                <a:gd name="connsiteY10763" fmla="*/ 2501798 h 3690338"/>
                <a:gd name="connsiteX10764" fmla="*/ 799836 w 4878487"/>
                <a:gd name="connsiteY10764" fmla="*/ 2502978 h 3690338"/>
                <a:gd name="connsiteX10765" fmla="*/ 802983 w 4878487"/>
                <a:gd name="connsiteY10765" fmla="*/ 2504946 h 3690338"/>
                <a:gd name="connsiteX10766" fmla="*/ 805738 w 4878487"/>
                <a:gd name="connsiteY10766" fmla="*/ 2506126 h 3690338"/>
                <a:gd name="connsiteX10767" fmla="*/ 812426 w 4878487"/>
                <a:gd name="connsiteY10767" fmla="*/ 2506126 h 3690338"/>
                <a:gd name="connsiteX10768" fmla="*/ 812426 w 4878487"/>
                <a:gd name="connsiteY10768" fmla="*/ 2506519 h 3690338"/>
                <a:gd name="connsiteX10769" fmla="*/ 809279 w 4878487"/>
                <a:gd name="connsiteY10769" fmla="*/ 2506519 h 3690338"/>
                <a:gd name="connsiteX10770" fmla="*/ 795509 w 4878487"/>
                <a:gd name="connsiteY10770" fmla="*/ 2506519 h 3690338"/>
                <a:gd name="connsiteX10771" fmla="*/ 795115 w 4878487"/>
                <a:gd name="connsiteY10771" fmla="*/ 2506519 h 3690338"/>
                <a:gd name="connsiteX10772" fmla="*/ 793935 w 4878487"/>
                <a:gd name="connsiteY10772" fmla="*/ 2505732 h 3690338"/>
                <a:gd name="connsiteX10773" fmla="*/ 793541 w 4878487"/>
                <a:gd name="connsiteY10773" fmla="*/ 2502978 h 3690338"/>
                <a:gd name="connsiteX10774" fmla="*/ 791574 w 4878487"/>
                <a:gd name="connsiteY10774" fmla="*/ 2505732 h 3690338"/>
                <a:gd name="connsiteX10775" fmla="*/ 791968 w 4878487"/>
                <a:gd name="connsiteY10775" fmla="*/ 2508486 h 3690338"/>
                <a:gd name="connsiteX10776" fmla="*/ 792361 w 4878487"/>
                <a:gd name="connsiteY10776" fmla="*/ 2511240 h 3690338"/>
                <a:gd name="connsiteX10777" fmla="*/ 792361 w 4878487"/>
                <a:gd name="connsiteY10777" fmla="*/ 2512421 h 3690338"/>
                <a:gd name="connsiteX10778" fmla="*/ 786853 w 4878487"/>
                <a:gd name="connsiteY10778" fmla="*/ 2530912 h 3690338"/>
                <a:gd name="connsiteX10779" fmla="*/ 784886 w 4878487"/>
                <a:gd name="connsiteY10779" fmla="*/ 2533666 h 3690338"/>
                <a:gd name="connsiteX10780" fmla="*/ 785279 w 4878487"/>
                <a:gd name="connsiteY10780" fmla="*/ 2536026 h 3690338"/>
                <a:gd name="connsiteX10781" fmla="*/ 782919 w 4878487"/>
                <a:gd name="connsiteY10781" fmla="*/ 2538780 h 3690338"/>
                <a:gd name="connsiteX10782" fmla="*/ 782132 w 4878487"/>
                <a:gd name="connsiteY10782" fmla="*/ 2541534 h 3690338"/>
                <a:gd name="connsiteX10783" fmla="*/ 781739 w 4878487"/>
                <a:gd name="connsiteY10783" fmla="*/ 2542321 h 3690338"/>
                <a:gd name="connsiteX10784" fmla="*/ 781345 w 4878487"/>
                <a:gd name="connsiteY10784" fmla="*/ 2539567 h 3690338"/>
                <a:gd name="connsiteX10785" fmla="*/ 779772 w 4878487"/>
                <a:gd name="connsiteY10785" fmla="*/ 2536813 h 3690338"/>
                <a:gd name="connsiteX10786" fmla="*/ 778984 w 4878487"/>
                <a:gd name="connsiteY10786" fmla="*/ 2537207 h 3690338"/>
                <a:gd name="connsiteX10787" fmla="*/ 777411 w 4878487"/>
                <a:gd name="connsiteY10787" fmla="*/ 2536813 h 3690338"/>
                <a:gd name="connsiteX10788" fmla="*/ 777017 w 4878487"/>
                <a:gd name="connsiteY10788" fmla="*/ 2539567 h 3690338"/>
                <a:gd name="connsiteX10789" fmla="*/ 775050 w 4878487"/>
                <a:gd name="connsiteY10789" fmla="*/ 2536813 h 3690338"/>
                <a:gd name="connsiteX10790" fmla="*/ 775050 w 4878487"/>
                <a:gd name="connsiteY10790" fmla="*/ 2536026 h 3690338"/>
                <a:gd name="connsiteX10791" fmla="*/ 774263 w 4878487"/>
                <a:gd name="connsiteY10791" fmla="*/ 2537993 h 3690338"/>
                <a:gd name="connsiteX10792" fmla="*/ 774657 w 4878487"/>
                <a:gd name="connsiteY10792" fmla="*/ 2539567 h 3690338"/>
                <a:gd name="connsiteX10793" fmla="*/ 776231 w 4878487"/>
                <a:gd name="connsiteY10793" fmla="*/ 2542321 h 3690338"/>
                <a:gd name="connsiteX10794" fmla="*/ 777017 w 4878487"/>
                <a:gd name="connsiteY10794" fmla="*/ 2543501 h 3690338"/>
                <a:gd name="connsiteX10795" fmla="*/ 779378 w 4878487"/>
                <a:gd name="connsiteY10795" fmla="*/ 2545075 h 3690338"/>
                <a:gd name="connsiteX10796" fmla="*/ 778984 w 4878487"/>
                <a:gd name="connsiteY10796" fmla="*/ 2546649 h 3690338"/>
                <a:gd name="connsiteX10797" fmla="*/ 779772 w 4878487"/>
                <a:gd name="connsiteY10797" fmla="*/ 2549796 h 3690338"/>
                <a:gd name="connsiteX10798" fmla="*/ 780952 w 4878487"/>
                <a:gd name="connsiteY10798" fmla="*/ 2552550 h 3690338"/>
                <a:gd name="connsiteX10799" fmla="*/ 781345 w 4878487"/>
                <a:gd name="connsiteY10799" fmla="*/ 2552157 h 3690338"/>
                <a:gd name="connsiteX10800" fmla="*/ 782132 w 4878487"/>
                <a:gd name="connsiteY10800" fmla="*/ 2554911 h 3690338"/>
                <a:gd name="connsiteX10801" fmla="*/ 782525 w 4878487"/>
                <a:gd name="connsiteY10801" fmla="*/ 2557271 h 3690338"/>
                <a:gd name="connsiteX10802" fmla="*/ 785279 w 4878487"/>
                <a:gd name="connsiteY10802" fmla="*/ 2558058 h 3690338"/>
                <a:gd name="connsiteX10803" fmla="*/ 786066 w 4878487"/>
                <a:gd name="connsiteY10803" fmla="*/ 2560419 h 3690338"/>
                <a:gd name="connsiteX10804" fmla="*/ 790001 w 4878487"/>
                <a:gd name="connsiteY10804" fmla="*/ 2562779 h 3690338"/>
                <a:gd name="connsiteX10805" fmla="*/ 790001 w 4878487"/>
                <a:gd name="connsiteY10805" fmla="*/ 2563173 h 3690338"/>
                <a:gd name="connsiteX10806" fmla="*/ 783706 w 4878487"/>
                <a:gd name="connsiteY10806" fmla="*/ 2559632 h 3690338"/>
                <a:gd name="connsiteX10807" fmla="*/ 781739 w 4878487"/>
                <a:gd name="connsiteY10807" fmla="*/ 2557665 h 3690338"/>
                <a:gd name="connsiteX10808" fmla="*/ 782919 w 4878487"/>
                <a:gd name="connsiteY10808" fmla="*/ 2559632 h 3690338"/>
                <a:gd name="connsiteX10809" fmla="*/ 784886 w 4878487"/>
                <a:gd name="connsiteY10809" fmla="*/ 2562779 h 3690338"/>
                <a:gd name="connsiteX10810" fmla="*/ 786853 w 4878487"/>
                <a:gd name="connsiteY10810" fmla="*/ 2565533 h 3690338"/>
                <a:gd name="connsiteX10811" fmla="*/ 787640 w 4878487"/>
                <a:gd name="connsiteY10811" fmla="*/ 2567894 h 3690338"/>
                <a:gd name="connsiteX10812" fmla="*/ 783312 w 4878487"/>
                <a:gd name="connsiteY10812" fmla="*/ 2560812 h 3690338"/>
                <a:gd name="connsiteX10813" fmla="*/ 791968 w 4878487"/>
                <a:gd name="connsiteY10813" fmla="*/ 2577336 h 3690338"/>
                <a:gd name="connsiteX10814" fmla="*/ 789607 w 4878487"/>
                <a:gd name="connsiteY10814" fmla="*/ 2576549 h 3690338"/>
                <a:gd name="connsiteX10815" fmla="*/ 791574 w 4878487"/>
                <a:gd name="connsiteY10815" fmla="*/ 2579303 h 3690338"/>
                <a:gd name="connsiteX10816" fmla="*/ 793148 w 4878487"/>
                <a:gd name="connsiteY10816" fmla="*/ 2582057 h 3690338"/>
                <a:gd name="connsiteX10817" fmla="*/ 795902 w 4878487"/>
                <a:gd name="connsiteY10817" fmla="*/ 2584811 h 3690338"/>
                <a:gd name="connsiteX10818" fmla="*/ 798262 w 4878487"/>
                <a:gd name="connsiteY10818" fmla="*/ 2587565 h 3690338"/>
                <a:gd name="connsiteX10819" fmla="*/ 798656 w 4878487"/>
                <a:gd name="connsiteY10819" fmla="*/ 2590319 h 3690338"/>
                <a:gd name="connsiteX10820" fmla="*/ 799836 w 4878487"/>
                <a:gd name="connsiteY10820" fmla="*/ 2593073 h 3690338"/>
                <a:gd name="connsiteX10821" fmla="*/ 802590 w 4878487"/>
                <a:gd name="connsiteY10821" fmla="*/ 2594647 h 3690338"/>
                <a:gd name="connsiteX10822" fmla="*/ 805344 w 4878487"/>
                <a:gd name="connsiteY10822" fmla="*/ 2595040 h 3690338"/>
                <a:gd name="connsiteX10823" fmla="*/ 808098 w 4878487"/>
                <a:gd name="connsiteY10823" fmla="*/ 2595827 h 3690338"/>
                <a:gd name="connsiteX10824" fmla="*/ 809672 w 4878487"/>
                <a:gd name="connsiteY10824" fmla="*/ 2598581 h 3690338"/>
                <a:gd name="connsiteX10825" fmla="*/ 811246 w 4878487"/>
                <a:gd name="connsiteY10825" fmla="*/ 2598581 h 3690338"/>
                <a:gd name="connsiteX10826" fmla="*/ 811246 w 4878487"/>
                <a:gd name="connsiteY10826" fmla="*/ 2601335 h 3690338"/>
                <a:gd name="connsiteX10827" fmla="*/ 808098 w 4878487"/>
                <a:gd name="connsiteY10827" fmla="*/ 2598581 h 3690338"/>
                <a:gd name="connsiteX10828" fmla="*/ 806524 w 4878487"/>
                <a:gd name="connsiteY10828" fmla="*/ 2595827 h 3690338"/>
                <a:gd name="connsiteX10829" fmla="*/ 803377 w 4878487"/>
                <a:gd name="connsiteY10829" fmla="*/ 2596614 h 3690338"/>
                <a:gd name="connsiteX10830" fmla="*/ 805738 w 4878487"/>
                <a:gd name="connsiteY10830" fmla="*/ 2599368 h 3690338"/>
                <a:gd name="connsiteX10831" fmla="*/ 807705 w 4878487"/>
                <a:gd name="connsiteY10831" fmla="*/ 2602515 h 3690338"/>
                <a:gd name="connsiteX10832" fmla="*/ 810852 w 4878487"/>
                <a:gd name="connsiteY10832" fmla="*/ 2605269 h 3690338"/>
                <a:gd name="connsiteX10833" fmla="*/ 813999 w 4878487"/>
                <a:gd name="connsiteY10833" fmla="*/ 2608417 h 3690338"/>
                <a:gd name="connsiteX10834" fmla="*/ 814786 w 4878487"/>
                <a:gd name="connsiteY10834" fmla="*/ 2608810 h 3690338"/>
                <a:gd name="connsiteX10835" fmla="*/ 817540 w 4878487"/>
                <a:gd name="connsiteY10835" fmla="*/ 2611171 h 3690338"/>
                <a:gd name="connsiteX10836" fmla="*/ 817934 w 4878487"/>
                <a:gd name="connsiteY10836" fmla="*/ 2611564 h 3690338"/>
                <a:gd name="connsiteX10837" fmla="*/ 830130 w 4878487"/>
                <a:gd name="connsiteY10837" fmla="*/ 2626514 h 3690338"/>
                <a:gd name="connsiteX10838" fmla="*/ 831310 w 4878487"/>
                <a:gd name="connsiteY10838" fmla="*/ 2629268 h 3690338"/>
                <a:gd name="connsiteX10839" fmla="*/ 834064 w 4878487"/>
                <a:gd name="connsiteY10839" fmla="*/ 2631235 h 3690338"/>
                <a:gd name="connsiteX10840" fmla="*/ 841146 w 4878487"/>
                <a:gd name="connsiteY10840" fmla="*/ 2640284 h 3690338"/>
                <a:gd name="connsiteX10841" fmla="*/ 842720 w 4878487"/>
                <a:gd name="connsiteY10841" fmla="*/ 2643038 h 3690338"/>
                <a:gd name="connsiteX10842" fmla="*/ 845080 w 4878487"/>
                <a:gd name="connsiteY10842" fmla="*/ 2645399 h 3690338"/>
                <a:gd name="connsiteX10843" fmla="*/ 851768 w 4878487"/>
                <a:gd name="connsiteY10843" fmla="*/ 2652480 h 3690338"/>
                <a:gd name="connsiteX10844" fmla="*/ 852162 w 4878487"/>
                <a:gd name="connsiteY10844" fmla="*/ 2653661 h 3690338"/>
                <a:gd name="connsiteX10845" fmla="*/ 854916 w 4878487"/>
                <a:gd name="connsiteY10845" fmla="*/ 2656415 h 3690338"/>
                <a:gd name="connsiteX10846" fmla="*/ 857670 w 4878487"/>
                <a:gd name="connsiteY10846" fmla="*/ 2659562 h 3690338"/>
                <a:gd name="connsiteX10847" fmla="*/ 860424 w 4878487"/>
                <a:gd name="connsiteY10847" fmla="*/ 2662316 h 3690338"/>
                <a:gd name="connsiteX10848" fmla="*/ 861997 w 4878487"/>
                <a:gd name="connsiteY10848" fmla="*/ 2663890 h 3690338"/>
                <a:gd name="connsiteX10849" fmla="*/ 864752 w 4878487"/>
                <a:gd name="connsiteY10849" fmla="*/ 2669791 h 3690338"/>
                <a:gd name="connsiteX10850" fmla="*/ 865538 w 4878487"/>
                <a:gd name="connsiteY10850" fmla="*/ 2672545 h 3690338"/>
                <a:gd name="connsiteX10851" fmla="*/ 865538 w 4878487"/>
                <a:gd name="connsiteY10851" fmla="*/ 2675299 h 3690338"/>
                <a:gd name="connsiteX10852" fmla="*/ 867899 w 4878487"/>
                <a:gd name="connsiteY10852" fmla="*/ 2678053 h 3690338"/>
                <a:gd name="connsiteX10853" fmla="*/ 869866 w 4878487"/>
                <a:gd name="connsiteY10853" fmla="*/ 2680807 h 3690338"/>
                <a:gd name="connsiteX10854" fmla="*/ 870260 w 4878487"/>
                <a:gd name="connsiteY10854" fmla="*/ 2681987 h 3690338"/>
                <a:gd name="connsiteX10855" fmla="*/ 871440 w 4878487"/>
                <a:gd name="connsiteY10855" fmla="*/ 2682381 h 3690338"/>
                <a:gd name="connsiteX10856" fmla="*/ 873407 w 4878487"/>
                <a:gd name="connsiteY10856" fmla="*/ 2681987 h 3690338"/>
                <a:gd name="connsiteX10857" fmla="*/ 874194 w 4878487"/>
                <a:gd name="connsiteY10857" fmla="*/ 2681987 h 3690338"/>
                <a:gd name="connsiteX10858" fmla="*/ 871833 w 4878487"/>
                <a:gd name="connsiteY10858" fmla="*/ 2685135 h 3690338"/>
                <a:gd name="connsiteX10859" fmla="*/ 873800 w 4878487"/>
                <a:gd name="connsiteY10859" fmla="*/ 2687889 h 3690338"/>
                <a:gd name="connsiteX10860" fmla="*/ 873800 w 4878487"/>
                <a:gd name="connsiteY10860" fmla="*/ 2688676 h 3690338"/>
                <a:gd name="connsiteX10861" fmla="*/ 875374 w 4878487"/>
                <a:gd name="connsiteY10861" fmla="*/ 2691823 h 3690338"/>
                <a:gd name="connsiteX10862" fmla="*/ 876161 w 4878487"/>
                <a:gd name="connsiteY10862" fmla="*/ 2701265 h 3690338"/>
                <a:gd name="connsiteX10863" fmla="*/ 874981 w 4878487"/>
                <a:gd name="connsiteY10863" fmla="*/ 2702839 h 3690338"/>
                <a:gd name="connsiteX10864" fmla="*/ 874981 w 4878487"/>
                <a:gd name="connsiteY10864" fmla="*/ 2705593 h 3690338"/>
                <a:gd name="connsiteX10865" fmla="*/ 876554 w 4878487"/>
                <a:gd name="connsiteY10865" fmla="*/ 2708740 h 3690338"/>
                <a:gd name="connsiteX10866" fmla="*/ 878128 w 4878487"/>
                <a:gd name="connsiteY10866" fmla="*/ 2711494 h 3690338"/>
                <a:gd name="connsiteX10867" fmla="*/ 880882 w 4878487"/>
                <a:gd name="connsiteY10867" fmla="*/ 2714642 h 3690338"/>
                <a:gd name="connsiteX10868" fmla="*/ 882849 w 4878487"/>
                <a:gd name="connsiteY10868" fmla="*/ 2717396 h 3690338"/>
                <a:gd name="connsiteX10869" fmla="*/ 885997 w 4878487"/>
                <a:gd name="connsiteY10869" fmla="*/ 2716609 h 3690338"/>
                <a:gd name="connsiteX10870" fmla="*/ 888750 w 4878487"/>
                <a:gd name="connsiteY10870" fmla="*/ 2715822 h 3690338"/>
                <a:gd name="connsiteX10871" fmla="*/ 891898 w 4878487"/>
                <a:gd name="connsiteY10871" fmla="*/ 2714642 h 3690338"/>
                <a:gd name="connsiteX10872" fmla="*/ 893471 w 4878487"/>
                <a:gd name="connsiteY10872" fmla="*/ 2711494 h 3690338"/>
                <a:gd name="connsiteX10873" fmla="*/ 895439 w 4878487"/>
                <a:gd name="connsiteY10873" fmla="*/ 2710707 h 3690338"/>
                <a:gd name="connsiteX10874" fmla="*/ 902127 w 4878487"/>
                <a:gd name="connsiteY10874" fmla="*/ 2711494 h 3690338"/>
                <a:gd name="connsiteX10875" fmla="*/ 902520 w 4878487"/>
                <a:gd name="connsiteY10875" fmla="*/ 2711888 h 3690338"/>
                <a:gd name="connsiteX10876" fmla="*/ 905274 w 4878487"/>
                <a:gd name="connsiteY10876" fmla="*/ 2711494 h 3690338"/>
                <a:gd name="connsiteX10877" fmla="*/ 902127 w 4878487"/>
                <a:gd name="connsiteY10877" fmla="*/ 2712281 h 3690338"/>
                <a:gd name="connsiteX10878" fmla="*/ 900947 w 4878487"/>
                <a:gd name="connsiteY10878" fmla="*/ 2712281 h 3690338"/>
                <a:gd name="connsiteX10879" fmla="*/ 902127 w 4878487"/>
                <a:gd name="connsiteY10879" fmla="*/ 2711888 h 3690338"/>
                <a:gd name="connsiteX10880" fmla="*/ 899373 w 4878487"/>
                <a:gd name="connsiteY10880" fmla="*/ 2712281 h 3690338"/>
                <a:gd name="connsiteX10881" fmla="*/ 896226 w 4878487"/>
                <a:gd name="connsiteY10881" fmla="*/ 2713855 h 3690338"/>
                <a:gd name="connsiteX10882" fmla="*/ 895832 w 4878487"/>
                <a:gd name="connsiteY10882" fmla="*/ 2713855 h 3690338"/>
                <a:gd name="connsiteX10883" fmla="*/ 898586 w 4878487"/>
                <a:gd name="connsiteY10883" fmla="*/ 2713068 h 3690338"/>
                <a:gd name="connsiteX10884" fmla="*/ 896619 w 4878487"/>
                <a:gd name="connsiteY10884" fmla="*/ 2715822 h 3690338"/>
                <a:gd name="connsiteX10885" fmla="*/ 893865 w 4878487"/>
                <a:gd name="connsiteY10885" fmla="*/ 2717396 h 3690338"/>
                <a:gd name="connsiteX10886" fmla="*/ 891111 w 4878487"/>
                <a:gd name="connsiteY10886" fmla="*/ 2717002 h 3690338"/>
                <a:gd name="connsiteX10887" fmla="*/ 887964 w 4878487"/>
                <a:gd name="connsiteY10887" fmla="*/ 2717789 h 3690338"/>
                <a:gd name="connsiteX10888" fmla="*/ 884816 w 4878487"/>
                <a:gd name="connsiteY10888" fmla="*/ 2718969 h 3690338"/>
                <a:gd name="connsiteX10889" fmla="*/ 882062 w 4878487"/>
                <a:gd name="connsiteY10889" fmla="*/ 2719363 h 3690338"/>
                <a:gd name="connsiteX10890" fmla="*/ 879308 w 4878487"/>
                <a:gd name="connsiteY10890" fmla="*/ 2720543 h 3690338"/>
                <a:gd name="connsiteX10891" fmla="*/ 879701 w 4878487"/>
                <a:gd name="connsiteY10891" fmla="*/ 2723297 h 3690338"/>
                <a:gd name="connsiteX10892" fmla="*/ 881275 w 4878487"/>
                <a:gd name="connsiteY10892" fmla="*/ 2726051 h 3690338"/>
                <a:gd name="connsiteX10893" fmla="*/ 882456 w 4878487"/>
                <a:gd name="connsiteY10893" fmla="*/ 2729199 h 3690338"/>
                <a:gd name="connsiteX10894" fmla="*/ 884030 w 4878487"/>
                <a:gd name="connsiteY10894" fmla="*/ 2731953 h 3690338"/>
                <a:gd name="connsiteX10895" fmla="*/ 885603 w 4878487"/>
                <a:gd name="connsiteY10895" fmla="*/ 2735100 h 3690338"/>
                <a:gd name="connsiteX10896" fmla="*/ 886783 w 4878487"/>
                <a:gd name="connsiteY10896" fmla="*/ 2738247 h 3690338"/>
                <a:gd name="connsiteX10897" fmla="*/ 889537 w 4878487"/>
                <a:gd name="connsiteY10897" fmla="*/ 2741001 h 3690338"/>
                <a:gd name="connsiteX10898" fmla="*/ 889537 w 4878487"/>
                <a:gd name="connsiteY10898" fmla="*/ 2741395 h 3690338"/>
                <a:gd name="connsiteX10899" fmla="*/ 896226 w 4878487"/>
                <a:gd name="connsiteY10899" fmla="*/ 2753197 h 3690338"/>
                <a:gd name="connsiteX10900" fmla="*/ 896226 w 4878487"/>
                <a:gd name="connsiteY10900" fmla="*/ 2755951 h 3690338"/>
                <a:gd name="connsiteX10901" fmla="*/ 896619 w 4878487"/>
                <a:gd name="connsiteY10901" fmla="*/ 2756738 h 3690338"/>
                <a:gd name="connsiteX10902" fmla="*/ 897012 w 4878487"/>
                <a:gd name="connsiteY10902" fmla="*/ 2759492 h 3690338"/>
                <a:gd name="connsiteX10903" fmla="*/ 898586 w 4878487"/>
                <a:gd name="connsiteY10903" fmla="*/ 2762246 h 3690338"/>
                <a:gd name="connsiteX10904" fmla="*/ 899373 w 4878487"/>
                <a:gd name="connsiteY10904" fmla="*/ 2764213 h 3690338"/>
                <a:gd name="connsiteX10905" fmla="*/ 899767 w 4878487"/>
                <a:gd name="connsiteY10905" fmla="*/ 2765787 h 3690338"/>
                <a:gd name="connsiteX10906" fmla="*/ 900553 w 4878487"/>
                <a:gd name="connsiteY10906" fmla="*/ 2768541 h 3690338"/>
                <a:gd name="connsiteX10907" fmla="*/ 902914 w 4878487"/>
                <a:gd name="connsiteY10907" fmla="*/ 2774049 h 3690338"/>
                <a:gd name="connsiteX10908" fmla="*/ 903701 w 4878487"/>
                <a:gd name="connsiteY10908" fmla="*/ 2777197 h 3690338"/>
                <a:gd name="connsiteX10909" fmla="*/ 904488 w 4878487"/>
                <a:gd name="connsiteY10909" fmla="*/ 2777590 h 3690338"/>
                <a:gd name="connsiteX10910" fmla="*/ 905274 w 4878487"/>
                <a:gd name="connsiteY10910" fmla="*/ 2780344 h 3690338"/>
                <a:gd name="connsiteX10911" fmla="*/ 906848 w 4878487"/>
                <a:gd name="connsiteY10911" fmla="*/ 2783098 h 3690338"/>
                <a:gd name="connsiteX10912" fmla="*/ 908028 w 4878487"/>
                <a:gd name="connsiteY10912" fmla="*/ 2785852 h 3690338"/>
                <a:gd name="connsiteX10913" fmla="*/ 909602 w 4878487"/>
                <a:gd name="connsiteY10913" fmla="*/ 2788999 h 3690338"/>
                <a:gd name="connsiteX10914" fmla="*/ 910389 w 4878487"/>
                <a:gd name="connsiteY10914" fmla="*/ 2791753 h 3690338"/>
                <a:gd name="connsiteX10915" fmla="*/ 912356 w 4878487"/>
                <a:gd name="connsiteY10915" fmla="*/ 2794901 h 3690338"/>
                <a:gd name="connsiteX10916" fmla="*/ 912749 w 4878487"/>
                <a:gd name="connsiteY10916" fmla="*/ 2795294 h 3690338"/>
                <a:gd name="connsiteX10917" fmla="*/ 913143 w 4878487"/>
                <a:gd name="connsiteY10917" fmla="*/ 2800015 h 3690338"/>
                <a:gd name="connsiteX10918" fmla="*/ 912356 w 4878487"/>
                <a:gd name="connsiteY10918" fmla="*/ 2803163 h 3690338"/>
                <a:gd name="connsiteX10919" fmla="*/ 912749 w 4878487"/>
                <a:gd name="connsiteY10919" fmla="*/ 2803950 h 3690338"/>
                <a:gd name="connsiteX10920" fmla="*/ 911176 w 4878487"/>
                <a:gd name="connsiteY10920" fmla="*/ 2809851 h 3690338"/>
                <a:gd name="connsiteX10921" fmla="*/ 908422 w 4878487"/>
                <a:gd name="connsiteY10921" fmla="*/ 2811818 h 3690338"/>
                <a:gd name="connsiteX10922" fmla="*/ 906848 w 4878487"/>
                <a:gd name="connsiteY10922" fmla="*/ 2814179 h 3690338"/>
                <a:gd name="connsiteX10923" fmla="*/ 903307 w 4878487"/>
                <a:gd name="connsiteY10923" fmla="*/ 2816933 h 3690338"/>
                <a:gd name="connsiteX10924" fmla="*/ 905668 w 4878487"/>
                <a:gd name="connsiteY10924" fmla="*/ 2814179 h 3690338"/>
                <a:gd name="connsiteX10925" fmla="*/ 902520 w 4878487"/>
                <a:gd name="connsiteY10925" fmla="*/ 2816933 h 3690338"/>
                <a:gd name="connsiteX10926" fmla="*/ 902127 w 4878487"/>
                <a:gd name="connsiteY10926" fmla="*/ 2817719 h 3690338"/>
                <a:gd name="connsiteX10927" fmla="*/ 900947 w 4878487"/>
                <a:gd name="connsiteY10927" fmla="*/ 2820867 h 3690338"/>
                <a:gd name="connsiteX10928" fmla="*/ 902520 w 4878487"/>
                <a:gd name="connsiteY10928" fmla="*/ 2823621 h 3690338"/>
                <a:gd name="connsiteX10929" fmla="*/ 904094 w 4878487"/>
                <a:gd name="connsiteY10929" fmla="*/ 2826768 h 3690338"/>
                <a:gd name="connsiteX10930" fmla="*/ 905668 w 4878487"/>
                <a:gd name="connsiteY10930" fmla="*/ 2829522 h 3690338"/>
                <a:gd name="connsiteX10931" fmla="*/ 906061 w 4878487"/>
                <a:gd name="connsiteY10931" fmla="*/ 2829916 h 3690338"/>
                <a:gd name="connsiteX10932" fmla="*/ 906848 w 4878487"/>
                <a:gd name="connsiteY10932" fmla="*/ 2833850 h 3690338"/>
                <a:gd name="connsiteX10933" fmla="*/ 906848 w 4878487"/>
                <a:gd name="connsiteY10933" fmla="*/ 2835817 h 3690338"/>
                <a:gd name="connsiteX10934" fmla="*/ 907635 w 4878487"/>
                <a:gd name="connsiteY10934" fmla="*/ 2838571 h 3690338"/>
                <a:gd name="connsiteX10935" fmla="*/ 907241 w 4878487"/>
                <a:gd name="connsiteY10935" fmla="*/ 2841325 h 3690338"/>
                <a:gd name="connsiteX10936" fmla="*/ 908815 w 4878487"/>
                <a:gd name="connsiteY10936" fmla="*/ 2844079 h 3690338"/>
                <a:gd name="connsiteX10937" fmla="*/ 909602 w 4878487"/>
                <a:gd name="connsiteY10937" fmla="*/ 2845259 h 3690338"/>
                <a:gd name="connsiteX10938" fmla="*/ 911176 w 4878487"/>
                <a:gd name="connsiteY10938" fmla="*/ 2851948 h 3690338"/>
                <a:gd name="connsiteX10939" fmla="*/ 915897 w 4878487"/>
                <a:gd name="connsiteY10939" fmla="*/ 2860603 h 3690338"/>
                <a:gd name="connsiteX10940" fmla="*/ 917077 w 4878487"/>
                <a:gd name="connsiteY10940" fmla="*/ 2863750 h 3690338"/>
                <a:gd name="connsiteX10941" fmla="*/ 917471 w 4878487"/>
                <a:gd name="connsiteY10941" fmla="*/ 2866504 h 3690338"/>
                <a:gd name="connsiteX10942" fmla="*/ 919831 w 4878487"/>
                <a:gd name="connsiteY10942" fmla="*/ 2868865 h 3690338"/>
                <a:gd name="connsiteX10943" fmla="*/ 923766 w 4878487"/>
                <a:gd name="connsiteY10943" fmla="*/ 2877520 h 3690338"/>
                <a:gd name="connsiteX10944" fmla="*/ 923372 w 4878487"/>
                <a:gd name="connsiteY10944" fmla="*/ 2877914 h 3690338"/>
                <a:gd name="connsiteX10945" fmla="*/ 924946 w 4878487"/>
                <a:gd name="connsiteY10945" fmla="*/ 2881061 h 3690338"/>
                <a:gd name="connsiteX10946" fmla="*/ 925339 w 4878487"/>
                <a:gd name="connsiteY10946" fmla="*/ 2881455 h 3690338"/>
                <a:gd name="connsiteX10947" fmla="*/ 925339 w 4878487"/>
                <a:gd name="connsiteY10947" fmla="*/ 2899159 h 3690338"/>
                <a:gd name="connsiteX10948" fmla="*/ 924946 w 4878487"/>
                <a:gd name="connsiteY10948" fmla="*/ 2901913 h 3690338"/>
                <a:gd name="connsiteX10949" fmla="*/ 924946 w 4878487"/>
                <a:gd name="connsiteY10949" fmla="*/ 2911355 h 3690338"/>
                <a:gd name="connsiteX10950" fmla="*/ 925339 w 4878487"/>
                <a:gd name="connsiteY10950" fmla="*/ 2911355 h 3690338"/>
                <a:gd name="connsiteX10951" fmla="*/ 916684 w 4878487"/>
                <a:gd name="connsiteY10951" fmla="*/ 2933387 h 3690338"/>
                <a:gd name="connsiteX10952" fmla="*/ 915504 w 4878487"/>
                <a:gd name="connsiteY10952" fmla="*/ 2934567 h 3690338"/>
                <a:gd name="connsiteX10953" fmla="*/ 915110 w 4878487"/>
                <a:gd name="connsiteY10953" fmla="*/ 2936928 h 3690338"/>
                <a:gd name="connsiteX10954" fmla="*/ 908815 w 4878487"/>
                <a:gd name="connsiteY10954" fmla="*/ 2939682 h 3690338"/>
                <a:gd name="connsiteX10955" fmla="*/ 906061 w 4878487"/>
                <a:gd name="connsiteY10955" fmla="*/ 2940862 h 3690338"/>
                <a:gd name="connsiteX10956" fmla="*/ 903307 w 4878487"/>
                <a:gd name="connsiteY10956" fmla="*/ 2943616 h 3690338"/>
                <a:gd name="connsiteX10957" fmla="*/ 900160 w 4878487"/>
                <a:gd name="connsiteY10957" fmla="*/ 2946370 h 3690338"/>
                <a:gd name="connsiteX10958" fmla="*/ 898586 w 4878487"/>
                <a:gd name="connsiteY10958" fmla="*/ 2949517 h 3690338"/>
                <a:gd name="connsiteX10959" fmla="*/ 898979 w 4878487"/>
                <a:gd name="connsiteY10959" fmla="*/ 2950698 h 3690338"/>
                <a:gd name="connsiteX10960" fmla="*/ 894259 w 4878487"/>
                <a:gd name="connsiteY10960" fmla="*/ 2959353 h 3690338"/>
                <a:gd name="connsiteX10961" fmla="*/ 893865 w 4878487"/>
                <a:gd name="connsiteY10961" fmla="*/ 2959746 h 3690338"/>
                <a:gd name="connsiteX10962" fmla="*/ 891111 w 4878487"/>
                <a:gd name="connsiteY10962" fmla="*/ 2962500 h 3690338"/>
                <a:gd name="connsiteX10963" fmla="*/ 889931 w 4878487"/>
                <a:gd name="connsiteY10963" fmla="*/ 2966041 h 3690338"/>
                <a:gd name="connsiteX10964" fmla="*/ 886783 w 4878487"/>
                <a:gd name="connsiteY10964" fmla="*/ 2968008 h 3690338"/>
                <a:gd name="connsiteX10965" fmla="*/ 885997 w 4878487"/>
                <a:gd name="connsiteY10965" fmla="*/ 2970762 h 3690338"/>
                <a:gd name="connsiteX10966" fmla="*/ 886390 w 4878487"/>
                <a:gd name="connsiteY10966" fmla="*/ 2973516 h 3690338"/>
                <a:gd name="connsiteX10967" fmla="*/ 884030 w 4878487"/>
                <a:gd name="connsiteY10967" fmla="*/ 2983352 h 3690338"/>
                <a:gd name="connsiteX10968" fmla="*/ 882456 w 4878487"/>
                <a:gd name="connsiteY10968" fmla="*/ 2984139 h 3690338"/>
                <a:gd name="connsiteX10969" fmla="*/ 881669 w 4878487"/>
                <a:gd name="connsiteY10969" fmla="*/ 2987286 h 3690338"/>
                <a:gd name="connsiteX10970" fmla="*/ 880095 w 4878487"/>
                <a:gd name="connsiteY10970" fmla="*/ 2990040 h 3690338"/>
                <a:gd name="connsiteX10971" fmla="*/ 880489 w 4878487"/>
                <a:gd name="connsiteY10971" fmla="*/ 2993188 h 3690338"/>
                <a:gd name="connsiteX10972" fmla="*/ 879701 w 4878487"/>
                <a:gd name="connsiteY10972" fmla="*/ 2995942 h 3690338"/>
                <a:gd name="connsiteX10973" fmla="*/ 880095 w 4878487"/>
                <a:gd name="connsiteY10973" fmla="*/ 2998302 h 3690338"/>
                <a:gd name="connsiteX10974" fmla="*/ 874587 w 4878487"/>
                <a:gd name="connsiteY10974" fmla="*/ 3022301 h 3690338"/>
                <a:gd name="connsiteX10975" fmla="*/ 873407 w 4878487"/>
                <a:gd name="connsiteY10975" fmla="*/ 3025449 h 3690338"/>
                <a:gd name="connsiteX10976" fmla="*/ 873407 w 4878487"/>
                <a:gd name="connsiteY10976" fmla="*/ 3026629 h 3690338"/>
                <a:gd name="connsiteX10977" fmla="*/ 872620 w 4878487"/>
                <a:gd name="connsiteY10977" fmla="*/ 3030170 h 3690338"/>
                <a:gd name="connsiteX10978" fmla="*/ 871046 w 4878487"/>
                <a:gd name="connsiteY10978" fmla="*/ 3031743 h 3690338"/>
                <a:gd name="connsiteX10979" fmla="*/ 870653 w 4878487"/>
                <a:gd name="connsiteY10979" fmla="*/ 3034497 h 3690338"/>
                <a:gd name="connsiteX10980" fmla="*/ 870260 w 4878487"/>
                <a:gd name="connsiteY10980" fmla="*/ 3037645 h 3690338"/>
                <a:gd name="connsiteX10981" fmla="*/ 869866 w 4878487"/>
                <a:gd name="connsiteY10981" fmla="*/ 3040399 h 3690338"/>
                <a:gd name="connsiteX10982" fmla="*/ 867112 w 4878487"/>
                <a:gd name="connsiteY10982" fmla="*/ 3045907 h 3690338"/>
                <a:gd name="connsiteX10983" fmla="*/ 866719 w 4878487"/>
                <a:gd name="connsiteY10983" fmla="*/ 3046694 h 3690338"/>
                <a:gd name="connsiteX10984" fmla="*/ 866719 w 4878487"/>
                <a:gd name="connsiteY10984" fmla="*/ 3047087 h 3690338"/>
                <a:gd name="connsiteX10985" fmla="*/ 864358 w 4878487"/>
                <a:gd name="connsiteY10985" fmla="*/ 3049841 h 3690338"/>
                <a:gd name="connsiteX10986" fmla="*/ 861604 w 4878487"/>
                <a:gd name="connsiteY10986" fmla="*/ 3051415 h 3690338"/>
                <a:gd name="connsiteX10987" fmla="*/ 862391 w 4878487"/>
                <a:gd name="connsiteY10987" fmla="*/ 3054169 h 3690338"/>
                <a:gd name="connsiteX10988" fmla="*/ 863571 w 4878487"/>
                <a:gd name="connsiteY10988" fmla="*/ 3056923 h 3690338"/>
                <a:gd name="connsiteX10989" fmla="*/ 862784 w 4878487"/>
                <a:gd name="connsiteY10989" fmla="*/ 3059677 h 3690338"/>
                <a:gd name="connsiteX10990" fmla="*/ 863178 w 4878487"/>
                <a:gd name="connsiteY10990" fmla="*/ 3062824 h 3690338"/>
                <a:gd name="connsiteX10991" fmla="*/ 863571 w 4878487"/>
                <a:gd name="connsiteY10991" fmla="*/ 3066365 h 3690338"/>
                <a:gd name="connsiteX10992" fmla="*/ 863964 w 4878487"/>
                <a:gd name="connsiteY10992" fmla="*/ 3069512 h 3690338"/>
                <a:gd name="connsiteX10993" fmla="*/ 864358 w 4878487"/>
                <a:gd name="connsiteY10993" fmla="*/ 3072266 h 3690338"/>
                <a:gd name="connsiteX10994" fmla="*/ 864358 w 4878487"/>
                <a:gd name="connsiteY10994" fmla="*/ 3078168 h 3690338"/>
                <a:gd name="connsiteX10995" fmla="*/ 863571 w 4878487"/>
                <a:gd name="connsiteY10995" fmla="*/ 3086430 h 3690338"/>
                <a:gd name="connsiteX10996" fmla="*/ 863178 w 4878487"/>
                <a:gd name="connsiteY10996" fmla="*/ 3087610 h 3690338"/>
                <a:gd name="connsiteX10997" fmla="*/ 862784 w 4878487"/>
                <a:gd name="connsiteY10997" fmla="*/ 3090757 h 3690338"/>
                <a:gd name="connsiteX10998" fmla="*/ 862784 w 4878487"/>
                <a:gd name="connsiteY10998" fmla="*/ 3093905 h 3690338"/>
                <a:gd name="connsiteX10999" fmla="*/ 862391 w 4878487"/>
                <a:gd name="connsiteY10999" fmla="*/ 3096659 h 3690338"/>
                <a:gd name="connsiteX11000" fmla="*/ 862391 w 4878487"/>
                <a:gd name="connsiteY11000" fmla="*/ 3099413 h 3690338"/>
                <a:gd name="connsiteX11001" fmla="*/ 861997 w 4878487"/>
                <a:gd name="connsiteY11001" fmla="*/ 3102560 h 3690338"/>
                <a:gd name="connsiteX11002" fmla="*/ 861211 w 4878487"/>
                <a:gd name="connsiteY11002" fmla="*/ 3105314 h 3690338"/>
                <a:gd name="connsiteX11003" fmla="*/ 860817 w 4878487"/>
                <a:gd name="connsiteY11003" fmla="*/ 3108461 h 3690338"/>
                <a:gd name="connsiteX11004" fmla="*/ 861211 w 4878487"/>
                <a:gd name="connsiteY11004" fmla="*/ 3111215 h 3690338"/>
                <a:gd name="connsiteX11005" fmla="*/ 861604 w 4878487"/>
                <a:gd name="connsiteY11005" fmla="*/ 3114363 h 3690338"/>
                <a:gd name="connsiteX11006" fmla="*/ 861604 w 4878487"/>
                <a:gd name="connsiteY11006" fmla="*/ 3117117 h 3690338"/>
                <a:gd name="connsiteX11007" fmla="*/ 862391 w 4878487"/>
                <a:gd name="connsiteY11007" fmla="*/ 3120264 h 3690338"/>
                <a:gd name="connsiteX11008" fmla="*/ 862784 w 4878487"/>
                <a:gd name="connsiteY11008" fmla="*/ 3123018 h 3690338"/>
                <a:gd name="connsiteX11009" fmla="*/ 863571 w 4878487"/>
                <a:gd name="connsiteY11009" fmla="*/ 3125772 h 3690338"/>
                <a:gd name="connsiteX11010" fmla="*/ 864752 w 4878487"/>
                <a:gd name="connsiteY11010" fmla="*/ 3128526 h 3690338"/>
                <a:gd name="connsiteX11011" fmla="*/ 867112 w 4878487"/>
                <a:gd name="connsiteY11011" fmla="*/ 3131674 h 3690338"/>
                <a:gd name="connsiteX11012" fmla="*/ 869866 w 4878487"/>
                <a:gd name="connsiteY11012" fmla="*/ 3137182 h 3690338"/>
                <a:gd name="connsiteX11013" fmla="*/ 870260 w 4878487"/>
                <a:gd name="connsiteY11013" fmla="*/ 3140329 h 3690338"/>
                <a:gd name="connsiteX11014" fmla="*/ 872620 w 4878487"/>
                <a:gd name="connsiteY11014" fmla="*/ 3143083 h 3690338"/>
                <a:gd name="connsiteX11015" fmla="*/ 875374 w 4878487"/>
                <a:gd name="connsiteY11015" fmla="*/ 3145837 h 3690338"/>
                <a:gd name="connsiteX11016" fmla="*/ 878521 w 4878487"/>
                <a:gd name="connsiteY11016" fmla="*/ 3148591 h 3690338"/>
                <a:gd name="connsiteX11017" fmla="*/ 880095 w 4878487"/>
                <a:gd name="connsiteY11017" fmla="*/ 3151345 h 3690338"/>
                <a:gd name="connsiteX11018" fmla="*/ 882062 w 4878487"/>
                <a:gd name="connsiteY11018" fmla="*/ 3154099 h 3690338"/>
                <a:gd name="connsiteX11019" fmla="*/ 883242 w 4878487"/>
                <a:gd name="connsiteY11019" fmla="*/ 3156853 h 3690338"/>
                <a:gd name="connsiteX11020" fmla="*/ 884816 w 4878487"/>
                <a:gd name="connsiteY11020" fmla="*/ 3159607 h 3690338"/>
                <a:gd name="connsiteX11021" fmla="*/ 885210 w 4878487"/>
                <a:gd name="connsiteY11021" fmla="*/ 3160394 h 3690338"/>
                <a:gd name="connsiteX11022" fmla="*/ 887177 w 4878487"/>
                <a:gd name="connsiteY11022" fmla="*/ 3165115 h 3690338"/>
                <a:gd name="connsiteX11023" fmla="*/ 887570 w 4878487"/>
                <a:gd name="connsiteY11023" fmla="*/ 3166295 h 3690338"/>
                <a:gd name="connsiteX11024" fmla="*/ 887964 w 4878487"/>
                <a:gd name="connsiteY11024" fmla="*/ 3167082 h 3690338"/>
                <a:gd name="connsiteX11025" fmla="*/ 889931 w 4878487"/>
                <a:gd name="connsiteY11025" fmla="*/ 3172196 h 3690338"/>
                <a:gd name="connsiteX11026" fmla="*/ 889931 w 4878487"/>
                <a:gd name="connsiteY11026" fmla="*/ 3172590 h 3690338"/>
                <a:gd name="connsiteX11027" fmla="*/ 890718 w 4878487"/>
                <a:gd name="connsiteY11027" fmla="*/ 3174164 h 3690338"/>
                <a:gd name="connsiteX11028" fmla="*/ 891898 w 4878487"/>
                <a:gd name="connsiteY11028" fmla="*/ 3176918 h 3690338"/>
                <a:gd name="connsiteX11029" fmla="*/ 899373 w 4878487"/>
                <a:gd name="connsiteY11029" fmla="*/ 3192655 h 3690338"/>
                <a:gd name="connsiteX11030" fmla="*/ 909602 w 4878487"/>
                <a:gd name="connsiteY11030" fmla="*/ 3218227 h 3690338"/>
                <a:gd name="connsiteX11031" fmla="*/ 909602 w 4878487"/>
                <a:gd name="connsiteY11031" fmla="*/ 3218621 h 3690338"/>
                <a:gd name="connsiteX11032" fmla="*/ 910389 w 4878487"/>
                <a:gd name="connsiteY11032" fmla="*/ 3221768 h 3690338"/>
                <a:gd name="connsiteX11033" fmla="*/ 911963 w 4878487"/>
                <a:gd name="connsiteY11033" fmla="*/ 3224129 h 3690338"/>
                <a:gd name="connsiteX11034" fmla="*/ 914323 w 4878487"/>
                <a:gd name="connsiteY11034" fmla="*/ 3228456 h 3690338"/>
                <a:gd name="connsiteX11035" fmla="*/ 914717 w 4878487"/>
                <a:gd name="connsiteY11035" fmla="*/ 3230030 h 3690338"/>
                <a:gd name="connsiteX11036" fmla="*/ 916684 w 4878487"/>
                <a:gd name="connsiteY11036" fmla="*/ 3233178 h 3690338"/>
                <a:gd name="connsiteX11037" fmla="*/ 917077 w 4878487"/>
                <a:gd name="connsiteY11037" fmla="*/ 3233571 h 3690338"/>
                <a:gd name="connsiteX11038" fmla="*/ 924552 w 4878487"/>
                <a:gd name="connsiteY11038" fmla="*/ 3246947 h 3690338"/>
                <a:gd name="connsiteX11039" fmla="*/ 924946 w 4878487"/>
                <a:gd name="connsiteY11039" fmla="*/ 3248128 h 3690338"/>
                <a:gd name="connsiteX11040" fmla="*/ 925733 w 4878487"/>
                <a:gd name="connsiteY11040" fmla="*/ 3249308 h 3690338"/>
                <a:gd name="connsiteX11041" fmla="*/ 927306 w 4878487"/>
                <a:gd name="connsiteY11041" fmla="*/ 3252456 h 3690338"/>
                <a:gd name="connsiteX11042" fmla="*/ 928486 w 4878487"/>
                <a:gd name="connsiteY11042" fmla="*/ 3255210 h 3690338"/>
                <a:gd name="connsiteX11043" fmla="*/ 931241 w 4878487"/>
                <a:gd name="connsiteY11043" fmla="*/ 3257963 h 3690338"/>
                <a:gd name="connsiteX11044" fmla="*/ 933601 w 4878487"/>
                <a:gd name="connsiteY11044" fmla="*/ 3260717 h 3690338"/>
                <a:gd name="connsiteX11045" fmla="*/ 935568 w 4878487"/>
                <a:gd name="connsiteY11045" fmla="*/ 3263471 h 3690338"/>
                <a:gd name="connsiteX11046" fmla="*/ 936355 w 4878487"/>
                <a:gd name="connsiteY11046" fmla="*/ 3264258 h 3690338"/>
                <a:gd name="connsiteX11047" fmla="*/ 937535 w 4878487"/>
                <a:gd name="connsiteY11047" fmla="*/ 3267406 h 3690338"/>
                <a:gd name="connsiteX11048" fmla="*/ 937535 w 4878487"/>
                <a:gd name="connsiteY11048" fmla="*/ 3267406 h 3690338"/>
                <a:gd name="connsiteX11049" fmla="*/ 943830 w 4878487"/>
                <a:gd name="connsiteY11049" fmla="*/ 3284323 h 3690338"/>
                <a:gd name="connsiteX11050" fmla="*/ 943830 w 4878487"/>
                <a:gd name="connsiteY11050" fmla="*/ 3291405 h 3690338"/>
                <a:gd name="connsiteX11051" fmla="*/ 942256 w 4878487"/>
                <a:gd name="connsiteY11051" fmla="*/ 3294159 h 3690338"/>
                <a:gd name="connsiteX11052" fmla="*/ 941076 w 4878487"/>
                <a:gd name="connsiteY11052" fmla="*/ 3291011 h 3690338"/>
                <a:gd name="connsiteX11053" fmla="*/ 940289 w 4878487"/>
                <a:gd name="connsiteY11053" fmla="*/ 3294159 h 3690338"/>
                <a:gd name="connsiteX11054" fmla="*/ 940683 w 4878487"/>
                <a:gd name="connsiteY11054" fmla="*/ 3297306 h 3690338"/>
                <a:gd name="connsiteX11055" fmla="*/ 941470 w 4878487"/>
                <a:gd name="connsiteY11055" fmla="*/ 3300060 h 3690338"/>
                <a:gd name="connsiteX11056" fmla="*/ 942650 w 4878487"/>
                <a:gd name="connsiteY11056" fmla="*/ 3306355 h 3690338"/>
                <a:gd name="connsiteX11057" fmla="*/ 941076 w 4878487"/>
                <a:gd name="connsiteY11057" fmla="*/ 3308715 h 3690338"/>
                <a:gd name="connsiteX11058" fmla="*/ 941470 w 4878487"/>
                <a:gd name="connsiteY11058" fmla="*/ 3311470 h 3690338"/>
                <a:gd name="connsiteX11059" fmla="*/ 942650 w 4878487"/>
                <a:gd name="connsiteY11059" fmla="*/ 3314617 h 3690338"/>
                <a:gd name="connsiteX11060" fmla="*/ 942650 w 4878487"/>
                <a:gd name="connsiteY11060" fmla="*/ 3317371 h 3690338"/>
                <a:gd name="connsiteX11061" fmla="*/ 942256 w 4878487"/>
                <a:gd name="connsiteY11061" fmla="*/ 3320518 h 3690338"/>
                <a:gd name="connsiteX11062" fmla="*/ 943044 w 4878487"/>
                <a:gd name="connsiteY11062" fmla="*/ 3323272 h 3690338"/>
                <a:gd name="connsiteX11063" fmla="*/ 942256 w 4878487"/>
                <a:gd name="connsiteY11063" fmla="*/ 3326026 h 3690338"/>
                <a:gd name="connsiteX11064" fmla="*/ 941076 w 4878487"/>
                <a:gd name="connsiteY11064" fmla="*/ 3328780 h 3690338"/>
                <a:gd name="connsiteX11065" fmla="*/ 941076 w 4878487"/>
                <a:gd name="connsiteY11065" fmla="*/ 3331534 h 3690338"/>
                <a:gd name="connsiteX11066" fmla="*/ 941863 w 4878487"/>
                <a:gd name="connsiteY11066" fmla="*/ 3334682 h 3690338"/>
                <a:gd name="connsiteX11067" fmla="*/ 942650 w 4878487"/>
                <a:gd name="connsiteY11067" fmla="*/ 3337436 h 3690338"/>
                <a:gd name="connsiteX11068" fmla="*/ 944223 w 4878487"/>
                <a:gd name="connsiteY11068" fmla="*/ 3340190 h 3690338"/>
                <a:gd name="connsiteX11069" fmla="*/ 945404 w 4878487"/>
                <a:gd name="connsiteY11069" fmla="*/ 3343337 h 3690338"/>
                <a:gd name="connsiteX11070" fmla="*/ 945797 w 4878487"/>
                <a:gd name="connsiteY11070" fmla="*/ 3346091 h 3690338"/>
                <a:gd name="connsiteX11071" fmla="*/ 946584 w 4878487"/>
                <a:gd name="connsiteY11071" fmla="*/ 3348845 h 3690338"/>
                <a:gd name="connsiteX11072" fmla="*/ 948945 w 4878487"/>
                <a:gd name="connsiteY11072" fmla="*/ 3351599 h 3690338"/>
                <a:gd name="connsiteX11073" fmla="*/ 950518 w 4878487"/>
                <a:gd name="connsiteY11073" fmla="*/ 3354746 h 3690338"/>
                <a:gd name="connsiteX11074" fmla="*/ 951699 w 4878487"/>
                <a:gd name="connsiteY11074" fmla="*/ 3357500 h 3690338"/>
                <a:gd name="connsiteX11075" fmla="*/ 951699 w 4878487"/>
                <a:gd name="connsiteY11075" fmla="*/ 3360648 h 3690338"/>
                <a:gd name="connsiteX11076" fmla="*/ 952879 w 4878487"/>
                <a:gd name="connsiteY11076" fmla="*/ 3362221 h 3690338"/>
                <a:gd name="connsiteX11077" fmla="*/ 953272 w 4878487"/>
                <a:gd name="connsiteY11077" fmla="*/ 3365369 h 3690338"/>
                <a:gd name="connsiteX11078" fmla="*/ 952879 w 4878487"/>
                <a:gd name="connsiteY11078" fmla="*/ 3368123 h 3690338"/>
                <a:gd name="connsiteX11079" fmla="*/ 952092 w 4878487"/>
                <a:gd name="connsiteY11079" fmla="*/ 3370877 h 3690338"/>
                <a:gd name="connsiteX11080" fmla="*/ 952092 w 4878487"/>
                <a:gd name="connsiteY11080" fmla="*/ 3373631 h 3690338"/>
                <a:gd name="connsiteX11081" fmla="*/ 952879 w 4878487"/>
                <a:gd name="connsiteY11081" fmla="*/ 3376778 h 3690338"/>
                <a:gd name="connsiteX11082" fmla="*/ 953666 w 4878487"/>
                <a:gd name="connsiteY11082" fmla="*/ 3379532 h 3690338"/>
                <a:gd name="connsiteX11083" fmla="*/ 953272 w 4878487"/>
                <a:gd name="connsiteY11083" fmla="*/ 3382286 h 3690338"/>
                <a:gd name="connsiteX11084" fmla="*/ 952879 w 4878487"/>
                <a:gd name="connsiteY11084" fmla="*/ 3385434 h 3690338"/>
                <a:gd name="connsiteX11085" fmla="*/ 953272 w 4878487"/>
                <a:gd name="connsiteY11085" fmla="*/ 3388188 h 3690338"/>
                <a:gd name="connsiteX11086" fmla="*/ 954846 w 4878487"/>
                <a:gd name="connsiteY11086" fmla="*/ 3390942 h 3690338"/>
                <a:gd name="connsiteX11087" fmla="*/ 955240 w 4878487"/>
                <a:gd name="connsiteY11087" fmla="*/ 3394089 h 3690338"/>
                <a:gd name="connsiteX11088" fmla="*/ 956813 w 4878487"/>
                <a:gd name="connsiteY11088" fmla="*/ 3396843 h 3690338"/>
                <a:gd name="connsiteX11089" fmla="*/ 957207 w 4878487"/>
                <a:gd name="connsiteY11089" fmla="*/ 3399597 h 3690338"/>
                <a:gd name="connsiteX11090" fmla="*/ 956420 w 4878487"/>
                <a:gd name="connsiteY11090" fmla="*/ 3402744 h 3690338"/>
                <a:gd name="connsiteX11091" fmla="*/ 956026 w 4878487"/>
                <a:gd name="connsiteY11091" fmla="*/ 3405892 h 3690338"/>
                <a:gd name="connsiteX11092" fmla="*/ 958781 w 4878487"/>
                <a:gd name="connsiteY11092" fmla="*/ 3408646 h 3690338"/>
                <a:gd name="connsiteX11093" fmla="*/ 959567 w 4878487"/>
                <a:gd name="connsiteY11093" fmla="*/ 3409039 h 3690338"/>
                <a:gd name="connsiteX11094" fmla="*/ 961141 w 4878487"/>
                <a:gd name="connsiteY11094" fmla="*/ 3417301 h 3690338"/>
                <a:gd name="connsiteX11095" fmla="*/ 959567 w 4878487"/>
                <a:gd name="connsiteY11095" fmla="*/ 3420055 h 3690338"/>
                <a:gd name="connsiteX11096" fmla="*/ 960354 w 4878487"/>
                <a:gd name="connsiteY11096" fmla="*/ 3422809 h 3690338"/>
                <a:gd name="connsiteX11097" fmla="*/ 961141 w 4878487"/>
                <a:gd name="connsiteY11097" fmla="*/ 3425563 h 3690338"/>
                <a:gd name="connsiteX11098" fmla="*/ 963501 w 4878487"/>
                <a:gd name="connsiteY11098" fmla="*/ 3428317 h 3690338"/>
                <a:gd name="connsiteX11099" fmla="*/ 963895 w 4878487"/>
                <a:gd name="connsiteY11099" fmla="*/ 3431465 h 3690338"/>
                <a:gd name="connsiteX11100" fmla="*/ 964288 w 4878487"/>
                <a:gd name="connsiteY11100" fmla="*/ 3436972 h 3690338"/>
                <a:gd name="connsiteX11101" fmla="*/ 965075 w 4878487"/>
                <a:gd name="connsiteY11101" fmla="*/ 3439726 h 3690338"/>
                <a:gd name="connsiteX11102" fmla="*/ 967042 w 4878487"/>
                <a:gd name="connsiteY11102" fmla="*/ 3442874 h 3690338"/>
                <a:gd name="connsiteX11103" fmla="*/ 968616 w 4878487"/>
                <a:gd name="connsiteY11103" fmla="*/ 3445628 h 3690338"/>
                <a:gd name="connsiteX11104" fmla="*/ 970190 w 4878487"/>
                <a:gd name="connsiteY11104" fmla="*/ 3448382 h 3690338"/>
                <a:gd name="connsiteX11105" fmla="*/ 971763 w 4878487"/>
                <a:gd name="connsiteY11105" fmla="*/ 3451529 h 3690338"/>
                <a:gd name="connsiteX11106" fmla="*/ 972157 w 4878487"/>
                <a:gd name="connsiteY11106" fmla="*/ 3454283 h 3690338"/>
                <a:gd name="connsiteX11107" fmla="*/ 974911 w 4878487"/>
                <a:gd name="connsiteY11107" fmla="*/ 3457037 h 3690338"/>
                <a:gd name="connsiteX11108" fmla="*/ 976485 w 4878487"/>
                <a:gd name="connsiteY11108" fmla="*/ 3459791 h 3690338"/>
                <a:gd name="connsiteX11109" fmla="*/ 978058 w 4878487"/>
                <a:gd name="connsiteY11109" fmla="*/ 3462939 h 3690338"/>
                <a:gd name="connsiteX11110" fmla="*/ 980812 w 4878487"/>
                <a:gd name="connsiteY11110" fmla="*/ 3465693 h 3690338"/>
                <a:gd name="connsiteX11111" fmla="*/ 983173 w 4878487"/>
                <a:gd name="connsiteY11111" fmla="*/ 3468446 h 3690338"/>
                <a:gd name="connsiteX11112" fmla="*/ 986320 w 4878487"/>
                <a:gd name="connsiteY11112" fmla="*/ 3470807 h 3690338"/>
                <a:gd name="connsiteX11113" fmla="*/ 991041 w 4878487"/>
                <a:gd name="connsiteY11113" fmla="*/ 3476315 h 3690338"/>
                <a:gd name="connsiteX11114" fmla="*/ 992222 w 4878487"/>
                <a:gd name="connsiteY11114" fmla="*/ 3477102 h 3690338"/>
                <a:gd name="connsiteX11115" fmla="*/ 994976 w 4878487"/>
                <a:gd name="connsiteY11115" fmla="*/ 3479856 h 3690338"/>
                <a:gd name="connsiteX11116" fmla="*/ 997729 w 4878487"/>
                <a:gd name="connsiteY11116" fmla="*/ 3482610 h 3690338"/>
                <a:gd name="connsiteX11117" fmla="*/ 1000484 w 4878487"/>
                <a:gd name="connsiteY11117" fmla="*/ 3482216 h 3690338"/>
                <a:gd name="connsiteX11118" fmla="*/ 1000877 w 4878487"/>
                <a:gd name="connsiteY11118" fmla="*/ 3484970 h 3690338"/>
                <a:gd name="connsiteX11119" fmla="*/ 1002451 w 4878487"/>
                <a:gd name="connsiteY11119" fmla="*/ 3488118 h 3690338"/>
                <a:gd name="connsiteX11120" fmla="*/ 1002844 w 4878487"/>
                <a:gd name="connsiteY11120" fmla="*/ 3490872 h 3690338"/>
                <a:gd name="connsiteX11121" fmla="*/ 1004418 w 4878487"/>
                <a:gd name="connsiteY11121" fmla="*/ 3492446 h 3690338"/>
                <a:gd name="connsiteX11122" fmla="*/ 1015827 w 4878487"/>
                <a:gd name="connsiteY11122" fmla="*/ 3519199 h 3690338"/>
                <a:gd name="connsiteX11123" fmla="*/ 1016221 w 4878487"/>
                <a:gd name="connsiteY11123" fmla="*/ 3521953 h 3690338"/>
                <a:gd name="connsiteX11124" fmla="*/ 1017007 w 4878487"/>
                <a:gd name="connsiteY11124" fmla="*/ 3524707 h 3690338"/>
                <a:gd name="connsiteX11125" fmla="*/ 1017795 w 4878487"/>
                <a:gd name="connsiteY11125" fmla="*/ 3527460 h 3690338"/>
                <a:gd name="connsiteX11126" fmla="*/ 1018581 w 4878487"/>
                <a:gd name="connsiteY11126" fmla="*/ 3529821 h 3690338"/>
                <a:gd name="connsiteX11127" fmla="*/ 1018975 w 4878487"/>
                <a:gd name="connsiteY11127" fmla="*/ 3532575 h 3690338"/>
                <a:gd name="connsiteX11128" fmla="*/ 1020155 w 4878487"/>
                <a:gd name="connsiteY11128" fmla="*/ 3535329 h 3690338"/>
                <a:gd name="connsiteX11129" fmla="*/ 1021335 w 4878487"/>
                <a:gd name="connsiteY11129" fmla="*/ 3538477 h 3690338"/>
                <a:gd name="connsiteX11130" fmla="*/ 1021729 w 4878487"/>
                <a:gd name="connsiteY11130" fmla="*/ 3541230 h 3690338"/>
                <a:gd name="connsiteX11131" fmla="*/ 1023302 w 4878487"/>
                <a:gd name="connsiteY11131" fmla="*/ 3543984 h 3690338"/>
                <a:gd name="connsiteX11132" fmla="*/ 1024876 w 4878487"/>
                <a:gd name="connsiteY11132" fmla="*/ 3547132 h 3690338"/>
                <a:gd name="connsiteX11133" fmla="*/ 1026450 w 4878487"/>
                <a:gd name="connsiteY11133" fmla="*/ 3549886 h 3690338"/>
                <a:gd name="connsiteX11134" fmla="*/ 1027236 w 4878487"/>
                <a:gd name="connsiteY11134" fmla="*/ 3552640 h 3690338"/>
                <a:gd name="connsiteX11135" fmla="*/ 1028417 w 4878487"/>
                <a:gd name="connsiteY11135" fmla="*/ 3555000 h 3690338"/>
                <a:gd name="connsiteX11136" fmla="*/ 1030384 w 4878487"/>
                <a:gd name="connsiteY11136" fmla="*/ 3559721 h 3690338"/>
                <a:gd name="connsiteX11137" fmla="*/ 1034712 w 4878487"/>
                <a:gd name="connsiteY11137" fmla="*/ 3567590 h 3690338"/>
                <a:gd name="connsiteX11138" fmla="*/ 1035105 w 4878487"/>
                <a:gd name="connsiteY11138" fmla="*/ 3568377 h 3690338"/>
                <a:gd name="connsiteX11139" fmla="*/ 1035499 w 4878487"/>
                <a:gd name="connsiteY11139" fmla="*/ 3568770 h 3690338"/>
                <a:gd name="connsiteX11140" fmla="*/ 1049662 w 4878487"/>
                <a:gd name="connsiteY11140" fmla="*/ 3596704 h 3690338"/>
                <a:gd name="connsiteX11141" fmla="*/ 1050055 w 4878487"/>
                <a:gd name="connsiteY11141" fmla="*/ 3600244 h 3690338"/>
                <a:gd name="connsiteX11142" fmla="*/ 1050055 w 4878487"/>
                <a:gd name="connsiteY11142" fmla="*/ 3602605 h 3690338"/>
                <a:gd name="connsiteX11143" fmla="*/ 1050842 w 4878487"/>
                <a:gd name="connsiteY11143" fmla="*/ 3605359 h 3690338"/>
                <a:gd name="connsiteX11144" fmla="*/ 1051236 w 4878487"/>
                <a:gd name="connsiteY11144" fmla="*/ 3607719 h 3690338"/>
                <a:gd name="connsiteX11145" fmla="*/ 1044547 w 4878487"/>
                <a:gd name="connsiteY11145" fmla="*/ 3624637 h 3690338"/>
                <a:gd name="connsiteX11146" fmla="*/ 1041793 w 4878487"/>
                <a:gd name="connsiteY11146" fmla="*/ 3623850 h 3690338"/>
                <a:gd name="connsiteX11147" fmla="*/ 1039039 w 4878487"/>
                <a:gd name="connsiteY11147" fmla="*/ 3622276 h 3690338"/>
                <a:gd name="connsiteX11148" fmla="*/ 1038253 w 4878487"/>
                <a:gd name="connsiteY11148" fmla="*/ 3625030 h 3690338"/>
                <a:gd name="connsiteX11149" fmla="*/ 1037466 w 4878487"/>
                <a:gd name="connsiteY11149" fmla="*/ 3627784 h 3690338"/>
                <a:gd name="connsiteX11150" fmla="*/ 1037072 w 4878487"/>
                <a:gd name="connsiteY11150" fmla="*/ 3628965 h 3690338"/>
                <a:gd name="connsiteX11151" fmla="*/ 1037466 w 4878487"/>
                <a:gd name="connsiteY11151" fmla="*/ 3631718 h 3690338"/>
                <a:gd name="connsiteX11152" fmla="*/ 1040220 w 4878487"/>
                <a:gd name="connsiteY11152" fmla="*/ 3631718 h 3690338"/>
                <a:gd name="connsiteX11153" fmla="*/ 1041400 w 4878487"/>
                <a:gd name="connsiteY11153" fmla="*/ 3632112 h 3690338"/>
                <a:gd name="connsiteX11154" fmla="*/ 1041793 w 4878487"/>
                <a:gd name="connsiteY11154" fmla="*/ 3634866 h 3690338"/>
                <a:gd name="connsiteX11155" fmla="*/ 1042187 w 4878487"/>
                <a:gd name="connsiteY11155" fmla="*/ 3635653 h 3690338"/>
                <a:gd name="connsiteX11156" fmla="*/ 1042580 w 4878487"/>
                <a:gd name="connsiteY11156" fmla="*/ 3636833 h 3690338"/>
                <a:gd name="connsiteX11157" fmla="*/ 1041006 w 4878487"/>
                <a:gd name="connsiteY11157" fmla="*/ 3635653 h 3690338"/>
                <a:gd name="connsiteX11158" fmla="*/ 1042580 w 4878487"/>
                <a:gd name="connsiteY11158" fmla="*/ 3638407 h 3690338"/>
                <a:gd name="connsiteX11159" fmla="*/ 1043761 w 4878487"/>
                <a:gd name="connsiteY11159" fmla="*/ 3639980 h 3690338"/>
                <a:gd name="connsiteX11160" fmla="*/ 1044941 w 4878487"/>
                <a:gd name="connsiteY11160" fmla="*/ 3643128 h 3690338"/>
                <a:gd name="connsiteX11161" fmla="*/ 1046121 w 4878487"/>
                <a:gd name="connsiteY11161" fmla="*/ 3643915 h 3690338"/>
                <a:gd name="connsiteX11162" fmla="*/ 1052809 w 4878487"/>
                <a:gd name="connsiteY11162" fmla="*/ 3656504 h 3690338"/>
                <a:gd name="connsiteX11163" fmla="*/ 1050055 w 4878487"/>
                <a:gd name="connsiteY11163" fmla="*/ 3664766 h 3690338"/>
                <a:gd name="connsiteX11164" fmla="*/ 1050055 w 4878487"/>
                <a:gd name="connsiteY11164" fmla="*/ 3667127 h 3690338"/>
                <a:gd name="connsiteX11165" fmla="*/ 1048875 w 4878487"/>
                <a:gd name="connsiteY11165" fmla="*/ 3669881 h 3690338"/>
                <a:gd name="connsiteX11166" fmla="*/ 1050842 w 4878487"/>
                <a:gd name="connsiteY11166" fmla="*/ 3672635 h 3690338"/>
                <a:gd name="connsiteX11167" fmla="*/ 1051629 w 4878487"/>
                <a:gd name="connsiteY11167" fmla="*/ 3675782 h 3690338"/>
                <a:gd name="connsiteX11168" fmla="*/ 1053596 w 4878487"/>
                <a:gd name="connsiteY11168" fmla="*/ 3676962 h 3690338"/>
                <a:gd name="connsiteX11169" fmla="*/ 1054383 w 4878487"/>
                <a:gd name="connsiteY11169" fmla="*/ 3668307 h 3690338"/>
                <a:gd name="connsiteX11170" fmla="*/ 1058711 w 4878487"/>
                <a:gd name="connsiteY11170" fmla="*/ 3667914 h 3690338"/>
                <a:gd name="connsiteX11171" fmla="*/ 1063432 w 4878487"/>
                <a:gd name="connsiteY11171" fmla="*/ 3669094 h 3690338"/>
                <a:gd name="connsiteX11172" fmla="*/ 1063039 w 4878487"/>
                <a:gd name="connsiteY11172" fmla="*/ 3672241 h 3690338"/>
                <a:gd name="connsiteX11173" fmla="*/ 1063825 w 4878487"/>
                <a:gd name="connsiteY11173" fmla="*/ 3674602 h 3690338"/>
                <a:gd name="connsiteX11174" fmla="*/ 1063039 w 4878487"/>
                <a:gd name="connsiteY11174" fmla="*/ 3677356 h 3690338"/>
                <a:gd name="connsiteX11175" fmla="*/ 1065792 w 4878487"/>
                <a:gd name="connsiteY11175" fmla="*/ 3677749 h 3690338"/>
                <a:gd name="connsiteX11176" fmla="*/ 1070513 w 4878487"/>
                <a:gd name="connsiteY11176" fmla="*/ 3677356 h 3690338"/>
                <a:gd name="connsiteX11177" fmla="*/ 1077595 w 4878487"/>
                <a:gd name="connsiteY11177" fmla="*/ 3684438 h 3690338"/>
                <a:gd name="connsiteX11178" fmla="*/ 1077202 w 4878487"/>
                <a:gd name="connsiteY11178" fmla="*/ 3685618 h 3690338"/>
                <a:gd name="connsiteX11179" fmla="*/ 1079562 w 4878487"/>
                <a:gd name="connsiteY11179" fmla="*/ 3686405 h 3690338"/>
                <a:gd name="connsiteX11180" fmla="*/ 1082316 w 4878487"/>
                <a:gd name="connsiteY11180" fmla="*/ 3688765 h 3690338"/>
                <a:gd name="connsiteX11181" fmla="*/ 1085464 w 4878487"/>
                <a:gd name="connsiteY11181" fmla="*/ 3691126 h 3690338"/>
                <a:gd name="connsiteX11182" fmla="*/ 1088218 w 4878487"/>
                <a:gd name="connsiteY11182" fmla="*/ 3691519 h 3690338"/>
                <a:gd name="connsiteX11183" fmla="*/ 1090972 w 4878487"/>
                <a:gd name="connsiteY11183" fmla="*/ 3691519 h 3690338"/>
                <a:gd name="connsiteX11184" fmla="*/ 1094119 w 4878487"/>
                <a:gd name="connsiteY11184" fmla="*/ 3693093 h 3690338"/>
                <a:gd name="connsiteX11185" fmla="*/ 1094119 w 4878487"/>
                <a:gd name="connsiteY11185" fmla="*/ 3693093 h 3690338"/>
                <a:gd name="connsiteX11186" fmla="*/ 1096086 w 4878487"/>
                <a:gd name="connsiteY11186" fmla="*/ 3693880 h 3690338"/>
                <a:gd name="connsiteX11187" fmla="*/ 1115364 w 4878487"/>
                <a:gd name="connsiteY11187" fmla="*/ 3680897 h 3690338"/>
                <a:gd name="connsiteX11188" fmla="*/ 1118512 w 4878487"/>
                <a:gd name="connsiteY11188" fmla="*/ 3681290 h 3690338"/>
                <a:gd name="connsiteX11189" fmla="*/ 1119692 w 4878487"/>
                <a:gd name="connsiteY11189" fmla="*/ 3679323 h 3690338"/>
                <a:gd name="connsiteX11190" fmla="*/ 1125200 w 4878487"/>
                <a:gd name="connsiteY11190" fmla="*/ 3678143 h 3690338"/>
                <a:gd name="connsiteX11191" fmla="*/ 1127954 w 4878487"/>
                <a:gd name="connsiteY11191" fmla="*/ 3678536 h 3690338"/>
                <a:gd name="connsiteX11192" fmla="*/ 1131101 w 4878487"/>
                <a:gd name="connsiteY11192" fmla="*/ 3679716 h 3690338"/>
                <a:gd name="connsiteX11193" fmla="*/ 1133855 w 4878487"/>
                <a:gd name="connsiteY11193" fmla="*/ 3680110 h 3690338"/>
                <a:gd name="connsiteX11194" fmla="*/ 1136609 w 4878487"/>
                <a:gd name="connsiteY11194" fmla="*/ 3678930 h 3690338"/>
                <a:gd name="connsiteX11195" fmla="*/ 1139757 w 4878487"/>
                <a:gd name="connsiteY11195" fmla="*/ 3677356 h 3690338"/>
                <a:gd name="connsiteX11196" fmla="*/ 1142511 w 4878487"/>
                <a:gd name="connsiteY11196" fmla="*/ 3678536 h 3690338"/>
                <a:gd name="connsiteX11197" fmla="*/ 1145658 w 4878487"/>
                <a:gd name="connsiteY11197" fmla="*/ 3678930 h 3690338"/>
                <a:gd name="connsiteX11198" fmla="*/ 1148412 w 4878487"/>
                <a:gd name="connsiteY11198" fmla="*/ 3678143 h 3690338"/>
                <a:gd name="connsiteX11199" fmla="*/ 1149592 w 4878487"/>
                <a:gd name="connsiteY11199" fmla="*/ 3677356 h 3690338"/>
                <a:gd name="connsiteX11200" fmla="*/ 1155100 w 4878487"/>
                <a:gd name="connsiteY11200" fmla="*/ 3672241 h 3690338"/>
                <a:gd name="connsiteX11201" fmla="*/ 1156674 w 4878487"/>
                <a:gd name="connsiteY11201" fmla="*/ 3672241 h 3690338"/>
                <a:gd name="connsiteX11202" fmla="*/ 1157067 w 4878487"/>
                <a:gd name="connsiteY11202" fmla="*/ 3670668 h 3690338"/>
                <a:gd name="connsiteX11203" fmla="*/ 1160215 w 4878487"/>
                <a:gd name="connsiteY11203" fmla="*/ 3667914 h 3690338"/>
                <a:gd name="connsiteX11204" fmla="*/ 1163756 w 4878487"/>
                <a:gd name="connsiteY11204" fmla="*/ 3667520 h 3690338"/>
                <a:gd name="connsiteX11205" fmla="*/ 1166509 w 4878487"/>
                <a:gd name="connsiteY11205" fmla="*/ 3667914 h 3690338"/>
                <a:gd name="connsiteX11206" fmla="*/ 1167690 w 4878487"/>
                <a:gd name="connsiteY11206" fmla="*/ 3667127 h 3690338"/>
                <a:gd name="connsiteX11207" fmla="*/ 1172804 w 4878487"/>
                <a:gd name="connsiteY11207" fmla="*/ 3666340 h 3690338"/>
                <a:gd name="connsiteX11208" fmla="*/ 1175558 w 4878487"/>
                <a:gd name="connsiteY11208" fmla="*/ 3667127 h 3690338"/>
                <a:gd name="connsiteX11209" fmla="*/ 1175952 w 4878487"/>
                <a:gd name="connsiteY11209" fmla="*/ 3666733 h 3690338"/>
                <a:gd name="connsiteX11210" fmla="*/ 1175558 w 4878487"/>
                <a:gd name="connsiteY11210" fmla="*/ 3666340 h 3690338"/>
                <a:gd name="connsiteX11211" fmla="*/ 1175558 w 4878487"/>
                <a:gd name="connsiteY11211" fmla="*/ 3680503 h 3690338"/>
                <a:gd name="connsiteX11212" fmla="*/ 1175952 w 4878487"/>
                <a:gd name="connsiteY11212" fmla="*/ 3679716 h 3690338"/>
                <a:gd name="connsiteX11213" fmla="*/ 1176345 w 4878487"/>
                <a:gd name="connsiteY11213" fmla="*/ 3680897 h 3690338"/>
                <a:gd name="connsiteX11214" fmla="*/ 1176345 w 4878487"/>
                <a:gd name="connsiteY11214" fmla="*/ 3681290 h 3690338"/>
                <a:gd name="connsiteX11215" fmla="*/ 1179099 w 4878487"/>
                <a:gd name="connsiteY11215" fmla="*/ 3682864 h 3690338"/>
                <a:gd name="connsiteX11216" fmla="*/ 1181853 w 4878487"/>
                <a:gd name="connsiteY11216" fmla="*/ 3683257 h 3690338"/>
                <a:gd name="connsiteX11217" fmla="*/ 1182640 w 4878487"/>
                <a:gd name="connsiteY11217" fmla="*/ 3682470 h 3690338"/>
                <a:gd name="connsiteX11218" fmla="*/ 1183034 w 4878487"/>
                <a:gd name="connsiteY11218" fmla="*/ 3682077 h 3690338"/>
                <a:gd name="connsiteX11219" fmla="*/ 1185787 w 4878487"/>
                <a:gd name="connsiteY11219" fmla="*/ 3683651 h 3690338"/>
                <a:gd name="connsiteX11220" fmla="*/ 1188541 w 4878487"/>
                <a:gd name="connsiteY11220" fmla="*/ 3684044 h 3690338"/>
                <a:gd name="connsiteX11221" fmla="*/ 1191689 w 4878487"/>
                <a:gd name="connsiteY11221" fmla="*/ 3684438 h 3690338"/>
                <a:gd name="connsiteX11222" fmla="*/ 1193263 w 4878487"/>
                <a:gd name="connsiteY11222" fmla="*/ 3681684 h 3690338"/>
                <a:gd name="connsiteX11223" fmla="*/ 1196016 w 4878487"/>
                <a:gd name="connsiteY11223" fmla="*/ 3681290 h 3690338"/>
                <a:gd name="connsiteX11224" fmla="*/ 1199164 w 4878487"/>
                <a:gd name="connsiteY11224" fmla="*/ 3680897 h 3690338"/>
                <a:gd name="connsiteX11225" fmla="*/ 1199951 w 4878487"/>
                <a:gd name="connsiteY11225" fmla="*/ 3680503 h 3690338"/>
                <a:gd name="connsiteX11226" fmla="*/ 1202705 w 4878487"/>
                <a:gd name="connsiteY11226" fmla="*/ 3681290 h 3690338"/>
                <a:gd name="connsiteX11227" fmla="*/ 1205852 w 4878487"/>
                <a:gd name="connsiteY11227" fmla="*/ 3681684 h 3690338"/>
                <a:gd name="connsiteX11228" fmla="*/ 1209000 w 4878487"/>
                <a:gd name="connsiteY11228" fmla="*/ 3682077 h 3690338"/>
                <a:gd name="connsiteX11229" fmla="*/ 1211754 w 4878487"/>
                <a:gd name="connsiteY11229" fmla="*/ 3682470 h 3690338"/>
                <a:gd name="connsiteX11230" fmla="*/ 1214508 w 4878487"/>
                <a:gd name="connsiteY11230" fmla="*/ 3683257 h 3690338"/>
                <a:gd name="connsiteX11231" fmla="*/ 1217655 w 4878487"/>
                <a:gd name="connsiteY11231" fmla="*/ 3684438 h 3690338"/>
                <a:gd name="connsiteX11232" fmla="*/ 1220409 w 4878487"/>
                <a:gd name="connsiteY11232" fmla="*/ 3684831 h 3690338"/>
                <a:gd name="connsiteX11233" fmla="*/ 1223163 w 4878487"/>
                <a:gd name="connsiteY11233" fmla="*/ 3686798 h 3690338"/>
                <a:gd name="connsiteX11234" fmla="*/ 1225917 w 4878487"/>
                <a:gd name="connsiteY11234" fmla="*/ 3687192 h 3690338"/>
                <a:gd name="connsiteX11235" fmla="*/ 1228671 w 4878487"/>
                <a:gd name="connsiteY11235" fmla="*/ 3686798 h 3690338"/>
                <a:gd name="connsiteX11236" fmla="*/ 1231818 w 4878487"/>
                <a:gd name="connsiteY11236" fmla="*/ 3687192 h 3690338"/>
                <a:gd name="connsiteX11237" fmla="*/ 1234572 w 4878487"/>
                <a:gd name="connsiteY11237" fmla="*/ 3684438 h 3690338"/>
                <a:gd name="connsiteX11238" fmla="*/ 1235752 w 4878487"/>
                <a:gd name="connsiteY11238" fmla="*/ 3681684 h 3690338"/>
                <a:gd name="connsiteX11239" fmla="*/ 1238507 w 4878487"/>
                <a:gd name="connsiteY11239" fmla="*/ 3680110 h 3690338"/>
                <a:gd name="connsiteX11240" fmla="*/ 1238900 w 4878487"/>
                <a:gd name="connsiteY11240" fmla="*/ 3679716 h 3690338"/>
                <a:gd name="connsiteX11241" fmla="*/ 1244408 w 4878487"/>
                <a:gd name="connsiteY11241" fmla="*/ 3680110 h 3690338"/>
                <a:gd name="connsiteX11242" fmla="*/ 1247162 w 4878487"/>
                <a:gd name="connsiteY11242" fmla="*/ 3680897 h 3690338"/>
                <a:gd name="connsiteX11243" fmla="*/ 1249916 w 4878487"/>
                <a:gd name="connsiteY11243" fmla="*/ 3682077 h 3690338"/>
                <a:gd name="connsiteX11244" fmla="*/ 1252670 w 4878487"/>
                <a:gd name="connsiteY11244" fmla="*/ 3682470 h 3690338"/>
                <a:gd name="connsiteX11245" fmla="*/ 1255818 w 4878487"/>
                <a:gd name="connsiteY11245" fmla="*/ 3682864 h 3690338"/>
                <a:gd name="connsiteX11246" fmla="*/ 1258571 w 4878487"/>
                <a:gd name="connsiteY11246" fmla="*/ 3682077 h 3690338"/>
                <a:gd name="connsiteX11247" fmla="*/ 1262899 w 4878487"/>
                <a:gd name="connsiteY11247" fmla="*/ 3672241 h 3690338"/>
                <a:gd name="connsiteX11248" fmla="*/ 1269587 w 4878487"/>
                <a:gd name="connsiteY11248" fmla="*/ 3671848 h 3690338"/>
                <a:gd name="connsiteX11249" fmla="*/ 1271555 w 4878487"/>
                <a:gd name="connsiteY11249" fmla="*/ 3672241 h 3690338"/>
                <a:gd name="connsiteX11250" fmla="*/ 1274702 w 4878487"/>
                <a:gd name="connsiteY11250" fmla="*/ 3673028 h 3690338"/>
                <a:gd name="connsiteX11251" fmla="*/ 1277456 w 4878487"/>
                <a:gd name="connsiteY11251" fmla="*/ 3673028 h 3690338"/>
                <a:gd name="connsiteX11252" fmla="*/ 1280603 w 4878487"/>
                <a:gd name="connsiteY11252" fmla="*/ 3673815 h 3690338"/>
                <a:gd name="connsiteX11253" fmla="*/ 1283357 w 4878487"/>
                <a:gd name="connsiteY11253" fmla="*/ 3672241 h 3690338"/>
                <a:gd name="connsiteX11254" fmla="*/ 1286111 w 4878487"/>
                <a:gd name="connsiteY11254" fmla="*/ 3670668 h 3690338"/>
                <a:gd name="connsiteX11255" fmla="*/ 1288865 w 4878487"/>
                <a:gd name="connsiteY11255" fmla="*/ 3669094 h 3690338"/>
                <a:gd name="connsiteX11256" fmla="*/ 1291619 w 4878487"/>
                <a:gd name="connsiteY11256" fmla="*/ 3668701 h 3690338"/>
                <a:gd name="connsiteX11257" fmla="*/ 1294373 w 4878487"/>
                <a:gd name="connsiteY11257" fmla="*/ 3667127 h 3690338"/>
                <a:gd name="connsiteX11258" fmla="*/ 1297521 w 4878487"/>
                <a:gd name="connsiteY11258" fmla="*/ 3665947 h 3690338"/>
                <a:gd name="connsiteX11259" fmla="*/ 1299488 w 4878487"/>
                <a:gd name="connsiteY11259" fmla="*/ 3663979 h 3690338"/>
                <a:gd name="connsiteX11260" fmla="*/ 1302242 w 4878487"/>
                <a:gd name="connsiteY11260" fmla="*/ 3662799 h 3690338"/>
                <a:gd name="connsiteX11261" fmla="*/ 1304996 w 4878487"/>
                <a:gd name="connsiteY11261" fmla="*/ 3660045 h 3690338"/>
                <a:gd name="connsiteX11262" fmla="*/ 1308143 w 4878487"/>
                <a:gd name="connsiteY11262" fmla="*/ 3658472 h 3690338"/>
                <a:gd name="connsiteX11263" fmla="*/ 1310503 w 4878487"/>
                <a:gd name="connsiteY11263" fmla="*/ 3656504 h 3690338"/>
                <a:gd name="connsiteX11264" fmla="*/ 1312864 w 4878487"/>
                <a:gd name="connsiteY11264" fmla="*/ 3654931 h 3690338"/>
                <a:gd name="connsiteX11265" fmla="*/ 1314044 w 4878487"/>
                <a:gd name="connsiteY11265" fmla="*/ 3654144 h 3690338"/>
                <a:gd name="connsiteX11266" fmla="*/ 1316012 w 4878487"/>
                <a:gd name="connsiteY11266" fmla="*/ 3652570 h 3690338"/>
                <a:gd name="connsiteX11267" fmla="*/ 1318766 w 4878487"/>
                <a:gd name="connsiteY11267" fmla="*/ 3650209 h 3690338"/>
                <a:gd name="connsiteX11268" fmla="*/ 1321520 w 4878487"/>
                <a:gd name="connsiteY11268" fmla="*/ 3648636 h 3690338"/>
                <a:gd name="connsiteX11269" fmla="*/ 1324273 w 4878487"/>
                <a:gd name="connsiteY11269" fmla="*/ 3646275 h 3690338"/>
                <a:gd name="connsiteX11270" fmla="*/ 1327421 w 4878487"/>
                <a:gd name="connsiteY11270" fmla="*/ 3643915 h 3690338"/>
                <a:gd name="connsiteX11271" fmla="*/ 1328995 w 4878487"/>
                <a:gd name="connsiteY11271" fmla="*/ 3641161 h 3690338"/>
                <a:gd name="connsiteX11272" fmla="*/ 1330175 w 4878487"/>
                <a:gd name="connsiteY11272" fmla="*/ 3639980 h 3690338"/>
                <a:gd name="connsiteX11273" fmla="*/ 1332929 w 4878487"/>
                <a:gd name="connsiteY11273" fmla="*/ 3638407 h 3690338"/>
                <a:gd name="connsiteX11274" fmla="*/ 1335683 w 4878487"/>
                <a:gd name="connsiteY11274" fmla="*/ 3636833 h 3690338"/>
                <a:gd name="connsiteX11275" fmla="*/ 1336076 w 4878487"/>
                <a:gd name="connsiteY11275" fmla="*/ 3636046 h 3690338"/>
                <a:gd name="connsiteX11276" fmla="*/ 1338830 w 4878487"/>
                <a:gd name="connsiteY11276" fmla="*/ 3634079 h 3690338"/>
                <a:gd name="connsiteX11277" fmla="*/ 1344339 w 4878487"/>
                <a:gd name="connsiteY11277" fmla="*/ 3628571 h 3690338"/>
                <a:gd name="connsiteX11278" fmla="*/ 1347486 w 4878487"/>
                <a:gd name="connsiteY11278" fmla="*/ 3625817 h 3690338"/>
                <a:gd name="connsiteX11279" fmla="*/ 1350240 w 4878487"/>
                <a:gd name="connsiteY11279" fmla="*/ 3623063 h 3690338"/>
                <a:gd name="connsiteX11280" fmla="*/ 1355354 w 4878487"/>
                <a:gd name="connsiteY11280" fmla="*/ 3617555 h 3690338"/>
                <a:gd name="connsiteX11281" fmla="*/ 1358108 w 4878487"/>
                <a:gd name="connsiteY11281" fmla="*/ 3614408 h 3690338"/>
                <a:gd name="connsiteX11282" fmla="*/ 1359288 w 4878487"/>
                <a:gd name="connsiteY11282" fmla="*/ 3612441 h 3690338"/>
                <a:gd name="connsiteX11283" fmla="*/ 1371878 w 4878487"/>
                <a:gd name="connsiteY11283" fmla="*/ 3599851 h 3690338"/>
                <a:gd name="connsiteX11284" fmla="*/ 1374632 w 4878487"/>
                <a:gd name="connsiteY11284" fmla="*/ 3597490 h 3690338"/>
                <a:gd name="connsiteX11285" fmla="*/ 1374632 w 4878487"/>
                <a:gd name="connsiteY11285" fmla="*/ 3597490 h 3690338"/>
                <a:gd name="connsiteX11286" fmla="*/ 1378960 w 4878487"/>
                <a:gd name="connsiteY11286" fmla="*/ 3593950 h 3690338"/>
                <a:gd name="connsiteX11287" fmla="*/ 1380140 w 4878487"/>
                <a:gd name="connsiteY11287" fmla="*/ 3593556 h 3690338"/>
                <a:gd name="connsiteX11288" fmla="*/ 1382894 w 4878487"/>
                <a:gd name="connsiteY11288" fmla="*/ 3590802 h 3690338"/>
                <a:gd name="connsiteX11289" fmla="*/ 1384861 w 4878487"/>
                <a:gd name="connsiteY11289" fmla="*/ 3589228 h 3690338"/>
                <a:gd name="connsiteX11290" fmla="*/ 1386828 w 4878487"/>
                <a:gd name="connsiteY11290" fmla="*/ 3586868 h 3690338"/>
                <a:gd name="connsiteX11291" fmla="*/ 1390763 w 4878487"/>
                <a:gd name="connsiteY11291" fmla="*/ 3581360 h 3690338"/>
                <a:gd name="connsiteX11292" fmla="*/ 1393123 w 4878487"/>
                <a:gd name="connsiteY11292" fmla="*/ 3578213 h 3690338"/>
                <a:gd name="connsiteX11293" fmla="*/ 1395484 w 4878487"/>
                <a:gd name="connsiteY11293" fmla="*/ 3575458 h 3690338"/>
                <a:gd name="connsiteX11294" fmla="*/ 1397844 w 4878487"/>
                <a:gd name="connsiteY11294" fmla="*/ 3572704 h 3690338"/>
                <a:gd name="connsiteX11295" fmla="*/ 1399418 w 4878487"/>
                <a:gd name="connsiteY11295" fmla="*/ 3569951 h 3690338"/>
                <a:gd name="connsiteX11296" fmla="*/ 1399812 w 4878487"/>
                <a:gd name="connsiteY11296" fmla="*/ 3569164 h 3690338"/>
                <a:gd name="connsiteX11297" fmla="*/ 1402172 w 4878487"/>
                <a:gd name="connsiteY11297" fmla="*/ 3565623 h 3690338"/>
                <a:gd name="connsiteX11298" fmla="*/ 1402959 w 4878487"/>
                <a:gd name="connsiteY11298" fmla="*/ 3564049 h 3690338"/>
                <a:gd name="connsiteX11299" fmla="*/ 1408073 w 4878487"/>
                <a:gd name="connsiteY11299" fmla="*/ 3555394 h 3690338"/>
                <a:gd name="connsiteX11300" fmla="*/ 1408860 w 4878487"/>
                <a:gd name="connsiteY11300" fmla="*/ 3554214 h 3690338"/>
                <a:gd name="connsiteX11301" fmla="*/ 1410434 w 4878487"/>
                <a:gd name="connsiteY11301" fmla="*/ 3551460 h 3690338"/>
                <a:gd name="connsiteX11302" fmla="*/ 1410827 w 4878487"/>
                <a:gd name="connsiteY11302" fmla="*/ 3551066 h 3690338"/>
                <a:gd name="connsiteX11303" fmla="*/ 1411221 w 4878487"/>
                <a:gd name="connsiteY11303" fmla="*/ 3549886 h 3690338"/>
                <a:gd name="connsiteX11304" fmla="*/ 1414761 w 4878487"/>
                <a:gd name="connsiteY11304" fmla="*/ 3544378 h 3690338"/>
                <a:gd name="connsiteX11305" fmla="*/ 1417516 w 4878487"/>
                <a:gd name="connsiteY11305" fmla="*/ 3541624 h 3690338"/>
                <a:gd name="connsiteX11306" fmla="*/ 1418302 w 4878487"/>
                <a:gd name="connsiteY11306" fmla="*/ 3540050 h 3690338"/>
                <a:gd name="connsiteX11307" fmla="*/ 1417909 w 4878487"/>
                <a:gd name="connsiteY11307" fmla="*/ 3537690 h 3690338"/>
                <a:gd name="connsiteX11308" fmla="*/ 1418302 w 4878487"/>
                <a:gd name="connsiteY11308" fmla="*/ 3536116 h 3690338"/>
                <a:gd name="connsiteX11309" fmla="*/ 1419876 w 4878487"/>
                <a:gd name="connsiteY11309" fmla="*/ 3532968 h 3690338"/>
                <a:gd name="connsiteX11310" fmla="*/ 1421450 w 4878487"/>
                <a:gd name="connsiteY11310" fmla="*/ 3530214 h 3690338"/>
                <a:gd name="connsiteX11311" fmla="*/ 1421450 w 4878487"/>
                <a:gd name="connsiteY11311" fmla="*/ 3529821 h 3690338"/>
                <a:gd name="connsiteX11312" fmla="*/ 1423810 w 4878487"/>
                <a:gd name="connsiteY11312" fmla="*/ 3527067 h 3690338"/>
                <a:gd name="connsiteX11313" fmla="*/ 1424597 w 4878487"/>
                <a:gd name="connsiteY11313" fmla="*/ 3525887 h 3690338"/>
                <a:gd name="connsiteX11314" fmla="*/ 1426564 w 4878487"/>
                <a:gd name="connsiteY11314" fmla="*/ 3523133 h 3690338"/>
                <a:gd name="connsiteX11315" fmla="*/ 1428138 w 4878487"/>
                <a:gd name="connsiteY11315" fmla="*/ 3521166 h 3690338"/>
                <a:gd name="connsiteX11316" fmla="*/ 1430499 w 4878487"/>
                <a:gd name="connsiteY11316" fmla="*/ 3518018 h 3690338"/>
                <a:gd name="connsiteX11317" fmla="*/ 1430892 w 4878487"/>
                <a:gd name="connsiteY11317" fmla="*/ 3517231 h 3690338"/>
                <a:gd name="connsiteX11318" fmla="*/ 1432072 w 4878487"/>
                <a:gd name="connsiteY11318" fmla="*/ 3516838 h 3690338"/>
                <a:gd name="connsiteX11319" fmla="*/ 1434827 w 4878487"/>
                <a:gd name="connsiteY11319" fmla="*/ 3514084 h 3690338"/>
                <a:gd name="connsiteX11320" fmla="*/ 1436400 w 4878487"/>
                <a:gd name="connsiteY11320" fmla="*/ 3512510 h 3690338"/>
                <a:gd name="connsiteX11321" fmla="*/ 1439154 w 4878487"/>
                <a:gd name="connsiteY11321" fmla="*/ 3509756 h 3690338"/>
                <a:gd name="connsiteX11322" fmla="*/ 1439941 w 4878487"/>
                <a:gd name="connsiteY11322" fmla="*/ 3508183 h 3690338"/>
                <a:gd name="connsiteX11323" fmla="*/ 1440728 w 4878487"/>
                <a:gd name="connsiteY11323" fmla="*/ 3507789 h 3690338"/>
                <a:gd name="connsiteX11324" fmla="*/ 1441515 w 4878487"/>
                <a:gd name="connsiteY11324" fmla="*/ 3508183 h 3690338"/>
                <a:gd name="connsiteX11325" fmla="*/ 1444268 w 4878487"/>
                <a:gd name="connsiteY11325" fmla="*/ 3507396 h 3690338"/>
                <a:gd name="connsiteX11326" fmla="*/ 1447023 w 4878487"/>
                <a:gd name="connsiteY11326" fmla="*/ 3505822 h 3690338"/>
                <a:gd name="connsiteX11327" fmla="*/ 1446629 w 4878487"/>
                <a:gd name="connsiteY11327" fmla="*/ 3503855 h 3690338"/>
                <a:gd name="connsiteX11328" fmla="*/ 1449383 w 4878487"/>
                <a:gd name="connsiteY11328" fmla="*/ 3503462 h 3690338"/>
                <a:gd name="connsiteX11329" fmla="*/ 1452531 w 4878487"/>
                <a:gd name="connsiteY11329" fmla="*/ 3500707 h 3690338"/>
                <a:gd name="connsiteX11330" fmla="*/ 1455285 w 4878487"/>
                <a:gd name="connsiteY11330" fmla="*/ 3497953 h 3690338"/>
                <a:gd name="connsiteX11331" fmla="*/ 1458038 w 4878487"/>
                <a:gd name="connsiteY11331" fmla="*/ 3495200 h 3690338"/>
                <a:gd name="connsiteX11332" fmla="*/ 1459612 w 4878487"/>
                <a:gd name="connsiteY11332" fmla="*/ 3492446 h 3690338"/>
                <a:gd name="connsiteX11333" fmla="*/ 1459612 w 4878487"/>
                <a:gd name="connsiteY11333" fmla="*/ 3490085 h 3690338"/>
                <a:gd name="connsiteX11334" fmla="*/ 1459612 w 4878487"/>
                <a:gd name="connsiteY11334" fmla="*/ 3489692 h 3690338"/>
                <a:gd name="connsiteX11335" fmla="*/ 1462366 w 4878487"/>
                <a:gd name="connsiteY11335" fmla="*/ 3485757 h 3690338"/>
                <a:gd name="connsiteX11336" fmla="*/ 1463940 w 4878487"/>
                <a:gd name="connsiteY11336" fmla="*/ 3483003 h 3690338"/>
                <a:gd name="connsiteX11337" fmla="*/ 1464727 w 4878487"/>
                <a:gd name="connsiteY11337" fmla="*/ 3479856 h 3690338"/>
                <a:gd name="connsiteX11338" fmla="*/ 1465120 w 4878487"/>
                <a:gd name="connsiteY11338" fmla="*/ 3477102 h 3690338"/>
                <a:gd name="connsiteX11339" fmla="*/ 1465907 w 4878487"/>
                <a:gd name="connsiteY11339" fmla="*/ 3474348 h 3690338"/>
                <a:gd name="connsiteX11340" fmla="*/ 1465514 w 4878487"/>
                <a:gd name="connsiteY11340" fmla="*/ 3473561 h 3690338"/>
                <a:gd name="connsiteX11341" fmla="*/ 1466301 w 4878487"/>
                <a:gd name="connsiteY11341" fmla="*/ 3470414 h 3690338"/>
                <a:gd name="connsiteX11342" fmla="*/ 1466301 w 4878487"/>
                <a:gd name="connsiteY11342" fmla="*/ 3469627 h 3690338"/>
                <a:gd name="connsiteX11343" fmla="*/ 1468268 w 4878487"/>
                <a:gd name="connsiteY11343" fmla="*/ 3461365 h 3690338"/>
                <a:gd name="connsiteX11344" fmla="*/ 1470235 w 4878487"/>
                <a:gd name="connsiteY11344" fmla="*/ 3456644 h 3690338"/>
                <a:gd name="connsiteX11345" fmla="*/ 1470628 w 4878487"/>
                <a:gd name="connsiteY11345" fmla="*/ 3455857 h 3690338"/>
                <a:gd name="connsiteX11346" fmla="*/ 1471022 w 4878487"/>
                <a:gd name="connsiteY11346" fmla="*/ 3454283 h 3690338"/>
                <a:gd name="connsiteX11347" fmla="*/ 1472595 w 4878487"/>
                <a:gd name="connsiteY11347" fmla="*/ 3448775 h 3690338"/>
                <a:gd name="connsiteX11348" fmla="*/ 1474169 w 4878487"/>
                <a:gd name="connsiteY11348" fmla="*/ 3446021 h 3690338"/>
                <a:gd name="connsiteX11349" fmla="*/ 1474956 w 4878487"/>
                <a:gd name="connsiteY11349" fmla="*/ 3442874 h 3690338"/>
                <a:gd name="connsiteX11350" fmla="*/ 1475349 w 4878487"/>
                <a:gd name="connsiteY11350" fmla="*/ 3440120 h 3690338"/>
                <a:gd name="connsiteX11351" fmla="*/ 1476136 w 4878487"/>
                <a:gd name="connsiteY11351" fmla="*/ 3437759 h 3690338"/>
                <a:gd name="connsiteX11352" fmla="*/ 1476530 w 4878487"/>
                <a:gd name="connsiteY11352" fmla="*/ 3434612 h 3690338"/>
                <a:gd name="connsiteX11353" fmla="*/ 1476923 w 4878487"/>
                <a:gd name="connsiteY11353" fmla="*/ 3431858 h 3690338"/>
                <a:gd name="connsiteX11354" fmla="*/ 1477710 w 4878487"/>
                <a:gd name="connsiteY11354" fmla="*/ 3429104 h 3690338"/>
                <a:gd name="connsiteX11355" fmla="*/ 1478104 w 4878487"/>
                <a:gd name="connsiteY11355" fmla="*/ 3425956 h 3690338"/>
                <a:gd name="connsiteX11356" fmla="*/ 1478497 w 4878487"/>
                <a:gd name="connsiteY11356" fmla="*/ 3423202 h 3690338"/>
                <a:gd name="connsiteX11357" fmla="*/ 1478890 w 4878487"/>
                <a:gd name="connsiteY11357" fmla="*/ 3420055 h 3690338"/>
                <a:gd name="connsiteX11358" fmla="*/ 1479283 w 4878487"/>
                <a:gd name="connsiteY11358" fmla="*/ 3417301 h 3690338"/>
                <a:gd name="connsiteX11359" fmla="*/ 1479677 w 4878487"/>
                <a:gd name="connsiteY11359" fmla="*/ 3414547 h 3690338"/>
                <a:gd name="connsiteX11360" fmla="*/ 1477316 w 4878487"/>
                <a:gd name="connsiteY11360" fmla="*/ 3417301 h 3690338"/>
                <a:gd name="connsiteX11361" fmla="*/ 1474563 w 4878487"/>
                <a:gd name="connsiteY11361" fmla="*/ 3416121 h 3690338"/>
                <a:gd name="connsiteX11362" fmla="*/ 1472202 w 4878487"/>
                <a:gd name="connsiteY11362" fmla="*/ 3415334 h 3690338"/>
                <a:gd name="connsiteX11363" fmla="*/ 1471808 w 4878487"/>
                <a:gd name="connsiteY11363" fmla="*/ 3412580 h 3690338"/>
                <a:gd name="connsiteX11364" fmla="*/ 1470235 w 4878487"/>
                <a:gd name="connsiteY11364" fmla="*/ 3409433 h 3690338"/>
                <a:gd name="connsiteX11365" fmla="*/ 1467481 w 4878487"/>
                <a:gd name="connsiteY11365" fmla="*/ 3409433 h 3690338"/>
                <a:gd name="connsiteX11366" fmla="*/ 1466694 w 4878487"/>
                <a:gd name="connsiteY11366" fmla="*/ 3409039 h 3690338"/>
                <a:gd name="connsiteX11367" fmla="*/ 1469841 w 4878487"/>
                <a:gd name="connsiteY11367" fmla="*/ 3408252 h 3690338"/>
                <a:gd name="connsiteX11368" fmla="*/ 1472595 w 4878487"/>
                <a:gd name="connsiteY11368" fmla="*/ 3405892 h 3690338"/>
                <a:gd name="connsiteX11369" fmla="*/ 1474169 w 4878487"/>
                <a:gd name="connsiteY11369" fmla="*/ 3403138 h 3690338"/>
                <a:gd name="connsiteX11370" fmla="*/ 1474956 w 4878487"/>
                <a:gd name="connsiteY11370" fmla="*/ 3402351 h 3690338"/>
                <a:gd name="connsiteX11371" fmla="*/ 1487545 w 4878487"/>
                <a:gd name="connsiteY11371" fmla="*/ 3387794 h 3690338"/>
                <a:gd name="connsiteX11372" fmla="*/ 1488332 w 4878487"/>
                <a:gd name="connsiteY11372" fmla="*/ 3387401 h 3690338"/>
                <a:gd name="connsiteX11373" fmla="*/ 1489906 w 4878487"/>
                <a:gd name="connsiteY11373" fmla="*/ 3384647 h 3690338"/>
                <a:gd name="connsiteX11374" fmla="*/ 1491086 w 4878487"/>
                <a:gd name="connsiteY11374" fmla="*/ 3384253 h 3690338"/>
                <a:gd name="connsiteX11375" fmla="*/ 1494234 w 4878487"/>
                <a:gd name="connsiteY11375" fmla="*/ 3383466 h 3690338"/>
                <a:gd name="connsiteX11376" fmla="*/ 1495808 w 4878487"/>
                <a:gd name="connsiteY11376" fmla="*/ 3382286 h 3690338"/>
                <a:gd name="connsiteX11377" fmla="*/ 1498955 w 4878487"/>
                <a:gd name="connsiteY11377" fmla="*/ 3381106 h 3690338"/>
                <a:gd name="connsiteX11378" fmla="*/ 1515085 w 4878487"/>
                <a:gd name="connsiteY11378" fmla="*/ 3374418 h 3690338"/>
                <a:gd name="connsiteX11379" fmla="*/ 1517839 w 4878487"/>
                <a:gd name="connsiteY11379" fmla="*/ 3373237 h 3690338"/>
                <a:gd name="connsiteX11380" fmla="*/ 1520987 w 4878487"/>
                <a:gd name="connsiteY11380" fmla="*/ 3372451 h 3690338"/>
                <a:gd name="connsiteX11381" fmla="*/ 1523741 w 4878487"/>
                <a:gd name="connsiteY11381" fmla="*/ 3370877 h 3690338"/>
                <a:gd name="connsiteX11382" fmla="*/ 1525315 w 4878487"/>
                <a:gd name="connsiteY11382" fmla="*/ 3370090 h 3690338"/>
                <a:gd name="connsiteX11383" fmla="*/ 1527675 w 4878487"/>
                <a:gd name="connsiteY11383" fmla="*/ 3369303 h 3690338"/>
                <a:gd name="connsiteX11384" fmla="*/ 1530429 w 4878487"/>
                <a:gd name="connsiteY11384" fmla="*/ 3368516 h 3690338"/>
                <a:gd name="connsiteX11385" fmla="*/ 1531216 w 4878487"/>
                <a:gd name="connsiteY11385" fmla="*/ 3368123 h 3690338"/>
                <a:gd name="connsiteX11386" fmla="*/ 1544986 w 4878487"/>
                <a:gd name="connsiteY11386" fmla="*/ 3361435 h 3690338"/>
                <a:gd name="connsiteX11387" fmla="*/ 1545379 w 4878487"/>
                <a:gd name="connsiteY11387" fmla="*/ 3361041 h 3690338"/>
                <a:gd name="connsiteX11388" fmla="*/ 1547346 w 4878487"/>
                <a:gd name="connsiteY11388" fmla="*/ 3359468 h 3690338"/>
                <a:gd name="connsiteX11389" fmla="*/ 1547346 w 4878487"/>
                <a:gd name="connsiteY11389" fmla="*/ 3359468 h 3690338"/>
                <a:gd name="connsiteX11390" fmla="*/ 1547346 w 4878487"/>
                <a:gd name="connsiteY11390" fmla="*/ 3359468 h 3690338"/>
                <a:gd name="connsiteX11391" fmla="*/ 1548526 w 4878487"/>
                <a:gd name="connsiteY11391" fmla="*/ 3358681 h 3690338"/>
                <a:gd name="connsiteX11392" fmla="*/ 1550100 w 4878487"/>
                <a:gd name="connsiteY11392" fmla="*/ 3355927 h 3690338"/>
                <a:gd name="connsiteX11393" fmla="*/ 1552461 w 4878487"/>
                <a:gd name="connsiteY11393" fmla="*/ 3353173 h 3690338"/>
                <a:gd name="connsiteX11394" fmla="*/ 1554428 w 4878487"/>
                <a:gd name="connsiteY11394" fmla="*/ 3350419 h 3690338"/>
                <a:gd name="connsiteX11395" fmla="*/ 1556395 w 4878487"/>
                <a:gd name="connsiteY11395" fmla="*/ 3347665 h 3690338"/>
                <a:gd name="connsiteX11396" fmla="*/ 1556789 w 4878487"/>
                <a:gd name="connsiteY11396" fmla="*/ 3347271 h 3690338"/>
                <a:gd name="connsiteX11397" fmla="*/ 1555215 w 4878487"/>
                <a:gd name="connsiteY11397" fmla="*/ 3336649 h 3690338"/>
                <a:gd name="connsiteX11398" fmla="*/ 1554822 w 4878487"/>
                <a:gd name="connsiteY11398" fmla="*/ 3339009 h 3690338"/>
                <a:gd name="connsiteX11399" fmla="*/ 1554428 w 4878487"/>
                <a:gd name="connsiteY11399" fmla="*/ 3335862 h 3690338"/>
                <a:gd name="connsiteX11400" fmla="*/ 1554822 w 4878487"/>
                <a:gd name="connsiteY11400" fmla="*/ 3333108 h 3690338"/>
                <a:gd name="connsiteX11401" fmla="*/ 1554822 w 4878487"/>
                <a:gd name="connsiteY11401" fmla="*/ 3330354 h 3690338"/>
                <a:gd name="connsiteX11402" fmla="*/ 1560723 w 4878487"/>
                <a:gd name="connsiteY11402" fmla="*/ 3291405 h 3690338"/>
                <a:gd name="connsiteX11403" fmla="*/ 1561116 w 4878487"/>
                <a:gd name="connsiteY11403" fmla="*/ 3289437 h 3690338"/>
                <a:gd name="connsiteX11404" fmla="*/ 1562296 w 4878487"/>
                <a:gd name="connsiteY11404" fmla="*/ 3286684 h 3690338"/>
                <a:gd name="connsiteX11405" fmla="*/ 1562296 w 4878487"/>
                <a:gd name="connsiteY11405" fmla="*/ 3283536 h 3690338"/>
                <a:gd name="connsiteX11406" fmla="*/ 1562690 w 4878487"/>
                <a:gd name="connsiteY11406" fmla="*/ 3281963 h 3690338"/>
                <a:gd name="connsiteX11407" fmla="*/ 1563084 w 4878487"/>
                <a:gd name="connsiteY11407" fmla="*/ 3279209 h 3690338"/>
                <a:gd name="connsiteX11408" fmla="*/ 1562296 w 4878487"/>
                <a:gd name="connsiteY11408" fmla="*/ 3282356 h 3690338"/>
                <a:gd name="connsiteX11409" fmla="*/ 1561903 w 4878487"/>
                <a:gd name="connsiteY11409" fmla="*/ 3279209 h 3690338"/>
                <a:gd name="connsiteX11410" fmla="*/ 1561903 w 4878487"/>
                <a:gd name="connsiteY11410" fmla="*/ 3276454 h 3690338"/>
                <a:gd name="connsiteX11411" fmla="*/ 1559936 w 4878487"/>
                <a:gd name="connsiteY11411" fmla="*/ 3279209 h 3690338"/>
                <a:gd name="connsiteX11412" fmla="*/ 1558362 w 4878487"/>
                <a:gd name="connsiteY11412" fmla="*/ 3282356 h 3690338"/>
                <a:gd name="connsiteX11413" fmla="*/ 1558756 w 4878487"/>
                <a:gd name="connsiteY11413" fmla="*/ 3285503 h 3690338"/>
                <a:gd name="connsiteX11414" fmla="*/ 1558362 w 4878487"/>
                <a:gd name="connsiteY11414" fmla="*/ 3288257 h 3690338"/>
                <a:gd name="connsiteX11415" fmla="*/ 1555608 w 4878487"/>
                <a:gd name="connsiteY11415" fmla="*/ 3285110 h 3690338"/>
                <a:gd name="connsiteX11416" fmla="*/ 1556395 w 4878487"/>
                <a:gd name="connsiteY11416" fmla="*/ 3282356 h 3690338"/>
                <a:gd name="connsiteX11417" fmla="*/ 1556789 w 4878487"/>
                <a:gd name="connsiteY11417" fmla="*/ 3279602 h 3690338"/>
                <a:gd name="connsiteX11418" fmla="*/ 1557182 w 4878487"/>
                <a:gd name="connsiteY11418" fmla="*/ 3276848 h 3690338"/>
                <a:gd name="connsiteX11419" fmla="*/ 1556789 w 4878487"/>
                <a:gd name="connsiteY11419" fmla="*/ 3273700 h 3690338"/>
                <a:gd name="connsiteX11420" fmla="*/ 1557182 w 4878487"/>
                <a:gd name="connsiteY11420" fmla="*/ 3272127 h 3690338"/>
                <a:gd name="connsiteX11421" fmla="*/ 1556789 w 4878487"/>
                <a:gd name="connsiteY11421" fmla="*/ 3269373 h 3690338"/>
                <a:gd name="connsiteX11422" fmla="*/ 1555608 w 4878487"/>
                <a:gd name="connsiteY11422" fmla="*/ 3266619 h 3690338"/>
                <a:gd name="connsiteX11423" fmla="*/ 1555608 w 4878487"/>
                <a:gd name="connsiteY11423" fmla="*/ 3265045 h 3690338"/>
                <a:gd name="connsiteX11424" fmla="*/ 1555608 w 4878487"/>
                <a:gd name="connsiteY11424" fmla="*/ 3261898 h 3690338"/>
                <a:gd name="connsiteX11425" fmla="*/ 1555608 w 4878487"/>
                <a:gd name="connsiteY11425" fmla="*/ 3260324 h 3690338"/>
                <a:gd name="connsiteX11426" fmla="*/ 1554428 w 4878487"/>
                <a:gd name="connsiteY11426" fmla="*/ 3258357 h 3690338"/>
                <a:gd name="connsiteX11427" fmla="*/ 1554428 w 4878487"/>
                <a:gd name="connsiteY11427" fmla="*/ 3257963 h 3690338"/>
                <a:gd name="connsiteX11428" fmla="*/ 1554428 w 4878487"/>
                <a:gd name="connsiteY11428" fmla="*/ 3257963 h 3690338"/>
                <a:gd name="connsiteX11429" fmla="*/ 1554035 w 4878487"/>
                <a:gd name="connsiteY11429" fmla="*/ 3257570 h 3690338"/>
                <a:gd name="connsiteX11430" fmla="*/ 1552461 w 4878487"/>
                <a:gd name="connsiteY11430" fmla="*/ 3254423 h 3690338"/>
                <a:gd name="connsiteX11431" fmla="*/ 1551281 w 4878487"/>
                <a:gd name="connsiteY11431" fmla="*/ 3251669 h 3690338"/>
                <a:gd name="connsiteX11432" fmla="*/ 1551281 w 4878487"/>
                <a:gd name="connsiteY11432" fmla="*/ 3247734 h 3690338"/>
                <a:gd name="connsiteX11433" fmla="*/ 1551281 w 4878487"/>
                <a:gd name="connsiteY11433" fmla="*/ 3247341 h 3690338"/>
                <a:gd name="connsiteX11434" fmla="*/ 1554428 w 4878487"/>
                <a:gd name="connsiteY11434" fmla="*/ 3257177 h 3690338"/>
                <a:gd name="connsiteX11435" fmla="*/ 1551674 w 4878487"/>
                <a:gd name="connsiteY11435" fmla="*/ 3236325 h 3690338"/>
                <a:gd name="connsiteX11436" fmla="*/ 1551281 w 4878487"/>
                <a:gd name="connsiteY11436" fmla="*/ 3235932 h 3690338"/>
                <a:gd name="connsiteX11437" fmla="*/ 1542625 w 4878487"/>
                <a:gd name="connsiteY11437" fmla="*/ 3203277 h 3690338"/>
                <a:gd name="connsiteX11438" fmla="*/ 1543019 w 4878487"/>
                <a:gd name="connsiteY11438" fmla="*/ 3200130 h 3690338"/>
                <a:gd name="connsiteX11439" fmla="*/ 1541445 w 4878487"/>
                <a:gd name="connsiteY11439" fmla="*/ 3199736 h 3690338"/>
                <a:gd name="connsiteX11440" fmla="*/ 1543412 w 4878487"/>
                <a:gd name="connsiteY11440" fmla="*/ 3196589 h 3690338"/>
                <a:gd name="connsiteX11441" fmla="*/ 1542625 w 4878487"/>
                <a:gd name="connsiteY11441" fmla="*/ 3195802 h 3690338"/>
                <a:gd name="connsiteX11442" fmla="*/ 1545773 w 4878487"/>
                <a:gd name="connsiteY11442" fmla="*/ 3198556 h 3690338"/>
                <a:gd name="connsiteX11443" fmla="*/ 1548526 w 4878487"/>
                <a:gd name="connsiteY11443" fmla="*/ 3197376 h 3690338"/>
                <a:gd name="connsiteX11444" fmla="*/ 1550100 w 4878487"/>
                <a:gd name="connsiteY11444" fmla="*/ 3196196 h 3690338"/>
                <a:gd name="connsiteX11445" fmla="*/ 1553248 w 4878487"/>
                <a:gd name="connsiteY11445" fmla="*/ 3193442 h 3690338"/>
                <a:gd name="connsiteX11446" fmla="*/ 1556002 w 4878487"/>
                <a:gd name="connsiteY11446" fmla="*/ 3191081 h 3690338"/>
                <a:gd name="connsiteX11447" fmla="*/ 1558756 w 4878487"/>
                <a:gd name="connsiteY11447" fmla="*/ 3188327 h 3690338"/>
                <a:gd name="connsiteX11448" fmla="*/ 1561510 w 4878487"/>
                <a:gd name="connsiteY11448" fmla="*/ 3185573 h 3690338"/>
                <a:gd name="connsiteX11449" fmla="*/ 1563870 w 4878487"/>
                <a:gd name="connsiteY11449" fmla="*/ 3182426 h 3690338"/>
                <a:gd name="connsiteX11450" fmla="*/ 1581574 w 4878487"/>
                <a:gd name="connsiteY11450" fmla="*/ 3165508 h 3690338"/>
                <a:gd name="connsiteX11451" fmla="*/ 1581968 w 4878487"/>
                <a:gd name="connsiteY11451" fmla="*/ 3165508 h 3690338"/>
                <a:gd name="connsiteX11452" fmla="*/ 1582362 w 4878487"/>
                <a:gd name="connsiteY11452" fmla="*/ 3165115 h 3690338"/>
                <a:gd name="connsiteX11453" fmla="*/ 1585115 w 4878487"/>
                <a:gd name="connsiteY11453" fmla="*/ 3162754 h 3690338"/>
                <a:gd name="connsiteX11454" fmla="*/ 1584722 w 4878487"/>
                <a:gd name="connsiteY11454" fmla="*/ 3165508 h 3690338"/>
                <a:gd name="connsiteX11455" fmla="*/ 1587476 w 4878487"/>
                <a:gd name="connsiteY11455" fmla="*/ 3165115 h 3690338"/>
                <a:gd name="connsiteX11456" fmla="*/ 1588263 w 4878487"/>
                <a:gd name="connsiteY11456" fmla="*/ 3164328 h 3690338"/>
                <a:gd name="connsiteX11457" fmla="*/ 1588263 w 4878487"/>
                <a:gd name="connsiteY11457" fmla="*/ 3161574 h 3690338"/>
                <a:gd name="connsiteX11458" fmla="*/ 1587869 w 4878487"/>
                <a:gd name="connsiteY11458" fmla="*/ 3159213 h 3690338"/>
                <a:gd name="connsiteX11459" fmla="*/ 1587869 w 4878487"/>
                <a:gd name="connsiteY11459" fmla="*/ 3158820 h 3690338"/>
                <a:gd name="connsiteX11460" fmla="*/ 1589443 w 4878487"/>
                <a:gd name="connsiteY11460" fmla="*/ 3161968 h 3690338"/>
                <a:gd name="connsiteX11461" fmla="*/ 1592197 w 4878487"/>
                <a:gd name="connsiteY11461" fmla="*/ 3162361 h 3690338"/>
                <a:gd name="connsiteX11462" fmla="*/ 1592197 w 4878487"/>
                <a:gd name="connsiteY11462" fmla="*/ 3159213 h 3690338"/>
                <a:gd name="connsiteX11463" fmla="*/ 1594164 w 4878487"/>
                <a:gd name="connsiteY11463" fmla="*/ 3156459 h 3690338"/>
                <a:gd name="connsiteX11464" fmla="*/ 1594558 w 4878487"/>
                <a:gd name="connsiteY11464" fmla="*/ 3154492 h 3690338"/>
                <a:gd name="connsiteX11465" fmla="*/ 1597705 w 4878487"/>
                <a:gd name="connsiteY11465" fmla="*/ 3152132 h 3690338"/>
                <a:gd name="connsiteX11466" fmla="*/ 1600066 w 4878487"/>
                <a:gd name="connsiteY11466" fmla="*/ 3149378 h 3690338"/>
                <a:gd name="connsiteX11467" fmla="*/ 1602819 w 4878487"/>
                <a:gd name="connsiteY11467" fmla="*/ 3146624 h 3690338"/>
                <a:gd name="connsiteX11468" fmla="*/ 1605180 w 4878487"/>
                <a:gd name="connsiteY11468" fmla="*/ 3143870 h 3690338"/>
                <a:gd name="connsiteX11469" fmla="*/ 1607934 w 4878487"/>
                <a:gd name="connsiteY11469" fmla="*/ 3140722 h 3690338"/>
                <a:gd name="connsiteX11470" fmla="*/ 1609901 w 4878487"/>
                <a:gd name="connsiteY11470" fmla="*/ 3137575 h 3690338"/>
                <a:gd name="connsiteX11471" fmla="*/ 1607540 w 4878487"/>
                <a:gd name="connsiteY11471" fmla="*/ 3134428 h 3690338"/>
                <a:gd name="connsiteX11472" fmla="*/ 1605573 w 4878487"/>
                <a:gd name="connsiteY11472" fmla="*/ 3132067 h 3690338"/>
                <a:gd name="connsiteX11473" fmla="*/ 1608328 w 4878487"/>
                <a:gd name="connsiteY11473" fmla="*/ 3133641 h 3690338"/>
                <a:gd name="connsiteX11474" fmla="*/ 1611475 w 4878487"/>
                <a:gd name="connsiteY11474" fmla="*/ 3134034 h 3690338"/>
                <a:gd name="connsiteX11475" fmla="*/ 1613048 w 4878487"/>
                <a:gd name="connsiteY11475" fmla="*/ 3131280 h 3690338"/>
                <a:gd name="connsiteX11476" fmla="*/ 1616196 w 4878487"/>
                <a:gd name="connsiteY11476" fmla="*/ 3128133 h 3690338"/>
                <a:gd name="connsiteX11477" fmla="*/ 1616589 w 4878487"/>
                <a:gd name="connsiteY11477" fmla="*/ 3127346 h 3690338"/>
                <a:gd name="connsiteX11478" fmla="*/ 1621704 w 4878487"/>
                <a:gd name="connsiteY11478" fmla="*/ 3123805 h 3690338"/>
                <a:gd name="connsiteX11479" fmla="*/ 1624458 w 4878487"/>
                <a:gd name="connsiteY11479" fmla="*/ 3122231 h 3690338"/>
                <a:gd name="connsiteX11480" fmla="*/ 1627212 w 4878487"/>
                <a:gd name="connsiteY11480" fmla="*/ 3120658 h 3690338"/>
                <a:gd name="connsiteX11481" fmla="*/ 1627999 w 4878487"/>
                <a:gd name="connsiteY11481" fmla="*/ 3119478 h 3690338"/>
                <a:gd name="connsiteX11482" fmla="*/ 1631146 w 4878487"/>
                <a:gd name="connsiteY11482" fmla="*/ 3118297 h 3690338"/>
                <a:gd name="connsiteX11483" fmla="*/ 1633507 w 4878487"/>
                <a:gd name="connsiteY11483" fmla="*/ 3116723 h 3690338"/>
                <a:gd name="connsiteX11484" fmla="*/ 1641375 w 4878487"/>
                <a:gd name="connsiteY11484" fmla="*/ 3112789 h 3690338"/>
                <a:gd name="connsiteX11485" fmla="*/ 1642949 w 4878487"/>
                <a:gd name="connsiteY11485" fmla="*/ 3112396 h 3690338"/>
                <a:gd name="connsiteX11486" fmla="*/ 1643343 w 4878487"/>
                <a:gd name="connsiteY11486" fmla="*/ 3112002 h 3690338"/>
                <a:gd name="connsiteX11487" fmla="*/ 1646096 w 4878487"/>
                <a:gd name="connsiteY11487" fmla="*/ 3110822 h 3690338"/>
                <a:gd name="connsiteX11488" fmla="*/ 1648850 w 4878487"/>
                <a:gd name="connsiteY11488" fmla="*/ 3109642 h 3690338"/>
                <a:gd name="connsiteX11489" fmla="*/ 1651998 w 4878487"/>
                <a:gd name="connsiteY11489" fmla="*/ 3108068 h 3690338"/>
                <a:gd name="connsiteX11490" fmla="*/ 1654752 w 4878487"/>
                <a:gd name="connsiteY11490" fmla="*/ 3106888 h 3690338"/>
                <a:gd name="connsiteX11491" fmla="*/ 1657899 w 4878487"/>
                <a:gd name="connsiteY11491" fmla="*/ 3105708 h 3690338"/>
                <a:gd name="connsiteX11492" fmla="*/ 1660653 w 4878487"/>
                <a:gd name="connsiteY11492" fmla="*/ 3104134 h 3690338"/>
                <a:gd name="connsiteX11493" fmla="*/ 1661440 w 4878487"/>
                <a:gd name="connsiteY11493" fmla="*/ 3102167 h 3690338"/>
                <a:gd name="connsiteX11494" fmla="*/ 1664587 w 4878487"/>
                <a:gd name="connsiteY11494" fmla="*/ 3102954 h 3690338"/>
                <a:gd name="connsiteX11495" fmla="*/ 1667735 w 4878487"/>
                <a:gd name="connsiteY11495" fmla="*/ 3102560 h 3690338"/>
                <a:gd name="connsiteX11496" fmla="*/ 1670489 w 4878487"/>
                <a:gd name="connsiteY11496" fmla="*/ 3100986 h 3690338"/>
                <a:gd name="connsiteX11497" fmla="*/ 1671669 w 4878487"/>
                <a:gd name="connsiteY11497" fmla="*/ 3100593 h 3690338"/>
                <a:gd name="connsiteX11498" fmla="*/ 1674423 w 4878487"/>
                <a:gd name="connsiteY11498" fmla="*/ 3100200 h 3690338"/>
                <a:gd name="connsiteX11499" fmla="*/ 1674817 w 4878487"/>
                <a:gd name="connsiteY11499" fmla="*/ 3097445 h 3690338"/>
                <a:gd name="connsiteX11500" fmla="*/ 1675210 w 4878487"/>
                <a:gd name="connsiteY11500" fmla="*/ 3096659 h 3690338"/>
                <a:gd name="connsiteX11501" fmla="*/ 1678357 w 4878487"/>
                <a:gd name="connsiteY11501" fmla="*/ 3094298 h 3690338"/>
                <a:gd name="connsiteX11502" fmla="*/ 1681111 w 4878487"/>
                <a:gd name="connsiteY11502" fmla="*/ 3092331 h 3690338"/>
                <a:gd name="connsiteX11503" fmla="*/ 1683865 w 4878487"/>
                <a:gd name="connsiteY11503" fmla="*/ 3090757 h 3690338"/>
                <a:gd name="connsiteX11504" fmla="*/ 1690160 w 4878487"/>
                <a:gd name="connsiteY11504" fmla="*/ 3086823 h 3690338"/>
                <a:gd name="connsiteX11505" fmla="*/ 1692914 w 4878487"/>
                <a:gd name="connsiteY11505" fmla="*/ 3084856 h 3690338"/>
                <a:gd name="connsiteX11506" fmla="*/ 1694881 w 4878487"/>
                <a:gd name="connsiteY11506" fmla="*/ 3082102 h 3690338"/>
                <a:gd name="connsiteX11507" fmla="*/ 1696061 w 4878487"/>
                <a:gd name="connsiteY11507" fmla="*/ 3078954 h 3690338"/>
                <a:gd name="connsiteX11508" fmla="*/ 1696061 w 4878487"/>
                <a:gd name="connsiteY11508" fmla="*/ 3078954 h 3690338"/>
                <a:gd name="connsiteX11509" fmla="*/ 1696455 w 4878487"/>
                <a:gd name="connsiteY11509" fmla="*/ 3078561 h 3690338"/>
                <a:gd name="connsiteX11510" fmla="*/ 1698029 w 4878487"/>
                <a:gd name="connsiteY11510" fmla="*/ 3080922 h 3690338"/>
                <a:gd name="connsiteX11511" fmla="*/ 1698422 w 4878487"/>
                <a:gd name="connsiteY11511" fmla="*/ 3078954 h 3690338"/>
                <a:gd name="connsiteX11512" fmla="*/ 1698816 w 4878487"/>
                <a:gd name="connsiteY11512" fmla="*/ 3076201 h 3690338"/>
                <a:gd name="connsiteX11513" fmla="*/ 1701569 w 4878487"/>
                <a:gd name="connsiteY11513" fmla="*/ 3073840 h 3690338"/>
                <a:gd name="connsiteX11514" fmla="*/ 1703143 w 4878487"/>
                <a:gd name="connsiteY11514" fmla="*/ 3071086 h 3690338"/>
                <a:gd name="connsiteX11515" fmla="*/ 1705110 w 4878487"/>
                <a:gd name="connsiteY11515" fmla="*/ 3067939 h 3690338"/>
                <a:gd name="connsiteX11516" fmla="*/ 1705110 w 4878487"/>
                <a:gd name="connsiteY11516" fmla="*/ 3066758 h 3690338"/>
                <a:gd name="connsiteX11517" fmla="*/ 1706684 w 4878487"/>
                <a:gd name="connsiteY11517" fmla="*/ 3063611 h 3690338"/>
                <a:gd name="connsiteX11518" fmla="*/ 1708258 w 4878487"/>
                <a:gd name="connsiteY11518" fmla="*/ 3062037 h 3690338"/>
                <a:gd name="connsiteX11519" fmla="*/ 1710618 w 4878487"/>
                <a:gd name="connsiteY11519" fmla="*/ 3058890 h 3690338"/>
                <a:gd name="connsiteX11520" fmla="*/ 1713372 w 4878487"/>
                <a:gd name="connsiteY11520" fmla="*/ 3056136 h 3690338"/>
                <a:gd name="connsiteX11521" fmla="*/ 1715339 w 4878487"/>
                <a:gd name="connsiteY11521" fmla="*/ 3053382 h 3690338"/>
                <a:gd name="connsiteX11522" fmla="*/ 1718094 w 4878487"/>
                <a:gd name="connsiteY11522" fmla="*/ 3051021 h 3690338"/>
                <a:gd name="connsiteX11523" fmla="*/ 1719274 w 4878487"/>
                <a:gd name="connsiteY11523" fmla="*/ 3047874 h 3690338"/>
                <a:gd name="connsiteX11524" fmla="*/ 1720847 w 4878487"/>
                <a:gd name="connsiteY11524" fmla="*/ 3044727 h 3690338"/>
                <a:gd name="connsiteX11525" fmla="*/ 1722421 w 4878487"/>
                <a:gd name="connsiteY11525" fmla="*/ 3041972 h 3690338"/>
                <a:gd name="connsiteX11526" fmla="*/ 1722028 w 4878487"/>
                <a:gd name="connsiteY11526" fmla="*/ 3039218 h 3690338"/>
                <a:gd name="connsiteX11527" fmla="*/ 1719274 w 4878487"/>
                <a:gd name="connsiteY11527" fmla="*/ 3039612 h 3690338"/>
                <a:gd name="connsiteX11528" fmla="*/ 1720454 w 4878487"/>
                <a:gd name="connsiteY11528" fmla="*/ 3037251 h 3690338"/>
                <a:gd name="connsiteX11529" fmla="*/ 1723208 w 4878487"/>
                <a:gd name="connsiteY11529" fmla="*/ 3035678 h 3690338"/>
                <a:gd name="connsiteX11530" fmla="*/ 1722421 w 4878487"/>
                <a:gd name="connsiteY11530" fmla="*/ 3033317 h 3690338"/>
                <a:gd name="connsiteX11531" fmla="*/ 1722815 w 4878487"/>
                <a:gd name="connsiteY11531" fmla="*/ 3032924 h 3690338"/>
                <a:gd name="connsiteX11532" fmla="*/ 1725568 w 4878487"/>
                <a:gd name="connsiteY11532" fmla="*/ 3032924 h 3690338"/>
                <a:gd name="connsiteX11533" fmla="*/ 1723601 w 4878487"/>
                <a:gd name="connsiteY11533" fmla="*/ 3031350 h 3690338"/>
                <a:gd name="connsiteX11534" fmla="*/ 1724782 w 4878487"/>
                <a:gd name="connsiteY11534" fmla="*/ 3028989 h 3690338"/>
                <a:gd name="connsiteX11535" fmla="*/ 1727535 w 4878487"/>
                <a:gd name="connsiteY11535" fmla="*/ 3026235 h 3690338"/>
                <a:gd name="connsiteX11536" fmla="*/ 1728323 w 4878487"/>
                <a:gd name="connsiteY11536" fmla="*/ 3023481 h 3690338"/>
                <a:gd name="connsiteX11537" fmla="*/ 1727535 w 4878487"/>
                <a:gd name="connsiteY11537" fmla="*/ 3020334 h 3690338"/>
                <a:gd name="connsiteX11538" fmla="*/ 1727929 w 4878487"/>
                <a:gd name="connsiteY11538" fmla="*/ 3017187 h 3690338"/>
                <a:gd name="connsiteX11539" fmla="*/ 1728323 w 4878487"/>
                <a:gd name="connsiteY11539" fmla="*/ 3014039 h 3690338"/>
                <a:gd name="connsiteX11540" fmla="*/ 1725175 w 4878487"/>
                <a:gd name="connsiteY11540" fmla="*/ 3013252 h 3690338"/>
                <a:gd name="connsiteX11541" fmla="*/ 1723208 w 4878487"/>
                <a:gd name="connsiteY11541" fmla="*/ 3016400 h 3690338"/>
                <a:gd name="connsiteX11542" fmla="*/ 1723208 w 4878487"/>
                <a:gd name="connsiteY11542" fmla="*/ 3017187 h 3690338"/>
                <a:gd name="connsiteX11543" fmla="*/ 1722815 w 4878487"/>
                <a:gd name="connsiteY11543" fmla="*/ 3011285 h 3690338"/>
                <a:gd name="connsiteX11544" fmla="*/ 1725962 w 4878487"/>
                <a:gd name="connsiteY11544" fmla="*/ 3008138 h 3690338"/>
                <a:gd name="connsiteX11545" fmla="*/ 1725568 w 4878487"/>
                <a:gd name="connsiteY11545" fmla="*/ 3005384 h 3690338"/>
                <a:gd name="connsiteX11546" fmla="*/ 1722815 w 4878487"/>
                <a:gd name="connsiteY11546" fmla="*/ 3006171 h 3690338"/>
                <a:gd name="connsiteX11547" fmla="*/ 1722815 w 4878487"/>
                <a:gd name="connsiteY11547" fmla="*/ 3005384 h 3690338"/>
                <a:gd name="connsiteX11548" fmla="*/ 1722421 w 4878487"/>
                <a:gd name="connsiteY11548" fmla="*/ 3003023 h 3690338"/>
                <a:gd name="connsiteX11549" fmla="*/ 1723601 w 4878487"/>
                <a:gd name="connsiteY11549" fmla="*/ 3000269 h 3690338"/>
                <a:gd name="connsiteX11550" fmla="*/ 1723601 w 4878487"/>
                <a:gd name="connsiteY11550" fmla="*/ 2997122 h 3690338"/>
                <a:gd name="connsiteX11551" fmla="*/ 1722421 w 4878487"/>
                <a:gd name="connsiteY11551" fmla="*/ 2994368 h 3690338"/>
                <a:gd name="connsiteX11552" fmla="*/ 1722028 w 4878487"/>
                <a:gd name="connsiteY11552" fmla="*/ 2991614 h 3690338"/>
                <a:gd name="connsiteX11553" fmla="*/ 1721634 w 4878487"/>
                <a:gd name="connsiteY11553" fmla="*/ 2988466 h 3690338"/>
                <a:gd name="connsiteX11554" fmla="*/ 1721241 w 4878487"/>
                <a:gd name="connsiteY11554" fmla="*/ 2985713 h 3690338"/>
                <a:gd name="connsiteX11555" fmla="*/ 1721241 w 4878487"/>
                <a:gd name="connsiteY11555" fmla="*/ 2982565 h 3690338"/>
                <a:gd name="connsiteX11556" fmla="*/ 1720454 w 4878487"/>
                <a:gd name="connsiteY11556" fmla="*/ 2982172 h 3690338"/>
                <a:gd name="connsiteX11557" fmla="*/ 1721241 w 4878487"/>
                <a:gd name="connsiteY11557" fmla="*/ 2979418 h 3690338"/>
                <a:gd name="connsiteX11558" fmla="*/ 1722028 w 4878487"/>
                <a:gd name="connsiteY11558" fmla="*/ 2976270 h 3690338"/>
                <a:gd name="connsiteX11559" fmla="*/ 1722028 w 4878487"/>
                <a:gd name="connsiteY11559" fmla="*/ 2973123 h 3690338"/>
                <a:gd name="connsiteX11560" fmla="*/ 1722421 w 4878487"/>
                <a:gd name="connsiteY11560" fmla="*/ 2970369 h 3690338"/>
                <a:gd name="connsiteX11561" fmla="*/ 1722028 w 4878487"/>
                <a:gd name="connsiteY11561" fmla="*/ 2967221 h 3690338"/>
                <a:gd name="connsiteX11562" fmla="*/ 1723208 w 4878487"/>
                <a:gd name="connsiteY11562" fmla="*/ 2964467 h 3690338"/>
                <a:gd name="connsiteX11563" fmla="*/ 1720454 w 4878487"/>
                <a:gd name="connsiteY11563" fmla="*/ 2963287 h 3690338"/>
                <a:gd name="connsiteX11564" fmla="*/ 1720454 w 4878487"/>
                <a:gd name="connsiteY11564" fmla="*/ 2962107 h 3690338"/>
                <a:gd name="connsiteX11565" fmla="*/ 1722028 w 4878487"/>
                <a:gd name="connsiteY11565" fmla="*/ 2959746 h 3690338"/>
                <a:gd name="connsiteX11566" fmla="*/ 1722421 w 4878487"/>
                <a:gd name="connsiteY11566" fmla="*/ 2956992 h 3690338"/>
                <a:gd name="connsiteX11567" fmla="*/ 1722421 w 4878487"/>
                <a:gd name="connsiteY11567" fmla="*/ 2953845 h 3690338"/>
                <a:gd name="connsiteX11568" fmla="*/ 1722028 w 4878487"/>
                <a:gd name="connsiteY11568" fmla="*/ 2950698 h 3690338"/>
                <a:gd name="connsiteX11569" fmla="*/ 1720454 w 4878487"/>
                <a:gd name="connsiteY11569" fmla="*/ 2949124 h 3690338"/>
                <a:gd name="connsiteX11570" fmla="*/ 1720454 w 4878487"/>
                <a:gd name="connsiteY11570" fmla="*/ 2946370 h 3690338"/>
                <a:gd name="connsiteX11571" fmla="*/ 1721241 w 4878487"/>
                <a:gd name="connsiteY11571" fmla="*/ 2945189 h 3690338"/>
                <a:gd name="connsiteX11572" fmla="*/ 1721241 w 4878487"/>
                <a:gd name="connsiteY11572" fmla="*/ 2942042 h 3690338"/>
                <a:gd name="connsiteX11573" fmla="*/ 1720454 w 4878487"/>
                <a:gd name="connsiteY11573" fmla="*/ 2941255 h 3690338"/>
                <a:gd name="connsiteX11574" fmla="*/ 1720454 w 4878487"/>
                <a:gd name="connsiteY11574" fmla="*/ 2938895 h 3690338"/>
                <a:gd name="connsiteX11575" fmla="*/ 1720847 w 4878487"/>
                <a:gd name="connsiteY11575" fmla="*/ 2935747 h 3690338"/>
                <a:gd name="connsiteX11576" fmla="*/ 1721241 w 4878487"/>
                <a:gd name="connsiteY11576" fmla="*/ 2932993 h 3690338"/>
                <a:gd name="connsiteX11577" fmla="*/ 1721634 w 4878487"/>
                <a:gd name="connsiteY11577" fmla="*/ 2929846 h 3690338"/>
                <a:gd name="connsiteX11578" fmla="*/ 1720847 w 4878487"/>
                <a:gd name="connsiteY11578" fmla="*/ 2927092 h 3690338"/>
                <a:gd name="connsiteX11579" fmla="*/ 1720454 w 4878487"/>
                <a:gd name="connsiteY11579" fmla="*/ 2923551 h 3690338"/>
                <a:gd name="connsiteX11580" fmla="*/ 1719667 w 4878487"/>
                <a:gd name="connsiteY11580" fmla="*/ 2920797 h 3690338"/>
                <a:gd name="connsiteX11581" fmla="*/ 1719667 w 4878487"/>
                <a:gd name="connsiteY11581" fmla="*/ 2919617 h 3690338"/>
                <a:gd name="connsiteX11582" fmla="*/ 1720454 w 4878487"/>
                <a:gd name="connsiteY11582" fmla="*/ 2916863 h 3690338"/>
                <a:gd name="connsiteX11583" fmla="*/ 1720061 w 4878487"/>
                <a:gd name="connsiteY11583" fmla="*/ 2914109 h 3690338"/>
                <a:gd name="connsiteX11584" fmla="*/ 1721241 w 4878487"/>
                <a:gd name="connsiteY11584" fmla="*/ 2910962 h 3690338"/>
                <a:gd name="connsiteX11585" fmla="*/ 1718094 w 4878487"/>
                <a:gd name="connsiteY11585" fmla="*/ 2908601 h 3690338"/>
                <a:gd name="connsiteX11586" fmla="*/ 1717700 w 4878487"/>
                <a:gd name="connsiteY11586" fmla="*/ 2907814 h 3690338"/>
                <a:gd name="connsiteX11587" fmla="*/ 1719667 w 4878487"/>
                <a:gd name="connsiteY11587" fmla="*/ 2905060 h 3690338"/>
                <a:gd name="connsiteX11588" fmla="*/ 1722028 w 4878487"/>
                <a:gd name="connsiteY11588" fmla="*/ 2901913 h 3690338"/>
                <a:gd name="connsiteX11589" fmla="*/ 1723601 w 4878487"/>
                <a:gd name="connsiteY11589" fmla="*/ 2898765 h 3690338"/>
                <a:gd name="connsiteX11590" fmla="*/ 1722028 w 4878487"/>
                <a:gd name="connsiteY11590" fmla="*/ 2896011 h 3690338"/>
                <a:gd name="connsiteX11591" fmla="*/ 1722815 w 4878487"/>
                <a:gd name="connsiteY11591" fmla="*/ 2892864 h 3690338"/>
                <a:gd name="connsiteX11592" fmla="*/ 1724388 w 4878487"/>
                <a:gd name="connsiteY11592" fmla="*/ 2890110 h 3690338"/>
                <a:gd name="connsiteX11593" fmla="*/ 1721634 w 4878487"/>
                <a:gd name="connsiteY11593" fmla="*/ 2888536 h 3690338"/>
                <a:gd name="connsiteX11594" fmla="*/ 1724782 w 4878487"/>
                <a:gd name="connsiteY11594" fmla="*/ 2885782 h 3690338"/>
                <a:gd name="connsiteX11595" fmla="*/ 1724388 w 4878487"/>
                <a:gd name="connsiteY11595" fmla="*/ 2882635 h 3690338"/>
                <a:gd name="connsiteX11596" fmla="*/ 1722815 w 4878487"/>
                <a:gd name="connsiteY11596" fmla="*/ 2879881 h 3690338"/>
                <a:gd name="connsiteX11597" fmla="*/ 1720061 w 4878487"/>
                <a:gd name="connsiteY11597" fmla="*/ 2878701 h 3690338"/>
                <a:gd name="connsiteX11598" fmla="*/ 1720454 w 4878487"/>
                <a:gd name="connsiteY11598" fmla="*/ 2875947 h 3690338"/>
                <a:gd name="connsiteX11599" fmla="*/ 1720454 w 4878487"/>
                <a:gd name="connsiteY11599" fmla="*/ 2872799 h 3690338"/>
                <a:gd name="connsiteX11600" fmla="*/ 1717700 w 4878487"/>
                <a:gd name="connsiteY11600" fmla="*/ 2873979 h 3690338"/>
                <a:gd name="connsiteX11601" fmla="*/ 1716127 w 4878487"/>
                <a:gd name="connsiteY11601" fmla="*/ 2871225 h 3690338"/>
                <a:gd name="connsiteX11602" fmla="*/ 1712979 w 4878487"/>
                <a:gd name="connsiteY11602" fmla="*/ 2871619 h 3690338"/>
                <a:gd name="connsiteX11603" fmla="*/ 1711405 w 4878487"/>
                <a:gd name="connsiteY11603" fmla="*/ 2868865 h 3690338"/>
                <a:gd name="connsiteX11604" fmla="*/ 1708651 w 4878487"/>
                <a:gd name="connsiteY11604" fmla="*/ 2867291 h 3690338"/>
                <a:gd name="connsiteX11605" fmla="*/ 1707078 w 4878487"/>
                <a:gd name="connsiteY11605" fmla="*/ 2866898 h 3690338"/>
                <a:gd name="connsiteX11606" fmla="*/ 1706291 w 4878487"/>
                <a:gd name="connsiteY11606" fmla="*/ 2869652 h 3690338"/>
                <a:gd name="connsiteX11607" fmla="*/ 1705897 w 4878487"/>
                <a:gd name="connsiteY11607" fmla="*/ 2866504 h 3690338"/>
                <a:gd name="connsiteX11608" fmla="*/ 1704324 w 4878487"/>
                <a:gd name="connsiteY11608" fmla="*/ 2863750 h 3690338"/>
                <a:gd name="connsiteX11609" fmla="*/ 1702357 w 4878487"/>
                <a:gd name="connsiteY11609" fmla="*/ 2862570 h 3690338"/>
                <a:gd name="connsiteX11610" fmla="*/ 1699602 w 4878487"/>
                <a:gd name="connsiteY11610" fmla="*/ 2862570 h 3690338"/>
                <a:gd name="connsiteX11611" fmla="*/ 1698816 w 4878487"/>
                <a:gd name="connsiteY11611" fmla="*/ 2862570 h 3690338"/>
                <a:gd name="connsiteX11612" fmla="*/ 1701176 w 4878487"/>
                <a:gd name="connsiteY11612" fmla="*/ 2859816 h 3690338"/>
                <a:gd name="connsiteX11613" fmla="*/ 1701569 w 4878487"/>
                <a:gd name="connsiteY11613" fmla="*/ 2857062 h 3690338"/>
                <a:gd name="connsiteX11614" fmla="*/ 1698422 w 4878487"/>
                <a:gd name="connsiteY11614" fmla="*/ 2854308 h 3690338"/>
                <a:gd name="connsiteX11615" fmla="*/ 1699996 w 4878487"/>
                <a:gd name="connsiteY11615" fmla="*/ 2851554 h 3690338"/>
                <a:gd name="connsiteX11616" fmla="*/ 1698816 w 4878487"/>
                <a:gd name="connsiteY11616" fmla="*/ 2848407 h 3690338"/>
                <a:gd name="connsiteX11617" fmla="*/ 1697242 w 4878487"/>
                <a:gd name="connsiteY11617" fmla="*/ 2845259 h 3690338"/>
                <a:gd name="connsiteX11618" fmla="*/ 1696061 w 4878487"/>
                <a:gd name="connsiteY11618" fmla="*/ 2840931 h 3690338"/>
                <a:gd name="connsiteX11619" fmla="*/ 1697242 w 4878487"/>
                <a:gd name="connsiteY11619" fmla="*/ 2838964 h 3690338"/>
                <a:gd name="connsiteX11620" fmla="*/ 1697242 w 4878487"/>
                <a:gd name="connsiteY11620" fmla="*/ 2835817 h 3690338"/>
                <a:gd name="connsiteX11621" fmla="*/ 1695668 w 4878487"/>
                <a:gd name="connsiteY11621" fmla="*/ 2833063 h 3690338"/>
                <a:gd name="connsiteX11622" fmla="*/ 1693308 w 4878487"/>
                <a:gd name="connsiteY11622" fmla="*/ 2833457 h 3690338"/>
                <a:gd name="connsiteX11623" fmla="*/ 1692521 w 4878487"/>
                <a:gd name="connsiteY11623" fmla="*/ 2830702 h 3690338"/>
                <a:gd name="connsiteX11624" fmla="*/ 1692521 w 4878487"/>
                <a:gd name="connsiteY11624" fmla="*/ 2830702 h 3690338"/>
                <a:gd name="connsiteX11625" fmla="*/ 1692521 w 4878487"/>
                <a:gd name="connsiteY11625" fmla="*/ 2827555 h 3690338"/>
                <a:gd name="connsiteX11626" fmla="*/ 1691340 w 4878487"/>
                <a:gd name="connsiteY11626" fmla="*/ 2827162 h 3690338"/>
                <a:gd name="connsiteX11627" fmla="*/ 1690947 w 4878487"/>
                <a:gd name="connsiteY11627" fmla="*/ 2825981 h 3690338"/>
                <a:gd name="connsiteX11628" fmla="*/ 1692521 w 4878487"/>
                <a:gd name="connsiteY11628" fmla="*/ 2825588 h 3690338"/>
                <a:gd name="connsiteX11629" fmla="*/ 1691340 w 4878487"/>
                <a:gd name="connsiteY11629" fmla="*/ 2822441 h 3690338"/>
                <a:gd name="connsiteX11630" fmla="*/ 1689373 w 4878487"/>
                <a:gd name="connsiteY11630" fmla="*/ 2820474 h 3690338"/>
                <a:gd name="connsiteX11631" fmla="*/ 1688587 w 4878487"/>
                <a:gd name="connsiteY11631" fmla="*/ 2818506 h 3690338"/>
                <a:gd name="connsiteX11632" fmla="*/ 1688587 w 4878487"/>
                <a:gd name="connsiteY11632" fmla="*/ 2815752 h 3690338"/>
                <a:gd name="connsiteX11633" fmla="*/ 1688193 w 4878487"/>
                <a:gd name="connsiteY11633" fmla="*/ 2814965 h 3690338"/>
                <a:gd name="connsiteX11634" fmla="*/ 1687013 w 4878487"/>
                <a:gd name="connsiteY11634" fmla="*/ 2804343 h 3690338"/>
                <a:gd name="connsiteX11635" fmla="*/ 1689373 w 4878487"/>
                <a:gd name="connsiteY11635" fmla="*/ 2801589 h 3690338"/>
                <a:gd name="connsiteX11636" fmla="*/ 1690554 w 4878487"/>
                <a:gd name="connsiteY11636" fmla="*/ 2798441 h 3690338"/>
                <a:gd name="connsiteX11637" fmla="*/ 1690554 w 4878487"/>
                <a:gd name="connsiteY11637" fmla="*/ 2798048 h 3690338"/>
                <a:gd name="connsiteX11638" fmla="*/ 1692127 w 4878487"/>
                <a:gd name="connsiteY11638" fmla="*/ 2795294 h 3690338"/>
                <a:gd name="connsiteX11639" fmla="*/ 1691340 w 4878487"/>
                <a:gd name="connsiteY11639" fmla="*/ 2795294 h 3690338"/>
                <a:gd name="connsiteX11640" fmla="*/ 1690947 w 4878487"/>
                <a:gd name="connsiteY11640" fmla="*/ 2792147 h 3690338"/>
                <a:gd name="connsiteX11641" fmla="*/ 1691734 w 4878487"/>
                <a:gd name="connsiteY11641" fmla="*/ 2789393 h 3690338"/>
                <a:gd name="connsiteX11642" fmla="*/ 1690947 w 4878487"/>
                <a:gd name="connsiteY11642" fmla="*/ 2788213 h 3690338"/>
                <a:gd name="connsiteX11643" fmla="*/ 1689373 w 4878487"/>
                <a:gd name="connsiteY11643" fmla="*/ 2787819 h 3690338"/>
                <a:gd name="connsiteX11644" fmla="*/ 1688587 w 4878487"/>
                <a:gd name="connsiteY11644" fmla="*/ 2787819 h 3690338"/>
                <a:gd name="connsiteX11645" fmla="*/ 1685832 w 4878487"/>
                <a:gd name="connsiteY11645" fmla="*/ 2789393 h 3690338"/>
                <a:gd name="connsiteX11646" fmla="*/ 1687013 w 4878487"/>
                <a:gd name="connsiteY11646" fmla="*/ 2786245 h 3690338"/>
                <a:gd name="connsiteX11647" fmla="*/ 1687013 w 4878487"/>
                <a:gd name="connsiteY11647" fmla="*/ 2784672 h 3690338"/>
                <a:gd name="connsiteX11648" fmla="*/ 1690160 w 4878487"/>
                <a:gd name="connsiteY11648" fmla="*/ 2770902 h 3690338"/>
                <a:gd name="connsiteX11649" fmla="*/ 1691734 w 4878487"/>
                <a:gd name="connsiteY11649" fmla="*/ 2767361 h 3690338"/>
                <a:gd name="connsiteX11650" fmla="*/ 1694488 w 4878487"/>
                <a:gd name="connsiteY11650" fmla="*/ 2765000 h 3690338"/>
                <a:gd name="connsiteX11651" fmla="*/ 1694881 w 4878487"/>
                <a:gd name="connsiteY11651" fmla="*/ 2762246 h 3690338"/>
                <a:gd name="connsiteX11652" fmla="*/ 1695275 w 4878487"/>
                <a:gd name="connsiteY11652" fmla="*/ 2760673 h 3690338"/>
                <a:gd name="connsiteX11653" fmla="*/ 1693701 w 4878487"/>
                <a:gd name="connsiteY11653" fmla="*/ 2757525 h 3690338"/>
                <a:gd name="connsiteX11654" fmla="*/ 1691340 w 4878487"/>
                <a:gd name="connsiteY11654" fmla="*/ 2755951 h 3690338"/>
                <a:gd name="connsiteX11655" fmla="*/ 1683865 w 4878487"/>
                <a:gd name="connsiteY11655" fmla="*/ 2746509 h 3690338"/>
                <a:gd name="connsiteX11656" fmla="*/ 1681111 w 4878487"/>
                <a:gd name="connsiteY11656" fmla="*/ 2743755 h 3690338"/>
                <a:gd name="connsiteX11657" fmla="*/ 1679538 w 4878487"/>
                <a:gd name="connsiteY11657" fmla="*/ 2743362 h 3690338"/>
                <a:gd name="connsiteX11658" fmla="*/ 1674817 w 4878487"/>
                <a:gd name="connsiteY11658" fmla="*/ 2739428 h 3690338"/>
                <a:gd name="connsiteX11659" fmla="*/ 1674423 w 4878487"/>
                <a:gd name="connsiteY11659" fmla="*/ 2734313 h 3690338"/>
                <a:gd name="connsiteX11660" fmla="*/ 1674817 w 4878487"/>
                <a:gd name="connsiteY11660" fmla="*/ 2733133 h 3690338"/>
                <a:gd name="connsiteX11661" fmla="*/ 1674423 w 4878487"/>
                <a:gd name="connsiteY11661" fmla="*/ 2731953 h 3690338"/>
                <a:gd name="connsiteX11662" fmla="*/ 1672456 w 4878487"/>
                <a:gd name="connsiteY11662" fmla="*/ 2726838 h 3690338"/>
                <a:gd name="connsiteX11663" fmla="*/ 1672850 w 4878487"/>
                <a:gd name="connsiteY11663" fmla="*/ 2725264 h 3690338"/>
                <a:gd name="connsiteX11664" fmla="*/ 1675603 w 4878487"/>
                <a:gd name="connsiteY11664" fmla="*/ 2716216 h 3690338"/>
                <a:gd name="connsiteX11665" fmla="*/ 1675603 w 4878487"/>
                <a:gd name="connsiteY11665" fmla="*/ 2716216 h 3690338"/>
                <a:gd name="connsiteX11666" fmla="*/ 1677177 w 4878487"/>
                <a:gd name="connsiteY11666" fmla="*/ 2713462 h 3690338"/>
                <a:gd name="connsiteX11667" fmla="*/ 1678357 w 4878487"/>
                <a:gd name="connsiteY11667" fmla="*/ 2710314 h 3690338"/>
                <a:gd name="connsiteX11668" fmla="*/ 1678751 w 4878487"/>
                <a:gd name="connsiteY11668" fmla="*/ 2707560 h 3690338"/>
                <a:gd name="connsiteX11669" fmla="*/ 1678751 w 4878487"/>
                <a:gd name="connsiteY11669" fmla="*/ 2707167 h 3690338"/>
                <a:gd name="connsiteX11670" fmla="*/ 1680718 w 4878487"/>
                <a:gd name="connsiteY11670" fmla="*/ 2704019 h 3690338"/>
                <a:gd name="connsiteX11671" fmla="*/ 1681898 w 4878487"/>
                <a:gd name="connsiteY11671" fmla="*/ 2701265 h 3690338"/>
                <a:gd name="connsiteX11672" fmla="*/ 1682291 w 4878487"/>
                <a:gd name="connsiteY11672" fmla="*/ 2698118 h 3690338"/>
                <a:gd name="connsiteX11673" fmla="*/ 1683472 w 4878487"/>
                <a:gd name="connsiteY11673" fmla="*/ 2695364 h 3690338"/>
                <a:gd name="connsiteX11674" fmla="*/ 1683472 w 4878487"/>
                <a:gd name="connsiteY11674" fmla="*/ 2692610 h 3690338"/>
                <a:gd name="connsiteX11675" fmla="*/ 1684259 w 4878487"/>
                <a:gd name="connsiteY11675" fmla="*/ 2689462 h 3690338"/>
                <a:gd name="connsiteX11676" fmla="*/ 1686226 w 4878487"/>
                <a:gd name="connsiteY11676" fmla="*/ 2686709 h 3690338"/>
                <a:gd name="connsiteX11677" fmla="*/ 1686226 w 4878487"/>
                <a:gd name="connsiteY11677" fmla="*/ 2683561 h 3690338"/>
                <a:gd name="connsiteX11678" fmla="*/ 1685832 w 4878487"/>
                <a:gd name="connsiteY11678" fmla="*/ 2681594 h 3690338"/>
                <a:gd name="connsiteX11679" fmla="*/ 1688587 w 4878487"/>
                <a:gd name="connsiteY11679" fmla="*/ 2679233 h 3690338"/>
                <a:gd name="connsiteX11680" fmla="*/ 1691340 w 4878487"/>
                <a:gd name="connsiteY11680" fmla="*/ 2680414 h 3690338"/>
                <a:gd name="connsiteX11681" fmla="*/ 1692127 w 4878487"/>
                <a:gd name="connsiteY11681" fmla="*/ 2677660 h 3690338"/>
                <a:gd name="connsiteX11682" fmla="*/ 1694488 w 4878487"/>
                <a:gd name="connsiteY11682" fmla="*/ 2674512 h 3690338"/>
                <a:gd name="connsiteX11683" fmla="*/ 1696061 w 4878487"/>
                <a:gd name="connsiteY11683" fmla="*/ 2671758 h 3690338"/>
                <a:gd name="connsiteX11684" fmla="*/ 1696849 w 4878487"/>
                <a:gd name="connsiteY11684" fmla="*/ 2669004 h 3690338"/>
                <a:gd name="connsiteX11685" fmla="*/ 1698029 w 4878487"/>
                <a:gd name="connsiteY11685" fmla="*/ 2665857 h 3690338"/>
                <a:gd name="connsiteX11686" fmla="*/ 1699602 w 4878487"/>
                <a:gd name="connsiteY11686" fmla="*/ 2662709 h 3690338"/>
                <a:gd name="connsiteX11687" fmla="*/ 1699209 w 4878487"/>
                <a:gd name="connsiteY11687" fmla="*/ 2661136 h 3690338"/>
                <a:gd name="connsiteX11688" fmla="*/ 1698816 w 4878487"/>
                <a:gd name="connsiteY11688" fmla="*/ 2659562 h 3690338"/>
                <a:gd name="connsiteX11689" fmla="*/ 1699209 w 4878487"/>
                <a:gd name="connsiteY11689" fmla="*/ 2658775 h 3690338"/>
                <a:gd name="connsiteX11690" fmla="*/ 1699602 w 4878487"/>
                <a:gd name="connsiteY11690" fmla="*/ 2659169 h 3690338"/>
                <a:gd name="connsiteX11691" fmla="*/ 1700389 w 4878487"/>
                <a:gd name="connsiteY11691" fmla="*/ 2659562 h 3690338"/>
                <a:gd name="connsiteX11692" fmla="*/ 1701963 w 4878487"/>
                <a:gd name="connsiteY11692" fmla="*/ 2656808 h 3690338"/>
                <a:gd name="connsiteX11693" fmla="*/ 1701963 w 4878487"/>
                <a:gd name="connsiteY11693" fmla="*/ 2656415 h 3690338"/>
                <a:gd name="connsiteX11694" fmla="*/ 1704717 w 4878487"/>
                <a:gd name="connsiteY11694" fmla="*/ 2653267 h 3690338"/>
                <a:gd name="connsiteX11695" fmla="*/ 1705504 w 4878487"/>
                <a:gd name="connsiteY11695" fmla="*/ 2650120 h 3690338"/>
                <a:gd name="connsiteX11696" fmla="*/ 1706291 w 4878487"/>
                <a:gd name="connsiteY11696" fmla="*/ 2646972 h 3690338"/>
                <a:gd name="connsiteX11697" fmla="*/ 1705504 w 4878487"/>
                <a:gd name="connsiteY11697" fmla="*/ 2645399 h 3690338"/>
                <a:gd name="connsiteX11698" fmla="*/ 1705504 w 4878487"/>
                <a:gd name="connsiteY11698" fmla="*/ 2645792 h 3690338"/>
                <a:gd name="connsiteX11699" fmla="*/ 1710225 w 4878487"/>
                <a:gd name="connsiteY11699" fmla="*/ 2637137 h 3690338"/>
                <a:gd name="connsiteX11700" fmla="*/ 1713372 w 4878487"/>
                <a:gd name="connsiteY11700" fmla="*/ 2634776 h 3690338"/>
                <a:gd name="connsiteX11701" fmla="*/ 1713766 w 4878487"/>
                <a:gd name="connsiteY11701" fmla="*/ 2631629 h 3690338"/>
                <a:gd name="connsiteX11702" fmla="*/ 1714553 w 4878487"/>
                <a:gd name="connsiteY11702" fmla="*/ 2629662 h 3690338"/>
                <a:gd name="connsiteX11703" fmla="*/ 1725962 w 4878487"/>
                <a:gd name="connsiteY11703" fmla="*/ 2608810 h 3690338"/>
                <a:gd name="connsiteX11704" fmla="*/ 1728716 w 4878487"/>
                <a:gd name="connsiteY11704" fmla="*/ 2609597 h 3690338"/>
                <a:gd name="connsiteX11705" fmla="*/ 1731864 w 4878487"/>
                <a:gd name="connsiteY11705" fmla="*/ 2606449 h 3690338"/>
                <a:gd name="connsiteX11706" fmla="*/ 1734617 w 4878487"/>
                <a:gd name="connsiteY11706" fmla="*/ 2604089 h 3690338"/>
                <a:gd name="connsiteX11707" fmla="*/ 1734224 w 4878487"/>
                <a:gd name="connsiteY11707" fmla="*/ 2600941 h 3690338"/>
                <a:gd name="connsiteX11708" fmla="*/ 1736978 w 4878487"/>
                <a:gd name="connsiteY11708" fmla="*/ 2598188 h 3690338"/>
                <a:gd name="connsiteX11709" fmla="*/ 1737765 w 4878487"/>
                <a:gd name="connsiteY11709" fmla="*/ 2601335 h 3690338"/>
                <a:gd name="connsiteX11710" fmla="*/ 1739338 w 4878487"/>
                <a:gd name="connsiteY11710" fmla="*/ 2598188 h 3690338"/>
                <a:gd name="connsiteX11711" fmla="*/ 1738552 w 4878487"/>
                <a:gd name="connsiteY11711" fmla="*/ 2597007 h 3690338"/>
                <a:gd name="connsiteX11712" fmla="*/ 1739732 w 4878487"/>
                <a:gd name="connsiteY11712" fmla="*/ 2595827 h 3690338"/>
                <a:gd name="connsiteX11713" fmla="*/ 1740125 w 4878487"/>
                <a:gd name="connsiteY11713" fmla="*/ 2597401 h 3690338"/>
                <a:gd name="connsiteX11714" fmla="*/ 1740519 w 4878487"/>
                <a:gd name="connsiteY11714" fmla="*/ 2597401 h 3690338"/>
                <a:gd name="connsiteX11715" fmla="*/ 1742486 w 4878487"/>
                <a:gd name="connsiteY11715" fmla="*/ 2594647 h 3690338"/>
                <a:gd name="connsiteX11716" fmla="*/ 1745240 w 4878487"/>
                <a:gd name="connsiteY11716" fmla="*/ 2593466 h 3690338"/>
                <a:gd name="connsiteX11717" fmla="*/ 1743273 w 4878487"/>
                <a:gd name="connsiteY11717" fmla="*/ 2592286 h 3690338"/>
                <a:gd name="connsiteX11718" fmla="*/ 1745633 w 4878487"/>
                <a:gd name="connsiteY11718" fmla="*/ 2590319 h 3690338"/>
                <a:gd name="connsiteX11719" fmla="*/ 1745633 w 4878487"/>
                <a:gd name="connsiteY11719" fmla="*/ 2590319 h 3690338"/>
                <a:gd name="connsiteX11720" fmla="*/ 1748387 w 4878487"/>
                <a:gd name="connsiteY11720" fmla="*/ 2588745 h 3690338"/>
                <a:gd name="connsiteX11721" fmla="*/ 1751535 w 4878487"/>
                <a:gd name="connsiteY11721" fmla="*/ 2586778 h 3690338"/>
                <a:gd name="connsiteX11722" fmla="*/ 1753502 w 4878487"/>
                <a:gd name="connsiteY11722" fmla="*/ 2584024 h 3690338"/>
                <a:gd name="connsiteX11723" fmla="*/ 1755862 w 4878487"/>
                <a:gd name="connsiteY11723" fmla="*/ 2580877 h 3690338"/>
                <a:gd name="connsiteX11724" fmla="*/ 1757436 w 4878487"/>
                <a:gd name="connsiteY11724" fmla="*/ 2579303 h 3690338"/>
                <a:gd name="connsiteX11725" fmla="*/ 1757830 w 4878487"/>
                <a:gd name="connsiteY11725" fmla="*/ 2578910 h 3690338"/>
                <a:gd name="connsiteX11726" fmla="*/ 1759797 w 4878487"/>
                <a:gd name="connsiteY11726" fmla="*/ 2576156 h 3690338"/>
                <a:gd name="connsiteX11727" fmla="*/ 1759797 w 4878487"/>
                <a:gd name="connsiteY11727" fmla="*/ 2576156 h 3690338"/>
                <a:gd name="connsiteX11728" fmla="*/ 1795598 w 4878487"/>
                <a:gd name="connsiteY11728" fmla="*/ 2525010 h 3690338"/>
                <a:gd name="connsiteX11729" fmla="*/ 1795598 w 4878487"/>
                <a:gd name="connsiteY11729" fmla="*/ 2525010 h 3690338"/>
                <a:gd name="connsiteX11730" fmla="*/ 1797566 w 4878487"/>
                <a:gd name="connsiteY11730" fmla="*/ 2522256 h 3690338"/>
                <a:gd name="connsiteX11731" fmla="*/ 1801107 w 4878487"/>
                <a:gd name="connsiteY11731" fmla="*/ 2517929 h 3690338"/>
                <a:gd name="connsiteX11732" fmla="*/ 1802287 w 4878487"/>
                <a:gd name="connsiteY11732" fmla="*/ 2516748 h 3690338"/>
                <a:gd name="connsiteX11733" fmla="*/ 1802680 w 4878487"/>
                <a:gd name="connsiteY11733" fmla="*/ 2516355 h 3690338"/>
                <a:gd name="connsiteX11734" fmla="*/ 1807795 w 4878487"/>
                <a:gd name="connsiteY11734" fmla="*/ 2510060 h 3690338"/>
                <a:gd name="connsiteX11735" fmla="*/ 1810155 w 4878487"/>
                <a:gd name="connsiteY11735" fmla="*/ 2507306 h 3690338"/>
                <a:gd name="connsiteX11736" fmla="*/ 1812516 w 4878487"/>
                <a:gd name="connsiteY11736" fmla="*/ 2504159 h 3690338"/>
                <a:gd name="connsiteX11737" fmla="*/ 1814876 w 4878487"/>
                <a:gd name="connsiteY11737" fmla="*/ 2501405 h 3690338"/>
                <a:gd name="connsiteX11738" fmla="*/ 1815270 w 4878487"/>
                <a:gd name="connsiteY11738" fmla="*/ 2500618 h 3690338"/>
                <a:gd name="connsiteX11739" fmla="*/ 1829040 w 4878487"/>
                <a:gd name="connsiteY11739" fmla="*/ 2488028 h 3690338"/>
                <a:gd name="connsiteX11740" fmla="*/ 1829433 w 4878487"/>
                <a:gd name="connsiteY11740" fmla="*/ 2487635 h 3690338"/>
                <a:gd name="connsiteX11741" fmla="*/ 1831793 w 4878487"/>
                <a:gd name="connsiteY11741" fmla="*/ 2485274 h 3690338"/>
                <a:gd name="connsiteX11742" fmla="*/ 1859727 w 4878487"/>
                <a:gd name="connsiteY11742" fmla="*/ 2460095 h 3690338"/>
                <a:gd name="connsiteX11743" fmla="*/ 1860120 w 4878487"/>
                <a:gd name="connsiteY11743" fmla="*/ 2459702 h 3690338"/>
                <a:gd name="connsiteX11744" fmla="*/ 1860514 w 4878487"/>
                <a:gd name="connsiteY11744" fmla="*/ 2458915 h 3690338"/>
                <a:gd name="connsiteX11745" fmla="*/ 1864448 w 4878487"/>
                <a:gd name="connsiteY11745" fmla="*/ 2456947 h 3690338"/>
                <a:gd name="connsiteX11746" fmla="*/ 1867202 w 4878487"/>
                <a:gd name="connsiteY11746" fmla="*/ 2455374 h 3690338"/>
                <a:gd name="connsiteX11747" fmla="*/ 1869956 w 4878487"/>
                <a:gd name="connsiteY11747" fmla="*/ 2453800 h 3690338"/>
                <a:gd name="connsiteX11748" fmla="*/ 1872317 w 4878487"/>
                <a:gd name="connsiteY11748" fmla="*/ 2451833 h 3690338"/>
                <a:gd name="connsiteX11749" fmla="*/ 1873497 w 4878487"/>
                <a:gd name="connsiteY11749" fmla="*/ 2451046 h 3690338"/>
                <a:gd name="connsiteX11750" fmla="*/ 1875858 w 4878487"/>
                <a:gd name="connsiteY11750" fmla="*/ 2449866 h 3690338"/>
                <a:gd name="connsiteX11751" fmla="*/ 1877825 w 4878487"/>
                <a:gd name="connsiteY11751" fmla="*/ 2448292 h 3690338"/>
                <a:gd name="connsiteX11752" fmla="*/ 1880578 w 4878487"/>
                <a:gd name="connsiteY11752" fmla="*/ 2446325 h 3690338"/>
                <a:gd name="connsiteX11753" fmla="*/ 1883333 w 4878487"/>
                <a:gd name="connsiteY11753" fmla="*/ 2444358 h 3690338"/>
                <a:gd name="connsiteX11754" fmla="*/ 1886087 w 4878487"/>
                <a:gd name="connsiteY11754" fmla="*/ 2442784 h 3690338"/>
                <a:gd name="connsiteX11755" fmla="*/ 1889234 w 4878487"/>
                <a:gd name="connsiteY11755" fmla="*/ 2440424 h 3690338"/>
                <a:gd name="connsiteX11756" fmla="*/ 1891988 w 4878487"/>
                <a:gd name="connsiteY11756" fmla="*/ 2438063 h 3690338"/>
                <a:gd name="connsiteX11757" fmla="*/ 1893955 w 4878487"/>
                <a:gd name="connsiteY11757" fmla="*/ 2434916 h 3690338"/>
                <a:gd name="connsiteX11758" fmla="*/ 1899070 w 4878487"/>
                <a:gd name="connsiteY11758" fmla="*/ 2429408 h 3690338"/>
                <a:gd name="connsiteX11759" fmla="*/ 1901824 w 4878487"/>
                <a:gd name="connsiteY11759" fmla="*/ 2426654 h 3690338"/>
                <a:gd name="connsiteX11760" fmla="*/ 1904577 w 4878487"/>
                <a:gd name="connsiteY11760" fmla="*/ 2423506 h 3690338"/>
                <a:gd name="connsiteX11761" fmla="*/ 1907332 w 4878487"/>
                <a:gd name="connsiteY11761" fmla="*/ 2420752 h 3690338"/>
                <a:gd name="connsiteX11762" fmla="*/ 1909692 w 4878487"/>
                <a:gd name="connsiteY11762" fmla="*/ 2417998 h 3690338"/>
                <a:gd name="connsiteX11763" fmla="*/ 1914807 w 4878487"/>
                <a:gd name="connsiteY11763" fmla="*/ 2412490 h 3690338"/>
                <a:gd name="connsiteX11764" fmla="*/ 1916774 w 4878487"/>
                <a:gd name="connsiteY11764" fmla="*/ 2409343 h 3690338"/>
                <a:gd name="connsiteX11765" fmla="*/ 1919134 w 4878487"/>
                <a:gd name="connsiteY11765" fmla="*/ 2406589 h 3690338"/>
                <a:gd name="connsiteX11766" fmla="*/ 1921495 w 4878487"/>
                <a:gd name="connsiteY11766" fmla="*/ 2403835 h 3690338"/>
                <a:gd name="connsiteX11767" fmla="*/ 1923069 w 4878487"/>
                <a:gd name="connsiteY11767" fmla="*/ 2402261 h 3690338"/>
                <a:gd name="connsiteX11768" fmla="*/ 1925429 w 4878487"/>
                <a:gd name="connsiteY11768" fmla="*/ 2399507 h 3690338"/>
                <a:gd name="connsiteX11769" fmla="*/ 1925823 w 4878487"/>
                <a:gd name="connsiteY11769" fmla="*/ 2399114 h 3690338"/>
                <a:gd name="connsiteX11770" fmla="*/ 1928970 w 4878487"/>
                <a:gd name="connsiteY11770" fmla="*/ 2395573 h 3690338"/>
                <a:gd name="connsiteX11771" fmla="*/ 1933691 w 4878487"/>
                <a:gd name="connsiteY11771" fmla="*/ 2390852 h 3690338"/>
                <a:gd name="connsiteX11772" fmla="*/ 1935658 w 4878487"/>
                <a:gd name="connsiteY11772" fmla="*/ 2388098 h 3690338"/>
                <a:gd name="connsiteX11773" fmla="*/ 1936839 w 4878487"/>
                <a:gd name="connsiteY11773" fmla="*/ 2385737 h 3690338"/>
                <a:gd name="connsiteX11774" fmla="*/ 1938806 w 4878487"/>
                <a:gd name="connsiteY11774" fmla="*/ 2383377 h 3690338"/>
                <a:gd name="connsiteX11775" fmla="*/ 1939592 w 4878487"/>
                <a:gd name="connsiteY11775" fmla="*/ 2382196 h 3690338"/>
                <a:gd name="connsiteX11776" fmla="*/ 1941953 w 4878487"/>
                <a:gd name="connsiteY11776" fmla="*/ 2379442 h 3690338"/>
                <a:gd name="connsiteX11777" fmla="*/ 1942740 w 4878487"/>
                <a:gd name="connsiteY11777" fmla="*/ 2378262 h 3690338"/>
                <a:gd name="connsiteX11778" fmla="*/ 1948248 w 4878487"/>
                <a:gd name="connsiteY11778" fmla="*/ 2371574 h 3690338"/>
                <a:gd name="connsiteX11779" fmla="*/ 1948248 w 4878487"/>
                <a:gd name="connsiteY11779" fmla="*/ 2371181 h 3690338"/>
                <a:gd name="connsiteX11780" fmla="*/ 1950215 w 4878487"/>
                <a:gd name="connsiteY11780" fmla="*/ 2368427 h 3690338"/>
                <a:gd name="connsiteX11781" fmla="*/ 1951395 w 4878487"/>
                <a:gd name="connsiteY11781" fmla="*/ 2365673 h 3690338"/>
                <a:gd name="connsiteX11782" fmla="*/ 1952969 w 4878487"/>
                <a:gd name="connsiteY11782" fmla="*/ 2362525 h 3690338"/>
                <a:gd name="connsiteX11783" fmla="*/ 1954543 w 4878487"/>
                <a:gd name="connsiteY11783" fmla="*/ 2359771 h 3690338"/>
                <a:gd name="connsiteX11784" fmla="*/ 1954543 w 4878487"/>
                <a:gd name="connsiteY11784" fmla="*/ 2359378 h 3690338"/>
                <a:gd name="connsiteX11785" fmla="*/ 1957690 w 4878487"/>
                <a:gd name="connsiteY11785" fmla="*/ 2353083 h 3690338"/>
                <a:gd name="connsiteX11786" fmla="*/ 1959264 w 4878487"/>
                <a:gd name="connsiteY11786" fmla="*/ 2349935 h 3690338"/>
                <a:gd name="connsiteX11787" fmla="*/ 1961624 w 4878487"/>
                <a:gd name="connsiteY11787" fmla="*/ 2347181 h 3690338"/>
                <a:gd name="connsiteX11788" fmla="*/ 1963591 w 4878487"/>
                <a:gd name="connsiteY11788" fmla="*/ 2344428 h 3690338"/>
                <a:gd name="connsiteX11789" fmla="*/ 1965558 w 4878487"/>
                <a:gd name="connsiteY11789" fmla="*/ 2341674 h 3690338"/>
                <a:gd name="connsiteX11790" fmla="*/ 1967132 w 4878487"/>
                <a:gd name="connsiteY11790" fmla="*/ 2338920 h 3690338"/>
                <a:gd name="connsiteX11791" fmla="*/ 1969099 w 4878487"/>
                <a:gd name="connsiteY11791" fmla="*/ 2335772 h 3690338"/>
                <a:gd name="connsiteX11792" fmla="*/ 1970280 w 4878487"/>
                <a:gd name="connsiteY11792" fmla="*/ 2333018 h 3690338"/>
                <a:gd name="connsiteX11793" fmla="*/ 1971854 w 4878487"/>
                <a:gd name="connsiteY11793" fmla="*/ 2330264 h 3690338"/>
                <a:gd name="connsiteX11794" fmla="*/ 1973427 w 4878487"/>
                <a:gd name="connsiteY11794" fmla="*/ 2327510 h 3690338"/>
                <a:gd name="connsiteX11795" fmla="*/ 1975001 w 4878487"/>
                <a:gd name="connsiteY11795" fmla="*/ 2324363 h 3690338"/>
                <a:gd name="connsiteX11796" fmla="*/ 1979328 w 4878487"/>
                <a:gd name="connsiteY11796" fmla="*/ 2315707 h 3690338"/>
                <a:gd name="connsiteX11797" fmla="*/ 1980902 w 4878487"/>
                <a:gd name="connsiteY11797" fmla="*/ 2312560 h 3690338"/>
                <a:gd name="connsiteX11798" fmla="*/ 1981296 w 4878487"/>
                <a:gd name="connsiteY11798" fmla="*/ 2309806 h 3690338"/>
                <a:gd name="connsiteX11799" fmla="*/ 1980902 w 4878487"/>
                <a:gd name="connsiteY11799" fmla="*/ 2306659 h 3690338"/>
                <a:gd name="connsiteX11800" fmla="*/ 1981296 w 4878487"/>
                <a:gd name="connsiteY11800" fmla="*/ 2304298 h 3690338"/>
                <a:gd name="connsiteX11801" fmla="*/ 1995459 w 4878487"/>
                <a:gd name="connsiteY11801" fmla="*/ 2275184 h 3690338"/>
                <a:gd name="connsiteX11802" fmla="*/ 1995459 w 4878487"/>
                <a:gd name="connsiteY11802" fmla="*/ 2274791 h 3690338"/>
                <a:gd name="connsiteX11803" fmla="*/ 1997033 w 4878487"/>
                <a:gd name="connsiteY11803" fmla="*/ 2272037 h 3690338"/>
                <a:gd name="connsiteX11804" fmla="*/ 1997426 w 4878487"/>
                <a:gd name="connsiteY11804" fmla="*/ 2271250 h 3690338"/>
                <a:gd name="connsiteX11805" fmla="*/ 2000180 w 4878487"/>
                <a:gd name="connsiteY11805" fmla="*/ 2265742 h 3690338"/>
                <a:gd name="connsiteX11806" fmla="*/ 2000967 w 4878487"/>
                <a:gd name="connsiteY11806" fmla="*/ 2262595 h 3690338"/>
                <a:gd name="connsiteX11807" fmla="*/ 2002541 w 4878487"/>
                <a:gd name="connsiteY11807" fmla="*/ 2259841 h 3690338"/>
                <a:gd name="connsiteX11808" fmla="*/ 2002147 w 4878487"/>
                <a:gd name="connsiteY11808" fmla="*/ 2257087 h 3690338"/>
                <a:gd name="connsiteX11809" fmla="*/ 2002147 w 4878487"/>
                <a:gd name="connsiteY11809" fmla="*/ 2255907 h 3690338"/>
                <a:gd name="connsiteX11810" fmla="*/ 2007655 w 4878487"/>
                <a:gd name="connsiteY11810" fmla="*/ 2248038 h 3690338"/>
                <a:gd name="connsiteX11811" fmla="*/ 2009229 w 4878487"/>
                <a:gd name="connsiteY11811" fmla="*/ 2247251 h 3690338"/>
                <a:gd name="connsiteX11812" fmla="*/ 2011196 w 4878487"/>
                <a:gd name="connsiteY11812" fmla="*/ 2244104 h 3690338"/>
                <a:gd name="connsiteX11813" fmla="*/ 2011590 w 4878487"/>
                <a:gd name="connsiteY11813" fmla="*/ 2242530 h 3690338"/>
                <a:gd name="connsiteX11814" fmla="*/ 2012770 w 4878487"/>
                <a:gd name="connsiteY11814" fmla="*/ 2240170 h 3690338"/>
                <a:gd name="connsiteX11815" fmla="*/ 2014343 w 4878487"/>
                <a:gd name="connsiteY11815" fmla="*/ 2237022 h 3690338"/>
                <a:gd name="connsiteX11816" fmla="*/ 2016311 w 4878487"/>
                <a:gd name="connsiteY11816" fmla="*/ 2234268 h 3690338"/>
                <a:gd name="connsiteX11817" fmla="*/ 2016704 w 4878487"/>
                <a:gd name="connsiteY11817" fmla="*/ 2231514 h 3690338"/>
                <a:gd name="connsiteX11818" fmla="*/ 2017491 w 4878487"/>
                <a:gd name="connsiteY11818" fmla="*/ 2228760 h 3690338"/>
                <a:gd name="connsiteX11819" fmla="*/ 2018671 w 4878487"/>
                <a:gd name="connsiteY11819" fmla="*/ 2225613 h 3690338"/>
                <a:gd name="connsiteX11820" fmla="*/ 2018671 w 4878487"/>
                <a:gd name="connsiteY11820" fmla="*/ 2224826 h 3690338"/>
                <a:gd name="connsiteX11821" fmla="*/ 2020245 w 4878487"/>
                <a:gd name="connsiteY11821" fmla="*/ 2221285 h 3690338"/>
                <a:gd name="connsiteX11822" fmla="*/ 2022999 w 4878487"/>
                <a:gd name="connsiteY11822" fmla="*/ 2218138 h 3690338"/>
                <a:gd name="connsiteX11823" fmla="*/ 2025360 w 4878487"/>
                <a:gd name="connsiteY11823" fmla="*/ 2215384 h 3690338"/>
                <a:gd name="connsiteX11824" fmla="*/ 2025360 w 4878487"/>
                <a:gd name="connsiteY11824" fmla="*/ 2212630 h 3690338"/>
                <a:gd name="connsiteX11825" fmla="*/ 2025753 w 4878487"/>
                <a:gd name="connsiteY11825" fmla="*/ 2209876 h 3690338"/>
                <a:gd name="connsiteX11826" fmla="*/ 2028507 w 4878487"/>
                <a:gd name="connsiteY11826" fmla="*/ 2207122 h 3690338"/>
                <a:gd name="connsiteX11827" fmla="*/ 2030081 w 4878487"/>
                <a:gd name="connsiteY11827" fmla="*/ 2204368 h 3690338"/>
                <a:gd name="connsiteX11828" fmla="*/ 2030474 w 4878487"/>
                <a:gd name="connsiteY11828" fmla="*/ 2201220 h 3690338"/>
                <a:gd name="connsiteX11829" fmla="*/ 2029687 w 4878487"/>
                <a:gd name="connsiteY11829" fmla="*/ 2198466 h 3690338"/>
                <a:gd name="connsiteX11830" fmla="*/ 2029687 w 4878487"/>
                <a:gd name="connsiteY11830" fmla="*/ 2197286 h 3690338"/>
                <a:gd name="connsiteX11831" fmla="*/ 2030081 w 4878487"/>
                <a:gd name="connsiteY11831" fmla="*/ 2194139 h 3690338"/>
                <a:gd name="connsiteX11832" fmla="*/ 2030081 w 4878487"/>
                <a:gd name="connsiteY11832" fmla="*/ 2193745 h 3690338"/>
                <a:gd name="connsiteX11833" fmla="*/ 2031654 w 4878487"/>
                <a:gd name="connsiteY11833" fmla="*/ 2185090 h 3690338"/>
                <a:gd name="connsiteX11834" fmla="*/ 2031654 w 4878487"/>
                <a:gd name="connsiteY11834" fmla="*/ 2185090 h 3690338"/>
                <a:gd name="connsiteX11835" fmla="*/ 2032048 w 4878487"/>
                <a:gd name="connsiteY11835" fmla="*/ 2183516 h 3690338"/>
                <a:gd name="connsiteX11836" fmla="*/ 2034015 w 4878487"/>
                <a:gd name="connsiteY11836" fmla="*/ 2170927 h 3690338"/>
                <a:gd name="connsiteX11837" fmla="*/ 2036769 w 4878487"/>
                <a:gd name="connsiteY11837" fmla="*/ 2169353 h 3690338"/>
                <a:gd name="connsiteX11838" fmla="*/ 2039523 w 4878487"/>
                <a:gd name="connsiteY11838" fmla="*/ 2168959 h 3690338"/>
                <a:gd name="connsiteX11839" fmla="*/ 2042277 w 4878487"/>
                <a:gd name="connsiteY11839" fmla="*/ 2169353 h 3690338"/>
                <a:gd name="connsiteX11840" fmla="*/ 2045031 w 4878487"/>
                <a:gd name="connsiteY11840" fmla="*/ 2170927 h 3690338"/>
                <a:gd name="connsiteX11841" fmla="*/ 2046605 w 4878487"/>
                <a:gd name="connsiteY11841" fmla="*/ 2168172 h 3690338"/>
                <a:gd name="connsiteX11842" fmla="*/ 2043850 w 4878487"/>
                <a:gd name="connsiteY11842" fmla="*/ 2167386 h 3690338"/>
                <a:gd name="connsiteX11843" fmla="*/ 2040703 w 4878487"/>
                <a:gd name="connsiteY11843" fmla="*/ 2165812 h 3690338"/>
                <a:gd name="connsiteX11844" fmla="*/ 2041097 w 4878487"/>
                <a:gd name="connsiteY11844" fmla="*/ 2168566 h 3690338"/>
                <a:gd name="connsiteX11845" fmla="*/ 2038342 w 4878487"/>
                <a:gd name="connsiteY11845" fmla="*/ 2168959 h 3690338"/>
                <a:gd name="connsiteX11846" fmla="*/ 2035195 w 4878487"/>
                <a:gd name="connsiteY11846" fmla="*/ 2169746 h 3690338"/>
                <a:gd name="connsiteX11847" fmla="*/ 2034408 w 4878487"/>
                <a:gd name="connsiteY11847" fmla="*/ 2168959 h 3690338"/>
                <a:gd name="connsiteX11848" fmla="*/ 2037162 w 4878487"/>
                <a:gd name="connsiteY11848" fmla="*/ 2165812 h 3690338"/>
                <a:gd name="connsiteX11849" fmla="*/ 2038736 w 4878487"/>
                <a:gd name="connsiteY11849" fmla="*/ 2163058 h 3690338"/>
                <a:gd name="connsiteX11850" fmla="*/ 2037949 w 4878487"/>
                <a:gd name="connsiteY11850" fmla="*/ 2160304 h 3690338"/>
                <a:gd name="connsiteX11851" fmla="*/ 2037556 w 4878487"/>
                <a:gd name="connsiteY11851" fmla="*/ 2157157 h 3690338"/>
                <a:gd name="connsiteX11852" fmla="*/ 2037162 w 4878487"/>
                <a:gd name="connsiteY11852" fmla="*/ 2154403 h 3690338"/>
                <a:gd name="connsiteX11853" fmla="*/ 2036769 w 4878487"/>
                <a:gd name="connsiteY11853" fmla="*/ 2151649 h 3690338"/>
                <a:gd name="connsiteX11854" fmla="*/ 2036769 w 4878487"/>
                <a:gd name="connsiteY11854" fmla="*/ 2150075 h 3690338"/>
                <a:gd name="connsiteX11855" fmla="*/ 2037556 w 4878487"/>
                <a:gd name="connsiteY11855" fmla="*/ 2146928 h 3690338"/>
                <a:gd name="connsiteX11856" fmla="*/ 2035982 w 4878487"/>
                <a:gd name="connsiteY11856" fmla="*/ 2144174 h 3690338"/>
                <a:gd name="connsiteX11857" fmla="*/ 2035195 w 4878487"/>
                <a:gd name="connsiteY11857" fmla="*/ 2141420 h 3690338"/>
                <a:gd name="connsiteX11858" fmla="*/ 2035195 w 4878487"/>
                <a:gd name="connsiteY11858" fmla="*/ 2138666 h 3690338"/>
                <a:gd name="connsiteX11859" fmla="*/ 2035982 w 4878487"/>
                <a:gd name="connsiteY11859" fmla="*/ 2135912 h 3690338"/>
                <a:gd name="connsiteX11860" fmla="*/ 2036375 w 4878487"/>
                <a:gd name="connsiteY11860" fmla="*/ 2133158 h 3690338"/>
                <a:gd name="connsiteX11861" fmla="*/ 2037949 w 4878487"/>
                <a:gd name="connsiteY11861" fmla="*/ 2130010 h 3690338"/>
                <a:gd name="connsiteX11862" fmla="*/ 2039916 w 4878487"/>
                <a:gd name="connsiteY11862" fmla="*/ 2127256 h 3690338"/>
                <a:gd name="connsiteX11863" fmla="*/ 2039523 w 4878487"/>
                <a:gd name="connsiteY11863" fmla="*/ 2124502 h 3690338"/>
                <a:gd name="connsiteX11864" fmla="*/ 2038736 w 4878487"/>
                <a:gd name="connsiteY11864" fmla="*/ 2121748 h 3690338"/>
                <a:gd name="connsiteX11865" fmla="*/ 2035982 w 4878487"/>
                <a:gd name="connsiteY11865" fmla="*/ 2120961 h 3690338"/>
                <a:gd name="connsiteX11866" fmla="*/ 2032835 w 4878487"/>
                <a:gd name="connsiteY11866" fmla="*/ 2120175 h 3690338"/>
                <a:gd name="connsiteX11867" fmla="*/ 2030081 w 4878487"/>
                <a:gd name="connsiteY11867" fmla="*/ 2118601 h 3690338"/>
                <a:gd name="connsiteX11868" fmla="*/ 2027720 w 4878487"/>
                <a:gd name="connsiteY11868" fmla="*/ 2118208 h 3690338"/>
                <a:gd name="connsiteX11869" fmla="*/ 2024572 w 4878487"/>
                <a:gd name="connsiteY11869" fmla="*/ 2117421 h 3690338"/>
                <a:gd name="connsiteX11870" fmla="*/ 2021819 w 4878487"/>
                <a:gd name="connsiteY11870" fmla="*/ 2118208 h 3690338"/>
                <a:gd name="connsiteX11871" fmla="*/ 2019065 w 4878487"/>
                <a:gd name="connsiteY11871" fmla="*/ 2119781 h 3690338"/>
                <a:gd name="connsiteX11872" fmla="*/ 2018278 w 4878487"/>
                <a:gd name="connsiteY11872" fmla="*/ 2122535 h 3690338"/>
                <a:gd name="connsiteX11873" fmla="*/ 2017884 w 4878487"/>
                <a:gd name="connsiteY11873" fmla="*/ 2124109 h 3690338"/>
                <a:gd name="connsiteX11874" fmla="*/ 2003328 w 4878487"/>
                <a:gd name="connsiteY11874" fmla="*/ 2133158 h 3690338"/>
                <a:gd name="connsiteX11875" fmla="*/ 2000574 w 4878487"/>
                <a:gd name="connsiteY11875" fmla="*/ 2133551 h 3690338"/>
                <a:gd name="connsiteX11876" fmla="*/ 1996639 w 4878487"/>
                <a:gd name="connsiteY11876" fmla="*/ 2134731 h 3690338"/>
                <a:gd name="connsiteX11877" fmla="*/ 1995065 w 4878487"/>
                <a:gd name="connsiteY11877" fmla="*/ 2134731 h 3690338"/>
                <a:gd name="connsiteX11878" fmla="*/ 1991918 w 4878487"/>
                <a:gd name="connsiteY11878" fmla="*/ 2135125 h 3690338"/>
                <a:gd name="connsiteX11879" fmla="*/ 1989951 w 4878487"/>
                <a:gd name="connsiteY11879" fmla="*/ 2136698 h 3690338"/>
                <a:gd name="connsiteX11880" fmla="*/ 1970280 w 4878487"/>
                <a:gd name="connsiteY11880" fmla="*/ 2142206 h 3690338"/>
                <a:gd name="connsiteX11881" fmla="*/ 1966739 w 4878487"/>
                <a:gd name="connsiteY11881" fmla="*/ 2140633 h 3690338"/>
                <a:gd name="connsiteX11882" fmla="*/ 1963985 w 4878487"/>
                <a:gd name="connsiteY11882" fmla="*/ 2139452 h 3690338"/>
                <a:gd name="connsiteX11883" fmla="*/ 1961231 w 4878487"/>
                <a:gd name="connsiteY11883" fmla="*/ 2139846 h 3690338"/>
                <a:gd name="connsiteX11884" fmla="*/ 1958477 w 4878487"/>
                <a:gd name="connsiteY11884" fmla="*/ 2140239 h 3690338"/>
                <a:gd name="connsiteX11885" fmla="*/ 1955329 w 4878487"/>
                <a:gd name="connsiteY11885" fmla="*/ 2141026 h 3690338"/>
                <a:gd name="connsiteX11886" fmla="*/ 1952576 w 4878487"/>
                <a:gd name="connsiteY11886" fmla="*/ 2143387 h 3690338"/>
                <a:gd name="connsiteX11887" fmla="*/ 1949821 w 4878487"/>
                <a:gd name="connsiteY11887" fmla="*/ 2144960 h 3690338"/>
                <a:gd name="connsiteX11888" fmla="*/ 1947068 w 4878487"/>
                <a:gd name="connsiteY11888" fmla="*/ 2146534 h 3690338"/>
                <a:gd name="connsiteX11889" fmla="*/ 1943920 w 4878487"/>
                <a:gd name="connsiteY11889" fmla="*/ 2147321 h 3690338"/>
                <a:gd name="connsiteX11890" fmla="*/ 1940380 w 4878487"/>
                <a:gd name="connsiteY11890" fmla="*/ 2146928 h 3690338"/>
                <a:gd name="connsiteX11891" fmla="*/ 1937232 w 4878487"/>
                <a:gd name="connsiteY11891" fmla="*/ 2146928 h 3690338"/>
                <a:gd name="connsiteX11892" fmla="*/ 1934478 w 4878487"/>
                <a:gd name="connsiteY11892" fmla="*/ 2147715 h 3690338"/>
                <a:gd name="connsiteX11893" fmla="*/ 1931724 w 4878487"/>
                <a:gd name="connsiteY11893" fmla="*/ 2146141 h 3690338"/>
                <a:gd name="connsiteX11894" fmla="*/ 1928577 w 4878487"/>
                <a:gd name="connsiteY11894" fmla="*/ 2144567 h 3690338"/>
                <a:gd name="connsiteX11895" fmla="*/ 1925429 w 4878487"/>
                <a:gd name="connsiteY11895" fmla="*/ 2144960 h 3690338"/>
                <a:gd name="connsiteX11896" fmla="*/ 1922282 w 4878487"/>
                <a:gd name="connsiteY11896" fmla="*/ 2146534 h 3690338"/>
                <a:gd name="connsiteX11897" fmla="*/ 1919528 w 4878487"/>
                <a:gd name="connsiteY11897" fmla="*/ 2148108 h 3690338"/>
                <a:gd name="connsiteX11898" fmla="*/ 1917167 w 4878487"/>
                <a:gd name="connsiteY11898" fmla="*/ 2150862 h 3690338"/>
                <a:gd name="connsiteX11899" fmla="*/ 1882152 w 4878487"/>
                <a:gd name="connsiteY11899" fmla="*/ 2156370 h 3690338"/>
                <a:gd name="connsiteX11900" fmla="*/ 1881366 w 4878487"/>
                <a:gd name="connsiteY11900" fmla="*/ 2155976 h 3690338"/>
                <a:gd name="connsiteX11901" fmla="*/ 1880972 w 4878487"/>
                <a:gd name="connsiteY11901" fmla="*/ 2156763 h 3690338"/>
                <a:gd name="connsiteX11902" fmla="*/ 1877825 w 4878487"/>
                <a:gd name="connsiteY11902" fmla="*/ 2155189 h 3690338"/>
                <a:gd name="connsiteX11903" fmla="*/ 1875070 w 4878487"/>
                <a:gd name="connsiteY11903" fmla="*/ 2157550 h 3690338"/>
                <a:gd name="connsiteX11904" fmla="*/ 1872317 w 4878487"/>
                <a:gd name="connsiteY11904" fmla="*/ 2158730 h 3690338"/>
                <a:gd name="connsiteX11905" fmla="*/ 1869563 w 4878487"/>
                <a:gd name="connsiteY11905" fmla="*/ 2161484 h 3690338"/>
                <a:gd name="connsiteX11906" fmla="*/ 1866809 w 4878487"/>
                <a:gd name="connsiteY11906" fmla="*/ 2162271 h 3690338"/>
                <a:gd name="connsiteX11907" fmla="*/ 1863661 w 4878487"/>
                <a:gd name="connsiteY11907" fmla="*/ 2163058 h 3690338"/>
                <a:gd name="connsiteX11908" fmla="*/ 1860514 w 4878487"/>
                <a:gd name="connsiteY11908" fmla="*/ 2165812 h 3690338"/>
                <a:gd name="connsiteX11909" fmla="*/ 1857760 w 4878487"/>
                <a:gd name="connsiteY11909" fmla="*/ 2166992 h 3690338"/>
                <a:gd name="connsiteX11910" fmla="*/ 1855399 w 4878487"/>
                <a:gd name="connsiteY11910" fmla="*/ 2168959 h 3690338"/>
                <a:gd name="connsiteX11911" fmla="*/ 1850285 w 4878487"/>
                <a:gd name="connsiteY11911" fmla="*/ 2169353 h 3690338"/>
                <a:gd name="connsiteX11912" fmla="*/ 1849498 w 4878487"/>
                <a:gd name="connsiteY11912" fmla="*/ 2168959 h 3690338"/>
                <a:gd name="connsiteX11913" fmla="*/ 1846744 w 4878487"/>
                <a:gd name="connsiteY11913" fmla="*/ 2168566 h 3690338"/>
                <a:gd name="connsiteX11914" fmla="*/ 1843990 w 4878487"/>
                <a:gd name="connsiteY11914" fmla="*/ 2169746 h 3690338"/>
                <a:gd name="connsiteX11915" fmla="*/ 1842023 w 4878487"/>
                <a:gd name="connsiteY11915" fmla="*/ 2170140 h 3690338"/>
                <a:gd name="connsiteX11916" fmla="*/ 1832187 w 4878487"/>
                <a:gd name="connsiteY11916" fmla="*/ 2166992 h 3690338"/>
                <a:gd name="connsiteX11917" fmla="*/ 1829040 w 4878487"/>
                <a:gd name="connsiteY11917" fmla="*/ 2164632 h 3690338"/>
                <a:gd name="connsiteX11918" fmla="*/ 1828253 w 4878487"/>
                <a:gd name="connsiteY11918" fmla="*/ 2163845 h 3690338"/>
                <a:gd name="connsiteX11919" fmla="*/ 1814089 w 4878487"/>
                <a:gd name="connsiteY11919" fmla="*/ 2148501 h 3690338"/>
                <a:gd name="connsiteX11920" fmla="*/ 1812516 w 4878487"/>
                <a:gd name="connsiteY11920" fmla="*/ 2145747 h 3690338"/>
                <a:gd name="connsiteX11921" fmla="*/ 1812122 w 4878487"/>
                <a:gd name="connsiteY11921" fmla="*/ 2145354 h 3690338"/>
                <a:gd name="connsiteX11922" fmla="*/ 1809368 w 4878487"/>
                <a:gd name="connsiteY11922" fmla="*/ 2140633 h 3690338"/>
                <a:gd name="connsiteX11923" fmla="*/ 1809368 w 4878487"/>
                <a:gd name="connsiteY11923" fmla="*/ 2139452 h 3690338"/>
                <a:gd name="connsiteX11924" fmla="*/ 1808188 w 4878487"/>
                <a:gd name="connsiteY11924" fmla="*/ 2137879 h 3690338"/>
                <a:gd name="connsiteX11925" fmla="*/ 1805041 w 4878487"/>
                <a:gd name="connsiteY11925" fmla="*/ 2135518 h 3690338"/>
                <a:gd name="connsiteX11926" fmla="*/ 1802287 w 4878487"/>
                <a:gd name="connsiteY11926" fmla="*/ 2133945 h 3690338"/>
                <a:gd name="connsiteX11927" fmla="*/ 1799533 w 4878487"/>
                <a:gd name="connsiteY11927" fmla="*/ 2130797 h 3690338"/>
                <a:gd name="connsiteX11928" fmla="*/ 1797959 w 4878487"/>
                <a:gd name="connsiteY11928" fmla="*/ 2130404 h 3690338"/>
                <a:gd name="connsiteX11929" fmla="*/ 1795598 w 4878487"/>
                <a:gd name="connsiteY11929" fmla="*/ 2130010 h 3690338"/>
                <a:gd name="connsiteX11930" fmla="*/ 1794025 w 4878487"/>
                <a:gd name="connsiteY11930" fmla="*/ 2129617 h 3690338"/>
                <a:gd name="connsiteX11931" fmla="*/ 1790878 w 4878487"/>
                <a:gd name="connsiteY11931" fmla="*/ 2129617 h 3690338"/>
                <a:gd name="connsiteX11932" fmla="*/ 1781042 w 4878487"/>
                <a:gd name="connsiteY11932" fmla="*/ 2131191 h 3690338"/>
                <a:gd name="connsiteX11933" fmla="*/ 1782615 w 4878487"/>
                <a:gd name="connsiteY11933" fmla="*/ 2130797 h 3690338"/>
                <a:gd name="connsiteX11934" fmla="*/ 1785763 w 4878487"/>
                <a:gd name="connsiteY11934" fmla="*/ 2130404 h 3690338"/>
                <a:gd name="connsiteX11935" fmla="*/ 1786549 w 4878487"/>
                <a:gd name="connsiteY11935" fmla="*/ 2128043 h 3690338"/>
                <a:gd name="connsiteX11936" fmla="*/ 1794418 w 4878487"/>
                <a:gd name="connsiteY11936" fmla="*/ 2122928 h 3690338"/>
                <a:gd name="connsiteX11937" fmla="*/ 1797172 w 4878487"/>
                <a:gd name="connsiteY11937" fmla="*/ 2121355 h 3690338"/>
                <a:gd name="connsiteX11938" fmla="*/ 1797566 w 4878487"/>
                <a:gd name="connsiteY11938" fmla="*/ 2121355 h 3690338"/>
                <a:gd name="connsiteX11939" fmla="*/ 1797959 w 4878487"/>
                <a:gd name="connsiteY11939" fmla="*/ 2120961 h 3690338"/>
                <a:gd name="connsiteX11940" fmla="*/ 1806221 w 4878487"/>
                <a:gd name="connsiteY11940" fmla="*/ 2115453 h 3690338"/>
                <a:gd name="connsiteX11941" fmla="*/ 1807008 w 4878487"/>
                <a:gd name="connsiteY11941" fmla="*/ 2113093 h 3690338"/>
                <a:gd name="connsiteX11942" fmla="*/ 1806615 w 4878487"/>
                <a:gd name="connsiteY11942" fmla="*/ 2109552 h 3690338"/>
                <a:gd name="connsiteX11943" fmla="*/ 1805827 w 4878487"/>
                <a:gd name="connsiteY11943" fmla="*/ 2106405 h 3690338"/>
                <a:gd name="connsiteX11944" fmla="*/ 1805434 w 4878487"/>
                <a:gd name="connsiteY11944" fmla="*/ 2103651 h 3690338"/>
                <a:gd name="connsiteX11945" fmla="*/ 1804254 w 4878487"/>
                <a:gd name="connsiteY11945" fmla="*/ 2100503 h 3690338"/>
                <a:gd name="connsiteX11946" fmla="*/ 1801893 w 4878487"/>
                <a:gd name="connsiteY11946" fmla="*/ 2097749 h 3690338"/>
                <a:gd name="connsiteX11947" fmla="*/ 1799139 w 4878487"/>
                <a:gd name="connsiteY11947" fmla="*/ 2094602 h 3690338"/>
                <a:gd name="connsiteX11948" fmla="*/ 1797566 w 4878487"/>
                <a:gd name="connsiteY11948" fmla="*/ 2091454 h 3690338"/>
                <a:gd name="connsiteX11949" fmla="*/ 1796779 w 4878487"/>
                <a:gd name="connsiteY11949" fmla="*/ 2088700 h 3690338"/>
                <a:gd name="connsiteX11950" fmla="*/ 1794418 w 4878487"/>
                <a:gd name="connsiteY11950" fmla="*/ 2085946 h 3690338"/>
                <a:gd name="connsiteX11951" fmla="*/ 1792058 w 4878487"/>
                <a:gd name="connsiteY11951" fmla="*/ 2088700 h 3690338"/>
                <a:gd name="connsiteX11952" fmla="*/ 1788910 w 4878487"/>
                <a:gd name="connsiteY11952" fmla="*/ 2087127 h 3690338"/>
                <a:gd name="connsiteX11953" fmla="*/ 1786156 w 4878487"/>
                <a:gd name="connsiteY11953" fmla="*/ 2083192 h 3690338"/>
                <a:gd name="connsiteX11954" fmla="*/ 1785369 w 4878487"/>
                <a:gd name="connsiteY11954" fmla="*/ 2080832 h 3690338"/>
                <a:gd name="connsiteX11955" fmla="*/ 1782615 w 4878487"/>
                <a:gd name="connsiteY11955" fmla="*/ 2078078 h 3690338"/>
                <a:gd name="connsiteX11956" fmla="*/ 1781829 w 4878487"/>
                <a:gd name="connsiteY11956" fmla="*/ 2076898 h 3690338"/>
                <a:gd name="connsiteX11957" fmla="*/ 1771993 w 4878487"/>
                <a:gd name="connsiteY11957" fmla="*/ 2063128 h 3690338"/>
                <a:gd name="connsiteX11958" fmla="*/ 1771993 w 4878487"/>
                <a:gd name="connsiteY11958" fmla="*/ 2061947 h 3690338"/>
                <a:gd name="connsiteX11959" fmla="*/ 1769239 w 4878487"/>
                <a:gd name="connsiteY11959" fmla="*/ 2059587 h 3690338"/>
                <a:gd name="connsiteX11960" fmla="*/ 1764124 w 4878487"/>
                <a:gd name="connsiteY11960" fmla="*/ 2056046 h 3690338"/>
                <a:gd name="connsiteX11961" fmla="*/ 1762551 w 4878487"/>
                <a:gd name="connsiteY11961" fmla="*/ 2053685 h 3690338"/>
                <a:gd name="connsiteX11962" fmla="*/ 1759403 w 4878487"/>
                <a:gd name="connsiteY11962" fmla="*/ 2052112 h 3690338"/>
                <a:gd name="connsiteX11963" fmla="*/ 1757830 w 4878487"/>
                <a:gd name="connsiteY11963" fmla="*/ 2051718 h 3690338"/>
                <a:gd name="connsiteX11964" fmla="*/ 1749961 w 4878487"/>
                <a:gd name="connsiteY11964" fmla="*/ 2044243 h 3690338"/>
                <a:gd name="connsiteX11965" fmla="*/ 1747601 w 4878487"/>
                <a:gd name="connsiteY11965" fmla="*/ 2040702 h 3690338"/>
                <a:gd name="connsiteX11966" fmla="*/ 1746027 w 4878487"/>
                <a:gd name="connsiteY11966" fmla="*/ 2038342 h 3690338"/>
                <a:gd name="connsiteX11967" fmla="*/ 1744060 w 4878487"/>
                <a:gd name="connsiteY11967" fmla="*/ 2035588 h 3690338"/>
                <a:gd name="connsiteX11968" fmla="*/ 1742093 w 4878487"/>
                <a:gd name="connsiteY11968" fmla="*/ 2032834 h 3690338"/>
                <a:gd name="connsiteX11969" fmla="*/ 1740519 w 4878487"/>
                <a:gd name="connsiteY11969" fmla="*/ 2030080 h 3690338"/>
                <a:gd name="connsiteX11970" fmla="*/ 1739732 w 4878487"/>
                <a:gd name="connsiteY11970" fmla="*/ 2029687 h 3690338"/>
                <a:gd name="connsiteX11971" fmla="*/ 1737371 w 4878487"/>
                <a:gd name="connsiteY11971" fmla="*/ 2026933 h 3690338"/>
                <a:gd name="connsiteX11972" fmla="*/ 1734617 w 4878487"/>
                <a:gd name="connsiteY11972" fmla="*/ 2025752 h 3690338"/>
                <a:gd name="connsiteX11973" fmla="*/ 1734224 w 4878487"/>
                <a:gd name="connsiteY11973" fmla="*/ 2025752 h 3690338"/>
                <a:gd name="connsiteX11974" fmla="*/ 1717700 w 4878487"/>
                <a:gd name="connsiteY11974" fmla="*/ 2013949 h 3690338"/>
                <a:gd name="connsiteX11975" fmla="*/ 1716913 w 4878487"/>
                <a:gd name="connsiteY11975" fmla="*/ 2013949 h 3690338"/>
                <a:gd name="connsiteX11976" fmla="*/ 1715339 w 4878487"/>
                <a:gd name="connsiteY11976" fmla="*/ 2013949 h 3690338"/>
                <a:gd name="connsiteX11977" fmla="*/ 1714946 w 4878487"/>
                <a:gd name="connsiteY11977" fmla="*/ 2013949 h 3690338"/>
                <a:gd name="connsiteX11978" fmla="*/ 1706291 w 4878487"/>
                <a:gd name="connsiteY11978" fmla="*/ 2013949 h 3690338"/>
                <a:gd name="connsiteX11979" fmla="*/ 1702750 w 4878487"/>
                <a:gd name="connsiteY11979" fmla="*/ 2004507 h 3690338"/>
                <a:gd name="connsiteX11980" fmla="*/ 1703537 w 4878487"/>
                <a:gd name="connsiteY11980" fmla="*/ 2002147 h 3690338"/>
                <a:gd name="connsiteX11981" fmla="*/ 1701176 w 4878487"/>
                <a:gd name="connsiteY11981" fmla="*/ 2000573 h 3690338"/>
                <a:gd name="connsiteX11982" fmla="*/ 1698422 w 4878487"/>
                <a:gd name="connsiteY11982" fmla="*/ 1997819 h 3690338"/>
                <a:gd name="connsiteX11983" fmla="*/ 1695275 w 4878487"/>
                <a:gd name="connsiteY11983" fmla="*/ 1998212 h 3690338"/>
                <a:gd name="connsiteX11984" fmla="*/ 1694488 w 4878487"/>
                <a:gd name="connsiteY11984" fmla="*/ 2000966 h 3690338"/>
                <a:gd name="connsiteX11985" fmla="*/ 1694881 w 4878487"/>
                <a:gd name="connsiteY11985" fmla="*/ 2004114 h 3690338"/>
                <a:gd name="connsiteX11986" fmla="*/ 1697242 w 4878487"/>
                <a:gd name="connsiteY11986" fmla="*/ 2006868 h 3690338"/>
                <a:gd name="connsiteX11987" fmla="*/ 1696849 w 4878487"/>
                <a:gd name="connsiteY11987" fmla="*/ 2007655 h 3690338"/>
                <a:gd name="connsiteX11988" fmla="*/ 1694881 w 4878487"/>
                <a:gd name="connsiteY11988" fmla="*/ 2010802 h 3690338"/>
                <a:gd name="connsiteX11989" fmla="*/ 1692914 w 4878487"/>
                <a:gd name="connsiteY11989" fmla="*/ 2006474 h 3690338"/>
                <a:gd name="connsiteX11990" fmla="*/ 1692914 w 4878487"/>
                <a:gd name="connsiteY11990" fmla="*/ 2005294 h 3690338"/>
                <a:gd name="connsiteX11991" fmla="*/ 1692127 w 4878487"/>
                <a:gd name="connsiteY11991" fmla="*/ 2002147 h 3690338"/>
                <a:gd name="connsiteX11992" fmla="*/ 1690554 w 4878487"/>
                <a:gd name="connsiteY11992" fmla="*/ 1999393 h 3690338"/>
                <a:gd name="connsiteX11993" fmla="*/ 1689767 w 4878487"/>
                <a:gd name="connsiteY11993" fmla="*/ 1996639 h 3690338"/>
                <a:gd name="connsiteX11994" fmla="*/ 1687800 w 4878487"/>
                <a:gd name="connsiteY11994" fmla="*/ 1996245 h 3690338"/>
                <a:gd name="connsiteX11995" fmla="*/ 1685046 w 4878487"/>
                <a:gd name="connsiteY11995" fmla="*/ 1990344 h 3690338"/>
                <a:gd name="connsiteX11996" fmla="*/ 1674817 w 4878487"/>
                <a:gd name="connsiteY11996" fmla="*/ 1958083 h 3690338"/>
                <a:gd name="connsiteX11997" fmla="*/ 1674817 w 4878487"/>
                <a:gd name="connsiteY11997" fmla="*/ 1957689 h 3690338"/>
                <a:gd name="connsiteX11998" fmla="*/ 1674030 w 4878487"/>
                <a:gd name="connsiteY11998" fmla="*/ 1954936 h 3690338"/>
                <a:gd name="connsiteX11999" fmla="*/ 1673243 w 4878487"/>
                <a:gd name="connsiteY11999" fmla="*/ 1951788 h 3690338"/>
                <a:gd name="connsiteX12000" fmla="*/ 1672062 w 4878487"/>
                <a:gd name="connsiteY12000" fmla="*/ 1949034 h 3690338"/>
                <a:gd name="connsiteX12001" fmla="*/ 1671276 w 4878487"/>
                <a:gd name="connsiteY12001" fmla="*/ 1946280 h 3690338"/>
                <a:gd name="connsiteX12002" fmla="*/ 1670489 w 4878487"/>
                <a:gd name="connsiteY12002" fmla="*/ 1943526 h 3690338"/>
                <a:gd name="connsiteX12003" fmla="*/ 1669702 w 4878487"/>
                <a:gd name="connsiteY12003" fmla="*/ 1940772 h 3690338"/>
                <a:gd name="connsiteX12004" fmla="*/ 1668128 w 4878487"/>
                <a:gd name="connsiteY12004" fmla="*/ 1938018 h 3690338"/>
                <a:gd name="connsiteX12005" fmla="*/ 1667342 w 4878487"/>
                <a:gd name="connsiteY12005" fmla="*/ 1934871 h 3690338"/>
                <a:gd name="connsiteX12006" fmla="*/ 1666948 w 4878487"/>
                <a:gd name="connsiteY12006" fmla="*/ 1932117 h 3690338"/>
                <a:gd name="connsiteX12007" fmla="*/ 1665374 w 4878487"/>
                <a:gd name="connsiteY12007" fmla="*/ 1929363 h 3690338"/>
                <a:gd name="connsiteX12008" fmla="*/ 1663801 w 4878487"/>
                <a:gd name="connsiteY12008" fmla="*/ 1926609 h 3690338"/>
                <a:gd name="connsiteX12009" fmla="*/ 1662620 w 4878487"/>
                <a:gd name="connsiteY12009" fmla="*/ 1923855 h 3690338"/>
                <a:gd name="connsiteX12010" fmla="*/ 1661047 w 4878487"/>
                <a:gd name="connsiteY12010" fmla="*/ 1921101 h 3690338"/>
                <a:gd name="connsiteX12011" fmla="*/ 1659473 w 4878487"/>
                <a:gd name="connsiteY12011" fmla="*/ 1917953 h 3690338"/>
                <a:gd name="connsiteX12012" fmla="*/ 1656719 w 4878487"/>
                <a:gd name="connsiteY12012" fmla="*/ 1912445 h 3690338"/>
                <a:gd name="connsiteX12013" fmla="*/ 1655932 w 4878487"/>
                <a:gd name="connsiteY12013" fmla="*/ 1910872 h 3690338"/>
                <a:gd name="connsiteX12014" fmla="*/ 1653965 w 4878487"/>
                <a:gd name="connsiteY12014" fmla="*/ 1908511 h 3690338"/>
                <a:gd name="connsiteX12015" fmla="*/ 1613442 w 4878487"/>
                <a:gd name="connsiteY12015" fmla="*/ 1847924 h 3690338"/>
                <a:gd name="connsiteX12016" fmla="*/ 1611868 w 4878487"/>
                <a:gd name="connsiteY12016" fmla="*/ 1843989 h 3690338"/>
                <a:gd name="connsiteX12017" fmla="*/ 1612262 w 4878487"/>
                <a:gd name="connsiteY12017" fmla="*/ 1840842 h 3690338"/>
                <a:gd name="connsiteX12018" fmla="*/ 1611868 w 4878487"/>
                <a:gd name="connsiteY12018" fmla="*/ 1839268 h 3690338"/>
                <a:gd name="connsiteX12019" fmla="*/ 1613048 w 4878487"/>
                <a:gd name="connsiteY12019" fmla="*/ 1808187 h 3690338"/>
                <a:gd name="connsiteX12020" fmla="*/ 1612262 w 4878487"/>
                <a:gd name="connsiteY12020" fmla="*/ 1805433 h 3690338"/>
                <a:gd name="connsiteX12021" fmla="*/ 1611081 w 4878487"/>
                <a:gd name="connsiteY12021" fmla="*/ 1804253 h 3690338"/>
                <a:gd name="connsiteX12022" fmla="*/ 1600066 w 4878487"/>
                <a:gd name="connsiteY12022" fmla="*/ 1775926 h 3690338"/>
                <a:gd name="connsiteX12023" fmla="*/ 1600459 w 4878487"/>
                <a:gd name="connsiteY12023" fmla="*/ 1775140 h 3690338"/>
                <a:gd name="connsiteX12024" fmla="*/ 1597705 w 4878487"/>
                <a:gd name="connsiteY12024" fmla="*/ 1772386 h 3690338"/>
                <a:gd name="connsiteX12025" fmla="*/ 1594951 w 4878487"/>
                <a:gd name="connsiteY12025" fmla="*/ 1770419 h 3690338"/>
                <a:gd name="connsiteX12026" fmla="*/ 1591803 w 4878487"/>
                <a:gd name="connsiteY12026" fmla="*/ 1768058 h 3690338"/>
                <a:gd name="connsiteX12027" fmla="*/ 1581574 w 4878487"/>
                <a:gd name="connsiteY12027" fmla="*/ 1757829 h 3690338"/>
                <a:gd name="connsiteX12028" fmla="*/ 1580001 w 4878487"/>
                <a:gd name="connsiteY12028" fmla="*/ 1754681 h 3690338"/>
                <a:gd name="connsiteX12029" fmla="*/ 1577247 w 4878487"/>
                <a:gd name="connsiteY12029" fmla="*/ 1753501 h 3690338"/>
                <a:gd name="connsiteX12030" fmla="*/ 1561510 w 4878487"/>
                <a:gd name="connsiteY12030" fmla="*/ 1737764 h 3690338"/>
                <a:gd name="connsiteX12031" fmla="*/ 1563084 w 4878487"/>
                <a:gd name="connsiteY12031" fmla="*/ 1711011 h 3690338"/>
                <a:gd name="connsiteX12032" fmla="*/ 1565444 w 4878487"/>
                <a:gd name="connsiteY12032" fmla="*/ 1711011 h 3690338"/>
                <a:gd name="connsiteX12033" fmla="*/ 1563084 w 4878487"/>
                <a:gd name="connsiteY12033" fmla="*/ 1708257 h 3690338"/>
                <a:gd name="connsiteX12034" fmla="*/ 1540265 w 4878487"/>
                <a:gd name="connsiteY12034" fmla="*/ 1680717 h 3690338"/>
                <a:gd name="connsiteX12035" fmla="*/ 1539871 w 4878487"/>
                <a:gd name="connsiteY12035" fmla="*/ 1679537 h 3690338"/>
                <a:gd name="connsiteX12036" fmla="*/ 1539478 w 4878487"/>
                <a:gd name="connsiteY12036" fmla="*/ 1677176 h 3690338"/>
                <a:gd name="connsiteX12037" fmla="*/ 1537904 w 4878487"/>
                <a:gd name="connsiteY12037" fmla="*/ 1674029 h 3690338"/>
                <a:gd name="connsiteX12038" fmla="*/ 1525315 w 4878487"/>
                <a:gd name="connsiteY12038" fmla="*/ 1650423 h 3690338"/>
                <a:gd name="connsiteX12039" fmla="*/ 1525315 w 4878487"/>
                <a:gd name="connsiteY12039" fmla="*/ 1650423 h 3690338"/>
                <a:gd name="connsiteX12040" fmla="*/ 1525315 w 4878487"/>
                <a:gd name="connsiteY12040" fmla="*/ 1650423 h 3690338"/>
                <a:gd name="connsiteX12041" fmla="*/ 1506037 w 4878487"/>
                <a:gd name="connsiteY12041" fmla="*/ 1613835 h 3690338"/>
                <a:gd name="connsiteX12042" fmla="*/ 1507217 w 4878487"/>
                <a:gd name="connsiteY12042" fmla="*/ 1611474 h 3690338"/>
                <a:gd name="connsiteX12043" fmla="*/ 1505250 w 4878487"/>
                <a:gd name="connsiteY12043" fmla="*/ 1608327 h 3690338"/>
                <a:gd name="connsiteX12044" fmla="*/ 1503676 w 4878487"/>
                <a:gd name="connsiteY12044" fmla="*/ 1605179 h 3690338"/>
                <a:gd name="connsiteX12045" fmla="*/ 1502102 w 4878487"/>
                <a:gd name="connsiteY12045" fmla="*/ 1602425 h 3690338"/>
                <a:gd name="connsiteX12046" fmla="*/ 1501709 w 4878487"/>
                <a:gd name="connsiteY12046" fmla="*/ 1599672 h 3690338"/>
                <a:gd name="connsiteX12047" fmla="*/ 1500135 w 4878487"/>
                <a:gd name="connsiteY12047" fmla="*/ 1596917 h 3690338"/>
                <a:gd name="connsiteX12048" fmla="*/ 1497381 w 4878487"/>
                <a:gd name="connsiteY12048" fmla="*/ 1593770 h 3690338"/>
                <a:gd name="connsiteX12049" fmla="*/ 1496201 w 4878487"/>
                <a:gd name="connsiteY12049" fmla="*/ 1591016 h 3690338"/>
                <a:gd name="connsiteX12050" fmla="*/ 1493053 w 4878487"/>
                <a:gd name="connsiteY12050" fmla="*/ 1588262 h 3690338"/>
                <a:gd name="connsiteX12051" fmla="*/ 1493841 w 4878487"/>
                <a:gd name="connsiteY12051" fmla="*/ 1584328 h 3690338"/>
                <a:gd name="connsiteX12052" fmla="*/ 1493447 w 4878487"/>
                <a:gd name="connsiteY12052" fmla="*/ 1583934 h 3690338"/>
                <a:gd name="connsiteX12053" fmla="*/ 1492660 w 4878487"/>
                <a:gd name="connsiteY12053" fmla="*/ 1580787 h 3690338"/>
                <a:gd name="connsiteX12054" fmla="*/ 1492660 w 4878487"/>
                <a:gd name="connsiteY12054" fmla="*/ 1579213 h 3690338"/>
                <a:gd name="connsiteX12055" fmla="*/ 1493053 w 4878487"/>
                <a:gd name="connsiteY12055" fmla="*/ 1579607 h 3690338"/>
                <a:gd name="connsiteX12056" fmla="*/ 1492660 w 4878487"/>
                <a:gd name="connsiteY12056" fmla="*/ 1576853 h 3690338"/>
                <a:gd name="connsiteX12057" fmla="*/ 1492267 w 4878487"/>
                <a:gd name="connsiteY12057" fmla="*/ 1576066 h 3690338"/>
                <a:gd name="connsiteX12058" fmla="*/ 1490693 w 4878487"/>
                <a:gd name="connsiteY12058" fmla="*/ 1573312 h 3690338"/>
                <a:gd name="connsiteX12059" fmla="*/ 1487545 w 4878487"/>
                <a:gd name="connsiteY12059" fmla="*/ 1571738 h 3690338"/>
                <a:gd name="connsiteX12060" fmla="*/ 1484792 w 4878487"/>
                <a:gd name="connsiteY12060" fmla="*/ 1569378 h 3690338"/>
                <a:gd name="connsiteX12061" fmla="*/ 1484398 w 4878487"/>
                <a:gd name="connsiteY12061" fmla="*/ 1568984 h 3690338"/>
                <a:gd name="connsiteX12062" fmla="*/ 1482824 w 4878487"/>
                <a:gd name="connsiteY12062" fmla="*/ 1567410 h 3690338"/>
                <a:gd name="connsiteX12063" fmla="*/ 1482824 w 4878487"/>
                <a:gd name="connsiteY12063" fmla="*/ 1567017 h 3690338"/>
                <a:gd name="connsiteX12064" fmla="*/ 1479283 w 4878487"/>
                <a:gd name="connsiteY12064" fmla="*/ 1562296 h 3690338"/>
                <a:gd name="connsiteX12065" fmla="*/ 1478497 w 4878487"/>
                <a:gd name="connsiteY12065" fmla="*/ 1561509 h 3690338"/>
                <a:gd name="connsiteX12066" fmla="*/ 1477710 w 4878487"/>
                <a:gd name="connsiteY12066" fmla="*/ 1560722 h 3690338"/>
                <a:gd name="connsiteX12067" fmla="*/ 1477316 w 4878487"/>
                <a:gd name="connsiteY12067" fmla="*/ 1559935 h 3690338"/>
                <a:gd name="connsiteX12068" fmla="*/ 1476136 w 4878487"/>
                <a:gd name="connsiteY12068" fmla="*/ 1557968 h 3690338"/>
                <a:gd name="connsiteX12069" fmla="*/ 1475743 w 4878487"/>
                <a:gd name="connsiteY12069" fmla="*/ 1557575 h 3690338"/>
                <a:gd name="connsiteX12070" fmla="*/ 1475349 w 4878487"/>
                <a:gd name="connsiteY12070" fmla="*/ 1557181 h 3690338"/>
                <a:gd name="connsiteX12071" fmla="*/ 1474956 w 4878487"/>
                <a:gd name="connsiteY12071" fmla="*/ 1556788 h 3690338"/>
                <a:gd name="connsiteX12072" fmla="*/ 1470235 w 4878487"/>
                <a:gd name="connsiteY12072" fmla="*/ 1550493 h 3690338"/>
                <a:gd name="connsiteX12073" fmla="*/ 1469841 w 4878487"/>
                <a:gd name="connsiteY12073" fmla="*/ 1548526 h 3690338"/>
                <a:gd name="connsiteX12074" fmla="*/ 1467087 w 4878487"/>
                <a:gd name="connsiteY12074" fmla="*/ 1546166 h 3690338"/>
                <a:gd name="connsiteX12075" fmla="*/ 1463940 w 4878487"/>
                <a:gd name="connsiteY12075" fmla="*/ 1535543 h 3690338"/>
                <a:gd name="connsiteX12076" fmla="*/ 1462760 w 4878487"/>
                <a:gd name="connsiteY12076" fmla="*/ 1532789 h 3690338"/>
                <a:gd name="connsiteX12077" fmla="*/ 1461973 w 4878487"/>
                <a:gd name="connsiteY12077" fmla="*/ 1530035 h 3690338"/>
                <a:gd name="connsiteX12078" fmla="*/ 1460793 w 4878487"/>
                <a:gd name="connsiteY12078" fmla="*/ 1527281 h 3690338"/>
                <a:gd name="connsiteX12079" fmla="*/ 1456465 w 4878487"/>
                <a:gd name="connsiteY12079" fmla="*/ 1522953 h 3690338"/>
                <a:gd name="connsiteX12080" fmla="*/ 1454104 w 4878487"/>
                <a:gd name="connsiteY12080" fmla="*/ 1518232 h 3690338"/>
                <a:gd name="connsiteX12081" fmla="*/ 1453711 w 4878487"/>
                <a:gd name="connsiteY12081" fmla="*/ 1517839 h 3690338"/>
                <a:gd name="connsiteX12082" fmla="*/ 1454498 w 4878487"/>
                <a:gd name="connsiteY12082" fmla="*/ 1515872 h 3690338"/>
                <a:gd name="connsiteX12083" fmla="*/ 1456071 w 4878487"/>
                <a:gd name="connsiteY12083" fmla="*/ 1513118 h 3690338"/>
                <a:gd name="connsiteX12084" fmla="*/ 1456465 w 4878487"/>
                <a:gd name="connsiteY12084" fmla="*/ 1511544 h 3690338"/>
                <a:gd name="connsiteX12085" fmla="*/ 1459219 w 4878487"/>
                <a:gd name="connsiteY12085" fmla="*/ 1506036 h 3690338"/>
                <a:gd name="connsiteX12086" fmla="*/ 1459612 w 4878487"/>
                <a:gd name="connsiteY12086" fmla="*/ 1506036 h 3690338"/>
                <a:gd name="connsiteX12087" fmla="*/ 1460006 w 4878487"/>
                <a:gd name="connsiteY12087" fmla="*/ 1507610 h 3690338"/>
                <a:gd name="connsiteX12088" fmla="*/ 1461579 w 4878487"/>
                <a:gd name="connsiteY12088" fmla="*/ 1510757 h 3690338"/>
                <a:gd name="connsiteX12089" fmla="*/ 1462366 w 4878487"/>
                <a:gd name="connsiteY12089" fmla="*/ 1513118 h 3690338"/>
                <a:gd name="connsiteX12090" fmla="*/ 1462760 w 4878487"/>
                <a:gd name="connsiteY12090" fmla="*/ 1513511 h 3690338"/>
                <a:gd name="connsiteX12091" fmla="*/ 1463153 w 4878487"/>
                <a:gd name="connsiteY12091" fmla="*/ 1513904 h 3690338"/>
                <a:gd name="connsiteX12092" fmla="*/ 1463940 w 4878487"/>
                <a:gd name="connsiteY12092" fmla="*/ 1517445 h 3690338"/>
                <a:gd name="connsiteX12093" fmla="*/ 1463940 w 4878487"/>
                <a:gd name="connsiteY12093" fmla="*/ 1519806 h 3690338"/>
                <a:gd name="connsiteX12094" fmla="*/ 1465120 w 4878487"/>
                <a:gd name="connsiteY12094" fmla="*/ 1522166 h 3690338"/>
                <a:gd name="connsiteX12095" fmla="*/ 1465514 w 4878487"/>
                <a:gd name="connsiteY12095" fmla="*/ 1524921 h 3690338"/>
                <a:gd name="connsiteX12096" fmla="*/ 1467087 w 4878487"/>
                <a:gd name="connsiteY12096" fmla="*/ 1525707 h 3690338"/>
                <a:gd name="connsiteX12097" fmla="*/ 1469055 w 4878487"/>
                <a:gd name="connsiteY12097" fmla="*/ 1529248 h 3690338"/>
                <a:gd name="connsiteX12098" fmla="*/ 1470628 w 4878487"/>
                <a:gd name="connsiteY12098" fmla="*/ 1531609 h 3690338"/>
                <a:gd name="connsiteX12099" fmla="*/ 1478104 w 4878487"/>
                <a:gd name="connsiteY12099" fmla="*/ 1539084 h 3690338"/>
                <a:gd name="connsiteX12100" fmla="*/ 1479677 w 4878487"/>
                <a:gd name="connsiteY12100" fmla="*/ 1540264 h 3690338"/>
                <a:gd name="connsiteX12101" fmla="*/ 1480071 w 4878487"/>
                <a:gd name="connsiteY12101" fmla="*/ 1543018 h 3690338"/>
                <a:gd name="connsiteX12102" fmla="*/ 1480071 w 4878487"/>
                <a:gd name="connsiteY12102" fmla="*/ 1545772 h 3690338"/>
                <a:gd name="connsiteX12103" fmla="*/ 1480857 w 4878487"/>
                <a:gd name="connsiteY12103" fmla="*/ 1546952 h 3690338"/>
                <a:gd name="connsiteX12104" fmla="*/ 1481251 w 4878487"/>
                <a:gd name="connsiteY12104" fmla="*/ 1550493 h 3690338"/>
                <a:gd name="connsiteX12105" fmla="*/ 1481251 w 4878487"/>
                <a:gd name="connsiteY12105" fmla="*/ 1551280 h 3690338"/>
                <a:gd name="connsiteX12106" fmla="*/ 1481644 w 4878487"/>
                <a:gd name="connsiteY12106" fmla="*/ 1552854 h 3690338"/>
                <a:gd name="connsiteX12107" fmla="*/ 1481644 w 4878487"/>
                <a:gd name="connsiteY12107" fmla="*/ 1553247 h 3690338"/>
                <a:gd name="connsiteX12108" fmla="*/ 1483218 w 4878487"/>
                <a:gd name="connsiteY12108" fmla="*/ 1556001 h 3690338"/>
                <a:gd name="connsiteX12109" fmla="*/ 1483611 w 4878487"/>
                <a:gd name="connsiteY12109" fmla="*/ 1556395 h 3690338"/>
                <a:gd name="connsiteX12110" fmla="*/ 1483611 w 4878487"/>
                <a:gd name="connsiteY12110" fmla="*/ 1556788 h 3690338"/>
                <a:gd name="connsiteX12111" fmla="*/ 1486365 w 4878487"/>
                <a:gd name="connsiteY12111" fmla="*/ 1559542 h 3690338"/>
                <a:gd name="connsiteX12112" fmla="*/ 1488726 w 4878487"/>
                <a:gd name="connsiteY12112" fmla="*/ 1562296 h 3690338"/>
                <a:gd name="connsiteX12113" fmla="*/ 1491480 w 4878487"/>
                <a:gd name="connsiteY12113" fmla="*/ 1563870 h 3690338"/>
                <a:gd name="connsiteX12114" fmla="*/ 1492267 w 4878487"/>
                <a:gd name="connsiteY12114" fmla="*/ 1564263 h 3690338"/>
                <a:gd name="connsiteX12115" fmla="*/ 1494234 w 4878487"/>
                <a:gd name="connsiteY12115" fmla="*/ 1567017 h 3690338"/>
                <a:gd name="connsiteX12116" fmla="*/ 1496201 w 4878487"/>
                <a:gd name="connsiteY12116" fmla="*/ 1569771 h 3690338"/>
                <a:gd name="connsiteX12117" fmla="*/ 1498561 w 4878487"/>
                <a:gd name="connsiteY12117" fmla="*/ 1572918 h 3690338"/>
                <a:gd name="connsiteX12118" fmla="*/ 1501315 w 4878487"/>
                <a:gd name="connsiteY12118" fmla="*/ 1575672 h 3690338"/>
                <a:gd name="connsiteX12119" fmla="*/ 1504070 w 4878487"/>
                <a:gd name="connsiteY12119" fmla="*/ 1577640 h 3690338"/>
                <a:gd name="connsiteX12120" fmla="*/ 1506823 w 4878487"/>
                <a:gd name="connsiteY12120" fmla="*/ 1580000 h 3690338"/>
                <a:gd name="connsiteX12121" fmla="*/ 1509578 w 4878487"/>
                <a:gd name="connsiteY12121" fmla="*/ 1580787 h 3690338"/>
                <a:gd name="connsiteX12122" fmla="*/ 1511545 w 4878487"/>
                <a:gd name="connsiteY12122" fmla="*/ 1581574 h 3690338"/>
                <a:gd name="connsiteX12123" fmla="*/ 1513118 w 4878487"/>
                <a:gd name="connsiteY12123" fmla="*/ 1583148 h 3690338"/>
                <a:gd name="connsiteX12124" fmla="*/ 1512725 w 4878487"/>
                <a:gd name="connsiteY12124" fmla="*/ 1581180 h 3690338"/>
                <a:gd name="connsiteX12125" fmla="*/ 1513118 w 4878487"/>
                <a:gd name="connsiteY12125" fmla="*/ 1578820 h 3690338"/>
                <a:gd name="connsiteX12126" fmla="*/ 1514692 w 4878487"/>
                <a:gd name="connsiteY12126" fmla="*/ 1578427 h 3690338"/>
                <a:gd name="connsiteX12127" fmla="*/ 1516266 w 4878487"/>
                <a:gd name="connsiteY12127" fmla="*/ 1575672 h 3690338"/>
                <a:gd name="connsiteX12128" fmla="*/ 1517446 w 4878487"/>
                <a:gd name="connsiteY12128" fmla="*/ 1572918 h 3690338"/>
                <a:gd name="connsiteX12129" fmla="*/ 1517839 w 4878487"/>
                <a:gd name="connsiteY12129" fmla="*/ 1572132 h 3690338"/>
                <a:gd name="connsiteX12130" fmla="*/ 1517446 w 4878487"/>
                <a:gd name="connsiteY12130" fmla="*/ 1568984 h 3690338"/>
                <a:gd name="connsiteX12131" fmla="*/ 1516659 w 4878487"/>
                <a:gd name="connsiteY12131" fmla="*/ 1566624 h 3690338"/>
                <a:gd name="connsiteX12132" fmla="*/ 1519019 w 4878487"/>
                <a:gd name="connsiteY12132" fmla="*/ 1555608 h 3690338"/>
                <a:gd name="connsiteX12133" fmla="*/ 1520593 w 4878487"/>
                <a:gd name="connsiteY12133" fmla="*/ 1552854 h 3690338"/>
                <a:gd name="connsiteX12134" fmla="*/ 1521380 w 4878487"/>
                <a:gd name="connsiteY12134" fmla="*/ 1549706 h 3690338"/>
                <a:gd name="connsiteX12135" fmla="*/ 1521774 w 4878487"/>
                <a:gd name="connsiteY12135" fmla="*/ 1544198 h 3690338"/>
                <a:gd name="connsiteX12136" fmla="*/ 1521774 w 4878487"/>
                <a:gd name="connsiteY12136" fmla="*/ 1541444 h 3690338"/>
                <a:gd name="connsiteX12137" fmla="*/ 1522167 w 4878487"/>
                <a:gd name="connsiteY12137" fmla="*/ 1538690 h 3690338"/>
                <a:gd name="connsiteX12138" fmla="*/ 1522560 w 4878487"/>
                <a:gd name="connsiteY12138" fmla="*/ 1535936 h 3690338"/>
                <a:gd name="connsiteX12139" fmla="*/ 1523741 w 4878487"/>
                <a:gd name="connsiteY12139" fmla="*/ 1533182 h 3690338"/>
                <a:gd name="connsiteX12140" fmla="*/ 1523741 w 4878487"/>
                <a:gd name="connsiteY12140" fmla="*/ 1529642 h 3690338"/>
                <a:gd name="connsiteX12141" fmla="*/ 1528068 w 4878487"/>
                <a:gd name="connsiteY12141" fmla="*/ 1523740 h 3690338"/>
                <a:gd name="connsiteX12142" fmla="*/ 1528462 w 4878487"/>
                <a:gd name="connsiteY12142" fmla="*/ 1523740 h 3690338"/>
                <a:gd name="connsiteX12143" fmla="*/ 1530036 w 4878487"/>
                <a:gd name="connsiteY12143" fmla="*/ 1521380 h 3690338"/>
                <a:gd name="connsiteX12144" fmla="*/ 1530822 w 4878487"/>
                <a:gd name="connsiteY12144" fmla="*/ 1519019 h 3690338"/>
                <a:gd name="connsiteX12145" fmla="*/ 1530429 w 4878487"/>
                <a:gd name="connsiteY12145" fmla="*/ 1520593 h 3690338"/>
                <a:gd name="connsiteX12146" fmla="*/ 1530036 w 4878487"/>
                <a:gd name="connsiteY12146" fmla="*/ 1521380 h 3690338"/>
                <a:gd name="connsiteX12147" fmla="*/ 1530429 w 4878487"/>
                <a:gd name="connsiteY12147" fmla="*/ 1521773 h 3690338"/>
                <a:gd name="connsiteX12148" fmla="*/ 1530822 w 4878487"/>
                <a:gd name="connsiteY12148" fmla="*/ 1522166 h 3690338"/>
                <a:gd name="connsiteX12149" fmla="*/ 1530822 w 4878487"/>
                <a:gd name="connsiteY12149" fmla="*/ 1522560 h 3690338"/>
                <a:gd name="connsiteX12150" fmla="*/ 1530036 w 4878487"/>
                <a:gd name="connsiteY12150" fmla="*/ 1525707 h 3690338"/>
                <a:gd name="connsiteX12151" fmla="*/ 1530036 w 4878487"/>
                <a:gd name="connsiteY12151" fmla="*/ 1528068 h 3690338"/>
                <a:gd name="connsiteX12152" fmla="*/ 1530822 w 4878487"/>
                <a:gd name="connsiteY12152" fmla="*/ 1528068 h 3690338"/>
                <a:gd name="connsiteX12153" fmla="*/ 1530036 w 4878487"/>
                <a:gd name="connsiteY12153" fmla="*/ 1530822 h 3690338"/>
                <a:gd name="connsiteX12154" fmla="*/ 1529642 w 4878487"/>
                <a:gd name="connsiteY12154" fmla="*/ 1533576 h 3690338"/>
                <a:gd name="connsiteX12155" fmla="*/ 1529249 w 4878487"/>
                <a:gd name="connsiteY12155" fmla="*/ 1536330 h 3690338"/>
                <a:gd name="connsiteX12156" fmla="*/ 1528462 w 4878487"/>
                <a:gd name="connsiteY12156" fmla="*/ 1539084 h 3690338"/>
                <a:gd name="connsiteX12157" fmla="*/ 1528462 w 4878487"/>
                <a:gd name="connsiteY12157" fmla="*/ 1543805 h 3690338"/>
                <a:gd name="connsiteX12158" fmla="*/ 1528068 w 4878487"/>
                <a:gd name="connsiteY12158" fmla="*/ 1546952 h 3690338"/>
                <a:gd name="connsiteX12159" fmla="*/ 1527282 w 4878487"/>
                <a:gd name="connsiteY12159" fmla="*/ 1549706 h 3690338"/>
                <a:gd name="connsiteX12160" fmla="*/ 1527675 w 4878487"/>
                <a:gd name="connsiteY12160" fmla="*/ 1552460 h 3690338"/>
                <a:gd name="connsiteX12161" fmla="*/ 1528068 w 4878487"/>
                <a:gd name="connsiteY12161" fmla="*/ 1554427 h 3690338"/>
                <a:gd name="connsiteX12162" fmla="*/ 1527675 w 4878487"/>
                <a:gd name="connsiteY12162" fmla="*/ 1557181 h 3690338"/>
                <a:gd name="connsiteX12163" fmla="*/ 1526888 w 4878487"/>
                <a:gd name="connsiteY12163" fmla="*/ 1559935 h 3690338"/>
                <a:gd name="connsiteX12164" fmla="*/ 1526101 w 4878487"/>
                <a:gd name="connsiteY12164" fmla="*/ 1562689 h 3690338"/>
                <a:gd name="connsiteX12165" fmla="*/ 1525315 w 4878487"/>
                <a:gd name="connsiteY12165" fmla="*/ 1565443 h 3690338"/>
                <a:gd name="connsiteX12166" fmla="*/ 1523741 w 4878487"/>
                <a:gd name="connsiteY12166" fmla="*/ 1568197 h 3690338"/>
                <a:gd name="connsiteX12167" fmla="*/ 1522560 w 4878487"/>
                <a:gd name="connsiteY12167" fmla="*/ 1569771 h 3690338"/>
                <a:gd name="connsiteX12168" fmla="*/ 1523741 w 4878487"/>
                <a:gd name="connsiteY12168" fmla="*/ 1571738 h 3690338"/>
                <a:gd name="connsiteX12169" fmla="*/ 1523348 w 4878487"/>
                <a:gd name="connsiteY12169" fmla="*/ 1572918 h 3690338"/>
                <a:gd name="connsiteX12170" fmla="*/ 1524134 w 4878487"/>
                <a:gd name="connsiteY12170" fmla="*/ 1572525 h 3690338"/>
                <a:gd name="connsiteX12171" fmla="*/ 1524134 w 4878487"/>
                <a:gd name="connsiteY12171" fmla="*/ 1572525 h 3690338"/>
                <a:gd name="connsiteX12172" fmla="*/ 1524134 w 4878487"/>
                <a:gd name="connsiteY12172" fmla="*/ 1572525 h 3690338"/>
                <a:gd name="connsiteX12173" fmla="*/ 1532003 w 4878487"/>
                <a:gd name="connsiteY12173" fmla="*/ 1570165 h 3690338"/>
                <a:gd name="connsiteX12174" fmla="*/ 1529642 w 4878487"/>
                <a:gd name="connsiteY12174" fmla="*/ 1569771 h 3690338"/>
                <a:gd name="connsiteX12175" fmla="*/ 1530429 w 4878487"/>
                <a:gd name="connsiteY12175" fmla="*/ 1569771 h 3690338"/>
                <a:gd name="connsiteX12176" fmla="*/ 1532396 w 4878487"/>
                <a:gd name="connsiteY12176" fmla="*/ 1570165 h 3690338"/>
                <a:gd name="connsiteX12177" fmla="*/ 1531609 w 4878487"/>
                <a:gd name="connsiteY12177" fmla="*/ 1570165 h 3690338"/>
                <a:gd name="connsiteX12178" fmla="*/ 1532003 w 4878487"/>
                <a:gd name="connsiteY12178" fmla="*/ 1570165 h 3690338"/>
                <a:gd name="connsiteX12179" fmla="*/ 1532396 w 4878487"/>
                <a:gd name="connsiteY12179" fmla="*/ 1569771 h 3690338"/>
                <a:gd name="connsiteX12180" fmla="*/ 1532789 w 4878487"/>
                <a:gd name="connsiteY12180" fmla="*/ 1569771 h 3690338"/>
                <a:gd name="connsiteX12181" fmla="*/ 1533183 w 4878487"/>
                <a:gd name="connsiteY12181" fmla="*/ 1569378 h 3690338"/>
                <a:gd name="connsiteX12182" fmla="*/ 1539871 w 4878487"/>
                <a:gd name="connsiteY12182" fmla="*/ 1574492 h 3690338"/>
                <a:gd name="connsiteX12183" fmla="*/ 1539871 w 4878487"/>
                <a:gd name="connsiteY12183" fmla="*/ 1574099 h 3690338"/>
                <a:gd name="connsiteX12184" fmla="*/ 1538691 w 4878487"/>
                <a:gd name="connsiteY12184" fmla="*/ 1571345 h 3690338"/>
                <a:gd name="connsiteX12185" fmla="*/ 1535937 w 4878487"/>
                <a:gd name="connsiteY12185" fmla="*/ 1570558 h 3690338"/>
                <a:gd name="connsiteX12186" fmla="*/ 1533183 w 4878487"/>
                <a:gd name="connsiteY12186" fmla="*/ 1569378 h 3690338"/>
                <a:gd name="connsiteX12187" fmla="*/ 1533577 w 4878487"/>
                <a:gd name="connsiteY12187" fmla="*/ 1568984 h 3690338"/>
                <a:gd name="connsiteX12188" fmla="*/ 1536724 w 4878487"/>
                <a:gd name="connsiteY12188" fmla="*/ 1570165 h 3690338"/>
                <a:gd name="connsiteX12189" fmla="*/ 1539478 w 4878487"/>
                <a:gd name="connsiteY12189" fmla="*/ 1570951 h 3690338"/>
                <a:gd name="connsiteX12190" fmla="*/ 1540658 w 4878487"/>
                <a:gd name="connsiteY12190" fmla="*/ 1573705 h 3690338"/>
                <a:gd name="connsiteX12191" fmla="*/ 1540658 w 4878487"/>
                <a:gd name="connsiteY12191" fmla="*/ 1574099 h 3690338"/>
                <a:gd name="connsiteX12192" fmla="*/ 1543412 w 4878487"/>
                <a:gd name="connsiteY12192" fmla="*/ 1576853 h 3690338"/>
                <a:gd name="connsiteX12193" fmla="*/ 1544592 w 4878487"/>
                <a:gd name="connsiteY12193" fmla="*/ 1580000 h 3690338"/>
                <a:gd name="connsiteX12194" fmla="*/ 1547346 w 4878487"/>
                <a:gd name="connsiteY12194" fmla="*/ 1582754 h 3690338"/>
                <a:gd name="connsiteX12195" fmla="*/ 1549314 w 4878487"/>
                <a:gd name="connsiteY12195" fmla="*/ 1585508 h 3690338"/>
                <a:gd name="connsiteX12196" fmla="*/ 1550100 w 4878487"/>
                <a:gd name="connsiteY12196" fmla="*/ 1588655 h 3690338"/>
                <a:gd name="connsiteX12197" fmla="*/ 1551674 w 4878487"/>
                <a:gd name="connsiteY12197" fmla="*/ 1591803 h 3690338"/>
                <a:gd name="connsiteX12198" fmla="*/ 1554035 w 4878487"/>
                <a:gd name="connsiteY12198" fmla="*/ 1594557 h 3690338"/>
                <a:gd name="connsiteX12199" fmla="*/ 1557182 w 4878487"/>
                <a:gd name="connsiteY12199" fmla="*/ 1596917 h 3690338"/>
                <a:gd name="connsiteX12200" fmla="*/ 1559543 w 4878487"/>
                <a:gd name="connsiteY12200" fmla="*/ 1599672 h 3690338"/>
                <a:gd name="connsiteX12201" fmla="*/ 1559936 w 4878487"/>
                <a:gd name="connsiteY12201" fmla="*/ 1602425 h 3690338"/>
                <a:gd name="connsiteX12202" fmla="*/ 1561903 w 4878487"/>
                <a:gd name="connsiteY12202" fmla="*/ 1605179 h 3690338"/>
                <a:gd name="connsiteX12203" fmla="*/ 1565051 w 4878487"/>
                <a:gd name="connsiteY12203" fmla="*/ 1607933 h 3690338"/>
                <a:gd name="connsiteX12204" fmla="*/ 1567411 w 4878487"/>
                <a:gd name="connsiteY12204" fmla="*/ 1611081 h 3690338"/>
                <a:gd name="connsiteX12205" fmla="*/ 1568985 w 4878487"/>
                <a:gd name="connsiteY12205" fmla="*/ 1613835 h 3690338"/>
                <a:gd name="connsiteX12206" fmla="*/ 1571345 w 4878487"/>
                <a:gd name="connsiteY12206" fmla="*/ 1616982 h 3690338"/>
                <a:gd name="connsiteX12207" fmla="*/ 1573706 w 4878487"/>
                <a:gd name="connsiteY12207" fmla="*/ 1619736 h 3690338"/>
                <a:gd name="connsiteX12208" fmla="*/ 1575280 w 4878487"/>
                <a:gd name="connsiteY12208" fmla="*/ 1622884 h 3690338"/>
                <a:gd name="connsiteX12209" fmla="*/ 1576853 w 4878487"/>
                <a:gd name="connsiteY12209" fmla="*/ 1625638 h 3690338"/>
                <a:gd name="connsiteX12210" fmla="*/ 1578427 w 4878487"/>
                <a:gd name="connsiteY12210" fmla="*/ 1628785 h 3690338"/>
                <a:gd name="connsiteX12211" fmla="*/ 1580001 w 4878487"/>
                <a:gd name="connsiteY12211" fmla="*/ 1631932 h 3690338"/>
                <a:gd name="connsiteX12212" fmla="*/ 1581574 w 4878487"/>
                <a:gd name="connsiteY12212" fmla="*/ 1635080 h 3690338"/>
                <a:gd name="connsiteX12213" fmla="*/ 1584329 w 4878487"/>
                <a:gd name="connsiteY12213" fmla="*/ 1637834 h 3690338"/>
                <a:gd name="connsiteX12214" fmla="*/ 1587082 w 4878487"/>
                <a:gd name="connsiteY12214" fmla="*/ 1638227 h 3690338"/>
                <a:gd name="connsiteX12215" fmla="*/ 1588656 w 4878487"/>
                <a:gd name="connsiteY12215" fmla="*/ 1641768 h 3690338"/>
                <a:gd name="connsiteX12216" fmla="*/ 1587869 w 4878487"/>
                <a:gd name="connsiteY12216" fmla="*/ 1643735 h 3690338"/>
                <a:gd name="connsiteX12217" fmla="*/ 1588656 w 4878487"/>
                <a:gd name="connsiteY12217" fmla="*/ 1646489 h 3690338"/>
                <a:gd name="connsiteX12218" fmla="*/ 1591410 w 4878487"/>
                <a:gd name="connsiteY12218" fmla="*/ 1649637 h 3690338"/>
                <a:gd name="connsiteX12219" fmla="*/ 1594558 w 4878487"/>
                <a:gd name="connsiteY12219" fmla="*/ 1651210 h 3690338"/>
                <a:gd name="connsiteX12220" fmla="*/ 1596918 w 4878487"/>
                <a:gd name="connsiteY12220" fmla="*/ 1654358 h 3690338"/>
                <a:gd name="connsiteX12221" fmla="*/ 1598492 w 4878487"/>
                <a:gd name="connsiteY12221" fmla="*/ 1657112 h 3690338"/>
                <a:gd name="connsiteX12222" fmla="*/ 1600066 w 4878487"/>
                <a:gd name="connsiteY12222" fmla="*/ 1660259 h 3690338"/>
                <a:gd name="connsiteX12223" fmla="*/ 1601639 w 4878487"/>
                <a:gd name="connsiteY12223" fmla="*/ 1663406 h 3690338"/>
                <a:gd name="connsiteX12224" fmla="*/ 1604000 w 4878487"/>
                <a:gd name="connsiteY12224" fmla="*/ 1666161 h 3690338"/>
                <a:gd name="connsiteX12225" fmla="*/ 1606360 w 4878487"/>
                <a:gd name="connsiteY12225" fmla="*/ 1668915 h 3690338"/>
                <a:gd name="connsiteX12226" fmla="*/ 1605967 w 4878487"/>
                <a:gd name="connsiteY12226" fmla="*/ 1672062 h 3690338"/>
                <a:gd name="connsiteX12227" fmla="*/ 1606754 w 4878487"/>
                <a:gd name="connsiteY12227" fmla="*/ 1673636 h 3690338"/>
                <a:gd name="connsiteX12228" fmla="*/ 1606754 w 4878487"/>
                <a:gd name="connsiteY12228" fmla="*/ 1675996 h 3690338"/>
                <a:gd name="connsiteX12229" fmla="*/ 1606360 w 4878487"/>
                <a:gd name="connsiteY12229" fmla="*/ 1674029 h 3690338"/>
                <a:gd name="connsiteX12230" fmla="*/ 1605967 w 4878487"/>
                <a:gd name="connsiteY12230" fmla="*/ 1677570 h 3690338"/>
                <a:gd name="connsiteX12231" fmla="*/ 1603213 w 4878487"/>
                <a:gd name="connsiteY12231" fmla="*/ 1679537 h 3690338"/>
                <a:gd name="connsiteX12232" fmla="*/ 1605573 w 4878487"/>
                <a:gd name="connsiteY12232" fmla="*/ 1682684 h 3690338"/>
                <a:gd name="connsiteX12233" fmla="*/ 1607540 w 4878487"/>
                <a:gd name="connsiteY12233" fmla="*/ 1685438 h 3690338"/>
                <a:gd name="connsiteX12234" fmla="*/ 1610295 w 4878487"/>
                <a:gd name="connsiteY12234" fmla="*/ 1688586 h 3690338"/>
                <a:gd name="connsiteX12235" fmla="*/ 1610688 w 4878487"/>
                <a:gd name="connsiteY12235" fmla="*/ 1690160 h 3690338"/>
                <a:gd name="connsiteX12236" fmla="*/ 1609901 w 4878487"/>
                <a:gd name="connsiteY12236" fmla="*/ 1687012 h 3690338"/>
                <a:gd name="connsiteX12237" fmla="*/ 1610688 w 4878487"/>
                <a:gd name="connsiteY12237" fmla="*/ 1688192 h 3690338"/>
                <a:gd name="connsiteX12238" fmla="*/ 1611081 w 4878487"/>
                <a:gd name="connsiteY12238" fmla="*/ 1689766 h 3690338"/>
                <a:gd name="connsiteX12239" fmla="*/ 1613048 w 4878487"/>
                <a:gd name="connsiteY12239" fmla="*/ 1692520 h 3690338"/>
                <a:gd name="connsiteX12240" fmla="*/ 1610688 w 4878487"/>
                <a:gd name="connsiteY12240" fmla="*/ 1690160 h 3690338"/>
                <a:gd name="connsiteX12241" fmla="*/ 1612655 w 4878487"/>
                <a:gd name="connsiteY12241" fmla="*/ 1692913 h 3690338"/>
                <a:gd name="connsiteX12242" fmla="*/ 1613048 w 4878487"/>
                <a:gd name="connsiteY12242" fmla="*/ 1695668 h 3690338"/>
                <a:gd name="connsiteX12243" fmla="*/ 1615016 w 4878487"/>
                <a:gd name="connsiteY12243" fmla="*/ 1698815 h 3690338"/>
                <a:gd name="connsiteX12244" fmla="*/ 1618163 w 4878487"/>
                <a:gd name="connsiteY12244" fmla="*/ 1699602 h 3690338"/>
                <a:gd name="connsiteX12245" fmla="*/ 1621310 w 4878487"/>
                <a:gd name="connsiteY12245" fmla="*/ 1699208 h 3690338"/>
                <a:gd name="connsiteX12246" fmla="*/ 1624065 w 4878487"/>
                <a:gd name="connsiteY12246" fmla="*/ 1701962 h 3690338"/>
                <a:gd name="connsiteX12247" fmla="*/ 1624458 w 4878487"/>
                <a:gd name="connsiteY12247" fmla="*/ 1701962 h 3690338"/>
                <a:gd name="connsiteX12248" fmla="*/ 1620917 w 4878487"/>
                <a:gd name="connsiteY12248" fmla="*/ 1698815 h 3690338"/>
                <a:gd name="connsiteX12249" fmla="*/ 1621704 w 4878487"/>
                <a:gd name="connsiteY12249" fmla="*/ 1698815 h 3690338"/>
                <a:gd name="connsiteX12250" fmla="*/ 1624458 w 4878487"/>
                <a:gd name="connsiteY12250" fmla="*/ 1701569 h 3690338"/>
                <a:gd name="connsiteX12251" fmla="*/ 1624851 w 4878487"/>
                <a:gd name="connsiteY12251" fmla="*/ 1701569 h 3690338"/>
                <a:gd name="connsiteX12252" fmla="*/ 1627999 w 4878487"/>
                <a:gd name="connsiteY12252" fmla="*/ 1701175 h 3690338"/>
                <a:gd name="connsiteX12253" fmla="*/ 1629573 w 4878487"/>
                <a:gd name="connsiteY12253" fmla="*/ 1703929 h 3690338"/>
                <a:gd name="connsiteX12254" fmla="*/ 1632326 w 4878487"/>
                <a:gd name="connsiteY12254" fmla="*/ 1705503 h 3690338"/>
                <a:gd name="connsiteX12255" fmla="*/ 1634294 w 4878487"/>
                <a:gd name="connsiteY12255" fmla="*/ 1707077 h 3690338"/>
                <a:gd name="connsiteX12256" fmla="*/ 1634687 w 4878487"/>
                <a:gd name="connsiteY12256" fmla="*/ 1707470 h 3690338"/>
                <a:gd name="connsiteX12257" fmla="*/ 1637835 w 4878487"/>
                <a:gd name="connsiteY12257" fmla="*/ 1709437 h 3690338"/>
                <a:gd name="connsiteX12258" fmla="*/ 1640588 w 4878487"/>
                <a:gd name="connsiteY12258" fmla="*/ 1712191 h 3690338"/>
                <a:gd name="connsiteX12259" fmla="*/ 1643343 w 4878487"/>
                <a:gd name="connsiteY12259" fmla="*/ 1715339 h 3690338"/>
                <a:gd name="connsiteX12260" fmla="*/ 1644523 w 4878487"/>
                <a:gd name="connsiteY12260" fmla="*/ 1718093 h 3690338"/>
                <a:gd name="connsiteX12261" fmla="*/ 1645703 w 4878487"/>
                <a:gd name="connsiteY12261" fmla="*/ 1720847 h 3690338"/>
                <a:gd name="connsiteX12262" fmla="*/ 1648457 w 4878487"/>
                <a:gd name="connsiteY12262" fmla="*/ 1723601 h 3690338"/>
                <a:gd name="connsiteX12263" fmla="*/ 1650424 w 4878487"/>
                <a:gd name="connsiteY12263" fmla="*/ 1726748 h 3690338"/>
                <a:gd name="connsiteX12264" fmla="*/ 1650817 w 4878487"/>
                <a:gd name="connsiteY12264" fmla="*/ 1729109 h 3690338"/>
                <a:gd name="connsiteX12265" fmla="*/ 1650031 w 4878487"/>
                <a:gd name="connsiteY12265" fmla="*/ 1727142 h 3690338"/>
                <a:gd name="connsiteX12266" fmla="*/ 1650424 w 4878487"/>
                <a:gd name="connsiteY12266" fmla="*/ 1729896 h 3690338"/>
                <a:gd name="connsiteX12267" fmla="*/ 1650817 w 4878487"/>
                <a:gd name="connsiteY12267" fmla="*/ 1732650 h 3690338"/>
                <a:gd name="connsiteX12268" fmla="*/ 1652784 w 4878487"/>
                <a:gd name="connsiteY12268" fmla="*/ 1735404 h 3690338"/>
                <a:gd name="connsiteX12269" fmla="*/ 1654358 w 4878487"/>
                <a:gd name="connsiteY12269" fmla="*/ 1738157 h 3690338"/>
                <a:gd name="connsiteX12270" fmla="*/ 1654358 w 4878487"/>
                <a:gd name="connsiteY12270" fmla="*/ 1740912 h 3690338"/>
                <a:gd name="connsiteX12271" fmla="*/ 1656719 w 4878487"/>
                <a:gd name="connsiteY12271" fmla="*/ 1742092 h 3690338"/>
                <a:gd name="connsiteX12272" fmla="*/ 1656325 w 4878487"/>
                <a:gd name="connsiteY12272" fmla="*/ 1740912 h 3690338"/>
                <a:gd name="connsiteX12273" fmla="*/ 1657899 w 4878487"/>
                <a:gd name="connsiteY12273" fmla="*/ 1741698 h 3690338"/>
                <a:gd name="connsiteX12274" fmla="*/ 1659866 w 4878487"/>
                <a:gd name="connsiteY12274" fmla="*/ 1744846 h 3690338"/>
                <a:gd name="connsiteX12275" fmla="*/ 1658293 w 4878487"/>
                <a:gd name="connsiteY12275" fmla="*/ 1744059 h 3690338"/>
                <a:gd name="connsiteX12276" fmla="*/ 1657113 w 4878487"/>
                <a:gd name="connsiteY12276" fmla="*/ 1742485 h 3690338"/>
                <a:gd name="connsiteX12277" fmla="*/ 1656719 w 4878487"/>
                <a:gd name="connsiteY12277" fmla="*/ 1742485 h 3690338"/>
                <a:gd name="connsiteX12278" fmla="*/ 1657506 w 4878487"/>
                <a:gd name="connsiteY12278" fmla="*/ 1743666 h 3690338"/>
                <a:gd name="connsiteX12279" fmla="*/ 1657113 w 4878487"/>
                <a:gd name="connsiteY12279" fmla="*/ 1743272 h 3690338"/>
                <a:gd name="connsiteX12280" fmla="*/ 1657899 w 4878487"/>
                <a:gd name="connsiteY12280" fmla="*/ 1744452 h 3690338"/>
                <a:gd name="connsiteX12281" fmla="*/ 1656719 w 4878487"/>
                <a:gd name="connsiteY12281" fmla="*/ 1743666 h 3690338"/>
                <a:gd name="connsiteX12282" fmla="*/ 1658293 w 4878487"/>
                <a:gd name="connsiteY12282" fmla="*/ 1746419 h 3690338"/>
                <a:gd name="connsiteX12283" fmla="*/ 1660260 w 4878487"/>
                <a:gd name="connsiteY12283" fmla="*/ 1749174 h 3690338"/>
                <a:gd name="connsiteX12284" fmla="*/ 1661440 w 4878487"/>
                <a:gd name="connsiteY12284" fmla="*/ 1751141 h 3690338"/>
                <a:gd name="connsiteX12285" fmla="*/ 1659473 w 4878487"/>
                <a:gd name="connsiteY12285" fmla="*/ 1746813 h 3690338"/>
                <a:gd name="connsiteX12286" fmla="*/ 1661047 w 4878487"/>
                <a:gd name="connsiteY12286" fmla="*/ 1748780 h 3690338"/>
                <a:gd name="connsiteX12287" fmla="*/ 1662620 w 4878487"/>
                <a:gd name="connsiteY12287" fmla="*/ 1751534 h 3690338"/>
                <a:gd name="connsiteX12288" fmla="*/ 1663801 w 4878487"/>
                <a:gd name="connsiteY12288" fmla="*/ 1754681 h 3690338"/>
                <a:gd name="connsiteX12289" fmla="*/ 1664194 w 4878487"/>
                <a:gd name="connsiteY12289" fmla="*/ 1755862 h 3690338"/>
                <a:gd name="connsiteX12290" fmla="*/ 1664587 w 4878487"/>
                <a:gd name="connsiteY12290" fmla="*/ 1758616 h 3690338"/>
                <a:gd name="connsiteX12291" fmla="*/ 1664981 w 4878487"/>
                <a:gd name="connsiteY12291" fmla="*/ 1761763 h 3690338"/>
                <a:gd name="connsiteX12292" fmla="*/ 1664981 w 4878487"/>
                <a:gd name="connsiteY12292" fmla="*/ 1762157 h 3690338"/>
                <a:gd name="connsiteX12293" fmla="*/ 1663801 w 4878487"/>
                <a:gd name="connsiteY12293" fmla="*/ 1756649 h 3690338"/>
                <a:gd name="connsiteX12294" fmla="*/ 1664194 w 4878487"/>
                <a:gd name="connsiteY12294" fmla="*/ 1759403 h 3690338"/>
                <a:gd name="connsiteX12295" fmla="*/ 1664587 w 4878487"/>
                <a:gd name="connsiteY12295" fmla="*/ 1762550 h 3690338"/>
                <a:gd name="connsiteX12296" fmla="*/ 1664587 w 4878487"/>
                <a:gd name="connsiteY12296" fmla="*/ 1765304 h 3690338"/>
                <a:gd name="connsiteX12297" fmla="*/ 1663407 w 4878487"/>
                <a:gd name="connsiteY12297" fmla="*/ 1768058 h 3690338"/>
                <a:gd name="connsiteX12298" fmla="*/ 1663014 w 4878487"/>
                <a:gd name="connsiteY12298" fmla="*/ 1771205 h 3690338"/>
                <a:gd name="connsiteX12299" fmla="*/ 1663014 w 4878487"/>
                <a:gd name="connsiteY12299" fmla="*/ 1773959 h 3690338"/>
                <a:gd name="connsiteX12300" fmla="*/ 1662620 w 4878487"/>
                <a:gd name="connsiteY12300" fmla="*/ 1776713 h 3690338"/>
                <a:gd name="connsiteX12301" fmla="*/ 1663014 w 4878487"/>
                <a:gd name="connsiteY12301" fmla="*/ 1779861 h 3690338"/>
                <a:gd name="connsiteX12302" fmla="*/ 1663801 w 4878487"/>
                <a:gd name="connsiteY12302" fmla="*/ 1782615 h 3690338"/>
                <a:gd name="connsiteX12303" fmla="*/ 1665374 w 4878487"/>
                <a:gd name="connsiteY12303" fmla="*/ 1785369 h 3690338"/>
                <a:gd name="connsiteX12304" fmla="*/ 1665768 w 4878487"/>
                <a:gd name="connsiteY12304" fmla="*/ 1788123 h 3690338"/>
                <a:gd name="connsiteX12305" fmla="*/ 1666161 w 4878487"/>
                <a:gd name="connsiteY12305" fmla="*/ 1791270 h 3690338"/>
                <a:gd name="connsiteX12306" fmla="*/ 1668128 w 4878487"/>
                <a:gd name="connsiteY12306" fmla="*/ 1794024 h 3690338"/>
                <a:gd name="connsiteX12307" fmla="*/ 1666948 w 4878487"/>
                <a:gd name="connsiteY12307" fmla="*/ 1796778 h 3690338"/>
                <a:gd name="connsiteX12308" fmla="*/ 1666554 w 4878487"/>
                <a:gd name="connsiteY12308" fmla="*/ 1799532 h 3690338"/>
                <a:gd name="connsiteX12309" fmla="*/ 1668128 w 4878487"/>
                <a:gd name="connsiteY12309" fmla="*/ 1802680 h 3690338"/>
                <a:gd name="connsiteX12310" fmla="*/ 1668915 w 4878487"/>
                <a:gd name="connsiteY12310" fmla="*/ 1805433 h 3690338"/>
                <a:gd name="connsiteX12311" fmla="*/ 1670882 w 4878487"/>
                <a:gd name="connsiteY12311" fmla="*/ 1808581 h 3690338"/>
                <a:gd name="connsiteX12312" fmla="*/ 1674030 w 4878487"/>
                <a:gd name="connsiteY12312" fmla="*/ 1810941 h 3690338"/>
                <a:gd name="connsiteX12313" fmla="*/ 1674817 w 4878487"/>
                <a:gd name="connsiteY12313" fmla="*/ 1813302 h 3690338"/>
                <a:gd name="connsiteX12314" fmla="*/ 1674030 w 4878487"/>
                <a:gd name="connsiteY12314" fmla="*/ 1809761 h 3690338"/>
                <a:gd name="connsiteX12315" fmla="*/ 1674423 w 4878487"/>
                <a:gd name="connsiteY12315" fmla="*/ 1810155 h 3690338"/>
                <a:gd name="connsiteX12316" fmla="*/ 1675210 w 4878487"/>
                <a:gd name="connsiteY12316" fmla="*/ 1812515 h 3690338"/>
                <a:gd name="connsiteX12317" fmla="*/ 1676784 w 4878487"/>
                <a:gd name="connsiteY12317" fmla="*/ 1815269 h 3690338"/>
                <a:gd name="connsiteX12318" fmla="*/ 1678357 w 4878487"/>
                <a:gd name="connsiteY12318" fmla="*/ 1816843 h 3690338"/>
                <a:gd name="connsiteX12319" fmla="*/ 1674817 w 4878487"/>
                <a:gd name="connsiteY12319" fmla="*/ 1813302 h 3690338"/>
                <a:gd name="connsiteX12320" fmla="*/ 1676390 w 4878487"/>
                <a:gd name="connsiteY12320" fmla="*/ 1816056 h 3690338"/>
                <a:gd name="connsiteX12321" fmla="*/ 1679144 w 4878487"/>
                <a:gd name="connsiteY12321" fmla="*/ 1818810 h 3690338"/>
                <a:gd name="connsiteX12322" fmla="*/ 1680718 w 4878487"/>
                <a:gd name="connsiteY12322" fmla="*/ 1821564 h 3690338"/>
                <a:gd name="connsiteX12323" fmla="*/ 1682291 w 4878487"/>
                <a:gd name="connsiteY12323" fmla="*/ 1824318 h 3690338"/>
                <a:gd name="connsiteX12324" fmla="*/ 1685046 w 4878487"/>
                <a:gd name="connsiteY12324" fmla="*/ 1827465 h 3690338"/>
                <a:gd name="connsiteX12325" fmla="*/ 1687406 w 4878487"/>
                <a:gd name="connsiteY12325" fmla="*/ 1830219 h 3690338"/>
                <a:gd name="connsiteX12326" fmla="*/ 1690160 w 4878487"/>
                <a:gd name="connsiteY12326" fmla="*/ 1831793 h 3690338"/>
                <a:gd name="connsiteX12327" fmla="*/ 1692914 w 4878487"/>
                <a:gd name="connsiteY12327" fmla="*/ 1832186 h 3690338"/>
                <a:gd name="connsiteX12328" fmla="*/ 1694488 w 4878487"/>
                <a:gd name="connsiteY12328" fmla="*/ 1832580 h 3690338"/>
                <a:gd name="connsiteX12329" fmla="*/ 1693308 w 4878487"/>
                <a:gd name="connsiteY12329" fmla="*/ 1831400 h 3690338"/>
                <a:gd name="connsiteX12330" fmla="*/ 1693308 w 4878487"/>
                <a:gd name="connsiteY12330" fmla="*/ 1831400 h 3690338"/>
                <a:gd name="connsiteX12331" fmla="*/ 1694881 w 4878487"/>
                <a:gd name="connsiteY12331" fmla="*/ 1831793 h 3690338"/>
                <a:gd name="connsiteX12332" fmla="*/ 1697635 w 4878487"/>
                <a:gd name="connsiteY12332" fmla="*/ 1832186 h 3690338"/>
                <a:gd name="connsiteX12333" fmla="*/ 1700783 w 4878487"/>
                <a:gd name="connsiteY12333" fmla="*/ 1834547 h 3690338"/>
                <a:gd name="connsiteX12334" fmla="*/ 1703143 w 4878487"/>
                <a:gd name="connsiteY12334" fmla="*/ 1837301 h 3690338"/>
                <a:gd name="connsiteX12335" fmla="*/ 1706291 w 4878487"/>
                <a:gd name="connsiteY12335" fmla="*/ 1838875 h 3690338"/>
                <a:gd name="connsiteX12336" fmla="*/ 1708651 w 4878487"/>
                <a:gd name="connsiteY12336" fmla="*/ 1841235 h 3690338"/>
                <a:gd name="connsiteX12337" fmla="*/ 1711012 w 4878487"/>
                <a:gd name="connsiteY12337" fmla="*/ 1843989 h 3690338"/>
                <a:gd name="connsiteX12338" fmla="*/ 1713372 w 4878487"/>
                <a:gd name="connsiteY12338" fmla="*/ 1846743 h 3690338"/>
                <a:gd name="connsiteX12339" fmla="*/ 1716127 w 4878487"/>
                <a:gd name="connsiteY12339" fmla="*/ 1848317 h 3690338"/>
                <a:gd name="connsiteX12340" fmla="*/ 1719274 w 4878487"/>
                <a:gd name="connsiteY12340" fmla="*/ 1851071 h 3690338"/>
                <a:gd name="connsiteX12341" fmla="*/ 1719274 w 4878487"/>
                <a:gd name="connsiteY12341" fmla="*/ 1854218 h 3690338"/>
                <a:gd name="connsiteX12342" fmla="*/ 1720847 w 4878487"/>
                <a:gd name="connsiteY12342" fmla="*/ 1856972 h 3690338"/>
                <a:gd name="connsiteX12343" fmla="*/ 1723995 w 4878487"/>
                <a:gd name="connsiteY12343" fmla="*/ 1858153 h 3690338"/>
                <a:gd name="connsiteX12344" fmla="*/ 1724388 w 4878487"/>
                <a:gd name="connsiteY12344" fmla="*/ 1860907 h 3690338"/>
                <a:gd name="connsiteX12345" fmla="*/ 1724782 w 4878487"/>
                <a:gd name="connsiteY12345" fmla="*/ 1863661 h 3690338"/>
                <a:gd name="connsiteX12346" fmla="*/ 1727142 w 4878487"/>
                <a:gd name="connsiteY12346" fmla="*/ 1866415 h 3690338"/>
                <a:gd name="connsiteX12347" fmla="*/ 1727535 w 4878487"/>
                <a:gd name="connsiteY12347" fmla="*/ 1869562 h 3690338"/>
                <a:gd name="connsiteX12348" fmla="*/ 1730290 w 4878487"/>
                <a:gd name="connsiteY12348" fmla="*/ 1871922 h 3690338"/>
                <a:gd name="connsiteX12349" fmla="*/ 1730683 w 4878487"/>
                <a:gd name="connsiteY12349" fmla="*/ 1874676 h 3690338"/>
                <a:gd name="connsiteX12350" fmla="*/ 1730683 w 4878487"/>
                <a:gd name="connsiteY12350" fmla="*/ 1877824 h 3690338"/>
                <a:gd name="connsiteX12351" fmla="*/ 1733437 w 4878487"/>
                <a:gd name="connsiteY12351" fmla="*/ 1880578 h 3690338"/>
                <a:gd name="connsiteX12352" fmla="*/ 1732650 w 4878487"/>
                <a:gd name="connsiteY12352" fmla="*/ 1883332 h 3690338"/>
                <a:gd name="connsiteX12353" fmla="*/ 1732650 w 4878487"/>
                <a:gd name="connsiteY12353" fmla="*/ 1882938 h 3690338"/>
                <a:gd name="connsiteX12354" fmla="*/ 1733044 w 4878487"/>
                <a:gd name="connsiteY12354" fmla="*/ 1881365 h 3690338"/>
                <a:gd name="connsiteX12355" fmla="*/ 1730290 w 4878487"/>
                <a:gd name="connsiteY12355" fmla="*/ 1878611 h 3690338"/>
                <a:gd name="connsiteX12356" fmla="*/ 1730290 w 4878487"/>
                <a:gd name="connsiteY12356" fmla="*/ 1875463 h 3690338"/>
                <a:gd name="connsiteX12357" fmla="*/ 1729896 w 4878487"/>
                <a:gd name="connsiteY12357" fmla="*/ 1872709 h 3690338"/>
                <a:gd name="connsiteX12358" fmla="*/ 1727142 w 4878487"/>
                <a:gd name="connsiteY12358" fmla="*/ 1870349 h 3690338"/>
                <a:gd name="connsiteX12359" fmla="*/ 1726355 w 4878487"/>
                <a:gd name="connsiteY12359" fmla="*/ 1867201 h 3690338"/>
                <a:gd name="connsiteX12360" fmla="*/ 1723995 w 4878487"/>
                <a:gd name="connsiteY12360" fmla="*/ 1864447 h 3690338"/>
                <a:gd name="connsiteX12361" fmla="*/ 1723601 w 4878487"/>
                <a:gd name="connsiteY12361" fmla="*/ 1861693 h 3690338"/>
                <a:gd name="connsiteX12362" fmla="*/ 1723208 w 4878487"/>
                <a:gd name="connsiteY12362" fmla="*/ 1858939 h 3690338"/>
                <a:gd name="connsiteX12363" fmla="*/ 1720061 w 4878487"/>
                <a:gd name="connsiteY12363" fmla="*/ 1857759 h 3690338"/>
                <a:gd name="connsiteX12364" fmla="*/ 1718487 w 4878487"/>
                <a:gd name="connsiteY12364" fmla="*/ 1855005 h 3690338"/>
                <a:gd name="connsiteX12365" fmla="*/ 1718487 w 4878487"/>
                <a:gd name="connsiteY12365" fmla="*/ 1851858 h 3690338"/>
                <a:gd name="connsiteX12366" fmla="*/ 1715339 w 4878487"/>
                <a:gd name="connsiteY12366" fmla="*/ 1849104 h 3690338"/>
                <a:gd name="connsiteX12367" fmla="*/ 1712586 w 4878487"/>
                <a:gd name="connsiteY12367" fmla="*/ 1847530 h 3690338"/>
                <a:gd name="connsiteX12368" fmla="*/ 1710225 w 4878487"/>
                <a:gd name="connsiteY12368" fmla="*/ 1844776 h 3690338"/>
                <a:gd name="connsiteX12369" fmla="*/ 1707864 w 4878487"/>
                <a:gd name="connsiteY12369" fmla="*/ 1842022 h 3690338"/>
                <a:gd name="connsiteX12370" fmla="*/ 1710225 w 4878487"/>
                <a:gd name="connsiteY12370" fmla="*/ 1846350 h 3690338"/>
                <a:gd name="connsiteX12371" fmla="*/ 1709831 w 4878487"/>
                <a:gd name="connsiteY12371" fmla="*/ 1845956 h 3690338"/>
                <a:gd name="connsiteX12372" fmla="*/ 1708258 w 4878487"/>
                <a:gd name="connsiteY12372" fmla="*/ 1843202 h 3690338"/>
                <a:gd name="connsiteX12373" fmla="*/ 1705504 w 4878487"/>
                <a:gd name="connsiteY12373" fmla="*/ 1842022 h 3690338"/>
                <a:gd name="connsiteX12374" fmla="*/ 1710618 w 4878487"/>
                <a:gd name="connsiteY12374" fmla="*/ 1846350 h 3690338"/>
                <a:gd name="connsiteX12375" fmla="*/ 1712586 w 4878487"/>
                <a:gd name="connsiteY12375" fmla="*/ 1849891 h 3690338"/>
                <a:gd name="connsiteX12376" fmla="*/ 1710225 w 4878487"/>
                <a:gd name="connsiteY12376" fmla="*/ 1848317 h 3690338"/>
                <a:gd name="connsiteX12377" fmla="*/ 1707471 w 4878487"/>
                <a:gd name="connsiteY12377" fmla="*/ 1845956 h 3690338"/>
                <a:gd name="connsiteX12378" fmla="*/ 1705110 w 4878487"/>
                <a:gd name="connsiteY12378" fmla="*/ 1849104 h 3690338"/>
                <a:gd name="connsiteX12379" fmla="*/ 1708258 w 4878487"/>
                <a:gd name="connsiteY12379" fmla="*/ 1849497 h 3690338"/>
                <a:gd name="connsiteX12380" fmla="*/ 1711012 w 4878487"/>
                <a:gd name="connsiteY12380" fmla="*/ 1851858 h 3690338"/>
                <a:gd name="connsiteX12381" fmla="*/ 1712586 w 4878487"/>
                <a:gd name="connsiteY12381" fmla="*/ 1851464 h 3690338"/>
                <a:gd name="connsiteX12382" fmla="*/ 1712586 w 4878487"/>
                <a:gd name="connsiteY12382" fmla="*/ 1851071 h 3690338"/>
                <a:gd name="connsiteX12383" fmla="*/ 1721241 w 4878487"/>
                <a:gd name="connsiteY12383" fmla="*/ 1866808 h 3690338"/>
                <a:gd name="connsiteX12384" fmla="*/ 1723601 w 4878487"/>
                <a:gd name="connsiteY12384" fmla="*/ 1883725 h 3690338"/>
                <a:gd name="connsiteX12385" fmla="*/ 1724388 w 4878487"/>
                <a:gd name="connsiteY12385" fmla="*/ 1886479 h 3690338"/>
                <a:gd name="connsiteX12386" fmla="*/ 1727142 w 4878487"/>
                <a:gd name="connsiteY12386" fmla="*/ 1885692 h 3690338"/>
                <a:gd name="connsiteX12387" fmla="*/ 1725568 w 4878487"/>
                <a:gd name="connsiteY12387" fmla="*/ 1882545 h 3690338"/>
                <a:gd name="connsiteX12388" fmla="*/ 1725175 w 4878487"/>
                <a:gd name="connsiteY12388" fmla="*/ 1879791 h 3690338"/>
                <a:gd name="connsiteX12389" fmla="*/ 1723995 w 4878487"/>
                <a:gd name="connsiteY12389" fmla="*/ 1877037 h 3690338"/>
                <a:gd name="connsiteX12390" fmla="*/ 1722421 w 4878487"/>
                <a:gd name="connsiteY12390" fmla="*/ 1873890 h 3690338"/>
                <a:gd name="connsiteX12391" fmla="*/ 1722028 w 4878487"/>
                <a:gd name="connsiteY12391" fmla="*/ 1871136 h 3690338"/>
                <a:gd name="connsiteX12392" fmla="*/ 1721634 w 4878487"/>
                <a:gd name="connsiteY12392" fmla="*/ 1868382 h 3690338"/>
                <a:gd name="connsiteX12393" fmla="*/ 1731076 w 4878487"/>
                <a:gd name="connsiteY12393" fmla="*/ 1885692 h 3690338"/>
                <a:gd name="connsiteX12394" fmla="*/ 1730683 w 4878487"/>
                <a:gd name="connsiteY12394" fmla="*/ 1886479 h 3690338"/>
                <a:gd name="connsiteX12395" fmla="*/ 1732257 w 4878487"/>
                <a:gd name="connsiteY12395" fmla="*/ 1889627 h 3690338"/>
                <a:gd name="connsiteX12396" fmla="*/ 1733831 w 4878487"/>
                <a:gd name="connsiteY12396" fmla="*/ 1892381 h 3690338"/>
                <a:gd name="connsiteX12397" fmla="*/ 1735011 w 4878487"/>
                <a:gd name="connsiteY12397" fmla="*/ 1892381 h 3690338"/>
                <a:gd name="connsiteX12398" fmla="*/ 1735011 w 4878487"/>
                <a:gd name="connsiteY12398" fmla="*/ 1891987 h 3690338"/>
                <a:gd name="connsiteX12399" fmla="*/ 1740912 w 4878487"/>
                <a:gd name="connsiteY12399" fmla="*/ 1901036 h 3690338"/>
                <a:gd name="connsiteX12400" fmla="*/ 1740912 w 4878487"/>
                <a:gd name="connsiteY12400" fmla="*/ 1900643 h 3690338"/>
                <a:gd name="connsiteX12401" fmla="*/ 1739732 w 4878487"/>
                <a:gd name="connsiteY12401" fmla="*/ 1897495 h 3690338"/>
                <a:gd name="connsiteX12402" fmla="*/ 1738945 w 4878487"/>
                <a:gd name="connsiteY12402" fmla="*/ 1894741 h 3690338"/>
                <a:gd name="connsiteX12403" fmla="*/ 1736978 w 4878487"/>
                <a:gd name="connsiteY12403" fmla="*/ 1891987 h 3690338"/>
                <a:gd name="connsiteX12404" fmla="*/ 1734617 w 4878487"/>
                <a:gd name="connsiteY12404" fmla="*/ 1890807 h 3690338"/>
                <a:gd name="connsiteX12405" fmla="*/ 1733831 w 4878487"/>
                <a:gd name="connsiteY12405" fmla="*/ 1888053 h 3690338"/>
                <a:gd name="connsiteX12406" fmla="*/ 1734224 w 4878487"/>
                <a:gd name="connsiteY12406" fmla="*/ 1889627 h 3690338"/>
                <a:gd name="connsiteX12407" fmla="*/ 1736978 w 4878487"/>
                <a:gd name="connsiteY12407" fmla="*/ 1891200 h 3690338"/>
                <a:gd name="connsiteX12408" fmla="*/ 1738945 w 4878487"/>
                <a:gd name="connsiteY12408" fmla="*/ 1893954 h 3690338"/>
                <a:gd name="connsiteX12409" fmla="*/ 1739732 w 4878487"/>
                <a:gd name="connsiteY12409" fmla="*/ 1896708 h 3690338"/>
                <a:gd name="connsiteX12410" fmla="*/ 1740912 w 4878487"/>
                <a:gd name="connsiteY12410" fmla="*/ 1899856 h 3690338"/>
                <a:gd name="connsiteX12411" fmla="*/ 1741699 w 4878487"/>
                <a:gd name="connsiteY12411" fmla="*/ 1902610 h 3690338"/>
                <a:gd name="connsiteX12412" fmla="*/ 1744060 w 4878487"/>
                <a:gd name="connsiteY12412" fmla="*/ 1905364 h 3690338"/>
                <a:gd name="connsiteX12413" fmla="*/ 1744846 w 4878487"/>
                <a:gd name="connsiteY12413" fmla="*/ 1905757 h 3690338"/>
                <a:gd name="connsiteX12414" fmla="*/ 1746420 w 4878487"/>
                <a:gd name="connsiteY12414" fmla="*/ 1908511 h 3690338"/>
                <a:gd name="connsiteX12415" fmla="*/ 1746813 w 4878487"/>
                <a:gd name="connsiteY12415" fmla="*/ 1910085 h 3690338"/>
                <a:gd name="connsiteX12416" fmla="*/ 1744453 w 4878487"/>
                <a:gd name="connsiteY12416" fmla="*/ 1906544 h 3690338"/>
                <a:gd name="connsiteX12417" fmla="*/ 1746027 w 4878487"/>
                <a:gd name="connsiteY12417" fmla="*/ 1909298 h 3690338"/>
                <a:gd name="connsiteX12418" fmla="*/ 1746813 w 4878487"/>
                <a:gd name="connsiteY12418" fmla="*/ 1912445 h 3690338"/>
                <a:gd name="connsiteX12419" fmla="*/ 1749961 w 4878487"/>
                <a:gd name="connsiteY12419" fmla="*/ 1914806 h 3690338"/>
                <a:gd name="connsiteX12420" fmla="*/ 1751141 w 4878487"/>
                <a:gd name="connsiteY12420" fmla="*/ 1915593 h 3690338"/>
                <a:gd name="connsiteX12421" fmla="*/ 1749174 w 4878487"/>
                <a:gd name="connsiteY12421" fmla="*/ 1912839 h 3690338"/>
                <a:gd name="connsiteX12422" fmla="*/ 1750354 w 4878487"/>
                <a:gd name="connsiteY12422" fmla="*/ 1914019 h 3690338"/>
                <a:gd name="connsiteX12423" fmla="*/ 1753108 w 4878487"/>
                <a:gd name="connsiteY12423" fmla="*/ 1915986 h 3690338"/>
                <a:gd name="connsiteX12424" fmla="*/ 1755862 w 4878487"/>
                <a:gd name="connsiteY12424" fmla="*/ 1918740 h 3690338"/>
                <a:gd name="connsiteX12425" fmla="*/ 1758616 w 4878487"/>
                <a:gd name="connsiteY12425" fmla="*/ 1921101 h 3690338"/>
                <a:gd name="connsiteX12426" fmla="*/ 1761371 w 4878487"/>
                <a:gd name="connsiteY12426" fmla="*/ 1923855 h 3690338"/>
                <a:gd name="connsiteX12427" fmla="*/ 1764124 w 4878487"/>
                <a:gd name="connsiteY12427" fmla="*/ 1926215 h 3690338"/>
                <a:gd name="connsiteX12428" fmla="*/ 1766485 w 4878487"/>
                <a:gd name="connsiteY12428" fmla="*/ 1928969 h 3690338"/>
                <a:gd name="connsiteX12429" fmla="*/ 1766878 w 4878487"/>
                <a:gd name="connsiteY12429" fmla="*/ 1931723 h 3690338"/>
                <a:gd name="connsiteX12430" fmla="*/ 1767272 w 4878487"/>
                <a:gd name="connsiteY12430" fmla="*/ 1934477 h 3690338"/>
                <a:gd name="connsiteX12431" fmla="*/ 1767665 w 4878487"/>
                <a:gd name="connsiteY12431" fmla="*/ 1937231 h 3690338"/>
                <a:gd name="connsiteX12432" fmla="*/ 1767665 w 4878487"/>
                <a:gd name="connsiteY12432" fmla="*/ 1938412 h 3690338"/>
                <a:gd name="connsiteX12433" fmla="*/ 1767272 w 4878487"/>
                <a:gd name="connsiteY12433" fmla="*/ 1937625 h 3690338"/>
                <a:gd name="connsiteX12434" fmla="*/ 1767272 w 4878487"/>
                <a:gd name="connsiteY12434" fmla="*/ 1938018 h 3690338"/>
                <a:gd name="connsiteX12435" fmla="*/ 1767665 w 4878487"/>
                <a:gd name="connsiteY12435" fmla="*/ 1941166 h 3690338"/>
                <a:gd name="connsiteX12436" fmla="*/ 1768059 w 4878487"/>
                <a:gd name="connsiteY12436" fmla="*/ 1938805 h 3690338"/>
                <a:gd name="connsiteX12437" fmla="*/ 1768059 w 4878487"/>
                <a:gd name="connsiteY12437" fmla="*/ 1940379 h 3690338"/>
                <a:gd name="connsiteX12438" fmla="*/ 1768059 w 4878487"/>
                <a:gd name="connsiteY12438" fmla="*/ 1938805 h 3690338"/>
                <a:gd name="connsiteX12439" fmla="*/ 1770419 w 4878487"/>
                <a:gd name="connsiteY12439" fmla="*/ 1941952 h 3690338"/>
                <a:gd name="connsiteX12440" fmla="*/ 1770026 w 4878487"/>
                <a:gd name="connsiteY12440" fmla="*/ 1940772 h 3690338"/>
                <a:gd name="connsiteX12441" fmla="*/ 1768452 w 4878487"/>
                <a:gd name="connsiteY12441" fmla="*/ 1938412 h 3690338"/>
                <a:gd name="connsiteX12442" fmla="*/ 1768452 w 4878487"/>
                <a:gd name="connsiteY12442" fmla="*/ 1937231 h 3690338"/>
                <a:gd name="connsiteX12443" fmla="*/ 1770419 w 4878487"/>
                <a:gd name="connsiteY12443" fmla="*/ 1939985 h 3690338"/>
                <a:gd name="connsiteX12444" fmla="*/ 1770812 w 4878487"/>
                <a:gd name="connsiteY12444" fmla="*/ 1941166 h 3690338"/>
                <a:gd name="connsiteX12445" fmla="*/ 1773567 w 4878487"/>
                <a:gd name="connsiteY12445" fmla="*/ 1942739 h 3690338"/>
                <a:gd name="connsiteX12446" fmla="*/ 1773960 w 4878487"/>
                <a:gd name="connsiteY12446" fmla="*/ 1945493 h 3690338"/>
                <a:gd name="connsiteX12447" fmla="*/ 1774747 w 4878487"/>
                <a:gd name="connsiteY12447" fmla="*/ 1948247 h 3690338"/>
                <a:gd name="connsiteX12448" fmla="*/ 1777894 w 4878487"/>
                <a:gd name="connsiteY12448" fmla="*/ 1950214 h 3690338"/>
                <a:gd name="connsiteX12449" fmla="*/ 1779468 w 4878487"/>
                <a:gd name="connsiteY12449" fmla="*/ 1952968 h 3690338"/>
                <a:gd name="connsiteX12450" fmla="*/ 1779861 w 4878487"/>
                <a:gd name="connsiteY12450" fmla="*/ 1955722 h 3690338"/>
                <a:gd name="connsiteX12451" fmla="*/ 1780255 w 4878487"/>
                <a:gd name="connsiteY12451" fmla="*/ 1958476 h 3690338"/>
                <a:gd name="connsiteX12452" fmla="*/ 1782222 w 4878487"/>
                <a:gd name="connsiteY12452" fmla="*/ 1961230 h 3690338"/>
                <a:gd name="connsiteX12453" fmla="*/ 1782222 w 4878487"/>
                <a:gd name="connsiteY12453" fmla="*/ 1963591 h 3690338"/>
                <a:gd name="connsiteX12454" fmla="*/ 1782222 w 4878487"/>
                <a:gd name="connsiteY12454" fmla="*/ 1963984 h 3690338"/>
                <a:gd name="connsiteX12455" fmla="*/ 1781829 w 4878487"/>
                <a:gd name="connsiteY12455" fmla="*/ 1964378 h 3690338"/>
                <a:gd name="connsiteX12456" fmla="*/ 1781829 w 4878487"/>
                <a:gd name="connsiteY12456" fmla="*/ 1964378 h 3690338"/>
                <a:gd name="connsiteX12457" fmla="*/ 1781829 w 4878487"/>
                <a:gd name="connsiteY12457" fmla="*/ 1962411 h 3690338"/>
                <a:gd name="connsiteX12458" fmla="*/ 1779861 w 4878487"/>
                <a:gd name="connsiteY12458" fmla="*/ 1959656 h 3690338"/>
                <a:gd name="connsiteX12459" fmla="*/ 1779468 w 4878487"/>
                <a:gd name="connsiteY12459" fmla="*/ 1956903 h 3690338"/>
                <a:gd name="connsiteX12460" fmla="*/ 1779075 w 4878487"/>
                <a:gd name="connsiteY12460" fmla="*/ 1954149 h 3690338"/>
                <a:gd name="connsiteX12461" fmla="*/ 1777501 w 4878487"/>
                <a:gd name="connsiteY12461" fmla="*/ 1951395 h 3690338"/>
                <a:gd name="connsiteX12462" fmla="*/ 1774353 w 4878487"/>
                <a:gd name="connsiteY12462" fmla="*/ 1949427 h 3690338"/>
                <a:gd name="connsiteX12463" fmla="*/ 1773567 w 4878487"/>
                <a:gd name="connsiteY12463" fmla="*/ 1946673 h 3690338"/>
                <a:gd name="connsiteX12464" fmla="*/ 1773173 w 4878487"/>
                <a:gd name="connsiteY12464" fmla="*/ 1943919 h 3690338"/>
                <a:gd name="connsiteX12465" fmla="*/ 1770419 w 4878487"/>
                <a:gd name="connsiteY12465" fmla="*/ 1942346 h 3690338"/>
                <a:gd name="connsiteX12466" fmla="*/ 1779861 w 4878487"/>
                <a:gd name="connsiteY12466" fmla="*/ 1961230 h 3690338"/>
                <a:gd name="connsiteX12467" fmla="*/ 1781042 w 4878487"/>
                <a:gd name="connsiteY12467" fmla="*/ 1965558 h 3690338"/>
                <a:gd name="connsiteX12468" fmla="*/ 1781042 w 4878487"/>
                <a:gd name="connsiteY12468" fmla="*/ 1965165 h 3690338"/>
                <a:gd name="connsiteX12469" fmla="*/ 1780648 w 4878487"/>
                <a:gd name="connsiteY12469" fmla="*/ 1962804 h 3690338"/>
                <a:gd name="connsiteX12470" fmla="*/ 1781829 w 4878487"/>
                <a:gd name="connsiteY12470" fmla="*/ 1965558 h 3690338"/>
                <a:gd name="connsiteX12471" fmla="*/ 1781829 w 4878487"/>
                <a:gd name="connsiteY12471" fmla="*/ 1965558 h 3690338"/>
                <a:gd name="connsiteX12472" fmla="*/ 1781829 w 4878487"/>
                <a:gd name="connsiteY12472" fmla="*/ 1966345 h 3690338"/>
                <a:gd name="connsiteX12473" fmla="*/ 1781435 w 4878487"/>
                <a:gd name="connsiteY12473" fmla="*/ 1968705 h 3690338"/>
                <a:gd name="connsiteX12474" fmla="*/ 1781042 w 4878487"/>
                <a:gd name="connsiteY12474" fmla="*/ 1965951 h 3690338"/>
                <a:gd name="connsiteX12475" fmla="*/ 1781435 w 4878487"/>
                <a:gd name="connsiteY12475" fmla="*/ 1969886 h 3690338"/>
                <a:gd name="connsiteX12476" fmla="*/ 1780648 w 4878487"/>
                <a:gd name="connsiteY12476" fmla="*/ 1976574 h 3690338"/>
                <a:gd name="connsiteX12477" fmla="*/ 1779861 w 4878487"/>
                <a:gd name="connsiteY12477" fmla="*/ 1974213 h 3690338"/>
                <a:gd name="connsiteX12478" fmla="*/ 1779075 w 4878487"/>
                <a:gd name="connsiteY12478" fmla="*/ 1971459 h 3690338"/>
                <a:gd name="connsiteX12479" fmla="*/ 1776320 w 4878487"/>
                <a:gd name="connsiteY12479" fmla="*/ 1971459 h 3690338"/>
                <a:gd name="connsiteX12480" fmla="*/ 1776714 w 4878487"/>
                <a:gd name="connsiteY12480" fmla="*/ 1968705 h 3690338"/>
                <a:gd name="connsiteX12481" fmla="*/ 1775140 w 4878487"/>
                <a:gd name="connsiteY12481" fmla="*/ 1965558 h 3690338"/>
                <a:gd name="connsiteX12482" fmla="*/ 1772386 w 4878487"/>
                <a:gd name="connsiteY12482" fmla="*/ 1967132 h 3690338"/>
                <a:gd name="connsiteX12483" fmla="*/ 1769239 w 4878487"/>
                <a:gd name="connsiteY12483" fmla="*/ 1967525 h 3690338"/>
                <a:gd name="connsiteX12484" fmla="*/ 1771206 w 4878487"/>
                <a:gd name="connsiteY12484" fmla="*/ 1975000 h 3690338"/>
                <a:gd name="connsiteX12485" fmla="*/ 1766878 w 4878487"/>
                <a:gd name="connsiteY12485" fmla="*/ 1970673 h 3690338"/>
                <a:gd name="connsiteX12486" fmla="*/ 1769239 w 4878487"/>
                <a:gd name="connsiteY12486" fmla="*/ 1973820 h 3690338"/>
                <a:gd name="connsiteX12487" fmla="*/ 1766485 w 4878487"/>
                <a:gd name="connsiteY12487" fmla="*/ 1972246 h 3690338"/>
                <a:gd name="connsiteX12488" fmla="*/ 1766485 w 4878487"/>
                <a:gd name="connsiteY12488" fmla="*/ 1975000 h 3690338"/>
                <a:gd name="connsiteX12489" fmla="*/ 1769632 w 4878487"/>
                <a:gd name="connsiteY12489" fmla="*/ 1976574 h 3690338"/>
                <a:gd name="connsiteX12490" fmla="*/ 1769239 w 4878487"/>
                <a:gd name="connsiteY12490" fmla="*/ 1979721 h 3690338"/>
                <a:gd name="connsiteX12491" fmla="*/ 1770026 w 4878487"/>
                <a:gd name="connsiteY12491" fmla="*/ 1982475 h 3690338"/>
                <a:gd name="connsiteX12492" fmla="*/ 1771600 w 4878487"/>
                <a:gd name="connsiteY12492" fmla="*/ 1979328 h 3690338"/>
                <a:gd name="connsiteX12493" fmla="*/ 1771600 w 4878487"/>
                <a:gd name="connsiteY12493" fmla="*/ 1982475 h 3690338"/>
                <a:gd name="connsiteX12494" fmla="*/ 1774353 w 4878487"/>
                <a:gd name="connsiteY12494" fmla="*/ 1980508 h 3690338"/>
                <a:gd name="connsiteX12495" fmla="*/ 1775534 w 4878487"/>
                <a:gd name="connsiteY12495" fmla="*/ 1983262 h 3690338"/>
                <a:gd name="connsiteX12496" fmla="*/ 1777108 w 4878487"/>
                <a:gd name="connsiteY12496" fmla="*/ 1980508 h 3690338"/>
                <a:gd name="connsiteX12497" fmla="*/ 1771600 w 4878487"/>
                <a:gd name="connsiteY12497" fmla="*/ 1975000 h 3690338"/>
                <a:gd name="connsiteX12498" fmla="*/ 1771993 w 4878487"/>
                <a:gd name="connsiteY12498" fmla="*/ 1974213 h 3690338"/>
                <a:gd name="connsiteX12499" fmla="*/ 1774747 w 4878487"/>
                <a:gd name="connsiteY12499" fmla="*/ 1973426 h 3690338"/>
                <a:gd name="connsiteX12500" fmla="*/ 1777894 w 4878487"/>
                <a:gd name="connsiteY12500" fmla="*/ 1975000 h 3690338"/>
                <a:gd name="connsiteX12501" fmla="*/ 1780648 w 4878487"/>
                <a:gd name="connsiteY12501" fmla="*/ 1976574 h 3690338"/>
                <a:gd name="connsiteX12502" fmla="*/ 1779861 w 4878487"/>
                <a:gd name="connsiteY12502" fmla="*/ 1984836 h 3690338"/>
                <a:gd name="connsiteX12503" fmla="*/ 1779861 w 4878487"/>
                <a:gd name="connsiteY12503" fmla="*/ 1984836 h 3690338"/>
                <a:gd name="connsiteX12504" fmla="*/ 1778681 w 4878487"/>
                <a:gd name="connsiteY12504" fmla="*/ 1987983 h 3690338"/>
                <a:gd name="connsiteX12505" fmla="*/ 1779075 w 4878487"/>
                <a:gd name="connsiteY12505" fmla="*/ 1990737 h 3690338"/>
                <a:gd name="connsiteX12506" fmla="*/ 1779468 w 4878487"/>
                <a:gd name="connsiteY12506" fmla="*/ 1991524 h 3690338"/>
                <a:gd name="connsiteX12507" fmla="*/ 1778288 w 4878487"/>
                <a:gd name="connsiteY12507" fmla="*/ 2003720 h 3690338"/>
                <a:gd name="connsiteX12508" fmla="*/ 1778288 w 4878487"/>
                <a:gd name="connsiteY12508" fmla="*/ 2003720 h 3690338"/>
                <a:gd name="connsiteX12509" fmla="*/ 1778681 w 4878487"/>
                <a:gd name="connsiteY12509" fmla="*/ 2004900 h 3690338"/>
                <a:gd name="connsiteX12510" fmla="*/ 1778681 w 4878487"/>
                <a:gd name="connsiteY12510" fmla="*/ 2004900 h 3690338"/>
                <a:gd name="connsiteX12511" fmla="*/ 1778681 w 4878487"/>
                <a:gd name="connsiteY12511" fmla="*/ 2005294 h 3690338"/>
                <a:gd name="connsiteX12512" fmla="*/ 1786549 w 4878487"/>
                <a:gd name="connsiteY12512" fmla="*/ 2012376 h 3690338"/>
                <a:gd name="connsiteX12513" fmla="*/ 1786549 w 4878487"/>
                <a:gd name="connsiteY12513" fmla="*/ 2012769 h 3690338"/>
                <a:gd name="connsiteX12514" fmla="*/ 1788517 w 4878487"/>
                <a:gd name="connsiteY12514" fmla="*/ 2022998 h 3690338"/>
                <a:gd name="connsiteX12515" fmla="*/ 1786943 w 4878487"/>
                <a:gd name="connsiteY12515" fmla="*/ 2019064 h 3690338"/>
                <a:gd name="connsiteX12516" fmla="*/ 1788123 w 4878487"/>
                <a:gd name="connsiteY12516" fmla="*/ 2022211 h 3690338"/>
                <a:gd name="connsiteX12517" fmla="*/ 1788910 w 4878487"/>
                <a:gd name="connsiteY12517" fmla="*/ 2024178 h 3690338"/>
                <a:gd name="connsiteX12518" fmla="*/ 1790484 w 4878487"/>
                <a:gd name="connsiteY12518" fmla="*/ 2032440 h 3690338"/>
                <a:gd name="connsiteX12519" fmla="*/ 1790484 w 4878487"/>
                <a:gd name="connsiteY12519" fmla="*/ 2032834 h 3690338"/>
                <a:gd name="connsiteX12520" fmla="*/ 1790878 w 4878487"/>
                <a:gd name="connsiteY12520" fmla="*/ 2033227 h 3690338"/>
                <a:gd name="connsiteX12521" fmla="*/ 1791271 w 4878487"/>
                <a:gd name="connsiteY12521" fmla="*/ 2034801 h 3690338"/>
                <a:gd name="connsiteX12522" fmla="*/ 1789697 w 4878487"/>
                <a:gd name="connsiteY12522" fmla="*/ 2032440 h 3690338"/>
                <a:gd name="connsiteX12523" fmla="*/ 1790878 w 4878487"/>
                <a:gd name="connsiteY12523" fmla="*/ 2035194 h 3690338"/>
                <a:gd name="connsiteX12524" fmla="*/ 1791271 w 4878487"/>
                <a:gd name="connsiteY12524" fmla="*/ 2035588 h 3690338"/>
                <a:gd name="connsiteX12525" fmla="*/ 1798746 w 4878487"/>
                <a:gd name="connsiteY12525" fmla="*/ 2070603 h 3690338"/>
                <a:gd name="connsiteX12526" fmla="*/ 1798746 w 4878487"/>
                <a:gd name="connsiteY12526" fmla="*/ 2070996 h 3690338"/>
                <a:gd name="connsiteX12527" fmla="*/ 1798746 w 4878487"/>
                <a:gd name="connsiteY12527" fmla="*/ 2071390 h 3690338"/>
                <a:gd name="connsiteX12528" fmla="*/ 1799926 w 4878487"/>
                <a:gd name="connsiteY12528" fmla="*/ 2074144 h 3690338"/>
                <a:gd name="connsiteX12529" fmla="*/ 1801500 w 4878487"/>
                <a:gd name="connsiteY12529" fmla="*/ 2077291 h 3690338"/>
                <a:gd name="connsiteX12530" fmla="*/ 1801893 w 4878487"/>
                <a:gd name="connsiteY12530" fmla="*/ 2077684 h 3690338"/>
                <a:gd name="connsiteX12531" fmla="*/ 1807008 w 4878487"/>
                <a:gd name="connsiteY12531" fmla="*/ 2087914 h 3690338"/>
                <a:gd name="connsiteX12532" fmla="*/ 1807008 w 4878487"/>
                <a:gd name="connsiteY12532" fmla="*/ 2088307 h 3690338"/>
                <a:gd name="connsiteX12533" fmla="*/ 1806615 w 4878487"/>
                <a:gd name="connsiteY12533" fmla="*/ 2091061 h 3690338"/>
                <a:gd name="connsiteX12534" fmla="*/ 1807008 w 4878487"/>
                <a:gd name="connsiteY12534" fmla="*/ 2091061 h 3690338"/>
                <a:gd name="connsiteX12535" fmla="*/ 1807008 w 4878487"/>
                <a:gd name="connsiteY12535" fmla="*/ 2091454 h 3690338"/>
                <a:gd name="connsiteX12536" fmla="*/ 1808975 w 4878487"/>
                <a:gd name="connsiteY12536" fmla="*/ 2091454 h 3690338"/>
                <a:gd name="connsiteX12537" fmla="*/ 1816056 w 4878487"/>
                <a:gd name="connsiteY12537" fmla="*/ 2090668 h 3690338"/>
                <a:gd name="connsiteX12538" fmla="*/ 1817630 w 4878487"/>
                <a:gd name="connsiteY12538" fmla="*/ 2091454 h 3690338"/>
                <a:gd name="connsiteX12539" fmla="*/ 1820385 w 4878487"/>
                <a:gd name="connsiteY12539" fmla="*/ 2093028 h 3690338"/>
                <a:gd name="connsiteX12540" fmla="*/ 1823532 w 4878487"/>
                <a:gd name="connsiteY12540" fmla="*/ 2094208 h 3690338"/>
                <a:gd name="connsiteX12541" fmla="*/ 1826286 w 4878487"/>
                <a:gd name="connsiteY12541" fmla="*/ 2093421 h 3690338"/>
                <a:gd name="connsiteX12542" fmla="*/ 1829040 w 4878487"/>
                <a:gd name="connsiteY12542" fmla="*/ 2093028 h 3690338"/>
                <a:gd name="connsiteX12543" fmla="*/ 1831793 w 4878487"/>
                <a:gd name="connsiteY12543" fmla="*/ 2093421 h 3690338"/>
                <a:gd name="connsiteX12544" fmla="*/ 1834941 w 4878487"/>
                <a:gd name="connsiteY12544" fmla="*/ 2091848 h 3690338"/>
                <a:gd name="connsiteX12545" fmla="*/ 1837695 w 4878487"/>
                <a:gd name="connsiteY12545" fmla="*/ 2089094 h 3690338"/>
                <a:gd name="connsiteX12546" fmla="*/ 1837695 w 4878487"/>
                <a:gd name="connsiteY12546" fmla="*/ 2089094 h 3690338"/>
                <a:gd name="connsiteX12547" fmla="*/ 1844777 w 4878487"/>
                <a:gd name="connsiteY12547" fmla="*/ 2088307 h 3690338"/>
                <a:gd name="connsiteX12548" fmla="*/ 1846351 w 4878487"/>
                <a:gd name="connsiteY12548" fmla="*/ 2088700 h 3690338"/>
                <a:gd name="connsiteX12549" fmla="*/ 1849498 w 4878487"/>
                <a:gd name="connsiteY12549" fmla="*/ 2090274 h 3690338"/>
                <a:gd name="connsiteX12550" fmla="*/ 1849498 w 4878487"/>
                <a:gd name="connsiteY12550" fmla="*/ 2087127 h 3690338"/>
                <a:gd name="connsiteX12551" fmla="*/ 1852252 w 4878487"/>
                <a:gd name="connsiteY12551" fmla="*/ 2085946 h 3690338"/>
                <a:gd name="connsiteX12552" fmla="*/ 1852252 w 4878487"/>
                <a:gd name="connsiteY12552" fmla="*/ 2086733 h 3690338"/>
                <a:gd name="connsiteX12553" fmla="*/ 1852252 w 4878487"/>
                <a:gd name="connsiteY12553" fmla="*/ 2087520 h 3690338"/>
                <a:gd name="connsiteX12554" fmla="*/ 1852645 w 4878487"/>
                <a:gd name="connsiteY12554" fmla="*/ 2087127 h 3690338"/>
                <a:gd name="connsiteX12555" fmla="*/ 1852645 w 4878487"/>
                <a:gd name="connsiteY12555" fmla="*/ 2087127 h 3690338"/>
                <a:gd name="connsiteX12556" fmla="*/ 1852645 w 4878487"/>
                <a:gd name="connsiteY12556" fmla="*/ 2087914 h 3690338"/>
                <a:gd name="connsiteX12557" fmla="*/ 1901430 w 4878487"/>
                <a:gd name="connsiteY12557" fmla="*/ 2065488 h 3690338"/>
                <a:gd name="connsiteX12558" fmla="*/ 1902217 w 4878487"/>
                <a:gd name="connsiteY12558" fmla="*/ 2065488 h 3690338"/>
                <a:gd name="connsiteX12559" fmla="*/ 1904971 w 4878487"/>
                <a:gd name="connsiteY12559" fmla="*/ 2063914 h 3690338"/>
                <a:gd name="connsiteX12560" fmla="*/ 1907725 w 4878487"/>
                <a:gd name="connsiteY12560" fmla="*/ 2062341 h 3690338"/>
                <a:gd name="connsiteX12561" fmla="*/ 1908905 w 4878487"/>
                <a:gd name="connsiteY12561" fmla="*/ 2061947 h 3690338"/>
                <a:gd name="connsiteX12562" fmla="*/ 1912053 w 4878487"/>
                <a:gd name="connsiteY12562" fmla="*/ 2061161 h 3690338"/>
                <a:gd name="connsiteX12563" fmla="*/ 1914807 w 4878487"/>
                <a:gd name="connsiteY12563" fmla="*/ 2060374 h 3690338"/>
                <a:gd name="connsiteX12564" fmla="*/ 1917561 w 4878487"/>
                <a:gd name="connsiteY12564" fmla="*/ 2059980 h 3690338"/>
                <a:gd name="connsiteX12565" fmla="*/ 1920314 w 4878487"/>
                <a:gd name="connsiteY12565" fmla="*/ 2058800 h 3690338"/>
                <a:gd name="connsiteX12566" fmla="*/ 1923462 w 4878487"/>
                <a:gd name="connsiteY12566" fmla="*/ 2057620 h 3690338"/>
                <a:gd name="connsiteX12567" fmla="*/ 1926216 w 4878487"/>
                <a:gd name="connsiteY12567" fmla="*/ 2054866 h 3690338"/>
                <a:gd name="connsiteX12568" fmla="*/ 1928970 w 4878487"/>
                <a:gd name="connsiteY12568" fmla="*/ 2051718 h 3690338"/>
                <a:gd name="connsiteX12569" fmla="*/ 1929757 w 4878487"/>
                <a:gd name="connsiteY12569" fmla="*/ 2051325 h 3690338"/>
                <a:gd name="connsiteX12570" fmla="*/ 1934084 w 4878487"/>
                <a:gd name="connsiteY12570" fmla="*/ 2048964 h 3690338"/>
                <a:gd name="connsiteX12571" fmla="*/ 1935265 w 4878487"/>
                <a:gd name="connsiteY12571" fmla="*/ 2048571 h 3690338"/>
                <a:gd name="connsiteX12572" fmla="*/ 1936839 w 4878487"/>
                <a:gd name="connsiteY12572" fmla="*/ 2047391 h 3690338"/>
                <a:gd name="connsiteX12573" fmla="*/ 1941953 w 4878487"/>
                <a:gd name="connsiteY12573" fmla="*/ 2044637 h 3690338"/>
                <a:gd name="connsiteX12574" fmla="*/ 1942347 w 4878487"/>
                <a:gd name="connsiteY12574" fmla="*/ 2044637 h 3690338"/>
                <a:gd name="connsiteX12575" fmla="*/ 1945101 w 4878487"/>
                <a:gd name="connsiteY12575" fmla="*/ 2045817 h 3690338"/>
                <a:gd name="connsiteX12576" fmla="*/ 1948248 w 4878487"/>
                <a:gd name="connsiteY12576" fmla="*/ 2046604 h 3690338"/>
                <a:gd name="connsiteX12577" fmla="*/ 1951002 w 4878487"/>
                <a:gd name="connsiteY12577" fmla="*/ 2045817 h 3690338"/>
                <a:gd name="connsiteX12578" fmla="*/ 1953756 w 4878487"/>
                <a:gd name="connsiteY12578" fmla="*/ 2045817 h 3690338"/>
                <a:gd name="connsiteX12579" fmla="*/ 1956903 w 4878487"/>
                <a:gd name="connsiteY12579" fmla="*/ 2044637 h 3690338"/>
                <a:gd name="connsiteX12580" fmla="*/ 1959657 w 4878487"/>
                <a:gd name="connsiteY12580" fmla="*/ 2044637 h 3690338"/>
                <a:gd name="connsiteX12581" fmla="*/ 1962411 w 4878487"/>
                <a:gd name="connsiteY12581" fmla="*/ 2042670 h 3690338"/>
                <a:gd name="connsiteX12582" fmla="*/ 1965558 w 4878487"/>
                <a:gd name="connsiteY12582" fmla="*/ 2039916 h 3690338"/>
                <a:gd name="connsiteX12583" fmla="*/ 1967526 w 4878487"/>
                <a:gd name="connsiteY12583" fmla="*/ 2037162 h 3690338"/>
                <a:gd name="connsiteX12584" fmla="*/ 1969493 w 4878487"/>
                <a:gd name="connsiteY12584" fmla="*/ 2034407 h 3690338"/>
                <a:gd name="connsiteX12585" fmla="*/ 1969887 w 4878487"/>
                <a:gd name="connsiteY12585" fmla="*/ 2031654 h 3690338"/>
                <a:gd name="connsiteX12586" fmla="*/ 1970280 w 4878487"/>
                <a:gd name="connsiteY12586" fmla="*/ 2030867 h 3690338"/>
                <a:gd name="connsiteX12587" fmla="*/ 1997820 w 4878487"/>
                <a:gd name="connsiteY12587" fmla="*/ 2017884 h 3690338"/>
                <a:gd name="connsiteX12588" fmla="*/ 1998606 w 4878487"/>
                <a:gd name="connsiteY12588" fmla="*/ 2018277 h 3690338"/>
                <a:gd name="connsiteX12589" fmla="*/ 1998606 w 4878487"/>
                <a:gd name="connsiteY12589" fmla="*/ 2018277 h 3690338"/>
                <a:gd name="connsiteX12590" fmla="*/ 1999000 w 4878487"/>
                <a:gd name="connsiteY12590" fmla="*/ 2018670 h 3690338"/>
                <a:gd name="connsiteX12591" fmla="*/ 2001754 w 4878487"/>
                <a:gd name="connsiteY12591" fmla="*/ 2017884 h 3690338"/>
                <a:gd name="connsiteX12592" fmla="*/ 2002934 w 4878487"/>
                <a:gd name="connsiteY12592" fmla="*/ 2017097 h 3690338"/>
                <a:gd name="connsiteX12593" fmla="*/ 2030868 w 4878487"/>
                <a:gd name="connsiteY12593" fmla="*/ 2006868 h 3690338"/>
                <a:gd name="connsiteX12594" fmla="*/ 2033621 w 4878487"/>
                <a:gd name="connsiteY12594" fmla="*/ 2006081 h 3690338"/>
                <a:gd name="connsiteX12595" fmla="*/ 2036375 w 4878487"/>
                <a:gd name="connsiteY12595" fmla="*/ 2004507 h 3690338"/>
                <a:gd name="connsiteX12596" fmla="*/ 2039130 w 4878487"/>
                <a:gd name="connsiteY12596" fmla="*/ 2003720 h 3690338"/>
                <a:gd name="connsiteX12597" fmla="*/ 2042277 w 4878487"/>
                <a:gd name="connsiteY12597" fmla="*/ 2001753 h 3690338"/>
                <a:gd name="connsiteX12598" fmla="*/ 2045031 w 4878487"/>
                <a:gd name="connsiteY12598" fmla="*/ 2001360 h 3690338"/>
                <a:gd name="connsiteX12599" fmla="*/ 2046605 w 4878487"/>
                <a:gd name="connsiteY12599" fmla="*/ 1998606 h 3690338"/>
                <a:gd name="connsiteX12600" fmla="*/ 2049359 w 4878487"/>
                <a:gd name="connsiteY12600" fmla="*/ 1997032 h 3690338"/>
                <a:gd name="connsiteX12601" fmla="*/ 2052112 w 4878487"/>
                <a:gd name="connsiteY12601" fmla="*/ 1995065 h 3690338"/>
                <a:gd name="connsiteX12602" fmla="*/ 2054867 w 4878487"/>
                <a:gd name="connsiteY12602" fmla="*/ 1993885 h 3690338"/>
                <a:gd name="connsiteX12603" fmla="*/ 2058014 w 4878487"/>
                <a:gd name="connsiteY12603" fmla="*/ 1992311 h 3690338"/>
                <a:gd name="connsiteX12604" fmla="*/ 2060768 w 4878487"/>
                <a:gd name="connsiteY12604" fmla="*/ 1991524 h 3690338"/>
                <a:gd name="connsiteX12605" fmla="*/ 2061555 w 4878487"/>
                <a:gd name="connsiteY12605" fmla="*/ 1988770 h 3690338"/>
                <a:gd name="connsiteX12606" fmla="*/ 2061161 w 4878487"/>
                <a:gd name="connsiteY12606" fmla="*/ 1987196 h 3690338"/>
                <a:gd name="connsiteX12607" fmla="*/ 2061555 w 4878487"/>
                <a:gd name="connsiteY12607" fmla="*/ 1970279 h 3690338"/>
                <a:gd name="connsiteX12608" fmla="*/ 2085160 w 4878487"/>
                <a:gd name="connsiteY12608" fmla="*/ 1956509 h 3690338"/>
                <a:gd name="connsiteX12609" fmla="*/ 2092635 w 4878487"/>
                <a:gd name="connsiteY12609" fmla="*/ 1953362 h 3690338"/>
                <a:gd name="connsiteX12610" fmla="*/ 2093816 w 4878487"/>
                <a:gd name="connsiteY12610" fmla="*/ 1952968 h 3690338"/>
                <a:gd name="connsiteX12611" fmla="*/ 2096570 w 4878487"/>
                <a:gd name="connsiteY12611" fmla="*/ 1952182 h 3690338"/>
                <a:gd name="connsiteX12612" fmla="*/ 2099324 w 4878487"/>
                <a:gd name="connsiteY12612" fmla="*/ 1952575 h 3690338"/>
                <a:gd name="connsiteX12613" fmla="*/ 2102471 w 4878487"/>
                <a:gd name="connsiteY12613" fmla="*/ 1950214 h 3690338"/>
                <a:gd name="connsiteX12614" fmla="*/ 2105225 w 4878487"/>
                <a:gd name="connsiteY12614" fmla="*/ 1948641 h 3690338"/>
                <a:gd name="connsiteX12615" fmla="*/ 2107979 w 4878487"/>
                <a:gd name="connsiteY12615" fmla="*/ 1947854 h 3690338"/>
                <a:gd name="connsiteX12616" fmla="*/ 2110733 w 4878487"/>
                <a:gd name="connsiteY12616" fmla="*/ 1947067 h 3690338"/>
                <a:gd name="connsiteX12617" fmla="*/ 2111913 w 4878487"/>
                <a:gd name="connsiteY12617" fmla="*/ 1945100 h 3690338"/>
                <a:gd name="connsiteX12618" fmla="*/ 2114667 w 4878487"/>
                <a:gd name="connsiteY12618" fmla="*/ 1943919 h 3690338"/>
                <a:gd name="connsiteX12619" fmla="*/ 2118208 w 4878487"/>
                <a:gd name="connsiteY12619" fmla="*/ 1943133 h 3690338"/>
                <a:gd name="connsiteX12620" fmla="*/ 2120175 w 4878487"/>
                <a:gd name="connsiteY12620" fmla="*/ 1942739 h 3690338"/>
                <a:gd name="connsiteX12621" fmla="*/ 2122929 w 4878487"/>
                <a:gd name="connsiteY12621" fmla="*/ 1942739 h 3690338"/>
                <a:gd name="connsiteX12622" fmla="*/ 2126077 w 4878487"/>
                <a:gd name="connsiteY12622" fmla="*/ 1942346 h 3690338"/>
                <a:gd name="connsiteX12623" fmla="*/ 2129224 w 4878487"/>
                <a:gd name="connsiteY12623" fmla="*/ 1942739 h 3690338"/>
                <a:gd name="connsiteX12624" fmla="*/ 2131978 w 4878487"/>
                <a:gd name="connsiteY12624" fmla="*/ 1945100 h 3690338"/>
                <a:gd name="connsiteX12625" fmla="*/ 2134732 w 4878487"/>
                <a:gd name="connsiteY12625" fmla="*/ 1945493 h 3690338"/>
                <a:gd name="connsiteX12626" fmla="*/ 2137880 w 4878487"/>
                <a:gd name="connsiteY12626" fmla="*/ 1943919 h 3690338"/>
                <a:gd name="connsiteX12627" fmla="*/ 2140633 w 4878487"/>
                <a:gd name="connsiteY12627" fmla="*/ 1943133 h 3690338"/>
                <a:gd name="connsiteX12628" fmla="*/ 2143388 w 4878487"/>
                <a:gd name="connsiteY12628" fmla="*/ 1940772 h 3690338"/>
                <a:gd name="connsiteX12629" fmla="*/ 2145748 w 4878487"/>
                <a:gd name="connsiteY12629" fmla="*/ 1938018 h 3690338"/>
                <a:gd name="connsiteX12630" fmla="*/ 2171714 w 4878487"/>
                <a:gd name="connsiteY12630" fmla="*/ 1912052 h 3690338"/>
                <a:gd name="connsiteX12631" fmla="*/ 2174468 w 4878487"/>
                <a:gd name="connsiteY12631" fmla="*/ 1911265 h 3690338"/>
                <a:gd name="connsiteX12632" fmla="*/ 2177615 w 4878487"/>
                <a:gd name="connsiteY12632" fmla="*/ 1911659 h 3690338"/>
                <a:gd name="connsiteX12633" fmla="*/ 2179976 w 4878487"/>
                <a:gd name="connsiteY12633" fmla="*/ 1908905 h 3690338"/>
                <a:gd name="connsiteX12634" fmla="*/ 2182730 w 4878487"/>
                <a:gd name="connsiteY12634" fmla="*/ 1906151 h 3690338"/>
                <a:gd name="connsiteX12635" fmla="*/ 2183517 w 4878487"/>
                <a:gd name="connsiteY12635" fmla="*/ 1903397 h 3690338"/>
                <a:gd name="connsiteX12636" fmla="*/ 2184697 w 4878487"/>
                <a:gd name="connsiteY12636" fmla="*/ 1900249 h 3690338"/>
                <a:gd name="connsiteX12637" fmla="*/ 2185877 w 4878487"/>
                <a:gd name="connsiteY12637" fmla="*/ 1894741 h 3690338"/>
                <a:gd name="connsiteX12638" fmla="*/ 2185484 w 4878487"/>
                <a:gd name="connsiteY12638" fmla="*/ 1891594 h 3690338"/>
                <a:gd name="connsiteX12639" fmla="*/ 2185877 w 4878487"/>
                <a:gd name="connsiteY12639" fmla="*/ 1890807 h 3690338"/>
                <a:gd name="connsiteX12640" fmla="*/ 2190205 w 4878487"/>
                <a:gd name="connsiteY12640" fmla="*/ 1884512 h 3690338"/>
                <a:gd name="connsiteX12641" fmla="*/ 2192959 w 4878487"/>
                <a:gd name="connsiteY12641" fmla="*/ 1882545 h 3690338"/>
                <a:gd name="connsiteX12642" fmla="*/ 2196107 w 4878487"/>
                <a:gd name="connsiteY12642" fmla="*/ 1880971 h 3690338"/>
                <a:gd name="connsiteX12643" fmla="*/ 2198861 w 4878487"/>
                <a:gd name="connsiteY12643" fmla="*/ 1879791 h 3690338"/>
                <a:gd name="connsiteX12644" fmla="*/ 2201614 w 4878487"/>
                <a:gd name="connsiteY12644" fmla="*/ 1879004 h 3690338"/>
                <a:gd name="connsiteX12645" fmla="*/ 2204369 w 4878487"/>
                <a:gd name="connsiteY12645" fmla="*/ 1878217 h 3690338"/>
                <a:gd name="connsiteX12646" fmla="*/ 2207516 w 4878487"/>
                <a:gd name="connsiteY12646" fmla="*/ 1877824 h 3690338"/>
                <a:gd name="connsiteX12647" fmla="*/ 2210663 w 4878487"/>
                <a:gd name="connsiteY12647" fmla="*/ 1877431 h 3690338"/>
                <a:gd name="connsiteX12648" fmla="*/ 2213417 w 4878487"/>
                <a:gd name="connsiteY12648" fmla="*/ 1877824 h 3690338"/>
                <a:gd name="connsiteX12649" fmla="*/ 2216171 w 4878487"/>
                <a:gd name="connsiteY12649" fmla="*/ 1877824 h 3690338"/>
                <a:gd name="connsiteX12650" fmla="*/ 2218925 w 4878487"/>
                <a:gd name="connsiteY12650" fmla="*/ 1876250 h 3690338"/>
                <a:gd name="connsiteX12651" fmla="*/ 2218532 w 4878487"/>
                <a:gd name="connsiteY12651" fmla="*/ 1873496 h 3690338"/>
                <a:gd name="connsiteX12652" fmla="*/ 2218139 w 4878487"/>
                <a:gd name="connsiteY12652" fmla="*/ 1870349 h 3690338"/>
                <a:gd name="connsiteX12653" fmla="*/ 2216171 w 4878487"/>
                <a:gd name="connsiteY12653" fmla="*/ 1867595 h 3690338"/>
                <a:gd name="connsiteX12654" fmla="*/ 2216171 w 4878487"/>
                <a:gd name="connsiteY12654" fmla="*/ 1864841 h 3690338"/>
                <a:gd name="connsiteX12655" fmla="*/ 2216565 w 4878487"/>
                <a:gd name="connsiteY12655" fmla="*/ 1862087 h 3690338"/>
                <a:gd name="connsiteX12656" fmla="*/ 2214991 w 4878487"/>
                <a:gd name="connsiteY12656" fmla="*/ 1859333 h 3690338"/>
                <a:gd name="connsiteX12657" fmla="*/ 2214598 w 4878487"/>
                <a:gd name="connsiteY12657" fmla="*/ 1856185 h 3690338"/>
                <a:gd name="connsiteX12658" fmla="*/ 2214598 w 4878487"/>
                <a:gd name="connsiteY12658" fmla="*/ 1853431 h 3690338"/>
                <a:gd name="connsiteX12659" fmla="*/ 2214204 w 4878487"/>
                <a:gd name="connsiteY12659" fmla="*/ 1853431 h 3690338"/>
                <a:gd name="connsiteX12660" fmla="*/ 2216565 w 4878487"/>
                <a:gd name="connsiteY12660" fmla="*/ 1842022 h 3690338"/>
                <a:gd name="connsiteX12661" fmla="*/ 2233482 w 4878487"/>
                <a:gd name="connsiteY12661" fmla="*/ 1829826 h 3690338"/>
                <a:gd name="connsiteX12662" fmla="*/ 2233876 w 4878487"/>
                <a:gd name="connsiteY12662" fmla="*/ 1829826 h 3690338"/>
                <a:gd name="connsiteX12663" fmla="*/ 2235056 w 4878487"/>
                <a:gd name="connsiteY12663" fmla="*/ 1828646 h 3690338"/>
                <a:gd name="connsiteX12664" fmla="*/ 2236629 w 4878487"/>
                <a:gd name="connsiteY12664" fmla="*/ 1825892 h 3690338"/>
                <a:gd name="connsiteX12665" fmla="*/ 2236629 w 4878487"/>
                <a:gd name="connsiteY12665" fmla="*/ 1825498 h 3690338"/>
                <a:gd name="connsiteX12666" fmla="*/ 2252367 w 4878487"/>
                <a:gd name="connsiteY12666" fmla="*/ 1796385 h 3690338"/>
                <a:gd name="connsiteX12667" fmla="*/ 2254727 w 4878487"/>
                <a:gd name="connsiteY12667" fmla="*/ 1794811 h 3690338"/>
                <a:gd name="connsiteX12668" fmla="*/ 2257481 w 4878487"/>
                <a:gd name="connsiteY12668" fmla="*/ 1793237 h 3690338"/>
                <a:gd name="connsiteX12669" fmla="*/ 2258661 w 4878487"/>
                <a:gd name="connsiteY12669" fmla="*/ 1790483 h 3690338"/>
                <a:gd name="connsiteX12670" fmla="*/ 2260235 w 4878487"/>
                <a:gd name="connsiteY12670" fmla="*/ 1787729 h 3690338"/>
                <a:gd name="connsiteX12671" fmla="*/ 2261022 w 4878487"/>
                <a:gd name="connsiteY12671" fmla="*/ 1784975 h 3690338"/>
                <a:gd name="connsiteX12672" fmla="*/ 2261416 w 4878487"/>
                <a:gd name="connsiteY12672" fmla="*/ 1781828 h 3690338"/>
                <a:gd name="connsiteX12673" fmla="*/ 2263383 w 4878487"/>
                <a:gd name="connsiteY12673" fmla="*/ 1778680 h 3690338"/>
                <a:gd name="connsiteX12674" fmla="*/ 2265350 w 4878487"/>
                <a:gd name="connsiteY12674" fmla="*/ 1775926 h 3690338"/>
                <a:gd name="connsiteX12675" fmla="*/ 2265743 w 4878487"/>
                <a:gd name="connsiteY12675" fmla="*/ 1773173 h 3690338"/>
                <a:gd name="connsiteX12676" fmla="*/ 2266924 w 4878487"/>
                <a:gd name="connsiteY12676" fmla="*/ 1770419 h 3690338"/>
                <a:gd name="connsiteX12677" fmla="*/ 2268891 w 4878487"/>
                <a:gd name="connsiteY12677" fmla="*/ 1767271 h 3690338"/>
                <a:gd name="connsiteX12678" fmla="*/ 2268891 w 4878487"/>
                <a:gd name="connsiteY12678" fmla="*/ 1766091 h 3690338"/>
                <a:gd name="connsiteX12679" fmla="*/ 2269284 w 4878487"/>
                <a:gd name="connsiteY12679" fmla="*/ 1763337 h 3690338"/>
                <a:gd name="connsiteX12680" fmla="*/ 2269284 w 4878487"/>
                <a:gd name="connsiteY12680" fmla="*/ 1760583 h 3690338"/>
                <a:gd name="connsiteX12681" fmla="*/ 2268497 w 4878487"/>
                <a:gd name="connsiteY12681" fmla="*/ 1757829 h 3690338"/>
                <a:gd name="connsiteX12682" fmla="*/ 2268104 w 4878487"/>
                <a:gd name="connsiteY12682" fmla="*/ 1756649 h 3690338"/>
                <a:gd name="connsiteX12683" fmla="*/ 2245285 w 4878487"/>
                <a:gd name="connsiteY12683" fmla="*/ 1738551 h 3690338"/>
                <a:gd name="connsiteX12684" fmla="*/ 2243711 w 4878487"/>
                <a:gd name="connsiteY12684" fmla="*/ 1736190 h 3690338"/>
                <a:gd name="connsiteX12685" fmla="*/ 2242531 w 4878487"/>
                <a:gd name="connsiteY12685" fmla="*/ 1733436 h 3690338"/>
                <a:gd name="connsiteX12686" fmla="*/ 2240957 w 4878487"/>
                <a:gd name="connsiteY12686" fmla="*/ 1730682 h 3690338"/>
                <a:gd name="connsiteX12687" fmla="*/ 2237810 w 4878487"/>
                <a:gd name="connsiteY12687" fmla="*/ 1727929 h 3690338"/>
                <a:gd name="connsiteX12688" fmla="*/ 2236236 w 4878487"/>
                <a:gd name="connsiteY12688" fmla="*/ 1724781 h 3690338"/>
                <a:gd name="connsiteX12689" fmla="*/ 2233089 w 4878487"/>
                <a:gd name="connsiteY12689" fmla="*/ 1722420 h 3690338"/>
                <a:gd name="connsiteX12690" fmla="*/ 2230335 w 4878487"/>
                <a:gd name="connsiteY12690" fmla="*/ 1719667 h 3690338"/>
                <a:gd name="connsiteX12691" fmla="*/ 2227581 w 4878487"/>
                <a:gd name="connsiteY12691" fmla="*/ 1719273 h 3690338"/>
                <a:gd name="connsiteX12692" fmla="*/ 2224433 w 4878487"/>
                <a:gd name="connsiteY12692" fmla="*/ 1720060 h 3690338"/>
                <a:gd name="connsiteX12693" fmla="*/ 2221680 w 4878487"/>
                <a:gd name="connsiteY12693" fmla="*/ 1720060 h 3690338"/>
                <a:gd name="connsiteX12694" fmla="*/ 2220106 w 4878487"/>
                <a:gd name="connsiteY12694" fmla="*/ 1718880 h 3690338"/>
                <a:gd name="connsiteX12695" fmla="*/ 2161485 w 4878487"/>
                <a:gd name="connsiteY12695" fmla="*/ 1674029 h 3690338"/>
                <a:gd name="connsiteX12696" fmla="*/ 2161092 w 4878487"/>
                <a:gd name="connsiteY12696" fmla="*/ 1673242 h 3690338"/>
                <a:gd name="connsiteX12697" fmla="*/ 2160698 w 4878487"/>
                <a:gd name="connsiteY12697" fmla="*/ 1670882 h 3690338"/>
                <a:gd name="connsiteX12698" fmla="*/ 2160698 w 4878487"/>
                <a:gd name="connsiteY12698" fmla="*/ 1668128 h 3690338"/>
                <a:gd name="connsiteX12699" fmla="*/ 2160698 w 4878487"/>
                <a:gd name="connsiteY12699" fmla="*/ 1663406 h 3690338"/>
                <a:gd name="connsiteX12700" fmla="*/ 2160698 w 4878487"/>
                <a:gd name="connsiteY12700" fmla="*/ 1662620 h 3690338"/>
                <a:gd name="connsiteX12701" fmla="*/ 2159911 w 4878487"/>
                <a:gd name="connsiteY12701" fmla="*/ 1659866 h 3690338"/>
                <a:gd name="connsiteX12702" fmla="*/ 2159518 w 4878487"/>
                <a:gd name="connsiteY12702" fmla="*/ 1659472 h 3690338"/>
                <a:gd name="connsiteX12703" fmla="*/ 2159518 w 4878487"/>
                <a:gd name="connsiteY12703" fmla="*/ 1654358 h 3690338"/>
                <a:gd name="connsiteX12704" fmla="*/ 2158731 w 4878487"/>
                <a:gd name="connsiteY12704" fmla="*/ 1651604 h 3690338"/>
                <a:gd name="connsiteX12705" fmla="*/ 2156370 w 4878487"/>
                <a:gd name="connsiteY12705" fmla="*/ 1650030 h 3690338"/>
                <a:gd name="connsiteX12706" fmla="*/ 2156370 w 4878487"/>
                <a:gd name="connsiteY12706" fmla="*/ 1646883 h 3690338"/>
                <a:gd name="connsiteX12707" fmla="*/ 2158338 w 4878487"/>
                <a:gd name="connsiteY12707" fmla="*/ 1644522 h 3690338"/>
                <a:gd name="connsiteX12708" fmla="*/ 2159125 w 4878487"/>
                <a:gd name="connsiteY12708" fmla="*/ 1641375 h 3690338"/>
                <a:gd name="connsiteX12709" fmla="*/ 2158731 w 4878487"/>
                <a:gd name="connsiteY12709" fmla="*/ 1638621 h 3690338"/>
                <a:gd name="connsiteX12710" fmla="*/ 2159518 w 4878487"/>
                <a:gd name="connsiteY12710" fmla="*/ 1635867 h 3690338"/>
                <a:gd name="connsiteX12711" fmla="*/ 2157158 w 4878487"/>
                <a:gd name="connsiteY12711" fmla="*/ 1633113 h 3690338"/>
                <a:gd name="connsiteX12712" fmla="*/ 2159911 w 4878487"/>
                <a:gd name="connsiteY12712" fmla="*/ 1633113 h 3690338"/>
                <a:gd name="connsiteX12713" fmla="*/ 2159911 w 4878487"/>
                <a:gd name="connsiteY12713" fmla="*/ 1630359 h 3690338"/>
                <a:gd name="connsiteX12714" fmla="*/ 2158338 w 4878487"/>
                <a:gd name="connsiteY12714" fmla="*/ 1627605 h 3690338"/>
                <a:gd name="connsiteX12715" fmla="*/ 2155977 w 4878487"/>
                <a:gd name="connsiteY12715" fmla="*/ 1625638 h 3690338"/>
                <a:gd name="connsiteX12716" fmla="*/ 2155977 w 4878487"/>
                <a:gd name="connsiteY12716" fmla="*/ 1626031 h 3690338"/>
                <a:gd name="connsiteX12717" fmla="*/ 2152043 w 4878487"/>
                <a:gd name="connsiteY12717" fmla="*/ 1629572 h 3690338"/>
                <a:gd name="connsiteX12718" fmla="*/ 2150469 w 4878487"/>
                <a:gd name="connsiteY12718" fmla="*/ 1632719 h 3690338"/>
                <a:gd name="connsiteX12719" fmla="*/ 2148896 w 4878487"/>
                <a:gd name="connsiteY12719" fmla="*/ 1635473 h 3690338"/>
                <a:gd name="connsiteX12720" fmla="*/ 2148896 w 4878487"/>
                <a:gd name="connsiteY12720" fmla="*/ 1635867 h 3690338"/>
                <a:gd name="connsiteX12721" fmla="*/ 2146141 w 4878487"/>
                <a:gd name="connsiteY12721" fmla="*/ 1644129 h 3690338"/>
                <a:gd name="connsiteX12722" fmla="*/ 2141420 w 4878487"/>
                <a:gd name="connsiteY12722" fmla="*/ 1648850 h 3690338"/>
                <a:gd name="connsiteX12723" fmla="*/ 2141027 w 4878487"/>
                <a:gd name="connsiteY12723" fmla="*/ 1648850 h 3690338"/>
                <a:gd name="connsiteX12724" fmla="*/ 2140240 w 4878487"/>
                <a:gd name="connsiteY12724" fmla="*/ 1649637 h 3690338"/>
                <a:gd name="connsiteX12725" fmla="*/ 2134732 w 4878487"/>
                <a:gd name="connsiteY12725" fmla="*/ 1652784 h 3690338"/>
                <a:gd name="connsiteX12726" fmla="*/ 2133945 w 4878487"/>
                <a:gd name="connsiteY12726" fmla="*/ 1654751 h 3690338"/>
                <a:gd name="connsiteX12727" fmla="*/ 2133945 w 4878487"/>
                <a:gd name="connsiteY12727" fmla="*/ 1655145 h 3690338"/>
                <a:gd name="connsiteX12728" fmla="*/ 2133552 w 4878487"/>
                <a:gd name="connsiteY12728" fmla="*/ 1656718 h 3690338"/>
                <a:gd name="connsiteX12729" fmla="*/ 2133552 w 4878487"/>
                <a:gd name="connsiteY12729" fmla="*/ 1657112 h 3690338"/>
                <a:gd name="connsiteX12730" fmla="*/ 2132371 w 4878487"/>
                <a:gd name="connsiteY12730" fmla="*/ 1658685 h 3690338"/>
                <a:gd name="connsiteX12731" fmla="*/ 2131978 w 4878487"/>
                <a:gd name="connsiteY12731" fmla="*/ 1659079 h 3690338"/>
                <a:gd name="connsiteX12732" fmla="*/ 2131191 w 4878487"/>
                <a:gd name="connsiteY12732" fmla="*/ 1660259 h 3690338"/>
                <a:gd name="connsiteX12733" fmla="*/ 2129224 w 4878487"/>
                <a:gd name="connsiteY12733" fmla="*/ 1662226 h 3690338"/>
                <a:gd name="connsiteX12734" fmla="*/ 2128831 w 4878487"/>
                <a:gd name="connsiteY12734" fmla="*/ 1663800 h 3690338"/>
                <a:gd name="connsiteX12735" fmla="*/ 2129224 w 4878487"/>
                <a:gd name="connsiteY12735" fmla="*/ 1664193 h 3690338"/>
                <a:gd name="connsiteX12736" fmla="*/ 2128831 w 4878487"/>
                <a:gd name="connsiteY12736" fmla="*/ 1664587 h 3690338"/>
                <a:gd name="connsiteX12737" fmla="*/ 2128437 w 4878487"/>
                <a:gd name="connsiteY12737" fmla="*/ 1664587 h 3690338"/>
                <a:gd name="connsiteX12738" fmla="*/ 2125683 w 4878487"/>
                <a:gd name="connsiteY12738" fmla="*/ 1667341 h 3690338"/>
                <a:gd name="connsiteX12739" fmla="*/ 2123716 w 4878487"/>
                <a:gd name="connsiteY12739" fmla="*/ 1670095 h 3690338"/>
                <a:gd name="connsiteX12740" fmla="*/ 2121749 w 4878487"/>
                <a:gd name="connsiteY12740" fmla="*/ 1672455 h 3690338"/>
                <a:gd name="connsiteX12741" fmla="*/ 2121356 w 4878487"/>
                <a:gd name="connsiteY12741" fmla="*/ 1672455 h 3690338"/>
                <a:gd name="connsiteX12742" fmla="*/ 2120569 w 4878487"/>
                <a:gd name="connsiteY12742" fmla="*/ 1673242 h 3690338"/>
                <a:gd name="connsiteX12743" fmla="*/ 2117422 w 4878487"/>
                <a:gd name="connsiteY12743" fmla="*/ 1675603 h 3690338"/>
                <a:gd name="connsiteX12744" fmla="*/ 2114274 w 4878487"/>
                <a:gd name="connsiteY12744" fmla="*/ 1677963 h 3690338"/>
                <a:gd name="connsiteX12745" fmla="*/ 2111520 w 4878487"/>
                <a:gd name="connsiteY12745" fmla="*/ 1680324 h 3690338"/>
                <a:gd name="connsiteX12746" fmla="*/ 2111126 w 4878487"/>
                <a:gd name="connsiteY12746" fmla="*/ 1683471 h 3690338"/>
                <a:gd name="connsiteX12747" fmla="*/ 2110733 w 4878487"/>
                <a:gd name="connsiteY12747" fmla="*/ 1686225 h 3690338"/>
                <a:gd name="connsiteX12748" fmla="*/ 2110340 w 4878487"/>
                <a:gd name="connsiteY12748" fmla="*/ 1687406 h 3690338"/>
                <a:gd name="connsiteX12749" fmla="*/ 2106799 w 4878487"/>
                <a:gd name="connsiteY12749" fmla="*/ 1692520 h 3690338"/>
                <a:gd name="connsiteX12750" fmla="*/ 2095389 w 4878487"/>
                <a:gd name="connsiteY12750" fmla="*/ 1696848 h 3690338"/>
                <a:gd name="connsiteX12751" fmla="*/ 2096176 w 4878487"/>
                <a:gd name="connsiteY12751" fmla="*/ 1697635 h 3690338"/>
                <a:gd name="connsiteX12752" fmla="*/ 2089094 w 4878487"/>
                <a:gd name="connsiteY12752" fmla="*/ 1698422 h 3690338"/>
                <a:gd name="connsiteX12753" fmla="*/ 2088701 w 4878487"/>
                <a:gd name="connsiteY12753" fmla="*/ 1698422 h 3690338"/>
                <a:gd name="connsiteX12754" fmla="*/ 2086734 w 4878487"/>
                <a:gd name="connsiteY12754" fmla="*/ 1698422 h 3690338"/>
                <a:gd name="connsiteX12755" fmla="*/ 2086341 w 4878487"/>
                <a:gd name="connsiteY12755" fmla="*/ 1698815 h 3690338"/>
                <a:gd name="connsiteX12756" fmla="*/ 2064702 w 4878487"/>
                <a:gd name="connsiteY12756" fmla="*/ 1701569 h 3690338"/>
                <a:gd name="connsiteX12757" fmla="*/ 2061555 w 4878487"/>
                <a:gd name="connsiteY12757" fmla="*/ 1701175 h 3690338"/>
                <a:gd name="connsiteX12758" fmla="*/ 2058801 w 4878487"/>
                <a:gd name="connsiteY12758" fmla="*/ 1701175 h 3690338"/>
                <a:gd name="connsiteX12759" fmla="*/ 2058408 w 4878487"/>
                <a:gd name="connsiteY12759" fmla="*/ 1701569 h 3690338"/>
                <a:gd name="connsiteX12760" fmla="*/ 2055260 w 4878487"/>
                <a:gd name="connsiteY12760" fmla="*/ 1701175 h 3690338"/>
                <a:gd name="connsiteX12761" fmla="*/ 2052112 w 4878487"/>
                <a:gd name="connsiteY12761" fmla="*/ 1699602 h 3690338"/>
                <a:gd name="connsiteX12762" fmla="*/ 2049752 w 4878487"/>
                <a:gd name="connsiteY12762" fmla="*/ 1702356 h 3690338"/>
                <a:gd name="connsiteX12763" fmla="*/ 2046998 w 4878487"/>
                <a:gd name="connsiteY12763" fmla="*/ 1704716 h 3690338"/>
                <a:gd name="connsiteX12764" fmla="*/ 2044638 w 4878487"/>
                <a:gd name="connsiteY12764" fmla="*/ 1706290 h 3690338"/>
                <a:gd name="connsiteX12765" fmla="*/ 2028901 w 4878487"/>
                <a:gd name="connsiteY12765" fmla="*/ 1705503 h 3690338"/>
                <a:gd name="connsiteX12766" fmla="*/ 2028507 w 4878487"/>
                <a:gd name="connsiteY12766" fmla="*/ 1702356 h 3690338"/>
                <a:gd name="connsiteX12767" fmla="*/ 2028113 w 4878487"/>
                <a:gd name="connsiteY12767" fmla="*/ 1699208 h 3690338"/>
                <a:gd name="connsiteX12768" fmla="*/ 2026540 w 4878487"/>
                <a:gd name="connsiteY12768" fmla="*/ 1696454 h 3690338"/>
                <a:gd name="connsiteX12769" fmla="*/ 2023786 w 4878487"/>
                <a:gd name="connsiteY12769" fmla="*/ 1698815 h 3690338"/>
                <a:gd name="connsiteX12770" fmla="*/ 2022999 w 4878487"/>
                <a:gd name="connsiteY12770" fmla="*/ 1696061 h 3690338"/>
                <a:gd name="connsiteX12771" fmla="*/ 2021425 w 4878487"/>
                <a:gd name="connsiteY12771" fmla="*/ 1696454 h 3690338"/>
                <a:gd name="connsiteX12772" fmla="*/ 2021425 w 4878487"/>
                <a:gd name="connsiteY12772" fmla="*/ 1696454 h 3690338"/>
                <a:gd name="connsiteX12773" fmla="*/ 2021425 w 4878487"/>
                <a:gd name="connsiteY12773" fmla="*/ 1696454 h 3690338"/>
                <a:gd name="connsiteX12774" fmla="*/ 2021425 w 4878487"/>
                <a:gd name="connsiteY12774" fmla="*/ 1696061 h 3690338"/>
                <a:gd name="connsiteX12775" fmla="*/ 2020245 w 4878487"/>
                <a:gd name="connsiteY12775" fmla="*/ 1696454 h 3690338"/>
                <a:gd name="connsiteX12776" fmla="*/ 2017098 w 4878487"/>
                <a:gd name="connsiteY12776" fmla="*/ 1694487 h 3690338"/>
                <a:gd name="connsiteX12777" fmla="*/ 2015524 w 4878487"/>
                <a:gd name="connsiteY12777" fmla="*/ 1695274 h 3690338"/>
                <a:gd name="connsiteX12778" fmla="*/ 2014343 w 4878487"/>
                <a:gd name="connsiteY12778" fmla="*/ 1691733 h 3690338"/>
                <a:gd name="connsiteX12779" fmla="*/ 2013557 w 4878487"/>
                <a:gd name="connsiteY12779" fmla="*/ 1692520 h 3690338"/>
                <a:gd name="connsiteX12780" fmla="*/ 2013163 w 4878487"/>
                <a:gd name="connsiteY12780" fmla="*/ 1692127 h 3690338"/>
                <a:gd name="connsiteX12781" fmla="*/ 2013950 w 4878487"/>
                <a:gd name="connsiteY12781" fmla="*/ 1690946 h 3690338"/>
                <a:gd name="connsiteX12782" fmla="*/ 2013950 w 4878487"/>
                <a:gd name="connsiteY12782" fmla="*/ 1691340 h 3690338"/>
                <a:gd name="connsiteX12783" fmla="*/ 2015524 w 4878487"/>
                <a:gd name="connsiteY12783" fmla="*/ 1689373 h 3690338"/>
                <a:gd name="connsiteX12784" fmla="*/ 2017884 w 4878487"/>
                <a:gd name="connsiteY12784" fmla="*/ 1686619 h 3690338"/>
                <a:gd name="connsiteX12785" fmla="*/ 2017491 w 4878487"/>
                <a:gd name="connsiteY12785" fmla="*/ 1686619 h 3690338"/>
                <a:gd name="connsiteX12786" fmla="*/ 2017884 w 4878487"/>
                <a:gd name="connsiteY12786" fmla="*/ 1686225 h 3690338"/>
                <a:gd name="connsiteX12787" fmla="*/ 2015131 w 4878487"/>
                <a:gd name="connsiteY12787" fmla="*/ 1685438 h 3690338"/>
                <a:gd name="connsiteX12788" fmla="*/ 2013163 w 4878487"/>
                <a:gd name="connsiteY12788" fmla="*/ 1687799 h 3690338"/>
                <a:gd name="connsiteX12789" fmla="*/ 2013163 w 4878487"/>
                <a:gd name="connsiteY12789" fmla="*/ 1685438 h 3690338"/>
                <a:gd name="connsiteX12790" fmla="*/ 2013163 w 4878487"/>
                <a:gd name="connsiteY12790" fmla="*/ 1685438 h 3690338"/>
                <a:gd name="connsiteX12791" fmla="*/ 2013163 w 4878487"/>
                <a:gd name="connsiteY12791" fmla="*/ 1685045 h 3690338"/>
                <a:gd name="connsiteX12792" fmla="*/ 2011196 w 4878487"/>
                <a:gd name="connsiteY12792" fmla="*/ 1684652 h 3690338"/>
                <a:gd name="connsiteX12793" fmla="*/ 2013163 w 4878487"/>
                <a:gd name="connsiteY12793" fmla="*/ 1683865 h 3690338"/>
                <a:gd name="connsiteX12794" fmla="*/ 2015917 w 4878487"/>
                <a:gd name="connsiteY12794" fmla="*/ 1683865 h 3690338"/>
                <a:gd name="connsiteX12795" fmla="*/ 2017098 w 4878487"/>
                <a:gd name="connsiteY12795" fmla="*/ 1680717 h 3690338"/>
                <a:gd name="connsiteX12796" fmla="*/ 2017491 w 4878487"/>
                <a:gd name="connsiteY12796" fmla="*/ 1677963 h 3690338"/>
                <a:gd name="connsiteX12797" fmla="*/ 2019065 w 4878487"/>
                <a:gd name="connsiteY12797" fmla="*/ 1675209 h 3690338"/>
                <a:gd name="connsiteX12798" fmla="*/ 2020245 w 4878487"/>
                <a:gd name="connsiteY12798" fmla="*/ 1672455 h 3690338"/>
                <a:gd name="connsiteX12799" fmla="*/ 2020638 w 4878487"/>
                <a:gd name="connsiteY12799" fmla="*/ 1671668 h 3690338"/>
                <a:gd name="connsiteX12800" fmla="*/ 2020245 w 4878487"/>
                <a:gd name="connsiteY12800" fmla="*/ 1670095 h 3690338"/>
                <a:gd name="connsiteX12801" fmla="*/ 2020245 w 4878487"/>
                <a:gd name="connsiteY12801" fmla="*/ 1664587 h 3690338"/>
                <a:gd name="connsiteX12802" fmla="*/ 2019458 w 4878487"/>
                <a:gd name="connsiteY12802" fmla="*/ 1663800 h 3690338"/>
                <a:gd name="connsiteX12803" fmla="*/ 2017491 w 4878487"/>
                <a:gd name="connsiteY12803" fmla="*/ 1648456 h 3690338"/>
                <a:gd name="connsiteX12804" fmla="*/ 2017884 w 4878487"/>
                <a:gd name="connsiteY12804" fmla="*/ 1647669 h 3690338"/>
                <a:gd name="connsiteX12805" fmla="*/ 2017491 w 4878487"/>
                <a:gd name="connsiteY12805" fmla="*/ 1644916 h 3690338"/>
                <a:gd name="connsiteX12806" fmla="*/ 2016704 w 4878487"/>
                <a:gd name="connsiteY12806" fmla="*/ 1641768 h 3690338"/>
                <a:gd name="connsiteX12807" fmla="*/ 2016311 w 4878487"/>
                <a:gd name="connsiteY12807" fmla="*/ 1641375 h 3690338"/>
                <a:gd name="connsiteX12808" fmla="*/ 2016311 w 4878487"/>
                <a:gd name="connsiteY12808" fmla="*/ 1640981 h 3690338"/>
                <a:gd name="connsiteX12809" fmla="*/ 2014343 w 4878487"/>
                <a:gd name="connsiteY12809" fmla="*/ 1639408 h 3690338"/>
                <a:gd name="connsiteX12810" fmla="*/ 2012770 w 4878487"/>
                <a:gd name="connsiteY12810" fmla="*/ 1639801 h 3690338"/>
                <a:gd name="connsiteX12811" fmla="*/ 2009229 w 4878487"/>
                <a:gd name="connsiteY12811" fmla="*/ 1634686 h 3690338"/>
                <a:gd name="connsiteX12812" fmla="*/ 2006475 w 4878487"/>
                <a:gd name="connsiteY12812" fmla="*/ 1632719 h 3690338"/>
                <a:gd name="connsiteX12813" fmla="*/ 2003721 w 4878487"/>
                <a:gd name="connsiteY12813" fmla="*/ 1634293 h 3690338"/>
                <a:gd name="connsiteX12814" fmla="*/ 2002147 w 4878487"/>
                <a:gd name="connsiteY12814" fmla="*/ 1635867 h 3690338"/>
                <a:gd name="connsiteX12815" fmla="*/ 2000180 w 4878487"/>
                <a:gd name="connsiteY12815" fmla="*/ 1638621 h 3690338"/>
                <a:gd name="connsiteX12816" fmla="*/ 1999394 w 4878487"/>
                <a:gd name="connsiteY12816" fmla="*/ 1641375 h 3690338"/>
                <a:gd name="connsiteX12817" fmla="*/ 1999394 w 4878487"/>
                <a:gd name="connsiteY12817" fmla="*/ 1643342 h 3690338"/>
                <a:gd name="connsiteX12818" fmla="*/ 1998606 w 4878487"/>
                <a:gd name="connsiteY12818" fmla="*/ 1645309 h 3690338"/>
                <a:gd name="connsiteX12819" fmla="*/ 1997426 w 4878487"/>
                <a:gd name="connsiteY12819" fmla="*/ 1646883 h 3690338"/>
                <a:gd name="connsiteX12820" fmla="*/ 1997426 w 4878487"/>
                <a:gd name="connsiteY12820" fmla="*/ 1648063 h 3690338"/>
                <a:gd name="connsiteX12821" fmla="*/ 1996639 w 4878487"/>
                <a:gd name="connsiteY12821" fmla="*/ 1650423 h 3690338"/>
                <a:gd name="connsiteX12822" fmla="*/ 1996246 w 4878487"/>
                <a:gd name="connsiteY12822" fmla="*/ 1649637 h 3690338"/>
                <a:gd name="connsiteX12823" fmla="*/ 1995853 w 4878487"/>
                <a:gd name="connsiteY12823" fmla="*/ 1651997 h 3690338"/>
                <a:gd name="connsiteX12824" fmla="*/ 1995065 w 4878487"/>
                <a:gd name="connsiteY12824" fmla="*/ 1654751 h 3690338"/>
                <a:gd name="connsiteX12825" fmla="*/ 1995065 w 4878487"/>
                <a:gd name="connsiteY12825" fmla="*/ 1654358 h 3690338"/>
                <a:gd name="connsiteX12826" fmla="*/ 1994279 w 4878487"/>
                <a:gd name="connsiteY12826" fmla="*/ 1653964 h 3690338"/>
                <a:gd name="connsiteX12827" fmla="*/ 1993885 w 4878487"/>
                <a:gd name="connsiteY12827" fmla="*/ 1656718 h 3690338"/>
                <a:gd name="connsiteX12828" fmla="*/ 1994279 w 4878487"/>
                <a:gd name="connsiteY12828" fmla="*/ 1659866 h 3690338"/>
                <a:gd name="connsiteX12829" fmla="*/ 1994279 w 4878487"/>
                <a:gd name="connsiteY12829" fmla="*/ 1661833 h 3690338"/>
                <a:gd name="connsiteX12830" fmla="*/ 1995065 w 4878487"/>
                <a:gd name="connsiteY12830" fmla="*/ 1664587 h 3690338"/>
                <a:gd name="connsiteX12831" fmla="*/ 1995459 w 4878487"/>
                <a:gd name="connsiteY12831" fmla="*/ 1667341 h 3690338"/>
                <a:gd name="connsiteX12832" fmla="*/ 1995853 w 4878487"/>
                <a:gd name="connsiteY12832" fmla="*/ 1668521 h 3690338"/>
                <a:gd name="connsiteX12833" fmla="*/ 1996246 w 4878487"/>
                <a:gd name="connsiteY12833" fmla="*/ 1671275 h 3690338"/>
                <a:gd name="connsiteX12834" fmla="*/ 1998606 w 4878487"/>
                <a:gd name="connsiteY12834" fmla="*/ 1679144 h 3690338"/>
                <a:gd name="connsiteX12835" fmla="*/ 1998213 w 4878487"/>
                <a:gd name="connsiteY12835" fmla="*/ 1679537 h 3690338"/>
                <a:gd name="connsiteX12836" fmla="*/ 1998213 w 4878487"/>
                <a:gd name="connsiteY12836" fmla="*/ 1679144 h 3690338"/>
                <a:gd name="connsiteX12837" fmla="*/ 1995853 w 4878487"/>
                <a:gd name="connsiteY12837" fmla="*/ 1678750 h 3690338"/>
                <a:gd name="connsiteX12838" fmla="*/ 1995459 w 4878487"/>
                <a:gd name="connsiteY12838" fmla="*/ 1675996 h 3690338"/>
                <a:gd name="connsiteX12839" fmla="*/ 1995459 w 4878487"/>
                <a:gd name="connsiteY12839" fmla="*/ 1675996 h 3690338"/>
                <a:gd name="connsiteX12840" fmla="*/ 1995459 w 4878487"/>
                <a:gd name="connsiteY12840" fmla="*/ 1675603 h 3690338"/>
                <a:gd name="connsiteX12841" fmla="*/ 1993492 w 4878487"/>
                <a:gd name="connsiteY12841" fmla="*/ 1672849 h 3690338"/>
                <a:gd name="connsiteX12842" fmla="*/ 1992312 w 4878487"/>
                <a:gd name="connsiteY12842" fmla="*/ 1670488 h 3690338"/>
                <a:gd name="connsiteX12843" fmla="*/ 1991918 w 4878487"/>
                <a:gd name="connsiteY12843" fmla="*/ 1670095 h 3690338"/>
                <a:gd name="connsiteX12844" fmla="*/ 1989558 w 4878487"/>
                <a:gd name="connsiteY12844" fmla="*/ 1666161 h 3690338"/>
                <a:gd name="connsiteX12845" fmla="*/ 1989558 w 4878487"/>
                <a:gd name="connsiteY12845" fmla="*/ 1667734 h 3690338"/>
                <a:gd name="connsiteX12846" fmla="*/ 1989558 w 4878487"/>
                <a:gd name="connsiteY12846" fmla="*/ 1667734 h 3690338"/>
                <a:gd name="connsiteX12847" fmla="*/ 1989558 w 4878487"/>
                <a:gd name="connsiteY12847" fmla="*/ 1666161 h 3690338"/>
                <a:gd name="connsiteX12848" fmla="*/ 1989558 w 4878487"/>
                <a:gd name="connsiteY12848" fmla="*/ 1666161 h 3690338"/>
                <a:gd name="connsiteX12849" fmla="*/ 1989558 w 4878487"/>
                <a:gd name="connsiteY12849" fmla="*/ 1664587 h 3690338"/>
                <a:gd name="connsiteX12850" fmla="*/ 1989558 w 4878487"/>
                <a:gd name="connsiteY12850" fmla="*/ 1664587 h 3690338"/>
                <a:gd name="connsiteX12851" fmla="*/ 1989558 w 4878487"/>
                <a:gd name="connsiteY12851" fmla="*/ 1664587 h 3690338"/>
                <a:gd name="connsiteX12852" fmla="*/ 1988377 w 4878487"/>
                <a:gd name="connsiteY12852" fmla="*/ 1661833 h 3690338"/>
                <a:gd name="connsiteX12853" fmla="*/ 1987984 w 4878487"/>
                <a:gd name="connsiteY12853" fmla="*/ 1659079 h 3690338"/>
                <a:gd name="connsiteX12854" fmla="*/ 1987984 w 4878487"/>
                <a:gd name="connsiteY12854" fmla="*/ 1659079 h 3690338"/>
                <a:gd name="connsiteX12855" fmla="*/ 1987984 w 4878487"/>
                <a:gd name="connsiteY12855" fmla="*/ 1658685 h 3690338"/>
                <a:gd name="connsiteX12856" fmla="*/ 1986410 w 4878487"/>
                <a:gd name="connsiteY12856" fmla="*/ 1655931 h 3690338"/>
                <a:gd name="connsiteX12857" fmla="*/ 1983656 w 4878487"/>
                <a:gd name="connsiteY12857" fmla="*/ 1653571 h 3690338"/>
                <a:gd name="connsiteX12858" fmla="*/ 1980509 w 4878487"/>
                <a:gd name="connsiteY12858" fmla="*/ 1651604 h 3690338"/>
                <a:gd name="connsiteX12859" fmla="*/ 1978148 w 4878487"/>
                <a:gd name="connsiteY12859" fmla="*/ 1648456 h 3690338"/>
                <a:gd name="connsiteX12860" fmla="*/ 1976575 w 4878487"/>
                <a:gd name="connsiteY12860" fmla="*/ 1646489 h 3690338"/>
                <a:gd name="connsiteX12861" fmla="*/ 1979328 w 4878487"/>
                <a:gd name="connsiteY12861" fmla="*/ 1648850 h 3690338"/>
                <a:gd name="connsiteX12862" fmla="*/ 1979328 w 4878487"/>
                <a:gd name="connsiteY12862" fmla="*/ 1648456 h 3690338"/>
                <a:gd name="connsiteX12863" fmla="*/ 1979328 w 4878487"/>
                <a:gd name="connsiteY12863" fmla="*/ 1648456 h 3690338"/>
                <a:gd name="connsiteX12864" fmla="*/ 1978148 w 4878487"/>
                <a:gd name="connsiteY12864" fmla="*/ 1645702 h 3690338"/>
                <a:gd name="connsiteX12865" fmla="*/ 1975788 w 4878487"/>
                <a:gd name="connsiteY12865" fmla="*/ 1642948 h 3690338"/>
                <a:gd name="connsiteX12866" fmla="*/ 1974607 w 4878487"/>
                <a:gd name="connsiteY12866" fmla="*/ 1640194 h 3690338"/>
                <a:gd name="connsiteX12867" fmla="*/ 1974214 w 4878487"/>
                <a:gd name="connsiteY12867" fmla="*/ 1637047 h 3690338"/>
                <a:gd name="connsiteX12868" fmla="*/ 1974214 w 4878487"/>
                <a:gd name="connsiteY12868" fmla="*/ 1637047 h 3690338"/>
                <a:gd name="connsiteX12869" fmla="*/ 1974214 w 4878487"/>
                <a:gd name="connsiteY12869" fmla="*/ 1636654 h 3690338"/>
                <a:gd name="connsiteX12870" fmla="*/ 1971067 w 4878487"/>
                <a:gd name="connsiteY12870" fmla="*/ 1636654 h 3690338"/>
                <a:gd name="connsiteX12871" fmla="*/ 1970673 w 4878487"/>
                <a:gd name="connsiteY12871" fmla="*/ 1636260 h 3690338"/>
                <a:gd name="connsiteX12872" fmla="*/ 1971067 w 4878487"/>
                <a:gd name="connsiteY12872" fmla="*/ 1633900 h 3690338"/>
                <a:gd name="connsiteX12873" fmla="*/ 1970673 w 4878487"/>
                <a:gd name="connsiteY12873" fmla="*/ 1632719 h 3690338"/>
                <a:gd name="connsiteX12874" fmla="*/ 1970673 w 4878487"/>
                <a:gd name="connsiteY12874" fmla="*/ 1630752 h 3690338"/>
                <a:gd name="connsiteX12875" fmla="*/ 1971067 w 4878487"/>
                <a:gd name="connsiteY12875" fmla="*/ 1630752 h 3690338"/>
                <a:gd name="connsiteX12876" fmla="*/ 1970673 w 4878487"/>
                <a:gd name="connsiteY12876" fmla="*/ 1630752 h 3690338"/>
                <a:gd name="connsiteX12877" fmla="*/ 1973427 w 4878487"/>
                <a:gd name="connsiteY12877" fmla="*/ 1632326 h 3690338"/>
                <a:gd name="connsiteX12878" fmla="*/ 1976181 w 4878487"/>
                <a:gd name="connsiteY12878" fmla="*/ 1630752 h 3690338"/>
                <a:gd name="connsiteX12879" fmla="*/ 1976575 w 4878487"/>
                <a:gd name="connsiteY12879" fmla="*/ 1628785 h 3690338"/>
                <a:gd name="connsiteX12880" fmla="*/ 1976575 w 4878487"/>
                <a:gd name="connsiteY12880" fmla="*/ 1628785 h 3690338"/>
                <a:gd name="connsiteX12881" fmla="*/ 1976575 w 4878487"/>
                <a:gd name="connsiteY12881" fmla="*/ 1628392 h 3690338"/>
                <a:gd name="connsiteX12882" fmla="*/ 1976575 w 4878487"/>
                <a:gd name="connsiteY12882" fmla="*/ 1627998 h 3690338"/>
                <a:gd name="connsiteX12883" fmla="*/ 1976575 w 4878487"/>
                <a:gd name="connsiteY12883" fmla="*/ 1627998 h 3690338"/>
                <a:gd name="connsiteX12884" fmla="*/ 1976181 w 4878487"/>
                <a:gd name="connsiteY12884" fmla="*/ 1625244 h 3690338"/>
                <a:gd name="connsiteX12885" fmla="*/ 1976181 w 4878487"/>
                <a:gd name="connsiteY12885" fmla="*/ 1625244 h 3690338"/>
                <a:gd name="connsiteX12886" fmla="*/ 1976181 w 4878487"/>
                <a:gd name="connsiteY12886" fmla="*/ 1625244 h 3690338"/>
                <a:gd name="connsiteX12887" fmla="*/ 1975001 w 4878487"/>
                <a:gd name="connsiteY12887" fmla="*/ 1622490 h 3690338"/>
                <a:gd name="connsiteX12888" fmla="*/ 1974607 w 4878487"/>
                <a:gd name="connsiteY12888" fmla="*/ 1622097 h 3690338"/>
                <a:gd name="connsiteX12889" fmla="*/ 1974214 w 4878487"/>
                <a:gd name="connsiteY12889" fmla="*/ 1622097 h 3690338"/>
                <a:gd name="connsiteX12890" fmla="*/ 1973821 w 4878487"/>
                <a:gd name="connsiteY12890" fmla="*/ 1622097 h 3690338"/>
                <a:gd name="connsiteX12891" fmla="*/ 1969887 w 4878487"/>
                <a:gd name="connsiteY12891" fmla="*/ 1618556 h 3690338"/>
                <a:gd name="connsiteX12892" fmla="*/ 1969887 w 4878487"/>
                <a:gd name="connsiteY12892" fmla="*/ 1618162 h 3690338"/>
                <a:gd name="connsiteX12893" fmla="*/ 1969493 w 4878487"/>
                <a:gd name="connsiteY12893" fmla="*/ 1617769 h 3690338"/>
                <a:gd name="connsiteX12894" fmla="*/ 1969493 w 4878487"/>
                <a:gd name="connsiteY12894" fmla="*/ 1616982 h 3690338"/>
                <a:gd name="connsiteX12895" fmla="*/ 1969887 w 4878487"/>
                <a:gd name="connsiteY12895" fmla="*/ 1615015 h 3690338"/>
                <a:gd name="connsiteX12896" fmla="*/ 1969493 w 4878487"/>
                <a:gd name="connsiteY12896" fmla="*/ 1614622 h 3690338"/>
                <a:gd name="connsiteX12897" fmla="*/ 1969099 w 4878487"/>
                <a:gd name="connsiteY12897" fmla="*/ 1614228 h 3690338"/>
                <a:gd name="connsiteX12898" fmla="*/ 1969493 w 4878487"/>
                <a:gd name="connsiteY12898" fmla="*/ 1611868 h 3690338"/>
                <a:gd name="connsiteX12899" fmla="*/ 1970673 w 4878487"/>
                <a:gd name="connsiteY12899" fmla="*/ 1614228 h 3690338"/>
                <a:gd name="connsiteX12900" fmla="*/ 1971460 w 4878487"/>
                <a:gd name="connsiteY12900" fmla="*/ 1613835 h 3690338"/>
                <a:gd name="connsiteX12901" fmla="*/ 1971854 w 4878487"/>
                <a:gd name="connsiteY12901" fmla="*/ 1613835 h 3690338"/>
                <a:gd name="connsiteX12902" fmla="*/ 1974214 w 4878487"/>
                <a:gd name="connsiteY12902" fmla="*/ 1615409 h 3690338"/>
                <a:gd name="connsiteX12903" fmla="*/ 1971854 w 4878487"/>
                <a:gd name="connsiteY12903" fmla="*/ 1613048 h 3690338"/>
                <a:gd name="connsiteX12904" fmla="*/ 1969493 w 4878487"/>
                <a:gd name="connsiteY12904" fmla="*/ 1610294 h 3690338"/>
                <a:gd name="connsiteX12905" fmla="*/ 1969099 w 4878487"/>
                <a:gd name="connsiteY12905" fmla="*/ 1609901 h 3690338"/>
                <a:gd name="connsiteX12906" fmla="*/ 1968706 w 4878487"/>
                <a:gd name="connsiteY12906" fmla="*/ 1609507 h 3690338"/>
                <a:gd name="connsiteX12907" fmla="*/ 1968313 w 4878487"/>
                <a:gd name="connsiteY12907" fmla="*/ 1608720 h 3690338"/>
                <a:gd name="connsiteX12908" fmla="*/ 1967526 w 4878487"/>
                <a:gd name="connsiteY12908" fmla="*/ 1608327 h 3690338"/>
                <a:gd name="connsiteX12909" fmla="*/ 1965952 w 4878487"/>
                <a:gd name="connsiteY12909" fmla="*/ 1607933 h 3690338"/>
                <a:gd name="connsiteX12910" fmla="*/ 1965558 w 4878487"/>
                <a:gd name="connsiteY12910" fmla="*/ 1607933 h 3690338"/>
                <a:gd name="connsiteX12911" fmla="*/ 1962805 w 4878487"/>
                <a:gd name="connsiteY12911" fmla="*/ 1606360 h 3690338"/>
                <a:gd name="connsiteX12912" fmla="*/ 1962018 w 4878487"/>
                <a:gd name="connsiteY12912" fmla="*/ 1605966 h 3690338"/>
                <a:gd name="connsiteX12913" fmla="*/ 1959264 w 4878487"/>
                <a:gd name="connsiteY12913" fmla="*/ 1603212 h 3690338"/>
                <a:gd name="connsiteX12914" fmla="*/ 1958870 w 4878487"/>
                <a:gd name="connsiteY12914" fmla="*/ 1603212 h 3690338"/>
                <a:gd name="connsiteX12915" fmla="*/ 1958870 w 4878487"/>
                <a:gd name="connsiteY12915" fmla="*/ 1602819 h 3690338"/>
                <a:gd name="connsiteX12916" fmla="*/ 1957297 w 4878487"/>
                <a:gd name="connsiteY12916" fmla="*/ 1601245 h 3690338"/>
                <a:gd name="connsiteX12917" fmla="*/ 1957297 w 4878487"/>
                <a:gd name="connsiteY12917" fmla="*/ 1601245 h 3690338"/>
                <a:gd name="connsiteX12918" fmla="*/ 1956117 w 4878487"/>
                <a:gd name="connsiteY12918" fmla="*/ 1597311 h 3690338"/>
                <a:gd name="connsiteX12919" fmla="*/ 1955723 w 4878487"/>
                <a:gd name="connsiteY12919" fmla="*/ 1598491 h 3690338"/>
                <a:gd name="connsiteX12920" fmla="*/ 1955723 w 4878487"/>
                <a:gd name="connsiteY12920" fmla="*/ 1598491 h 3690338"/>
                <a:gd name="connsiteX12921" fmla="*/ 1956117 w 4878487"/>
                <a:gd name="connsiteY12921" fmla="*/ 1596917 h 3690338"/>
                <a:gd name="connsiteX12922" fmla="*/ 1954936 w 4878487"/>
                <a:gd name="connsiteY12922" fmla="*/ 1599278 h 3690338"/>
                <a:gd name="connsiteX12923" fmla="*/ 1954543 w 4878487"/>
                <a:gd name="connsiteY12923" fmla="*/ 1599278 h 3690338"/>
                <a:gd name="connsiteX12924" fmla="*/ 1952576 w 4878487"/>
                <a:gd name="connsiteY12924" fmla="*/ 1598885 h 3690338"/>
                <a:gd name="connsiteX12925" fmla="*/ 1951002 w 4878487"/>
                <a:gd name="connsiteY12925" fmla="*/ 1598491 h 3690338"/>
                <a:gd name="connsiteX12926" fmla="*/ 1951395 w 4878487"/>
                <a:gd name="connsiteY12926" fmla="*/ 1596524 h 3690338"/>
                <a:gd name="connsiteX12927" fmla="*/ 1951395 w 4878487"/>
                <a:gd name="connsiteY12927" fmla="*/ 1596524 h 3690338"/>
                <a:gd name="connsiteX12928" fmla="*/ 1951395 w 4878487"/>
                <a:gd name="connsiteY12928" fmla="*/ 1596524 h 3690338"/>
                <a:gd name="connsiteX12929" fmla="*/ 1951395 w 4878487"/>
                <a:gd name="connsiteY12929" fmla="*/ 1596524 h 3690338"/>
                <a:gd name="connsiteX12930" fmla="*/ 1950609 w 4878487"/>
                <a:gd name="connsiteY12930" fmla="*/ 1596131 h 3690338"/>
                <a:gd name="connsiteX12931" fmla="*/ 1948641 w 4878487"/>
                <a:gd name="connsiteY12931" fmla="*/ 1594950 h 3690338"/>
                <a:gd name="connsiteX12932" fmla="*/ 1948641 w 4878487"/>
                <a:gd name="connsiteY12932" fmla="*/ 1594557 h 3690338"/>
                <a:gd name="connsiteX12933" fmla="*/ 1947854 w 4878487"/>
                <a:gd name="connsiteY12933" fmla="*/ 1591803 h 3690338"/>
                <a:gd name="connsiteX12934" fmla="*/ 1945101 w 4878487"/>
                <a:gd name="connsiteY12934" fmla="*/ 1590229 h 3690338"/>
                <a:gd name="connsiteX12935" fmla="*/ 1947461 w 4878487"/>
                <a:gd name="connsiteY12935" fmla="*/ 1587082 h 3690338"/>
                <a:gd name="connsiteX12936" fmla="*/ 1947461 w 4878487"/>
                <a:gd name="connsiteY12936" fmla="*/ 1587082 h 3690338"/>
                <a:gd name="connsiteX12937" fmla="*/ 1947461 w 4878487"/>
                <a:gd name="connsiteY12937" fmla="*/ 1587082 h 3690338"/>
                <a:gd name="connsiteX12938" fmla="*/ 1944707 w 4878487"/>
                <a:gd name="connsiteY12938" fmla="*/ 1584721 h 3690338"/>
                <a:gd name="connsiteX12939" fmla="*/ 1941560 w 4878487"/>
                <a:gd name="connsiteY12939" fmla="*/ 1585115 h 3690338"/>
                <a:gd name="connsiteX12940" fmla="*/ 1940380 w 4878487"/>
                <a:gd name="connsiteY12940" fmla="*/ 1585508 h 3690338"/>
                <a:gd name="connsiteX12941" fmla="*/ 1939986 w 4878487"/>
                <a:gd name="connsiteY12941" fmla="*/ 1585115 h 3690338"/>
                <a:gd name="connsiteX12942" fmla="*/ 1939199 w 4878487"/>
                <a:gd name="connsiteY12942" fmla="*/ 1584328 h 3690338"/>
                <a:gd name="connsiteX12943" fmla="*/ 1937625 w 4878487"/>
                <a:gd name="connsiteY12943" fmla="*/ 1582754 h 3690338"/>
                <a:gd name="connsiteX12944" fmla="*/ 1934872 w 4878487"/>
                <a:gd name="connsiteY12944" fmla="*/ 1582754 h 3690338"/>
                <a:gd name="connsiteX12945" fmla="*/ 1934084 w 4878487"/>
                <a:gd name="connsiteY12945" fmla="*/ 1583148 h 3690338"/>
                <a:gd name="connsiteX12946" fmla="*/ 1933691 w 4878487"/>
                <a:gd name="connsiteY12946" fmla="*/ 1583148 h 3690338"/>
                <a:gd name="connsiteX12947" fmla="*/ 1932904 w 4878487"/>
                <a:gd name="connsiteY12947" fmla="*/ 1582754 h 3690338"/>
                <a:gd name="connsiteX12948" fmla="*/ 1933298 w 4878487"/>
                <a:gd name="connsiteY12948" fmla="*/ 1582361 h 3690338"/>
                <a:gd name="connsiteX12949" fmla="*/ 1933298 w 4878487"/>
                <a:gd name="connsiteY12949" fmla="*/ 1582361 h 3690338"/>
                <a:gd name="connsiteX12950" fmla="*/ 1933298 w 4878487"/>
                <a:gd name="connsiteY12950" fmla="*/ 1582361 h 3690338"/>
                <a:gd name="connsiteX12951" fmla="*/ 1933298 w 4878487"/>
                <a:gd name="connsiteY12951" fmla="*/ 1582361 h 3690338"/>
                <a:gd name="connsiteX12952" fmla="*/ 1932511 w 4878487"/>
                <a:gd name="connsiteY12952" fmla="*/ 1579607 h 3690338"/>
                <a:gd name="connsiteX12953" fmla="*/ 1930937 w 4878487"/>
                <a:gd name="connsiteY12953" fmla="*/ 1579213 h 3690338"/>
                <a:gd name="connsiteX12954" fmla="*/ 1930544 w 4878487"/>
                <a:gd name="connsiteY12954" fmla="*/ 1579607 h 3690338"/>
                <a:gd name="connsiteX12955" fmla="*/ 1930150 w 4878487"/>
                <a:gd name="connsiteY12955" fmla="*/ 1579213 h 3690338"/>
                <a:gd name="connsiteX12956" fmla="*/ 1930544 w 4878487"/>
                <a:gd name="connsiteY12956" fmla="*/ 1578820 h 3690338"/>
                <a:gd name="connsiteX12957" fmla="*/ 1930937 w 4878487"/>
                <a:gd name="connsiteY12957" fmla="*/ 1576066 h 3690338"/>
                <a:gd name="connsiteX12958" fmla="*/ 1932117 w 4878487"/>
                <a:gd name="connsiteY12958" fmla="*/ 1576459 h 3690338"/>
                <a:gd name="connsiteX12959" fmla="*/ 1932904 w 4878487"/>
                <a:gd name="connsiteY12959" fmla="*/ 1578427 h 3690338"/>
                <a:gd name="connsiteX12960" fmla="*/ 1932904 w 4878487"/>
                <a:gd name="connsiteY12960" fmla="*/ 1578820 h 3690338"/>
                <a:gd name="connsiteX12961" fmla="*/ 1932904 w 4878487"/>
                <a:gd name="connsiteY12961" fmla="*/ 1578427 h 3690338"/>
                <a:gd name="connsiteX12962" fmla="*/ 1932904 w 4878487"/>
                <a:gd name="connsiteY12962" fmla="*/ 1578427 h 3690338"/>
                <a:gd name="connsiteX12963" fmla="*/ 1932904 w 4878487"/>
                <a:gd name="connsiteY12963" fmla="*/ 1576853 h 3690338"/>
                <a:gd name="connsiteX12964" fmla="*/ 1932904 w 4878487"/>
                <a:gd name="connsiteY12964" fmla="*/ 1575672 h 3690338"/>
                <a:gd name="connsiteX12965" fmla="*/ 1932904 w 4878487"/>
                <a:gd name="connsiteY12965" fmla="*/ 1575672 h 3690338"/>
                <a:gd name="connsiteX12966" fmla="*/ 1932904 w 4878487"/>
                <a:gd name="connsiteY12966" fmla="*/ 1575672 h 3690338"/>
                <a:gd name="connsiteX12967" fmla="*/ 1932511 w 4878487"/>
                <a:gd name="connsiteY12967" fmla="*/ 1575279 h 3690338"/>
                <a:gd name="connsiteX12968" fmla="*/ 1929757 w 4878487"/>
                <a:gd name="connsiteY12968" fmla="*/ 1572525 h 3690338"/>
                <a:gd name="connsiteX12969" fmla="*/ 1929363 w 4878487"/>
                <a:gd name="connsiteY12969" fmla="*/ 1572132 h 3690338"/>
                <a:gd name="connsiteX12970" fmla="*/ 1928970 w 4878487"/>
                <a:gd name="connsiteY12970" fmla="*/ 1569771 h 3690338"/>
                <a:gd name="connsiteX12971" fmla="*/ 1928183 w 4878487"/>
                <a:gd name="connsiteY12971" fmla="*/ 1569378 h 3690338"/>
                <a:gd name="connsiteX12972" fmla="*/ 1927790 w 4878487"/>
                <a:gd name="connsiteY12972" fmla="*/ 1569378 h 3690338"/>
                <a:gd name="connsiteX12973" fmla="*/ 1923855 w 4878487"/>
                <a:gd name="connsiteY12973" fmla="*/ 1562689 h 3690338"/>
                <a:gd name="connsiteX12974" fmla="*/ 1923855 w 4878487"/>
                <a:gd name="connsiteY12974" fmla="*/ 1562296 h 3690338"/>
                <a:gd name="connsiteX12975" fmla="*/ 1923855 w 4878487"/>
                <a:gd name="connsiteY12975" fmla="*/ 1561903 h 3690338"/>
                <a:gd name="connsiteX12976" fmla="*/ 1921495 w 4878487"/>
                <a:gd name="connsiteY12976" fmla="*/ 1556395 h 3690338"/>
                <a:gd name="connsiteX12977" fmla="*/ 1921495 w 4878487"/>
                <a:gd name="connsiteY12977" fmla="*/ 1556001 h 3690338"/>
                <a:gd name="connsiteX12978" fmla="*/ 1920314 w 4878487"/>
                <a:gd name="connsiteY12978" fmla="*/ 1553247 h 3690338"/>
                <a:gd name="connsiteX12979" fmla="*/ 1917561 w 4878487"/>
                <a:gd name="connsiteY12979" fmla="*/ 1551280 h 3690338"/>
                <a:gd name="connsiteX12980" fmla="*/ 1917561 w 4878487"/>
                <a:gd name="connsiteY12980" fmla="*/ 1551280 h 3690338"/>
                <a:gd name="connsiteX12981" fmla="*/ 1916774 w 4878487"/>
                <a:gd name="connsiteY12981" fmla="*/ 1548526 h 3690338"/>
                <a:gd name="connsiteX12982" fmla="*/ 1915987 w 4878487"/>
                <a:gd name="connsiteY12982" fmla="*/ 1545379 h 3690338"/>
                <a:gd name="connsiteX12983" fmla="*/ 1913626 w 4878487"/>
                <a:gd name="connsiteY12983" fmla="*/ 1543018 h 3690338"/>
                <a:gd name="connsiteX12984" fmla="*/ 1912446 w 4878487"/>
                <a:gd name="connsiteY12984" fmla="*/ 1540264 h 3690338"/>
                <a:gd name="connsiteX12985" fmla="*/ 1907725 w 4878487"/>
                <a:gd name="connsiteY12985" fmla="*/ 1534756 h 3690338"/>
                <a:gd name="connsiteX12986" fmla="*/ 1907332 w 4878487"/>
                <a:gd name="connsiteY12986" fmla="*/ 1533969 h 3690338"/>
                <a:gd name="connsiteX12987" fmla="*/ 1907332 w 4878487"/>
                <a:gd name="connsiteY12987" fmla="*/ 1533182 h 3690338"/>
                <a:gd name="connsiteX12988" fmla="*/ 1906545 w 4878487"/>
                <a:gd name="connsiteY12988" fmla="*/ 1531609 h 3690338"/>
                <a:gd name="connsiteX12989" fmla="*/ 1905365 w 4878487"/>
                <a:gd name="connsiteY12989" fmla="*/ 1514691 h 3690338"/>
                <a:gd name="connsiteX12990" fmla="*/ 1903791 w 4878487"/>
                <a:gd name="connsiteY12990" fmla="*/ 1511544 h 3690338"/>
                <a:gd name="connsiteX12991" fmla="*/ 1903791 w 4878487"/>
                <a:gd name="connsiteY12991" fmla="*/ 1511544 h 3690338"/>
                <a:gd name="connsiteX12992" fmla="*/ 1899856 w 4878487"/>
                <a:gd name="connsiteY12992" fmla="*/ 1504462 h 3690338"/>
                <a:gd name="connsiteX12993" fmla="*/ 1899856 w 4878487"/>
                <a:gd name="connsiteY12993" fmla="*/ 1506036 h 3690338"/>
                <a:gd name="connsiteX12994" fmla="*/ 1899070 w 4878487"/>
                <a:gd name="connsiteY12994" fmla="*/ 1502889 h 3690338"/>
                <a:gd name="connsiteX12995" fmla="*/ 1898676 w 4878487"/>
                <a:gd name="connsiteY12995" fmla="*/ 1501708 h 3690338"/>
                <a:gd name="connsiteX12996" fmla="*/ 1898283 w 4878487"/>
                <a:gd name="connsiteY12996" fmla="*/ 1501315 h 3690338"/>
                <a:gd name="connsiteX12997" fmla="*/ 1898283 w 4878487"/>
                <a:gd name="connsiteY12997" fmla="*/ 1500921 h 3690338"/>
                <a:gd name="connsiteX12998" fmla="*/ 1897889 w 4878487"/>
                <a:gd name="connsiteY12998" fmla="*/ 1498561 h 3690338"/>
                <a:gd name="connsiteX12999" fmla="*/ 1899070 w 4878487"/>
                <a:gd name="connsiteY12999" fmla="*/ 1501315 h 3690338"/>
                <a:gd name="connsiteX13000" fmla="*/ 1901824 w 4878487"/>
                <a:gd name="connsiteY13000" fmla="*/ 1500528 h 3690338"/>
                <a:gd name="connsiteX13001" fmla="*/ 1904184 w 4878487"/>
                <a:gd name="connsiteY13001" fmla="*/ 1500921 h 3690338"/>
                <a:gd name="connsiteX13002" fmla="*/ 1907725 w 4878487"/>
                <a:gd name="connsiteY13002" fmla="*/ 1502102 h 3690338"/>
                <a:gd name="connsiteX13003" fmla="*/ 1910479 w 4878487"/>
                <a:gd name="connsiteY13003" fmla="*/ 1503676 h 3690338"/>
                <a:gd name="connsiteX13004" fmla="*/ 1913626 w 4878487"/>
                <a:gd name="connsiteY13004" fmla="*/ 1504462 h 3690338"/>
                <a:gd name="connsiteX13005" fmla="*/ 1914020 w 4878487"/>
                <a:gd name="connsiteY13005" fmla="*/ 1504462 h 3690338"/>
                <a:gd name="connsiteX13006" fmla="*/ 1916380 w 4878487"/>
                <a:gd name="connsiteY13006" fmla="*/ 1504462 h 3690338"/>
                <a:gd name="connsiteX13007" fmla="*/ 1916380 w 4878487"/>
                <a:gd name="connsiteY13007" fmla="*/ 1504069 h 3690338"/>
                <a:gd name="connsiteX13008" fmla="*/ 1916774 w 4878487"/>
                <a:gd name="connsiteY13008" fmla="*/ 1504069 h 3690338"/>
                <a:gd name="connsiteX13009" fmla="*/ 1915987 w 4878487"/>
                <a:gd name="connsiteY13009" fmla="*/ 1503676 h 3690338"/>
                <a:gd name="connsiteX13010" fmla="*/ 1915987 w 4878487"/>
                <a:gd name="connsiteY13010" fmla="*/ 1503282 h 3690338"/>
                <a:gd name="connsiteX13011" fmla="*/ 1916380 w 4878487"/>
                <a:gd name="connsiteY13011" fmla="*/ 1503282 h 3690338"/>
                <a:gd name="connsiteX13012" fmla="*/ 1917954 w 4878487"/>
                <a:gd name="connsiteY13012" fmla="*/ 1503676 h 3690338"/>
                <a:gd name="connsiteX13013" fmla="*/ 1919528 w 4878487"/>
                <a:gd name="connsiteY13013" fmla="*/ 1502102 h 3690338"/>
                <a:gd name="connsiteX13014" fmla="*/ 1919134 w 4878487"/>
                <a:gd name="connsiteY13014" fmla="*/ 1500528 h 3690338"/>
                <a:gd name="connsiteX13015" fmla="*/ 1921495 w 4878487"/>
                <a:gd name="connsiteY13015" fmla="*/ 1501315 h 3690338"/>
                <a:gd name="connsiteX13016" fmla="*/ 1926216 w 4878487"/>
                <a:gd name="connsiteY13016" fmla="*/ 1501315 h 3690338"/>
                <a:gd name="connsiteX13017" fmla="*/ 1927003 w 4878487"/>
                <a:gd name="connsiteY13017" fmla="*/ 1498561 h 3690338"/>
                <a:gd name="connsiteX13018" fmla="*/ 1927003 w 4878487"/>
                <a:gd name="connsiteY13018" fmla="*/ 1495807 h 3690338"/>
                <a:gd name="connsiteX13019" fmla="*/ 1925036 w 4878487"/>
                <a:gd name="connsiteY13019" fmla="*/ 1493053 h 3690338"/>
                <a:gd name="connsiteX13020" fmla="*/ 1924249 w 4878487"/>
                <a:gd name="connsiteY13020" fmla="*/ 1491479 h 3690338"/>
                <a:gd name="connsiteX13021" fmla="*/ 1925429 w 4878487"/>
                <a:gd name="connsiteY13021" fmla="*/ 1488725 h 3690338"/>
                <a:gd name="connsiteX13022" fmla="*/ 1928183 w 4878487"/>
                <a:gd name="connsiteY13022" fmla="*/ 1488332 h 3690338"/>
                <a:gd name="connsiteX13023" fmla="*/ 1925823 w 4878487"/>
                <a:gd name="connsiteY13023" fmla="*/ 1485971 h 3690338"/>
                <a:gd name="connsiteX13024" fmla="*/ 1929363 w 4878487"/>
                <a:gd name="connsiteY13024" fmla="*/ 1485184 h 3690338"/>
                <a:gd name="connsiteX13025" fmla="*/ 1930150 w 4878487"/>
                <a:gd name="connsiteY13025" fmla="*/ 1485184 h 3690338"/>
                <a:gd name="connsiteX13026" fmla="*/ 1934084 w 4878487"/>
                <a:gd name="connsiteY13026" fmla="*/ 1489119 h 3690338"/>
                <a:gd name="connsiteX13027" fmla="*/ 1932117 w 4878487"/>
                <a:gd name="connsiteY13027" fmla="*/ 1489512 h 3690338"/>
                <a:gd name="connsiteX13028" fmla="*/ 1929363 w 4878487"/>
                <a:gd name="connsiteY13028" fmla="*/ 1489119 h 3690338"/>
                <a:gd name="connsiteX13029" fmla="*/ 1926216 w 4878487"/>
                <a:gd name="connsiteY13029" fmla="*/ 1489119 h 3690338"/>
                <a:gd name="connsiteX13030" fmla="*/ 1928577 w 4878487"/>
                <a:gd name="connsiteY13030" fmla="*/ 1491873 h 3690338"/>
                <a:gd name="connsiteX13031" fmla="*/ 1931724 w 4878487"/>
                <a:gd name="connsiteY13031" fmla="*/ 1493840 h 3690338"/>
                <a:gd name="connsiteX13032" fmla="*/ 1934478 w 4878487"/>
                <a:gd name="connsiteY13032" fmla="*/ 1494233 h 3690338"/>
                <a:gd name="connsiteX13033" fmla="*/ 1936052 w 4878487"/>
                <a:gd name="connsiteY13033" fmla="*/ 1496987 h 3690338"/>
                <a:gd name="connsiteX13034" fmla="*/ 1938806 w 4878487"/>
                <a:gd name="connsiteY13034" fmla="*/ 1496594 h 3690338"/>
                <a:gd name="connsiteX13035" fmla="*/ 1941560 w 4878487"/>
                <a:gd name="connsiteY13035" fmla="*/ 1496594 h 3690338"/>
                <a:gd name="connsiteX13036" fmla="*/ 1943920 w 4878487"/>
                <a:gd name="connsiteY13036" fmla="*/ 1498954 h 3690338"/>
                <a:gd name="connsiteX13037" fmla="*/ 1943920 w 4878487"/>
                <a:gd name="connsiteY13037" fmla="*/ 1499741 h 3690338"/>
                <a:gd name="connsiteX13038" fmla="*/ 1946674 w 4878487"/>
                <a:gd name="connsiteY13038" fmla="*/ 1501708 h 3690338"/>
                <a:gd name="connsiteX13039" fmla="*/ 1952182 w 4878487"/>
                <a:gd name="connsiteY13039" fmla="*/ 1496987 h 3690338"/>
                <a:gd name="connsiteX13040" fmla="*/ 1954150 w 4878487"/>
                <a:gd name="connsiteY13040" fmla="*/ 1495807 h 3690338"/>
                <a:gd name="connsiteX13041" fmla="*/ 1957297 w 4878487"/>
                <a:gd name="connsiteY13041" fmla="*/ 1494627 h 3690338"/>
                <a:gd name="connsiteX13042" fmla="*/ 1958477 w 4878487"/>
                <a:gd name="connsiteY13042" fmla="*/ 1495020 h 3690338"/>
                <a:gd name="connsiteX13043" fmla="*/ 1962018 w 4878487"/>
                <a:gd name="connsiteY13043" fmla="*/ 1502102 h 3690338"/>
                <a:gd name="connsiteX13044" fmla="*/ 1963198 w 4878487"/>
                <a:gd name="connsiteY13044" fmla="*/ 1505249 h 3690338"/>
                <a:gd name="connsiteX13045" fmla="*/ 1965952 w 4878487"/>
                <a:gd name="connsiteY13045" fmla="*/ 1507610 h 3690338"/>
                <a:gd name="connsiteX13046" fmla="*/ 1966346 w 4878487"/>
                <a:gd name="connsiteY13046" fmla="*/ 1508003 h 3690338"/>
                <a:gd name="connsiteX13047" fmla="*/ 1966346 w 4878487"/>
                <a:gd name="connsiteY13047" fmla="*/ 1508397 h 3690338"/>
                <a:gd name="connsiteX13048" fmla="*/ 1968706 w 4878487"/>
                <a:gd name="connsiteY13048" fmla="*/ 1511151 h 3690338"/>
                <a:gd name="connsiteX13049" fmla="*/ 1971067 w 4878487"/>
                <a:gd name="connsiteY13049" fmla="*/ 1513904 h 3690338"/>
                <a:gd name="connsiteX13050" fmla="*/ 1973034 w 4878487"/>
                <a:gd name="connsiteY13050" fmla="*/ 1514691 h 3690338"/>
                <a:gd name="connsiteX13051" fmla="*/ 1973427 w 4878487"/>
                <a:gd name="connsiteY13051" fmla="*/ 1515478 h 3690338"/>
                <a:gd name="connsiteX13052" fmla="*/ 1979328 w 4878487"/>
                <a:gd name="connsiteY13052" fmla="*/ 1530428 h 3690338"/>
                <a:gd name="connsiteX13053" fmla="*/ 1994672 w 4878487"/>
                <a:gd name="connsiteY13053" fmla="*/ 1553247 h 3690338"/>
                <a:gd name="connsiteX13054" fmla="*/ 2001361 w 4878487"/>
                <a:gd name="connsiteY13054" fmla="*/ 1565050 h 3690338"/>
                <a:gd name="connsiteX13055" fmla="*/ 2001754 w 4878487"/>
                <a:gd name="connsiteY13055" fmla="*/ 1566624 h 3690338"/>
                <a:gd name="connsiteX13056" fmla="*/ 2004508 w 4878487"/>
                <a:gd name="connsiteY13056" fmla="*/ 1568984 h 3690338"/>
                <a:gd name="connsiteX13057" fmla="*/ 2006082 w 4878487"/>
                <a:gd name="connsiteY13057" fmla="*/ 1572132 h 3690338"/>
                <a:gd name="connsiteX13058" fmla="*/ 2009229 w 4878487"/>
                <a:gd name="connsiteY13058" fmla="*/ 1573312 h 3690338"/>
                <a:gd name="connsiteX13059" fmla="*/ 2011983 w 4878487"/>
                <a:gd name="connsiteY13059" fmla="*/ 1575672 h 3690338"/>
                <a:gd name="connsiteX13060" fmla="*/ 2014737 w 4878487"/>
                <a:gd name="connsiteY13060" fmla="*/ 1576066 h 3690338"/>
                <a:gd name="connsiteX13061" fmla="*/ 2017884 w 4878487"/>
                <a:gd name="connsiteY13061" fmla="*/ 1575672 h 3690338"/>
                <a:gd name="connsiteX13062" fmla="*/ 2042670 w 4878487"/>
                <a:gd name="connsiteY13062" fmla="*/ 1591803 h 3690338"/>
                <a:gd name="connsiteX13063" fmla="*/ 2042670 w 4878487"/>
                <a:gd name="connsiteY13063" fmla="*/ 1592196 h 3690338"/>
                <a:gd name="connsiteX13064" fmla="*/ 2045424 w 4878487"/>
                <a:gd name="connsiteY13064" fmla="*/ 1593770 h 3690338"/>
                <a:gd name="connsiteX13065" fmla="*/ 2045818 w 4878487"/>
                <a:gd name="connsiteY13065" fmla="*/ 1594164 h 3690338"/>
                <a:gd name="connsiteX13066" fmla="*/ 2048572 w 4878487"/>
                <a:gd name="connsiteY13066" fmla="*/ 1596131 h 3690338"/>
                <a:gd name="connsiteX13067" fmla="*/ 2051719 w 4878487"/>
                <a:gd name="connsiteY13067" fmla="*/ 1597704 h 3690338"/>
                <a:gd name="connsiteX13068" fmla="*/ 2057227 w 4878487"/>
                <a:gd name="connsiteY13068" fmla="*/ 1601639 h 3690338"/>
                <a:gd name="connsiteX13069" fmla="*/ 2060375 w 4878487"/>
                <a:gd name="connsiteY13069" fmla="*/ 1602425 h 3690338"/>
                <a:gd name="connsiteX13070" fmla="*/ 2063128 w 4878487"/>
                <a:gd name="connsiteY13070" fmla="*/ 1603606 h 3690338"/>
                <a:gd name="connsiteX13071" fmla="*/ 2065882 w 4878487"/>
                <a:gd name="connsiteY13071" fmla="*/ 1604786 h 3690338"/>
                <a:gd name="connsiteX13072" fmla="*/ 2068637 w 4878487"/>
                <a:gd name="connsiteY13072" fmla="*/ 1605966 h 3690338"/>
                <a:gd name="connsiteX13073" fmla="*/ 2069423 w 4878487"/>
                <a:gd name="connsiteY13073" fmla="*/ 1607540 h 3690338"/>
                <a:gd name="connsiteX13074" fmla="*/ 2070997 w 4878487"/>
                <a:gd name="connsiteY13074" fmla="*/ 1610687 h 3690338"/>
                <a:gd name="connsiteX13075" fmla="*/ 2073751 w 4878487"/>
                <a:gd name="connsiteY13075" fmla="*/ 1613048 h 3690338"/>
                <a:gd name="connsiteX13076" fmla="*/ 2076898 w 4878487"/>
                <a:gd name="connsiteY13076" fmla="*/ 1615409 h 3690338"/>
                <a:gd name="connsiteX13077" fmla="*/ 2080046 w 4878487"/>
                <a:gd name="connsiteY13077" fmla="*/ 1615409 h 3690338"/>
                <a:gd name="connsiteX13078" fmla="*/ 2082800 w 4878487"/>
                <a:gd name="connsiteY13078" fmla="*/ 1615015 h 3690338"/>
                <a:gd name="connsiteX13079" fmla="*/ 2085947 w 4878487"/>
                <a:gd name="connsiteY13079" fmla="*/ 1613835 h 3690338"/>
                <a:gd name="connsiteX13080" fmla="*/ 2088701 w 4878487"/>
                <a:gd name="connsiteY13080" fmla="*/ 1615015 h 3690338"/>
                <a:gd name="connsiteX13081" fmla="*/ 2091849 w 4878487"/>
                <a:gd name="connsiteY13081" fmla="*/ 1615015 h 3690338"/>
                <a:gd name="connsiteX13082" fmla="*/ 2094996 w 4878487"/>
                <a:gd name="connsiteY13082" fmla="*/ 1615409 h 3690338"/>
                <a:gd name="connsiteX13083" fmla="*/ 2096570 w 4878487"/>
                <a:gd name="connsiteY13083" fmla="*/ 1618556 h 3690338"/>
                <a:gd name="connsiteX13084" fmla="*/ 2099717 w 4878487"/>
                <a:gd name="connsiteY13084" fmla="*/ 1618949 h 3690338"/>
                <a:gd name="connsiteX13085" fmla="*/ 2102471 w 4878487"/>
                <a:gd name="connsiteY13085" fmla="*/ 1619736 h 3690338"/>
                <a:gd name="connsiteX13086" fmla="*/ 2105225 w 4878487"/>
                <a:gd name="connsiteY13086" fmla="*/ 1621703 h 3690338"/>
                <a:gd name="connsiteX13087" fmla="*/ 2108373 w 4878487"/>
                <a:gd name="connsiteY13087" fmla="*/ 1622097 h 3690338"/>
                <a:gd name="connsiteX13088" fmla="*/ 2111520 w 4878487"/>
                <a:gd name="connsiteY13088" fmla="*/ 1620523 h 3690338"/>
                <a:gd name="connsiteX13089" fmla="*/ 2114274 w 4878487"/>
                <a:gd name="connsiteY13089" fmla="*/ 1617769 h 3690338"/>
                <a:gd name="connsiteX13090" fmla="*/ 2114667 w 4878487"/>
                <a:gd name="connsiteY13090" fmla="*/ 1617769 h 3690338"/>
                <a:gd name="connsiteX13091" fmla="*/ 2114667 w 4878487"/>
                <a:gd name="connsiteY13091" fmla="*/ 1617769 h 3690338"/>
                <a:gd name="connsiteX13092" fmla="*/ 2126863 w 4878487"/>
                <a:gd name="connsiteY13092" fmla="*/ 1613441 h 3690338"/>
                <a:gd name="connsiteX13093" fmla="*/ 2128437 w 4878487"/>
                <a:gd name="connsiteY13093" fmla="*/ 1613048 h 3690338"/>
                <a:gd name="connsiteX13094" fmla="*/ 2131191 w 4878487"/>
                <a:gd name="connsiteY13094" fmla="*/ 1611474 h 3690338"/>
                <a:gd name="connsiteX13095" fmla="*/ 2129618 w 4878487"/>
                <a:gd name="connsiteY13095" fmla="*/ 1608720 h 3690338"/>
                <a:gd name="connsiteX13096" fmla="*/ 2135519 w 4878487"/>
                <a:gd name="connsiteY13096" fmla="*/ 1605179 h 3690338"/>
                <a:gd name="connsiteX13097" fmla="*/ 2137093 w 4878487"/>
                <a:gd name="connsiteY13097" fmla="*/ 1604786 h 3690338"/>
                <a:gd name="connsiteX13098" fmla="*/ 2165026 w 4878487"/>
                <a:gd name="connsiteY13098" fmla="*/ 1600065 h 3690338"/>
                <a:gd name="connsiteX13099" fmla="*/ 2166206 w 4878487"/>
                <a:gd name="connsiteY13099" fmla="*/ 1602032 h 3690338"/>
                <a:gd name="connsiteX13100" fmla="*/ 2167387 w 4878487"/>
                <a:gd name="connsiteY13100" fmla="*/ 1604786 h 3690338"/>
                <a:gd name="connsiteX13101" fmla="*/ 2168173 w 4878487"/>
                <a:gd name="connsiteY13101" fmla="*/ 1605179 h 3690338"/>
                <a:gd name="connsiteX13102" fmla="*/ 2173681 w 4878487"/>
                <a:gd name="connsiteY13102" fmla="*/ 1613441 h 3690338"/>
                <a:gd name="connsiteX13103" fmla="*/ 2174075 w 4878487"/>
                <a:gd name="connsiteY13103" fmla="*/ 1614622 h 3690338"/>
                <a:gd name="connsiteX13104" fmla="*/ 2174862 w 4878487"/>
                <a:gd name="connsiteY13104" fmla="*/ 1617769 h 3690338"/>
                <a:gd name="connsiteX13105" fmla="*/ 2175255 w 4878487"/>
                <a:gd name="connsiteY13105" fmla="*/ 1620523 h 3690338"/>
                <a:gd name="connsiteX13106" fmla="*/ 2174862 w 4878487"/>
                <a:gd name="connsiteY13106" fmla="*/ 1623671 h 3690338"/>
                <a:gd name="connsiteX13107" fmla="*/ 2176436 w 4878487"/>
                <a:gd name="connsiteY13107" fmla="*/ 1626424 h 3690338"/>
                <a:gd name="connsiteX13108" fmla="*/ 2177222 w 4878487"/>
                <a:gd name="connsiteY13108" fmla="*/ 1629178 h 3690338"/>
                <a:gd name="connsiteX13109" fmla="*/ 2179189 w 4878487"/>
                <a:gd name="connsiteY13109" fmla="*/ 1631932 h 3690338"/>
                <a:gd name="connsiteX13110" fmla="*/ 2178796 w 4878487"/>
                <a:gd name="connsiteY13110" fmla="*/ 1634686 h 3690338"/>
                <a:gd name="connsiteX13111" fmla="*/ 2179583 w 4878487"/>
                <a:gd name="connsiteY13111" fmla="*/ 1637834 h 3690338"/>
                <a:gd name="connsiteX13112" fmla="*/ 2181943 w 4878487"/>
                <a:gd name="connsiteY13112" fmla="*/ 1640588 h 3690338"/>
                <a:gd name="connsiteX13113" fmla="*/ 2183124 w 4878487"/>
                <a:gd name="connsiteY13113" fmla="*/ 1643735 h 3690338"/>
                <a:gd name="connsiteX13114" fmla="*/ 2185877 w 4878487"/>
                <a:gd name="connsiteY13114" fmla="*/ 1646489 h 3690338"/>
                <a:gd name="connsiteX13115" fmla="*/ 2188632 w 4878487"/>
                <a:gd name="connsiteY13115" fmla="*/ 1646883 h 3690338"/>
                <a:gd name="connsiteX13116" fmla="*/ 2191779 w 4878487"/>
                <a:gd name="connsiteY13116" fmla="*/ 1647276 h 3690338"/>
                <a:gd name="connsiteX13117" fmla="*/ 2194533 w 4878487"/>
                <a:gd name="connsiteY13117" fmla="*/ 1646883 h 3690338"/>
                <a:gd name="connsiteX13118" fmla="*/ 2195320 w 4878487"/>
                <a:gd name="connsiteY13118" fmla="*/ 1647276 h 3690338"/>
                <a:gd name="connsiteX13119" fmla="*/ 2197680 w 4878487"/>
                <a:gd name="connsiteY13119" fmla="*/ 1651210 h 3690338"/>
                <a:gd name="connsiteX13120" fmla="*/ 2205155 w 4878487"/>
                <a:gd name="connsiteY13120" fmla="*/ 1651997 h 3690338"/>
                <a:gd name="connsiteX13121" fmla="*/ 2205942 w 4878487"/>
                <a:gd name="connsiteY13121" fmla="*/ 1653178 h 3690338"/>
                <a:gd name="connsiteX13122" fmla="*/ 2209090 w 4878487"/>
                <a:gd name="connsiteY13122" fmla="*/ 1653964 h 3690338"/>
                <a:gd name="connsiteX13123" fmla="*/ 2211844 w 4878487"/>
                <a:gd name="connsiteY13123" fmla="*/ 1653571 h 3690338"/>
                <a:gd name="connsiteX13124" fmla="*/ 2213811 w 4878487"/>
                <a:gd name="connsiteY13124" fmla="*/ 1652784 h 3690338"/>
                <a:gd name="connsiteX13125" fmla="*/ 2217745 w 4878487"/>
                <a:gd name="connsiteY13125" fmla="*/ 1653178 h 3690338"/>
                <a:gd name="connsiteX13126" fmla="*/ 2231121 w 4878487"/>
                <a:gd name="connsiteY13126" fmla="*/ 1655931 h 3690338"/>
                <a:gd name="connsiteX13127" fmla="*/ 2232302 w 4878487"/>
                <a:gd name="connsiteY13127" fmla="*/ 1656718 h 3690338"/>
                <a:gd name="connsiteX13128" fmla="*/ 2235449 w 4878487"/>
                <a:gd name="connsiteY13128" fmla="*/ 1659079 h 3690338"/>
                <a:gd name="connsiteX13129" fmla="*/ 2238203 w 4878487"/>
                <a:gd name="connsiteY13129" fmla="*/ 1659079 h 3690338"/>
                <a:gd name="connsiteX13130" fmla="*/ 2240957 w 4878487"/>
                <a:gd name="connsiteY13130" fmla="*/ 1657899 h 3690338"/>
                <a:gd name="connsiteX13131" fmla="*/ 2251187 w 4878487"/>
                <a:gd name="connsiteY13131" fmla="*/ 1658685 h 3690338"/>
                <a:gd name="connsiteX13132" fmla="*/ 2251580 w 4878487"/>
                <a:gd name="connsiteY13132" fmla="*/ 1659079 h 3690338"/>
                <a:gd name="connsiteX13133" fmla="*/ 2253547 w 4878487"/>
                <a:gd name="connsiteY13133" fmla="*/ 1659079 h 3690338"/>
                <a:gd name="connsiteX13134" fmla="*/ 2258661 w 4878487"/>
                <a:gd name="connsiteY13134" fmla="*/ 1659472 h 3690338"/>
                <a:gd name="connsiteX13135" fmla="*/ 2260628 w 4878487"/>
                <a:gd name="connsiteY13135" fmla="*/ 1661046 h 3690338"/>
                <a:gd name="connsiteX13136" fmla="*/ 2263383 w 4878487"/>
                <a:gd name="connsiteY13136" fmla="*/ 1659866 h 3690338"/>
                <a:gd name="connsiteX13137" fmla="*/ 2263776 w 4878487"/>
                <a:gd name="connsiteY13137" fmla="*/ 1659866 h 3690338"/>
                <a:gd name="connsiteX13138" fmla="*/ 2266924 w 4878487"/>
                <a:gd name="connsiteY13138" fmla="*/ 1661046 h 3690338"/>
                <a:gd name="connsiteX13139" fmla="*/ 2269677 w 4878487"/>
                <a:gd name="connsiteY13139" fmla="*/ 1660259 h 3690338"/>
                <a:gd name="connsiteX13140" fmla="*/ 2272038 w 4878487"/>
                <a:gd name="connsiteY13140" fmla="*/ 1660653 h 3690338"/>
                <a:gd name="connsiteX13141" fmla="*/ 2273612 w 4878487"/>
                <a:gd name="connsiteY13141" fmla="*/ 1661439 h 3690338"/>
                <a:gd name="connsiteX13142" fmla="*/ 2276759 w 4878487"/>
                <a:gd name="connsiteY13142" fmla="*/ 1661439 h 3690338"/>
                <a:gd name="connsiteX13143" fmla="*/ 2281480 w 4878487"/>
                <a:gd name="connsiteY13143" fmla="*/ 1662226 h 3690338"/>
                <a:gd name="connsiteX13144" fmla="*/ 2281874 w 4878487"/>
                <a:gd name="connsiteY13144" fmla="*/ 1663406 h 3690338"/>
                <a:gd name="connsiteX13145" fmla="*/ 2285021 w 4878487"/>
                <a:gd name="connsiteY13145" fmla="*/ 1663800 h 3690338"/>
                <a:gd name="connsiteX13146" fmla="*/ 2287775 w 4878487"/>
                <a:gd name="connsiteY13146" fmla="*/ 1664193 h 3690338"/>
                <a:gd name="connsiteX13147" fmla="*/ 2290529 w 4878487"/>
                <a:gd name="connsiteY13147" fmla="*/ 1664980 h 3690338"/>
                <a:gd name="connsiteX13148" fmla="*/ 2293676 w 4878487"/>
                <a:gd name="connsiteY13148" fmla="*/ 1665374 h 3690338"/>
                <a:gd name="connsiteX13149" fmla="*/ 2296431 w 4878487"/>
                <a:gd name="connsiteY13149" fmla="*/ 1666161 h 3690338"/>
                <a:gd name="connsiteX13150" fmla="*/ 2299578 w 4878487"/>
                <a:gd name="connsiteY13150" fmla="*/ 1667734 h 3690338"/>
                <a:gd name="connsiteX13151" fmla="*/ 2302332 w 4878487"/>
                <a:gd name="connsiteY13151" fmla="*/ 1669308 h 3690338"/>
                <a:gd name="connsiteX13152" fmla="*/ 2305086 w 4878487"/>
                <a:gd name="connsiteY13152" fmla="*/ 1669701 h 3690338"/>
                <a:gd name="connsiteX13153" fmla="*/ 2307840 w 4878487"/>
                <a:gd name="connsiteY13153" fmla="*/ 1668521 h 3690338"/>
                <a:gd name="connsiteX13154" fmla="*/ 2307840 w 4878487"/>
                <a:gd name="connsiteY13154" fmla="*/ 1665374 h 3690338"/>
                <a:gd name="connsiteX13155" fmla="*/ 2310987 w 4878487"/>
                <a:gd name="connsiteY13155" fmla="*/ 1665767 h 3690338"/>
                <a:gd name="connsiteX13156" fmla="*/ 2313348 w 4878487"/>
                <a:gd name="connsiteY13156" fmla="*/ 1666161 h 3690338"/>
                <a:gd name="connsiteX13157" fmla="*/ 2314921 w 4878487"/>
                <a:gd name="connsiteY13157" fmla="*/ 1670488 h 3690338"/>
                <a:gd name="connsiteX13158" fmla="*/ 2317675 w 4878487"/>
                <a:gd name="connsiteY13158" fmla="*/ 1671668 h 3690338"/>
                <a:gd name="connsiteX13159" fmla="*/ 2320036 w 4878487"/>
                <a:gd name="connsiteY13159" fmla="*/ 1669701 h 3690338"/>
                <a:gd name="connsiteX13160" fmla="*/ 2323183 w 4878487"/>
                <a:gd name="connsiteY13160" fmla="*/ 1669308 h 3690338"/>
                <a:gd name="connsiteX13161" fmla="*/ 2323970 w 4878487"/>
                <a:gd name="connsiteY13161" fmla="*/ 1669308 h 3690338"/>
                <a:gd name="connsiteX13162" fmla="*/ 2323970 w 4878487"/>
                <a:gd name="connsiteY13162" fmla="*/ 1668915 h 3690338"/>
                <a:gd name="connsiteX13163" fmla="*/ 2330658 w 4878487"/>
                <a:gd name="connsiteY13163" fmla="*/ 1667734 h 3690338"/>
                <a:gd name="connsiteX13164" fmla="*/ 2330658 w 4878487"/>
                <a:gd name="connsiteY13164" fmla="*/ 1668915 h 3690338"/>
                <a:gd name="connsiteX13165" fmla="*/ 2333412 w 4878487"/>
                <a:gd name="connsiteY13165" fmla="*/ 1669701 h 3690338"/>
                <a:gd name="connsiteX13166" fmla="*/ 2333019 w 4878487"/>
                <a:gd name="connsiteY13166" fmla="*/ 1667341 h 3690338"/>
                <a:gd name="connsiteX13167" fmla="*/ 2346789 w 4878487"/>
                <a:gd name="connsiteY13167" fmla="*/ 1664980 h 3690338"/>
                <a:gd name="connsiteX13168" fmla="*/ 2347576 w 4878487"/>
                <a:gd name="connsiteY13168" fmla="*/ 1664980 h 3690338"/>
                <a:gd name="connsiteX13169" fmla="*/ 2350723 w 4878487"/>
                <a:gd name="connsiteY13169" fmla="*/ 1665374 h 3690338"/>
                <a:gd name="connsiteX13170" fmla="*/ 2353477 w 4878487"/>
                <a:gd name="connsiteY13170" fmla="*/ 1664980 h 3690338"/>
                <a:gd name="connsiteX13171" fmla="*/ 2356625 w 4878487"/>
                <a:gd name="connsiteY13171" fmla="*/ 1664193 h 3690338"/>
                <a:gd name="connsiteX13172" fmla="*/ 2359379 w 4878487"/>
                <a:gd name="connsiteY13172" fmla="*/ 1664980 h 3690338"/>
                <a:gd name="connsiteX13173" fmla="*/ 2362133 w 4878487"/>
                <a:gd name="connsiteY13173" fmla="*/ 1664980 h 3690338"/>
                <a:gd name="connsiteX13174" fmla="*/ 2365280 w 4878487"/>
                <a:gd name="connsiteY13174" fmla="*/ 1666161 h 3690338"/>
                <a:gd name="connsiteX13175" fmla="*/ 2364886 w 4878487"/>
                <a:gd name="connsiteY13175" fmla="*/ 1663406 h 3690338"/>
                <a:gd name="connsiteX13176" fmla="*/ 2366460 w 4878487"/>
                <a:gd name="connsiteY13176" fmla="*/ 1661046 h 3690338"/>
                <a:gd name="connsiteX13177" fmla="*/ 2378263 w 4878487"/>
                <a:gd name="connsiteY13177" fmla="*/ 1661439 h 3690338"/>
                <a:gd name="connsiteX13178" fmla="*/ 2378263 w 4878487"/>
                <a:gd name="connsiteY13178" fmla="*/ 1661439 h 3690338"/>
                <a:gd name="connsiteX13179" fmla="*/ 2378656 w 4878487"/>
                <a:gd name="connsiteY13179" fmla="*/ 1661439 h 3690338"/>
                <a:gd name="connsiteX13180" fmla="*/ 2384164 w 4878487"/>
                <a:gd name="connsiteY13180" fmla="*/ 1661439 h 3690338"/>
                <a:gd name="connsiteX13181" fmla="*/ 2385738 w 4878487"/>
                <a:gd name="connsiteY13181" fmla="*/ 1662226 h 3690338"/>
                <a:gd name="connsiteX13182" fmla="*/ 2388492 w 4878487"/>
                <a:gd name="connsiteY13182" fmla="*/ 1662620 h 3690338"/>
                <a:gd name="connsiteX13183" fmla="*/ 2391640 w 4878487"/>
                <a:gd name="connsiteY13183" fmla="*/ 1663406 h 3690338"/>
                <a:gd name="connsiteX13184" fmla="*/ 2394393 w 4878487"/>
                <a:gd name="connsiteY13184" fmla="*/ 1664587 h 3690338"/>
                <a:gd name="connsiteX13185" fmla="*/ 2397148 w 4878487"/>
                <a:gd name="connsiteY13185" fmla="*/ 1663800 h 3690338"/>
                <a:gd name="connsiteX13186" fmla="*/ 2397934 w 4878487"/>
                <a:gd name="connsiteY13186" fmla="*/ 1666554 h 3690338"/>
                <a:gd name="connsiteX13187" fmla="*/ 2401082 w 4878487"/>
                <a:gd name="connsiteY13187" fmla="*/ 1666554 h 3690338"/>
                <a:gd name="connsiteX13188" fmla="*/ 2399508 w 4878487"/>
                <a:gd name="connsiteY13188" fmla="*/ 1663800 h 3690338"/>
                <a:gd name="connsiteX13189" fmla="*/ 2402262 w 4878487"/>
                <a:gd name="connsiteY13189" fmla="*/ 1661833 h 3690338"/>
                <a:gd name="connsiteX13190" fmla="*/ 2408950 w 4878487"/>
                <a:gd name="connsiteY13190" fmla="*/ 1661833 h 3690338"/>
                <a:gd name="connsiteX13191" fmla="*/ 2412098 w 4878487"/>
                <a:gd name="connsiteY13191" fmla="*/ 1662226 h 3690338"/>
                <a:gd name="connsiteX13192" fmla="*/ 2414852 w 4878487"/>
                <a:gd name="connsiteY13192" fmla="*/ 1660653 h 3690338"/>
                <a:gd name="connsiteX13193" fmla="*/ 2419179 w 4878487"/>
                <a:gd name="connsiteY13193" fmla="*/ 1659866 h 3690338"/>
                <a:gd name="connsiteX13194" fmla="*/ 2420753 w 4878487"/>
                <a:gd name="connsiteY13194" fmla="*/ 1659866 h 3690338"/>
                <a:gd name="connsiteX13195" fmla="*/ 2422327 w 4878487"/>
                <a:gd name="connsiteY13195" fmla="*/ 1659472 h 3690338"/>
                <a:gd name="connsiteX13196" fmla="*/ 2425081 w 4878487"/>
                <a:gd name="connsiteY13196" fmla="*/ 1660259 h 3690338"/>
                <a:gd name="connsiteX13197" fmla="*/ 2427835 w 4878487"/>
                <a:gd name="connsiteY13197" fmla="*/ 1660653 h 3690338"/>
                <a:gd name="connsiteX13198" fmla="*/ 2430982 w 4878487"/>
                <a:gd name="connsiteY13198" fmla="*/ 1659472 h 3690338"/>
                <a:gd name="connsiteX13199" fmla="*/ 2433736 w 4878487"/>
                <a:gd name="connsiteY13199" fmla="*/ 1657899 h 3690338"/>
                <a:gd name="connsiteX13200" fmla="*/ 2436490 w 4878487"/>
                <a:gd name="connsiteY13200" fmla="*/ 1657899 h 3690338"/>
                <a:gd name="connsiteX13201" fmla="*/ 2439637 w 4878487"/>
                <a:gd name="connsiteY13201" fmla="*/ 1657112 h 3690338"/>
                <a:gd name="connsiteX13202" fmla="*/ 2442392 w 4878487"/>
                <a:gd name="connsiteY13202" fmla="*/ 1656718 h 3690338"/>
                <a:gd name="connsiteX13203" fmla="*/ 2445145 w 4878487"/>
                <a:gd name="connsiteY13203" fmla="*/ 1656325 h 3690338"/>
                <a:gd name="connsiteX13204" fmla="*/ 2448293 w 4878487"/>
                <a:gd name="connsiteY13204" fmla="*/ 1656718 h 3690338"/>
                <a:gd name="connsiteX13205" fmla="*/ 2451047 w 4878487"/>
                <a:gd name="connsiteY13205" fmla="*/ 1658292 h 3690338"/>
                <a:gd name="connsiteX13206" fmla="*/ 2449080 w 4878487"/>
                <a:gd name="connsiteY13206" fmla="*/ 1655145 h 3690338"/>
                <a:gd name="connsiteX13207" fmla="*/ 2445933 w 4878487"/>
                <a:gd name="connsiteY13207" fmla="*/ 1653571 h 3690338"/>
                <a:gd name="connsiteX13208" fmla="*/ 2443178 w 4878487"/>
                <a:gd name="connsiteY13208" fmla="*/ 1655931 h 3690338"/>
                <a:gd name="connsiteX13209" fmla="*/ 2440425 w 4878487"/>
                <a:gd name="connsiteY13209" fmla="*/ 1656325 h 3690338"/>
                <a:gd name="connsiteX13210" fmla="*/ 2441211 w 4878487"/>
                <a:gd name="connsiteY13210" fmla="*/ 1654358 h 3690338"/>
                <a:gd name="connsiteX13211" fmla="*/ 2449867 w 4878487"/>
                <a:gd name="connsiteY13211" fmla="*/ 1651997 h 3690338"/>
                <a:gd name="connsiteX13212" fmla="*/ 2459309 w 4878487"/>
                <a:gd name="connsiteY13212" fmla="*/ 1672062 h 3690338"/>
                <a:gd name="connsiteX13213" fmla="*/ 2458915 w 4878487"/>
                <a:gd name="connsiteY13213" fmla="*/ 1675209 h 3690338"/>
                <a:gd name="connsiteX13214" fmla="*/ 2460096 w 4878487"/>
                <a:gd name="connsiteY13214" fmla="*/ 1675603 h 3690338"/>
                <a:gd name="connsiteX13215" fmla="*/ 2478980 w 4878487"/>
                <a:gd name="connsiteY13215" fmla="*/ 1696454 h 3690338"/>
                <a:gd name="connsiteX13216" fmla="*/ 2479767 w 4878487"/>
                <a:gd name="connsiteY13216" fmla="*/ 1699208 h 3690338"/>
                <a:gd name="connsiteX13217" fmla="*/ 2481341 w 4878487"/>
                <a:gd name="connsiteY13217" fmla="*/ 1702356 h 3690338"/>
                <a:gd name="connsiteX13218" fmla="*/ 2484095 w 4878487"/>
                <a:gd name="connsiteY13218" fmla="*/ 1703929 h 3690338"/>
                <a:gd name="connsiteX13219" fmla="*/ 2487242 w 4878487"/>
                <a:gd name="connsiteY13219" fmla="*/ 1703929 h 3690338"/>
                <a:gd name="connsiteX13220" fmla="*/ 2487242 w 4878487"/>
                <a:gd name="connsiteY13220" fmla="*/ 1704323 h 3690338"/>
                <a:gd name="connsiteX13221" fmla="*/ 2485275 w 4878487"/>
                <a:gd name="connsiteY13221" fmla="*/ 1705897 h 3690338"/>
                <a:gd name="connsiteX13222" fmla="*/ 2488029 w 4878487"/>
                <a:gd name="connsiteY13222" fmla="*/ 1708257 h 3690338"/>
                <a:gd name="connsiteX13223" fmla="*/ 2488422 w 4878487"/>
                <a:gd name="connsiteY13223" fmla="*/ 1709831 h 3690338"/>
                <a:gd name="connsiteX13224" fmla="*/ 2491570 w 4878487"/>
                <a:gd name="connsiteY13224" fmla="*/ 1708651 h 3690338"/>
                <a:gd name="connsiteX13225" fmla="*/ 2491570 w 4878487"/>
                <a:gd name="connsiteY13225" fmla="*/ 1709044 h 3690338"/>
                <a:gd name="connsiteX13226" fmla="*/ 2491570 w 4878487"/>
                <a:gd name="connsiteY13226" fmla="*/ 1713372 h 3690338"/>
                <a:gd name="connsiteX13227" fmla="*/ 2494717 w 4878487"/>
                <a:gd name="connsiteY13227" fmla="*/ 1712191 h 3690338"/>
                <a:gd name="connsiteX13228" fmla="*/ 2497471 w 4878487"/>
                <a:gd name="connsiteY13228" fmla="*/ 1712585 h 3690338"/>
                <a:gd name="connsiteX13229" fmla="*/ 2497471 w 4878487"/>
                <a:gd name="connsiteY13229" fmla="*/ 1709437 h 3690338"/>
                <a:gd name="connsiteX13230" fmla="*/ 2497865 w 4878487"/>
                <a:gd name="connsiteY13230" fmla="*/ 1709831 h 3690338"/>
                <a:gd name="connsiteX13231" fmla="*/ 2498258 w 4878487"/>
                <a:gd name="connsiteY13231" fmla="*/ 1709831 h 3690338"/>
                <a:gd name="connsiteX13232" fmla="*/ 2500225 w 4878487"/>
                <a:gd name="connsiteY13232" fmla="*/ 1712191 h 3690338"/>
                <a:gd name="connsiteX13233" fmla="*/ 2502979 w 4878487"/>
                <a:gd name="connsiteY13233" fmla="*/ 1714159 h 3690338"/>
                <a:gd name="connsiteX13234" fmla="*/ 2503373 w 4878487"/>
                <a:gd name="connsiteY13234" fmla="*/ 1711405 h 3690338"/>
                <a:gd name="connsiteX13235" fmla="*/ 2502192 w 4878487"/>
                <a:gd name="connsiteY13235" fmla="*/ 1708651 h 3690338"/>
                <a:gd name="connsiteX13236" fmla="*/ 2502586 w 4878487"/>
                <a:gd name="connsiteY13236" fmla="*/ 1708651 h 3690338"/>
                <a:gd name="connsiteX13237" fmla="*/ 2502979 w 4878487"/>
                <a:gd name="connsiteY13237" fmla="*/ 1709044 h 3690338"/>
                <a:gd name="connsiteX13238" fmla="*/ 2504159 w 4878487"/>
                <a:gd name="connsiteY13238" fmla="*/ 1711798 h 3690338"/>
                <a:gd name="connsiteX13239" fmla="*/ 2506914 w 4878487"/>
                <a:gd name="connsiteY13239" fmla="*/ 1714552 h 3690338"/>
                <a:gd name="connsiteX13240" fmla="*/ 2507307 w 4878487"/>
                <a:gd name="connsiteY13240" fmla="*/ 1713372 h 3690338"/>
                <a:gd name="connsiteX13241" fmla="*/ 2508487 w 4878487"/>
                <a:gd name="connsiteY13241" fmla="*/ 1714552 h 3690338"/>
                <a:gd name="connsiteX13242" fmla="*/ 2509274 w 4878487"/>
                <a:gd name="connsiteY13242" fmla="*/ 1717699 h 3690338"/>
                <a:gd name="connsiteX13243" fmla="*/ 2508094 w 4878487"/>
                <a:gd name="connsiteY13243" fmla="*/ 1720453 h 3690338"/>
                <a:gd name="connsiteX13244" fmla="*/ 2510848 w 4878487"/>
                <a:gd name="connsiteY13244" fmla="*/ 1720847 h 3690338"/>
                <a:gd name="connsiteX13245" fmla="*/ 2513602 w 4878487"/>
                <a:gd name="connsiteY13245" fmla="*/ 1718880 h 3690338"/>
                <a:gd name="connsiteX13246" fmla="*/ 2515962 w 4878487"/>
                <a:gd name="connsiteY13246" fmla="*/ 1715732 h 3690338"/>
                <a:gd name="connsiteX13247" fmla="*/ 2518717 w 4878487"/>
                <a:gd name="connsiteY13247" fmla="*/ 1714552 h 3690338"/>
                <a:gd name="connsiteX13248" fmla="*/ 2521864 w 4878487"/>
                <a:gd name="connsiteY13248" fmla="*/ 1712191 h 3690338"/>
                <a:gd name="connsiteX13249" fmla="*/ 2522651 w 4878487"/>
                <a:gd name="connsiteY13249" fmla="*/ 1711798 h 3690338"/>
                <a:gd name="connsiteX13250" fmla="*/ 2525011 w 4878487"/>
                <a:gd name="connsiteY13250" fmla="*/ 1711405 h 3690338"/>
                <a:gd name="connsiteX13251" fmla="*/ 2523831 w 4878487"/>
                <a:gd name="connsiteY13251" fmla="*/ 1712191 h 3690338"/>
                <a:gd name="connsiteX13252" fmla="*/ 2521077 w 4878487"/>
                <a:gd name="connsiteY13252" fmla="*/ 1714552 h 3690338"/>
                <a:gd name="connsiteX13253" fmla="*/ 2518323 w 4878487"/>
                <a:gd name="connsiteY13253" fmla="*/ 1716913 h 3690338"/>
                <a:gd name="connsiteX13254" fmla="*/ 2515176 w 4878487"/>
                <a:gd name="connsiteY13254" fmla="*/ 1718486 h 3690338"/>
                <a:gd name="connsiteX13255" fmla="*/ 2515962 w 4878487"/>
                <a:gd name="connsiteY13255" fmla="*/ 1721240 h 3690338"/>
                <a:gd name="connsiteX13256" fmla="*/ 2515962 w 4878487"/>
                <a:gd name="connsiteY13256" fmla="*/ 1724388 h 3690338"/>
                <a:gd name="connsiteX13257" fmla="*/ 2518717 w 4878487"/>
                <a:gd name="connsiteY13257" fmla="*/ 1727142 h 3690338"/>
                <a:gd name="connsiteX13258" fmla="*/ 2521864 w 4878487"/>
                <a:gd name="connsiteY13258" fmla="*/ 1728322 h 3690338"/>
                <a:gd name="connsiteX13259" fmla="*/ 2522257 w 4878487"/>
                <a:gd name="connsiteY13259" fmla="*/ 1731469 h 3690338"/>
                <a:gd name="connsiteX13260" fmla="*/ 2521864 w 4878487"/>
                <a:gd name="connsiteY13260" fmla="*/ 1731863 h 3690338"/>
                <a:gd name="connsiteX13261" fmla="*/ 2524224 w 4878487"/>
                <a:gd name="connsiteY13261" fmla="*/ 1734617 h 3690338"/>
                <a:gd name="connsiteX13262" fmla="*/ 2527372 w 4878487"/>
                <a:gd name="connsiteY13262" fmla="*/ 1736977 h 3690338"/>
                <a:gd name="connsiteX13263" fmla="*/ 2530125 w 4878487"/>
                <a:gd name="connsiteY13263" fmla="*/ 1738551 h 3690338"/>
                <a:gd name="connsiteX13264" fmla="*/ 2532880 w 4878487"/>
                <a:gd name="connsiteY13264" fmla="*/ 1740125 h 3690338"/>
                <a:gd name="connsiteX13265" fmla="*/ 2536027 w 4878487"/>
                <a:gd name="connsiteY13265" fmla="*/ 1741698 h 3690338"/>
                <a:gd name="connsiteX13266" fmla="*/ 2538781 w 4878487"/>
                <a:gd name="connsiteY13266" fmla="*/ 1744059 h 3690338"/>
                <a:gd name="connsiteX13267" fmla="*/ 2541535 w 4878487"/>
                <a:gd name="connsiteY13267" fmla="*/ 1745239 h 3690338"/>
                <a:gd name="connsiteX13268" fmla="*/ 2544289 w 4878487"/>
                <a:gd name="connsiteY13268" fmla="*/ 1745633 h 3690338"/>
                <a:gd name="connsiteX13269" fmla="*/ 2547436 w 4878487"/>
                <a:gd name="connsiteY13269" fmla="*/ 1746419 h 3690338"/>
                <a:gd name="connsiteX13270" fmla="*/ 2550191 w 4878487"/>
                <a:gd name="connsiteY13270" fmla="*/ 1747206 h 3690338"/>
                <a:gd name="connsiteX13271" fmla="*/ 2553338 w 4878487"/>
                <a:gd name="connsiteY13271" fmla="*/ 1747600 h 3690338"/>
                <a:gd name="connsiteX13272" fmla="*/ 2556092 w 4878487"/>
                <a:gd name="connsiteY13272" fmla="*/ 1747993 h 3690338"/>
                <a:gd name="connsiteX13273" fmla="*/ 2558059 w 4878487"/>
                <a:gd name="connsiteY13273" fmla="*/ 1745239 h 3690338"/>
                <a:gd name="connsiteX13274" fmla="*/ 2560813 w 4878487"/>
                <a:gd name="connsiteY13274" fmla="*/ 1744059 h 3690338"/>
                <a:gd name="connsiteX13275" fmla="*/ 2563961 w 4878487"/>
                <a:gd name="connsiteY13275" fmla="*/ 1742879 h 3690338"/>
                <a:gd name="connsiteX13276" fmla="*/ 2566714 w 4878487"/>
                <a:gd name="connsiteY13276" fmla="*/ 1742485 h 3690338"/>
                <a:gd name="connsiteX13277" fmla="*/ 2569862 w 4878487"/>
                <a:gd name="connsiteY13277" fmla="*/ 1740912 h 3690338"/>
                <a:gd name="connsiteX13278" fmla="*/ 2572616 w 4878487"/>
                <a:gd name="connsiteY13278" fmla="*/ 1741305 h 3690338"/>
                <a:gd name="connsiteX13279" fmla="*/ 2575370 w 4878487"/>
                <a:gd name="connsiteY13279" fmla="*/ 1740912 h 3690338"/>
                <a:gd name="connsiteX13280" fmla="*/ 2574976 w 4878487"/>
                <a:gd name="connsiteY13280" fmla="*/ 1738157 h 3690338"/>
                <a:gd name="connsiteX13281" fmla="*/ 2576943 w 4878487"/>
                <a:gd name="connsiteY13281" fmla="*/ 1735010 h 3690338"/>
                <a:gd name="connsiteX13282" fmla="*/ 2578517 w 4878487"/>
                <a:gd name="connsiteY13282" fmla="*/ 1739338 h 3690338"/>
                <a:gd name="connsiteX13283" fmla="*/ 2576157 w 4878487"/>
                <a:gd name="connsiteY13283" fmla="*/ 1740912 h 3690338"/>
                <a:gd name="connsiteX13284" fmla="*/ 2574190 w 4878487"/>
                <a:gd name="connsiteY13284" fmla="*/ 1743666 h 3690338"/>
                <a:gd name="connsiteX13285" fmla="*/ 2573796 w 4878487"/>
                <a:gd name="connsiteY13285" fmla="*/ 1744846 h 3690338"/>
                <a:gd name="connsiteX13286" fmla="*/ 2564747 w 4878487"/>
                <a:gd name="connsiteY13286" fmla="*/ 1755468 h 3690338"/>
                <a:gd name="connsiteX13287" fmla="*/ 2537994 w 4878487"/>
                <a:gd name="connsiteY13287" fmla="*/ 1758222 h 3690338"/>
                <a:gd name="connsiteX13288" fmla="*/ 2537994 w 4878487"/>
                <a:gd name="connsiteY13288" fmla="*/ 1757829 h 3690338"/>
                <a:gd name="connsiteX13289" fmla="*/ 2535240 w 4878487"/>
                <a:gd name="connsiteY13289" fmla="*/ 1759796 h 3690338"/>
                <a:gd name="connsiteX13290" fmla="*/ 2534454 w 4878487"/>
                <a:gd name="connsiteY13290" fmla="*/ 1762943 h 3690338"/>
                <a:gd name="connsiteX13291" fmla="*/ 2535634 w 4878487"/>
                <a:gd name="connsiteY13291" fmla="*/ 1765697 h 3690338"/>
                <a:gd name="connsiteX13292" fmla="*/ 2538388 w 4878487"/>
                <a:gd name="connsiteY13292" fmla="*/ 1768451 h 3690338"/>
                <a:gd name="connsiteX13293" fmla="*/ 2540748 w 4878487"/>
                <a:gd name="connsiteY13293" fmla="*/ 1771599 h 3690338"/>
                <a:gd name="connsiteX13294" fmla="*/ 2543502 w 4878487"/>
                <a:gd name="connsiteY13294" fmla="*/ 1774353 h 3690338"/>
                <a:gd name="connsiteX13295" fmla="*/ 2546650 w 4878487"/>
                <a:gd name="connsiteY13295" fmla="*/ 1776713 h 3690338"/>
                <a:gd name="connsiteX13296" fmla="*/ 2549403 w 4878487"/>
                <a:gd name="connsiteY13296" fmla="*/ 1777500 h 3690338"/>
                <a:gd name="connsiteX13297" fmla="*/ 2550584 w 4878487"/>
                <a:gd name="connsiteY13297" fmla="*/ 1780254 h 3690338"/>
                <a:gd name="connsiteX13298" fmla="*/ 2553338 w 4878487"/>
                <a:gd name="connsiteY13298" fmla="*/ 1783008 h 3690338"/>
                <a:gd name="connsiteX13299" fmla="*/ 2556485 w 4878487"/>
                <a:gd name="connsiteY13299" fmla="*/ 1785369 h 3690338"/>
                <a:gd name="connsiteX13300" fmla="*/ 2556879 w 4878487"/>
                <a:gd name="connsiteY13300" fmla="*/ 1785369 h 3690338"/>
                <a:gd name="connsiteX13301" fmla="*/ 2557665 w 4878487"/>
                <a:gd name="connsiteY13301" fmla="*/ 1786156 h 3690338"/>
                <a:gd name="connsiteX13302" fmla="*/ 2560420 w 4878487"/>
                <a:gd name="connsiteY13302" fmla="*/ 1788910 h 3690338"/>
                <a:gd name="connsiteX13303" fmla="*/ 2563173 w 4878487"/>
                <a:gd name="connsiteY13303" fmla="*/ 1790877 h 3690338"/>
                <a:gd name="connsiteX13304" fmla="*/ 2564747 w 4878487"/>
                <a:gd name="connsiteY13304" fmla="*/ 1794024 h 3690338"/>
                <a:gd name="connsiteX13305" fmla="*/ 2567108 w 4878487"/>
                <a:gd name="connsiteY13305" fmla="*/ 1796778 h 3690338"/>
                <a:gd name="connsiteX13306" fmla="*/ 2569862 w 4878487"/>
                <a:gd name="connsiteY13306" fmla="*/ 1799532 h 3690338"/>
                <a:gd name="connsiteX13307" fmla="*/ 2570255 w 4878487"/>
                <a:gd name="connsiteY13307" fmla="*/ 1799925 h 3690338"/>
                <a:gd name="connsiteX13308" fmla="*/ 2573009 w 4878487"/>
                <a:gd name="connsiteY13308" fmla="*/ 1802286 h 3690338"/>
                <a:gd name="connsiteX13309" fmla="*/ 2576157 w 4878487"/>
                <a:gd name="connsiteY13309" fmla="*/ 1804647 h 3690338"/>
                <a:gd name="connsiteX13310" fmla="*/ 2578910 w 4878487"/>
                <a:gd name="connsiteY13310" fmla="*/ 1807007 h 3690338"/>
                <a:gd name="connsiteX13311" fmla="*/ 2581665 w 4878487"/>
                <a:gd name="connsiteY13311" fmla="*/ 1808974 h 3690338"/>
                <a:gd name="connsiteX13312" fmla="*/ 2583238 w 4878487"/>
                <a:gd name="connsiteY13312" fmla="*/ 1810155 h 3690338"/>
                <a:gd name="connsiteX13313" fmla="*/ 2585992 w 4878487"/>
                <a:gd name="connsiteY13313" fmla="*/ 1812122 h 3690338"/>
                <a:gd name="connsiteX13314" fmla="*/ 2589139 w 4878487"/>
                <a:gd name="connsiteY13314" fmla="*/ 1813695 h 3690338"/>
                <a:gd name="connsiteX13315" fmla="*/ 2591894 w 4878487"/>
                <a:gd name="connsiteY13315" fmla="*/ 1814876 h 3690338"/>
                <a:gd name="connsiteX13316" fmla="*/ 2594648 w 4878487"/>
                <a:gd name="connsiteY13316" fmla="*/ 1816056 h 3690338"/>
                <a:gd name="connsiteX13317" fmla="*/ 2597795 w 4878487"/>
                <a:gd name="connsiteY13317" fmla="*/ 1816056 h 3690338"/>
                <a:gd name="connsiteX13318" fmla="*/ 2600549 w 4878487"/>
                <a:gd name="connsiteY13318" fmla="*/ 1815269 h 3690338"/>
                <a:gd name="connsiteX13319" fmla="*/ 2603303 w 4878487"/>
                <a:gd name="connsiteY13319" fmla="*/ 1814482 h 3690338"/>
                <a:gd name="connsiteX13320" fmla="*/ 2606057 w 4878487"/>
                <a:gd name="connsiteY13320" fmla="*/ 1812908 h 3690338"/>
                <a:gd name="connsiteX13321" fmla="*/ 2608811 w 4878487"/>
                <a:gd name="connsiteY13321" fmla="*/ 1811335 h 3690338"/>
                <a:gd name="connsiteX13322" fmla="*/ 2611565 w 4878487"/>
                <a:gd name="connsiteY13322" fmla="*/ 1810548 h 3690338"/>
                <a:gd name="connsiteX13323" fmla="*/ 2614712 w 4878487"/>
                <a:gd name="connsiteY13323" fmla="*/ 1807794 h 3690338"/>
                <a:gd name="connsiteX13324" fmla="*/ 2617466 w 4878487"/>
                <a:gd name="connsiteY13324" fmla="*/ 1807007 h 3690338"/>
                <a:gd name="connsiteX13325" fmla="*/ 2622975 w 4878487"/>
                <a:gd name="connsiteY13325" fmla="*/ 1803466 h 3690338"/>
                <a:gd name="connsiteX13326" fmla="*/ 2626122 w 4878487"/>
                <a:gd name="connsiteY13326" fmla="*/ 1801893 h 3690338"/>
                <a:gd name="connsiteX13327" fmla="*/ 2628482 w 4878487"/>
                <a:gd name="connsiteY13327" fmla="*/ 1801106 h 3690338"/>
                <a:gd name="connsiteX13328" fmla="*/ 2630843 w 4878487"/>
                <a:gd name="connsiteY13328" fmla="*/ 1798352 h 3690338"/>
                <a:gd name="connsiteX13329" fmla="*/ 2631236 w 4878487"/>
                <a:gd name="connsiteY13329" fmla="*/ 1795598 h 3690338"/>
                <a:gd name="connsiteX13330" fmla="*/ 2631630 w 4878487"/>
                <a:gd name="connsiteY13330" fmla="*/ 1794811 h 3690338"/>
                <a:gd name="connsiteX13331" fmla="*/ 2633597 w 4878487"/>
                <a:gd name="connsiteY13331" fmla="*/ 1792057 h 3690338"/>
                <a:gd name="connsiteX13332" fmla="*/ 2634777 w 4878487"/>
                <a:gd name="connsiteY13332" fmla="*/ 1789303 h 3690338"/>
                <a:gd name="connsiteX13333" fmla="*/ 2635171 w 4878487"/>
                <a:gd name="connsiteY13333" fmla="*/ 1786549 h 3690338"/>
                <a:gd name="connsiteX13334" fmla="*/ 2634777 w 4878487"/>
                <a:gd name="connsiteY13334" fmla="*/ 1783402 h 3690338"/>
                <a:gd name="connsiteX13335" fmla="*/ 2632023 w 4878487"/>
                <a:gd name="connsiteY13335" fmla="*/ 1781041 h 3690338"/>
                <a:gd name="connsiteX13336" fmla="*/ 2631236 w 4878487"/>
                <a:gd name="connsiteY13336" fmla="*/ 1780648 h 3690338"/>
                <a:gd name="connsiteX13337" fmla="*/ 2631236 w 4878487"/>
                <a:gd name="connsiteY13337" fmla="*/ 1772386 h 3690338"/>
                <a:gd name="connsiteX13338" fmla="*/ 2631630 w 4878487"/>
                <a:gd name="connsiteY13338" fmla="*/ 1772386 h 3690338"/>
                <a:gd name="connsiteX13339" fmla="*/ 2634384 w 4878487"/>
                <a:gd name="connsiteY13339" fmla="*/ 1770812 h 3690338"/>
                <a:gd name="connsiteX13340" fmla="*/ 2634777 w 4878487"/>
                <a:gd name="connsiteY13340" fmla="*/ 1768058 h 3690338"/>
                <a:gd name="connsiteX13341" fmla="*/ 2633990 w 4878487"/>
                <a:gd name="connsiteY13341" fmla="*/ 1764911 h 3690338"/>
                <a:gd name="connsiteX13342" fmla="*/ 2631236 w 4878487"/>
                <a:gd name="connsiteY13342" fmla="*/ 1763730 h 3690338"/>
                <a:gd name="connsiteX13343" fmla="*/ 2632810 w 4878487"/>
                <a:gd name="connsiteY13343" fmla="*/ 1762550 h 3690338"/>
                <a:gd name="connsiteX13344" fmla="*/ 2634777 w 4878487"/>
                <a:gd name="connsiteY13344" fmla="*/ 1762943 h 3690338"/>
                <a:gd name="connsiteX13345" fmla="*/ 2635957 w 4878487"/>
                <a:gd name="connsiteY13345" fmla="*/ 1760189 h 3690338"/>
                <a:gd name="connsiteX13346" fmla="*/ 2643039 w 4878487"/>
                <a:gd name="connsiteY13346" fmla="*/ 1779074 h 3690338"/>
                <a:gd name="connsiteX13347" fmla="*/ 2643039 w 4878487"/>
                <a:gd name="connsiteY13347" fmla="*/ 1780648 h 3690338"/>
                <a:gd name="connsiteX13348" fmla="*/ 2644613 w 4878487"/>
                <a:gd name="connsiteY13348" fmla="*/ 1783402 h 3690338"/>
                <a:gd name="connsiteX13349" fmla="*/ 2647367 w 4878487"/>
                <a:gd name="connsiteY13349" fmla="*/ 1783795 h 3690338"/>
                <a:gd name="connsiteX13350" fmla="*/ 2648941 w 4878487"/>
                <a:gd name="connsiteY13350" fmla="*/ 1784188 h 3690338"/>
                <a:gd name="connsiteX13351" fmla="*/ 2650514 w 4878487"/>
                <a:gd name="connsiteY13351" fmla="*/ 1784188 h 3690338"/>
                <a:gd name="connsiteX13352" fmla="*/ 2653268 w 4878487"/>
                <a:gd name="connsiteY13352" fmla="*/ 1783795 h 3690338"/>
                <a:gd name="connsiteX13353" fmla="*/ 2656416 w 4878487"/>
                <a:gd name="connsiteY13353" fmla="*/ 1783008 h 3690338"/>
                <a:gd name="connsiteX13354" fmla="*/ 2656809 w 4878487"/>
                <a:gd name="connsiteY13354" fmla="*/ 1783008 h 3690338"/>
                <a:gd name="connsiteX13355" fmla="*/ 2657202 w 4878487"/>
                <a:gd name="connsiteY13355" fmla="*/ 1782615 h 3690338"/>
                <a:gd name="connsiteX13356" fmla="*/ 2659956 w 4878487"/>
                <a:gd name="connsiteY13356" fmla="*/ 1781041 h 3690338"/>
                <a:gd name="connsiteX13357" fmla="*/ 2659956 w 4878487"/>
                <a:gd name="connsiteY13357" fmla="*/ 1781434 h 3690338"/>
                <a:gd name="connsiteX13358" fmla="*/ 2656416 w 4878487"/>
                <a:gd name="connsiteY13358" fmla="*/ 1783402 h 3690338"/>
                <a:gd name="connsiteX13359" fmla="*/ 2656022 w 4878487"/>
                <a:gd name="connsiteY13359" fmla="*/ 1783402 h 3690338"/>
                <a:gd name="connsiteX13360" fmla="*/ 2655235 w 4878487"/>
                <a:gd name="connsiteY13360" fmla="*/ 1783795 h 3690338"/>
                <a:gd name="connsiteX13361" fmla="*/ 2652482 w 4878487"/>
                <a:gd name="connsiteY13361" fmla="*/ 1785369 h 3690338"/>
                <a:gd name="connsiteX13362" fmla="*/ 2649727 w 4878487"/>
                <a:gd name="connsiteY13362" fmla="*/ 1787729 h 3690338"/>
                <a:gd name="connsiteX13363" fmla="*/ 2646580 w 4878487"/>
                <a:gd name="connsiteY13363" fmla="*/ 1789303 h 3690338"/>
                <a:gd name="connsiteX13364" fmla="*/ 2647760 w 4878487"/>
                <a:gd name="connsiteY13364" fmla="*/ 1792450 h 3690338"/>
                <a:gd name="connsiteX13365" fmla="*/ 2645006 w 4878487"/>
                <a:gd name="connsiteY13365" fmla="*/ 1795204 h 3690338"/>
                <a:gd name="connsiteX13366" fmla="*/ 2646973 w 4878487"/>
                <a:gd name="connsiteY13366" fmla="*/ 1797958 h 3690338"/>
                <a:gd name="connsiteX13367" fmla="*/ 2648547 w 4878487"/>
                <a:gd name="connsiteY13367" fmla="*/ 1800712 h 3690338"/>
                <a:gd name="connsiteX13368" fmla="*/ 2646973 w 4878487"/>
                <a:gd name="connsiteY13368" fmla="*/ 1803860 h 3690338"/>
                <a:gd name="connsiteX13369" fmla="*/ 2649727 w 4878487"/>
                <a:gd name="connsiteY13369" fmla="*/ 1801499 h 3690338"/>
                <a:gd name="connsiteX13370" fmla="*/ 2648941 w 4878487"/>
                <a:gd name="connsiteY13370" fmla="*/ 1803860 h 3690338"/>
                <a:gd name="connsiteX13371" fmla="*/ 2654449 w 4878487"/>
                <a:gd name="connsiteY13371" fmla="*/ 1827465 h 3690338"/>
                <a:gd name="connsiteX13372" fmla="*/ 2652875 w 4878487"/>
                <a:gd name="connsiteY13372" fmla="*/ 1829826 h 3690338"/>
                <a:gd name="connsiteX13373" fmla="*/ 2652482 w 4878487"/>
                <a:gd name="connsiteY13373" fmla="*/ 1837301 h 3690338"/>
                <a:gd name="connsiteX13374" fmla="*/ 2652482 w 4878487"/>
                <a:gd name="connsiteY13374" fmla="*/ 1839662 h 3690338"/>
                <a:gd name="connsiteX13375" fmla="*/ 2651694 w 4878487"/>
                <a:gd name="connsiteY13375" fmla="*/ 1842809 h 3690338"/>
                <a:gd name="connsiteX13376" fmla="*/ 2651694 w 4878487"/>
                <a:gd name="connsiteY13376" fmla="*/ 1845563 h 3690338"/>
                <a:gd name="connsiteX13377" fmla="*/ 2653661 w 4878487"/>
                <a:gd name="connsiteY13377" fmla="*/ 1848317 h 3690338"/>
                <a:gd name="connsiteX13378" fmla="*/ 2653661 w 4878487"/>
                <a:gd name="connsiteY13378" fmla="*/ 1851071 h 3690338"/>
                <a:gd name="connsiteX13379" fmla="*/ 2655235 w 4878487"/>
                <a:gd name="connsiteY13379" fmla="*/ 1853825 h 3690338"/>
                <a:gd name="connsiteX13380" fmla="*/ 2658383 w 4878487"/>
                <a:gd name="connsiteY13380" fmla="*/ 1855399 h 3690338"/>
                <a:gd name="connsiteX13381" fmla="*/ 2657989 w 4878487"/>
                <a:gd name="connsiteY13381" fmla="*/ 1856185 h 3690338"/>
                <a:gd name="connsiteX13382" fmla="*/ 2657596 w 4878487"/>
                <a:gd name="connsiteY13382" fmla="*/ 1856579 h 3690338"/>
                <a:gd name="connsiteX13383" fmla="*/ 2656022 w 4878487"/>
                <a:gd name="connsiteY13383" fmla="*/ 1859333 h 3690338"/>
                <a:gd name="connsiteX13384" fmla="*/ 2658776 w 4878487"/>
                <a:gd name="connsiteY13384" fmla="*/ 1861693 h 3690338"/>
                <a:gd name="connsiteX13385" fmla="*/ 2660350 w 4878487"/>
                <a:gd name="connsiteY13385" fmla="*/ 1862874 h 3690338"/>
                <a:gd name="connsiteX13386" fmla="*/ 2661137 w 4878487"/>
                <a:gd name="connsiteY13386" fmla="*/ 1863267 h 3690338"/>
                <a:gd name="connsiteX13387" fmla="*/ 2663890 w 4878487"/>
                <a:gd name="connsiteY13387" fmla="*/ 1864054 h 3690338"/>
                <a:gd name="connsiteX13388" fmla="*/ 2665071 w 4878487"/>
                <a:gd name="connsiteY13388" fmla="*/ 1866021 h 3690338"/>
                <a:gd name="connsiteX13389" fmla="*/ 2663497 w 4878487"/>
                <a:gd name="connsiteY13389" fmla="*/ 1864841 h 3690338"/>
                <a:gd name="connsiteX13390" fmla="*/ 2663104 w 4878487"/>
                <a:gd name="connsiteY13390" fmla="*/ 1864054 h 3690338"/>
                <a:gd name="connsiteX13391" fmla="*/ 2660350 w 4878487"/>
                <a:gd name="connsiteY13391" fmla="*/ 1863661 h 3690338"/>
                <a:gd name="connsiteX13392" fmla="*/ 2658776 w 4878487"/>
                <a:gd name="connsiteY13392" fmla="*/ 1862874 h 3690338"/>
                <a:gd name="connsiteX13393" fmla="*/ 2658383 w 4878487"/>
                <a:gd name="connsiteY13393" fmla="*/ 1863267 h 3690338"/>
                <a:gd name="connsiteX13394" fmla="*/ 2658383 w 4878487"/>
                <a:gd name="connsiteY13394" fmla="*/ 1868775 h 3690338"/>
                <a:gd name="connsiteX13395" fmla="*/ 2658776 w 4878487"/>
                <a:gd name="connsiteY13395" fmla="*/ 1871529 h 3690338"/>
                <a:gd name="connsiteX13396" fmla="*/ 2660350 w 4878487"/>
                <a:gd name="connsiteY13396" fmla="*/ 1874283 h 3690338"/>
                <a:gd name="connsiteX13397" fmla="*/ 2662710 w 4878487"/>
                <a:gd name="connsiteY13397" fmla="*/ 1871529 h 3690338"/>
                <a:gd name="connsiteX13398" fmla="*/ 2664284 w 4878487"/>
                <a:gd name="connsiteY13398" fmla="*/ 1871136 h 3690338"/>
                <a:gd name="connsiteX13399" fmla="*/ 2663104 w 4878487"/>
                <a:gd name="connsiteY13399" fmla="*/ 1875857 h 3690338"/>
                <a:gd name="connsiteX13400" fmla="*/ 2662317 w 4878487"/>
                <a:gd name="connsiteY13400" fmla="*/ 1876644 h 3690338"/>
                <a:gd name="connsiteX13401" fmla="*/ 2662710 w 4878487"/>
                <a:gd name="connsiteY13401" fmla="*/ 1877431 h 3690338"/>
                <a:gd name="connsiteX13402" fmla="*/ 2661923 w 4878487"/>
                <a:gd name="connsiteY13402" fmla="*/ 1880578 h 3690338"/>
                <a:gd name="connsiteX13403" fmla="*/ 2661530 w 4878487"/>
                <a:gd name="connsiteY13403" fmla="*/ 1883332 h 3690338"/>
                <a:gd name="connsiteX13404" fmla="*/ 2662710 w 4878487"/>
                <a:gd name="connsiteY13404" fmla="*/ 1886479 h 3690338"/>
                <a:gd name="connsiteX13405" fmla="*/ 2663890 w 4878487"/>
                <a:gd name="connsiteY13405" fmla="*/ 1888053 h 3690338"/>
                <a:gd name="connsiteX13406" fmla="*/ 2664678 w 4878487"/>
                <a:gd name="connsiteY13406" fmla="*/ 1891987 h 3690338"/>
                <a:gd name="connsiteX13407" fmla="*/ 2663104 w 4878487"/>
                <a:gd name="connsiteY13407" fmla="*/ 1891594 h 3690338"/>
                <a:gd name="connsiteX13408" fmla="*/ 2663497 w 4878487"/>
                <a:gd name="connsiteY13408" fmla="*/ 1894348 h 3690338"/>
                <a:gd name="connsiteX13409" fmla="*/ 2666251 w 4878487"/>
                <a:gd name="connsiteY13409" fmla="*/ 1897889 h 3690338"/>
                <a:gd name="connsiteX13410" fmla="*/ 2666645 w 4878487"/>
                <a:gd name="connsiteY13410" fmla="*/ 1899856 h 3690338"/>
                <a:gd name="connsiteX13411" fmla="*/ 2664678 w 4878487"/>
                <a:gd name="connsiteY13411" fmla="*/ 1899462 h 3690338"/>
                <a:gd name="connsiteX13412" fmla="*/ 2666251 w 4878487"/>
                <a:gd name="connsiteY13412" fmla="*/ 1902610 h 3690338"/>
                <a:gd name="connsiteX13413" fmla="*/ 2667825 w 4878487"/>
                <a:gd name="connsiteY13413" fmla="*/ 1908118 h 3690338"/>
                <a:gd name="connsiteX13414" fmla="*/ 2669005 w 4878487"/>
                <a:gd name="connsiteY13414" fmla="*/ 1910872 h 3690338"/>
                <a:gd name="connsiteX13415" fmla="*/ 2670186 w 4878487"/>
                <a:gd name="connsiteY13415" fmla="*/ 1913232 h 3690338"/>
                <a:gd name="connsiteX13416" fmla="*/ 2674120 w 4878487"/>
                <a:gd name="connsiteY13416" fmla="*/ 1928576 h 3690338"/>
                <a:gd name="connsiteX13417" fmla="*/ 2679234 w 4878487"/>
                <a:gd name="connsiteY13417" fmla="*/ 1943133 h 3690338"/>
                <a:gd name="connsiteX13418" fmla="*/ 2679234 w 4878487"/>
                <a:gd name="connsiteY13418" fmla="*/ 1947067 h 3690338"/>
                <a:gd name="connsiteX13419" fmla="*/ 2679628 w 4878487"/>
                <a:gd name="connsiteY13419" fmla="*/ 1950214 h 3690338"/>
                <a:gd name="connsiteX13420" fmla="*/ 2680808 w 4878487"/>
                <a:gd name="connsiteY13420" fmla="*/ 1952968 h 3690338"/>
                <a:gd name="connsiteX13421" fmla="*/ 2681201 w 4878487"/>
                <a:gd name="connsiteY13421" fmla="*/ 1956116 h 3690338"/>
                <a:gd name="connsiteX13422" fmla="*/ 2681595 w 4878487"/>
                <a:gd name="connsiteY13422" fmla="*/ 1958870 h 3690338"/>
                <a:gd name="connsiteX13423" fmla="*/ 2682775 w 4878487"/>
                <a:gd name="connsiteY13423" fmla="*/ 1961624 h 3690338"/>
                <a:gd name="connsiteX13424" fmla="*/ 2683956 w 4878487"/>
                <a:gd name="connsiteY13424" fmla="*/ 1964771 h 3690338"/>
                <a:gd name="connsiteX13425" fmla="*/ 2684742 w 4878487"/>
                <a:gd name="connsiteY13425" fmla="*/ 1967525 h 3690338"/>
                <a:gd name="connsiteX13426" fmla="*/ 2686709 w 4878487"/>
                <a:gd name="connsiteY13426" fmla="*/ 1970279 h 3690338"/>
                <a:gd name="connsiteX13427" fmla="*/ 2687103 w 4878487"/>
                <a:gd name="connsiteY13427" fmla="*/ 1973033 h 3690338"/>
                <a:gd name="connsiteX13428" fmla="*/ 2688283 w 4878487"/>
                <a:gd name="connsiteY13428" fmla="*/ 1975787 h 3690338"/>
                <a:gd name="connsiteX13429" fmla="*/ 2691037 w 4878487"/>
                <a:gd name="connsiteY13429" fmla="*/ 1978541 h 3690338"/>
                <a:gd name="connsiteX13430" fmla="*/ 2693004 w 4878487"/>
                <a:gd name="connsiteY13430" fmla="*/ 1981295 h 3690338"/>
                <a:gd name="connsiteX13431" fmla="*/ 2694971 w 4878487"/>
                <a:gd name="connsiteY13431" fmla="*/ 1984836 h 3690338"/>
                <a:gd name="connsiteX13432" fmla="*/ 2695365 w 4878487"/>
                <a:gd name="connsiteY13432" fmla="*/ 1986803 h 3690338"/>
                <a:gd name="connsiteX13433" fmla="*/ 2696545 w 4878487"/>
                <a:gd name="connsiteY13433" fmla="*/ 1987196 h 3690338"/>
                <a:gd name="connsiteX13434" fmla="*/ 2697726 w 4878487"/>
                <a:gd name="connsiteY13434" fmla="*/ 1988770 h 3690338"/>
                <a:gd name="connsiteX13435" fmla="*/ 2696938 w 4878487"/>
                <a:gd name="connsiteY13435" fmla="*/ 1990344 h 3690338"/>
                <a:gd name="connsiteX13436" fmla="*/ 2699693 w 4878487"/>
                <a:gd name="connsiteY13436" fmla="*/ 1991917 h 3690338"/>
                <a:gd name="connsiteX13437" fmla="*/ 2699693 w 4878487"/>
                <a:gd name="connsiteY13437" fmla="*/ 1992311 h 3690338"/>
                <a:gd name="connsiteX13438" fmla="*/ 2699299 w 4878487"/>
                <a:gd name="connsiteY13438" fmla="*/ 1993885 h 3690338"/>
                <a:gd name="connsiteX13439" fmla="*/ 2700479 w 4878487"/>
                <a:gd name="connsiteY13439" fmla="*/ 1994672 h 3690338"/>
                <a:gd name="connsiteX13440" fmla="*/ 2700873 w 4878487"/>
                <a:gd name="connsiteY13440" fmla="*/ 1995852 h 3690338"/>
                <a:gd name="connsiteX13441" fmla="*/ 2698906 w 4878487"/>
                <a:gd name="connsiteY13441" fmla="*/ 1996245 h 3690338"/>
                <a:gd name="connsiteX13442" fmla="*/ 2701660 w 4878487"/>
                <a:gd name="connsiteY13442" fmla="*/ 1998212 h 3690338"/>
                <a:gd name="connsiteX13443" fmla="*/ 2702446 w 4878487"/>
                <a:gd name="connsiteY13443" fmla="*/ 2000966 h 3690338"/>
                <a:gd name="connsiteX13444" fmla="*/ 2704020 w 4878487"/>
                <a:gd name="connsiteY13444" fmla="*/ 2004114 h 3690338"/>
                <a:gd name="connsiteX13445" fmla="*/ 2704414 w 4878487"/>
                <a:gd name="connsiteY13445" fmla="*/ 2006868 h 3690338"/>
                <a:gd name="connsiteX13446" fmla="*/ 2707167 w 4878487"/>
                <a:gd name="connsiteY13446" fmla="*/ 2009622 h 3690338"/>
                <a:gd name="connsiteX13447" fmla="*/ 2708741 w 4878487"/>
                <a:gd name="connsiteY13447" fmla="*/ 2012769 h 3690338"/>
                <a:gd name="connsiteX13448" fmla="*/ 2710315 w 4878487"/>
                <a:gd name="connsiteY13448" fmla="*/ 2013949 h 3690338"/>
                <a:gd name="connsiteX13449" fmla="*/ 2710315 w 4878487"/>
                <a:gd name="connsiteY13449" fmla="*/ 2014343 h 3690338"/>
                <a:gd name="connsiteX13450" fmla="*/ 2709528 w 4878487"/>
                <a:gd name="connsiteY13450" fmla="*/ 2015917 h 3690338"/>
                <a:gd name="connsiteX13451" fmla="*/ 2712282 w 4878487"/>
                <a:gd name="connsiteY13451" fmla="*/ 2018277 h 3690338"/>
                <a:gd name="connsiteX13452" fmla="*/ 2720937 w 4878487"/>
                <a:gd name="connsiteY13452" fmla="*/ 2033227 h 3690338"/>
                <a:gd name="connsiteX13453" fmla="*/ 2723298 w 4878487"/>
                <a:gd name="connsiteY13453" fmla="*/ 2034407 h 3690338"/>
                <a:gd name="connsiteX13454" fmla="*/ 2721331 w 4878487"/>
                <a:gd name="connsiteY13454" fmla="*/ 2034014 h 3690338"/>
                <a:gd name="connsiteX13455" fmla="*/ 2720937 w 4878487"/>
                <a:gd name="connsiteY13455" fmla="*/ 2033621 h 3690338"/>
                <a:gd name="connsiteX13456" fmla="*/ 2722511 w 4878487"/>
                <a:gd name="connsiteY13456" fmla="*/ 2036375 h 3690338"/>
                <a:gd name="connsiteX13457" fmla="*/ 2722904 w 4878487"/>
                <a:gd name="connsiteY13457" fmla="*/ 2039522 h 3690338"/>
                <a:gd name="connsiteX13458" fmla="*/ 2723692 w 4878487"/>
                <a:gd name="connsiteY13458" fmla="*/ 2042276 h 3690338"/>
                <a:gd name="connsiteX13459" fmla="*/ 2725659 w 4878487"/>
                <a:gd name="connsiteY13459" fmla="*/ 2044637 h 3690338"/>
                <a:gd name="connsiteX13460" fmla="*/ 2729200 w 4878487"/>
                <a:gd name="connsiteY13460" fmla="*/ 2054079 h 3690338"/>
                <a:gd name="connsiteX13461" fmla="*/ 2729593 w 4878487"/>
                <a:gd name="connsiteY13461" fmla="*/ 2054472 h 3690338"/>
                <a:gd name="connsiteX13462" fmla="*/ 2729593 w 4878487"/>
                <a:gd name="connsiteY13462" fmla="*/ 2056046 h 3690338"/>
                <a:gd name="connsiteX13463" fmla="*/ 2729986 w 4878487"/>
                <a:gd name="connsiteY13463" fmla="*/ 2059194 h 3690338"/>
                <a:gd name="connsiteX13464" fmla="*/ 2730380 w 4878487"/>
                <a:gd name="connsiteY13464" fmla="*/ 2061947 h 3690338"/>
                <a:gd name="connsiteX13465" fmla="*/ 2729986 w 4878487"/>
                <a:gd name="connsiteY13465" fmla="*/ 2061161 h 3690338"/>
                <a:gd name="connsiteX13466" fmla="*/ 2730773 w 4878487"/>
                <a:gd name="connsiteY13466" fmla="*/ 2063914 h 3690338"/>
                <a:gd name="connsiteX13467" fmla="*/ 2731560 w 4878487"/>
                <a:gd name="connsiteY13467" fmla="*/ 2066668 h 3690338"/>
                <a:gd name="connsiteX13468" fmla="*/ 2732347 w 4878487"/>
                <a:gd name="connsiteY13468" fmla="*/ 2069816 h 3690338"/>
                <a:gd name="connsiteX13469" fmla="*/ 2733134 w 4878487"/>
                <a:gd name="connsiteY13469" fmla="*/ 2072570 h 3690338"/>
                <a:gd name="connsiteX13470" fmla="*/ 2733527 w 4878487"/>
                <a:gd name="connsiteY13470" fmla="*/ 2075324 h 3690338"/>
                <a:gd name="connsiteX13471" fmla="*/ 2734707 w 4878487"/>
                <a:gd name="connsiteY13471" fmla="*/ 2078078 h 3690338"/>
                <a:gd name="connsiteX13472" fmla="*/ 2736281 w 4878487"/>
                <a:gd name="connsiteY13472" fmla="*/ 2081225 h 3690338"/>
                <a:gd name="connsiteX13473" fmla="*/ 2736674 w 4878487"/>
                <a:gd name="connsiteY13473" fmla="*/ 2082012 h 3690338"/>
                <a:gd name="connsiteX13474" fmla="*/ 2736281 w 4878487"/>
                <a:gd name="connsiteY13474" fmla="*/ 2081619 h 3690338"/>
                <a:gd name="connsiteX13475" fmla="*/ 2736674 w 4878487"/>
                <a:gd name="connsiteY13475" fmla="*/ 2083586 h 3690338"/>
                <a:gd name="connsiteX13476" fmla="*/ 2737462 w 4878487"/>
                <a:gd name="connsiteY13476" fmla="*/ 2085553 h 3690338"/>
                <a:gd name="connsiteX13477" fmla="*/ 2738642 w 4878487"/>
                <a:gd name="connsiteY13477" fmla="*/ 2088700 h 3690338"/>
                <a:gd name="connsiteX13478" fmla="*/ 2741396 w 4878487"/>
                <a:gd name="connsiteY13478" fmla="*/ 2094208 h 3690338"/>
                <a:gd name="connsiteX13479" fmla="*/ 2743363 w 4878487"/>
                <a:gd name="connsiteY13479" fmla="*/ 2097356 h 3690338"/>
                <a:gd name="connsiteX13480" fmla="*/ 2744543 w 4878487"/>
                <a:gd name="connsiteY13480" fmla="*/ 2100110 h 3690338"/>
                <a:gd name="connsiteX13481" fmla="*/ 2746117 w 4878487"/>
                <a:gd name="connsiteY13481" fmla="*/ 2102864 h 3690338"/>
                <a:gd name="connsiteX13482" fmla="*/ 2747297 w 4878487"/>
                <a:gd name="connsiteY13482" fmla="*/ 2106011 h 3690338"/>
                <a:gd name="connsiteX13483" fmla="*/ 2750051 w 4878487"/>
                <a:gd name="connsiteY13483" fmla="*/ 2108765 h 3690338"/>
                <a:gd name="connsiteX13484" fmla="*/ 2750444 w 4878487"/>
                <a:gd name="connsiteY13484" fmla="*/ 2109159 h 3690338"/>
                <a:gd name="connsiteX13485" fmla="*/ 2752018 w 4878487"/>
                <a:gd name="connsiteY13485" fmla="*/ 2111519 h 3690338"/>
                <a:gd name="connsiteX13486" fmla="*/ 2752411 w 4878487"/>
                <a:gd name="connsiteY13486" fmla="*/ 2111519 h 3690338"/>
                <a:gd name="connsiteX13487" fmla="*/ 2752805 w 4878487"/>
                <a:gd name="connsiteY13487" fmla="*/ 2111913 h 3690338"/>
                <a:gd name="connsiteX13488" fmla="*/ 2752018 w 4878487"/>
                <a:gd name="connsiteY13488" fmla="*/ 2111913 h 3690338"/>
                <a:gd name="connsiteX13489" fmla="*/ 2752018 w 4878487"/>
                <a:gd name="connsiteY13489" fmla="*/ 2113486 h 3690338"/>
                <a:gd name="connsiteX13490" fmla="*/ 2754772 w 4878487"/>
                <a:gd name="connsiteY13490" fmla="*/ 2116240 h 3690338"/>
                <a:gd name="connsiteX13491" fmla="*/ 2755952 w 4878487"/>
                <a:gd name="connsiteY13491" fmla="*/ 2117814 h 3690338"/>
                <a:gd name="connsiteX13492" fmla="*/ 2759100 w 4878487"/>
                <a:gd name="connsiteY13492" fmla="*/ 2122142 h 3690338"/>
                <a:gd name="connsiteX13493" fmla="*/ 2759493 w 4878487"/>
                <a:gd name="connsiteY13493" fmla="*/ 2123715 h 3690338"/>
                <a:gd name="connsiteX13494" fmla="*/ 2759887 w 4878487"/>
                <a:gd name="connsiteY13494" fmla="*/ 2125289 h 3690338"/>
                <a:gd name="connsiteX13495" fmla="*/ 2761067 w 4878487"/>
                <a:gd name="connsiteY13495" fmla="*/ 2128043 h 3690338"/>
                <a:gd name="connsiteX13496" fmla="*/ 2761854 w 4878487"/>
                <a:gd name="connsiteY13496" fmla="*/ 2128830 h 3690338"/>
                <a:gd name="connsiteX13497" fmla="*/ 2770116 w 4878487"/>
                <a:gd name="connsiteY13497" fmla="*/ 2146928 h 3690338"/>
                <a:gd name="connsiteX13498" fmla="*/ 2770509 w 4878487"/>
                <a:gd name="connsiteY13498" fmla="*/ 2148501 h 3690338"/>
                <a:gd name="connsiteX13499" fmla="*/ 2772083 w 4878487"/>
                <a:gd name="connsiteY13499" fmla="*/ 2151649 h 3690338"/>
                <a:gd name="connsiteX13500" fmla="*/ 2772477 w 4878487"/>
                <a:gd name="connsiteY13500" fmla="*/ 2154403 h 3690338"/>
                <a:gd name="connsiteX13501" fmla="*/ 2774050 w 4878487"/>
                <a:gd name="connsiteY13501" fmla="*/ 2157157 h 3690338"/>
                <a:gd name="connsiteX13502" fmla="*/ 2775624 w 4878487"/>
                <a:gd name="connsiteY13502" fmla="*/ 2160304 h 3690338"/>
                <a:gd name="connsiteX13503" fmla="*/ 2776411 w 4878487"/>
                <a:gd name="connsiteY13503" fmla="*/ 2163058 h 3690338"/>
                <a:gd name="connsiteX13504" fmla="*/ 2777984 w 4878487"/>
                <a:gd name="connsiteY13504" fmla="*/ 2165812 h 3690338"/>
                <a:gd name="connsiteX13505" fmla="*/ 2778771 w 4878487"/>
                <a:gd name="connsiteY13505" fmla="*/ 2168566 h 3690338"/>
                <a:gd name="connsiteX13506" fmla="*/ 2781132 w 4878487"/>
                <a:gd name="connsiteY13506" fmla="*/ 2171320 h 3690338"/>
                <a:gd name="connsiteX13507" fmla="*/ 2779951 w 4878487"/>
                <a:gd name="connsiteY13507" fmla="*/ 2171713 h 3690338"/>
                <a:gd name="connsiteX13508" fmla="*/ 2780345 w 4878487"/>
                <a:gd name="connsiteY13508" fmla="*/ 2174861 h 3690338"/>
                <a:gd name="connsiteX13509" fmla="*/ 2781918 w 4878487"/>
                <a:gd name="connsiteY13509" fmla="*/ 2177615 h 3690338"/>
                <a:gd name="connsiteX13510" fmla="*/ 2782312 w 4878487"/>
                <a:gd name="connsiteY13510" fmla="*/ 2177615 h 3690338"/>
                <a:gd name="connsiteX13511" fmla="*/ 2783492 w 4878487"/>
                <a:gd name="connsiteY13511" fmla="*/ 2177615 h 3690338"/>
                <a:gd name="connsiteX13512" fmla="*/ 2783886 w 4878487"/>
                <a:gd name="connsiteY13512" fmla="*/ 2178402 h 3690338"/>
                <a:gd name="connsiteX13513" fmla="*/ 2783886 w 4878487"/>
                <a:gd name="connsiteY13513" fmla="*/ 2178795 h 3690338"/>
                <a:gd name="connsiteX13514" fmla="*/ 2784673 w 4878487"/>
                <a:gd name="connsiteY13514" fmla="*/ 2181549 h 3690338"/>
                <a:gd name="connsiteX13515" fmla="*/ 2784279 w 4878487"/>
                <a:gd name="connsiteY13515" fmla="*/ 2180762 h 3690338"/>
                <a:gd name="connsiteX13516" fmla="*/ 2783492 w 4878487"/>
                <a:gd name="connsiteY13516" fmla="*/ 2179189 h 3690338"/>
                <a:gd name="connsiteX13517" fmla="*/ 2783099 w 4878487"/>
                <a:gd name="connsiteY13517" fmla="*/ 2180369 h 3690338"/>
                <a:gd name="connsiteX13518" fmla="*/ 2783886 w 4878487"/>
                <a:gd name="connsiteY13518" fmla="*/ 2183516 h 3690338"/>
                <a:gd name="connsiteX13519" fmla="*/ 2784279 w 4878487"/>
                <a:gd name="connsiteY13519" fmla="*/ 2186270 h 3690338"/>
                <a:gd name="connsiteX13520" fmla="*/ 2785066 w 4878487"/>
                <a:gd name="connsiteY13520" fmla="*/ 2189024 h 3690338"/>
                <a:gd name="connsiteX13521" fmla="*/ 2784673 w 4878487"/>
                <a:gd name="connsiteY13521" fmla="*/ 2190204 h 3690338"/>
                <a:gd name="connsiteX13522" fmla="*/ 2785066 w 4878487"/>
                <a:gd name="connsiteY13522" fmla="*/ 2192959 h 3690338"/>
                <a:gd name="connsiteX13523" fmla="*/ 2785459 w 4878487"/>
                <a:gd name="connsiteY13523" fmla="*/ 2195712 h 3690338"/>
                <a:gd name="connsiteX13524" fmla="*/ 2786640 w 4878487"/>
                <a:gd name="connsiteY13524" fmla="*/ 2198860 h 3690338"/>
                <a:gd name="connsiteX13525" fmla="*/ 2787820 w 4878487"/>
                <a:gd name="connsiteY13525" fmla="*/ 2201614 h 3690338"/>
                <a:gd name="connsiteX13526" fmla="*/ 2789787 w 4878487"/>
                <a:gd name="connsiteY13526" fmla="*/ 2204368 h 3690338"/>
                <a:gd name="connsiteX13527" fmla="*/ 2790181 w 4878487"/>
                <a:gd name="connsiteY13527" fmla="*/ 2207515 h 3690338"/>
                <a:gd name="connsiteX13528" fmla="*/ 2791754 w 4878487"/>
                <a:gd name="connsiteY13528" fmla="*/ 2210269 h 3690338"/>
                <a:gd name="connsiteX13529" fmla="*/ 2792935 w 4878487"/>
                <a:gd name="connsiteY13529" fmla="*/ 2213023 h 3690338"/>
                <a:gd name="connsiteX13530" fmla="*/ 2793328 w 4878487"/>
                <a:gd name="connsiteY13530" fmla="*/ 2213417 h 3690338"/>
                <a:gd name="connsiteX13531" fmla="*/ 2793721 w 4878487"/>
                <a:gd name="connsiteY13531" fmla="*/ 2214990 h 3690338"/>
                <a:gd name="connsiteX13532" fmla="*/ 2799623 w 4878487"/>
                <a:gd name="connsiteY13532" fmla="*/ 2222072 h 3690338"/>
                <a:gd name="connsiteX13533" fmla="*/ 2801196 w 4878487"/>
                <a:gd name="connsiteY13533" fmla="*/ 2224433 h 3690338"/>
                <a:gd name="connsiteX13534" fmla="*/ 2803164 w 4878487"/>
                <a:gd name="connsiteY13534" fmla="*/ 2227186 h 3690338"/>
                <a:gd name="connsiteX13535" fmla="*/ 2805524 w 4878487"/>
                <a:gd name="connsiteY13535" fmla="*/ 2229940 h 3690338"/>
                <a:gd name="connsiteX13536" fmla="*/ 2808278 w 4878487"/>
                <a:gd name="connsiteY13536" fmla="*/ 2233088 h 3690338"/>
                <a:gd name="connsiteX13537" fmla="*/ 2811032 w 4878487"/>
                <a:gd name="connsiteY13537" fmla="*/ 2235449 h 3690338"/>
                <a:gd name="connsiteX13538" fmla="*/ 2813393 w 4878487"/>
                <a:gd name="connsiteY13538" fmla="*/ 2237809 h 3690338"/>
                <a:gd name="connsiteX13539" fmla="*/ 2816147 w 4878487"/>
                <a:gd name="connsiteY13539" fmla="*/ 2239776 h 3690338"/>
                <a:gd name="connsiteX13540" fmla="*/ 2818901 w 4878487"/>
                <a:gd name="connsiteY13540" fmla="*/ 2241350 h 3690338"/>
                <a:gd name="connsiteX13541" fmla="*/ 2822048 w 4878487"/>
                <a:gd name="connsiteY13541" fmla="*/ 2242530 h 3690338"/>
                <a:gd name="connsiteX13542" fmla="*/ 2824802 w 4878487"/>
                <a:gd name="connsiteY13542" fmla="*/ 2241350 h 3690338"/>
                <a:gd name="connsiteX13543" fmla="*/ 2827950 w 4878487"/>
                <a:gd name="connsiteY13543" fmla="*/ 2239776 h 3690338"/>
                <a:gd name="connsiteX13544" fmla="*/ 2830703 w 4878487"/>
                <a:gd name="connsiteY13544" fmla="*/ 2238989 h 3690338"/>
                <a:gd name="connsiteX13545" fmla="*/ 2833458 w 4878487"/>
                <a:gd name="connsiteY13545" fmla="*/ 2236629 h 3690338"/>
                <a:gd name="connsiteX13546" fmla="*/ 2836211 w 4878487"/>
                <a:gd name="connsiteY13546" fmla="*/ 2234268 h 3690338"/>
                <a:gd name="connsiteX13547" fmla="*/ 2838965 w 4878487"/>
                <a:gd name="connsiteY13547" fmla="*/ 2231514 h 3690338"/>
                <a:gd name="connsiteX13548" fmla="*/ 2840932 w 4878487"/>
                <a:gd name="connsiteY13548" fmla="*/ 2228367 h 3690338"/>
                <a:gd name="connsiteX13549" fmla="*/ 2841326 w 4878487"/>
                <a:gd name="connsiteY13549" fmla="*/ 2225613 h 3690338"/>
                <a:gd name="connsiteX13550" fmla="*/ 2840146 w 4878487"/>
                <a:gd name="connsiteY13550" fmla="*/ 2222466 h 3690338"/>
                <a:gd name="connsiteX13551" fmla="*/ 2841720 w 4878487"/>
                <a:gd name="connsiteY13551" fmla="*/ 2220105 h 3690338"/>
                <a:gd name="connsiteX13552" fmla="*/ 2842113 w 4878487"/>
                <a:gd name="connsiteY13552" fmla="*/ 2217351 h 3690338"/>
                <a:gd name="connsiteX13553" fmla="*/ 2879882 w 4878487"/>
                <a:gd name="connsiteY13553" fmla="*/ 2205942 h 3690338"/>
                <a:gd name="connsiteX13554" fmla="*/ 2879882 w 4878487"/>
                <a:gd name="connsiteY13554" fmla="*/ 2205548 h 3690338"/>
                <a:gd name="connsiteX13555" fmla="*/ 2879882 w 4878487"/>
                <a:gd name="connsiteY13555" fmla="*/ 2205548 h 3690338"/>
                <a:gd name="connsiteX13556" fmla="*/ 2872013 w 4878487"/>
                <a:gd name="connsiteY13556" fmla="*/ 2177221 h 3690338"/>
                <a:gd name="connsiteX13557" fmla="*/ 2873194 w 4878487"/>
                <a:gd name="connsiteY13557" fmla="*/ 2176041 h 3690338"/>
                <a:gd name="connsiteX13558" fmla="*/ 2873194 w 4878487"/>
                <a:gd name="connsiteY13558" fmla="*/ 2175648 h 3690338"/>
                <a:gd name="connsiteX13559" fmla="*/ 2880275 w 4878487"/>
                <a:gd name="connsiteY13559" fmla="*/ 2165419 h 3690338"/>
                <a:gd name="connsiteX13560" fmla="*/ 2881456 w 4878487"/>
                <a:gd name="connsiteY13560" fmla="*/ 2166992 h 3690338"/>
                <a:gd name="connsiteX13561" fmla="*/ 2884209 w 4878487"/>
                <a:gd name="connsiteY13561" fmla="*/ 2167779 h 3690338"/>
                <a:gd name="connsiteX13562" fmla="*/ 2887357 w 4878487"/>
                <a:gd name="connsiteY13562" fmla="*/ 2167386 h 3690338"/>
                <a:gd name="connsiteX13563" fmla="*/ 2884209 w 4878487"/>
                <a:gd name="connsiteY13563" fmla="*/ 2165812 h 3690338"/>
                <a:gd name="connsiteX13564" fmla="*/ 2887357 w 4878487"/>
                <a:gd name="connsiteY13564" fmla="*/ 2166205 h 3690338"/>
                <a:gd name="connsiteX13565" fmla="*/ 2890111 w 4878487"/>
                <a:gd name="connsiteY13565" fmla="*/ 2166599 h 3690338"/>
                <a:gd name="connsiteX13566" fmla="*/ 2890111 w 4878487"/>
                <a:gd name="connsiteY13566" fmla="*/ 2163452 h 3690338"/>
                <a:gd name="connsiteX13567" fmla="*/ 2889717 w 4878487"/>
                <a:gd name="connsiteY13567" fmla="*/ 2160698 h 3690338"/>
                <a:gd name="connsiteX13568" fmla="*/ 2889324 w 4878487"/>
                <a:gd name="connsiteY13568" fmla="*/ 2157943 h 3690338"/>
                <a:gd name="connsiteX13569" fmla="*/ 2888931 w 4878487"/>
                <a:gd name="connsiteY13569" fmla="*/ 2155189 h 3690338"/>
                <a:gd name="connsiteX13570" fmla="*/ 2888537 w 4878487"/>
                <a:gd name="connsiteY13570" fmla="*/ 2152435 h 3690338"/>
                <a:gd name="connsiteX13571" fmla="*/ 2888144 w 4878487"/>
                <a:gd name="connsiteY13571" fmla="*/ 2149288 h 3690338"/>
                <a:gd name="connsiteX13572" fmla="*/ 2888144 w 4878487"/>
                <a:gd name="connsiteY13572" fmla="*/ 2147321 h 3690338"/>
                <a:gd name="connsiteX13573" fmla="*/ 2888144 w 4878487"/>
                <a:gd name="connsiteY13573" fmla="*/ 2146141 h 3690338"/>
                <a:gd name="connsiteX13574" fmla="*/ 2888144 w 4878487"/>
                <a:gd name="connsiteY13574" fmla="*/ 2142600 h 3690338"/>
                <a:gd name="connsiteX13575" fmla="*/ 2888144 w 4878487"/>
                <a:gd name="connsiteY13575" fmla="*/ 2141420 h 3690338"/>
                <a:gd name="connsiteX13576" fmla="*/ 2887750 w 4878487"/>
                <a:gd name="connsiteY13576" fmla="*/ 2138666 h 3690338"/>
                <a:gd name="connsiteX13577" fmla="*/ 2887357 w 4878487"/>
                <a:gd name="connsiteY13577" fmla="*/ 2136698 h 3690338"/>
                <a:gd name="connsiteX13578" fmla="*/ 2886570 w 4878487"/>
                <a:gd name="connsiteY13578" fmla="*/ 2133945 h 3690338"/>
                <a:gd name="connsiteX13579" fmla="*/ 2884603 w 4878487"/>
                <a:gd name="connsiteY13579" fmla="*/ 2130797 h 3690338"/>
                <a:gd name="connsiteX13580" fmla="*/ 2881849 w 4878487"/>
                <a:gd name="connsiteY13580" fmla="*/ 2133158 h 3690338"/>
                <a:gd name="connsiteX13581" fmla="*/ 2882242 w 4878487"/>
                <a:gd name="connsiteY13581" fmla="*/ 2132764 h 3690338"/>
                <a:gd name="connsiteX13582" fmla="*/ 2883816 w 4878487"/>
                <a:gd name="connsiteY13582" fmla="*/ 2131191 h 3690338"/>
                <a:gd name="connsiteX13583" fmla="*/ 2884996 w 4878487"/>
                <a:gd name="connsiteY13583" fmla="*/ 2128437 h 3690338"/>
                <a:gd name="connsiteX13584" fmla="*/ 2884209 w 4878487"/>
                <a:gd name="connsiteY13584" fmla="*/ 2125682 h 3690338"/>
                <a:gd name="connsiteX13585" fmla="*/ 2884209 w 4878487"/>
                <a:gd name="connsiteY13585" fmla="*/ 2122535 h 3690338"/>
                <a:gd name="connsiteX13586" fmla="*/ 2884603 w 4878487"/>
                <a:gd name="connsiteY13586" fmla="*/ 2119781 h 3690338"/>
                <a:gd name="connsiteX13587" fmla="*/ 2884603 w 4878487"/>
                <a:gd name="connsiteY13587" fmla="*/ 2117421 h 3690338"/>
                <a:gd name="connsiteX13588" fmla="*/ 2884996 w 4878487"/>
                <a:gd name="connsiteY13588" fmla="*/ 2116240 h 3690338"/>
                <a:gd name="connsiteX13589" fmla="*/ 2884996 w 4878487"/>
                <a:gd name="connsiteY13589" fmla="*/ 2115847 h 3690338"/>
                <a:gd name="connsiteX13590" fmla="*/ 2885783 w 4878487"/>
                <a:gd name="connsiteY13590" fmla="*/ 2111519 h 3690338"/>
                <a:gd name="connsiteX13591" fmla="*/ 2886176 w 4878487"/>
                <a:gd name="connsiteY13591" fmla="*/ 2109945 h 3690338"/>
                <a:gd name="connsiteX13592" fmla="*/ 2886570 w 4878487"/>
                <a:gd name="connsiteY13592" fmla="*/ 2108372 h 3690338"/>
                <a:gd name="connsiteX13593" fmla="*/ 2889717 w 4878487"/>
                <a:gd name="connsiteY13593" fmla="*/ 2102470 h 3690338"/>
                <a:gd name="connsiteX13594" fmla="*/ 2889717 w 4878487"/>
                <a:gd name="connsiteY13594" fmla="*/ 2102077 h 3690338"/>
                <a:gd name="connsiteX13595" fmla="*/ 2889717 w 4878487"/>
                <a:gd name="connsiteY13595" fmla="*/ 2101290 h 3690338"/>
                <a:gd name="connsiteX13596" fmla="*/ 2891684 w 4878487"/>
                <a:gd name="connsiteY13596" fmla="*/ 2098536 h 3690338"/>
                <a:gd name="connsiteX13597" fmla="*/ 2893258 w 4878487"/>
                <a:gd name="connsiteY13597" fmla="*/ 2095782 h 3690338"/>
                <a:gd name="connsiteX13598" fmla="*/ 2893652 w 4878487"/>
                <a:gd name="connsiteY13598" fmla="*/ 2094208 h 3690338"/>
                <a:gd name="connsiteX13599" fmla="*/ 2894439 w 4878487"/>
                <a:gd name="connsiteY13599" fmla="*/ 2091454 h 3690338"/>
                <a:gd name="connsiteX13600" fmla="*/ 2895619 w 4878487"/>
                <a:gd name="connsiteY13600" fmla="*/ 2085946 h 3690338"/>
                <a:gd name="connsiteX13601" fmla="*/ 2896406 w 4878487"/>
                <a:gd name="connsiteY13601" fmla="*/ 2083192 h 3690338"/>
                <a:gd name="connsiteX13602" fmla="*/ 2896406 w 4878487"/>
                <a:gd name="connsiteY13602" fmla="*/ 2080045 h 3690338"/>
                <a:gd name="connsiteX13603" fmla="*/ 2896012 w 4878487"/>
                <a:gd name="connsiteY13603" fmla="*/ 2077291 h 3690338"/>
                <a:gd name="connsiteX13604" fmla="*/ 2896406 w 4878487"/>
                <a:gd name="connsiteY13604" fmla="*/ 2074537 h 3690338"/>
                <a:gd name="connsiteX13605" fmla="*/ 2896799 w 4878487"/>
                <a:gd name="connsiteY13605" fmla="*/ 2071783 h 3690338"/>
                <a:gd name="connsiteX13606" fmla="*/ 2896799 w 4878487"/>
                <a:gd name="connsiteY13606" fmla="*/ 2068636 h 3690338"/>
                <a:gd name="connsiteX13607" fmla="*/ 2897586 w 4878487"/>
                <a:gd name="connsiteY13607" fmla="*/ 2065882 h 3690338"/>
                <a:gd name="connsiteX13608" fmla="*/ 2897193 w 4878487"/>
                <a:gd name="connsiteY13608" fmla="*/ 2063128 h 3690338"/>
                <a:gd name="connsiteX13609" fmla="*/ 2894832 w 4878487"/>
                <a:gd name="connsiteY13609" fmla="*/ 2060374 h 3690338"/>
                <a:gd name="connsiteX13610" fmla="*/ 2890111 w 4878487"/>
                <a:gd name="connsiteY13610" fmla="*/ 2058800 h 3690338"/>
                <a:gd name="connsiteX13611" fmla="*/ 2890505 w 4878487"/>
                <a:gd name="connsiteY13611" fmla="*/ 2055259 h 3690338"/>
                <a:gd name="connsiteX13612" fmla="*/ 2895225 w 4878487"/>
                <a:gd name="connsiteY13612" fmla="*/ 2058800 h 3690338"/>
                <a:gd name="connsiteX13613" fmla="*/ 2895619 w 4878487"/>
                <a:gd name="connsiteY13613" fmla="*/ 2058407 h 3690338"/>
                <a:gd name="connsiteX13614" fmla="*/ 2894045 w 4878487"/>
                <a:gd name="connsiteY13614" fmla="*/ 2049751 h 3690338"/>
                <a:gd name="connsiteX13615" fmla="*/ 2894045 w 4878487"/>
                <a:gd name="connsiteY13615" fmla="*/ 2049751 h 3690338"/>
                <a:gd name="connsiteX13616" fmla="*/ 2894045 w 4878487"/>
                <a:gd name="connsiteY13616" fmla="*/ 2049751 h 3690338"/>
                <a:gd name="connsiteX13617" fmla="*/ 2890111 w 4878487"/>
                <a:gd name="connsiteY13617" fmla="*/ 2029687 h 3690338"/>
                <a:gd name="connsiteX13618" fmla="*/ 2890111 w 4878487"/>
                <a:gd name="connsiteY13618" fmla="*/ 2029293 h 3690338"/>
                <a:gd name="connsiteX13619" fmla="*/ 2890111 w 4878487"/>
                <a:gd name="connsiteY13619" fmla="*/ 2026146 h 3690338"/>
                <a:gd name="connsiteX13620" fmla="*/ 2890505 w 4878487"/>
                <a:gd name="connsiteY13620" fmla="*/ 2023392 h 3690338"/>
                <a:gd name="connsiteX13621" fmla="*/ 2888931 w 4878487"/>
                <a:gd name="connsiteY13621" fmla="*/ 2022998 h 3690338"/>
                <a:gd name="connsiteX13622" fmla="*/ 2889324 w 4878487"/>
                <a:gd name="connsiteY13622" fmla="*/ 2021031 h 3690338"/>
                <a:gd name="connsiteX13623" fmla="*/ 2904274 w 4878487"/>
                <a:gd name="connsiteY13623" fmla="*/ 1979721 h 3690338"/>
                <a:gd name="connsiteX13624" fmla="*/ 2905061 w 4878487"/>
                <a:gd name="connsiteY13624" fmla="*/ 1980508 h 3690338"/>
                <a:gd name="connsiteX13625" fmla="*/ 2905061 w 4878487"/>
                <a:gd name="connsiteY13625" fmla="*/ 1983656 h 3690338"/>
                <a:gd name="connsiteX13626" fmla="*/ 2906242 w 4878487"/>
                <a:gd name="connsiteY13626" fmla="*/ 1980508 h 3690338"/>
                <a:gd name="connsiteX13627" fmla="*/ 2907422 w 4878487"/>
                <a:gd name="connsiteY13627" fmla="*/ 1977754 h 3690338"/>
                <a:gd name="connsiteX13628" fmla="*/ 2907028 w 4878487"/>
                <a:gd name="connsiteY13628" fmla="*/ 1974607 h 3690338"/>
                <a:gd name="connsiteX13629" fmla="*/ 2907815 w 4878487"/>
                <a:gd name="connsiteY13629" fmla="*/ 1976967 h 3690338"/>
                <a:gd name="connsiteX13630" fmla="*/ 2908209 w 4878487"/>
                <a:gd name="connsiteY13630" fmla="*/ 1979721 h 3690338"/>
                <a:gd name="connsiteX13631" fmla="*/ 2910962 w 4878487"/>
                <a:gd name="connsiteY13631" fmla="*/ 1982082 h 3690338"/>
                <a:gd name="connsiteX13632" fmla="*/ 2914503 w 4878487"/>
                <a:gd name="connsiteY13632" fmla="*/ 1975394 h 3690338"/>
                <a:gd name="connsiteX13633" fmla="*/ 2937322 w 4878487"/>
                <a:gd name="connsiteY13633" fmla="*/ 1960837 h 3690338"/>
                <a:gd name="connsiteX13634" fmla="*/ 2940469 w 4878487"/>
                <a:gd name="connsiteY13634" fmla="*/ 1959263 h 3690338"/>
                <a:gd name="connsiteX13635" fmla="*/ 2943223 w 4878487"/>
                <a:gd name="connsiteY13635" fmla="*/ 1957689 h 3690338"/>
                <a:gd name="connsiteX13636" fmla="*/ 2945978 w 4878487"/>
                <a:gd name="connsiteY13636" fmla="*/ 1955329 h 3690338"/>
                <a:gd name="connsiteX13637" fmla="*/ 2946371 w 4878487"/>
                <a:gd name="connsiteY13637" fmla="*/ 1954149 h 3690338"/>
                <a:gd name="connsiteX13638" fmla="*/ 2946371 w 4878487"/>
                <a:gd name="connsiteY13638" fmla="*/ 1952968 h 3690338"/>
                <a:gd name="connsiteX13639" fmla="*/ 2947945 w 4878487"/>
                <a:gd name="connsiteY13639" fmla="*/ 1950214 h 3690338"/>
                <a:gd name="connsiteX13640" fmla="*/ 2948338 w 4878487"/>
                <a:gd name="connsiteY13640" fmla="*/ 1947067 h 3690338"/>
                <a:gd name="connsiteX13641" fmla="*/ 2948338 w 4878487"/>
                <a:gd name="connsiteY13641" fmla="*/ 1946673 h 3690338"/>
                <a:gd name="connsiteX13642" fmla="*/ 2966829 w 4878487"/>
                <a:gd name="connsiteY13642" fmla="*/ 1922675 h 3690338"/>
                <a:gd name="connsiteX13643" fmla="*/ 2967616 w 4878487"/>
                <a:gd name="connsiteY13643" fmla="*/ 1922281 h 3690338"/>
                <a:gd name="connsiteX13644" fmla="*/ 2970763 w 4878487"/>
                <a:gd name="connsiteY13644" fmla="*/ 1920707 h 3690338"/>
                <a:gd name="connsiteX13645" fmla="*/ 2973124 w 4878487"/>
                <a:gd name="connsiteY13645" fmla="*/ 1917953 h 3690338"/>
                <a:gd name="connsiteX13646" fmla="*/ 2971550 w 4878487"/>
                <a:gd name="connsiteY13646" fmla="*/ 1917166 h 3690338"/>
                <a:gd name="connsiteX13647" fmla="*/ 2972337 w 4878487"/>
                <a:gd name="connsiteY13647" fmla="*/ 1916773 h 3690338"/>
                <a:gd name="connsiteX13648" fmla="*/ 2975485 w 4878487"/>
                <a:gd name="connsiteY13648" fmla="*/ 1914806 h 3690338"/>
                <a:gd name="connsiteX13649" fmla="*/ 2976271 w 4878487"/>
                <a:gd name="connsiteY13649" fmla="*/ 1912445 h 3690338"/>
                <a:gd name="connsiteX13650" fmla="*/ 2985714 w 4878487"/>
                <a:gd name="connsiteY13650" fmla="*/ 1901823 h 3690338"/>
                <a:gd name="connsiteX13651" fmla="*/ 2988861 w 4878487"/>
                <a:gd name="connsiteY13651" fmla="*/ 1900249 h 3690338"/>
                <a:gd name="connsiteX13652" fmla="*/ 2991615 w 4878487"/>
                <a:gd name="connsiteY13652" fmla="*/ 1898675 h 3690338"/>
                <a:gd name="connsiteX13653" fmla="*/ 2994369 w 4878487"/>
                <a:gd name="connsiteY13653" fmla="*/ 1897102 h 3690338"/>
                <a:gd name="connsiteX13654" fmla="*/ 2995549 w 4878487"/>
                <a:gd name="connsiteY13654" fmla="*/ 1894741 h 3690338"/>
                <a:gd name="connsiteX13655" fmla="*/ 2997516 w 4878487"/>
                <a:gd name="connsiteY13655" fmla="*/ 1891987 h 3690338"/>
                <a:gd name="connsiteX13656" fmla="*/ 2999483 w 4878487"/>
                <a:gd name="connsiteY13656" fmla="*/ 1889233 h 3690338"/>
                <a:gd name="connsiteX13657" fmla="*/ 3001844 w 4878487"/>
                <a:gd name="connsiteY13657" fmla="*/ 1886479 h 3690338"/>
                <a:gd name="connsiteX13658" fmla="*/ 3003811 w 4878487"/>
                <a:gd name="connsiteY13658" fmla="*/ 1883332 h 3690338"/>
                <a:gd name="connsiteX13659" fmla="*/ 3005778 w 4878487"/>
                <a:gd name="connsiteY13659" fmla="*/ 1880578 h 3690338"/>
                <a:gd name="connsiteX13660" fmla="*/ 3007352 w 4878487"/>
                <a:gd name="connsiteY13660" fmla="*/ 1877824 h 3690338"/>
                <a:gd name="connsiteX13661" fmla="*/ 3010893 w 4878487"/>
                <a:gd name="connsiteY13661" fmla="*/ 1872316 h 3690338"/>
                <a:gd name="connsiteX13662" fmla="*/ 3012467 w 4878487"/>
                <a:gd name="connsiteY13662" fmla="*/ 1869562 h 3690338"/>
                <a:gd name="connsiteX13663" fmla="*/ 3012467 w 4878487"/>
                <a:gd name="connsiteY13663" fmla="*/ 1868775 h 3690338"/>
                <a:gd name="connsiteX13664" fmla="*/ 3027023 w 4878487"/>
                <a:gd name="connsiteY13664" fmla="*/ 1853038 h 3690338"/>
                <a:gd name="connsiteX13665" fmla="*/ 3027417 w 4878487"/>
                <a:gd name="connsiteY13665" fmla="*/ 1852645 h 3690338"/>
                <a:gd name="connsiteX13666" fmla="*/ 3027023 w 4878487"/>
                <a:gd name="connsiteY13666" fmla="*/ 1853038 h 3690338"/>
                <a:gd name="connsiteX13667" fmla="*/ 3026237 w 4878487"/>
                <a:gd name="connsiteY13667" fmla="*/ 1851464 h 3690338"/>
                <a:gd name="connsiteX13668" fmla="*/ 3028204 w 4878487"/>
                <a:gd name="connsiteY13668" fmla="*/ 1851071 h 3690338"/>
                <a:gd name="connsiteX13669" fmla="*/ 3027810 w 4878487"/>
                <a:gd name="connsiteY13669" fmla="*/ 1849891 h 3690338"/>
                <a:gd name="connsiteX13670" fmla="*/ 3031744 w 4878487"/>
                <a:gd name="connsiteY13670" fmla="*/ 1848317 h 3690338"/>
                <a:gd name="connsiteX13671" fmla="*/ 3030171 w 4878487"/>
                <a:gd name="connsiteY13671" fmla="*/ 1849497 h 3690338"/>
                <a:gd name="connsiteX13672" fmla="*/ 3032925 w 4878487"/>
                <a:gd name="connsiteY13672" fmla="*/ 1849104 h 3690338"/>
                <a:gd name="connsiteX13673" fmla="*/ 3035678 w 4878487"/>
                <a:gd name="connsiteY13673" fmla="*/ 1847924 h 3690338"/>
                <a:gd name="connsiteX13674" fmla="*/ 3038826 w 4878487"/>
                <a:gd name="connsiteY13674" fmla="*/ 1846350 h 3690338"/>
                <a:gd name="connsiteX13675" fmla="*/ 3041580 w 4878487"/>
                <a:gd name="connsiteY13675" fmla="*/ 1845563 h 3690338"/>
                <a:gd name="connsiteX13676" fmla="*/ 3044727 w 4878487"/>
                <a:gd name="connsiteY13676" fmla="*/ 1844383 h 3690338"/>
                <a:gd name="connsiteX13677" fmla="*/ 3047481 w 4878487"/>
                <a:gd name="connsiteY13677" fmla="*/ 1843989 h 3690338"/>
                <a:gd name="connsiteX13678" fmla="*/ 3050629 w 4878487"/>
                <a:gd name="connsiteY13678" fmla="*/ 1842809 h 3690338"/>
                <a:gd name="connsiteX13679" fmla="*/ 3053383 w 4878487"/>
                <a:gd name="connsiteY13679" fmla="*/ 1841235 h 3690338"/>
                <a:gd name="connsiteX13680" fmla="*/ 3056137 w 4878487"/>
                <a:gd name="connsiteY13680" fmla="*/ 1839662 h 3690338"/>
                <a:gd name="connsiteX13681" fmla="*/ 3053776 w 4878487"/>
                <a:gd name="connsiteY13681" fmla="*/ 1838088 h 3690338"/>
                <a:gd name="connsiteX13682" fmla="*/ 3049055 w 4878487"/>
                <a:gd name="connsiteY13682" fmla="*/ 1833367 h 3690338"/>
                <a:gd name="connsiteX13683" fmla="*/ 3051809 w 4878487"/>
                <a:gd name="connsiteY13683" fmla="*/ 1836121 h 3690338"/>
                <a:gd name="connsiteX13684" fmla="*/ 3054170 w 4878487"/>
                <a:gd name="connsiteY13684" fmla="*/ 1837301 h 3690338"/>
                <a:gd name="connsiteX13685" fmla="*/ 3055350 w 4878487"/>
                <a:gd name="connsiteY13685" fmla="*/ 1838088 h 3690338"/>
                <a:gd name="connsiteX13686" fmla="*/ 3056530 w 4878487"/>
                <a:gd name="connsiteY13686" fmla="*/ 1838088 h 3690338"/>
                <a:gd name="connsiteX13687" fmla="*/ 3062825 w 4878487"/>
                <a:gd name="connsiteY13687" fmla="*/ 1829826 h 3690338"/>
                <a:gd name="connsiteX13688" fmla="*/ 3064399 w 4878487"/>
                <a:gd name="connsiteY13688" fmla="*/ 1829039 h 3690338"/>
                <a:gd name="connsiteX13689" fmla="*/ 3064399 w 4878487"/>
                <a:gd name="connsiteY13689" fmla="*/ 1831400 h 3690338"/>
                <a:gd name="connsiteX13690" fmla="*/ 3067153 w 4878487"/>
                <a:gd name="connsiteY13690" fmla="*/ 1828646 h 3690338"/>
                <a:gd name="connsiteX13691" fmla="*/ 3066366 w 4878487"/>
                <a:gd name="connsiteY13691" fmla="*/ 1827859 h 3690338"/>
                <a:gd name="connsiteX13692" fmla="*/ 3071087 w 4878487"/>
                <a:gd name="connsiteY13692" fmla="*/ 1819597 h 3690338"/>
                <a:gd name="connsiteX13693" fmla="*/ 3069514 w 4878487"/>
                <a:gd name="connsiteY13693" fmla="*/ 1818023 h 3690338"/>
                <a:gd name="connsiteX13694" fmla="*/ 3067546 w 4878487"/>
                <a:gd name="connsiteY13694" fmla="*/ 1815663 h 3690338"/>
                <a:gd name="connsiteX13695" fmla="*/ 3069120 w 4878487"/>
                <a:gd name="connsiteY13695" fmla="*/ 1812908 h 3690338"/>
                <a:gd name="connsiteX13696" fmla="*/ 3068726 w 4878487"/>
                <a:gd name="connsiteY13696" fmla="*/ 1812515 h 3690338"/>
                <a:gd name="connsiteX13697" fmla="*/ 3078169 w 4878487"/>
                <a:gd name="connsiteY13697" fmla="*/ 1789303 h 3690338"/>
                <a:gd name="connsiteX13698" fmla="*/ 3081710 w 4878487"/>
                <a:gd name="connsiteY13698" fmla="*/ 1787336 h 3690338"/>
                <a:gd name="connsiteX13699" fmla="*/ 3084463 w 4878487"/>
                <a:gd name="connsiteY13699" fmla="*/ 1786942 h 3690338"/>
                <a:gd name="connsiteX13700" fmla="*/ 3087218 w 4878487"/>
                <a:gd name="connsiteY13700" fmla="*/ 1786549 h 3690338"/>
                <a:gd name="connsiteX13701" fmla="*/ 3089972 w 4878487"/>
                <a:gd name="connsiteY13701" fmla="*/ 1784975 h 3690338"/>
                <a:gd name="connsiteX13702" fmla="*/ 3092725 w 4878487"/>
                <a:gd name="connsiteY13702" fmla="*/ 1782221 h 3690338"/>
                <a:gd name="connsiteX13703" fmla="*/ 3095480 w 4878487"/>
                <a:gd name="connsiteY13703" fmla="*/ 1779467 h 3690338"/>
                <a:gd name="connsiteX13704" fmla="*/ 3096660 w 4878487"/>
                <a:gd name="connsiteY13704" fmla="*/ 1776713 h 3690338"/>
                <a:gd name="connsiteX13705" fmla="*/ 3098233 w 4878487"/>
                <a:gd name="connsiteY13705" fmla="*/ 1773959 h 3690338"/>
                <a:gd name="connsiteX13706" fmla="*/ 3098627 w 4878487"/>
                <a:gd name="connsiteY13706" fmla="*/ 1773566 h 3690338"/>
                <a:gd name="connsiteX13707" fmla="*/ 3102561 w 4878487"/>
                <a:gd name="connsiteY13707" fmla="*/ 1785369 h 3690338"/>
                <a:gd name="connsiteX13708" fmla="*/ 3102561 w 4878487"/>
                <a:gd name="connsiteY13708" fmla="*/ 1788123 h 3690338"/>
                <a:gd name="connsiteX13709" fmla="*/ 3102955 w 4878487"/>
                <a:gd name="connsiteY13709" fmla="*/ 1788516 h 3690338"/>
                <a:gd name="connsiteX13710" fmla="*/ 3104528 w 4878487"/>
                <a:gd name="connsiteY13710" fmla="*/ 1790483 h 3690338"/>
                <a:gd name="connsiteX13711" fmla="*/ 3105315 w 4878487"/>
                <a:gd name="connsiteY13711" fmla="*/ 1787729 h 3690338"/>
                <a:gd name="connsiteX13712" fmla="*/ 3105315 w 4878487"/>
                <a:gd name="connsiteY13712" fmla="*/ 1787336 h 3690338"/>
                <a:gd name="connsiteX13713" fmla="*/ 3105315 w 4878487"/>
                <a:gd name="connsiteY13713" fmla="*/ 1786942 h 3690338"/>
                <a:gd name="connsiteX13714" fmla="*/ 3105315 w 4878487"/>
                <a:gd name="connsiteY13714" fmla="*/ 1787336 h 3690338"/>
                <a:gd name="connsiteX13715" fmla="*/ 3106102 w 4878487"/>
                <a:gd name="connsiteY13715" fmla="*/ 1784975 h 3690338"/>
                <a:gd name="connsiteX13716" fmla="*/ 3107676 w 4878487"/>
                <a:gd name="connsiteY13716" fmla="*/ 1785369 h 3690338"/>
                <a:gd name="connsiteX13717" fmla="*/ 3108069 w 4878487"/>
                <a:gd name="connsiteY13717" fmla="*/ 1788516 h 3690338"/>
                <a:gd name="connsiteX13718" fmla="*/ 3109643 w 4878487"/>
                <a:gd name="connsiteY13718" fmla="*/ 1788516 h 3690338"/>
                <a:gd name="connsiteX13719" fmla="*/ 3110036 w 4878487"/>
                <a:gd name="connsiteY13719" fmla="*/ 1785762 h 3690338"/>
                <a:gd name="connsiteX13720" fmla="*/ 3109643 w 4878487"/>
                <a:gd name="connsiteY13720" fmla="*/ 1783008 h 3690338"/>
                <a:gd name="connsiteX13721" fmla="*/ 3109250 w 4878487"/>
                <a:gd name="connsiteY13721" fmla="*/ 1782221 h 3690338"/>
                <a:gd name="connsiteX13722" fmla="*/ 3109643 w 4878487"/>
                <a:gd name="connsiteY13722" fmla="*/ 1781041 h 3690338"/>
                <a:gd name="connsiteX13723" fmla="*/ 3109250 w 4878487"/>
                <a:gd name="connsiteY13723" fmla="*/ 1779074 h 3690338"/>
                <a:gd name="connsiteX13724" fmla="*/ 3110823 w 4878487"/>
                <a:gd name="connsiteY13724" fmla="*/ 1784582 h 3690338"/>
                <a:gd name="connsiteX13725" fmla="*/ 3110823 w 4878487"/>
                <a:gd name="connsiteY13725" fmla="*/ 1784975 h 3690338"/>
                <a:gd name="connsiteX13726" fmla="*/ 3111610 w 4878487"/>
                <a:gd name="connsiteY13726" fmla="*/ 1787336 h 3690338"/>
                <a:gd name="connsiteX13727" fmla="*/ 3111610 w 4878487"/>
                <a:gd name="connsiteY13727" fmla="*/ 1789303 h 3690338"/>
                <a:gd name="connsiteX13728" fmla="*/ 3112397 w 4878487"/>
                <a:gd name="connsiteY13728" fmla="*/ 1791664 h 3690338"/>
                <a:gd name="connsiteX13729" fmla="*/ 3112003 w 4878487"/>
                <a:gd name="connsiteY13729" fmla="*/ 1790090 h 3690338"/>
                <a:gd name="connsiteX13730" fmla="*/ 3113184 w 4878487"/>
                <a:gd name="connsiteY13730" fmla="*/ 1788516 h 3690338"/>
                <a:gd name="connsiteX13731" fmla="*/ 3113184 w 4878487"/>
                <a:gd name="connsiteY13731" fmla="*/ 1785762 h 3690338"/>
                <a:gd name="connsiteX13732" fmla="*/ 3112790 w 4878487"/>
                <a:gd name="connsiteY13732" fmla="*/ 1783402 h 3690338"/>
                <a:gd name="connsiteX13733" fmla="*/ 3112397 w 4878487"/>
                <a:gd name="connsiteY13733" fmla="*/ 1779074 h 3690338"/>
                <a:gd name="connsiteX13734" fmla="*/ 3112790 w 4878487"/>
                <a:gd name="connsiteY13734" fmla="*/ 1777894 h 3690338"/>
                <a:gd name="connsiteX13735" fmla="*/ 3112790 w 4878487"/>
                <a:gd name="connsiteY13735" fmla="*/ 1774746 h 3690338"/>
                <a:gd name="connsiteX13736" fmla="*/ 3112003 w 4878487"/>
                <a:gd name="connsiteY13736" fmla="*/ 1772386 h 3690338"/>
                <a:gd name="connsiteX13737" fmla="*/ 3113184 w 4878487"/>
                <a:gd name="connsiteY13737" fmla="*/ 1769238 h 3690338"/>
                <a:gd name="connsiteX13738" fmla="*/ 3113184 w 4878487"/>
                <a:gd name="connsiteY13738" fmla="*/ 1768845 h 3690338"/>
                <a:gd name="connsiteX13739" fmla="*/ 3113577 w 4878487"/>
                <a:gd name="connsiteY13739" fmla="*/ 1768845 h 3690338"/>
                <a:gd name="connsiteX13740" fmla="*/ 3112790 w 4878487"/>
                <a:gd name="connsiteY13740" fmla="*/ 1771599 h 3690338"/>
                <a:gd name="connsiteX13741" fmla="*/ 3113577 w 4878487"/>
                <a:gd name="connsiteY13741" fmla="*/ 1774353 h 3690338"/>
                <a:gd name="connsiteX13742" fmla="*/ 3113184 w 4878487"/>
                <a:gd name="connsiteY13742" fmla="*/ 1777500 h 3690338"/>
                <a:gd name="connsiteX13743" fmla="*/ 3115544 w 4878487"/>
                <a:gd name="connsiteY13743" fmla="*/ 1774353 h 3690338"/>
                <a:gd name="connsiteX13744" fmla="*/ 3114758 w 4878487"/>
                <a:gd name="connsiteY13744" fmla="*/ 1771599 h 3690338"/>
                <a:gd name="connsiteX13745" fmla="*/ 3115938 w 4878487"/>
                <a:gd name="connsiteY13745" fmla="*/ 1771205 h 3690338"/>
                <a:gd name="connsiteX13746" fmla="*/ 3115938 w 4878487"/>
                <a:gd name="connsiteY13746" fmla="*/ 1773959 h 3690338"/>
                <a:gd name="connsiteX13747" fmla="*/ 3115544 w 4878487"/>
                <a:gd name="connsiteY13747" fmla="*/ 1776713 h 3690338"/>
                <a:gd name="connsiteX13748" fmla="*/ 3115151 w 4878487"/>
                <a:gd name="connsiteY13748" fmla="*/ 1779861 h 3690338"/>
                <a:gd name="connsiteX13749" fmla="*/ 3115544 w 4878487"/>
                <a:gd name="connsiteY13749" fmla="*/ 1782615 h 3690338"/>
                <a:gd name="connsiteX13750" fmla="*/ 3115544 w 4878487"/>
                <a:gd name="connsiteY13750" fmla="*/ 1784975 h 3690338"/>
                <a:gd name="connsiteX13751" fmla="*/ 3116725 w 4878487"/>
                <a:gd name="connsiteY13751" fmla="*/ 1787729 h 3690338"/>
                <a:gd name="connsiteX13752" fmla="*/ 3118298 w 4878487"/>
                <a:gd name="connsiteY13752" fmla="*/ 1787336 h 3690338"/>
                <a:gd name="connsiteX13753" fmla="*/ 3119085 w 4878487"/>
                <a:gd name="connsiteY13753" fmla="*/ 1786156 h 3690338"/>
                <a:gd name="connsiteX13754" fmla="*/ 3119872 w 4878487"/>
                <a:gd name="connsiteY13754" fmla="*/ 1784188 h 3690338"/>
                <a:gd name="connsiteX13755" fmla="*/ 3120265 w 4878487"/>
                <a:gd name="connsiteY13755" fmla="*/ 1783402 h 3690338"/>
                <a:gd name="connsiteX13756" fmla="*/ 3121052 w 4878487"/>
                <a:gd name="connsiteY13756" fmla="*/ 1786549 h 3690338"/>
                <a:gd name="connsiteX13757" fmla="*/ 3123019 w 4878487"/>
                <a:gd name="connsiteY13757" fmla="*/ 1787729 h 3690338"/>
                <a:gd name="connsiteX13758" fmla="*/ 3125773 w 4878487"/>
                <a:gd name="connsiteY13758" fmla="*/ 1788123 h 3690338"/>
                <a:gd name="connsiteX13759" fmla="*/ 3126167 w 4878487"/>
                <a:gd name="connsiteY13759" fmla="*/ 1785369 h 3690338"/>
                <a:gd name="connsiteX13760" fmla="*/ 3124593 w 4878487"/>
                <a:gd name="connsiteY13760" fmla="*/ 1782221 h 3690338"/>
                <a:gd name="connsiteX13761" fmla="*/ 3123806 w 4878487"/>
                <a:gd name="connsiteY13761" fmla="*/ 1779467 h 3690338"/>
                <a:gd name="connsiteX13762" fmla="*/ 3123413 w 4878487"/>
                <a:gd name="connsiteY13762" fmla="*/ 1779074 h 3690338"/>
                <a:gd name="connsiteX13763" fmla="*/ 3121052 w 4878487"/>
                <a:gd name="connsiteY13763" fmla="*/ 1777500 h 3690338"/>
                <a:gd name="connsiteX13764" fmla="*/ 3120659 w 4878487"/>
                <a:gd name="connsiteY13764" fmla="*/ 1775926 h 3690338"/>
                <a:gd name="connsiteX13765" fmla="*/ 3121052 w 4878487"/>
                <a:gd name="connsiteY13765" fmla="*/ 1775926 h 3690338"/>
                <a:gd name="connsiteX13766" fmla="*/ 3123806 w 4878487"/>
                <a:gd name="connsiteY13766" fmla="*/ 1777894 h 3690338"/>
                <a:gd name="connsiteX13767" fmla="*/ 3124593 w 4878487"/>
                <a:gd name="connsiteY13767" fmla="*/ 1774746 h 3690338"/>
                <a:gd name="connsiteX13768" fmla="*/ 3124987 w 4878487"/>
                <a:gd name="connsiteY13768" fmla="*/ 1776320 h 3690338"/>
                <a:gd name="connsiteX13769" fmla="*/ 3123806 w 4878487"/>
                <a:gd name="connsiteY13769" fmla="*/ 1779467 h 3690338"/>
                <a:gd name="connsiteX13770" fmla="*/ 3124199 w 4878487"/>
                <a:gd name="connsiteY13770" fmla="*/ 1782221 h 3690338"/>
                <a:gd name="connsiteX13771" fmla="*/ 3126167 w 4878487"/>
                <a:gd name="connsiteY13771" fmla="*/ 1784975 h 3690338"/>
                <a:gd name="connsiteX13772" fmla="*/ 3128134 w 4878487"/>
                <a:gd name="connsiteY13772" fmla="*/ 1787729 h 3690338"/>
                <a:gd name="connsiteX13773" fmla="*/ 3127347 w 4878487"/>
                <a:gd name="connsiteY13773" fmla="*/ 1784582 h 3690338"/>
                <a:gd name="connsiteX13774" fmla="*/ 3127347 w 4878487"/>
                <a:gd name="connsiteY13774" fmla="*/ 1784582 h 3690338"/>
                <a:gd name="connsiteX13775" fmla="*/ 3126954 w 4878487"/>
                <a:gd name="connsiteY13775" fmla="*/ 1784188 h 3690338"/>
                <a:gd name="connsiteX13776" fmla="*/ 3125773 w 4878487"/>
                <a:gd name="connsiteY13776" fmla="*/ 1779861 h 3690338"/>
                <a:gd name="connsiteX13777" fmla="*/ 3128134 w 4878487"/>
                <a:gd name="connsiteY13777" fmla="*/ 1781434 h 3690338"/>
                <a:gd name="connsiteX13778" fmla="*/ 3129707 w 4878487"/>
                <a:gd name="connsiteY13778" fmla="*/ 1784188 h 3690338"/>
                <a:gd name="connsiteX13779" fmla="*/ 3130101 w 4878487"/>
                <a:gd name="connsiteY13779" fmla="*/ 1787336 h 3690338"/>
                <a:gd name="connsiteX13780" fmla="*/ 3132068 w 4878487"/>
                <a:gd name="connsiteY13780" fmla="*/ 1784188 h 3690338"/>
                <a:gd name="connsiteX13781" fmla="*/ 3131675 w 4878487"/>
                <a:gd name="connsiteY13781" fmla="*/ 1781434 h 3690338"/>
                <a:gd name="connsiteX13782" fmla="*/ 3133642 w 4878487"/>
                <a:gd name="connsiteY13782" fmla="*/ 1778680 h 3690338"/>
                <a:gd name="connsiteX13783" fmla="*/ 3133248 w 4878487"/>
                <a:gd name="connsiteY13783" fmla="*/ 1776320 h 3690338"/>
                <a:gd name="connsiteX13784" fmla="*/ 3134822 w 4878487"/>
                <a:gd name="connsiteY13784" fmla="*/ 1779074 h 3690338"/>
                <a:gd name="connsiteX13785" fmla="*/ 3134429 w 4878487"/>
                <a:gd name="connsiteY13785" fmla="*/ 1782221 h 3690338"/>
                <a:gd name="connsiteX13786" fmla="*/ 3135609 w 4878487"/>
                <a:gd name="connsiteY13786" fmla="*/ 1784975 h 3690338"/>
                <a:gd name="connsiteX13787" fmla="*/ 3137576 w 4878487"/>
                <a:gd name="connsiteY13787" fmla="*/ 1781828 h 3690338"/>
                <a:gd name="connsiteX13788" fmla="*/ 3137576 w 4878487"/>
                <a:gd name="connsiteY13788" fmla="*/ 1778680 h 3690338"/>
                <a:gd name="connsiteX13789" fmla="*/ 3137969 w 4878487"/>
                <a:gd name="connsiteY13789" fmla="*/ 1775926 h 3690338"/>
                <a:gd name="connsiteX13790" fmla="*/ 3136789 w 4878487"/>
                <a:gd name="connsiteY13790" fmla="*/ 1773959 h 3690338"/>
                <a:gd name="connsiteX13791" fmla="*/ 3136789 w 4878487"/>
                <a:gd name="connsiteY13791" fmla="*/ 1771205 h 3690338"/>
                <a:gd name="connsiteX13792" fmla="*/ 3136002 w 4878487"/>
                <a:gd name="connsiteY13792" fmla="*/ 1771599 h 3690338"/>
                <a:gd name="connsiteX13793" fmla="*/ 3135216 w 4878487"/>
                <a:gd name="connsiteY13793" fmla="*/ 1766878 h 3690338"/>
                <a:gd name="connsiteX13794" fmla="*/ 3135216 w 4878487"/>
                <a:gd name="connsiteY13794" fmla="*/ 1765304 h 3690338"/>
                <a:gd name="connsiteX13795" fmla="*/ 3135609 w 4878487"/>
                <a:gd name="connsiteY13795" fmla="*/ 1768058 h 3690338"/>
                <a:gd name="connsiteX13796" fmla="*/ 3137183 w 4878487"/>
                <a:gd name="connsiteY13796" fmla="*/ 1771205 h 3690338"/>
                <a:gd name="connsiteX13797" fmla="*/ 3137576 w 4878487"/>
                <a:gd name="connsiteY13797" fmla="*/ 1773959 h 3690338"/>
                <a:gd name="connsiteX13798" fmla="*/ 3138363 w 4878487"/>
                <a:gd name="connsiteY13798" fmla="*/ 1775140 h 3690338"/>
                <a:gd name="connsiteX13799" fmla="*/ 3138756 w 4878487"/>
                <a:gd name="connsiteY13799" fmla="*/ 1771992 h 3690338"/>
                <a:gd name="connsiteX13800" fmla="*/ 3138756 w 4878487"/>
                <a:gd name="connsiteY13800" fmla="*/ 1771599 h 3690338"/>
                <a:gd name="connsiteX13801" fmla="*/ 3139150 w 4878487"/>
                <a:gd name="connsiteY13801" fmla="*/ 1763730 h 3690338"/>
                <a:gd name="connsiteX13802" fmla="*/ 3139150 w 4878487"/>
                <a:gd name="connsiteY13802" fmla="*/ 1769632 h 3690338"/>
                <a:gd name="connsiteX13803" fmla="*/ 3139150 w 4878487"/>
                <a:gd name="connsiteY13803" fmla="*/ 1771205 h 3690338"/>
                <a:gd name="connsiteX13804" fmla="*/ 3139150 w 4878487"/>
                <a:gd name="connsiteY13804" fmla="*/ 1772779 h 3690338"/>
                <a:gd name="connsiteX13805" fmla="*/ 3138756 w 4878487"/>
                <a:gd name="connsiteY13805" fmla="*/ 1775140 h 3690338"/>
                <a:gd name="connsiteX13806" fmla="*/ 3139543 w 4878487"/>
                <a:gd name="connsiteY13806" fmla="*/ 1776713 h 3690338"/>
                <a:gd name="connsiteX13807" fmla="*/ 3139150 w 4878487"/>
                <a:gd name="connsiteY13807" fmla="*/ 1779861 h 3690338"/>
                <a:gd name="connsiteX13808" fmla="*/ 3139150 w 4878487"/>
                <a:gd name="connsiteY13808" fmla="*/ 1782615 h 3690338"/>
                <a:gd name="connsiteX13809" fmla="*/ 3141510 w 4878487"/>
                <a:gd name="connsiteY13809" fmla="*/ 1783008 h 3690338"/>
                <a:gd name="connsiteX13810" fmla="*/ 3141904 w 4878487"/>
                <a:gd name="connsiteY13810" fmla="*/ 1777500 h 3690338"/>
                <a:gd name="connsiteX13811" fmla="*/ 3142297 w 4878487"/>
                <a:gd name="connsiteY13811" fmla="*/ 1778287 h 3690338"/>
                <a:gd name="connsiteX13812" fmla="*/ 3145445 w 4878487"/>
                <a:gd name="connsiteY13812" fmla="*/ 1779861 h 3690338"/>
                <a:gd name="connsiteX13813" fmla="*/ 3148199 w 4878487"/>
                <a:gd name="connsiteY13813" fmla="*/ 1779074 h 3690338"/>
                <a:gd name="connsiteX13814" fmla="*/ 3147805 w 4878487"/>
                <a:gd name="connsiteY13814" fmla="*/ 1776320 h 3690338"/>
                <a:gd name="connsiteX13815" fmla="*/ 3147018 w 4878487"/>
                <a:gd name="connsiteY13815" fmla="*/ 1773173 h 3690338"/>
                <a:gd name="connsiteX13816" fmla="*/ 3145445 w 4878487"/>
                <a:gd name="connsiteY13816" fmla="*/ 1772386 h 3690338"/>
                <a:gd name="connsiteX13817" fmla="*/ 3145838 w 4878487"/>
                <a:gd name="connsiteY13817" fmla="*/ 1772386 h 3690338"/>
                <a:gd name="connsiteX13818" fmla="*/ 3147412 w 4878487"/>
                <a:gd name="connsiteY13818" fmla="*/ 1769632 h 3690338"/>
                <a:gd name="connsiteX13819" fmla="*/ 3146232 w 4878487"/>
                <a:gd name="connsiteY13819" fmla="*/ 1766878 h 3690338"/>
                <a:gd name="connsiteX13820" fmla="*/ 3146625 w 4878487"/>
                <a:gd name="connsiteY13820" fmla="*/ 1763730 h 3690338"/>
                <a:gd name="connsiteX13821" fmla="*/ 3146232 w 4878487"/>
                <a:gd name="connsiteY13821" fmla="*/ 1760976 h 3690338"/>
                <a:gd name="connsiteX13822" fmla="*/ 3148985 w 4878487"/>
                <a:gd name="connsiteY13822" fmla="*/ 1759403 h 3690338"/>
                <a:gd name="connsiteX13823" fmla="*/ 3149379 w 4878487"/>
                <a:gd name="connsiteY13823" fmla="*/ 1759009 h 3690338"/>
                <a:gd name="connsiteX13824" fmla="*/ 3149772 w 4878487"/>
                <a:gd name="connsiteY13824" fmla="*/ 1758616 h 3690338"/>
                <a:gd name="connsiteX13825" fmla="*/ 3148592 w 4878487"/>
                <a:gd name="connsiteY13825" fmla="*/ 1761370 h 3690338"/>
                <a:gd name="connsiteX13826" fmla="*/ 3147412 w 4878487"/>
                <a:gd name="connsiteY13826" fmla="*/ 1764124 h 3690338"/>
                <a:gd name="connsiteX13827" fmla="*/ 3147412 w 4878487"/>
                <a:gd name="connsiteY13827" fmla="*/ 1766878 h 3690338"/>
                <a:gd name="connsiteX13828" fmla="*/ 3148199 w 4878487"/>
                <a:gd name="connsiteY13828" fmla="*/ 1768845 h 3690338"/>
                <a:gd name="connsiteX13829" fmla="*/ 3148985 w 4878487"/>
                <a:gd name="connsiteY13829" fmla="*/ 1771992 h 3690338"/>
                <a:gd name="connsiteX13830" fmla="*/ 3149772 w 4878487"/>
                <a:gd name="connsiteY13830" fmla="*/ 1774746 h 3690338"/>
                <a:gd name="connsiteX13831" fmla="*/ 3151346 w 4878487"/>
                <a:gd name="connsiteY13831" fmla="*/ 1772779 h 3690338"/>
                <a:gd name="connsiteX13832" fmla="*/ 3153313 w 4878487"/>
                <a:gd name="connsiteY13832" fmla="*/ 1769238 h 3690338"/>
                <a:gd name="connsiteX13833" fmla="*/ 3151346 w 4878487"/>
                <a:gd name="connsiteY13833" fmla="*/ 1773566 h 3690338"/>
                <a:gd name="connsiteX13834" fmla="*/ 3151739 w 4878487"/>
                <a:gd name="connsiteY13834" fmla="*/ 1773959 h 3690338"/>
                <a:gd name="connsiteX13835" fmla="*/ 3151739 w 4878487"/>
                <a:gd name="connsiteY13835" fmla="*/ 1774353 h 3690338"/>
                <a:gd name="connsiteX13836" fmla="*/ 3154494 w 4878487"/>
                <a:gd name="connsiteY13836" fmla="*/ 1771992 h 3690338"/>
                <a:gd name="connsiteX13837" fmla="*/ 3157247 w 4878487"/>
                <a:gd name="connsiteY13837" fmla="*/ 1769238 h 3690338"/>
                <a:gd name="connsiteX13838" fmla="*/ 3158034 w 4878487"/>
                <a:gd name="connsiteY13838" fmla="*/ 1768058 h 3690338"/>
                <a:gd name="connsiteX13839" fmla="*/ 3157247 w 4878487"/>
                <a:gd name="connsiteY13839" fmla="*/ 1770812 h 3690338"/>
                <a:gd name="connsiteX13840" fmla="*/ 3154494 w 4878487"/>
                <a:gd name="connsiteY13840" fmla="*/ 1773173 h 3690338"/>
                <a:gd name="connsiteX13841" fmla="*/ 3152920 w 4878487"/>
                <a:gd name="connsiteY13841" fmla="*/ 1775926 h 3690338"/>
                <a:gd name="connsiteX13842" fmla="*/ 3153313 w 4878487"/>
                <a:gd name="connsiteY13842" fmla="*/ 1779074 h 3690338"/>
                <a:gd name="connsiteX13843" fmla="*/ 3155674 w 4878487"/>
                <a:gd name="connsiteY13843" fmla="*/ 1776713 h 3690338"/>
                <a:gd name="connsiteX13844" fmla="*/ 3154887 w 4878487"/>
                <a:gd name="connsiteY13844" fmla="*/ 1779861 h 3690338"/>
                <a:gd name="connsiteX13845" fmla="*/ 3158034 w 4878487"/>
                <a:gd name="connsiteY13845" fmla="*/ 1781434 h 3690338"/>
                <a:gd name="connsiteX13846" fmla="*/ 3160395 w 4878487"/>
                <a:gd name="connsiteY13846" fmla="*/ 1779074 h 3690338"/>
                <a:gd name="connsiteX13847" fmla="*/ 3160788 w 4878487"/>
                <a:gd name="connsiteY13847" fmla="*/ 1776320 h 3690338"/>
                <a:gd name="connsiteX13848" fmla="*/ 3160788 w 4878487"/>
                <a:gd name="connsiteY13848" fmla="*/ 1775926 h 3690338"/>
                <a:gd name="connsiteX13849" fmla="*/ 3161182 w 4878487"/>
                <a:gd name="connsiteY13849" fmla="*/ 1774746 h 3690338"/>
                <a:gd name="connsiteX13850" fmla="*/ 3162362 w 4878487"/>
                <a:gd name="connsiteY13850" fmla="*/ 1771599 h 3690338"/>
                <a:gd name="connsiteX13851" fmla="*/ 3162362 w 4878487"/>
                <a:gd name="connsiteY13851" fmla="*/ 1770419 h 3690338"/>
                <a:gd name="connsiteX13852" fmla="*/ 3162362 w 4878487"/>
                <a:gd name="connsiteY13852" fmla="*/ 1767664 h 3690338"/>
                <a:gd name="connsiteX13853" fmla="*/ 3161969 w 4878487"/>
                <a:gd name="connsiteY13853" fmla="*/ 1765304 h 3690338"/>
                <a:gd name="connsiteX13854" fmla="*/ 3163149 w 4878487"/>
                <a:gd name="connsiteY13854" fmla="*/ 1768058 h 3690338"/>
                <a:gd name="connsiteX13855" fmla="*/ 3162755 w 4878487"/>
                <a:gd name="connsiteY13855" fmla="*/ 1770812 h 3690338"/>
                <a:gd name="connsiteX13856" fmla="*/ 3165509 w 4878487"/>
                <a:gd name="connsiteY13856" fmla="*/ 1769632 h 3690338"/>
                <a:gd name="connsiteX13857" fmla="*/ 3167476 w 4878487"/>
                <a:gd name="connsiteY13857" fmla="*/ 1766878 h 3690338"/>
                <a:gd name="connsiteX13858" fmla="*/ 3168263 w 4878487"/>
                <a:gd name="connsiteY13858" fmla="*/ 1763730 h 3690338"/>
                <a:gd name="connsiteX13859" fmla="*/ 3167476 w 4878487"/>
                <a:gd name="connsiteY13859" fmla="*/ 1760976 h 3690338"/>
                <a:gd name="connsiteX13860" fmla="*/ 3167083 w 4878487"/>
                <a:gd name="connsiteY13860" fmla="*/ 1758222 h 3690338"/>
                <a:gd name="connsiteX13861" fmla="*/ 3164723 w 4878487"/>
                <a:gd name="connsiteY13861" fmla="*/ 1755468 h 3690338"/>
                <a:gd name="connsiteX13862" fmla="*/ 3162362 w 4878487"/>
                <a:gd name="connsiteY13862" fmla="*/ 1758222 h 3690338"/>
                <a:gd name="connsiteX13863" fmla="*/ 3162755 w 4878487"/>
                <a:gd name="connsiteY13863" fmla="*/ 1755075 h 3690338"/>
                <a:gd name="connsiteX13864" fmla="*/ 3163149 w 4878487"/>
                <a:gd name="connsiteY13864" fmla="*/ 1752321 h 3690338"/>
                <a:gd name="connsiteX13865" fmla="*/ 3161575 w 4878487"/>
                <a:gd name="connsiteY13865" fmla="*/ 1749567 h 3690338"/>
                <a:gd name="connsiteX13866" fmla="*/ 3161182 w 4878487"/>
                <a:gd name="connsiteY13866" fmla="*/ 1749960 h 3690338"/>
                <a:gd name="connsiteX13867" fmla="*/ 3159214 w 4878487"/>
                <a:gd name="connsiteY13867" fmla="*/ 1749174 h 3690338"/>
                <a:gd name="connsiteX13868" fmla="*/ 3159608 w 4878487"/>
                <a:gd name="connsiteY13868" fmla="*/ 1748780 h 3690338"/>
                <a:gd name="connsiteX13869" fmla="*/ 3162362 w 4878487"/>
                <a:gd name="connsiteY13869" fmla="*/ 1743666 h 3690338"/>
                <a:gd name="connsiteX13870" fmla="*/ 3160788 w 4878487"/>
                <a:gd name="connsiteY13870" fmla="*/ 1740518 h 3690338"/>
                <a:gd name="connsiteX13871" fmla="*/ 3160395 w 4878487"/>
                <a:gd name="connsiteY13871" fmla="*/ 1739338 h 3690338"/>
                <a:gd name="connsiteX13872" fmla="*/ 3161969 w 4878487"/>
                <a:gd name="connsiteY13872" fmla="*/ 1738551 h 3690338"/>
                <a:gd name="connsiteX13873" fmla="*/ 3164329 w 4878487"/>
                <a:gd name="connsiteY13873" fmla="*/ 1735797 h 3690338"/>
                <a:gd name="connsiteX13874" fmla="*/ 3163936 w 4878487"/>
                <a:gd name="connsiteY13874" fmla="*/ 1732650 h 3690338"/>
                <a:gd name="connsiteX13875" fmla="*/ 3161182 w 4878487"/>
                <a:gd name="connsiteY13875" fmla="*/ 1731076 h 3690338"/>
                <a:gd name="connsiteX13876" fmla="*/ 3152920 w 4878487"/>
                <a:gd name="connsiteY13876" fmla="*/ 1726355 h 3690338"/>
                <a:gd name="connsiteX13877" fmla="*/ 3152133 w 4878487"/>
                <a:gd name="connsiteY13877" fmla="*/ 1725961 h 3690338"/>
                <a:gd name="connsiteX13878" fmla="*/ 3152526 w 4878487"/>
                <a:gd name="connsiteY13878" fmla="*/ 1725961 h 3690338"/>
                <a:gd name="connsiteX13879" fmla="*/ 3152526 w 4878487"/>
                <a:gd name="connsiteY13879" fmla="*/ 1725568 h 3690338"/>
                <a:gd name="connsiteX13880" fmla="*/ 3155280 w 4878487"/>
                <a:gd name="connsiteY13880" fmla="*/ 1726748 h 3690338"/>
                <a:gd name="connsiteX13881" fmla="*/ 3158034 w 4878487"/>
                <a:gd name="connsiteY13881" fmla="*/ 1727535 h 3690338"/>
                <a:gd name="connsiteX13882" fmla="*/ 3161182 w 4878487"/>
                <a:gd name="connsiteY13882" fmla="*/ 1727929 h 3690338"/>
                <a:gd name="connsiteX13883" fmla="*/ 3161575 w 4878487"/>
                <a:gd name="connsiteY13883" fmla="*/ 1727535 h 3690338"/>
                <a:gd name="connsiteX13884" fmla="*/ 3161969 w 4878487"/>
                <a:gd name="connsiteY13884" fmla="*/ 1725174 h 3690338"/>
                <a:gd name="connsiteX13885" fmla="*/ 3161969 w 4878487"/>
                <a:gd name="connsiteY13885" fmla="*/ 1725174 h 3690338"/>
                <a:gd name="connsiteX13886" fmla="*/ 3161969 w 4878487"/>
                <a:gd name="connsiteY13886" fmla="*/ 1724781 h 3690338"/>
                <a:gd name="connsiteX13887" fmla="*/ 3160788 w 4878487"/>
                <a:gd name="connsiteY13887" fmla="*/ 1723601 h 3690338"/>
                <a:gd name="connsiteX13888" fmla="*/ 3159608 w 4878487"/>
                <a:gd name="connsiteY13888" fmla="*/ 1722420 h 3690338"/>
                <a:gd name="connsiteX13889" fmla="*/ 3158821 w 4878487"/>
                <a:gd name="connsiteY13889" fmla="*/ 1721634 h 3690338"/>
                <a:gd name="connsiteX13890" fmla="*/ 3160395 w 4878487"/>
                <a:gd name="connsiteY13890" fmla="*/ 1722420 h 3690338"/>
                <a:gd name="connsiteX13891" fmla="*/ 3163149 w 4878487"/>
                <a:gd name="connsiteY13891" fmla="*/ 1720847 h 3690338"/>
                <a:gd name="connsiteX13892" fmla="*/ 3162755 w 4878487"/>
                <a:gd name="connsiteY13892" fmla="*/ 1721240 h 3690338"/>
                <a:gd name="connsiteX13893" fmla="*/ 3162362 w 4878487"/>
                <a:gd name="connsiteY13893" fmla="*/ 1723994 h 3690338"/>
                <a:gd name="connsiteX13894" fmla="*/ 3165116 w 4878487"/>
                <a:gd name="connsiteY13894" fmla="*/ 1723601 h 3690338"/>
                <a:gd name="connsiteX13895" fmla="*/ 3164723 w 4878487"/>
                <a:gd name="connsiteY13895" fmla="*/ 1722027 h 3690338"/>
                <a:gd name="connsiteX13896" fmla="*/ 3165116 w 4878487"/>
                <a:gd name="connsiteY13896" fmla="*/ 1722027 h 3690338"/>
                <a:gd name="connsiteX13897" fmla="*/ 3165509 w 4878487"/>
                <a:gd name="connsiteY13897" fmla="*/ 1722420 h 3690338"/>
                <a:gd name="connsiteX13898" fmla="*/ 3165116 w 4878487"/>
                <a:gd name="connsiteY13898" fmla="*/ 1724781 h 3690338"/>
                <a:gd name="connsiteX13899" fmla="*/ 3162755 w 4878487"/>
                <a:gd name="connsiteY13899" fmla="*/ 1724781 h 3690338"/>
                <a:gd name="connsiteX13900" fmla="*/ 3162755 w 4878487"/>
                <a:gd name="connsiteY13900" fmla="*/ 1727929 h 3690338"/>
                <a:gd name="connsiteX13901" fmla="*/ 3164723 w 4878487"/>
                <a:gd name="connsiteY13901" fmla="*/ 1730289 h 3690338"/>
                <a:gd name="connsiteX13902" fmla="*/ 3165116 w 4878487"/>
                <a:gd name="connsiteY13902" fmla="*/ 1733043 h 3690338"/>
                <a:gd name="connsiteX13903" fmla="*/ 3164723 w 4878487"/>
                <a:gd name="connsiteY13903" fmla="*/ 1735797 h 3690338"/>
                <a:gd name="connsiteX13904" fmla="*/ 3164723 w 4878487"/>
                <a:gd name="connsiteY13904" fmla="*/ 1738551 h 3690338"/>
                <a:gd name="connsiteX13905" fmla="*/ 3165509 w 4878487"/>
                <a:gd name="connsiteY13905" fmla="*/ 1740125 h 3690338"/>
                <a:gd name="connsiteX13906" fmla="*/ 3167083 w 4878487"/>
                <a:gd name="connsiteY13906" fmla="*/ 1742485 h 3690338"/>
                <a:gd name="connsiteX13907" fmla="*/ 3168657 w 4878487"/>
                <a:gd name="connsiteY13907" fmla="*/ 1745239 h 3690338"/>
                <a:gd name="connsiteX13908" fmla="*/ 3169837 w 4878487"/>
                <a:gd name="connsiteY13908" fmla="*/ 1748387 h 3690338"/>
                <a:gd name="connsiteX13909" fmla="*/ 3171804 w 4878487"/>
                <a:gd name="connsiteY13909" fmla="*/ 1751141 h 3690338"/>
                <a:gd name="connsiteX13910" fmla="*/ 3174558 w 4878487"/>
                <a:gd name="connsiteY13910" fmla="*/ 1753895 h 3690338"/>
                <a:gd name="connsiteX13911" fmla="*/ 3177312 w 4878487"/>
                <a:gd name="connsiteY13911" fmla="*/ 1755468 h 3690338"/>
                <a:gd name="connsiteX13912" fmla="*/ 3178099 w 4878487"/>
                <a:gd name="connsiteY13912" fmla="*/ 1755075 h 3690338"/>
                <a:gd name="connsiteX13913" fmla="*/ 3177312 w 4878487"/>
                <a:gd name="connsiteY13913" fmla="*/ 1751927 h 3690338"/>
                <a:gd name="connsiteX13914" fmla="*/ 3178099 w 4878487"/>
                <a:gd name="connsiteY13914" fmla="*/ 1752714 h 3690338"/>
                <a:gd name="connsiteX13915" fmla="*/ 3178099 w 4878487"/>
                <a:gd name="connsiteY13915" fmla="*/ 1754288 h 3690338"/>
                <a:gd name="connsiteX13916" fmla="*/ 3177706 w 4878487"/>
                <a:gd name="connsiteY13916" fmla="*/ 1754681 h 3690338"/>
                <a:gd name="connsiteX13917" fmla="*/ 3179279 w 4878487"/>
                <a:gd name="connsiteY13917" fmla="*/ 1753501 h 3690338"/>
                <a:gd name="connsiteX13918" fmla="*/ 3180066 w 4878487"/>
                <a:gd name="connsiteY13918" fmla="*/ 1754288 h 3690338"/>
                <a:gd name="connsiteX13919" fmla="*/ 3183213 w 4878487"/>
                <a:gd name="connsiteY13919" fmla="*/ 1753895 h 3690338"/>
                <a:gd name="connsiteX13920" fmla="*/ 3182820 w 4878487"/>
                <a:gd name="connsiteY13920" fmla="*/ 1751141 h 3690338"/>
                <a:gd name="connsiteX13921" fmla="*/ 3185574 w 4878487"/>
                <a:gd name="connsiteY13921" fmla="*/ 1750747 h 3690338"/>
                <a:gd name="connsiteX13922" fmla="*/ 3186361 w 4878487"/>
                <a:gd name="connsiteY13922" fmla="*/ 1748387 h 3690338"/>
                <a:gd name="connsiteX13923" fmla="*/ 3186754 w 4878487"/>
                <a:gd name="connsiteY13923" fmla="*/ 1748387 h 3690338"/>
                <a:gd name="connsiteX13924" fmla="*/ 3189509 w 4878487"/>
                <a:gd name="connsiteY13924" fmla="*/ 1746026 h 3690338"/>
                <a:gd name="connsiteX13925" fmla="*/ 3189902 w 4878487"/>
                <a:gd name="connsiteY13925" fmla="*/ 1744059 h 3690338"/>
                <a:gd name="connsiteX13926" fmla="*/ 3189902 w 4878487"/>
                <a:gd name="connsiteY13926" fmla="*/ 1746813 h 3690338"/>
                <a:gd name="connsiteX13927" fmla="*/ 3190689 w 4878487"/>
                <a:gd name="connsiteY13927" fmla="*/ 1749960 h 3690338"/>
                <a:gd name="connsiteX13928" fmla="*/ 3193443 w 4878487"/>
                <a:gd name="connsiteY13928" fmla="*/ 1752321 h 3690338"/>
                <a:gd name="connsiteX13929" fmla="*/ 3196197 w 4878487"/>
                <a:gd name="connsiteY13929" fmla="*/ 1755075 h 3690338"/>
                <a:gd name="connsiteX13930" fmla="*/ 3198164 w 4878487"/>
                <a:gd name="connsiteY13930" fmla="*/ 1757829 h 3690338"/>
                <a:gd name="connsiteX13931" fmla="*/ 3199738 w 4878487"/>
                <a:gd name="connsiteY13931" fmla="*/ 1760583 h 3690338"/>
                <a:gd name="connsiteX13932" fmla="*/ 3200918 w 4878487"/>
                <a:gd name="connsiteY13932" fmla="*/ 1763337 h 3690338"/>
                <a:gd name="connsiteX13933" fmla="*/ 3202098 w 4878487"/>
                <a:gd name="connsiteY13933" fmla="*/ 1766484 h 3690338"/>
                <a:gd name="connsiteX13934" fmla="*/ 3202491 w 4878487"/>
                <a:gd name="connsiteY13934" fmla="*/ 1763337 h 3690338"/>
                <a:gd name="connsiteX13935" fmla="*/ 3202885 w 4878487"/>
                <a:gd name="connsiteY13935" fmla="*/ 1762943 h 3690338"/>
                <a:gd name="connsiteX13936" fmla="*/ 3204065 w 4878487"/>
                <a:gd name="connsiteY13936" fmla="*/ 1760976 h 3690338"/>
                <a:gd name="connsiteX13937" fmla="*/ 3204065 w 4878487"/>
                <a:gd name="connsiteY13937" fmla="*/ 1759796 h 3690338"/>
                <a:gd name="connsiteX13938" fmla="*/ 3204852 w 4878487"/>
                <a:gd name="connsiteY13938" fmla="*/ 1759796 h 3690338"/>
                <a:gd name="connsiteX13939" fmla="*/ 3204459 w 4878487"/>
                <a:gd name="connsiteY13939" fmla="*/ 1760976 h 3690338"/>
                <a:gd name="connsiteX13940" fmla="*/ 3203279 w 4878487"/>
                <a:gd name="connsiteY13940" fmla="*/ 1763337 h 3690338"/>
                <a:gd name="connsiteX13941" fmla="*/ 3203279 w 4878487"/>
                <a:gd name="connsiteY13941" fmla="*/ 1769238 h 3690338"/>
                <a:gd name="connsiteX13942" fmla="*/ 3205246 w 4878487"/>
                <a:gd name="connsiteY13942" fmla="*/ 1771992 h 3690338"/>
                <a:gd name="connsiteX13943" fmla="*/ 3206032 w 4878487"/>
                <a:gd name="connsiteY13943" fmla="*/ 1775140 h 3690338"/>
                <a:gd name="connsiteX13944" fmla="*/ 3206819 w 4878487"/>
                <a:gd name="connsiteY13944" fmla="*/ 1776713 h 3690338"/>
                <a:gd name="connsiteX13945" fmla="*/ 3207606 w 4878487"/>
                <a:gd name="connsiteY13945" fmla="*/ 1780254 h 3690338"/>
                <a:gd name="connsiteX13946" fmla="*/ 3209180 w 4878487"/>
                <a:gd name="connsiteY13946" fmla="*/ 1783008 h 3690338"/>
                <a:gd name="connsiteX13947" fmla="*/ 3208393 w 4878487"/>
                <a:gd name="connsiteY13947" fmla="*/ 1781434 h 3690338"/>
                <a:gd name="connsiteX13948" fmla="*/ 3209180 w 4878487"/>
                <a:gd name="connsiteY13948" fmla="*/ 1782615 h 3690338"/>
                <a:gd name="connsiteX13949" fmla="*/ 3209573 w 4878487"/>
                <a:gd name="connsiteY13949" fmla="*/ 1783795 h 3690338"/>
                <a:gd name="connsiteX13950" fmla="*/ 3209180 w 4878487"/>
                <a:gd name="connsiteY13950" fmla="*/ 1783008 h 3690338"/>
                <a:gd name="connsiteX13951" fmla="*/ 3209967 w 4878487"/>
                <a:gd name="connsiteY13951" fmla="*/ 1785762 h 3690338"/>
                <a:gd name="connsiteX13952" fmla="*/ 3211147 w 4878487"/>
                <a:gd name="connsiteY13952" fmla="*/ 1788910 h 3690338"/>
                <a:gd name="connsiteX13953" fmla="*/ 3210753 w 4878487"/>
                <a:gd name="connsiteY13953" fmla="*/ 1792057 h 3690338"/>
                <a:gd name="connsiteX13954" fmla="*/ 3211147 w 4878487"/>
                <a:gd name="connsiteY13954" fmla="*/ 1792844 h 3690338"/>
                <a:gd name="connsiteX13955" fmla="*/ 3210753 w 4878487"/>
                <a:gd name="connsiteY13955" fmla="*/ 1794024 h 3690338"/>
                <a:gd name="connsiteX13956" fmla="*/ 3212327 w 4878487"/>
                <a:gd name="connsiteY13956" fmla="*/ 1795991 h 3690338"/>
                <a:gd name="connsiteX13957" fmla="*/ 3213901 w 4878487"/>
                <a:gd name="connsiteY13957" fmla="*/ 1798745 h 3690338"/>
                <a:gd name="connsiteX13958" fmla="*/ 3214294 w 4878487"/>
                <a:gd name="connsiteY13958" fmla="*/ 1801893 h 3690338"/>
                <a:gd name="connsiteX13959" fmla="*/ 3216655 w 4878487"/>
                <a:gd name="connsiteY13959" fmla="*/ 1804647 h 3690338"/>
                <a:gd name="connsiteX13960" fmla="*/ 3219016 w 4878487"/>
                <a:gd name="connsiteY13960" fmla="*/ 1808187 h 3690338"/>
                <a:gd name="connsiteX13961" fmla="*/ 3220589 w 4878487"/>
                <a:gd name="connsiteY13961" fmla="*/ 1810941 h 3690338"/>
                <a:gd name="connsiteX13962" fmla="*/ 3220589 w 4878487"/>
                <a:gd name="connsiteY13962" fmla="*/ 1810941 h 3690338"/>
                <a:gd name="connsiteX13963" fmla="*/ 3220589 w 4878487"/>
                <a:gd name="connsiteY13963" fmla="*/ 1811335 h 3690338"/>
                <a:gd name="connsiteX13964" fmla="*/ 3221376 w 4878487"/>
                <a:gd name="connsiteY13964" fmla="*/ 1812515 h 3690338"/>
                <a:gd name="connsiteX13965" fmla="*/ 3222950 w 4878487"/>
                <a:gd name="connsiteY13965" fmla="*/ 1815269 h 3690338"/>
                <a:gd name="connsiteX13966" fmla="*/ 3222556 w 4878487"/>
                <a:gd name="connsiteY13966" fmla="*/ 1812515 h 3690338"/>
                <a:gd name="connsiteX13967" fmla="*/ 3221376 w 4878487"/>
                <a:gd name="connsiteY13967" fmla="*/ 1809761 h 3690338"/>
                <a:gd name="connsiteX13968" fmla="*/ 3220983 w 4878487"/>
                <a:gd name="connsiteY13968" fmla="*/ 1806614 h 3690338"/>
                <a:gd name="connsiteX13969" fmla="*/ 3220983 w 4878487"/>
                <a:gd name="connsiteY13969" fmla="*/ 1806220 h 3690338"/>
                <a:gd name="connsiteX13970" fmla="*/ 3221769 w 4878487"/>
                <a:gd name="connsiteY13970" fmla="*/ 1809368 h 3690338"/>
                <a:gd name="connsiteX13971" fmla="*/ 3223343 w 4878487"/>
                <a:gd name="connsiteY13971" fmla="*/ 1812122 h 3690338"/>
                <a:gd name="connsiteX13972" fmla="*/ 3224917 w 4878487"/>
                <a:gd name="connsiteY13972" fmla="*/ 1815269 h 3690338"/>
                <a:gd name="connsiteX13973" fmla="*/ 3226097 w 4878487"/>
                <a:gd name="connsiteY13973" fmla="*/ 1818023 h 3690338"/>
                <a:gd name="connsiteX13974" fmla="*/ 3228851 w 4878487"/>
                <a:gd name="connsiteY13974" fmla="*/ 1820384 h 3690338"/>
                <a:gd name="connsiteX13975" fmla="*/ 3230818 w 4878487"/>
                <a:gd name="connsiteY13975" fmla="*/ 1823138 h 3690338"/>
                <a:gd name="connsiteX13976" fmla="*/ 3233179 w 4878487"/>
                <a:gd name="connsiteY13976" fmla="*/ 1825498 h 3690338"/>
                <a:gd name="connsiteX13977" fmla="*/ 3235933 w 4878487"/>
                <a:gd name="connsiteY13977" fmla="*/ 1828252 h 3690338"/>
                <a:gd name="connsiteX13978" fmla="*/ 3237113 w 4878487"/>
                <a:gd name="connsiteY13978" fmla="*/ 1831006 h 3690338"/>
                <a:gd name="connsiteX13979" fmla="*/ 3238293 w 4878487"/>
                <a:gd name="connsiteY13979" fmla="*/ 1828252 h 3690338"/>
                <a:gd name="connsiteX13980" fmla="*/ 3237506 w 4878487"/>
                <a:gd name="connsiteY13980" fmla="*/ 1825105 h 3690338"/>
                <a:gd name="connsiteX13981" fmla="*/ 3237113 w 4878487"/>
                <a:gd name="connsiteY13981" fmla="*/ 1822351 h 3690338"/>
                <a:gd name="connsiteX13982" fmla="*/ 3237900 w 4878487"/>
                <a:gd name="connsiteY13982" fmla="*/ 1823925 h 3690338"/>
                <a:gd name="connsiteX13983" fmla="*/ 3238687 w 4878487"/>
                <a:gd name="connsiteY13983" fmla="*/ 1824318 h 3690338"/>
                <a:gd name="connsiteX13984" fmla="*/ 3242621 w 4878487"/>
                <a:gd name="connsiteY13984" fmla="*/ 1830219 h 3690338"/>
                <a:gd name="connsiteX13985" fmla="*/ 3241441 w 4878487"/>
                <a:gd name="connsiteY13985" fmla="*/ 1832580 h 3690338"/>
                <a:gd name="connsiteX13986" fmla="*/ 3241047 w 4878487"/>
                <a:gd name="connsiteY13986" fmla="*/ 1835334 h 3690338"/>
                <a:gd name="connsiteX13987" fmla="*/ 3243801 w 4878487"/>
                <a:gd name="connsiteY13987" fmla="*/ 1837694 h 3690338"/>
                <a:gd name="connsiteX13988" fmla="*/ 3244588 w 4878487"/>
                <a:gd name="connsiteY13988" fmla="*/ 1836121 h 3690338"/>
                <a:gd name="connsiteX13989" fmla="*/ 3245768 w 4878487"/>
                <a:gd name="connsiteY13989" fmla="*/ 1833367 h 3690338"/>
                <a:gd name="connsiteX13990" fmla="*/ 3246949 w 4878487"/>
                <a:gd name="connsiteY13990" fmla="*/ 1830219 h 3690338"/>
                <a:gd name="connsiteX13991" fmla="*/ 3246555 w 4878487"/>
                <a:gd name="connsiteY13991" fmla="*/ 1827465 h 3690338"/>
                <a:gd name="connsiteX13992" fmla="*/ 3246949 w 4878487"/>
                <a:gd name="connsiteY13992" fmla="*/ 1825105 h 3690338"/>
                <a:gd name="connsiteX13993" fmla="*/ 3247735 w 4878487"/>
                <a:gd name="connsiteY13993" fmla="*/ 1823138 h 3690338"/>
                <a:gd name="connsiteX13994" fmla="*/ 3247342 w 4878487"/>
                <a:gd name="connsiteY13994" fmla="*/ 1825498 h 3690338"/>
                <a:gd name="connsiteX13995" fmla="*/ 3246949 w 4878487"/>
                <a:gd name="connsiteY13995" fmla="*/ 1828646 h 3690338"/>
                <a:gd name="connsiteX13996" fmla="*/ 3247735 w 4878487"/>
                <a:gd name="connsiteY13996" fmla="*/ 1829432 h 3690338"/>
                <a:gd name="connsiteX13997" fmla="*/ 3248129 w 4878487"/>
                <a:gd name="connsiteY13997" fmla="*/ 1828252 h 3690338"/>
                <a:gd name="connsiteX13998" fmla="*/ 3248916 w 4878487"/>
                <a:gd name="connsiteY13998" fmla="*/ 1828646 h 3690338"/>
                <a:gd name="connsiteX13999" fmla="*/ 3247342 w 4878487"/>
                <a:gd name="connsiteY13999" fmla="*/ 1831793 h 3690338"/>
                <a:gd name="connsiteX14000" fmla="*/ 3246162 w 4878487"/>
                <a:gd name="connsiteY14000" fmla="*/ 1834547 h 3690338"/>
                <a:gd name="connsiteX14001" fmla="*/ 3248916 w 4878487"/>
                <a:gd name="connsiteY14001" fmla="*/ 1834940 h 3690338"/>
                <a:gd name="connsiteX14002" fmla="*/ 3250096 w 4878487"/>
                <a:gd name="connsiteY14002" fmla="*/ 1834547 h 3690338"/>
                <a:gd name="connsiteX14003" fmla="*/ 3248523 w 4878487"/>
                <a:gd name="connsiteY14003" fmla="*/ 1837301 h 3690338"/>
                <a:gd name="connsiteX14004" fmla="*/ 3246949 w 4878487"/>
                <a:gd name="connsiteY14004" fmla="*/ 1840448 h 3690338"/>
                <a:gd name="connsiteX14005" fmla="*/ 3248523 w 4878487"/>
                <a:gd name="connsiteY14005" fmla="*/ 1842022 h 3690338"/>
                <a:gd name="connsiteX14006" fmla="*/ 3250096 w 4878487"/>
                <a:gd name="connsiteY14006" fmla="*/ 1844776 h 3690338"/>
                <a:gd name="connsiteX14007" fmla="*/ 3252063 w 4878487"/>
                <a:gd name="connsiteY14007" fmla="*/ 1847530 h 3690338"/>
                <a:gd name="connsiteX14008" fmla="*/ 3250490 w 4878487"/>
                <a:gd name="connsiteY14008" fmla="*/ 1844776 h 3690338"/>
                <a:gd name="connsiteX14009" fmla="*/ 3250883 w 4878487"/>
                <a:gd name="connsiteY14009" fmla="*/ 1842022 h 3690338"/>
                <a:gd name="connsiteX14010" fmla="*/ 3251276 w 4878487"/>
                <a:gd name="connsiteY14010" fmla="*/ 1842022 h 3690338"/>
                <a:gd name="connsiteX14011" fmla="*/ 3252850 w 4878487"/>
                <a:gd name="connsiteY14011" fmla="*/ 1845170 h 3690338"/>
                <a:gd name="connsiteX14012" fmla="*/ 3254424 w 4878487"/>
                <a:gd name="connsiteY14012" fmla="*/ 1847924 h 3690338"/>
                <a:gd name="connsiteX14013" fmla="*/ 3253243 w 4878487"/>
                <a:gd name="connsiteY14013" fmla="*/ 1844776 h 3690338"/>
                <a:gd name="connsiteX14014" fmla="*/ 3251670 w 4878487"/>
                <a:gd name="connsiteY14014" fmla="*/ 1842022 h 3690338"/>
                <a:gd name="connsiteX14015" fmla="*/ 3252457 w 4878487"/>
                <a:gd name="connsiteY14015" fmla="*/ 1839662 h 3690338"/>
                <a:gd name="connsiteX14016" fmla="*/ 3255211 w 4878487"/>
                <a:gd name="connsiteY14016" fmla="*/ 1840055 h 3690338"/>
                <a:gd name="connsiteX14017" fmla="*/ 3255604 w 4878487"/>
                <a:gd name="connsiteY14017" fmla="*/ 1839662 h 3690338"/>
                <a:gd name="connsiteX14018" fmla="*/ 3256391 w 4878487"/>
                <a:gd name="connsiteY14018" fmla="*/ 1838088 h 3690338"/>
                <a:gd name="connsiteX14019" fmla="*/ 3257964 w 4878487"/>
                <a:gd name="connsiteY14019" fmla="*/ 1838481 h 3690338"/>
                <a:gd name="connsiteX14020" fmla="*/ 3258752 w 4878487"/>
                <a:gd name="connsiteY14020" fmla="*/ 1841235 h 3690338"/>
                <a:gd name="connsiteX14021" fmla="*/ 3263866 w 4878487"/>
                <a:gd name="connsiteY14021" fmla="*/ 1844776 h 3690338"/>
                <a:gd name="connsiteX14022" fmla="*/ 3263866 w 4878487"/>
                <a:gd name="connsiteY14022" fmla="*/ 1844776 h 3690338"/>
                <a:gd name="connsiteX14023" fmla="*/ 3263866 w 4878487"/>
                <a:gd name="connsiteY14023" fmla="*/ 1844776 h 3690338"/>
                <a:gd name="connsiteX14024" fmla="*/ 3266620 w 4878487"/>
                <a:gd name="connsiteY14024" fmla="*/ 1846743 h 3690338"/>
                <a:gd name="connsiteX14025" fmla="*/ 3266620 w 4878487"/>
                <a:gd name="connsiteY14025" fmla="*/ 1847137 h 3690338"/>
                <a:gd name="connsiteX14026" fmla="*/ 3265833 w 4878487"/>
                <a:gd name="connsiteY14026" fmla="*/ 1850284 h 3690338"/>
                <a:gd name="connsiteX14027" fmla="*/ 3268587 w 4878487"/>
                <a:gd name="connsiteY14027" fmla="*/ 1850677 h 3690338"/>
                <a:gd name="connsiteX14028" fmla="*/ 3271341 w 4878487"/>
                <a:gd name="connsiteY14028" fmla="*/ 1851858 h 3690338"/>
                <a:gd name="connsiteX14029" fmla="*/ 3272521 w 4878487"/>
                <a:gd name="connsiteY14029" fmla="*/ 1851464 h 3690338"/>
                <a:gd name="connsiteX14030" fmla="*/ 3270161 w 4878487"/>
                <a:gd name="connsiteY14030" fmla="*/ 1854218 h 3690338"/>
                <a:gd name="connsiteX14031" fmla="*/ 3272915 w 4878487"/>
                <a:gd name="connsiteY14031" fmla="*/ 1856579 h 3690338"/>
                <a:gd name="connsiteX14032" fmla="*/ 3275669 w 4878487"/>
                <a:gd name="connsiteY14032" fmla="*/ 1858546 h 3690338"/>
                <a:gd name="connsiteX14033" fmla="*/ 3277242 w 4878487"/>
                <a:gd name="connsiteY14033" fmla="*/ 1860513 h 3690338"/>
                <a:gd name="connsiteX14034" fmla="*/ 3278423 w 4878487"/>
                <a:gd name="connsiteY14034" fmla="*/ 1862480 h 3690338"/>
                <a:gd name="connsiteX14035" fmla="*/ 3275669 w 4878487"/>
                <a:gd name="connsiteY14035" fmla="*/ 1866808 h 3690338"/>
                <a:gd name="connsiteX14036" fmla="*/ 3273308 w 4878487"/>
                <a:gd name="connsiteY14036" fmla="*/ 1867201 h 3690338"/>
                <a:gd name="connsiteX14037" fmla="*/ 3271734 w 4878487"/>
                <a:gd name="connsiteY14037" fmla="*/ 1866808 h 3690338"/>
                <a:gd name="connsiteX14038" fmla="*/ 3268981 w 4878487"/>
                <a:gd name="connsiteY14038" fmla="*/ 1864447 h 3690338"/>
                <a:gd name="connsiteX14039" fmla="*/ 3266620 w 4878487"/>
                <a:gd name="connsiteY14039" fmla="*/ 1861693 h 3690338"/>
                <a:gd name="connsiteX14040" fmla="*/ 3263866 w 4878487"/>
                <a:gd name="connsiteY14040" fmla="*/ 1863661 h 3690338"/>
                <a:gd name="connsiteX14041" fmla="*/ 3265833 w 4878487"/>
                <a:gd name="connsiteY14041" fmla="*/ 1866415 h 3690338"/>
                <a:gd name="connsiteX14042" fmla="*/ 3267800 w 4878487"/>
                <a:gd name="connsiteY14042" fmla="*/ 1869169 h 3690338"/>
                <a:gd name="connsiteX14043" fmla="*/ 3270554 w 4878487"/>
                <a:gd name="connsiteY14043" fmla="*/ 1872316 h 3690338"/>
                <a:gd name="connsiteX14044" fmla="*/ 3270948 w 4878487"/>
                <a:gd name="connsiteY14044" fmla="*/ 1874676 h 3690338"/>
                <a:gd name="connsiteX14045" fmla="*/ 3274095 w 4878487"/>
                <a:gd name="connsiteY14045" fmla="*/ 1876250 h 3690338"/>
                <a:gd name="connsiteX14046" fmla="*/ 3276849 w 4878487"/>
                <a:gd name="connsiteY14046" fmla="*/ 1878611 h 3690338"/>
                <a:gd name="connsiteX14047" fmla="*/ 3279603 w 4878487"/>
                <a:gd name="connsiteY14047" fmla="*/ 1880184 h 3690338"/>
                <a:gd name="connsiteX14048" fmla="*/ 3280390 w 4878487"/>
                <a:gd name="connsiteY14048" fmla="*/ 1877431 h 3690338"/>
                <a:gd name="connsiteX14049" fmla="*/ 3279210 w 4878487"/>
                <a:gd name="connsiteY14049" fmla="*/ 1874676 h 3690338"/>
                <a:gd name="connsiteX14050" fmla="*/ 3278816 w 4878487"/>
                <a:gd name="connsiteY14050" fmla="*/ 1871922 h 3690338"/>
                <a:gd name="connsiteX14051" fmla="*/ 3277242 w 4878487"/>
                <a:gd name="connsiteY14051" fmla="*/ 1869169 h 3690338"/>
                <a:gd name="connsiteX14052" fmla="*/ 3279997 w 4878487"/>
                <a:gd name="connsiteY14052" fmla="*/ 1870349 h 3690338"/>
                <a:gd name="connsiteX14053" fmla="*/ 3280390 w 4878487"/>
                <a:gd name="connsiteY14053" fmla="*/ 1867595 h 3690338"/>
                <a:gd name="connsiteX14054" fmla="*/ 3279997 w 4878487"/>
                <a:gd name="connsiteY14054" fmla="*/ 1864447 h 3690338"/>
                <a:gd name="connsiteX14055" fmla="*/ 3279997 w 4878487"/>
                <a:gd name="connsiteY14055" fmla="*/ 1864054 h 3690338"/>
                <a:gd name="connsiteX14056" fmla="*/ 3280390 w 4878487"/>
                <a:gd name="connsiteY14056" fmla="*/ 1864447 h 3690338"/>
                <a:gd name="connsiteX14057" fmla="*/ 3280390 w 4878487"/>
                <a:gd name="connsiteY14057" fmla="*/ 1869955 h 3690338"/>
                <a:gd name="connsiteX14058" fmla="*/ 3280783 w 4878487"/>
                <a:gd name="connsiteY14058" fmla="*/ 1873103 h 3690338"/>
                <a:gd name="connsiteX14059" fmla="*/ 3281570 w 4878487"/>
                <a:gd name="connsiteY14059" fmla="*/ 1875857 h 3690338"/>
                <a:gd name="connsiteX14060" fmla="*/ 3281570 w 4878487"/>
                <a:gd name="connsiteY14060" fmla="*/ 1879004 h 3690338"/>
                <a:gd name="connsiteX14061" fmla="*/ 3283144 w 4878487"/>
                <a:gd name="connsiteY14061" fmla="*/ 1881758 h 3690338"/>
                <a:gd name="connsiteX14062" fmla="*/ 3285898 w 4878487"/>
                <a:gd name="connsiteY14062" fmla="*/ 1882938 h 3690338"/>
                <a:gd name="connsiteX14063" fmla="*/ 3287078 w 4878487"/>
                <a:gd name="connsiteY14063" fmla="*/ 1883725 h 3690338"/>
                <a:gd name="connsiteX14064" fmla="*/ 3287471 w 4878487"/>
                <a:gd name="connsiteY14064" fmla="*/ 1884905 h 3690338"/>
                <a:gd name="connsiteX14065" fmla="*/ 3285898 w 4878487"/>
                <a:gd name="connsiteY14065" fmla="*/ 1885299 h 3690338"/>
                <a:gd name="connsiteX14066" fmla="*/ 3288259 w 4878487"/>
                <a:gd name="connsiteY14066" fmla="*/ 1887266 h 3690338"/>
                <a:gd name="connsiteX14067" fmla="*/ 3289439 w 4878487"/>
                <a:gd name="connsiteY14067" fmla="*/ 1890414 h 3690338"/>
                <a:gd name="connsiteX14068" fmla="*/ 3290226 w 4878487"/>
                <a:gd name="connsiteY14068" fmla="*/ 1893168 h 3690338"/>
                <a:gd name="connsiteX14069" fmla="*/ 3292586 w 4878487"/>
                <a:gd name="connsiteY14069" fmla="*/ 1895922 h 3690338"/>
                <a:gd name="connsiteX14070" fmla="*/ 3292979 w 4878487"/>
                <a:gd name="connsiteY14070" fmla="*/ 1896315 h 3690338"/>
                <a:gd name="connsiteX14071" fmla="*/ 3296520 w 4878487"/>
                <a:gd name="connsiteY14071" fmla="*/ 1903790 h 3690338"/>
                <a:gd name="connsiteX14072" fmla="*/ 3298488 w 4878487"/>
                <a:gd name="connsiteY14072" fmla="*/ 1910872 h 3690338"/>
                <a:gd name="connsiteX14073" fmla="*/ 3298488 w 4878487"/>
                <a:gd name="connsiteY14073" fmla="*/ 1912839 h 3690338"/>
                <a:gd name="connsiteX14074" fmla="*/ 3299668 w 4878487"/>
                <a:gd name="connsiteY14074" fmla="*/ 1915593 h 3690338"/>
                <a:gd name="connsiteX14075" fmla="*/ 3300061 w 4878487"/>
                <a:gd name="connsiteY14075" fmla="*/ 1916773 h 3690338"/>
                <a:gd name="connsiteX14076" fmla="*/ 3303208 w 4878487"/>
                <a:gd name="connsiteY14076" fmla="*/ 1928182 h 3690338"/>
                <a:gd name="connsiteX14077" fmla="*/ 3300848 w 4878487"/>
                <a:gd name="connsiteY14077" fmla="*/ 1937625 h 3690338"/>
                <a:gd name="connsiteX14078" fmla="*/ 3300848 w 4878487"/>
                <a:gd name="connsiteY14078" fmla="*/ 1948247 h 3690338"/>
                <a:gd name="connsiteX14079" fmla="*/ 3300455 w 4878487"/>
                <a:gd name="connsiteY14079" fmla="*/ 1949034 h 3690338"/>
                <a:gd name="connsiteX14080" fmla="*/ 3300848 w 4878487"/>
                <a:gd name="connsiteY14080" fmla="*/ 1950608 h 3690338"/>
                <a:gd name="connsiteX14081" fmla="*/ 3300061 w 4878487"/>
                <a:gd name="connsiteY14081" fmla="*/ 1953362 h 3690338"/>
                <a:gd name="connsiteX14082" fmla="*/ 3300061 w 4878487"/>
                <a:gd name="connsiteY14082" fmla="*/ 1956509 h 3690338"/>
                <a:gd name="connsiteX14083" fmla="*/ 3299668 w 4878487"/>
                <a:gd name="connsiteY14083" fmla="*/ 1959263 h 3690338"/>
                <a:gd name="connsiteX14084" fmla="*/ 3298094 w 4878487"/>
                <a:gd name="connsiteY14084" fmla="*/ 1962017 h 3690338"/>
                <a:gd name="connsiteX14085" fmla="*/ 3297701 w 4878487"/>
                <a:gd name="connsiteY14085" fmla="*/ 1964771 h 3690338"/>
                <a:gd name="connsiteX14086" fmla="*/ 3298094 w 4878487"/>
                <a:gd name="connsiteY14086" fmla="*/ 1967919 h 3690338"/>
                <a:gd name="connsiteX14087" fmla="*/ 3297701 w 4878487"/>
                <a:gd name="connsiteY14087" fmla="*/ 1970673 h 3690338"/>
                <a:gd name="connsiteX14088" fmla="*/ 3297701 w 4878487"/>
                <a:gd name="connsiteY14088" fmla="*/ 1973820 h 3690338"/>
                <a:gd name="connsiteX14089" fmla="*/ 3298094 w 4878487"/>
                <a:gd name="connsiteY14089" fmla="*/ 1976574 h 3690338"/>
                <a:gd name="connsiteX14090" fmla="*/ 3300848 w 4878487"/>
                <a:gd name="connsiteY14090" fmla="*/ 1977361 h 3690338"/>
                <a:gd name="connsiteX14091" fmla="*/ 3303602 w 4878487"/>
                <a:gd name="connsiteY14091" fmla="*/ 1975000 h 3690338"/>
                <a:gd name="connsiteX14092" fmla="*/ 3305176 w 4878487"/>
                <a:gd name="connsiteY14092" fmla="*/ 1972246 h 3690338"/>
                <a:gd name="connsiteX14093" fmla="*/ 3305963 w 4878487"/>
                <a:gd name="connsiteY14093" fmla="*/ 1969099 h 3690338"/>
                <a:gd name="connsiteX14094" fmla="*/ 3308323 w 4878487"/>
                <a:gd name="connsiteY14094" fmla="*/ 1966345 h 3690338"/>
                <a:gd name="connsiteX14095" fmla="*/ 3310684 w 4878487"/>
                <a:gd name="connsiteY14095" fmla="*/ 1963591 h 3690338"/>
                <a:gd name="connsiteX14096" fmla="*/ 3309897 w 4878487"/>
                <a:gd name="connsiteY14096" fmla="*/ 1960837 h 3690338"/>
                <a:gd name="connsiteX14097" fmla="*/ 3309504 w 4878487"/>
                <a:gd name="connsiteY14097" fmla="*/ 1959263 h 3690338"/>
                <a:gd name="connsiteX14098" fmla="*/ 3310290 w 4878487"/>
                <a:gd name="connsiteY14098" fmla="*/ 1959656 h 3690338"/>
                <a:gd name="connsiteX14099" fmla="*/ 3311077 w 4878487"/>
                <a:gd name="connsiteY14099" fmla="*/ 1959263 h 3690338"/>
                <a:gd name="connsiteX14100" fmla="*/ 3310684 w 4878487"/>
                <a:gd name="connsiteY14100" fmla="*/ 1962411 h 3690338"/>
                <a:gd name="connsiteX14101" fmla="*/ 3310684 w 4878487"/>
                <a:gd name="connsiteY14101" fmla="*/ 1965165 h 3690338"/>
                <a:gd name="connsiteX14102" fmla="*/ 3310290 w 4878487"/>
                <a:gd name="connsiteY14102" fmla="*/ 1967919 h 3690338"/>
                <a:gd name="connsiteX14103" fmla="*/ 3310684 w 4878487"/>
                <a:gd name="connsiteY14103" fmla="*/ 1969886 h 3690338"/>
                <a:gd name="connsiteX14104" fmla="*/ 3311077 w 4878487"/>
                <a:gd name="connsiteY14104" fmla="*/ 1972640 h 3690338"/>
                <a:gd name="connsiteX14105" fmla="*/ 3309897 w 4878487"/>
                <a:gd name="connsiteY14105" fmla="*/ 1975394 h 3690338"/>
                <a:gd name="connsiteX14106" fmla="*/ 3307930 w 4878487"/>
                <a:gd name="connsiteY14106" fmla="*/ 1978541 h 3690338"/>
                <a:gd name="connsiteX14107" fmla="*/ 3311077 w 4878487"/>
                <a:gd name="connsiteY14107" fmla="*/ 1977361 h 3690338"/>
                <a:gd name="connsiteX14108" fmla="*/ 3312651 w 4878487"/>
                <a:gd name="connsiteY14108" fmla="*/ 1974607 h 3690338"/>
                <a:gd name="connsiteX14109" fmla="*/ 3313831 w 4878487"/>
                <a:gd name="connsiteY14109" fmla="*/ 1971853 h 3690338"/>
                <a:gd name="connsiteX14110" fmla="*/ 3314225 w 4878487"/>
                <a:gd name="connsiteY14110" fmla="*/ 1971066 h 3690338"/>
                <a:gd name="connsiteX14111" fmla="*/ 3313438 w 4878487"/>
                <a:gd name="connsiteY14111" fmla="*/ 1974213 h 3690338"/>
                <a:gd name="connsiteX14112" fmla="*/ 3312651 w 4878487"/>
                <a:gd name="connsiteY14112" fmla="*/ 1976967 h 3690338"/>
                <a:gd name="connsiteX14113" fmla="*/ 3309504 w 4878487"/>
                <a:gd name="connsiteY14113" fmla="*/ 1979328 h 3690338"/>
                <a:gd name="connsiteX14114" fmla="*/ 3312651 w 4878487"/>
                <a:gd name="connsiteY14114" fmla="*/ 1982082 h 3690338"/>
                <a:gd name="connsiteX14115" fmla="*/ 3314225 w 4878487"/>
                <a:gd name="connsiteY14115" fmla="*/ 1979328 h 3690338"/>
                <a:gd name="connsiteX14116" fmla="*/ 3316585 w 4878487"/>
                <a:gd name="connsiteY14116" fmla="*/ 1976180 h 3690338"/>
                <a:gd name="connsiteX14117" fmla="*/ 3316192 w 4878487"/>
                <a:gd name="connsiteY14117" fmla="*/ 1973033 h 3690338"/>
                <a:gd name="connsiteX14118" fmla="*/ 3316585 w 4878487"/>
                <a:gd name="connsiteY14118" fmla="*/ 1970279 h 3690338"/>
                <a:gd name="connsiteX14119" fmla="*/ 3318159 w 4878487"/>
                <a:gd name="connsiteY14119" fmla="*/ 1969492 h 3690338"/>
                <a:gd name="connsiteX14120" fmla="*/ 3316585 w 4878487"/>
                <a:gd name="connsiteY14120" fmla="*/ 1971066 h 3690338"/>
                <a:gd name="connsiteX14121" fmla="*/ 3316585 w 4878487"/>
                <a:gd name="connsiteY14121" fmla="*/ 1974213 h 3690338"/>
                <a:gd name="connsiteX14122" fmla="*/ 3318159 w 4878487"/>
                <a:gd name="connsiteY14122" fmla="*/ 1975787 h 3690338"/>
                <a:gd name="connsiteX14123" fmla="*/ 3315798 w 4878487"/>
                <a:gd name="connsiteY14123" fmla="*/ 1978541 h 3690338"/>
                <a:gd name="connsiteX14124" fmla="*/ 3316585 w 4878487"/>
                <a:gd name="connsiteY14124" fmla="*/ 1981295 h 3690338"/>
                <a:gd name="connsiteX14125" fmla="*/ 3316978 w 4878487"/>
                <a:gd name="connsiteY14125" fmla="*/ 1984049 h 3690338"/>
                <a:gd name="connsiteX14126" fmla="*/ 3319733 w 4878487"/>
                <a:gd name="connsiteY14126" fmla="*/ 1984836 h 3690338"/>
                <a:gd name="connsiteX14127" fmla="*/ 3321306 w 4878487"/>
                <a:gd name="connsiteY14127" fmla="*/ 1983656 h 3690338"/>
                <a:gd name="connsiteX14128" fmla="*/ 3322880 w 4878487"/>
                <a:gd name="connsiteY14128" fmla="*/ 1980508 h 3690338"/>
                <a:gd name="connsiteX14129" fmla="*/ 3322880 w 4878487"/>
                <a:gd name="connsiteY14129" fmla="*/ 1977754 h 3690338"/>
                <a:gd name="connsiteX14130" fmla="*/ 3322880 w 4878487"/>
                <a:gd name="connsiteY14130" fmla="*/ 1977361 h 3690338"/>
                <a:gd name="connsiteX14131" fmla="*/ 3324060 w 4878487"/>
                <a:gd name="connsiteY14131" fmla="*/ 1971853 h 3690338"/>
                <a:gd name="connsiteX14132" fmla="*/ 3324060 w 4878487"/>
                <a:gd name="connsiteY14132" fmla="*/ 1971853 h 3690338"/>
                <a:gd name="connsiteX14133" fmla="*/ 3324060 w 4878487"/>
                <a:gd name="connsiteY14133" fmla="*/ 1973033 h 3690338"/>
                <a:gd name="connsiteX14134" fmla="*/ 3325241 w 4878487"/>
                <a:gd name="connsiteY14134" fmla="*/ 1973426 h 3690338"/>
                <a:gd name="connsiteX14135" fmla="*/ 3326027 w 4878487"/>
                <a:gd name="connsiteY14135" fmla="*/ 1973820 h 3690338"/>
                <a:gd name="connsiteX14136" fmla="*/ 3323667 w 4878487"/>
                <a:gd name="connsiteY14136" fmla="*/ 1976574 h 3690338"/>
                <a:gd name="connsiteX14137" fmla="*/ 3324847 w 4878487"/>
                <a:gd name="connsiteY14137" fmla="*/ 1976967 h 3690338"/>
                <a:gd name="connsiteX14138" fmla="*/ 3324847 w 4878487"/>
                <a:gd name="connsiteY14138" fmla="*/ 1982869 h 3690338"/>
                <a:gd name="connsiteX14139" fmla="*/ 3327601 w 4878487"/>
                <a:gd name="connsiteY14139" fmla="*/ 1985623 h 3690338"/>
                <a:gd name="connsiteX14140" fmla="*/ 3327601 w 4878487"/>
                <a:gd name="connsiteY14140" fmla="*/ 1982869 h 3690338"/>
                <a:gd name="connsiteX14141" fmla="*/ 3327995 w 4878487"/>
                <a:gd name="connsiteY14141" fmla="*/ 1980115 h 3690338"/>
                <a:gd name="connsiteX14142" fmla="*/ 3328781 w 4878487"/>
                <a:gd name="connsiteY14142" fmla="*/ 1978148 h 3690338"/>
                <a:gd name="connsiteX14143" fmla="*/ 3328388 w 4878487"/>
                <a:gd name="connsiteY14143" fmla="*/ 1981295 h 3690338"/>
                <a:gd name="connsiteX14144" fmla="*/ 3330748 w 4878487"/>
                <a:gd name="connsiteY14144" fmla="*/ 1978541 h 3690338"/>
                <a:gd name="connsiteX14145" fmla="*/ 3330355 w 4878487"/>
                <a:gd name="connsiteY14145" fmla="*/ 1975394 h 3690338"/>
                <a:gd name="connsiteX14146" fmla="*/ 3329962 w 4878487"/>
                <a:gd name="connsiteY14146" fmla="*/ 1975394 h 3690338"/>
                <a:gd name="connsiteX14147" fmla="*/ 3329962 w 4878487"/>
                <a:gd name="connsiteY14147" fmla="*/ 1974607 h 3690338"/>
                <a:gd name="connsiteX14148" fmla="*/ 3330748 w 4878487"/>
                <a:gd name="connsiteY14148" fmla="*/ 1973426 h 3690338"/>
                <a:gd name="connsiteX14149" fmla="*/ 3331535 w 4878487"/>
                <a:gd name="connsiteY14149" fmla="*/ 1976574 h 3690338"/>
                <a:gd name="connsiteX14150" fmla="*/ 3331535 w 4878487"/>
                <a:gd name="connsiteY14150" fmla="*/ 1979721 h 3690338"/>
                <a:gd name="connsiteX14151" fmla="*/ 3330748 w 4878487"/>
                <a:gd name="connsiteY14151" fmla="*/ 1982475 h 3690338"/>
                <a:gd name="connsiteX14152" fmla="*/ 3329962 w 4878487"/>
                <a:gd name="connsiteY14152" fmla="*/ 1985229 h 3690338"/>
                <a:gd name="connsiteX14153" fmla="*/ 3332322 w 4878487"/>
                <a:gd name="connsiteY14153" fmla="*/ 1987983 h 3690338"/>
                <a:gd name="connsiteX14154" fmla="*/ 3335470 w 4878487"/>
                <a:gd name="connsiteY14154" fmla="*/ 1986803 h 3690338"/>
                <a:gd name="connsiteX14155" fmla="*/ 3335863 w 4878487"/>
                <a:gd name="connsiteY14155" fmla="*/ 1986410 h 3690338"/>
                <a:gd name="connsiteX14156" fmla="*/ 3338224 w 4878487"/>
                <a:gd name="connsiteY14156" fmla="*/ 1983656 h 3690338"/>
                <a:gd name="connsiteX14157" fmla="*/ 3340584 w 4878487"/>
                <a:gd name="connsiteY14157" fmla="*/ 1980902 h 3690338"/>
                <a:gd name="connsiteX14158" fmla="*/ 3341371 w 4878487"/>
                <a:gd name="connsiteY14158" fmla="*/ 1978148 h 3690338"/>
                <a:gd name="connsiteX14159" fmla="*/ 3342158 w 4878487"/>
                <a:gd name="connsiteY14159" fmla="*/ 1975394 h 3690338"/>
                <a:gd name="connsiteX14160" fmla="*/ 3341764 w 4878487"/>
                <a:gd name="connsiteY14160" fmla="*/ 1972640 h 3690338"/>
                <a:gd name="connsiteX14161" fmla="*/ 3341764 w 4878487"/>
                <a:gd name="connsiteY14161" fmla="*/ 1971459 h 3690338"/>
                <a:gd name="connsiteX14162" fmla="*/ 3344912 w 4878487"/>
                <a:gd name="connsiteY14162" fmla="*/ 1973033 h 3690338"/>
                <a:gd name="connsiteX14163" fmla="*/ 3347666 w 4878487"/>
                <a:gd name="connsiteY14163" fmla="*/ 1971066 h 3690338"/>
                <a:gd name="connsiteX14164" fmla="*/ 3350420 w 4878487"/>
                <a:gd name="connsiteY14164" fmla="*/ 1969886 h 3690338"/>
                <a:gd name="connsiteX14165" fmla="*/ 3351207 w 4878487"/>
                <a:gd name="connsiteY14165" fmla="*/ 1967132 h 3690338"/>
                <a:gd name="connsiteX14166" fmla="*/ 3349633 w 4878487"/>
                <a:gd name="connsiteY14166" fmla="*/ 1965558 h 3690338"/>
                <a:gd name="connsiteX14167" fmla="*/ 3367337 w 4878487"/>
                <a:gd name="connsiteY14167" fmla="*/ 1966738 h 3690338"/>
                <a:gd name="connsiteX14168" fmla="*/ 3993279 w 4878487"/>
                <a:gd name="connsiteY14168" fmla="*/ 1491479 h 3690338"/>
                <a:gd name="connsiteX14169" fmla="*/ 3990524 w 4878487"/>
                <a:gd name="connsiteY14169" fmla="*/ 1492659 h 3690338"/>
                <a:gd name="connsiteX14170" fmla="*/ 3987378 w 4878487"/>
                <a:gd name="connsiteY14170" fmla="*/ 1494627 h 3690338"/>
                <a:gd name="connsiteX14171" fmla="*/ 3986590 w 4878487"/>
                <a:gd name="connsiteY14171" fmla="*/ 1495020 h 3690338"/>
                <a:gd name="connsiteX14172" fmla="*/ 3987378 w 4878487"/>
                <a:gd name="connsiteY14172" fmla="*/ 1494233 h 3690338"/>
                <a:gd name="connsiteX14173" fmla="*/ 3990131 w 4878487"/>
                <a:gd name="connsiteY14173" fmla="*/ 1491873 h 3690338"/>
                <a:gd name="connsiteX14174" fmla="*/ 3991705 w 4878487"/>
                <a:gd name="connsiteY14174" fmla="*/ 1489906 h 3690338"/>
                <a:gd name="connsiteX14175" fmla="*/ 3996033 w 4878487"/>
                <a:gd name="connsiteY14175" fmla="*/ 1489906 h 3690338"/>
                <a:gd name="connsiteX14176" fmla="*/ 3993279 w 4878487"/>
                <a:gd name="connsiteY14176" fmla="*/ 1491479 h 3690338"/>
                <a:gd name="connsiteX14177" fmla="*/ 3950002 w 4878487"/>
                <a:gd name="connsiteY14177" fmla="*/ 1426564 h 3690338"/>
                <a:gd name="connsiteX14178" fmla="*/ 3950002 w 4878487"/>
                <a:gd name="connsiteY14178" fmla="*/ 1426564 h 3690338"/>
                <a:gd name="connsiteX14179" fmla="*/ 3951182 w 4878487"/>
                <a:gd name="connsiteY14179" fmla="*/ 1424203 h 3690338"/>
                <a:gd name="connsiteX14180" fmla="*/ 3949214 w 4878487"/>
                <a:gd name="connsiteY14180" fmla="*/ 1421449 h 3690338"/>
                <a:gd name="connsiteX14181" fmla="*/ 3952362 w 4878487"/>
                <a:gd name="connsiteY14181" fmla="*/ 1423810 h 3690338"/>
                <a:gd name="connsiteX14182" fmla="*/ 3952362 w 4878487"/>
                <a:gd name="connsiteY14182" fmla="*/ 1423810 h 3690338"/>
                <a:gd name="connsiteX14183" fmla="*/ 3953149 w 4878487"/>
                <a:gd name="connsiteY14183" fmla="*/ 1424203 h 3690338"/>
                <a:gd name="connsiteX14184" fmla="*/ 3955116 w 4878487"/>
                <a:gd name="connsiteY14184" fmla="*/ 1425777 h 3690338"/>
                <a:gd name="connsiteX14185" fmla="*/ 3952362 w 4878487"/>
                <a:gd name="connsiteY14185" fmla="*/ 1424597 h 3690338"/>
                <a:gd name="connsiteX14186" fmla="*/ 3950002 w 4878487"/>
                <a:gd name="connsiteY14186" fmla="*/ 1426564 h 3690338"/>
                <a:gd name="connsiteX14187" fmla="*/ 3950002 w 4878487"/>
                <a:gd name="connsiteY14187" fmla="*/ 1426564 h 3690338"/>
                <a:gd name="connsiteX14188" fmla="*/ 3951182 w 4878487"/>
                <a:gd name="connsiteY14188" fmla="*/ 1422630 h 3690338"/>
                <a:gd name="connsiteX14189" fmla="*/ 3948822 w 4878487"/>
                <a:gd name="connsiteY14189" fmla="*/ 1421843 h 3690338"/>
                <a:gd name="connsiteX14190" fmla="*/ 3948822 w 4878487"/>
                <a:gd name="connsiteY14190" fmla="*/ 1421843 h 3690338"/>
                <a:gd name="connsiteX14191" fmla="*/ 3951182 w 4878487"/>
                <a:gd name="connsiteY14191" fmla="*/ 1422630 h 3690338"/>
                <a:gd name="connsiteX14192" fmla="*/ 742396 w 4878487"/>
                <a:gd name="connsiteY14192" fmla="*/ 470144 h 3690338"/>
                <a:gd name="connsiteX14193" fmla="*/ 744756 w 4878487"/>
                <a:gd name="connsiteY14193" fmla="*/ 469358 h 3690338"/>
                <a:gd name="connsiteX14194" fmla="*/ 745543 w 4878487"/>
                <a:gd name="connsiteY14194" fmla="*/ 469358 h 3690338"/>
                <a:gd name="connsiteX14195" fmla="*/ 744756 w 4878487"/>
                <a:gd name="connsiteY14195" fmla="*/ 469751 h 3690338"/>
                <a:gd name="connsiteX14196" fmla="*/ 742396 w 4878487"/>
                <a:gd name="connsiteY14196" fmla="*/ 470144 h 3690338"/>
                <a:gd name="connsiteX14197" fmla="*/ 747904 w 4878487"/>
                <a:gd name="connsiteY14197" fmla="*/ 468177 h 3690338"/>
                <a:gd name="connsiteX14198" fmla="*/ 747904 w 4878487"/>
                <a:gd name="connsiteY14198" fmla="*/ 468177 h 3690338"/>
                <a:gd name="connsiteX14199" fmla="*/ 747904 w 4878487"/>
                <a:gd name="connsiteY14199" fmla="*/ 468177 h 3690338"/>
                <a:gd name="connsiteX14200" fmla="*/ 747510 w 4878487"/>
                <a:gd name="connsiteY14200" fmla="*/ 468571 h 3690338"/>
                <a:gd name="connsiteX14201" fmla="*/ 747117 w 4878487"/>
                <a:gd name="connsiteY14201" fmla="*/ 468177 h 3690338"/>
                <a:gd name="connsiteX14202" fmla="*/ 747904 w 4878487"/>
                <a:gd name="connsiteY14202" fmla="*/ 468177 h 3690338"/>
                <a:gd name="connsiteX14203" fmla="*/ 740035 w 4878487"/>
                <a:gd name="connsiteY14203" fmla="*/ 435130 h 3690338"/>
                <a:gd name="connsiteX14204" fmla="*/ 738855 w 4878487"/>
                <a:gd name="connsiteY14204" fmla="*/ 433949 h 3690338"/>
                <a:gd name="connsiteX14205" fmla="*/ 742002 w 4878487"/>
                <a:gd name="connsiteY14205" fmla="*/ 434736 h 3690338"/>
                <a:gd name="connsiteX14206" fmla="*/ 740035 w 4878487"/>
                <a:gd name="connsiteY14206" fmla="*/ 435130 h 3690338"/>
                <a:gd name="connsiteX14207" fmla="*/ 740035 w 4878487"/>
                <a:gd name="connsiteY14207" fmla="*/ 435130 h 3690338"/>
                <a:gd name="connsiteX14208" fmla="*/ 710135 w 4878487"/>
                <a:gd name="connsiteY14208" fmla="*/ 448899 h 3690338"/>
                <a:gd name="connsiteX14209" fmla="*/ 709348 w 4878487"/>
                <a:gd name="connsiteY14209" fmla="*/ 448899 h 3690338"/>
                <a:gd name="connsiteX14210" fmla="*/ 708561 w 4878487"/>
                <a:gd name="connsiteY14210" fmla="*/ 448113 h 3690338"/>
                <a:gd name="connsiteX14211" fmla="*/ 710135 w 4878487"/>
                <a:gd name="connsiteY14211" fmla="*/ 448899 h 3690338"/>
                <a:gd name="connsiteX14212" fmla="*/ 714856 w 4878487"/>
                <a:gd name="connsiteY14212" fmla="*/ 449686 h 3690338"/>
                <a:gd name="connsiteX14213" fmla="*/ 714856 w 4878487"/>
                <a:gd name="connsiteY14213" fmla="*/ 449686 h 3690338"/>
                <a:gd name="connsiteX14214" fmla="*/ 713676 w 4878487"/>
                <a:gd name="connsiteY14214" fmla="*/ 451653 h 3690338"/>
                <a:gd name="connsiteX14215" fmla="*/ 713676 w 4878487"/>
                <a:gd name="connsiteY14215" fmla="*/ 451653 h 3690338"/>
                <a:gd name="connsiteX14216" fmla="*/ 714856 w 4878487"/>
                <a:gd name="connsiteY14216" fmla="*/ 449686 h 3690338"/>
                <a:gd name="connsiteX14217" fmla="*/ 727446 w 4878487"/>
                <a:gd name="connsiteY14217" fmla="*/ 470538 h 3690338"/>
                <a:gd name="connsiteX14218" fmla="*/ 727839 w 4878487"/>
                <a:gd name="connsiteY14218" fmla="*/ 468571 h 3690338"/>
                <a:gd name="connsiteX14219" fmla="*/ 729413 w 4878487"/>
                <a:gd name="connsiteY14219" fmla="*/ 468177 h 3690338"/>
                <a:gd name="connsiteX14220" fmla="*/ 729806 w 4878487"/>
                <a:gd name="connsiteY14220" fmla="*/ 468177 h 3690338"/>
                <a:gd name="connsiteX14221" fmla="*/ 732954 w 4878487"/>
                <a:gd name="connsiteY14221" fmla="*/ 468964 h 3690338"/>
                <a:gd name="connsiteX14222" fmla="*/ 736101 w 4878487"/>
                <a:gd name="connsiteY14222" fmla="*/ 469358 h 3690338"/>
                <a:gd name="connsiteX14223" fmla="*/ 739248 w 4878487"/>
                <a:gd name="connsiteY14223" fmla="*/ 468964 h 3690338"/>
                <a:gd name="connsiteX14224" fmla="*/ 741216 w 4878487"/>
                <a:gd name="connsiteY14224" fmla="*/ 467390 h 3690338"/>
                <a:gd name="connsiteX14225" fmla="*/ 742002 w 4878487"/>
                <a:gd name="connsiteY14225" fmla="*/ 467390 h 3690338"/>
                <a:gd name="connsiteX14226" fmla="*/ 738855 w 4878487"/>
                <a:gd name="connsiteY14226" fmla="*/ 469751 h 3690338"/>
                <a:gd name="connsiteX14227" fmla="*/ 741216 w 4878487"/>
                <a:gd name="connsiteY14227" fmla="*/ 470144 h 3690338"/>
                <a:gd name="connsiteX14228" fmla="*/ 734134 w 4878487"/>
                <a:gd name="connsiteY14228" fmla="*/ 470538 h 3690338"/>
                <a:gd name="connsiteX14229" fmla="*/ 733740 w 4878487"/>
                <a:gd name="connsiteY14229" fmla="*/ 470144 h 3690338"/>
                <a:gd name="connsiteX14230" fmla="*/ 730199 w 4878487"/>
                <a:gd name="connsiteY14230" fmla="*/ 469751 h 3690338"/>
                <a:gd name="connsiteX14231" fmla="*/ 728626 w 4878487"/>
                <a:gd name="connsiteY14231" fmla="*/ 470931 h 3690338"/>
                <a:gd name="connsiteX14232" fmla="*/ 724692 w 4878487"/>
                <a:gd name="connsiteY14232" fmla="*/ 470931 h 3690338"/>
                <a:gd name="connsiteX14233" fmla="*/ 727446 w 4878487"/>
                <a:gd name="connsiteY14233" fmla="*/ 470538 h 3690338"/>
                <a:gd name="connsiteX14234" fmla="*/ 706988 w 4878487"/>
                <a:gd name="connsiteY14234" fmla="*/ 491389 h 3690338"/>
                <a:gd name="connsiteX14235" fmla="*/ 707381 w 4878487"/>
                <a:gd name="connsiteY14235" fmla="*/ 490209 h 3690338"/>
                <a:gd name="connsiteX14236" fmla="*/ 707381 w 4878487"/>
                <a:gd name="connsiteY14236" fmla="*/ 490209 h 3690338"/>
                <a:gd name="connsiteX14237" fmla="*/ 706988 w 4878487"/>
                <a:gd name="connsiteY14237" fmla="*/ 491389 h 3690338"/>
                <a:gd name="connsiteX14238" fmla="*/ 820294 w 4878487"/>
                <a:gd name="connsiteY14238" fmla="*/ 625941 h 3690338"/>
                <a:gd name="connsiteX14239" fmla="*/ 818720 w 4878487"/>
                <a:gd name="connsiteY14239" fmla="*/ 623974 h 3690338"/>
                <a:gd name="connsiteX14240" fmla="*/ 821081 w 4878487"/>
                <a:gd name="connsiteY14240" fmla="*/ 624368 h 3690338"/>
                <a:gd name="connsiteX14241" fmla="*/ 820294 w 4878487"/>
                <a:gd name="connsiteY14241" fmla="*/ 625941 h 3690338"/>
                <a:gd name="connsiteX14242" fmla="*/ 277366 w 4878487"/>
                <a:gd name="connsiteY14242" fmla="*/ 1207819 h 3690338"/>
                <a:gd name="connsiteX14243" fmla="*/ 274612 w 4878487"/>
                <a:gd name="connsiteY14243" fmla="*/ 1206639 h 3690338"/>
                <a:gd name="connsiteX14244" fmla="*/ 277366 w 4878487"/>
                <a:gd name="connsiteY14244" fmla="*/ 1207819 h 3690338"/>
                <a:gd name="connsiteX14245" fmla="*/ 277366 w 4878487"/>
                <a:gd name="connsiteY14245" fmla="*/ 1207819 h 3690338"/>
                <a:gd name="connsiteX14246" fmla="*/ 349363 w 4878487"/>
                <a:gd name="connsiteY14246" fmla="*/ 1268013 h 3690338"/>
                <a:gd name="connsiteX14247" fmla="*/ 349756 w 4878487"/>
                <a:gd name="connsiteY14247" fmla="*/ 1266439 h 3690338"/>
                <a:gd name="connsiteX14248" fmla="*/ 352510 w 4878487"/>
                <a:gd name="connsiteY14248" fmla="*/ 1266833 h 3690338"/>
                <a:gd name="connsiteX14249" fmla="*/ 349363 w 4878487"/>
                <a:gd name="connsiteY14249" fmla="*/ 1268013 h 3690338"/>
                <a:gd name="connsiteX14250" fmla="*/ 1172804 w 4878487"/>
                <a:gd name="connsiteY14250" fmla="*/ 1227097 h 3690338"/>
                <a:gd name="connsiteX14251" fmla="*/ 1172804 w 4878487"/>
                <a:gd name="connsiteY14251" fmla="*/ 1227097 h 3690338"/>
                <a:gd name="connsiteX14252" fmla="*/ 1170050 w 4878487"/>
                <a:gd name="connsiteY14252" fmla="*/ 1228670 h 3690338"/>
                <a:gd name="connsiteX14253" fmla="*/ 1169657 w 4878487"/>
                <a:gd name="connsiteY14253" fmla="*/ 1230244 h 3690338"/>
                <a:gd name="connsiteX14254" fmla="*/ 1169657 w 4878487"/>
                <a:gd name="connsiteY14254" fmla="*/ 1228670 h 3690338"/>
                <a:gd name="connsiteX14255" fmla="*/ 1172804 w 4878487"/>
                <a:gd name="connsiteY14255" fmla="*/ 1227097 h 3690338"/>
                <a:gd name="connsiteX14256" fmla="*/ 1169657 w 4878487"/>
                <a:gd name="connsiteY14256" fmla="*/ 1231424 h 3690338"/>
                <a:gd name="connsiteX14257" fmla="*/ 1168477 w 4878487"/>
                <a:gd name="connsiteY14257" fmla="*/ 1230638 h 3690338"/>
                <a:gd name="connsiteX14258" fmla="*/ 1169657 w 4878487"/>
                <a:gd name="connsiteY14258" fmla="*/ 1231424 h 3690338"/>
                <a:gd name="connsiteX14259" fmla="*/ 1169657 w 4878487"/>
                <a:gd name="connsiteY14259" fmla="*/ 1231424 h 3690338"/>
                <a:gd name="connsiteX14260" fmla="*/ 791181 w 4878487"/>
                <a:gd name="connsiteY14260" fmla="*/ 2574582 h 3690338"/>
                <a:gd name="connsiteX14261" fmla="*/ 796295 w 4878487"/>
                <a:gd name="connsiteY14261" fmla="*/ 2577336 h 3690338"/>
                <a:gd name="connsiteX14262" fmla="*/ 791181 w 4878487"/>
                <a:gd name="connsiteY14262" fmla="*/ 2574582 h 3690338"/>
                <a:gd name="connsiteX14263" fmla="*/ 791181 w 4878487"/>
                <a:gd name="connsiteY14263" fmla="*/ 2574582 h 3690338"/>
                <a:gd name="connsiteX14264" fmla="*/ 791574 w 4878487"/>
                <a:gd name="connsiteY14264" fmla="*/ 2577729 h 3690338"/>
                <a:gd name="connsiteX14265" fmla="*/ 790394 w 4878487"/>
                <a:gd name="connsiteY14265" fmla="*/ 2577729 h 3690338"/>
                <a:gd name="connsiteX14266" fmla="*/ 791574 w 4878487"/>
                <a:gd name="connsiteY14266" fmla="*/ 2577729 h 3690338"/>
                <a:gd name="connsiteX14267" fmla="*/ 790001 w 4878487"/>
                <a:gd name="connsiteY14267" fmla="*/ 2578123 h 3690338"/>
                <a:gd name="connsiteX14268" fmla="*/ 787246 w 4878487"/>
                <a:gd name="connsiteY14268" fmla="*/ 2578910 h 3690338"/>
                <a:gd name="connsiteX14269" fmla="*/ 790001 w 4878487"/>
                <a:gd name="connsiteY14269" fmla="*/ 2578123 h 3690338"/>
                <a:gd name="connsiteX14270" fmla="*/ 784492 w 4878487"/>
                <a:gd name="connsiteY14270" fmla="*/ 2573008 h 3690338"/>
                <a:gd name="connsiteX14271" fmla="*/ 783706 w 4878487"/>
                <a:gd name="connsiteY14271" fmla="*/ 2571434 h 3690338"/>
                <a:gd name="connsiteX14272" fmla="*/ 785673 w 4878487"/>
                <a:gd name="connsiteY14272" fmla="*/ 2574188 h 3690338"/>
                <a:gd name="connsiteX14273" fmla="*/ 784492 w 4878487"/>
                <a:gd name="connsiteY14273" fmla="*/ 2573008 h 3690338"/>
                <a:gd name="connsiteX14274" fmla="*/ 790787 w 4878487"/>
                <a:gd name="connsiteY14274" fmla="*/ 2587565 h 3690338"/>
                <a:gd name="connsiteX14275" fmla="*/ 791574 w 4878487"/>
                <a:gd name="connsiteY14275" fmla="*/ 2587958 h 3690338"/>
                <a:gd name="connsiteX14276" fmla="*/ 790394 w 4878487"/>
                <a:gd name="connsiteY14276" fmla="*/ 2585598 h 3690338"/>
                <a:gd name="connsiteX14277" fmla="*/ 792361 w 4878487"/>
                <a:gd name="connsiteY14277" fmla="*/ 2585598 h 3690338"/>
                <a:gd name="connsiteX14278" fmla="*/ 793935 w 4878487"/>
                <a:gd name="connsiteY14278" fmla="*/ 2588352 h 3690338"/>
                <a:gd name="connsiteX14279" fmla="*/ 794721 w 4878487"/>
                <a:gd name="connsiteY14279" fmla="*/ 2589532 h 3690338"/>
                <a:gd name="connsiteX14280" fmla="*/ 795115 w 4878487"/>
                <a:gd name="connsiteY14280" fmla="*/ 2590712 h 3690338"/>
                <a:gd name="connsiteX14281" fmla="*/ 791181 w 4878487"/>
                <a:gd name="connsiteY14281" fmla="*/ 2587565 h 3690338"/>
                <a:gd name="connsiteX14282" fmla="*/ 792361 w 4878487"/>
                <a:gd name="connsiteY14282" fmla="*/ 2589532 h 3690338"/>
                <a:gd name="connsiteX14283" fmla="*/ 790787 w 4878487"/>
                <a:gd name="connsiteY14283" fmla="*/ 2587565 h 3690338"/>
                <a:gd name="connsiteX14284" fmla="*/ 515782 w 4878487"/>
                <a:gd name="connsiteY14284" fmla="*/ 2315314 h 3690338"/>
                <a:gd name="connsiteX14285" fmla="*/ 515782 w 4878487"/>
                <a:gd name="connsiteY14285" fmla="*/ 2315314 h 3690338"/>
                <a:gd name="connsiteX14286" fmla="*/ 515782 w 4878487"/>
                <a:gd name="connsiteY14286" fmla="*/ 2315314 h 3690338"/>
                <a:gd name="connsiteX14287" fmla="*/ 515782 w 4878487"/>
                <a:gd name="connsiteY14287" fmla="*/ 2315314 h 3690338"/>
                <a:gd name="connsiteX14288" fmla="*/ 44457 w 4878487"/>
                <a:gd name="connsiteY14288" fmla="*/ 2063914 h 3690338"/>
                <a:gd name="connsiteX14289" fmla="*/ 44457 w 4878487"/>
                <a:gd name="connsiteY14289" fmla="*/ 2063914 h 3690338"/>
                <a:gd name="connsiteX14290" fmla="*/ 44457 w 4878487"/>
                <a:gd name="connsiteY14290" fmla="*/ 2063914 h 3690338"/>
                <a:gd name="connsiteX14291" fmla="*/ 44457 w 4878487"/>
                <a:gd name="connsiteY14291" fmla="*/ 2063914 h 3690338"/>
                <a:gd name="connsiteX14292" fmla="*/ 46425 w 4878487"/>
                <a:gd name="connsiteY14292" fmla="*/ 2087914 h 3690338"/>
                <a:gd name="connsiteX14293" fmla="*/ 47998 w 4878487"/>
                <a:gd name="connsiteY14293" fmla="*/ 2086733 h 3690338"/>
                <a:gd name="connsiteX14294" fmla="*/ 51145 w 4878487"/>
                <a:gd name="connsiteY14294" fmla="*/ 2085553 h 3690338"/>
                <a:gd name="connsiteX14295" fmla="*/ 46425 w 4878487"/>
                <a:gd name="connsiteY14295" fmla="*/ 2087914 h 3690338"/>
                <a:gd name="connsiteX14296" fmla="*/ 46425 w 4878487"/>
                <a:gd name="connsiteY14296" fmla="*/ 2087914 h 3690338"/>
                <a:gd name="connsiteX14297" fmla="*/ 518930 w 4878487"/>
                <a:gd name="connsiteY14297" fmla="*/ 2316888 h 3690338"/>
                <a:gd name="connsiteX14298" fmla="*/ 518930 w 4878487"/>
                <a:gd name="connsiteY14298" fmla="*/ 2316888 h 3690338"/>
                <a:gd name="connsiteX14299" fmla="*/ 516569 w 4878487"/>
                <a:gd name="connsiteY14299" fmla="*/ 2315707 h 3690338"/>
                <a:gd name="connsiteX14300" fmla="*/ 518143 w 4878487"/>
                <a:gd name="connsiteY14300" fmla="*/ 2316101 h 3690338"/>
                <a:gd name="connsiteX14301" fmla="*/ 519716 w 4878487"/>
                <a:gd name="connsiteY14301" fmla="*/ 2315707 h 3690338"/>
                <a:gd name="connsiteX14302" fmla="*/ 521290 w 4878487"/>
                <a:gd name="connsiteY14302" fmla="*/ 2316101 h 3690338"/>
                <a:gd name="connsiteX14303" fmla="*/ 518930 w 4878487"/>
                <a:gd name="connsiteY14303" fmla="*/ 2316888 h 3690338"/>
                <a:gd name="connsiteX14304" fmla="*/ 1548526 w 4878487"/>
                <a:gd name="connsiteY14304" fmla="*/ 3247734 h 3690338"/>
                <a:gd name="connsiteX14305" fmla="*/ 1549707 w 4878487"/>
                <a:gd name="connsiteY14305" fmla="*/ 3244980 h 3690338"/>
                <a:gd name="connsiteX14306" fmla="*/ 1548526 w 4878487"/>
                <a:gd name="connsiteY14306" fmla="*/ 3247734 h 3690338"/>
                <a:gd name="connsiteX14307" fmla="*/ 1548133 w 4878487"/>
                <a:gd name="connsiteY14307" fmla="*/ 3243407 h 3690338"/>
                <a:gd name="connsiteX14308" fmla="*/ 1547740 w 4878487"/>
                <a:gd name="connsiteY14308" fmla="*/ 3241833 h 3690338"/>
                <a:gd name="connsiteX14309" fmla="*/ 1548526 w 4878487"/>
                <a:gd name="connsiteY14309" fmla="*/ 3239473 h 3690338"/>
                <a:gd name="connsiteX14310" fmla="*/ 1548133 w 4878487"/>
                <a:gd name="connsiteY14310" fmla="*/ 3243407 h 3690338"/>
                <a:gd name="connsiteX14311" fmla="*/ 1525708 w 4878487"/>
                <a:gd name="connsiteY14311" fmla="*/ 1565837 h 3690338"/>
                <a:gd name="connsiteX14312" fmla="*/ 1525708 w 4878487"/>
                <a:gd name="connsiteY14312" fmla="*/ 1565837 h 3690338"/>
                <a:gd name="connsiteX14313" fmla="*/ 1528462 w 4878487"/>
                <a:gd name="connsiteY14313" fmla="*/ 1565837 h 3690338"/>
                <a:gd name="connsiteX14314" fmla="*/ 1527675 w 4878487"/>
                <a:gd name="connsiteY14314" fmla="*/ 1565837 h 3690338"/>
                <a:gd name="connsiteX14315" fmla="*/ 1525708 w 4878487"/>
                <a:gd name="connsiteY14315" fmla="*/ 1565837 h 3690338"/>
                <a:gd name="connsiteX14316" fmla="*/ 2028113 w 4878487"/>
                <a:gd name="connsiteY14316" fmla="*/ 1700389 h 3690338"/>
                <a:gd name="connsiteX14317" fmla="*/ 2028507 w 4878487"/>
                <a:gd name="connsiteY14317" fmla="*/ 1701569 h 3690338"/>
                <a:gd name="connsiteX14318" fmla="*/ 2028507 w 4878487"/>
                <a:gd name="connsiteY14318" fmla="*/ 1701569 h 3690338"/>
                <a:gd name="connsiteX14319" fmla="*/ 2028113 w 4878487"/>
                <a:gd name="connsiteY14319" fmla="*/ 1701175 h 3690338"/>
                <a:gd name="connsiteX14320" fmla="*/ 2028113 w 4878487"/>
                <a:gd name="connsiteY14320" fmla="*/ 1700389 h 3690338"/>
                <a:gd name="connsiteX14321" fmla="*/ 2790574 w 4878487"/>
                <a:gd name="connsiteY14321" fmla="*/ 129831 h 3690338"/>
                <a:gd name="connsiteX14322" fmla="*/ 2790574 w 4878487"/>
                <a:gd name="connsiteY14322" fmla="*/ 129831 h 3690338"/>
                <a:gd name="connsiteX14323" fmla="*/ 2792148 w 4878487"/>
                <a:gd name="connsiteY14323" fmla="*/ 129437 h 3690338"/>
                <a:gd name="connsiteX14324" fmla="*/ 2790574 w 4878487"/>
                <a:gd name="connsiteY14324" fmla="*/ 129831 h 3690338"/>
                <a:gd name="connsiteX14325" fmla="*/ 2033228 w 4878487"/>
                <a:gd name="connsiteY14325" fmla="*/ 1707864 h 3690338"/>
                <a:gd name="connsiteX14326" fmla="*/ 2034408 w 4878487"/>
                <a:gd name="connsiteY14326" fmla="*/ 1709437 h 3690338"/>
                <a:gd name="connsiteX14327" fmla="*/ 2032441 w 4878487"/>
                <a:gd name="connsiteY14327" fmla="*/ 1707077 h 3690338"/>
                <a:gd name="connsiteX14328" fmla="*/ 2033228 w 4878487"/>
                <a:gd name="connsiteY14328" fmla="*/ 1707864 h 3690338"/>
                <a:gd name="connsiteX14329" fmla="*/ 3516446 w 4878487"/>
                <a:gd name="connsiteY14329" fmla="*/ 2258267 h 3690338"/>
                <a:gd name="connsiteX14330" fmla="*/ 3516839 w 4878487"/>
                <a:gd name="connsiteY14330" fmla="*/ 2261021 h 3690338"/>
                <a:gd name="connsiteX14331" fmla="*/ 3516839 w 4878487"/>
                <a:gd name="connsiteY14331" fmla="*/ 2263775 h 3690338"/>
                <a:gd name="connsiteX14332" fmla="*/ 3519593 w 4878487"/>
                <a:gd name="connsiteY14332" fmla="*/ 2266529 h 3690338"/>
                <a:gd name="connsiteX14333" fmla="*/ 3519987 w 4878487"/>
                <a:gd name="connsiteY14333" fmla="*/ 2269283 h 3690338"/>
                <a:gd name="connsiteX14334" fmla="*/ 3520773 w 4878487"/>
                <a:gd name="connsiteY14334" fmla="*/ 2272037 h 3690338"/>
                <a:gd name="connsiteX14335" fmla="*/ 3520773 w 4878487"/>
                <a:gd name="connsiteY14335" fmla="*/ 2274791 h 3690338"/>
                <a:gd name="connsiteX14336" fmla="*/ 3519200 w 4878487"/>
                <a:gd name="connsiteY14336" fmla="*/ 2273611 h 3690338"/>
                <a:gd name="connsiteX14337" fmla="*/ 3513298 w 4878487"/>
                <a:gd name="connsiteY14337" fmla="*/ 2257874 h 3690338"/>
                <a:gd name="connsiteX14338" fmla="*/ 3516446 w 4878487"/>
                <a:gd name="connsiteY14338" fmla="*/ 2257874 h 3690338"/>
                <a:gd name="connsiteX14339" fmla="*/ 4453194 w 4878487"/>
                <a:gd name="connsiteY14339" fmla="*/ 433162 h 3690338"/>
                <a:gd name="connsiteX14340" fmla="*/ 4455161 w 4878487"/>
                <a:gd name="connsiteY14340" fmla="*/ 434343 h 3690338"/>
                <a:gd name="connsiteX14341" fmla="*/ 4453194 w 4878487"/>
                <a:gd name="connsiteY14341" fmla="*/ 433162 h 3690338"/>
                <a:gd name="connsiteX14342" fmla="*/ 4453194 w 4878487"/>
                <a:gd name="connsiteY14342" fmla="*/ 433162 h 3690338"/>
                <a:gd name="connsiteX14343" fmla="*/ 4772264 w 4878487"/>
                <a:gd name="connsiteY14343" fmla="*/ 313954 h 3690338"/>
                <a:gd name="connsiteX14344" fmla="*/ 4777377 w 4878487"/>
                <a:gd name="connsiteY14344" fmla="*/ 317102 h 3690338"/>
                <a:gd name="connsiteX14345" fmla="*/ 4773837 w 4878487"/>
                <a:gd name="connsiteY14345" fmla="*/ 315528 h 3690338"/>
                <a:gd name="connsiteX14346" fmla="*/ 4772264 w 4878487"/>
                <a:gd name="connsiteY14346" fmla="*/ 313954 h 3690338"/>
                <a:gd name="connsiteX14347" fmla="*/ 4514175 w 4878487"/>
                <a:gd name="connsiteY14347" fmla="*/ 233695 h 3690338"/>
                <a:gd name="connsiteX14348" fmla="*/ 4511422 w 4878487"/>
                <a:gd name="connsiteY14348" fmla="*/ 232908 h 3690338"/>
                <a:gd name="connsiteX14349" fmla="*/ 4514175 w 4878487"/>
                <a:gd name="connsiteY14349" fmla="*/ 233695 h 3690338"/>
                <a:gd name="connsiteX14350" fmla="*/ 4516929 w 4878487"/>
                <a:gd name="connsiteY14350" fmla="*/ 234089 h 3690338"/>
                <a:gd name="connsiteX14351" fmla="*/ 4519683 w 4878487"/>
                <a:gd name="connsiteY14351" fmla="*/ 234876 h 3690338"/>
                <a:gd name="connsiteX14352" fmla="*/ 4522044 w 4878487"/>
                <a:gd name="connsiteY14352" fmla="*/ 235662 h 3690338"/>
                <a:gd name="connsiteX14353" fmla="*/ 4516929 w 4878487"/>
                <a:gd name="connsiteY14353" fmla="*/ 234876 h 3690338"/>
                <a:gd name="connsiteX14354" fmla="*/ 4514175 w 4878487"/>
                <a:gd name="connsiteY14354" fmla="*/ 233695 h 3690338"/>
                <a:gd name="connsiteX14355" fmla="*/ 2465997 w 4878487"/>
                <a:gd name="connsiteY14355" fmla="*/ 45244 h 3690338"/>
                <a:gd name="connsiteX14356" fmla="*/ 2469144 w 4878487"/>
                <a:gd name="connsiteY14356" fmla="*/ 44457 h 3690338"/>
                <a:gd name="connsiteX14357" fmla="*/ 2471899 w 4878487"/>
                <a:gd name="connsiteY14357" fmla="*/ 44851 h 3690338"/>
                <a:gd name="connsiteX14358" fmla="*/ 2473079 w 4878487"/>
                <a:gd name="connsiteY14358" fmla="*/ 45244 h 3690338"/>
                <a:gd name="connsiteX14359" fmla="*/ 2468751 w 4878487"/>
                <a:gd name="connsiteY14359" fmla="*/ 46031 h 3690338"/>
                <a:gd name="connsiteX14360" fmla="*/ 2465997 w 4878487"/>
                <a:gd name="connsiteY14360" fmla="*/ 45244 h 3690338"/>
                <a:gd name="connsiteX14361" fmla="*/ 2231909 w 4878487"/>
                <a:gd name="connsiteY14361" fmla="*/ 167206 h 3690338"/>
                <a:gd name="connsiteX14362" fmla="*/ 2234662 w 4878487"/>
                <a:gd name="connsiteY14362" fmla="*/ 167600 h 3690338"/>
                <a:gd name="connsiteX14363" fmla="*/ 2238203 w 4878487"/>
                <a:gd name="connsiteY14363" fmla="*/ 169173 h 3690338"/>
                <a:gd name="connsiteX14364" fmla="*/ 2240957 w 4878487"/>
                <a:gd name="connsiteY14364" fmla="*/ 169960 h 3690338"/>
                <a:gd name="connsiteX14365" fmla="*/ 2244105 w 4878487"/>
                <a:gd name="connsiteY14365" fmla="*/ 170354 h 3690338"/>
                <a:gd name="connsiteX14366" fmla="*/ 2244891 w 4878487"/>
                <a:gd name="connsiteY14366" fmla="*/ 170354 h 3690338"/>
                <a:gd name="connsiteX14367" fmla="*/ 2249613 w 4878487"/>
                <a:gd name="connsiteY14367" fmla="*/ 174681 h 3690338"/>
                <a:gd name="connsiteX14368" fmla="*/ 2229154 w 4878487"/>
                <a:gd name="connsiteY14368" fmla="*/ 166813 h 3690338"/>
                <a:gd name="connsiteX14369" fmla="*/ 2231909 w 4878487"/>
                <a:gd name="connsiteY14369" fmla="*/ 167206 h 3690338"/>
                <a:gd name="connsiteX14370" fmla="*/ 2295643 w 4878487"/>
                <a:gd name="connsiteY14370" fmla="*/ 269104 h 3690338"/>
                <a:gd name="connsiteX14371" fmla="*/ 2298791 w 4878487"/>
                <a:gd name="connsiteY14371" fmla="*/ 269497 h 3690338"/>
                <a:gd name="connsiteX14372" fmla="*/ 2297217 w 4878487"/>
                <a:gd name="connsiteY14372" fmla="*/ 266743 h 3690338"/>
                <a:gd name="connsiteX14373" fmla="*/ 2295643 w 4878487"/>
                <a:gd name="connsiteY14373" fmla="*/ 263596 h 3690338"/>
                <a:gd name="connsiteX14374" fmla="*/ 2295643 w 4878487"/>
                <a:gd name="connsiteY14374" fmla="*/ 262809 h 3690338"/>
                <a:gd name="connsiteX14375" fmla="*/ 2303512 w 4878487"/>
                <a:gd name="connsiteY14375" fmla="*/ 266743 h 3690338"/>
                <a:gd name="connsiteX14376" fmla="*/ 2303512 w 4878487"/>
                <a:gd name="connsiteY14376" fmla="*/ 266743 h 3690338"/>
                <a:gd name="connsiteX14377" fmla="*/ 2303905 w 4878487"/>
                <a:gd name="connsiteY14377" fmla="*/ 269497 h 3690338"/>
                <a:gd name="connsiteX14378" fmla="*/ 2307053 w 4878487"/>
                <a:gd name="connsiteY14378" fmla="*/ 272251 h 3690338"/>
                <a:gd name="connsiteX14379" fmla="*/ 2310200 w 4878487"/>
                <a:gd name="connsiteY14379" fmla="*/ 272644 h 3690338"/>
                <a:gd name="connsiteX14380" fmla="*/ 2312954 w 4878487"/>
                <a:gd name="connsiteY14380" fmla="*/ 272251 h 3690338"/>
                <a:gd name="connsiteX14381" fmla="*/ 2315708 w 4878487"/>
                <a:gd name="connsiteY14381" fmla="*/ 273038 h 3690338"/>
                <a:gd name="connsiteX14382" fmla="*/ 2316889 w 4878487"/>
                <a:gd name="connsiteY14382" fmla="*/ 273431 h 3690338"/>
                <a:gd name="connsiteX14383" fmla="*/ 2320036 w 4878487"/>
                <a:gd name="connsiteY14383" fmla="*/ 273825 h 3690338"/>
                <a:gd name="connsiteX14384" fmla="*/ 2320823 w 4878487"/>
                <a:gd name="connsiteY14384" fmla="*/ 273825 h 3690338"/>
                <a:gd name="connsiteX14385" fmla="*/ 2332232 w 4878487"/>
                <a:gd name="connsiteY14385" fmla="*/ 276579 h 3690338"/>
                <a:gd name="connsiteX14386" fmla="*/ 2324757 w 4878487"/>
                <a:gd name="connsiteY14386" fmla="*/ 276972 h 3690338"/>
                <a:gd name="connsiteX14387" fmla="*/ 2323183 w 4878487"/>
                <a:gd name="connsiteY14387" fmla="*/ 276972 h 3690338"/>
                <a:gd name="connsiteX14388" fmla="*/ 2322790 w 4878487"/>
                <a:gd name="connsiteY14388" fmla="*/ 276972 h 3690338"/>
                <a:gd name="connsiteX14389" fmla="*/ 2317282 w 4878487"/>
                <a:gd name="connsiteY14389" fmla="*/ 277366 h 3690338"/>
                <a:gd name="connsiteX14390" fmla="*/ 2316495 w 4878487"/>
                <a:gd name="connsiteY14390" fmla="*/ 276972 h 3690338"/>
                <a:gd name="connsiteX14391" fmla="*/ 2316102 w 4878487"/>
                <a:gd name="connsiteY14391" fmla="*/ 276972 h 3690338"/>
                <a:gd name="connsiteX14392" fmla="*/ 2297611 w 4878487"/>
                <a:gd name="connsiteY14392" fmla="*/ 271071 h 3690338"/>
                <a:gd name="connsiteX14393" fmla="*/ 2295643 w 4878487"/>
                <a:gd name="connsiteY14393" fmla="*/ 269104 h 3690338"/>
                <a:gd name="connsiteX14394" fmla="*/ 906061 w 4878487"/>
                <a:gd name="connsiteY14394" fmla="*/ 700692 h 3690338"/>
                <a:gd name="connsiteX14395" fmla="*/ 906061 w 4878487"/>
                <a:gd name="connsiteY14395" fmla="*/ 700692 h 3690338"/>
                <a:gd name="connsiteX14396" fmla="*/ 906061 w 4878487"/>
                <a:gd name="connsiteY14396" fmla="*/ 700692 h 3690338"/>
                <a:gd name="connsiteX14397" fmla="*/ 906061 w 4878487"/>
                <a:gd name="connsiteY14397" fmla="*/ 700692 h 3690338"/>
                <a:gd name="connsiteX14398" fmla="*/ 884816 w 4878487"/>
                <a:gd name="connsiteY14398" fmla="*/ 309627 h 3690338"/>
                <a:gd name="connsiteX14399" fmla="*/ 882849 w 4878487"/>
                <a:gd name="connsiteY14399" fmla="*/ 308446 h 3690338"/>
                <a:gd name="connsiteX14400" fmla="*/ 885603 w 4878487"/>
                <a:gd name="connsiteY14400" fmla="*/ 309233 h 3690338"/>
                <a:gd name="connsiteX14401" fmla="*/ 884816 w 4878487"/>
                <a:gd name="connsiteY14401" fmla="*/ 309627 h 3690338"/>
                <a:gd name="connsiteX14402" fmla="*/ 859243 w 4878487"/>
                <a:gd name="connsiteY14402" fmla="*/ 350936 h 3690338"/>
                <a:gd name="connsiteX14403" fmla="*/ 858457 w 4878487"/>
                <a:gd name="connsiteY14403" fmla="*/ 351330 h 3690338"/>
                <a:gd name="connsiteX14404" fmla="*/ 858850 w 4878487"/>
                <a:gd name="connsiteY14404" fmla="*/ 350936 h 3690338"/>
                <a:gd name="connsiteX14405" fmla="*/ 859243 w 4878487"/>
                <a:gd name="connsiteY14405" fmla="*/ 350936 h 3690338"/>
                <a:gd name="connsiteX14406" fmla="*/ 842720 w 4878487"/>
                <a:gd name="connsiteY14406" fmla="*/ 383591 h 3690338"/>
                <a:gd name="connsiteX14407" fmla="*/ 844687 w 4878487"/>
                <a:gd name="connsiteY14407" fmla="*/ 382804 h 3690338"/>
                <a:gd name="connsiteX14408" fmla="*/ 843506 w 4878487"/>
                <a:gd name="connsiteY14408" fmla="*/ 383591 h 3690338"/>
                <a:gd name="connsiteX14409" fmla="*/ 842720 w 4878487"/>
                <a:gd name="connsiteY14409" fmla="*/ 383591 h 3690338"/>
                <a:gd name="connsiteX14410" fmla="*/ 991041 w 4878487"/>
                <a:gd name="connsiteY14410" fmla="*/ 411524 h 3690338"/>
                <a:gd name="connsiteX14411" fmla="*/ 990648 w 4878487"/>
                <a:gd name="connsiteY14411" fmla="*/ 410737 h 3690338"/>
                <a:gd name="connsiteX14412" fmla="*/ 991041 w 4878487"/>
                <a:gd name="connsiteY14412" fmla="*/ 411131 h 3690338"/>
                <a:gd name="connsiteX14413" fmla="*/ 991041 w 4878487"/>
                <a:gd name="connsiteY14413" fmla="*/ 411524 h 3690338"/>
                <a:gd name="connsiteX14414" fmla="*/ 919044 w 4878487"/>
                <a:gd name="connsiteY14414" fmla="*/ 702659 h 3690338"/>
                <a:gd name="connsiteX14415" fmla="*/ 921011 w 4878487"/>
                <a:gd name="connsiteY14415" fmla="*/ 701086 h 3690338"/>
                <a:gd name="connsiteX14416" fmla="*/ 920618 w 4878487"/>
                <a:gd name="connsiteY14416" fmla="*/ 700692 h 3690338"/>
                <a:gd name="connsiteX14417" fmla="*/ 919831 w 4878487"/>
                <a:gd name="connsiteY14417" fmla="*/ 700299 h 3690338"/>
                <a:gd name="connsiteX14418" fmla="*/ 922585 w 4878487"/>
                <a:gd name="connsiteY14418" fmla="*/ 700692 h 3690338"/>
                <a:gd name="connsiteX14419" fmla="*/ 924946 w 4878487"/>
                <a:gd name="connsiteY14419" fmla="*/ 702266 h 3690338"/>
                <a:gd name="connsiteX14420" fmla="*/ 917864 w 4878487"/>
                <a:gd name="connsiteY14420" fmla="*/ 706200 h 3690338"/>
                <a:gd name="connsiteX14421" fmla="*/ 907635 w 4878487"/>
                <a:gd name="connsiteY14421" fmla="*/ 701479 h 3690338"/>
                <a:gd name="connsiteX14422" fmla="*/ 909996 w 4878487"/>
                <a:gd name="connsiteY14422" fmla="*/ 701479 h 3690338"/>
                <a:gd name="connsiteX14423" fmla="*/ 911176 w 4878487"/>
                <a:gd name="connsiteY14423" fmla="*/ 701086 h 3690338"/>
                <a:gd name="connsiteX14424" fmla="*/ 915897 w 4878487"/>
                <a:gd name="connsiteY14424" fmla="*/ 700692 h 3690338"/>
                <a:gd name="connsiteX14425" fmla="*/ 919044 w 4878487"/>
                <a:gd name="connsiteY14425" fmla="*/ 702659 h 3690338"/>
                <a:gd name="connsiteX14426" fmla="*/ 769936 w 4878487"/>
                <a:gd name="connsiteY14426" fmla="*/ 610598 h 3690338"/>
                <a:gd name="connsiteX14427" fmla="*/ 769936 w 4878487"/>
                <a:gd name="connsiteY14427" fmla="*/ 610598 h 3690338"/>
                <a:gd name="connsiteX14428" fmla="*/ 769936 w 4878487"/>
                <a:gd name="connsiteY14428" fmla="*/ 610598 h 3690338"/>
                <a:gd name="connsiteX14429" fmla="*/ 769936 w 4878487"/>
                <a:gd name="connsiteY14429" fmla="*/ 610598 h 3690338"/>
                <a:gd name="connsiteX14430" fmla="*/ 775443 w 4878487"/>
                <a:gd name="connsiteY14430" fmla="*/ 603516 h 3690338"/>
                <a:gd name="connsiteX14431" fmla="*/ 777017 w 4878487"/>
                <a:gd name="connsiteY14431" fmla="*/ 601942 h 3690338"/>
                <a:gd name="connsiteX14432" fmla="*/ 779378 w 4878487"/>
                <a:gd name="connsiteY14432" fmla="*/ 601549 h 3690338"/>
                <a:gd name="connsiteX14433" fmla="*/ 778198 w 4878487"/>
                <a:gd name="connsiteY14433" fmla="*/ 602336 h 3690338"/>
                <a:gd name="connsiteX14434" fmla="*/ 775443 w 4878487"/>
                <a:gd name="connsiteY14434" fmla="*/ 603516 h 3690338"/>
                <a:gd name="connsiteX14435" fmla="*/ 791968 w 4878487"/>
                <a:gd name="connsiteY14435" fmla="*/ 615319 h 3690338"/>
                <a:gd name="connsiteX14436" fmla="*/ 791968 w 4878487"/>
                <a:gd name="connsiteY14436" fmla="*/ 614532 h 3690338"/>
                <a:gd name="connsiteX14437" fmla="*/ 791968 w 4878487"/>
                <a:gd name="connsiteY14437" fmla="*/ 613745 h 3690338"/>
                <a:gd name="connsiteX14438" fmla="*/ 791968 w 4878487"/>
                <a:gd name="connsiteY14438" fmla="*/ 615319 h 3690338"/>
                <a:gd name="connsiteX14439" fmla="*/ 797476 w 4878487"/>
                <a:gd name="connsiteY14439" fmla="*/ 708954 h 3690338"/>
                <a:gd name="connsiteX14440" fmla="*/ 795115 w 4878487"/>
                <a:gd name="connsiteY14440" fmla="*/ 706200 h 3690338"/>
                <a:gd name="connsiteX14441" fmla="*/ 793935 w 4878487"/>
                <a:gd name="connsiteY14441" fmla="*/ 705020 h 3690338"/>
                <a:gd name="connsiteX14442" fmla="*/ 798262 w 4878487"/>
                <a:gd name="connsiteY14442" fmla="*/ 708167 h 3690338"/>
                <a:gd name="connsiteX14443" fmla="*/ 799836 w 4878487"/>
                <a:gd name="connsiteY14443" fmla="*/ 710135 h 3690338"/>
                <a:gd name="connsiteX14444" fmla="*/ 802197 w 4878487"/>
                <a:gd name="connsiteY14444" fmla="*/ 710921 h 3690338"/>
                <a:gd name="connsiteX14445" fmla="*/ 804557 w 4878487"/>
                <a:gd name="connsiteY14445" fmla="*/ 711315 h 3690338"/>
                <a:gd name="connsiteX14446" fmla="*/ 804557 w 4878487"/>
                <a:gd name="connsiteY14446" fmla="*/ 711708 h 3690338"/>
                <a:gd name="connsiteX14447" fmla="*/ 802983 w 4878487"/>
                <a:gd name="connsiteY14447" fmla="*/ 711315 h 3690338"/>
                <a:gd name="connsiteX14448" fmla="*/ 798656 w 4878487"/>
                <a:gd name="connsiteY14448" fmla="*/ 709741 h 3690338"/>
                <a:gd name="connsiteX14449" fmla="*/ 797476 w 4878487"/>
                <a:gd name="connsiteY14449" fmla="*/ 708954 h 3690338"/>
                <a:gd name="connsiteX14450" fmla="*/ 476439 w 4878487"/>
                <a:gd name="connsiteY14450" fmla="*/ 874980 h 3690338"/>
                <a:gd name="connsiteX14451" fmla="*/ 474472 w 4878487"/>
                <a:gd name="connsiteY14451" fmla="*/ 876160 h 3690338"/>
                <a:gd name="connsiteX14452" fmla="*/ 472899 w 4878487"/>
                <a:gd name="connsiteY14452" fmla="*/ 874587 h 3690338"/>
                <a:gd name="connsiteX14453" fmla="*/ 474472 w 4878487"/>
                <a:gd name="connsiteY14453" fmla="*/ 875767 h 3690338"/>
                <a:gd name="connsiteX14454" fmla="*/ 476439 w 4878487"/>
                <a:gd name="connsiteY14454" fmla="*/ 874980 h 3690338"/>
                <a:gd name="connsiteX14455" fmla="*/ 494931 w 4878487"/>
                <a:gd name="connsiteY14455" fmla="*/ 919044 h 3690338"/>
                <a:gd name="connsiteX14456" fmla="*/ 494931 w 4878487"/>
                <a:gd name="connsiteY14456" fmla="*/ 919044 h 3690338"/>
                <a:gd name="connsiteX14457" fmla="*/ 497684 w 4878487"/>
                <a:gd name="connsiteY14457" fmla="*/ 919437 h 3690338"/>
                <a:gd name="connsiteX14458" fmla="*/ 494931 w 4878487"/>
                <a:gd name="connsiteY14458" fmla="*/ 919044 h 3690338"/>
                <a:gd name="connsiteX14459" fmla="*/ 1343158 w 4878487"/>
                <a:gd name="connsiteY14459" fmla="*/ 970583 h 3690338"/>
                <a:gd name="connsiteX14460" fmla="*/ 1345519 w 4878487"/>
                <a:gd name="connsiteY14460" fmla="*/ 965075 h 3690338"/>
                <a:gd name="connsiteX14461" fmla="*/ 1345912 w 4878487"/>
                <a:gd name="connsiteY14461" fmla="*/ 968616 h 3690338"/>
                <a:gd name="connsiteX14462" fmla="*/ 1343158 w 4878487"/>
                <a:gd name="connsiteY14462" fmla="*/ 970583 h 3690338"/>
                <a:gd name="connsiteX14463" fmla="*/ 1392730 w 4878487"/>
                <a:gd name="connsiteY14463" fmla="*/ 927306 h 3690338"/>
                <a:gd name="connsiteX14464" fmla="*/ 1392730 w 4878487"/>
                <a:gd name="connsiteY14464" fmla="*/ 927306 h 3690338"/>
                <a:gd name="connsiteX14465" fmla="*/ 1392336 w 4878487"/>
                <a:gd name="connsiteY14465" fmla="*/ 925732 h 3690338"/>
                <a:gd name="connsiteX14466" fmla="*/ 1393517 w 4878487"/>
                <a:gd name="connsiteY14466" fmla="*/ 927306 h 3690338"/>
                <a:gd name="connsiteX14467" fmla="*/ 1393910 w 4878487"/>
                <a:gd name="connsiteY14467" fmla="*/ 929666 h 3690338"/>
                <a:gd name="connsiteX14468" fmla="*/ 1392730 w 4878487"/>
                <a:gd name="connsiteY14468" fmla="*/ 927306 h 3690338"/>
                <a:gd name="connsiteX14469" fmla="*/ 1483218 w 4878487"/>
                <a:gd name="connsiteY14469" fmla="*/ 954059 h 3690338"/>
                <a:gd name="connsiteX14470" fmla="*/ 1482038 w 4878487"/>
                <a:gd name="connsiteY14470" fmla="*/ 954452 h 3690338"/>
                <a:gd name="connsiteX14471" fmla="*/ 1484398 w 4878487"/>
                <a:gd name="connsiteY14471" fmla="*/ 952485 h 3690338"/>
                <a:gd name="connsiteX14472" fmla="*/ 1483218 w 4878487"/>
                <a:gd name="connsiteY14472" fmla="*/ 954059 h 3690338"/>
                <a:gd name="connsiteX14473" fmla="*/ 1528462 w 4878487"/>
                <a:gd name="connsiteY14473" fmla="*/ 1392336 h 3690338"/>
                <a:gd name="connsiteX14474" fmla="*/ 1528462 w 4878487"/>
                <a:gd name="connsiteY14474" fmla="*/ 1392336 h 3690338"/>
                <a:gd name="connsiteX14475" fmla="*/ 1528462 w 4878487"/>
                <a:gd name="connsiteY14475" fmla="*/ 1392336 h 3690338"/>
                <a:gd name="connsiteX14476" fmla="*/ 1528462 w 4878487"/>
                <a:gd name="connsiteY14476" fmla="*/ 1392336 h 3690338"/>
                <a:gd name="connsiteX14477" fmla="*/ 1654752 w 4878487"/>
                <a:gd name="connsiteY14477" fmla="*/ 1734223 h 3690338"/>
                <a:gd name="connsiteX14478" fmla="*/ 1655932 w 4878487"/>
                <a:gd name="connsiteY14478" fmla="*/ 1736190 h 3690338"/>
                <a:gd name="connsiteX14479" fmla="*/ 1655932 w 4878487"/>
                <a:gd name="connsiteY14479" fmla="*/ 1736584 h 3690338"/>
                <a:gd name="connsiteX14480" fmla="*/ 1654752 w 4878487"/>
                <a:gd name="connsiteY14480" fmla="*/ 1734223 h 3690338"/>
                <a:gd name="connsiteX14481" fmla="*/ 2035195 w 4878487"/>
                <a:gd name="connsiteY14481" fmla="*/ 1710618 h 3690338"/>
                <a:gd name="connsiteX14482" fmla="*/ 2034408 w 4878487"/>
                <a:gd name="connsiteY14482" fmla="*/ 1709831 h 3690338"/>
                <a:gd name="connsiteX14483" fmla="*/ 2033228 w 4878487"/>
                <a:gd name="connsiteY14483" fmla="*/ 1708257 h 3690338"/>
                <a:gd name="connsiteX14484" fmla="*/ 2035195 w 4878487"/>
                <a:gd name="connsiteY14484" fmla="*/ 1710618 h 3690338"/>
                <a:gd name="connsiteX14485" fmla="*/ 2894045 w 4878487"/>
                <a:gd name="connsiteY14485" fmla="*/ 2010015 h 3690338"/>
                <a:gd name="connsiteX14486" fmla="*/ 2894832 w 4878487"/>
                <a:gd name="connsiteY14486" fmla="*/ 2006868 h 3690338"/>
                <a:gd name="connsiteX14487" fmla="*/ 2894045 w 4878487"/>
                <a:gd name="connsiteY14487" fmla="*/ 2010015 h 3690338"/>
                <a:gd name="connsiteX14488" fmla="*/ 2894832 w 4878487"/>
                <a:gd name="connsiteY14488" fmla="*/ 2012769 h 3690338"/>
                <a:gd name="connsiteX14489" fmla="*/ 2894045 w 4878487"/>
                <a:gd name="connsiteY14489" fmla="*/ 2010015 h 3690338"/>
                <a:gd name="connsiteX14490" fmla="*/ 3136396 w 4878487"/>
                <a:gd name="connsiteY14490" fmla="*/ 1772779 h 3690338"/>
                <a:gd name="connsiteX14491" fmla="*/ 3136789 w 4878487"/>
                <a:gd name="connsiteY14491" fmla="*/ 1774746 h 3690338"/>
                <a:gd name="connsiteX14492" fmla="*/ 3135609 w 4878487"/>
                <a:gd name="connsiteY14492" fmla="*/ 1770025 h 3690338"/>
                <a:gd name="connsiteX14493" fmla="*/ 3135216 w 4878487"/>
                <a:gd name="connsiteY14493" fmla="*/ 1771992 h 3690338"/>
                <a:gd name="connsiteX14494" fmla="*/ 3134822 w 4878487"/>
                <a:gd name="connsiteY14494" fmla="*/ 1770419 h 3690338"/>
                <a:gd name="connsiteX14495" fmla="*/ 3134822 w 4878487"/>
                <a:gd name="connsiteY14495" fmla="*/ 1769238 h 3690338"/>
                <a:gd name="connsiteX14496" fmla="*/ 3135609 w 4878487"/>
                <a:gd name="connsiteY14496" fmla="*/ 1769632 h 3690338"/>
                <a:gd name="connsiteX14497" fmla="*/ 3136396 w 4878487"/>
                <a:gd name="connsiteY14497" fmla="*/ 1772779 h 3690338"/>
                <a:gd name="connsiteX14498" fmla="*/ 3223737 w 4878487"/>
                <a:gd name="connsiteY14498" fmla="*/ 1785762 h 3690338"/>
                <a:gd name="connsiteX14499" fmla="*/ 3224917 w 4878487"/>
                <a:gd name="connsiteY14499" fmla="*/ 1787729 h 3690338"/>
                <a:gd name="connsiteX14500" fmla="*/ 3224917 w 4878487"/>
                <a:gd name="connsiteY14500" fmla="*/ 1788516 h 3690338"/>
                <a:gd name="connsiteX14501" fmla="*/ 3223737 w 4878487"/>
                <a:gd name="connsiteY14501" fmla="*/ 1785762 h 3690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  <a:cxn ang="0">
                  <a:pos x="connsiteX4543" y="connsiteY4543"/>
                </a:cxn>
                <a:cxn ang="0">
                  <a:pos x="connsiteX4544" y="connsiteY4544"/>
                </a:cxn>
                <a:cxn ang="0">
                  <a:pos x="connsiteX4545" y="connsiteY4545"/>
                </a:cxn>
                <a:cxn ang="0">
                  <a:pos x="connsiteX4546" y="connsiteY4546"/>
                </a:cxn>
                <a:cxn ang="0">
                  <a:pos x="connsiteX4547" y="connsiteY4547"/>
                </a:cxn>
                <a:cxn ang="0">
                  <a:pos x="connsiteX4548" y="connsiteY4548"/>
                </a:cxn>
                <a:cxn ang="0">
                  <a:pos x="connsiteX4549" y="connsiteY4549"/>
                </a:cxn>
                <a:cxn ang="0">
                  <a:pos x="connsiteX4550" y="connsiteY4550"/>
                </a:cxn>
                <a:cxn ang="0">
                  <a:pos x="connsiteX4551" y="connsiteY4551"/>
                </a:cxn>
                <a:cxn ang="0">
                  <a:pos x="connsiteX4552" y="connsiteY4552"/>
                </a:cxn>
                <a:cxn ang="0">
                  <a:pos x="connsiteX4553" y="connsiteY4553"/>
                </a:cxn>
                <a:cxn ang="0">
                  <a:pos x="connsiteX4554" y="connsiteY4554"/>
                </a:cxn>
                <a:cxn ang="0">
                  <a:pos x="connsiteX4555" y="connsiteY4555"/>
                </a:cxn>
                <a:cxn ang="0">
                  <a:pos x="connsiteX4556" y="connsiteY4556"/>
                </a:cxn>
                <a:cxn ang="0">
                  <a:pos x="connsiteX4557" y="connsiteY4557"/>
                </a:cxn>
                <a:cxn ang="0">
                  <a:pos x="connsiteX4558" y="connsiteY4558"/>
                </a:cxn>
                <a:cxn ang="0">
                  <a:pos x="connsiteX4559" y="connsiteY4559"/>
                </a:cxn>
                <a:cxn ang="0">
                  <a:pos x="connsiteX4560" y="connsiteY4560"/>
                </a:cxn>
                <a:cxn ang="0">
                  <a:pos x="connsiteX4561" y="connsiteY4561"/>
                </a:cxn>
                <a:cxn ang="0">
                  <a:pos x="connsiteX4562" y="connsiteY4562"/>
                </a:cxn>
                <a:cxn ang="0">
                  <a:pos x="connsiteX4563" y="connsiteY4563"/>
                </a:cxn>
                <a:cxn ang="0">
                  <a:pos x="connsiteX4564" y="connsiteY4564"/>
                </a:cxn>
                <a:cxn ang="0">
                  <a:pos x="connsiteX4565" y="connsiteY4565"/>
                </a:cxn>
                <a:cxn ang="0">
                  <a:pos x="connsiteX4566" y="connsiteY4566"/>
                </a:cxn>
                <a:cxn ang="0">
                  <a:pos x="connsiteX4567" y="connsiteY4567"/>
                </a:cxn>
                <a:cxn ang="0">
                  <a:pos x="connsiteX4568" y="connsiteY4568"/>
                </a:cxn>
                <a:cxn ang="0">
                  <a:pos x="connsiteX4569" y="connsiteY4569"/>
                </a:cxn>
                <a:cxn ang="0">
                  <a:pos x="connsiteX4570" y="connsiteY4570"/>
                </a:cxn>
                <a:cxn ang="0">
                  <a:pos x="connsiteX4571" y="connsiteY4571"/>
                </a:cxn>
                <a:cxn ang="0">
                  <a:pos x="connsiteX4572" y="connsiteY4572"/>
                </a:cxn>
                <a:cxn ang="0">
                  <a:pos x="connsiteX4573" y="connsiteY4573"/>
                </a:cxn>
                <a:cxn ang="0">
                  <a:pos x="connsiteX4574" y="connsiteY4574"/>
                </a:cxn>
                <a:cxn ang="0">
                  <a:pos x="connsiteX4575" y="connsiteY4575"/>
                </a:cxn>
                <a:cxn ang="0">
                  <a:pos x="connsiteX4576" y="connsiteY4576"/>
                </a:cxn>
                <a:cxn ang="0">
                  <a:pos x="connsiteX4577" y="connsiteY4577"/>
                </a:cxn>
                <a:cxn ang="0">
                  <a:pos x="connsiteX4578" y="connsiteY4578"/>
                </a:cxn>
                <a:cxn ang="0">
                  <a:pos x="connsiteX4579" y="connsiteY4579"/>
                </a:cxn>
                <a:cxn ang="0">
                  <a:pos x="connsiteX4580" y="connsiteY4580"/>
                </a:cxn>
                <a:cxn ang="0">
                  <a:pos x="connsiteX4581" y="connsiteY4581"/>
                </a:cxn>
                <a:cxn ang="0">
                  <a:pos x="connsiteX4582" y="connsiteY4582"/>
                </a:cxn>
                <a:cxn ang="0">
                  <a:pos x="connsiteX4583" y="connsiteY4583"/>
                </a:cxn>
                <a:cxn ang="0">
                  <a:pos x="connsiteX4584" y="connsiteY4584"/>
                </a:cxn>
                <a:cxn ang="0">
                  <a:pos x="connsiteX4585" y="connsiteY4585"/>
                </a:cxn>
                <a:cxn ang="0">
                  <a:pos x="connsiteX4586" y="connsiteY4586"/>
                </a:cxn>
                <a:cxn ang="0">
                  <a:pos x="connsiteX4587" y="connsiteY4587"/>
                </a:cxn>
                <a:cxn ang="0">
                  <a:pos x="connsiteX4588" y="connsiteY4588"/>
                </a:cxn>
                <a:cxn ang="0">
                  <a:pos x="connsiteX4589" y="connsiteY4589"/>
                </a:cxn>
                <a:cxn ang="0">
                  <a:pos x="connsiteX4590" y="connsiteY4590"/>
                </a:cxn>
                <a:cxn ang="0">
                  <a:pos x="connsiteX4591" y="connsiteY4591"/>
                </a:cxn>
                <a:cxn ang="0">
                  <a:pos x="connsiteX4592" y="connsiteY4592"/>
                </a:cxn>
                <a:cxn ang="0">
                  <a:pos x="connsiteX4593" y="connsiteY4593"/>
                </a:cxn>
                <a:cxn ang="0">
                  <a:pos x="connsiteX4594" y="connsiteY4594"/>
                </a:cxn>
                <a:cxn ang="0">
                  <a:pos x="connsiteX4595" y="connsiteY4595"/>
                </a:cxn>
                <a:cxn ang="0">
                  <a:pos x="connsiteX4596" y="connsiteY4596"/>
                </a:cxn>
                <a:cxn ang="0">
                  <a:pos x="connsiteX4597" y="connsiteY4597"/>
                </a:cxn>
                <a:cxn ang="0">
                  <a:pos x="connsiteX4598" y="connsiteY4598"/>
                </a:cxn>
                <a:cxn ang="0">
                  <a:pos x="connsiteX4599" y="connsiteY4599"/>
                </a:cxn>
                <a:cxn ang="0">
                  <a:pos x="connsiteX4600" y="connsiteY4600"/>
                </a:cxn>
                <a:cxn ang="0">
                  <a:pos x="connsiteX4601" y="connsiteY4601"/>
                </a:cxn>
                <a:cxn ang="0">
                  <a:pos x="connsiteX4602" y="connsiteY4602"/>
                </a:cxn>
                <a:cxn ang="0">
                  <a:pos x="connsiteX4603" y="connsiteY4603"/>
                </a:cxn>
                <a:cxn ang="0">
                  <a:pos x="connsiteX4604" y="connsiteY4604"/>
                </a:cxn>
                <a:cxn ang="0">
                  <a:pos x="connsiteX4605" y="connsiteY4605"/>
                </a:cxn>
                <a:cxn ang="0">
                  <a:pos x="connsiteX4606" y="connsiteY4606"/>
                </a:cxn>
                <a:cxn ang="0">
                  <a:pos x="connsiteX4607" y="connsiteY4607"/>
                </a:cxn>
                <a:cxn ang="0">
                  <a:pos x="connsiteX4608" y="connsiteY4608"/>
                </a:cxn>
                <a:cxn ang="0">
                  <a:pos x="connsiteX4609" y="connsiteY4609"/>
                </a:cxn>
                <a:cxn ang="0">
                  <a:pos x="connsiteX4610" y="connsiteY4610"/>
                </a:cxn>
                <a:cxn ang="0">
                  <a:pos x="connsiteX4611" y="connsiteY4611"/>
                </a:cxn>
                <a:cxn ang="0">
                  <a:pos x="connsiteX4612" y="connsiteY4612"/>
                </a:cxn>
                <a:cxn ang="0">
                  <a:pos x="connsiteX4613" y="connsiteY4613"/>
                </a:cxn>
                <a:cxn ang="0">
                  <a:pos x="connsiteX4614" y="connsiteY4614"/>
                </a:cxn>
                <a:cxn ang="0">
                  <a:pos x="connsiteX4615" y="connsiteY4615"/>
                </a:cxn>
                <a:cxn ang="0">
                  <a:pos x="connsiteX4616" y="connsiteY4616"/>
                </a:cxn>
                <a:cxn ang="0">
                  <a:pos x="connsiteX4617" y="connsiteY4617"/>
                </a:cxn>
                <a:cxn ang="0">
                  <a:pos x="connsiteX4618" y="connsiteY4618"/>
                </a:cxn>
                <a:cxn ang="0">
                  <a:pos x="connsiteX4619" y="connsiteY4619"/>
                </a:cxn>
                <a:cxn ang="0">
                  <a:pos x="connsiteX4620" y="connsiteY4620"/>
                </a:cxn>
                <a:cxn ang="0">
                  <a:pos x="connsiteX4621" y="connsiteY4621"/>
                </a:cxn>
                <a:cxn ang="0">
                  <a:pos x="connsiteX4622" y="connsiteY4622"/>
                </a:cxn>
                <a:cxn ang="0">
                  <a:pos x="connsiteX4623" y="connsiteY4623"/>
                </a:cxn>
                <a:cxn ang="0">
                  <a:pos x="connsiteX4624" y="connsiteY4624"/>
                </a:cxn>
                <a:cxn ang="0">
                  <a:pos x="connsiteX4625" y="connsiteY4625"/>
                </a:cxn>
                <a:cxn ang="0">
                  <a:pos x="connsiteX4626" y="connsiteY4626"/>
                </a:cxn>
                <a:cxn ang="0">
                  <a:pos x="connsiteX4627" y="connsiteY4627"/>
                </a:cxn>
                <a:cxn ang="0">
                  <a:pos x="connsiteX4628" y="connsiteY4628"/>
                </a:cxn>
                <a:cxn ang="0">
                  <a:pos x="connsiteX4629" y="connsiteY4629"/>
                </a:cxn>
                <a:cxn ang="0">
                  <a:pos x="connsiteX4630" y="connsiteY4630"/>
                </a:cxn>
                <a:cxn ang="0">
                  <a:pos x="connsiteX4631" y="connsiteY4631"/>
                </a:cxn>
                <a:cxn ang="0">
                  <a:pos x="connsiteX4632" y="connsiteY4632"/>
                </a:cxn>
                <a:cxn ang="0">
                  <a:pos x="connsiteX4633" y="connsiteY4633"/>
                </a:cxn>
                <a:cxn ang="0">
                  <a:pos x="connsiteX4634" y="connsiteY4634"/>
                </a:cxn>
                <a:cxn ang="0">
                  <a:pos x="connsiteX4635" y="connsiteY4635"/>
                </a:cxn>
                <a:cxn ang="0">
                  <a:pos x="connsiteX4636" y="connsiteY4636"/>
                </a:cxn>
                <a:cxn ang="0">
                  <a:pos x="connsiteX4637" y="connsiteY4637"/>
                </a:cxn>
                <a:cxn ang="0">
                  <a:pos x="connsiteX4638" y="connsiteY4638"/>
                </a:cxn>
                <a:cxn ang="0">
                  <a:pos x="connsiteX4639" y="connsiteY4639"/>
                </a:cxn>
                <a:cxn ang="0">
                  <a:pos x="connsiteX4640" y="connsiteY4640"/>
                </a:cxn>
                <a:cxn ang="0">
                  <a:pos x="connsiteX4641" y="connsiteY4641"/>
                </a:cxn>
                <a:cxn ang="0">
                  <a:pos x="connsiteX4642" y="connsiteY4642"/>
                </a:cxn>
                <a:cxn ang="0">
                  <a:pos x="connsiteX4643" y="connsiteY4643"/>
                </a:cxn>
                <a:cxn ang="0">
                  <a:pos x="connsiteX4644" y="connsiteY4644"/>
                </a:cxn>
                <a:cxn ang="0">
                  <a:pos x="connsiteX4645" y="connsiteY4645"/>
                </a:cxn>
                <a:cxn ang="0">
                  <a:pos x="connsiteX4646" y="connsiteY4646"/>
                </a:cxn>
                <a:cxn ang="0">
                  <a:pos x="connsiteX4647" y="connsiteY4647"/>
                </a:cxn>
                <a:cxn ang="0">
                  <a:pos x="connsiteX4648" y="connsiteY4648"/>
                </a:cxn>
                <a:cxn ang="0">
                  <a:pos x="connsiteX4649" y="connsiteY4649"/>
                </a:cxn>
                <a:cxn ang="0">
                  <a:pos x="connsiteX4650" y="connsiteY4650"/>
                </a:cxn>
                <a:cxn ang="0">
                  <a:pos x="connsiteX4651" y="connsiteY4651"/>
                </a:cxn>
                <a:cxn ang="0">
                  <a:pos x="connsiteX4652" y="connsiteY4652"/>
                </a:cxn>
                <a:cxn ang="0">
                  <a:pos x="connsiteX4653" y="connsiteY4653"/>
                </a:cxn>
                <a:cxn ang="0">
                  <a:pos x="connsiteX4654" y="connsiteY4654"/>
                </a:cxn>
                <a:cxn ang="0">
                  <a:pos x="connsiteX4655" y="connsiteY4655"/>
                </a:cxn>
                <a:cxn ang="0">
                  <a:pos x="connsiteX4656" y="connsiteY4656"/>
                </a:cxn>
                <a:cxn ang="0">
                  <a:pos x="connsiteX4657" y="connsiteY4657"/>
                </a:cxn>
                <a:cxn ang="0">
                  <a:pos x="connsiteX4658" y="connsiteY4658"/>
                </a:cxn>
                <a:cxn ang="0">
                  <a:pos x="connsiteX4659" y="connsiteY4659"/>
                </a:cxn>
                <a:cxn ang="0">
                  <a:pos x="connsiteX4660" y="connsiteY4660"/>
                </a:cxn>
                <a:cxn ang="0">
                  <a:pos x="connsiteX4661" y="connsiteY4661"/>
                </a:cxn>
                <a:cxn ang="0">
                  <a:pos x="connsiteX4662" y="connsiteY4662"/>
                </a:cxn>
                <a:cxn ang="0">
                  <a:pos x="connsiteX4663" y="connsiteY4663"/>
                </a:cxn>
                <a:cxn ang="0">
                  <a:pos x="connsiteX4664" y="connsiteY4664"/>
                </a:cxn>
                <a:cxn ang="0">
                  <a:pos x="connsiteX4665" y="connsiteY4665"/>
                </a:cxn>
                <a:cxn ang="0">
                  <a:pos x="connsiteX4666" y="connsiteY4666"/>
                </a:cxn>
                <a:cxn ang="0">
                  <a:pos x="connsiteX4667" y="connsiteY4667"/>
                </a:cxn>
                <a:cxn ang="0">
                  <a:pos x="connsiteX4668" y="connsiteY4668"/>
                </a:cxn>
                <a:cxn ang="0">
                  <a:pos x="connsiteX4669" y="connsiteY4669"/>
                </a:cxn>
                <a:cxn ang="0">
                  <a:pos x="connsiteX4670" y="connsiteY4670"/>
                </a:cxn>
                <a:cxn ang="0">
                  <a:pos x="connsiteX4671" y="connsiteY4671"/>
                </a:cxn>
                <a:cxn ang="0">
                  <a:pos x="connsiteX4672" y="connsiteY4672"/>
                </a:cxn>
                <a:cxn ang="0">
                  <a:pos x="connsiteX4673" y="connsiteY4673"/>
                </a:cxn>
                <a:cxn ang="0">
                  <a:pos x="connsiteX4674" y="connsiteY4674"/>
                </a:cxn>
                <a:cxn ang="0">
                  <a:pos x="connsiteX4675" y="connsiteY4675"/>
                </a:cxn>
                <a:cxn ang="0">
                  <a:pos x="connsiteX4676" y="connsiteY4676"/>
                </a:cxn>
                <a:cxn ang="0">
                  <a:pos x="connsiteX4677" y="connsiteY4677"/>
                </a:cxn>
                <a:cxn ang="0">
                  <a:pos x="connsiteX4678" y="connsiteY4678"/>
                </a:cxn>
                <a:cxn ang="0">
                  <a:pos x="connsiteX4679" y="connsiteY4679"/>
                </a:cxn>
                <a:cxn ang="0">
                  <a:pos x="connsiteX4680" y="connsiteY4680"/>
                </a:cxn>
                <a:cxn ang="0">
                  <a:pos x="connsiteX4681" y="connsiteY4681"/>
                </a:cxn>
                <a:cxn ang="0">
                  <a:pos x="connsiteX4682" y="connsiteY4682"/>
                </a:cxn>
                <a:cxn ang="0">
                  <a:pos x="connsiteX4683" y="connsiteY4683"/>
                </a:cxn>
                <a:cxn ang="0">
                  <a:pos x="connsiteX4684" y="connsiteY4684"/>
                </a:cxn>
                <a:cxn ang="0">
                  <a:pos x="connsiteX4685" y="connsiteY4685"/>
                </a:cxn>
                <a:cxn ang="0">
                  <a:pos x="connsiteX4686" y="connsiteY4686"/>
                </a:cxn>
                <a:cxn ang="0">
                  <a:pos x="connsiteX4687" y="connsiteY4687"/>
                </a:cxn>
                <a:cxn ang="0">
                  <a:pos x="connsiteX4688" y="connsiteY4688"/>
                </a:cxn>
                <a:cxn ang="0">
                  <a:pos x="connsiteX4689" y="connsiteY4689"/>
                </a:cxn>
                <a:cxn ang="0">
                  <a:pos x="connsiteX4690" y="connsiteY4690"/>
                </a:cxn>
                <a:cxn ang="0">
                  <a:pos x="connsiteX4691" y="connsiteY4691"/>
                </a:cxn>
                <a:cxn ang="0">
                  <a:pos x="connsiteX4692" y="connsiteY4692"/>
                </a:cxn>
                <a:cxn ang="0">
                  <a:pos x="connsiteX4693" y="connsiteY4693"/>
                </a:cxn>
                <a:cxn ang="0">
                  <a:pos x="connsiteX4694" y="connsiteY4694"/>
                </a:cxn>
                <a:cxn ang="0">
                  <a:pos x="connsiteX4695" y="connsiteY4695"/>
                </a:cxn>
                <a:cxn ang="0">
                  <a:pos x="connsiteX4696" y="connsiteY4696"/>
                </a:cxn>
                <a:cxn ang="0">
                  <a:pos x="connsiteX4697" y="connsiteY4697"/>
                </a:cxn>
                <a:cxn ang="0">
                  <a:pos x="connsiteX4698" y="connsiteY4698"/>
                </a:cxn>
                <a:cxn ang="0">
                  <a:pos x="connsiteX4699" y="connsiteY4699"/>
                </a:cxn>
                <a:cxn ang="0">
                  <a:pos x="connsiteX4700" y="connsiteY4700"/>
                </a:cxn>
                <a:cxn ang="0">
                  <a:pos x="connsiteX4701" y="connsiteY4701"/>
                </a:cxn>
                <a:cxn ang="0">
                  <a:pos x="connsiteX4702" y="connsiteY4702"/>
                </a:cxn>
                <a:cxn ang="0">
                  <a:pos x="connsiteX4703" y="connsiteY4703"/>
                </a:cxn>
                <a:cxn ang="0">
                  <a:pos x="connsiteX4704" y="connsiteY4704"/>
                </a:cxn>
                <a:cxn ang="0">
                  <a:pos x="connsiteX4705" y="connsiteY4705"/>
                </a:cxn>
                <a:cxn ang="0">
                  <a:pos x="connsiteX4706" y="connsiteY4706"/>
                </a:cxn>
                <a:cxn ang="0">
                  <a:pos x="connsiteX4707" y="connsiteY4707"/>
                </a:cxn>
                <a:cxn ang="0">
                  <a:pos x="connsiteX4708" y="connsiteY4708"/>
                </a:cxn>
                <a:cxn ang="0">
                  <a:pos x="connsiteX4709" y="connsiteY4709"/>
                </a:cxn>
                <a:cxn ang="0">
                  <a:pos x="connsiteX4710" y="connsiteY4710"/>
                </a:cxn>
                <a:cxn ang="0">
                  <a:pos x="connsiteX4711" y="connsiteY4711"/>
                </a:cxn>
                <a:cxn ang="0">
                  <a:pos x="connsiteX4712" y="connsiteY4712"/>
                </a:cxn>
                <a:cxn ang="0">
                  <a:pos x="connsiteX4713" y="connsiteY4713"/>
                </a:cxn>
                <a:cxn ang="0">
                  <a:pos x="connsiteX4714" y="connsiteY4714"/>
                </a:cxn>
                <a:cxn ang="0">
                  <a:pos x="connsiteX4715" y="connsiteY4715"/>
                </a:cxn>
                <a:cxn ang="0">
                  <a:pos x="connsiteX4716" y="connsiteY4716"/>
                </a:cxn>
                <a:cxn ang="0">
                  <a:pos x="connsiteX4717" y="connsiteY4717"/>
                </a:cxn>
                <a:cxn ang="0">
                  <a:pos x="connsiteX4718" y="connsiteY4718"/>
                </a:cxn>
                <a:cxn ang="0">
                  <a:pos x="connsiteX4719" y="connsiteY4719"/>
                </a:cxn>
                <a:cxn ang="0">
                  <a:pos x="connsiteX4720" y="connsiteY4720"/>
                </a:cxn>
                <a:cxn ang="0">
                  <a:pos x="connsiteX4721" y="connsiteY4721"/>
                </a:cxn>
                <a:cxn ang="0">
                  <a:pos x="connsiteX4722" y="connsiteY4722"/>
                </a:cxn>
                <a:cxn ang="0">
                  <a:pos x="connsiteX4723" y="connsiteY4723"/>
                </a:cxn>
                <a:cxn ang="0">
                  <a:pos x="connsiteX4724" y="connsiteY4724"/>
                </a:cxn>
                <a:cxn ang="0">
                  <a:pos x="connsiteX4725" y="connsiteY4725"/>
                </a:cxn>
                <a:cxn ang="0">
                  <a:pos x="connsiteX4726" y="connsiteY4726"/>
                </a:cxn>
                <a:cxn ang="0">
                  <a:pos x="connsiteX4727" y="connsiteY4727"/>
                </a:cxn>
                <a:cxn ang="0">
                  <a:pos x="connsiteX4728" y="connsiteY4728"/>
                </a:cxn>
                <a:cxn ang="0">
                  <a:pos x="connsiteX4729" y="connsiteY4729"/>
                </a:cxn>
                <a:cxn ang="0">
                  <a:pos x="connsiteX4730" y="connsiteY4730"/>
                </a:cxn>
                <a:cxn ang="0">
                  <a:pos x="connsiteX4731" y="connsiteY4731"/>
                </a:cxn>
                <a:cxn ang="0">
                  <a:pos x="connsiteX4732" y="connsiteY4732"/>
                </a:cxn>
                <a:cxn ang="0">
                  <a:pos x="connsiteX4733" y="connsiteY4733"/>
                </a:cxn>
                <a:cxn ang="0">
                  <a:pos x="connsiteX4734" y="connsiteY4734"/>
                </a:cxn>
                <a:cxn ang="0">
                  <a:pos x="connsiteX4735" y="connsiteY4735"/>
                </a:cxn>
                <a:cxn ang="0">
                  <a:pos x="connsiteX4736" y="connsiteY4736"/>
                </a:cxn>
                <a:cxn ang="0">
                  <a:pos x="connsiteX4737" y="connsiteY4737"/>
                </a:cxn>
                <a:cxn ang="0">
                  <a:pos x="connsiteX4738" y="connsiteY4738"/>
                </a:cxn>
                <a:cxn ang="0">
                  <a:pos x="connsiteX4739" y="connsiteY4739"/>
                </a:cxn>
                <a:cxn ang="0">
                  <a:pos x="connsiteX4740" y="connsiteY4740"/>
                </a:cxn>
                <a:cxn ang="0">
                  <a:pos x="connsiteX4741" y="connsiteY4741"/>
                </a:cxn>
                <a:cxn ang="0">
                  <a:pos x="connsiteX4742" y="connsiteY4742"/>
                </a:cxn>
                <a:cxn ang="0">
                  <a:pos x="connsiteX4743" y="connsiteY4743"/>
                </a:cxn>
                <a:cxn ang="0">
                  <a:pos x="connsiteX4744" y="connsiteY4744"/>
                </a:cxn>
                <a:cxn ang="0">
                  <a:pos x="connsiteX4745" y="connsiteY4745"/>
                </a:cxn>
                <a:cxn ang="0">
                  <a:pos x="connsiteX4746" y="connsiteY4746"/>
                </a:cxn>
                <a:cxn ang="0">
                  <a:pos x="connsiteX4747" y="connsiteY4747"/>
                </a:cxn>
                <a:cxn ang="0">
                  <a:pos x="connsiteX4748" y="connsiteY4748"/>
                </a:cxn>
                <a:cxn ang="0">
                  <a:pos x="connsiteX4749" y="connsiteY4749"/>
                </a:cxn>
                <a:cxn ang="0">
                  <a:pos x="connsiteX4750" y="connsiteY4750"/>
                </a:cxn>
                <a:cxn ang="0">
                  <a:pos x="connsiteX4751" y="connsiteY4751"/>
                </a:cxn>
                <a:cxn ang="0">
                  <a:pos x="connsiteX4752" y="connsiteY4752"/>
                </a:cxn>
                <a:cxn ang="0">
                  <a:pos x="connsiteX4753" y="connsiteY4753"/>
                </a:cxn>
                <a:cxn ang="0">
                  <a:pos x="connsiteX4754" y="connsiteY4754"/>
                </a:cxn>
                <a:cxn ang="0">
                  <a:pos x="connsiteX4755" y="connsiteY4755"/>
                </a:cxn>
                <a:cxn ang="0">
                  <a:pos x="connsiteX4756" y="connsiteY4756"/>
                </a:cxn>
                <a:cxn ang="0">
                  <a:pos x="connsiteX4757" y="connsiteY4757"/>
                </a:cxn>
                <a:cxn ang="0">
                  <a:pos x="connsiteX4758" y="connsiteY4758"/>
                </a:cxn>
                <a:cxn ang="0">
                  <a:pos x="connsiteX4759" y="connsiteY4759"/>
                </a:cxn>
                <a:cxn ang="0">
                  <a:pos x="connsiteX4760" y="connsiteY4760"/>
                </a:cxn>
                <a:cxn ang="0">
                  <a:pos x="connsiteX4761" y="connsiteY4761"/>
                </a:cxn>
                <a:cxn ang="0">
                  <a:pos x="connsiteX4762" y="connsiteY4762"/>
                </a:cxn>
                <a:cxn ang="0">
                  <a:pos x="connsiteX4763" y="connsiteY4763"/>
                </a:cxn>
                <a:cxn ang="0">
                  <a:pos x="connsiteX4764" y="connsiteY4764"/>
                </a:cxn>
                <a:cxn ang="0">
                  <a:pos x="connsiteX4765" y="connsiteY4765"/>
                </a:cxn>
                <a:cxn ang="0">
                  <a:pos x="connsiteX4766" y="connsiteY4766"/>
                </a:cxn>
                <a:cxn ang="0">
                  <a:pos x="connsiteX4767" y="connsiteY4767"/>
                </a:cxn>
                <a:cxn ang="0">
                  <a:pos x="connsiteX4768" y="connsiteY4768"/>
                </a:cxn>
                <a:cxn ang="0">
                  <a:pos x="connsiteX4769" y="connsiteY4769"/>
                </a:cxn>
                <a:cxn ang="0">
                  <a:pos x="connsiteX4770" y="connsiteY4770"/>
                </a:cxn>
                <a:cxn ang="0">
                  <a:pos x="connsiteX4771" y="connsiteY4771"/>
                </a:cxn>
                <a:cxn ang="0">
                  <a:pos x="connsiteX4772" y="connsiteY4772"/>
                </a:cxn>
                <a:cxn ang="0">
                  <a:pos x="connsiteX4773" y="connsiteY4773"/>
                </a:cxn>
                <a:cxn ang="0">
                  <a:pos x="connsiteX4774" y="connsiteY4774"/>
                </a:cxn>
                <a:cxn ang="0">
                  <a:pos x="connsiteX4775" y="connsiteY4775"/>
                </a:cxn>
                <a:cxn ang="0">
                  <a:pos x="connsiteX4776" y="connsiteY4776"/>
                </a:cxn>
                <a:cxn ang="0">
                  <a:pos x="connsiteX4777" y="connsiteY4777"/>
                </a:cxn>
                <a:cxn ang="0">
                  <a:pos x="connsiteX4778" y="connsiteY4778"/>
                </a:cxn>
                <a:cxn ang="0">
                  <a:pos x="connsiteX4779" y="connsiteY4779"/>
                </a:cxn>
                <a:cxn ang="0">
                  <a:pos x="connsiteX4780" y="connsiteY4780"/>
                </a:cxn>
                <a:cxn ang="0">
                  <a:pos x="connsiteX4781" y="connsiteY4781"/>
                </a:cxn>
                <a:cxn ang="0">
                  <a:pos x="connsiteX4782" y="connsiteY4782"/>
                </a:cxn>
                <a:cxn ang="0">
                  <a:pos x="connsiteX4783" y="connsiteY4783"/>
                </a:cxn>
                <a:cxn ang="0">
                  <a:pos x="connsiteX4784" y="connsiteY4784"/>
                </a:cxn>
                <a:cxn ang="0">
                  <a:pos x="connsiteX4785" y="connsiteY4785"/>
                </a:cxn>
                <a:cxn ang="0">
                  <a:pos x="connsiteX4786" y="connsiteY4786"/>
                </a:cxn>
                <a:cxn ang="0">
                  <a:pos x="connsiteX4787" y="connsiteY4787"/>
                </a:cxn>
                <a:cxn ang="0">
                  <a:pos x="connsiteX4788" y="connsiteY4788"/>
                </a:cxn>
                <a:cxn ang="0">
                  <a:pos x="connsiteX4789" y="connsiteY4789"/>
                </a:cxn>
                <a:cxn ang="0">
                  <a:pos x="connsiteX4790" y="connsiteY4790"/>
                </a:cxn>
                <a:cxn ang="0">
                  <a:pos x="connsiteX4791" y="connsiteY4791"/>
                </a:cxn>
                <a:cxn ang="0">
                  <a:pos x="connsiteX4792" y="connsiteY4792"/>
                </a:cxn>
                <a:cxn ang="0">
                  <a:pos x="connsiteX4793" y="connsiteY4793"/>
                </a:cxn>
                <a:cxn ang="0">
                  <a:pos x="connsiteX4794" y="connsiteY4794"/>
                </a:cxn>
                <a:cxn ang="0">
                  <a:pos x="connsiteX4795" y="connsiteY4795"/>
                </a:cxn>
                <a:cxn ang="0">
                  <a:pos x="connsiteX4796" y="connsiteY4796"/>
                </a:cxn>
                <a:cxn ang="0">
                  <a:pos x="connsiteX4797" y="connsiteY4797"/>
                </a:cxn>
                <a:cxn ang="0">
                  <a:pos x="connsiteX4798" y="connsiteY4798"/>
                </a:cxn>
                <a:cxn ang="0">
                  <a:pos x="connsiteX4799" y="connsiteY4799"/>
                </a:cxn>
                <a:cxn ang="0">
                  <a:pos x="connsiteX4800" y="connsiteY4800"/>
                </a:cxn>
                <a:cxn ang="0">
                  <a:pos x="connsiteX4801" y="connsiteY4801"/>
                </a:cxn>
                <a:cxn ang="0">
                  <a:pos x="connsiteX4802" y="connsiteY4802"/>
                </a:cxn>
                <a:cxn ang="0">
                  <a:pos x="connsiteX4803" y="connsiteY4803"/>
                </a:cxn>
                <a:cxn ang="0">
                  <a:pos x="connsiteX4804" y="connsiteY4804"/>
                </a:cxn>
                <a:cxn ang="0">
                  <a:pos x="connsiteX4805" y="connsiteY4805"/>
                </a:cxn>
                <a:cxn ang="0">
                  <a:pos x="connsiteX4806" y="connsiteY4806"/>
                </a:cxn>
                <a:cxn ang="0">
                  <a:pos x="connsiteX4807" y="connsiteY4807"/>
                </a:cxn>
                <a:cxn ang="0">
                  <a:pos x="connsiteX4808" y="connsiteY4808"/>
                </a:cxn>
                <a:cxn ang="0">
                  <a:pos x="connsiteX4809" y="connsiteY4809"/>
                </a:cxn>
                <a:cxn ang="0">
                  <a:pos x="connsiteX4810" y="connsiteY4810"/>
                </a:cxn>
                <a:cxn ang="0">
                  <a:pos x="connsiteX4811" y="connsiteY4811"/>
                </a:cxn>
                <a:cxn ang="0">
                  <a:pos x="connsiteX4812" y="connsiteY4812"/>
                </a:cxn>
                <a:cxn ang="0">
                  <a:pos x="connsiteX4813" y="connsiteY4813"/>
                </a:cxn>
                <a:cxn ang="0">
                  <a:pos x="connsiteX4814" y="connsiteY4814"/>
                </a:cxn>
                <a:cxn ang="0">
                  <a:pos x="connsiteX4815" y="connsiteY4815"/>
                </a:cxn>
                <a:cxn ang="0">
                  <a:pos x="connsiteX4816" y="connsiteY4816"/>
                </a:cxn>
                <a:cxn ang="0">
                  <a:pos x="connsiteX4817" y="connsiteY4817"/>
                </a:cxn>
                <a:cxn ang="0">
                  <a:pos x="connsiteX4818" y="connsiteY4818"/>
                </a:cxn>
                <a:cxn ang="0">
                  <a:pos x="connsiteX4819" y="connsiteY4819"/>
                </a:cxn>
                <a:cxn ang="0">
                  <a:pos x="connsiteX4820" y="connsiteY4820"/>
                </a:cxn>
                <a:cxn ang="0">
                  <a:pos x="connsiteX4821" y="connsiteY4821"/>
                </a:cxn>
                <a:cxn ang="0">
                  <a:pos x="connsiteX4822" y="connsiteY4822"/>
                </a:cxn>
                <a:cxn ang="0">
                  <a:pos x="connsiteX4823" y="connsiteY4823"/>
                </a:cxn>
                <a:cxn ang="0">
                  <a:pos x="connsiteX4824" y="connsiteY4824"/>
                </a:cxn>
                <a:cxn ang="0">
                  <a:pos x="connsiteX4825" y="connsiteY4825"/>
                </a:cxn>
                <a:cxn ang="0">
                  <a:pos x="connsiteX4826" y="connsiteY4826"/>
                </a:cxn>
                <a:cxn ang="0">
                  <a:pos x="connsiteX4827" y="connsiteY4827"/>
                </a:cxn>
                <a:cxn ang="0">
                  <a:pos x="connsiteX4828" y="connsiteY4828"/>
                </a:cxn>
                <a:cxn ang="0">
                  <a:pos x="connsiteX4829" y="connsiteY4829"/>
                </a:cxn>
                <a:cxn ang="0">
                  <a:pos x="connsiteX4830" y="connsiteY4830"/>
                </a:cxn>
                <a:cxn ang="0">
                  <a:pos x="connsiteX4831" y="connsiteY4831"/>
                </a:cxn>
                <a:cxn ang="0">
                  <a:pos x="connsiteX4832" y="connsiteY4832"/>
                </a:cxn>
                <a:cxn ang="0">
                  <a:pos x="connsiteX4833" y="connsiteY4833"/>
                </a:cxn>
                <a:cxn ang="0">
                  <a:pos x="connsiteX4834" y="connsiteY4834"/>
                </a:cxn>
                <a:cxn ang="0">
                  <a:pos x="connsiteX4835" y="connsiteY4835"/>
                </a:cxn>
                <a:cxn ang="0">
                  <a:pos x="connsiteX4836" y="connsiteY4836"/>
                </a:cxn>
                <a:cxn ang="0">
                  <a:pos x="connsiteX4837" y="connsiteY4837"/>
                </a:cxn>
                <a:cxn ang="0">
                  <a:pos x="connsiteX4838" y="connsiteY4838"/>
                </a:cxn>
                <a:cxn ang="0">
                  <a:pos x="connsiteX4839" y="connsiteY4839"/>
                </a:cxn>
                <a:cxn ang="0">
                  <a:pos x="connsiteX4840" y="connsiteY4840"/>
                </a:cxn>
                <a:cxn ang="0">
                  <a:pos x="connsiteX4841" y="connsiteY4841"/>
                </a:cxn>
                <a:cxn ang="0">
                  <a:pos x="connsiteX4842" y="connsiteY4842"/>
                </a:cxn>
                <a:cxn ang="0">
                  <a:pos x="connsiteX4843" y="connsiteY4843"/>
                </a:cxn>
                <a:cxn ang="0">
                  <a:pos x="connsiteX4844" y="connsiteY4844"/>
                </a:cxn>
                <a:cxn ang="0">
                  <a:pos x="connsiteX4845" y="connsiteY4845"/>
                </a:cxn>
                <a:cxn ang="0">
                  <a:pos x="connsiteX4846" y="connsiteY4846"/>
                </a:cxn>
                <a:cxn ang="0">
                  <a:pos x="connsiteX4847" y="connsiteY4847"/>
                </a:cxn>
                <a:cxn ang="0">
                  <a:pos x="connsiteX4848" y="connsiteY4848"/>
                </a:cxn>
                <a:cxn ang="0">
                  <a:pos x="connsiteX4849" y="connsiteY4849"/>
                </a:cxn>
                <a:cxn ang="0">
                  <a:pos x="connsiteX4850" y="connsiteY4850"/>
                </a:cxn>
                <a:cxn ang="0">
                  <a:pos x="connsiteX4851" y="connsiteY4851"/>
                </a:cxn>
                <a:cxn ang="0">
                  <a:pos x="connsiteX4852" y="connsiteY4852"/>
                </a:cxn>
                <a:cxn ang="0">
                  <a:pos x="connsiteX4853" y="connsiteY4853"/>
                </a:cxn>
                <a:cxn ang="0">
                  <a:pos x="connsiteX4854" y="connsiteY4854"/>
                </a:cxn>
                <a:cxn ang="0">
                  <a:pos x="connsiteX4855" y="connsiteY4855"/>
                </a:cxn>
                <a:cxn ang="0">
                  <a:pos x="connsiteX4856" y="connsiteY4856"/>
                </a:cxn>
                <a:cxn ang="0">
                  <a:pos x="connsiteX4857" y="connsiteY4857"/>
                </a:cxn>
                <a:cxn ang="0">
                  <a:pos x="connsiteX4858" y="connsiteY4858"/>
                </a:cxn>
                <a:cxn ang="0">
                  <a:pos x="connsiteX4859" y="connsiteY4859"/>
                </a:cxn>
                <a:cxn ang="0">
                  <a:pos x="connsiteX4860" y="connsiteY4860"/>
                </a:cxn>
                <a:cxn ang="0">
                  <a:pos x="connsiteX4861" y="connsiteY4861"/>
                </a:cxn>
                <a:cxn ang="0">
                  <a:pos x="connsiteX4862" y="connsiteY4862"/>
                </a:cxn>
                <a:cxn ang="0">
                  <a:pos x="connsiteX4863" y="connsiteY4863"/>
                </a:cxn>
                <a:cxn ang="0">
                  <a:pos x="connsiteX4864" y="connsiteY4864"/>
                </a:cxn>
                <a:cxn ang="0">
                  <a:pos x="connsiteX4865" y="connsiteY4865"/>
                </a:cxn>
                <a:cxn ang="0">
                  <a:pos x="connsiteX4866" y="connsiteY4866"/>
                </a:cxn>
                <a:cxn ang="0">
                  <a:pos x="connsiteX4867" y="connsiteY4867"/>
                </a:cxn>
                <a:cxn ang="0">
                  <a:pos x="connsiteX4868" y="connsiteY4868"/>
                </a:cxn>
                <a:cxn ang="0">
                  <a:pos x="connsiteX4869" y="connsiteY4869"/>
                </a:cxn>
                <a:cxn ang="0">
                  <a:pos x="connsiteX4870" y="connsiteY4870"/>
                </a:cxn>
                <a:cxn ang="0">
                  <a:pos x="connsiteX4871" y="connsiteY4871"/>
                </a:cxn>
                <a:cxn ang="0">
                  <a:pos x="connsiteX4872" y="connsiteY4872"/>
                </a:cxn>
                <a:cxn ang="0">
                  <a:pos x="connsiteX4873" y="connsiteY4873"/>
                </a:cxn>
                <a:cxn ang="0">
                  <a:pos x="connsiteX4874" y="connsiteY4874"/>
                </a:cxn>
                <a:cxn ang="0">
                  <a:pos x="connsiteX4875" y="connsiteY4875"/>
                </a:cxn>
                <a:cxn ang="0">
                  <a:pos x="connsiteX4876" y="connsiteY4876"/>
                </a:cxn>
                <a:cxn ang="0">
                  <a:pos x="connsiteX4877" y="connsiteY4877"/>
                </a:cxn>
                <a:cxn ang="0">
                  <a:pos x="connsiteX4878" y="connsiteY4878"/>
                </a:cxn>
                <a:cxn ang="0">
                  <a:pos x="connsiteX4879" y="connsiteY4879"/>
                </a:cxn>
                <a:cxn ang="0">
                  <a:pos x="connsiteX4880" y="connsiteY4880"/>
                </a:cxn>
                <a:cxn ang="0">
                  <a:pos x="connsiteX4881" y="connsiteY4881"/>
                </a:cxn>
                <a:cxn ang="0">
                  <a:pos x="connsiteX4882" y="connsiteY4882"/>
                </a:cxn>
                <a:cxn ang="0">
                  <a:pos x="connsiteX4883" y="connsiteY4883"/>
                </a:cxn>
                <a:cxn ang="0">
                  <a:pos x="connsiteX4884" y="connsiteY4884"/>
                </a:cxn>
                <a:cxn ang="0">
                  <a:pos x="connsiteX4885" y="connsiteY4885"/>
                </a:cxn>
                <a:cxn ang="0">
                  <a:pos x="connsiteX4886" y="connsiteY4886"/>
                </a:cxn>
                <a:cxn ang="0">
                  <a:pos x="connsiteX4887" y="connsiteY4887"/>
                </a:cxn>
                <a:cxn ang="0">
                  <a:pos x="connsiteX4888" y="connsiteY4888"/>
                </a:cxn>
                <a:cxn ang="0">
                  <a:pos x="connsiteX4889" y="connsiteY4889"/>
                </a:cxn>
                <a:cxn ang="0">
                  <a:pos x="connsiteX4890" y="connsiteY4890"/>
                </a:cxn>
                <a:cxn ang="0">
                  <a:pos x="connsiteX4891" y="connsiteY4891"/>
                </a:cxn>
                <a:cxn ang="0">
                  <a:pos x="connsiteX4892" y="connsiteY4892"/>
                </a:cxn>
                <a:cxn ang="0">
                  <a:pos x="connsiteX4893" y="connsiteY4893"/>
                </a:cxn>
                <a:cxn ang="0">
                  <a:pos x="connsiteX4894" y="connsiteY4894"/>
                </a:cxn>
                <a:cxn ang="0">
                  <a:pos x="connsiteX4895" y="connsiteY4895"/>
                </a:cxn>
                <a:cxn ang="0">
                  <a:pos x="connsiteX4896" y="connsiteY4896"/>
                </a:cxn>
                <a:cxn ang="0">
                  <a:pos x="connsiteX4897" y="connsiteY4897"/>
                </a:cxn>
                <a:cxn ang="0">
                  <a:pos x="connsiteX4898" y="connsiteY4898"/>
                </a:cxn>
                <a:cxn ang="0">
                  <a:pos x="connsiteX4899" y="connsiteY4899"/>
                </a:cxn>
                <a:cxn ang="0">
                  <a:pos x="connsiteX4900" y="connsiteY4900"/>
                </a:cxn>
                <a:cxn ang="0">
                  <a:pos x="connsiteX4901" y="connsiteY4901"/>
                </a:cxn>
                <a:cxn ang="0">
                  <a:pos x="connsiteX4902" y="connsiteY4902"/>
                </a:cxn>
                <a:cxn ang="0">
                  <a:pos x="connsiteX4903" y="connsiteY4903"/>
                </a:cxn>
                <a:cxn ang="0">
                  <a:pos x="connsiteX4904" y="connsiteY4904"/>
                </a:cxn>
                <a:cxn ang="0">
                  <a:pos x="connsiteX4905" y="connsiteY4905"/>
                </a:cxn>
                <a:cxn ang="0">
                  <a:pos x="connsiteX4906" y="connsiteY4906"/>
                </a:cxn>
                <a:cxn ang="0">
                  <a:pos x="connsiteX4907" y="connsiteY4907"/>
                </a:cxn>
                <a:cxn ang="0">
                  <a:pos x="connsiteX4908" y="connsiteY4908"/>
                </a:cxn>
                <a:cxn ang="0">
                  <a:pos x="connsiteX4909" y="connsiteY4909"/>
                </a:cxn>
                <a:cxn ang="0">
                  <a:pos x="connsiteX4910" y="connsiteY4910"/>
                </a:cxn>
                <a:cxn ang="0">
                  <a:pos x="connsiteX4911" y="connsiteY4911"/>
                </a:cxn>
                <a:cxn ang="0">
                  <a:pos x="connsiteX4912" y="connsiteY4912"/>
                </a:cxn>
                <a:cxn ang="0">
                  <a:pos x="connsiteX4913" y="connsiteY4913"/>
                </a:cxn>
                <a:cxn ang="0">
                  <a:pos x="connsiteX4914" y="connsiteY4914"/>
                </a:cxn>
                <a:cxn ang="0">
                  <a:pos x="connsiteX4915" y="connsiteY4915"/>
                </a:cxn>
                <a:cxn ang="0">
                  <a:pos x="connsiteX4916" y="connsiteY4916"/>
                </a:cxn>
                <a:cxn ang="0">
                  <a:pos x="connsiteX4917" y="connsiteY4917"/>
                </a:cxn>
                <a:cxn ang="0">
                  <a:pos x="connsiteX4918" y="connsiteY4918"/>
                </a:cxn>
                <a:cxn ang="0">
                  <a:pos x="connsiteX4919" y="connsiteY4919"/>
                </a:cxn>
                <a:cxn ang="0">
                  <a:pos x="connsiteX4920" y="connsiteY4920"/>
                </a:cxn>
                <a:cxn ang="0">
                  <a:pos x="connsiteX4921" y="connsiteY4921"/>
                </a:cxn>
                <a:cxn ang="0">
                  <a:pos x="connsiteX4922" y="connsiteY4922"/>
                </a:cxn>
                <a:cxn ang="0">
                  <a:pos x="connsiteX4923" y="connsiteY4923"/>
                </a:cxn>
                <a:cxn ang="0">
                  <a:pos x="connsiteX4924" y="connsiteY4924"/>
                </a:cxn>
                <a:cxn ang="0">
                  <a:pos x="connsiteX4925" y="connsiteY4925"/>
                </a:cxn>
                <a:cxn ang="0">
                  <a:pos x="connsiteX4926" y="connsiteY4926"/>
                </a:cxn>
                <a:cxn ang="0">
                  <a:pos x="connsiteX4927" y="connsiteY4927"/>
                </a:cxn>
                <a:cxn ang="0">
                  <a:pos x="connsiteX4928" y="connsiteY4928"/>
                </a:cxn>
                <a:cxn ang="0">
                  <a:pos x="connsiteX4929" y="connsiteY4929"/>
                </a:cxn>
                <a:cxn ang="0">
                  <a:pos x="connsiteX4930" y="connsiteY4930"/>
                </a:cxn>
                <a:cxn ang="0">
                  <a:pos x="connsiteX4931" y="connsiteY4931"/>
                </a:cxn>
                <a:cxn ang="0">
                  <a:pos x="connsiteX4932" y="connsiteY4932"/>
                </a:cxn>
                <a:cxn ang="0">
                  <a:pos x="connsiteX4933" y="connsiteY4933"/>
                </a:cxn>
                <a:cxn ang="0">
                  <a:pos x="connsiteX4934" y="connsiteY4934"/>
                </a:cxn>
                <a:cxn ang="0">
                  <a:pos x="connsiteX4935" y="connsiteY4935"/>
                </a:cxn>
                <a:cxn ang="0">
                  <a:pos x="connsiteX4936" y="connsiteY4936"/>
                </a:cxn>
                <a:cxn ang="0">
                  <a:pos x="connsiteX4937" y="connsiteY4937"/>
                </a:cxn>
                <a:cxn ang="0">
                  <a:pos x="connsiteX4938" y="connsiteY4938"/>
                </a:cxn>
                <a:cxn ang="0">
                  <a:pos x="connsiteX4939" y="connsiteY4939"/>
                </a:cxn>
                <a:cxn ang="0">
                  <a:pos x="connsiteX4940" y="connsiteY4940"/>
                </a:cxn>
                <a:cxn ang="0">
                  <a:pos x="connsiteX4941" y="connsiteY4941"/>
                </a:cxn>
                <a:cxn ang="0">
                  <a:pos x="connsiteX4942" y="connsiteY4942"/>
                </a:cxn>
                <a:cxn ang="0">
                  <a:pos x="connsiteX4943" y="connsiteY4943"/>
                </a:cxn>
                <a:cxn ang="0">
                  <a:pos x="connsiteX4944" y="connsiteY4944"/>
                </a:cxn>
                <a:cxn ang="0">
                  <a:pos x="connsiteX4945" y="connsiteY4945"/>
                </a:cxn>
                <a:cxn ang="0">
                  <a:pos x="connsiteX4946" y="connsiteY4946"/>
                </a:cxn>
                <a:cxn ang="0">
                  <a:pos x="connsiteX4947" y="connsiteY4947"/>
                </a:cxn>
                <a:cxn ang="0">
                  <a:pos x="connsiteX4948" y="connsiteY4948"/>
                </a:cxn>
                <a:cxn ang="0">
                  <a:pos x="connsiteX4949" y="connsiteY4949"/>
                </a:cxn>
                <a:cxn ang="0">
                  <a:pos x="connsiteX4950" y="connsiteY4950"/>
                </a:cxn>
                <a:cxn ang="0">
                  <a:pos x="connsiteX4951" y="connsiteY4951"/>
                </a:cxn>
                <a:cxn ang="0">
                  <a:pos x="connsiteX4952" y="connsiteY4952"/>
                </a:cxn>
                <a:cxn ang="0">
                  <a:pos x="connsiteX4953" y="connsiteY4953"/>
                </a:cxn>
                <a:cxn ang="0">
                  <a:pos x="connsiteX4954" y="connsiteY4954"/>
                </a:cxn>
                <a:cxn ang="0">
                  <a:pos x="connsiteX4955" y="connsiteY4955"/>
                </a:cxn>
                <a:cxn ang="0">
                  <a:pos x="connsiteX4956" y="connsiteY4956"/>
                </a:cxn>
                <a:cxn ang="0">
                  <a:pos x="connsiteX4957" y="connsiteY4957"/>
                </a:cxn>
                <a:cxn ang="0">
                  <a:pos x="connsiteX4958" y="connsiteY4958"/>
                </a:cxn>
                <a:cxn ang="0">
                  <a:pos x="connsiteX4959" y="connsiteY4959"/>
                </a:cxn>
                <a:cxn ang="0">
                  <a:pos x="connsiteX4960" y="connsiteY4960"/>
                </a:cxn>
                <a:cxn ang="0">
                  <a:pos x="connsiteX4961" y="connsiteY4961"/>
                </a:cxn>
                <a:cxn ang="0">
                  <a:pos x="connsiteX4962" y="connsiteY4962"/>
                </a:cxn>
                <a:cxn ang="0">
                  <a:pos x="connsiteX4963" y="connsiteY4963"/>
                </a:cxn>
                <a:cxn ang="0">
                  <a:pos x="connsiteX4964" y="connsiteY4964"/>
                </a:cxn>
                <a:cxn ang="0">
                  <a:pos x="connsiteX4965" y="connsiteY4965"/>
                </a:cxn>
                <a:cxn ang="0">
                  <a:pos x="connsiteX4966" y="connsiteY4966"/>
                </a:cxn>
                <a:cxn ang="0">
                  <a:pos x="connsiteX4967" y="connsiteY4967"/>
                </a:cxn>
                <a:cxn ang="0">
                  <a:pos x="connsiteX4968" y="connsiteY4968"/>
                </a:cxn>
                <a:cxn ang="0">
                  <a:pos x="connsiteX4969" y="connsiteY4969"/>
                </a:cxn>
                <a:cxn ang="0">
                  <a:pos x="connsiteX4970" y="connsiteY4970"/>
                </a:cxn>
                <a:cxn ang="0">
                  <a:pos x="connsiteX4971" y="connsiteY4971"/>
                </a:cxn>
                <a:cxn ang="0">
                  <a:pos x="connsiteX4972" y="connsiteY4972"/>
                </a:cxn>
                <a:cxn ang="0">
                  <a:pos x="connsiteX4973" y="connsiteY4973"/>
                </a:cxn>
                <a:cxn ang="0">
                  <a:pos x="connsiteX4974" y="connsiteY4974"/>
                </a:cxn>
                <a:cxn ang="0">
                  <a:pos x="connsiteX4975" y="connsiteY4975"/>
                </a:cxn>
                <a:cxn ang="0">
                  <a:pos x="connsiteX4976" y="connsiteY4976"/>
                </a:cxn>
                <a:cxn ang="0">
                  <a:pos x="connsiteX4977" y="connsiteY4977"/>
                </a:cxn>
                <a:cxn ang="0">
                  <a:pos x="connsiteX4978" y="connsiteY4978"/>
                </a:cxn>
                <a:cxn ang="0">
                  <a:pos x="connsiteX4979" y="connsiteY4979"/>
                </a:cxn>
                <a:cxn ang="0">
                  <a:pos x="connsiteX4980" y="connsiteY4980"/>
                </a:cxn>
                <a:cxn ang="0">
                  <a:pos x="connsiteX4981" y="connsiteY4981"/>
                </a:cxn>
                <a:cxn ang="0">
                  <a:pos x="connsiteX4982" y="connsiteY4982"/>
                </a:cxn>
                <a:cxn ang="0">
                  <a:pos x="connsiteX4983" y="connsiteY4983"/>
                </a:cxn>
                <a:cxn ang="0">
                  <a:pos x="connsiteX4984" y="connsiteY4984"/>
                </a:cxn>
                <a:cxn ang="0">
                  <a:pos x="connsiteX4985" y="connsiteY4985"/>
                </a:cxn>
                <a:cxn ang="0">
                  <a:pos x="connsiteX4986" y="connsiteY4986"/>
                </a:cxn>
                <a:cxn ang="0">
                  <a:pos x="connsiteX4987" y="connsiteY4987"/>
                </a:cxn>
                <a:cxn ang="0">
                  <a:pos x="connsiteX4988" y="connsiteY4988"/>
                </a:cxn>
                <a:cxn ang="0">
                  <a:pos x="connsiteX4989" y="connsiteY4989"/>
                </a:cxn>
                <a:cxn ang="0">
                  <a:pos x="connsiteX4990" y="connsiteY4990"/>
                </a:cxn>
                <a:cxn ang="0">
                  <a:pos x="connsiteX4991" y="connsiteY4991"/>
                </a:cxn>
                <a:cxn ang="0">
                  <a:pos x="connsiteX4992" y="connsiteY4992"/>
                </a:cxn>
                <a:cxn ang="0">
                  <a:pos x="connsiteX4993" y="connsiteY4993"/>
                </a:cxn>
                <a:cxn ang="0">
                  <a:pos x="connsiteX4994" y="connsiteY4994"/>
                </a:cxn>
                <a:cxn ang="0">
                  <a:pos x="connsiteX4995" y="connsiteY4995"/>
                </a:cxn>
                <a:cxn ang="0">
                  <a:pos x="connsiteX4996" y="connsiteY4996"/>
                </a:cxn>
                <a:cxn ang="0">
                  <a:pos x="connsiteX4997" y="connsiteY4997"/>
                </a:cxn>
                <a:cxn ang="0">
                  <a:pos x="connsiteX4998" y="connsiteY4998"/>
                </a:cxn>
                <a:cxn ang="0">
                  <a:pos x="connsiteX4999" y="connsiteY4999"/>
                </a:cxn>
                <a:cxn ang="0">
                  <a:pos x="connsiteX5000" y="connsiteY5000"/>
                </a:cxn>
                <a:cxn ang="0">
                  <a:pos x="connsiteX5001" y="connsiteY5001"/>
                </a:cxn>
                <a:cxn ang="0">
                  <a:pos x="connsiteX5002" y="connsiteY5002"/>
                </a:cxn>
                <a:cxn ang="0">
                  <a:pos x="connsiteX5003" y="connsiteY5003"/>
                </a:cxn>
                <a:cxn ang="0">
                  <a:pos x="connsiteX5004" y="connsiteY5004"/>
                </a:cxn>
                <a:cxn ang="0">
                  <a:pos x="connsiteX5005" y="connsiteY5005"/>
                </a:cxn>
                <a:cxn ang="0">
                  <a:pos x="connsiteX5006" y="connsiteY5006"/>
                </a:cxn>
                <a:cxn ang="0">
                  <a:pos x="connsiteX5007" y="connsiteY5007"/>
                </a:cxn>
                <a:cxn ang="0">
                  <a:pos x="connsiteX5008" y="connsiteY5008"/>
                </a:cxn>
                <a:cxn ang="0">
                  <a:pos x="connsiteX5009" y="connsiteY5009"/>
                </a:cxn>
                <a:cxn ang="0">
                  <a:pos x="connsiteX5010" y="connsiteY5010"/>
                </a:cxn>
                <a:cxn ang="0">
                  <a:pos x="connsiteX5011" y="connsiteY5011"/>
                </a:cxn>
                <a:cxn ang="0">
                  <a:pos x="connsiteX5012" y="connsiteY5012"/>
                </a:cxn>
                <a:cxn ang="0">
                  <a:pos x="connsiteX5013" y="connsiteY5013"/>
                </a:cxn>
                <a:cxn ang="0">
                  <a:pos x="connsiteX5014" y="connsiteY5014"/>
                </a:cxn>
                <a:cxn ang="0">
                  <a:pos x="connsiteX5015" y="connsiteY5015"/>
                </a:cxn>
                <a:cxn ang="0">
                  <a:pos x="connsiteX5016" y="connsiteY5016"/>
                </a:cxn>
                <a:cxn ang="0">
                  <a:pos x="connsiteX5017" y="connsiteY5017"/>
                </a:cxn>
                <a:cxn ang="0">
                  <a:pos x="connsiteX5018" y="connsiteY5018"/>
                </a:cxn>
                <a:cxn ang="0">
                  <a:pos x="connsiteX5019" y="connsiteY5019"/>
                </a:cxn>
                <a:cxn ang="0">
                  <a:pos x="connsiteX5020" y="connsiteY5020"/>
                </a:cxn>
                <a:cxn ang="0">
                  <a:pos x="connsiteX5021" y="connsiteY5021"/>
                </a:cxn>
                <a:cxn ang="0">
                  <a:pos x="connsiteX5022" y="connsiteY5022"/>
                </a:cxn>
                <a:cxn ang="0">
                  <a:pos x="connsiteX5023" y="connsiteY5023"/>
                </a:cxn>
                <a:cxn ang="0">
                  <a:pos x="connsiteX5024" y="connsiteY5024"/>
                </a:cxn>
                <a:cxn ang="0">
                  <a:pos x="connsiteX5025" y="connsiteY5025"/>
                </a:cxn>
                <a:cxn ang="0">
                  <a:pos x="connsiteX5026" y="connsiteY5026"/>
                </a:cxn>
                <a:cxn ang="0">
                  <a:pos x="connsiteX5027" y="connsiteY5027"/>
                </a:cxn>
                <a:cxn ang="0">
                  <a:pos x="connsiteX5028" y="connsiteY5028"/>
                </a:cxn>
                <a:cxn ang="0">
                  <a:pos x="connsiteX5029" y="connsiteY5029"/>
                </a:cxn>
                <a:cxn ang="0">
                  <a:pos x="connsiteX5030" y="connsiteY5030"/>
                </a:cxn>
                <a:cxn ang="0">
                  <a:pos x="connsiteX5031" y="connsiteY5031"/>
                </a:cxn>
                <a:cxn ang="0">
                  <a:pos x="connsiteX5032" y="connsiteY5032"/>
                </a:cxn>
                <a:cxn ang="0">
                  <a:pos x="connsiteX5033" y="connsiteY5033"/>
                </a:cxn>
                <a:cxn ang="0">
                  <a:pos x="connsiteX5034" y="connsiteY5034"/>
                </a:cxn>
                <a:cxn ang="0">
                  <a:pos x="connsiteX5035" y="connsiteY5035"/>
                </a:cxn>
                <a:cxn ang="0">
                  <a:pos x="connsiteX5036" y="connsiteY5036"/>
                </a:cxn>
                <a:cxn ang="0">
                  <a:pos x="connsiteX5037" y="connsiteY5037"/>
                </a:cxn>
                <a:cxn ang="0">
                  <a:pos x="connsiteX5038" y="connsiteY5038"/>
                </a:cxn>
                <a:cxn ang="0">
                  <a:pos x="connsiteX5039" y="connsiteY5039"/>
                </a:cxn>
                <a:cxn ang="0">
                  <a:pos x="connsiteX5040" y="connsiteY5040"/>
                </a:cxn>
                <a:cxn ang="0">
                  <a:pos x="connsiteX5041" y="connsiteY5041"/>
                </a:cxn>
                <a:cxn ang="0">
                  <a:pos x="connsiteX5042" y="connsiteY5042"/>
                </a:cxn>
                <a:cxn ang="0">
                  <a:pos x="connsiteX5043" y="connsiteY5043"/>
                </a:cxn>
                <a:cxn ang="0">
                  <a:pos x="connsiteX5044" y="connsiteY5044"/>
                </a:cxn>
                <a:cxn ang="0">
                  <a:pos x="connsiteX5045" y="connsiteY5045"/>
                </a:cxn>
                <a:cxn ang="0">
                  <a:pos x="connsiteX5046" y="connsiteY5046"/>
                </a:cxn>
                <a:cxn ang="0">
                  <a:pos x="connsiteX5047" y="connsiteY5047"/>
                </a:cxn>
                <a:cxn ang="0">
                  <a:pos x="connsiteX5048" y="connsiteY5048"/>
                </a:cxn>
                <a:cxn ang="0">
                  <a:pos x="connsiteX5049" y="connsiteY5049"/>
                </a:cxn>
                <a:cxn ang="0">
                  <a:pos x="connsiteX5050" y="connsiteY5050"/>
                </a:cxn>
                <a:cxn ang="0">
                  <a:pos x="connsiteX5051" y="connsiteY5051"/>
                </a:cxn>
                <a:cxn ang="0">
                  <a:pos x="connsiteX5052" y="connsiteY5052"/>
                </a:cxn>
                <a:cxn ang="0">
                  <a:pos x="connsiteX5053" y="connsiteY5053"/>
                </a:cxn>
                <a:cxn ang="0">
                  <a:pos x="connsiteX5054" y="connsiteY5054"/>
                </a:cxn>
                <a:cxn ang="0">
                  <a:pos x="connsiteX5055" y="connsiteY5055"/>
                </a:cxn>
                <a:cxn ang="0">
                  <a:pos x="connsiteX5056" y="connsiteY5056"/>
                </a:cxn>
                <a:cxn ang="0">
                  <a:pos x="connsiteX5057" y="connsiteY5057"/>
                </a:cxn>
                <a:cxn ang="0">
                  <a:pos x="connsiteX5058" y="connsiteY5058"/>
                </a:cxn>
                <a:cxn ang="0">
                  <a:pos x="connsiteX5059" y="connsiteY5059"/>
                </a:cxn>
                <a:cxn ang="0">
                  <a:pos x="connsiteX5060" y="connsiteY5060"/>
                </a:cxn>
                <a:cxn ang="0">
                  <a:pos x="connsiteX5061" y="connsiteY5061"/>
                </a:cxn>
                <a:cxn ang="0">
                  <a:pos x="connsiteX5062" y="connsiteY5062"/>
                </a:cxn>
                <a:cxn ang="0">
                  <a:pos x="connsiteX5063" y="connsiteY5063"/>
                </a:cxn>
                <a:cxn ang="0">
                  <a:pos x="connsiteX5064" y="connsiteY5064"/>
                </a:cxn>
                <a:cxn ang="0">
                  <a:pos x="connsiteX5065" y="connsiteY5065"/>
                </a:cxn>
                <a:cxn ang="0">
                  <a:pos x="connsiteX5066" y="connsiteY5066"/>
                </a:cxn>
                <a:cxn ang="0">
                  <a:pos x="connsiteX5067" y="connsiteY5067"/>
                </a:cxn>
                <a:cxn ang="0">
                  <a:pos x="connsiteX5068" y="connsiteY5068"/>
                </a:cxn>
                <a:cxn ang="0">
                  <a:pos x="connsiteX5069" y="connsiteY5069"/>
                </a:cxn>
                <a:cxn ang="0">
                  <a:pos x="connsiteX5070" y="connsiteY5070"/>
                </a:cxn>
                <a:cxn ang="0">
                  <a:pos x="connsiteX5071" y="connsiteY5071"/>
                </a:cxn>
                <a:cxn ang="0">
                  <a:pos x="connsiteX5072" y="connsiteY5072"/>
                </a:cxn>
                <a:cxn ang="0">
                  <a:pos x="connsiteX5073" y="connsiteY5073"/>
                </a:cxn>
                <a:cxn ang="0">
                  <a:pos x="connsiteX5074" y="connsiteY5074"/>
                </a:cxn>
                <a:cxn ang="0">
                  <a:pos x="connsiteX5075" y="connsiteY5075"/>
                </a:cxn>
                <a:cxn ang="0">
                  <a:pos x="connsiteX5076" y="connsiteY5076"/>
                </a:cxn>
                <a:cxn ang="0">
                  <a:pos x="connsiteX5077" y="connsiteY5077"/>
                </a:cxn>
                <a:cxn ang="0">
                  <a:pos x="connsiteX5078" y="connsiteY5078"/>
                </a:cxn>
                <a:cxn ang="0">
                  <a:pos x="connsiteX5079" y="connsiteY5079"/>
                </a:cxn>
                <a:cxn ang="0">
                  <a:pos x="connsiteX5080" y="connsiteY5080"/>
                </a:cxn>
                <a:cxn ang="0">
                  <a:pos x="connsiteX5081" y="connsiteY5081"/>
                </a:cxn>
                <a:cxn ang="0">
                  <a:pos x="connsiteX5082" y="connsiteY5082"/>
                </a:cxn>
                <a:cxn ang="0">
                  <a:pos x="connsiteX5083" y="connsiteY5083"/>
                </a:cxn>
                <a:cxn ang="0">
                  <a:pos x="connsiteX5084" y="connsiteY5084"/>
                </a:cxn>
                <a:cxn ang="0">
                  <a:pos x="connsiteX5085" y="connsiteY5085"/>
                </a:cxn>
                <a:cxn ang="0">
                  <a:pos x="connsiteX5086" y="connsiteY5086"/>
                </a:cxn>
                <a:cxn ang="0">
                  <a:pos x="connsiteX5087" y="connsiteY5087"/>
                </a:cxn>
                <a:cxn ang="0">
                  <a:pos x="connsiteX5088" y="connsiteY5088"/>
                </a:cxn>
                <a:cxn ang="0">
                  <a:pos x="connsiteX5089" y="connsiteY5089"/>
                </a:cxn>
                <a:cxn ang="0">
                  <a:pos x="connsiteX5090" y="connsiteY5090"/>
                </a:cxn>
                <a:cxn ang="0">
                  <a:pos x="connsiteX5091" y="connsiteY5091"/>
                </a:cxn>
                <a:cxn ang="0">
                  <a:pos x="connsiteX5092" y="connsiteY5092"/>
                </a:cxn>
                <a:cxn ang="0">
                  <a:pos x="connsiteX5093" y="connsiteY5093"/>
                </a:cxn>
                <a:cxn ang="0">
                  <a:pos x="connsiteX5094" y="connsiteY5094"/>
                </a:cxn>
                <a:cxn ang="0">
                  <a:pos x="connsiteX5095" y="connsiteY5095"/>
                </a:cxn>
                <a:cxn ang="0">
                  <a:pos x="connsiteX5096" y="connsiteY5096"/>
                </a:cxn>
                <a:cxn ang="0">
                  <a:pos x="connsiteX5097" y="connsiteY5097"/>
                </a:cxn>
                <a:cxn ang="0">
                  <a:pos x="connsiteX5098" y="connsiteY5098"/>
                </a:cxn>
                <a:cxn ang="0">
                  <a:pos x="connsiteX5099" y="connsiteY5099"/>
                </a:cxn>
                <a:cxn ang="0">
                  <a:pos x="connsiteX5100" y="connsiteY5100"/>
                </a:cxn>
                <a:cxn ang="0">
                  <a:pos x="connsiteX5101" y="connsiteY5101"/>
                </a:cxn>
                <a:cxn ang="0">
                  <a:pos x="connsiteX5102" y="connsiteY5102"/>
                </a:cxn>
                <a:cxn ang="0">
                  <a:pos x="connsiteX5103" y="connsiteY5103"/>
                </a:cxn>
                <a:cxn ang="0">
                  <a:pos x="connsiteX5104" y="connsiteY5104"/>
                </a:cxn>
                <a:cxn ang="0">
                  <a:pos x="connsiteX5105" y="connsiteY5105"/>
                </a:cxn>
                <a:cxn ang="0">
                  <a:pos x="connsiteX5106" y="connsiteY5106"/>
                </a:cxn>
                <a:cxn ang="0">
                  <a:pos x="connsiteX5107" y="connsiteY5107"/>
                </a:cxn>
                <a:cxn ang="0">
                  <a:pos x="connsiteX5108" y="connsiteY5108"/>
                </a:cxn>
                <a:cxn ang="0">
                  <a:pos x="connsiteX5109" y="connsiteY5109"/>
                </a:cxn>
                <a:cxn ang="0">
                  <a:pos x="connsiteX5110" y="connsiteY5110"/>
                </a:cxn>
                <a:cxn ang="0">
                  <a:pos x="connsiteX5111" y="connsiteY5111"/>
                </a:cxn>
                <a:cxn ang="0">
                  <a:pos x="connsiteX5112" y="connsiteY5112"/>
                </a:cxn>
                <a:cxn ang="0">
                  <a:pos x="connsiteX5113" y="connsiteY5113"/>
                </a:cxn>
                <a:cxn ang="0">
                  <a:pos x="connsiteX5114" y="connsiteY5114"/>
                </a:cxn>
                <a:cxn ang="0">
                  <a:pos x="connsiteX5115" y="connsiteY5115"/>
                </a:cxn>
                <a:cxn ang="0">
                  <a:pos x="connsiteX5116" y="connsiteY5116"/>
                </a:cxn>
                <a:cxn ang="0">
                  <a:pos x="connsiteX5117" y="connsiteY5117"/>
                </a:cxn>
                <a:cxn ang="0">
                  <a:pos x="connsiteX5118" y="connsiteY5118"/>
                </a:cxn>
                <a:cxn ang="0">
                  <a:pos x="connsiteX5119" y="connsiteY5119"/>
                </a:cxn>
                <a:cxn ang="0">
                  <a:pos x="connsiteX5120" y="connsiteY5120"/>
                </a:cxn>
                <a:cxn ang="0">
                  <a:pos x="connsiteX5121" y="connsiteY5121"/>
                </a:cxn>
                <a:cxn ang="0">
                  <a:pos x="connsiteX5122" y="connsiteY5122"/>
                </a:cxn>
                <a:cxn ang="0">
                  <a:pos x="connsiteX5123" y="connsiteY5123"/>
                </a:cxn>
                <a:cxn ang="0">
                  <a:pos x="connsiteX5124" y="connsiteY5124"/>
                </a:cxn>
                <a:cxn ang="0">
                  <a:pos x="connsiteX5125" y="connsiteY5125"/>
                </a:cxn>
                <a:cxn ang="0">
                  <a:pos x="connsiteX5126" y="connsiteY5126"/>
                </a:cxn>
                <a:cxn ang="0">
                  <a:pos x="connsiteX5127" y="connsiteY5127"/>
                </a:cxn>
                <a:cxn ang="0">
                  <a:pos x="connsiteX5128" y="connsiteY5128"/>
                </a:cxn>
                <a:cxn ang="0">
                  <a:pos x="connsiteX5129" y="connsiteY5129"/>
                </a:cxn>
                <a:cxn ang="0">
                  <a:pos x="connsiteX5130" y="connsiteY5130"/>
                </a:cxn>
                <a:cxn ang="0">
                  <a:pos x="connsiteX5131" y="connsiteY5131"/>
                </a:cxn>
                <a:cxn ang="0">
                  <a:pos x="connsiteX5132" y="connsiteY5132"/>
                </a:cxn>
                <a:cxn ang="0">
                  <a:pos x="connsiteX5133" y="connsiteY5133"/>
                </a:cxn>
                <a:cxn ang="0">
                  <a:pos x="connsiteX5134" y="connsiteY5134"/>
                </a:cxn>
                <a:cxn ang="0">
                  <a:pos x="connsiteX5135" y="connsiteY5135"/>
                </a:cxn>
                <a:cxn ang="0">
                  <a:pos x="connsiteX5136" y="connsiteY5136"/>
                </a:cxn>
                <a:cxn ang="0">
                  <a:pos x="connsiteX5137" y="connsiteY5137"/>
                </a:cxn>
                <a:cxn ang="0">
                  <a:pos x="connsiteX5138" y="connsiteY5138"/>
                </a:cxn>
                <a:cxn ang="0">
                  <a:pos x="connsiteX5139" y="connsiteY5139"/>
                </a:cxn>
                <a:cxn ang="0">
                  <a:pos x="connsiteX5140" y="connsiteY5140"/>
                </a:cxn>
                <a:cxn ang="0">
                  <a:pos x="connsiteX5141" y="connsiteY5141"/>
                </a:cxn>
                <a:cxn ang="0">
                  <a:pos x="connsiteX5142" y="connsiteY5142"/>
                </a:cxn>
                <a:cxn ang="0">
                  <a:pos x="connsiteX5143" y="connsiteY5143"/>
                </a:cxn>
                <a:cxn ang="0">
                  <a:pos x="connsiteX5144" y="connsiteY5144"/>
                </a:cxn>
                <a:cxn ang="0">
                  <a:pos x="connsiteX5145" y="connsiteY5145"/>
                </a:cxn>
                <a:cxn ang="0">
                  <a:pos x="connsiteX5146" y="connsiteY5146"/>
                </a:cxn>
                <a:cxn ang="0">
                  <a:pos x="connsiteX5147" y="connsiteY5147"/>
                </a:cxn>
                <a:cxn ang="0">
                  <a:pos x="connsiteX5148" y="connsiteY5148"/>
                </a:cxn>
                <a:cxn ang="0">
                  <a:pos x="connsiteX5149" y="connsiteY5149"/>
                </a:cxn>
                <a:cxn ang="0">
                  <a:pos x="connsiteX5150" y="connsiteY5150"/>
                </a:cxn>
                <a:cxn ang="0">
                  <a:pos x="connsiteX5151" y="connsiteY5151"/>
                </a:cxn>
                <a:cxn ang="0">
                  <a:pos x="connsiteX5152" y="connsiteY5152"/>
                </a:cxn>
                <a:cxn ang="0">
                  <a:pos x="connsiteX5153" y="connsiteY5153"/>
                </a:cxn>
                <a:cxn ang="0">
                  <a:pos x="connsiteX5154" y="connsiteY5154"/>
                </a:cxn>
                <a:cxn ang="0">
                  <a:pos x="connsiteX5155" y="connsiteY5155"/>
                </a:cxn>
                <a:cxn ang="0">
                  <a:pos x="connsiteX5156" y="connsiteY5156"/>
                </a:cxn>
                <a:cxn ang="0">
                  <a:pos x="connsiteX5157" y="connsiteY5157"/>
                </a:cxn>
                <a:cxn ang="0">
                  <a:pos x="connsiteX5158" y="connsiteY5158"/>
                </a:cxn>
                <a:cxn ang="0">
                  <a:pos x="connsiteX5159" y="connsiteY5159"/>
                </a:cxn>
                <a:cxn ang="0">
                  <a:pos x="connsiteX5160" y="connsiteY5160"/>
                </a:cxn>
                <a:cxn ang="0">
                  <a:pos x="connsiteX5161" y="connsiteY5161"/>
                </a:cxn>
                <a:cxn ang="0">
                  <a:pos x="connsiteX5162" y="connsiteY5162"/>
                </a:cxn>
                <a:cxn ang="0">
                  <a:pos x="connsiteX5163" y="connsiteY5163"/>
                </a:cxn>
                <a:cxn ang="0">
                  <a:pos x="connsiteX5164" y="connsiteY5164"/>
                </a:cxn>
                <a:cxn ang="0">
                  <a:pos x="connsiteX5165" y="connsiteY5165"/>
                </a:cxn>
                <a:cxn ang="0">
                  <a:pos x="connsiteX5166" y="connsiteY5166"/>
                </a:cxn>
                <a:cxn ang="0">
                  <a:pos x="connsiteX5167" y="connsiteY5167"/>
                </a:cxn>
                <a:cxn ang="0">
                  <a:pos x="connsiteX5168" y="connsiteY5168"/>
                </a:cxn>
                <a:cxn ang="0">
                  <a:pos x="connsiteX5169" y="connsiteY5169"/>
                </a:cxn>
                <a:cxn ang="0">
                  <a:pos x="connsiteX5170" y="connsiteY5170"/>
                </a:cxn>
                <a:cxn ang="0">
                  <a:pos x="connsiteX5171" y="connsiteY5171"/>
                </a:cxn>
                <a:cxn ang="0">
                  <a:pos x="connsiteX5172" y="connsiteY5172"/>
                </a:cxn>
                <a:cxn ang="0">
                  <a:pos x="connsiteX5173" y="connsiteY5173"/>
                </a:cxn>
                <a:cxn ang="0">
                  <a:pos x="connsiteX5174" y="connsiteY5174"/>
                </a:cxn>
                <a:cxn ang="0">
                  <a:pos x="connsiteX5175" y="connsiteY5175"/>
                </a:cxn>
                <a:cxn ang="0">
                  <a:pos x="connsiteX5176" y="connsiteY5176"/>
                </a:cxn>
                <a:cxn ang="0">
                  <a:pos x="connsiteX5177" y="connsiteY5177"/>
                </a:cxn>
                <a:cxn ang="0">
                  <a:pos x="connsiteX5178" y="connsiteY5178"/>
                </a:cxn>
                <a:cxn ang="0">
                  <a:pos x="connsiteX5179" y="connsiteY5179"/>
                </a:cxn>
                <a:cxn ang="0">
                  <a:pos x="connsiteX5180" y="connsiteY5180"/>
                </a:cxn>
                <a:cxn ang="0">
                  <a:pos x="connsiteX5181" y="connsiteY5181"/>
                </a:cxn>
                <a:cxn ang="0">
                  <a:pos x="connsiteX5182" y="connsiteY5182"/>
                </a:cxn>
                <a:cxn ang="0">
                  <a:pos x="connsiteX5183" y="connsiteY5183"/>
                </a:cxn>
                <a:cxn ang="0">
                  <a:pos x="connsiteX5184" y="connsiteY5184"/>
                </a:cxn>
                <a:cxn ang="0">
                  <a:pos x="connsiteX5185" y="connsiteY5185"/>
                </a:cxn>
                <a:cxn ang="0">
                  <a:pos x="connsiteX5186" y="connsiteY5186"/>
                </a:cxn>
                <a:cxn ang="0">
                  <a:pos x="connsiteX5187" y="connsiteY5187"/>
                </a:cxn>
                <a:cxn ang="0">
                  <a:pos x="connsiteX5188" y="connsiteY5188"/>
                </a:cxn>
                <a:cxn ang="0">
                  <a:pos x="connsiteX5189" y="connsiteY5189"/>
                </a:cxn>
                <a:cxn ang="0">
                  <a:pos x="connsiteX5190" y="connsiteY5190"/>
                </a:cxn>
                <a:cxn ang="0">
                  <a:pos x="connsiteX5191" y="connsiteY5191"/>
                </a:cxn>
                <a:cxn ang="0">
                  <a:pos x="connsiteX5192" y="connsiteY5192"/>
                </a:cxn>
                <a:cxn ang="0">
                  <a:pos x="connsiteX5193" y="connsiteY5193"/>
                </a:cxn>
                <a:cxn ang="0">
                  <a:pos x="connsiteX5194" y="connsiteY5194"/>
                </a:cxn>
                <a:cxn ang="0">
                  <a:pos x="connsiteX5195" y="connsiteY5195"/>
                </a:cxn>
                <a:cxn ang="0">
                  <a:pos x="connsiteX5196" y="connsiteY5196"/>
                </a:cxn>
                <a:cxn ang="0">
                  <a:pos x="connsiteX5197" y="connsiteY5197"/>
                </a:cxn>
                <a:cxn ang="0">
                  <a:pos x="connsiteX5198" y="connsiteY5198"/>
                </a:cxn>
                <a:cxn ang="0">
                  <a:pos x="connsiteX5199" y="connsiteY5199"/>
                </a:cxn>
                <a:cxn ang="0">
                  <a:pos x="connsiteX5200" y="connsiteY5200"/>
                </a:cxn>
                <a:cxn ang="0">
                  <a:pos x="connsiteX5201" y="connsiteY5201"/>
                </a:cxn>
                <a:cxn ang="0">
                  <a:pos x="connsiteX5202" y="connsiteY5202"/>
                </a:cxn>
                <a:cxn ang="0">
                  <a:pos x="connsiteX5203" y="connsiteY5203"/>
                </a:cxn>
                <a:cxn ang="0">
                  <a:pos x="connsiteX5204" y="connsiteY5204"/>
                </a:cxn>
                <a:cxn ang="0">
                  <a:pos x="connsiteX5205" y="connsiteY5205"/>
                </a:cxn>
                <a:cxn ang="0">
                  <a:pos x="connsiteX5206" y="connsiteY5206"/>
                </a:cxn>
                <a:cxn ang="0">
                  <a:pos x="connsiteX5207" y="connsiteY5207"/>
                </a:cxn>
                <a:cxn ang="0">
                  <a:pos x="connsiteX5208" y="connsiteY5208"/>
                </a:cxn>
                <a:cxn ang="0">
                  <a:pos x="connsiteX5209" y="connsiteY5209"/>
                </a:cxn>
                <a:cxn ang="0">
                  <a:pos x="connsiteX5210" y="connsiteY5210"/>
                </a:cxn>
                <a:cxn ang="0">
                  <a:pos x="connsiteX5211" y="connsiteY5211"/>
                </a:cxn>
                <a:cxn ang="0">
                  <a:pos x="connsiteX5212" y="connsiteY5212"/>
                </a:cxn>
                <a:cxn ang="0">
                  <a:pos x="connsiteX5213" y="connsiteY5213"/>
                </a:cxn>
                <a:cxn ang="0">
                  <a:pos x="connsiteX5214" y="connsiteY5214"/>
                </a:cxn>
                <a:cxn ang="0">
                  <a:pos x="connsiteX5215" y="connsiteY5215"/>
                </a:cxn>
                <a:cxn ang="0">
                  <a:pos x="connsiteX5216" y="connsiteY5216"/>
                </a:cxn>
                <a:cxn ang="0">
                  <a:pos x="connsiteX5217" y="connsiteY5217"/>
                </a:cxn>
                <a:cxn ang="0">
                  <a:pos x="connsiteX5218" y="connsiteY5218"/>
                </a:cxn>
                <a:cxn ang="0">
                  <a:pos x="connsiteX5219" y="connsiteY5219"/>
                </a:cxn>
                <a:cxn ang="0">
                  <a:pos x="connsiteX5220" y="connsiteY5220"/>
                </a:cxn>
                <a:cxn ang="0">
                  <a:pos x="connsiteX5221" y="connsiteY5221"/>
                </a:cxn>
                <a:cxn ang="0">
                  <a:pos x="connsiteX5222" y="connsiteY5222"/>
                </a:cxn>
                <a:cxn ang="0">
                  <a:pos x="connsiteX5223" y="connsiteY5223"/>
                </a:cxn>
                <a:cxn ang="0">
                  <a:pos x="connsiteX5224" y="connsiteY5224"/>
                </a:cxn>
                <a:cxn ang="0">
                  <a:pos x="connsiteX5225" y="connsiteY5225"/>
                </a:cxn>
                <a:cxn ang="0">
                  <a:pos x="connsiteX5226" y="connsiteY5226"/>
                </a:cxn>
                <a:cxn ang="0">
                  <a:pos x="connsiteX5227" y="connsiteY5227"/>
                </a:cxn>
                <a:cxn ang="0">
                  <a:pos x="connsiteX5228" y="connsiteY5228"/>
                </a:cxn>
                <a:cxn ang="0">
                  <a:pos x="connsiteX5229" y="connsiteY5229"/>
                </a:cxn>
                <a:cxn ang="0">
                  <a:pos x="connsiteX5230" y="connsiteY5230"/>
                </a:cxn>
                <a:cxn ang="0">
                  <a:pos x="connsiteX5231" y="connsiteY5231"/>
                </a:cxn>
                <a:cxn ang="0">
                  <a:pos x="connsiteX5232" y="connsiteY5232"/>
                </a:cxn>
                <a:cxn ang="0">
                  <a:pos x="connsiteX5233" y="connsiteY5233"/>
                </a:cxn>
                <a:cxn ang="0">
                  <a:pos x="connsiteX5234" y="connsiteY5234"/>
                </a:cxn>
                <a:cxn ang="0">
                  <a:pos x="connsiteX5235" y="connsiteY5235"/>
                </a:cxn>
                <a:cxn ang="0">
                  <a:pos x="connsiteX5236" y="connsiteY5236"/>
                </a:cxn>
                <a:cxn ang="0">
                  <a:pos x="connsiteX5237" y="connsiteY5237"/>
                </a:cxn>
                <a:cxn ang="0">
                  <a:pos x="connsiteX5238" y="connsiteY5238"/>
                </a:cxn>
                <a:cxn ang="0">
                  <a:pos x="connsiteX5239" y="connsiteY5239"/>
                </a:cxn>
                <a:cxn ang="0">
                  <a:pos x="connsiteX5240" y="connsiteY5240"/>
                </a:cxn>
                <a:cxn ang="0">
                  <a:pos x="connsiteX5241" y="connsiteY5241"/>
                </a:cxn>
                <a:cxn ang="0">
                  <a:pos x="connsiteX5242" y="connsiteY5242"/>
                </a:cxn>
                <a:cxn ang="0">
                  <a:pos x="connsiteX5243" y="connsiteY5243"/>
                </a:cxn>
                <a:cxn ang="0">
                  <a:pos x="connsiteX5244" y="connsiteY5244"/>
                </a:cxn>
                <a:cxn ang="0">
                  <a:pos x="connsiteX5245" y="connsiteY5245"/>
                </a:cxn>
                <a:cxn ang="0">
                  <a:pos x="connsiteX5246" y="connsiteY5246"/>
                </a:cxn>
                <a:cxn ang="0">
                  <a:pos x="connsiteX5247" y="connsiteY5247"/>
                </a:cxn>
                <a:cxn ang="0">
                  <a:pos x="connsiteX5248" y="connsiteY5248"/>
                </a:cxn>
                <a:cxn ang="0">
                  <a:pos x="connsiteX5249" y="connsiteY5249"/>
                </a:cxn>
                <a:cxn ang="0">
                  <a:pos x="connsiteX5250" y="connsiteY5250"/>
                </a:cxn>
                <a:cxn ang="0">
                  <a:pos x="connsiteX5251" y="connsiteY5251"/>
                </a:cxn>
                <a:cxn ang="0">
                  <a:pos x="connsiteX5252" y="connsiteY5252"/>
                </a:cxn>
                <a:cxn ang="0">
                  <a:pos x="connsiteX5253" y="connsiteY5253"/>
                </a:cxn>
                <a:cxn ang="0">
                  <a:pos x="connsiteX5254" y="connsiteY5254"/>
                </a:cxn>
                <a:cxn ang="0">
                  <a:pos x="connsiteX5255" y="connsiteY5255"/>
                </a:cxn>
                <a:cxn ang="0">
                  <a:pos x="connsiteX5256" y="connsiteY5256"/>
                </a:cxn>
                <a:cxn ang="0">
                  <a:pos x="connsiteX5257" y="connsiteY5257"/>
                </a:cxn>
                <a:cxn ang="0">
                  <a:pos x="connsiteX5258" y="connsiteY5258"/>
                </a:cxn>
                <a:cxn ang="0">
                  <a:pos x="connsiteX5259" y="connsiteY5259"/>
                </a:cxn>
                <a:cxn ang="0">
                  <a:pos x="connsiteX5260" y="connsiteY5260"/>
                </a:cxn>
                <a:cxn ang="0">
                  <a:pos x="connsiteX5261" y="connsiteY5261"/>
                </a:cxn>
                <a:cxn ang="0">
                  <a:pos x="connsiteX5262" y="connsiteY5262"/>
                </a:cxn>
                <a:cxn ang="0">
                  <a:pos x="connsiteX5263" y="connsiteY5263"/>
                </a:cxn>
                <a:cxn ang="0">
                  <a:pos x="connsiteX5264" y="connsiteY5264"/>
                </a:cxn>
                <a:cxn ang="0">
                  <a:pos x="connsiteX5265" y="connsiteY5265"/>
                </a:cxn>
                <a:cxn ang="0">
                  <a:pos x="connsiteX5266" y="connsiteY5266"/>
                </a:cxn>
                <a:cxn ang="0">
                  <a:pos x="connsiteX5267" y="connsiteY5267"/>
                </a:cxn>
                <a:cxn ang="0">
                  <a:pos x="connsiteX5268" y="connsiteY5268"/>
                </a:cxn>
                <a:cxn ang="0">
                  <a:pos x="connsiteX5269" y="connsiteY5269"/>
                </a:cxn>
                <a:cxn ang="0">
                  <a:pos x="connsiteX5270" y="connsiteY5270"/>
                </a:cxn>
                <a:cxn ang="0">
                  <a:pos x="connsiteX5271" y="connsiteY5271"/>
                </a:cxn>
                <a:cxn ang="0">
                  <a:pos x="connsiteX5272" y="connsiteY5272"/>
                </a:cxn>
                <a:cxn ang="0">
                  <a:pos x="connsiteX5273" y="connsiteY5273"/>
                </a:cxn>
                <a:cxn ang="0">
                  <a:pos x="connsiteX5274" y="connsiteY5274"/>
                </a:cxn>
                <a:cxn ang="0">
                  <a:pos x="connsiteX5275" y="connsiteY5275"/>
                </a:cxn>
                <a:cxn ang="0">
                  <a:pos x="connsiteX5276" y="connsiteY5276"/>
                </a:cxn>
                <a:cxn ang="0">
                  <a:pos x="connsiteX5277" y="connsiteY5277"/>
                </a:cxn>
                <a:cxn ang="0">
                  <a:pos x="connsiteX5278" y="connsiteY5278"/>
                </a:cxn>
                <a:cxn ang="0">
                  <a:pos x="connsiteX5279" y="connsiteY5279"/>
                </a:cxn>
                <a:cxn ang="0">
                  <a:pos x="connsiteX5280" y="connsiteY5280"/>
                </a:cxn>
                <a:cxn ang="0">
                  <a:pos x="connsiteX5281" y="connsiteY5281"/>
                </a:cxn>
                <a:cxn ang="0">
                  <a:pos x="connsiteX5282" y="connsiteY5282"/>
                </a:cxn>
                <a:cxn ang="0">
                  <a:pos x="connsiteX5283" y="connsiteY5283"/>
                </a:cxn>
                <a:cxn ang="0">
                  <a:pos x="connsiteX5284" y="connsiteY5284"/>
                </a:cxn>
                <a:cxn ang="0">
                  <a:pos x="connsiteX5285" y="connsiteY5285"/>
                </a:cxn>
                <a:cxn ang="0">
                  <a:pos x="connsiteX5286" y="connsiteY5286"/>
                </a:cxn>
                <a:cxn ang="0">
                  <a:pos x="connsiteX5287" y="connsiteY5287"/>
                </a:cxn>
                <a:cxn ang="0">
                  <a:pos x="connsiteX5288" y="connsiteY5288"/>
                </a:cxn>
                <a:cxn ang="0">
                  <a:pos x="connsiteX5289" y="connsiteY5289"/>
                </a:cxn>
                <a:cxn ang="0">
                  <a:pos x="connsiteX5290" y="connsiteY5290"/>
                </a:cxn>
                <a:cxn ang="0">
                  <a:pos x="connsiteX5291" y="connsiteY5291"/>
                </a:cxn>
                <a:cxn ang="0">
                  <a:pos x="connsiteX5292" y="connsiteY5292"/>
                </a:cxn>
                <a:cxn ang="0">
                  <a:pos x="connsiteX5293" y="connsiteY5293"/>
                </a:cxn>
                <a:cxn ang="0">
                  <a:pos x="connsiteX5294" y="connsiteY5294"/>
                </a:cxn>
                <a:cxn ang="0">
                  <a:pos x="connsiteX5295" y="connsiteY5295"/>
                </a:cxn>
                <a:cxn ang="0">
                  <a:pos x="connsiteX5296" y="connsiteY5296"/>
                </a:cxn>
                <a:cxn ang="0">
                  <a:pos x="connsiteX5297" y="connsiteY5297"/>
                </a:cxn>
                <a:cxn ang="0">
                  <a:pos x="connsiteX5298" y="connsiteY5298"/>
                </a:cxn>
                <a:cxn ang="0">
                  <a:pos x="connsiteX5299" y="connsiteY5299"/>
                </a:cxn>
                <a:cxn ang="0">
                  <a:pos x="connsiteX5300" y="connsiteY5300"/>
                </a:cxn>
                <a:cxn ang="0">
                  <a:pos x="connsiteX5301" y="connsiteY5301"/>
                </a:cxn>
                <a:cxn ang="0">
                  <a:pos x="connsiteX5302" y="connsiteY5302"/>
                </a:cxn>
                <a:cxn ang="0">
                  <a:pos x="connsiteX5303" y="connsiteY5303"/>
                </a:cxn>
                <a:cxn ang="0">
                  <a:pos x="connsiteX5304" y="connsiteY5304"/>
                </a:cxn>
                <a:cxn ang="0">
                  <a:pos x="connsiteX5305" y="connsiteY5305"/>
                </a:cxn>
                <a:cxn ang="0">
                  <a:pos x="connsiteX5306" y="connsiteY5306"/>
                </a:cxn>
                <a:cxn ang="0">
                  <a:pos x="connsiteX5307" y="connsiteY5307"/>
                </a:cxn>
                <a:cxn ang="0">
                  <a:pos x="connsiteX5308" y="connsiteY5308"/>
                </a:cxn>
                <a:cxn ang="0">
                  <a:pos x="connsiteX5309" y="connsiteY5309"/>
                </a:cxn>
                <a:cxn ang="0">
                  <a:pos x="connsiteX5310" y="connsiteY5310"/>
                </a:cxn>
                <a:cxn ang="0">
                  <a:pos x="connsiteX5311" y="connsiteY5311"/>
                </a:cxn>
                <a:cxn ang="0">
                  <a:pos x="connsiteX5312" y="connsiteY5312"/>
                </a:cxn>
                <a:cxn ang="0">
                  <a:pos x="connsiteX5313" y="connsiteY5313"/>
                </a:cxn>
                <a:cxn ang="0">
                  <a:pos x="connsiteX5314" y="connsiteY5314"/>
                </a:cxn>
                <a:cxn ang="0">
                  <a:pos x="connsiteX5315" y="connsiteY5315"/>
                </a:cxn>
                <a:cxn ang="0">
                  <a:pos x="connsiteX5316" y="connsiteY5316"/>
                </a:cxn>
                <a:cxn ang="0">
                  <a:pos x="connsiteX5317" y="connsiteY5317"/>
                </a:cxn>
                <a:cxn ang="0">
                  <a:pos x="connsiteX5318" y="connsiteY5318"/>
                </a:cxn>
                <a:cxn ang="0">
                  <a:pos x="connsiteX5319" y="connsiteY5319"/>
                </a:cxn>
                <a:cxn ang="0">
                  <a:pos x="connsiteX5320" y="connsiteY5320"/>
                </a:cxn>
                <a:cxn ang="0">
                  <a:pos x="connsiteX5321" y="connsiteY5321"/>
                </a:cxn>
                <a:cxn ang="0">
                  <a:pos x="connsiteX5322" y="connsiteY5322"/>
                </a:cxn>
                <a:cxn ang="0">
                  <a:pos x="connsiteX5323" y="connsiteY5323"/>
                </a:cxn>
                <a:cxn ang="0">
                  <a:pos x="connsiteX5324" y="connsiteY5324"/>
                </a:cxn>
                <a:cxn ang="0">
                  <a:pos x="connsiteX5325" y="connsiteY5325"/>
                </a:cxn>
                <a:cxn ang="0">
                  <a:pos x="connsiteX5326" y="connsiteY5326"/>
                </a:cxn>
                <a:cxn ang="0">
                  <a:pos x="connsiteX5327" y="connsiteY5327"/>
                </a:cxn>
                <a:cxn ang="0">
                  <a:pos x="connsiteX5328" y="connsiteY5328"/>
                </a:cxn>
                <a:cxn ang="0">
                  <a:pos x="connsiteX5329" y="connsiteY5329"/>
                </a:cxn>
                <a:cxn ang="0">
                  <a:pos x="connsiteX5330" y="connsiteY5330"/>
                </a:cxn>
                <a:cxn ang="0">
                  <a:pos x="connsiteX5331" y="connsiteY5331"/>
                </a:cxn>
                <a:cxn ang="0">
                  <a:pos x="connsiteX5332" y="connsiteY5332"/>
                </a:cxn>
                <a:cxn ang="0">
                  <a:pos x="connsiteX5333" y="connsiteY5333"/>
                </a:cxn>
                <a:cxn ang="0">
                  <a:pos x="connsiteX5334" y="connsiteY5334"/>
                </a:cxn>
                <a:cxn ang="0">
                  <a:pos x="connsiteX5335" y="connsiteY5335"/>
                </a:cxn>
                <a:cxn ang="0">
                  <a:pos x="connsiteX5336" y="connsiteY5336"/>
                </a:cxn>
                <a:cxn ang="0">
                  <a:pos x="connsiteX5337" y="connsiteY5337"/>
                </a:cxn>
                <a:cxn ang="0">
                  <a:pos x="connsiteX5338" y="connsiteY5338"/>
                </a:cxn>
                <a:cxn ang="0">
                  <a:pos x="connsiteX5339" y="connsiteY5339"/>
                </a:cxn>
                <a:cxn ang="0">
                  <a:pos x="connsiteX5340" y="connsiteY5340"/>
                </a:cxn>
                <a:cxn ang="0">
                  <a:pos x="connsiteX5341" y="connsiteY5341"/>
                </a:cxn>
                <a:cxn ang="0">
                  <a:pos x="connsiteX5342" y="connsiteY5342"/>
                </a:cxn>
                <a:cxn ang="0">
                  <a:pos x="connsiteX5343" y="connsiteY5343"/>
                </a:cxn>
                <a:cxn ang="0">
                  <a:pos x="connsiteX5344" y="connsiteY5344"/>
                </a:cxn>
                <a:cxn ang="0">
                  <a:pos x="connsiteX5345" y="connsiteY5345"/>
                </a:cxn>
                <a:cxn ang="0">
                  <a:pos x="connsiteX5346" y="connsiteY5346"/>
                </a:cxn>
                <a:cxn ang="0">
                  <a:pos x="connsiteX5347" y="connsiteY5347"/>
                </a:cxn>
                <a:cxn ang="0">
                  <a:pos x="connsiteX5348" y="connsiteY5348"/>
                </a:cxn>
                <a:cxn ang="0">
                  <a:pos x="connsiteX5349" y="connsiteY5349"/>
                </a:cxn>
                <a:cxn ang="0">
                  <a:pos x="connsiteX5350" y="connsiteY5350"/>
                </a:cxn>
                <a:cxn ang="0">
                  <a:pos x="connsiteX5351" y="connsiteY5351"/>
                </a:cxn>
                <a:cxn ang="0">
                  <a:pos x="connsiteX5352" y="connsiteY5352"/>
                </a:cxn>
                <a:cxn ang="0">
                  <a:pos x="connsiteX5353" y="connsiteY5353"/>
                </a:cxn>
                <a:cxn ang="0">
                  <a:pos x="connsiteX5354" y="connsiteY5354"/>
                </a:cxn>
                <a:cxn ang="0">
                  <a:pos x="connsiteX5355" y="connsiteY5355"/>
                </a:cxn>
                <a:cxn ang="0">
                  <a:pos x="connsiteX5356" y="connsiteY5356"/>
                </a:cxn>
                <a:cxn ang="0">
                  <a:pos x="connsiteX5357" y="connsiteY5357"/>
                </a:cxn>
                <a:cxn ang="0">
                  <a:pos x="connsiteX5358" y="connsiteY5358"/>
                </a:cxn>
                <a:cxn ang="0">
                  <a:pos x="connsiteX5359" y="connsiteY5359"/>
                </a:cxn>
                <a:cxn ang="0">
                  <a:pos x="connsiteX5360" y="connsiteY5360"/>
                </a:cxn>
                <a:cxn ang="0">
                  <a:pos x="connsiteX5361" y="connsiteY5361"/>
                </a:cxn>
                <a:cxn ang="0">
                  <a:pos x="connsiteX5362" y="connsiteY5362"/>
                </a:cxn>
                <a:cxn ang="0">
                  <a:pos x="connsiteX5363" y="connsiteY5363"/>
                </a:cxn>
                <a:cxn ang="0">
                  <a:pos x="connsiteX5364" y="connsiteY5364"/>
                </a:cxn>
                <a:cxn ang="0">
                  <a:pos x="connsiteX5365" y="connsiteY5365"/>
                </a:cxn>
                <a:cxn ang="0">
                  <a:pos x="connsiteX5366" y="connsiteY5366"/>
                </a:cxn>
                <a:cxn ang="0">
                  <a:pos x="connsiteX5367" y="connsiteY5367"/>
                </a:cxn>
                <a:cxn ang="0">
                  <a:pos x="connsiteX5368" y="connsiteY5368"/>
                </a:cxn>
                <a:cxn ang="0">
                  <a:pos x="connsiteX5369" y="connsiteY5369"/>
                </a:cxn>
                <a:cxn ang="0">
                  <a:pos x="connsiteX5370" y="connsiteY5370"/>
                </a:cxn>
                <a:cxn ang="0">
                  <a:pos x="connsiteX5371" y="connsiteY5371"/>
                </a:cxn>
                <a:cxn ang="0">
                  <a:pos x="connsiteX5372" y="connsiteY5372"/>
                </a:cxn>
                <a:cxn ang="0">
                  <a:pos x="connsiteX5373" y="connsiteY5373"/>
                </a:cxn>
                <a:cxn ang="0">
                  <a:pos x="connsiteX5374" y="connsiteY5374"/>
                </a:cxn>
                <a:cxn ang="0">
                  <a:pos x="connsiteX5375" y="connsiteY5375"/>
                </a:cxn>
                <a:cxn ang="0">
                  <a:pos x="connsiteX5376" y="connsiteY5376"/>
                </a:cxn>
                <a:cxn ang="0">
                  <a:pos x="connsiteX5377" y="connsiteY5377"/>
                </a:cxn>
                <a:cxn ang="0">
                  <a:pos x="connsiteX5378" y="connsiteY5378"/>
                </a:cxn>
                <a:cxn ang="0">
                  <a:pos x="connsiteX5379" y="connsiteY5379"/>
                </a:cxn>
                <a:cxn ang="0">
                  <a:pos x="connsiteX5380" y="connsiteY5380"/>
                </a:cxn>
                <a:cxn ang="0">
                  <a:pos x="connsiteX5381" y="connsiteY5381"/>
                </a:cxn>
                <a:cxn ang="0">
                  <a:pos x="connsiteX5382" y="connsiteY5382"/>
                </a:cxn>
                <a:cxn ang="0">
                  <a:pos x="connsiteX5383" y="connsiteY5383"/>
                </a:cxn>
                <a:cxn ang="0">
                  <a:pos x="connsiteX5384" y="connsiteY5384"/>
                </a:cxn>
                <a:cxn ang="0">
                  <a:pos x="connsiteX5385" y="connsiteY5385"/>
                </a:cxn>
                <a:cxn ang="0">
                  <a:pos x="connsiteX5386" y="connsiteY5386"/>
                </a:cxn>
                <a:cxn ang="0">
                  <a:pos x="connsiteX5387" y="connsiteY5387"/>
                </a:cxn>
                <a:cxn ang="0">
                  <a:pos x="connsiteX5388" y="connsiteY5388"/>
                </a:cxn>
                <a:cxn ang="0">
                  <a:pos x="connsiteX5389" y="connsiteY5389"/>
                </a:cxn>
                <a:cxn ang="0">
                  <a:pos x="connsiteX5390" y="connsiteY5390"/>
                </a:cxn>
                <a:cxn ang="0">
                  <a:pos x="connsiteX5391" y="connsiteY5391"/>
                </a:cxn>
                <a:cxn ang="0">
                  <a:pos x="connsiteX5392" y="connsiteY5392"/>
                </a:cxn>
                <a:cxn ang="0">
                  <a:pos x="connsiteX5393" y="connsiteY5393"/>
                </a:cxn>
                <a:cxn ang="0">
                  <a:pos x="connsiteX5394" y="connsiteY5394"/>
                </a:cxn>
                <a:cxn ang="0">
                  <a:pos x="connsiteX5395" y="connsiteY5395"/>
                </a:cxn>
                <a:cxn ang="0">
                  <a:pos x="connsiteX5396" y="connsiteY5396"/>
                </a:cxn>
                <a:cxn ang="0">
                  <a:pos x="connsiteX5397" y="connsiteY5397"/>
                </a:cxn>
                <a:cxn ang="0">
                  <a:pos x="connsiteX5398" y="connsiteY5398"/>
                </a:cxn>
                <a:cxn ang="0">
                  <a:pos x="connsiteX5399" y="connsiteY5399"/>
                </a:cxn>
                <a:cxn ang="0">
                  <a:pos x="connsiteX5400" y="connsiteY5400"/>
                </a:cxn>
                <a:cxn ang="0">
                  <a:pos x="connsiteX5401" y="connsiteY5401"/>
                </a:cxn>
                <a:cxn ang="0">
                  <a:pos x="connsiteX5402" y="connsiteY5402"/>
                </a:cxn>
                <a:cxn ang="0">
                  <a:pos x="connsiteX5403" y="connsiteY5403"/>
                </a:cxn>
                <a:cxn ang="0">
                  <a:pos x="connsiteX5404" y="connsiteY5404"/>
                </a:cxn>
                <a:cxn ang="0">
                  <a:pos x="connsiteX5405" y="connsiteY5405"/>
                </a:cxn>
                <a:cxn ang="0">
                  <a:pos x="connsiteX5406" y="connsiteY5406"/>
                </a:cxn>
                <a:cxn ang="0">
                  <a:pos x="connsiteX5407" y="connsiteY5407"/>
                </a:cxn>
                <a:cxn ang="0">
                  <a:pos x="connsiteX5408" y="connsiteY5408"/>
                </a:cxn>
                <a:cxn ang="0">
                  <a:pos x="connsiteX5409" y="connsiteY5409"/>
                </a:cxn>
                <a:cxn ang="0">
                  <a:pos x="connsiteX5410" y="connsiteY5410"/>
                </a:cxn>
                <a:cxn ang="0">
                  <a:pos x="connsiteX5411" y="connsiteY5411"/>
                </a:cxn>
                <a:cxn ang="0">
                  <a:pos x="connsiteX5412" y="connsiteY5412"/>
                </a:cxn>
                <a:cxn ang="0">
                  <a:pos x="connsiteX5413" y="connsiteY5413"/>
                </a:cxn>
                <a:cxn ang="0">
                  <a:pos x="connsiteX5414" y="connsiteY5414"/>
                </a:cxn>
                <a:cxn ang="0">
                  <a:pos x="connsiteX5415" y="connsiteY5415"/>
                </a:cxn>
                <a:cxn ang="0">
                  <a:pos x="connsiteX5416" y="connsiteY5416"/>
                </a:cxn>
                <a:cxn ang="0">
                  <a:pos x="connsiteX5417" y="connsiteY5417"/>
                </a:cxn>
                <a:cxn ang="0">
                  <a:pos x="connsiteX5418" y="connsiteY5418"/>
                </a:cxn>
                <a:cxn ang="0">
                  <a:pos x="connsiteX5419" y="connsiteY5419"/>
                </a:cxn>
                <a:cxn ang="0">
                  <a:pos x="connsiteX5420" y="connsiteY5420"/>
                </a:cxn>
                <a:cxn ang="0">
                  <a:pos x="connsiteX5421" y="connsiteY5421"/>
                </a:cxn>
                <a:cxn ang="0">
                  <a:pos x="connsiteX5422" y="connsiteY5422"/>
                </a:cxn>
                <a:cxn ang="0">
                  <a:pos x="connsiteX5423" y="connsiteY5423"/>
                </a:cxn>
                <a:cxn ang="0">
                  <a:pos x="connsiteX5424" y="connsiteY5424"/>
                </a:cxn>
                <a:cxn ang="0">
                  <a:pos x="connsiteX5425" y="connsiteY5425"/>
                </a:cxn>
                <a:cxn ang="0">
                  <a:pos x="connsiteX5426" y="connsiteY5426"/>
                </a:cxn>
                <a:cxn ang="0">
                  <a:pos x="connsiteX5427" y="connsiteY5427"/>
                </a:cxn>
                <a:cxn ang="0">
                  <a:pos x="connsiteX5428" y="connsiteY5428"/>
                </a:cxn>
                <a:cxn ang="0">
                  <a:pos x="connsiteX5429" y="connsiteY5429"/>
                </a:cxn>
                <a:cxn ang="0">
                  <a:pos x="connsiteX5430" y="connsiteY5430"/>
                </a:cxn>
                <a:cxn ang="0">
                  <a:pos x="connsiteX5431" y="connsiteY5431"/>
                </a:cxn>
                <a:cxn ang="0">
                  <a:pos x="connsiteX5432" y="connsiteY5432"/>
                </a:cxn>
                <a:cxn ang="0">
                  <a:pos x="connsiteX5433" y="connsiteY5433"/>
                </a:cxn>
                <a:cxn ang="0">
                  <a:pos x="connsiteX5434" y="connsiteY5434"/>
                </a:cxn>
                <a:cxn ang="0">
                  <a:pos x="connsiteX5435" y="connsiteY5435"/>
                </a:cxn>
                <a:cxn ang="0">
                  <a:pos x="connsiteX5436" y="connsiteY5436"/>
                </a:cxn>
                <a:cxn ang="0">
                  <a:pos x="connsiteX5437" y="connsiteY5437"/>
                </a:cxn>
                <a:cxn ang="0">
                  <a:pos x="connsiteX5438" y="connsiteY5438"/>
                </a:cxn>
                <a:cxn ang="0">
                  <a:pos x="connsiteX5439" y="connsiteY5439"/>
                </a:cxn>
                <a:cxn ang="0">
                  <a:pos x="connsiteX5440" y="connsiteY5440"/>
                </a:cxn>
                <a:cxn ang="0">
                  <a:pos x="connsiteX5441" y="connsiteY5441"/>
                </a:cxn>
                <a:cxn ang="0">
                  <a:pos x="connsiteX5442" y="connsiteY5442"/>
                </a:cxn>
                <a:cxn ang="0">
                  <a:pos x="connsiteX5443" y="connsiteY5443"/>
                </a:cxn>
                <a:cxn ang="0">
                  <a:pos x="connsiteX5444" y="connsiteY5444"/>
                </a:cxn>
                <a:cxn ang="0">
                  <a:pos x="connsiteX5445" y="connsiteY5445"/>
                </a:cxn>
                <a:cxn ang="0">
                  <a:pos x="connsiteX5446" y="connsiteY5446"/>
                </a:cxn>
                <a:cxn ang="0">
                  <a:pos x="connsiteX5447" y="connsiteY5447"/>
                </a:cxn>
                <a:cxn ang="0">
                  <a:pos x="connsiteX5448" y="connsiteY5448"/>
                </a:cxn>
                <a:cxn ang="0">
                  <a:pos x="connsiteX5449" y="connsiteY5449"/>
                </a:cxn>
                <a:cxn ang="0">
                  <a:pos x="connsiteX5450" y="connsiteY5450"/>
                </a:cxn>
                <a:cxn ang="0">
                  <a:pos x="connsiteX5451" y="connsiteY5451"/>
                </a:cxn>
                <a:cxn ang="0">
                  <a:pos x="connsiteX5452" y="connsiteY5452"/>
                </a:cxn>
                <a:cxn ang="0">
                  <a:pos x="connsiteX5453" y="connsiteY5453"/>
                </a:cxn>
                <a:cxn ang="0">
                  <a:pos x="connsiteX5454" y="connsiteY5454"/>
                </a:cxn>
                <a:cxn ang="0">
                  <a:pos x="connsiteX5455" y="connsiteY5455"/>
                </a:cxn>
                <a:cxn ang="0">
                  <a:pos x="connsiteX5456" y="connsiteY5456"/>
                </a:cxn>
                <a:cxn ang="0">
                  <a:pos x="connsiteX5457" y="connsiteY5457"/>
                </a:cxn>
                <a:cxn ang="0">
                  <a:pos x="connsiteX5458" y="connsiteY5458"/>
                </a:cxn>
                <a:cxn ang="0">
                  <a:pos x="connsiteX5459" y="connsiteY5459"/>
                </a:cxn>
                <a:cxn ang="0">
                  <a:pos x="connsiteX5460" y="connsiteY5460"/>
                </a:cxn>
                <a:cxn ang="0">
                  <a:pos x="connsiteX5461" y="connsiteY5461"/>
                </a:cxn>
                <a:cxn ang="0">
                  <a:pos x="connsiteX5462" y="connsiteY5462"/>
                </a:cxn>
                <a:cxn ang="0">
                  <a:pos x="connsiteX5463" y="connsiteY5463"/>
                </a:cxn>
                <a:cxn ang="0">
                  <a:pos x="connsiteX5464" y="connsiteY5464"/>
                </a:cxn>
                <a:cxn ang="0">
                  <a:pos x="connsiteX5465" y="connsiteY5465"/>
                </a:cxn>
                <a:cxn ang="0">
                  <a:pos x="connsiteX5466" y="connsiteY5466"/>
                </a:cxn>
                <a:cxn ang="0">
                  <a:pos x="connsiteX5467" y="connsiteY5467"/>
                </a:cxn>
                <a:cxn ang="0">
                  <a:pos x="connsiteX5468" y="connsiteY5468"/>
                </a:cxn>
                <a:cxn ang="0">
                  <a:pos x="connsiteX5469" y="connsiteY5469"/>
                </a:cxn>
                <a:cxn ang="0">
                  <a:pos x="connsiteX5470" y="connsiteY5470"/>
                </a:cxn>
                <a:cxn ang="0">
                  <a:pos x="connsiteX5471" y="connsiteY5471"/>
                </a:cxn>
                <a:cxn ang="0">
                  <a:pos x="connsiteX5472" y="connsiteY5472"/>
                </a:cxn>
                <a:cxn ang="0">
                  <a:pos x="connsiteX5473" y="connsiteY5473"/>
                </a:cxn>
                <a:cxn ang="0">
                  <a:pos x="connsiteX5474" y="connsiteY5474"/>
                </a:cxn>
                <a:cxn ang="0">
                  <a:pos x="connsiteX5475" y="connsiteY5475"/>
                </a:cxn>
                <a:cxn ang="0">
                  <a:pos x="connsiteX5476" y="connsiteY5476"/>
                </a:cxn>
                <a:cxn ang="0">
                  <a:pos x="connsiteX5477" y="connsiteY5477"/>
                </a:cxn>
                <a:cxn ang="0">
                  <a:pos x="connsiteX5478" y="connsiteY5478"/>
                </a:cxn>
                <a:cxn ang="0">
                  <a:pos x="connsiteX5479" y="connsiteY5479"/>
                </a:cxn>
                <a:cxn ang="0">
                  <a:pos x="connsiteX5480" y="connsiteY5480"/>
                </a:cxn>
                <a:cxn ang="0">
                  <a:pos x="connsiteX5481" y="connsiteY5481"/>
                </a:cxn>
                <a:cxn ang="0">
                  <a:pos x="connsiteX5482" y="connsiteY5482"/>
                </a:cxn>
                <a:cxn ang="0">
                  <a:pos x="connsiteX5483" y="connsiteY5483"/>
                </a:cxn>
                <a:cxn ang="0">
                  <a:pos x="connsiteX5484" y="connsiteY5484"/>
                </a:cxn>
                <a:cxn ang="0">
                  <a:pos x="connsiteX5485" y="connsiteY5485"/>
                </a:cxn>
                <a:cxn ang="0">
                  <a:pos x="connsiteX5486" y="connsiteY5486"/>
                </a:cxn>
                <a:cxn ang="0">
                  <a:pos x="connsiteX5487" y="connsiteY5487"/>
                </a:cxn>
                <a:cxn ang="0">
                  <a:pos x="connsiteX5488" y="connsiteY5488"/>
                </a:cxn>
                <a:cxn ang="0">
                  <a:pos x="connsiteX5489" y="connsiteY5489"/>
                </a:cxn>
                <a:cxn ang="0">
                  <a:pos x="connsiteX5490" y="connsiteY5490"/>
                </a:cxn>
                <a:cxn ang="0">
                  <a:pos x="connsiteX5491" y="connsiteY5491"/>
                </a:cxn>
                <a:cxn ang="0">
                  <a:pos x="connsiteX5492" y="connsiteY5492"/>
                </a:cxn>
                <a:cxn ang="0">
                  <a:pos x="connsiteX5493" y="connsiteY5493"/>
                </a:cxn>
                <a:cxn ang="0">
                  <a:pos x="connsiteX5494" y="connsiteY5494"/>
                </a:cxn>
                <a:cxn ang="0">
                  <a:pos x="connsiteX5495" y="connsiteY5495"/>
                </a:cxn>
                <a:cxn ang="0">
                  <a:pos x="connsiteX5496" y="connsiteY5496"/>
                </a:cxn>
                <a:cxn ang="0">
                  <a:pos x="connsiteX5497" y="connsiteY5497"/>
                </a:cxn>
                <a:cxn ang="0">
                  <a:pos x="connsiteX5498" y="connsiteY5498"/>
                </a:cxn>
                <a:cxn ang="0">
                  <a:pos x="connsiteX5499" y="connsiteY5499"/>
                </a:cxn>
                <a:cxn ang="0">
                  <a:pos x="connsiteX5500" y="connsiteY5500"/>
                </a:cxn>
                <a:cxn ang="0">
                  <a:pos x="connsiteX5501" y="connsiteY5501"/>
                </a:cxn>
                <a:cxn ang="0">
                  <a:pos x="connsiteX5502" y="connsiteY5502"/>
                </a:cxn>
                <a:cxn ang="0">
                  <a:pos x="connsiteX5503" y="connsiteY5503"/>
                </a:cxn>
                <a:cxn ang="0">
                  <a:pos x="connsiteX5504" y="connsiteY5504"/>
                </a:cxn>
                <a:cxn ang="0">
                  <a:pos x="connsiteX5505" y="connsiteY5505"/>
                </a:cxn>
                <a:cxn ang="0">
                  <a:pos x="connsiteX5506" y="connsiteY5506"/>
                </a:cxn>
                <a:cxn ang="0">
                  <a:pos x="connsiteX5507" y="connsiteY5507"/>
                </a:cxn>
                <a:cxn ang="0">
                  <a:pos x="connsiteX5508" y="connsiteY5508"/>
                </a:cxn>
                <a:cxn ang="0">
                  <a:pos x="connsiteX5509" y="connsiteY5509"/>
                </a:cxn>
                <a:cxn ang="0">
                  <a:pos x="connsiteX5510" y="connsiteY5510"/>
                </a:cxn>
                <a:cxn ang="0">
                  <a:pos x="connsiteX5511" y="connsiteY5511"/>
                </a:cxn>
                <a:cxn ang="0">
                  <a:pos x="connsiteX5512" y="connsiteY5512"/>
                </a:cxn>
                <a:cxn ang="0">
                  <a:pos x="connsiteX5513" y="connsiteY5513"/>
                </a:cxn>
                <a:cxn ang="0">
                  <a:pos x="connsiteX5514" y="connsiteY5514"/>
                </a:cxn>
                <a:cxn ang="0">
                  <a:pos x="connsiteX5515" y="connsiteY5515"/>
                </a:cxn>
                <a:cxn ang="0">
                  <a:pos x="connsiteX5516" y="connsiteY5516"/>
                </a:cxn>
                <a:cxn ang="0">
                  <a:pos x="connsiteX5517" y="connsiteY5517"/>
                </a:cxn>
                <a:cxn ang="0">
                  <a:pos x="connsiteX5518" y="connsiteY5518"/>
                </a:cxn>
                <a:cxn ang="0">
                  <a:pos x="connsiteX5519" y="connsiteY5519"/>
                </a:cxn>
                <a:cxn ang="0">
                  <a:pos x="connsiteX5520" y="connsiteY5520"/>
                </a:cxn>
                <a:cxn ang="0">
                  <a:pos x="connsiteX5521" y="connsiteY5521"/>
                </a:cxn>
                <a:cxn ang="0">
                  <a:pos x="connsiteX5522" y="connsiteY5522"/>
                </a:cxn>
                <a:cxn ang="0">
                  <a:pos x="connsiteX5523" y="connsiteY5523"/>
                </a:cxn>
                <a:cxn ang="0">
                  <a:pos x="connsiteX5524" y="connsiteY5524"/>
                </a:cxn>
                <a:cxn ang="0">
                  <a:pos x="connsiteX5525" y="connsiteY5525"/>
                </a:cxn>
                <a:cxn ang="0">
                  <a:pos x="connsiteX5526" y="connsiteY5526"/>
                </a:cxn>
                <a:cxn ang="0">
                  <a:pos x="connsiteX5527" y="connsiteY5527"/>
                </a:cxn>
                <a:cxn ang="0">
                  <a:pos x="connsiteX5528" y="connsiteY5528"/>
                </a:cxn>
                <a:cxn ang="0">
                  <a:pos x="connsiteX5529" y="connsiteY5529"/>
                </a:cxn>
                <a:cxn ang="0">
                  <a:pos x="connsiteX5530" y="connsiteY5530"/>
                </a:cxn>
                <a:cxn ang="0">
                  <a:pos x="connsiteX5531" y="connsiteY5531"/>
                </a:cxn>
                <a:cxn ang="0">
                  <a:pos x="connsiteX5532" y="connsiteY5532"/>
                </a:cxn>
                <a:cxn ang="0">
                  <a:pos x="connsiteX5533" y="connsiteY5533"/>
                </a:cxn>
                <a:cxn ang="0">
                  <a:pos x="connsiteX5534" y="connsiteY5534"/>
                </a:cxn>
                <a:cxn ang="0">
                  <a:pos x="connsiteX5535" y="connsiteY5535"/>
                </a:cxn>
                <a:cxn ang="0">
                  <a:pos x="connsiteX5536" y="connsiteY5536"/>
                </a:cxn>
                <a:cxn ang="0">
                  <a:pos x="connsiteX5537" y="connsiteY5537"/>
                </a:cxn>
                <a:cxn ang="0">
                  <a:pos x="connsiteX5538" y="connsiteY5538"/>
                </a:cxn>
                <a:cxn ang="0">
                  <a:pos x="connsiteX5539" y="connsiteY5539"/>
                </a:cxn>
                <a:cxn ang="0">
                  <a:pos x="connsiteX5540" y="connsiteY5540"/>
                </a:cxn>
                <a:cxn ang="0">
                  <a:pos x="connsiteX5541" y="connsiteY5541"/>
                </a:cxn>
                <a:cxn ang="0">
                  <a:pos x="connsiteX5542" y="connsiteY5542"/>
                </a:cxn>
                <a:cxn ang="0">
                  <a:pos x="connsiteX5543" y="connsiteY5543"/>
                </a:cxn>
                <a:cxn ang="0">
                  <a:pos x="connsiteX5544" y="connsiteY5544"/>
                </a:cxn>
                <a:cxn ang="0">
                  <a:pos x="connsiteX5545" y="connsiteY5545"/>
                </a:cxn>
                <a:cxn ang="0">
                  <a:pos x="connsiteX5546" y="connsiteY5546"/>
                </a:cxn>
                <a:cxn ang="0">
                  <a:pos x="connsiteX5547" y="connsiteY5547"/>
                </a:cxn>
                <a:cxn ang="0">
                  <a:pos x="connsiteX5548" y="connsiteY5548"/>
                </a:cxn>
                <a:cxn ang="0">
                  <a:pos x="connsiteX5549" y="connsiteY5549"/>
                </a:cxn>
                <a:cxn ang="0">
                  <a:pos x="connsiteX5550" y="connsiteY5550"/>
                </a:cxn>
                <a:cxn ang="0">
                  <a:pos x="connsiteX5551" y="connsiteY5551"/>
                </a:cxn>
                <a:cxn ang="0">
                  <a:pos x="connsiteX5552" y="connsiteY5552"/>
                </a:cxn>
                <a:cxn ang="0">
                  <a:pos x="connsiteX5553" y="connsiteY5553"/>
                </a:cxn>
                <a:cxn ang="0">
                  <a:pos x="connsiteX5554" y="connsiteY5554"/>
                </a:cxn>
                <a:cxn ang="0">
                  <a:pos x="connsiteX5555" y="connsiteY5555"/>
                </a:cxn>
                <a:cxn ang="0">
                  <a:pos x="connsiteX5556" y="connsiteY5556"/>
                </a:cxn>
                <a:cxn ang="0">
                  <a:pos x="connsiteX5557" y="connsiteY5557"/>
                </a:cxn>
                <a:cxn ang="0">
                  <a:pos x="connsiteX5558" y="connsiteY5558"/>
                </a:cxn>
                <a:cxn ang="0">
                  <a:pos x="connsiteX5559" y="connsiteY5559"/>
                </a:cxn>
                <a:cxn ang="0">
                  <a:pos x="connsiteX5560" y="connsiteY5560"/>
                </a:cxn>
                <a:cxn ang="0">
                  <a:pos x="connsiteX5561" y="connsiteY5561"/>
                </a:cxn>
                <a:cxn ang="0">
                  <a:pos x="connsiteX5562" y="connsiteY5562"/>
                </a:cxn>
                <a:cxn ang="0">
                  <a:pos x="connsiteX5563" y="connsiteY5563"/>
                </a:cxn>
                <a:cxn ang="0">
                  <a:pos x="connsiteX5564" y="connsiteY5564"/>
                </a:cxn>
                <a:cxn ang="0">
                  <a:pos x="connsiteX5565" y="connsiteY5565"/>
                </a:cxn>
                <a:cxn ang="0">
                  <a:pos x="connsiteX5566" y="connsiteY5566"/>
                </a:cxn>
                <a:cxn ang="0">
                  <a:pos x="connsiteX5567" y="connsiteY5567"/>
                </a:cxn>
                <a:cxn ang="0">
                  <a:pos x="connsiteX5568" y="connsiteY5568"/>
                </a:cxn>
                <a:cxn ang="0">
                  <a:pos x="connsiteX5569" y="connsiteY5569"/>
                </a:cxn>
                <a:cxn ang="0">
                  <a:pos x="connsiteX5570" y="connsiteY5570"/>
                </a:cxn>
                <a:cxn ang="0">
                  <a:pos x="connsiteX5571" y="connsiteY5571"/>
                </a:cxn>
                <a:cxn ang="0">
                  <a:pos x="connsiteX5572" y="connsiteY5572"/>
                </a:cxn>
                <a:cxn ang="0">
                  <a:pos x="connsiteX5573" y="connsiteY5573"/>
                </a:cxn>
                <a:cxn ang="0">
                  <a:pos x="connsiteX5574" y="connsiteY5574"/>
                </a:cxn>
                <a:cxn ang="0">
                  <a:pos x="connsiteX5575" y="connsiteY5575"/>
                </a:cxn>
                <a:cxn ang="0">
                  <a:pos x="connsiteX5576" y="connsiteY5576"/>
                </a:cxn>
                <a:cxn ang="0">
                  <a:pos x="connsiteX5577" y="connsiteY5577"/>
                </a:cxn>
                <a:cxn ang="0">
                  <a:pos x="connsiteX5578" y="connsiteY5578"/>
                </a:cxn>
                <a:cxn ang="0">
                  <a:pos x="connsiteX5579" y="connsiteY5579"/>
                </a:cxn>
                <a:cxn ang="0">
                  <a:pos x="connsiteX5580" y="connsiteY5580"/>
                </a:cxn>
                <a:cxn ang="0">
                  <a:pos x="connsiteX5581" y="connsiteY5581"/>
                </a:cxn>
                <a:cxn ang="0">
                  <a:pos x="connsiteX5582" y="connsiteY5582"/>
                </a:cxn>
                <a:cxn ang="0">
                  <a:pos x="connsiteX5583" y="connsiteY5583"/>
                </a:cxn>
                <a:cxn ang="0">
                  <a:pos x="connsiteX5584" y="connsiteY5584"/>
                </a:cxn>
                <a:cxn ang="0">
                  <a:pos x="connsiteX5585" y="connsiteY5585"/>
                </a:cxn>
                <a:cxn ang="0">
                  <a:pos x="connsiteX5586" y="connsiteY5586"/>
                </a:cxn>
                <a:cxn ang="0">
                  <a:pos x="connsiteX5587" y="connsiteY5587"/>
                </a:cxn>
                <a:cxn ang="0">
                  <a:pos x="connsiteX5588" y="connsiteY5588"/>
                </a:cxn>
                <a:cxn ang="0">
                  <a:pos x="connsiteX5589" y="connsiteY5589"/>
                </a:cxn>
                <a:cxn ang="0">
                  <a:pos x="connsiteX5590" y="connsiteY5590"/>
                </a:cxn>
                <a:cxn ang="0">
                  <a:pos x="connsiteX5591" y="connsiteY5591"/>
                </a:cxn>
                <a:cxn ang="0">
                  <a:pos x="connsiteX5592" y="connsiteY5592"/>
                </a:cxn>
                <a:cxn ang="0">
                  <a:pos x="connsiteX5593" y="connsiteY5593"/>
                </a:cxn>
                <a:cxn ang="0">
                  <a:pos x="connsiteX5594" y="connsiteY5594"/>
                </a:cxn>
                <a:cxn ang="0">
                  <a:pos x="connsiteX5595" y="connsiteY5595"/>
                </a:cxn>
                <a:cxn ang="0">
                  <a:pos x="connsiteX5596" y="connsiteY5596"/>
                </a:cxn>
                <a:cxn ang="0">
                  <a:pos x="connsiteX5597" y="connsiteY5597"/>
                </a:cxn>
                <a:cxn ang="0">
                  <a:pos x="connsiteX5598" y="connsiteY5598"/>
                </a:cxn>
                <a:cxn ang="0">
                  <a:pos x="connsiteX5599" y="connsiteY5599"/>
                </a:cxn>
                <a:cxn ang="0">
                  <a:pos x="connsiteX5600" y="connsiteY5600"/>
                </a:cxn>
                <a:cxn ang="0">
                  <a:pos x="connsiteX5601" y="connsiteY5601"/>
                </a:cxn>
                <a:cxn ang="0">
                  <a:pos x="connsiteX5602" y="connsiteY5602"/>
                </a:cxn>
                <a:cxn ang="0">
                  <a:pos x="connsiteX5603" y="connsiteY5603"/>
                </a:cxn>
                <a:cxn ang="0">
                  <a:pos x="connsiteX5604" y="connsiteY5604"/>
                </a:cxn>
                <a:cxn ang="0">
                  <a:pos x="connsiteX5605" y="connsiteY5605"/>
                </a:cxn>
                <a:cxn ang="0">
                  <a:pos x="connsiteX5606" y="connsiteY5606"/>
                </a:cxn>
                <a:cxn ang="0">
                  <a:pos x="connsiteX5607" y="connsiteY5607"/>
                </a:cxn>
                <a:cxn ang="0">
                  <a:pos x="connsiteX5608" y="connsiteY5608"/>
                </a:cxn>
                <a:cxn ang="0">
                  <a:pos x="connsiteX5609" y="connsiteY5609"/>
                </a:cxn>
                <a:cxn ang="0">
                  <a:pos x="connsiteX5610" y="connsiteY5610"/>
                </a:cxn>
                <a:cxn ang="0">
                  <a:pos x="connsiteX5611" y="connsiteY5611"/>
                </a:cxn>
                <a:cxn ang="0">
                  <a:pos x="connsiteX5612" y="connsiteY5612"/>
                </a:cxn>
                <a:cxn ang="0">
                  <a:pos x="connsiteX5613" y="connsiteY5613"/>
                </a:cxn>
                <a:cxn ang="0">
                  <a:pos x="connsiteX5614" y="connsiteY5614"/>
                </a:cxn>
                <a:cxn ang="0">
                  <a:pos x="connsiteX5615" y="connsiteY5615"/>
                </a:cxn>
                <a:cxn ang="0">
                  <a:pos x="connsiteX5616" y="connsiteY5616"/>
                </a:cxn>
                <a:cxn ang="0">
                  <a:pos x="connsiteX5617" y="connsiteY5617"/>
                </a:cxn>
                <a:cxn ang="0">
                  <a:pos x="connsiteX5618" y="connsiteY5618"/>
                </a:cxn>
                <a:cxn ang="0">
                  <a:pos x="connsiteX5619" y="connsiteY5619"/>
                </a:cxn>
                <a:cxn ang="0">
                  <a:pos x="connsiteX5620" y="connsiteY5620"/>
                </a:cxn>
                <a:cxn ang="0">
                  <a:pos x="connsiteX5621" y="connsiteY5621"/>
                </a:cxn>
                <a:cxn ang="0">
                  <a:pos x="connsiteX5622" y="connsiteY5622"/>
                </a:cxn>
                <a:cxn ang="0">
                  <a:pos x="connsiteX5623" y="connsiteY5623"/>
                </a:cxn>
                <a:cxn ang="0">
                  <a:pos x="connsiteX5624" y="connsiteY5624"/>
                </a:cxn>
                <a:cxn ang="0">
                  <a:pos x="connsiteX5625" y="connsiteY5625"/>
                </a:cxn>
                <a:cxn ang="0">
                  <a:pos x="connsiteX5626" y="connsiteY5626"/>
                </a:cxn>
                <a:cxn ang="0">
                  <a:pos x="connsiteX5627" y="connsiteY5627"/>
                </a:cxn>
                <a:cxn ang="0">
                  <a:pos x="connsiteX5628" y="connsiteY5628"/>
                </a:cxn>
                <a:cxn ang="0">
                  <a:pos x="connsiteX5629" y="connsiteY5629"/>
                </a:cxn>
                <a:cxn ang="0">
                  <a:pos x="connsiteX5630" y="connsiteY5630"/>
                </a:cxn>
                <a:cxn ang="0">
                  <a:pos x="connsiteX5631" y="connsiteY5631"/>
                </a:cxn>
                <a:cxn ang="0">
                  <a:pos x="connsiteX5632" y="connsiteY5632"/>
                </a:cxn>
                <a:cxn ang="0">
                  <a:pos x="connsiteX5633" y="connsiteY5633"/>
                </a:cxn>
                <a:cxn ang="0">
                  <a:pos x="connsiteX5634" y="connsiteY5634"/>
                </a:cxn>
                <a:cxn ang="0">
                  <a:pos x="connsiteX5635" y="connsiteY5635"/>
                </a:cxn>
                <a:cxn ang="0">
                  <a:pos x="connsiteX5636" y="connsiteY5636"/>
                </a:cxn>
                <a:cxn ang="0">
                  <a:pos x="connsiteX5637" y="connsiteY5637"/>
                </a:cxn>
                <a:cxn ang="0">
                  <a:pos x="connsiteX5638" y="connsiteY5638"/>
                </a:cxn>
                <a:cxn ang="0">
                  <a:pos x="connsiteX5639" y="connsiteY5639"/>
                </a:cxn>
                <a:cxn ang="0">
                  <a:pos x="connsiteX5640" y="connsiteY5640"/>
                </a:cxn>
                <a:cxn ang="0">
                  <a:pos x="connsiteX5641" y="connsiteY5641"/>
                </a:cxn>
                <a:cxn ang="0">
                  <a:pos x="connsiteX5642" y="connsiteY5642"/>
                </a:cxn>
                <a:cxn ang="0">
                  <a:pos x="connsiteX5643" y="connsiteY5643"/>
                </a:cxn>
                <a:cxn ang="0">
                  <a:pos x="connsiteX5644" y="connsiteY5644"/>
                </a:cxn>
                <a:cxn ang="0">
                  <a:pos x="connsiteX5645" y="connsiteY5645"/>
                </a:cxn>
                <a:cxn ang="0">
                  <a:pos x="connsiteX5646" y="connsiteY5646"/>
                </a:cxn>
                <a:cxn ang="0">
                  <a:pos x="connsiteX5647" y="connsiteY5647"/>
                </a:cxn>
                <a:cxn ang="0">
                  <a:pos x="connsiteX5648" y="connsiteY5648"/>
                </a:cxn>
                <a:cxn ang="0">
                  <a:pos x="connsiteX5649" y="connsiteY5649"/>
                </a:cxn>
                <a:cxn ang="0">
                  <a:pos x="connsiteX5650" y="connsiteY5650"/>
                </a:cxn>
                <a:cxn ang="0">
                  <a:pos x="connsiteX5651" y="connsiteY5651"/>
                </a:cxn>
                <a:cxn ang="0">
                  <a:pos x="connsiteX5652" y="connsiteY5652"/>
                </a:cxn>
                <a:cxn ang="0">
                  <a:pos x="connsiteX5653" y="connsiteY5653"/>
                </a:cxn>
                <a:cxn ang="0">
                  <a:pos x="connsiteX5654" y="connsiteY5654"/>
                </a:cxn>
                <a:cxn ang="0">
                  <a:pos x="connsiteX5655" y="connsiteY5655"/>
                </a:cxn>
                <a:cxn ang="0">
                  <a:pos x="connsiteX5656" y="connsiteY5656"/>
                </a:cxn>
                <a:cxn ang="0">
                  <a:pos x="connsiteX5657" y="connsiteY5657"/>
                </a:cxn>
                <a:cxn ang="0">
                  <a:pos x="connsiteX5658" y="connsiteY5658"/>
                </a:cxn>
                <a:cxn ang="0">
                  <a:pos x="connsiteX5659" y="connsiteY5659"/>
                </a:cxn>
                <a:cxn ang="0">
                  <a:pos x="connsiteX5660" y="connsiteY5660"/>
                </a:cxn>
                <a:cxn ang="0">
                  <a:pos x="connsiteX5661" y="connsiteY5661"/>
                </a:cxn>
                <a:cxn ang="0">
                  <a:pos x="connsiteX5662" y="connsiteY5662"/>
                </a:cxn>
                <a:cxn ang="0">
                  <a:pos x="connsiteX5663" y="connsiteY5663"/>
                </a:cxn>
                <a:cxn ang="0">
                  <a:pos x="connsiteX5664" y="connsiteY5664"/>
                </a:cxn>
                <a:cxn ang="0">
                  <a:pos x="connsiteX5665" y="connsiteY5665"/>
                </a:cxn>
                <a:cxn ang="0">
                  <a:pos x="connsiteX5666" y="connsiteY5666"/>
                </a:cxn>
                <a:cxn ang="0">
                  <a:pos x="connsiteX5667" y="connsiteY5667"/>
                </a:cxn>
                <a:cxn ang="0">
                  <a:pos x="connsiteX5668" y="connsiteY5668"/>
                </a:cxn>
                <a:cxn ang="0">
                  <a:pos x="connsiteX5669" y="connsiteY5669"/>
                </a:cxn>
                <a:cxn ang="0">
                  <a:pos x="connsiteX5670" y="connsiteY5670"/>
                </a:cxn>
                <a:cxn ang="0">
                  <a:pos x="connsiteX5671" y="connsiteY5671"/>
                </a:cxn>
                <a:cxn ang="0">
                  <a:pos x="connsiteX5672" y="connsiteY5672"/>
                </a:cxn>
                <a:cxn ang="0">
                  <a:pos x="connsiteX5673" y="connsiteY5673"/>
                </a:cxn>
                <a:cxn ang="0">
                  <a:pos x="connsiteX5674" y="connsiteY5674"/>
                </a:cxn>
                <a:cxn ang="0">
                  <a:pos x="connsiteX5675" y="connsiteY5675"/>
                </a:cxn>
                <a:cxn ang="0">
                  <a:pos x="connsiteX5676" y="connsiteY5676"/>
                </a:cxn>
                <a:cxn ang="0">
                  <a:pos x="connsiteX5677" y="connsiteY5677"/>
                </a:cxn>
                <a:cxn ang="0">
                  <a:pos x="connsiteX5678" y="connsiteY5678"/>
                </a:cxn>
                <a:cxn ang="0">
                  <a:pos x="connsiteX5679" y="connsiteY5679"/>
                </a:cxn>
                <a:cxn ang="0">
                  <a:pos x="connsiteX5680" y="connsiteY5680"/>
                </a:cxn>
                <a:cxn ang="0">
                  <a:pos x="connsiteX5681" y="connsiteY5681"/>
                </a:cxn>
                <a:cxn ang="0">
                  <a:pos x="connsiteX5682" y="connsiteY5682"/>
                </a:cxn>
                <a:cxn ang="0">
                  <a:pos x="connsiteX5683" y="connsiteY5683"/>
                </a:cxn>
                <a:cxn ang="0">
                  <a:pos x="connsiteX5684" y="connsiteY5684"/>
                </a:cxn>
                <a:cxn ang="0">
                  <a:pos x="connsiteX5685" y="connsiteY5685"/>
                </a:cxn>
                <a:cxn ang="0">
                  <a:pos x="connsiteX5686" y="connsiteY5686"/>
                </a:cxn>
                <a:cxn ang="0">
                  <a:pos x="connsiteX5687" y="connsiteY5687"/>
                </a:cxn>
                <a:cxn ang="0">
                  <a:pos x="connsiteX5688" y="connsiteY5688"/>
                </a:cxn>
                <a:cxn ang="0">
                  <a:pos x="connsiteX5689" y="connsiteY5689"/>
                </a:cxn>
                <a:cxn ang="0">
                  <a:pos x="connsiteX5690" y="connsiteY5690"/>
                </a:cxn>
                <a:cxn ang="0">
                  <a:pos x="connsiteX5691" y="connsiteY5691"/>
                </a:cxn>
                <a:cxn ang="0">
                  <a:pos x="connsiteX5692" y="connsiteY5692"/>
                </a:cxn>
                <a:cxn ang="0">
                  <a:pos x="connsiteX5693" y="connsiteY5693"/>
                </a:cxn>
                <a:cxn ang="0">
                  <a:pos x="connsiteX5694" y="connsiteY5694"/>
                </a:cxn>
                <a:cxn ang="0">
                  <a:pos x="connsiteX5695" y="connsiteY5695"/>
                </a:cxn>
                <a:cxn ang="0">
                  <a:pos x="connsiteX5696" y="connsiteY5696"/>
                </a:cxn>
                <a:cxn ang="0">
                  <a:pos x="connsiteX5697" y="connsiteY5697"/>
                </a:cxn>
                <a:cxn ang="0">
                  <a:pos x="connsiteX5698" y="connsiteY5698"/>
                </a:cxn>
                <a:cxn ang="0">
                  <a:pos x="connsiteX5699" y="connsiteY5699"/>
                </a:cxn>
                <a:cxn ang="0">
                  <a:pos x="connsiteX5700" y="connsiteY5700"/>
                </a:cxn>
                <a:cxn ang="0">
                  <a:pos x="connsiteX5701" y="connsiteY5701"/>
                </a:cxn>
                <a:cxn ang="0">
                  <a:pos x="connsiteX5702" y="connsiteY5702"/>
                </a:cxn>
                <a:cxn ang="0">
                  <a:pos x="connsiteX5703" y="connsiteY5703"/>
                </a:cxn>
                <a:cxn ang="0">
                  <a:pos x="connsiteX5704" y="connsiteY5704"/>
                </a:cxn>
                <a:cxn ang="0">
                  <a:pos x="connsiteX5705" y="connsiteY5705"/>
                </a:cxn>
                <a:cxn ang="0">
                  <a:pos x="connsiteX5706" y="connsiteY5706"/>
                </a:cxn>
                <a:cxn ang="0">
                  <a:pos x="connsiteX5707" y="connsiteY5707"/>
                </a:cxn>
                <a:cxn ang="0">
                  <a:pos x="connsiteX5708" y="connsiteY5708"/>
                </a:cxn>
                <a:cxn ang="0">
                  <a:pos x="connsiteX5709" y="connsiteY5709"/>
                </a:cxn>
                <a:cxn ang="0">
                  <a:pos x="connsiteX5710" y="connsiteY5710"/>
                </a:cxn>
                <a:cxn ang="0">
                  <a:pos x="connsiteX5711" y="connsiteY5711"/>
                </a:cxn>
                <a:cxn ang="0">
                  <a:pos x="connsiteX5712" y="connsiteY5712"/>
                </a:cxn>
                <a:cxn ang="0">
                  <a:pos x="connsiteX5713" y="connsiteY5713"/>
                </a:cxn>
                <a:cxn ang="0">
                  <a:pos x="connsiteX5714" y="connsiteY5714"/>
                </a:cxn>
                <a:cxn ang="0">
                  <a:pos x="connsiteX5715" y="connsiteY5715"/>
                </a:cxn>
                <a:cxn ang="0">
                  <a:pos x="connsiteX5716" y="connsiteY5716"/>
                </a:cxn>
                <a:cxn ang="0">
                  <a:pos x="connsiteX5717" y="connsiteY5717"/>
                </a:cxn>
                <a:cxn ang="0">
                  <a:pos x="connsiteX5718" y="connsiteY5718"/>
                </a:cxn>
                <a:cxn ang="0">
                  <a:pos x="connsiteX5719" y="connsiteY5719"/>
                </a:cxn>
                <a:cxn ang="0">
                  <a:pos x="connsiteX5720" y="connsiteY5720"/>
                </a:cxn>
                <a:cxn ang="0">
                  <a:pos x="connsiteX5721" y="connsiteY5721"/>
                </a:cxn>
                <a:cxn ang="0">
                  <a:pos x="connsiteX5722" y="connsiteY5722"/>
                </a:cxn>
                <a:cxn ang="0">
                  <a:pos x="connsiteX5723" y="connsiteY5723"/>
                </a:cxn>
                <a:cxn ang="0">
                  <a:pos x="connsiteX5724" y="connsiteY5724"/>
                </a:cxn>
                <a:cxn ang="0">
                  <a:pos x="connsiteX5725" y="connsiteY5725"/>
                </a:cxn>
                <a:cxn ang="0">
                  <a:pos x="connsiteX5726" y="connsiteY5726"/>
                </a:cxn>
                <a:cxn ang="0">
                  <a:pos x="connsiteX5727" y="connsiteY5727"/>
                </a:cxn>
                <a:cxn ang="0">
                  <a:pos x="connsiteX5728" y="connsiteY5728"/>
                </a:cxn>
                <a:cxn ang="0">
                  <a:pos x="connsiteX5729" y="connsiteY5729"/>
                </a:cxn>
                <a:cxn ang="0">
                  <a:pos x="connsiteX5730" y="connsiteY5730"/>
                </a:cxn>
                <a:cxn ang="0">
                  <a:pos x="connsiteX5731" y="connsiteY5731"/>
                </a:cxn>
                <a:cxn ang="0">
                  <a:pos x="connsiteX5732" y="connsiteY5732"/>
                </a:cxn>
                <a:cxn ang="0">
                  <a:pos x="connsiteX5733" y="connsiteY5733"/>
                </a:cxn>
                <a:cxn ang="0">
                  <a:pos x="connsiteX5734" y="connsiteY5734"/>
                </a:cxn>
                <a:cxn ang="0">
                  <a:pos x="connsiteX5735" y="connsiteY5735"/>
                </a:cxn>
                <a:cxn ang="0">
                  <a:pos x="connsiteX5736" y="connsiteY5736"/>
                </a:cxn>
                <a:cxn ang="0">
                  <a:pos x="connsiteX5737" y="connsiteY5737"/>
                </a:cxn>
                <a:cxn ang="0">
                  <a:pos x="connsiteX5738" y="connsiteY5738"/>
                </a:cxn>
                <a:cxn ang="0">
                  <a:pos x="connsiteX5739" y="connsiteY5739"/>
                </a:cxn>
                <a:cxn ang="0">
                  <a:pos x="connsiteX5740" y="connsiteY5740"/>
                </a:cxn>
                <a:cxn ang="0">
                  <a:pos x="connsiteX5741" y="connsiteY5741"/>
                </a:cxn>
                <a:cxn ang="0">
                  <a:pos x="connsiteX5742" y="connsiteY5742"/>
                </a:cxn>
                <a:cxn ang="0">
                  <a:pos x="connsiteX5743" y="connsiteY5743"/>
                </a:cxn>
                <a:cxn ang="0">
                  <a:pos x="connsiteX5744" y="connsiteY5744"/>
                </a:cxn>
                <a:cxn ang="0">
                  <a:pos x="connsiteX5745" y="connsiteY5745"/>
                </a:cxn>
                <a:cxn ang="0">
                  <a:pos x="connsiteX5746" y="connsiteY5746"/>
                </a:cxn>
                <a:cxn ang="0">
                  <a:pos x="connsiteX5747" y="connsiteY5747"/>
                </a:cxn>
                <a:cxn ang="0">
                  <a:pos x="connsiteX5748" y="connsiteY5748"/>
                </a:cxn>
                <a:cxn ang="0">
                  <a:pos x="connsiteX5749" y="connsiteY5749"/>
                </a:cxn>
                <a:cxn ang="0">
                  <a:pos x="connsiteX5750" y="connsiteY5750"/>
                </a:cxn>
                <a:cxn ang="0">
                  <a:pos x="connsiteX5751" y="connsiteY5751"/>
                </a:cxn>
                <a:cxn ang="0">
                  <a:pos x="connsiteX5752" y="connsiteY5752"/>
                </a:cxn>
                <a:cxn ang="0">
                  <a:pos x="connsiteX5753" y="connsiteY5753"/>
                </a:cxn>
                <a:cxn ang="0">
                  <a:pos x="connsiteX5754" y="connsiteY5754"/>
                </a:cxn>
                <a:cxn ang="0">
                  <a:pos x="connsiteX5755" y="connsiteY5755"/>
                </a:cxn>
                <a:cxn ang="0">
                  <a:pos x="connsiteX5756" y="connsiteY5756"/>
                </a:cxn>
                <a:cxn ang="0">
                  <a:pos x="connsiteX5757" y="connsiteY5757"/>
                </a:cxn>
                <a:cxn ang="0">
                  <a:pos x="connsiteX5758" y="connsiteY5758"/>
                </a:cxn>
                <a:cxn ang="0">
                  <a:pos x="connsiteX5759" y="connsiteY5759"/>
                </a:cxn>
                <a:cxn ang="0">
                  <a:pos x="connsiteX5760" y="connsiteY5760"/>
                </a:cxn>
                <a:cxn ang="0">
                  <a:pos x="connsiteX5761" y="connsiteY5761"/>
                </a:cxn>
                <a:cxn ang="0">
                  <a:pos x="connsiteX5762" y="connsiteY5762"/>
                </a:cxn>
                <a:cxn ang="0">
                  <a:pos x="connsiteX5763" y="connsiteY5763"/>
                </a:cxn>
                <a:cxn ang="0">
                  <a:pos x="connsiteX5764" y="connsiteY5764"/>
                </a:cxn>
                <a:cxn ang="0">
                  <a:pos x="connsiteX5765" y="connsiteY5765"/>
                </a:cxn>
                <a:cxn ang="0">
                  <a:pos x="connsiteX5766" y="connsiteY5766"/>
                </a:cxn>
                <a:cxn ang="0">
                  <a:pos x="connsiteX5767" y="connsiteY5767"/>
                </a:cxn>
                <a:cxn ang="0">
                  <a:pos x="connsiteX5768" y="connsiteY5768"/>
                </a:cxn>
                <a:cxn ang="0">
                  <a:pos x="connsiteX5769" y="connsiteY5769"/>
                </a:cxn>
                <a:cxn ang="0">
                  <a:pos x="connsiteX5770" y="connsiteY5770"/>
                </a:cxn>
                <a:cxn ang="0">
                  <a:pos x="connsiteX5771" y="connsiteY5771"/>
                </a:cxn>
                <a:cxn ang="0">
                  <a:pos x="connsiteX5772" y="connsiteY5772"/>
                </a:cxn>
                <a:cxn ang="0">
                  <a:pos x="connsiteX5773" y="connsiteY5773"/>
                </a:cxn>
                <a:cxn ang="0">
                  <a:pos x="connsiteX5774" y="connsiteY5774"/>
                </a:cxn>
                <a:cxn ang="0">
                  <a:pos x="connsiteX5775" y="connsiteY5775"/>
                </a:cxn>
                <a:cxn ang="0">
                  <a:pos x="connsiteX5776" y="connsiteY5776"/>
                </a:cxn>
                <a:cxn ang="0">
                  <a:pos x="connsiteX5777" y="connsiteY5777"/>
                </a:cxn>
                <a:cxn ang="0">
                  <a:pos x="connsiteX5778" y="connsiteY5778"/>
                </a:cxn>
                <a:cxn ang="0">
                  <a:pos x="connsiteX5779" y="connsiteY5779"/>
                </a:cxn>
                <a:cxn ang="0">
                  <a:pos x="connsiteX5780" y="connsiteY5780"/>
                </a:cxn>
                <a:cxn ang="0">
                  <a:pos x="connsiteX5781" y="connsiteY5781"/>
                </a:cxn>
                <a:cxn ang="0">
                  <a:pos x="connsiteX5782" y="connsiteY5782"/>
                </a:cxn>
                <a:cxn ang="0">
                  <a:pos x="connsiteX5783" y="connsiteY5783"/>
                </a:cxn>
                <a:cxn ang="0">
                  <a:pos x="connsiteX5784" y="connsiteY5784"/>
                </a:cxn>
                <a:cxn ang="0">
                  <a:pos x="connsiteX5785" y="connsiteY5785"/>
                </a:cxn>
                <a:cxn ang="0">
                  <a:pos x="connsiteX5786" y="connsiteY5786"/>
                </a:cxn>
                <a:cxn ang="0">
                  <a:pos x="connsiteX5787" y="connsiteY5787"/>
                </a:cxn>
                <a:cxn ang="0">
                  <a:pos x="connsiteX5788" y="connsiteY5788"/>
                </a:cxn>
                <a:cxn ang="0">
                  <a:pos x="connsiteX5789" y="connsiteY5789"/>
                </a:cxn>
                <a:cxn ang="0">
                  <a:pos x="connsiteX5790" y="connsiteY5790"/>
                </a:cxn>
                <a:cxn ang="0">
                  <a:pos x="connsiteX5791" y="connsiteY5791"/>
                </a:cxn>
                <a:cxn ang="0">
                  <a:pos x="connsiteX5792" y="connsiteY5792"/>
                </a:cxn>
                <a:cxn ang="0">
                  <a:pos x="connsiteX5793" y="connsiteY5793"/>
                </a:cxn>
                <a:cxn ang="0">
                  <a:pos x="connsiteX5794" y="connsiteY5794"/>
                </a:cxn>
                <a:cxn ang="0">
                  <a:pos x="connsiteX5795" y="connsiteY5795"/>
                </a:cxn>
                <a:cxn ang="0">
                  <a:pos x="connsiteX5796" y="connsiteY5796"/>
                </a:cxn>
                <a:cxn ang="0">
                  <a:pos x="connsiteX5797" y="connsiteY5797"/>
                </a:cxn>
                <a:cxn ang="0">
                  <a:pos x="connsiteX5798" y="connsiteY5798"/>
                </a:cxn>
                <a:cxn ang="0">
                  <a:pos x="connsiteX5799" y="connsiteY5799"/>
                </a:cxn>
                <a:cxn ang="0">
                  <a:pos x="connsiteX5800" y="connsiteY5800"/>
                </a:cxn>
                <a:cxn ang="0">
                  <a:pos x="connsiteX5801" y="connsiteY5801"/>
                </a:cxn>
                <a:cxn ang="0">
                  <a:pos x="connsiteX5802" y="connsiteY5802"/>
                </a:cxn>
                <a:cxn ang="0">
                  <a:pos x="connsiteX5803" y="connsiteY5803"/>
                </a:cxn>
                <a:cxn ang="0">
                  <a:pos x="connsiteX5804" y="connsiteY5804"/>
                </a:cxn>
                <a:cxn ang="0">
                  <a:pos x="connsiteX5805" y="connsiteY5805"/>
                </a:cxn>
                <a:cxn ang="0">
                  <a:pos x="connsiteX5806" y="connsiteY5806"/>
                </a:cxn>
                <a:cxn ang="0">
                  <a:pos x="connsiteX5807" y="connsiteY5807"/>
                </a:cxn>
                <a:cxn ang="0">
                  <a:pos x="connsiteX5808" y="connsiteY5808"/>
                </a:cxn>
                <a:cxn ang="0">
                  <a:pos x="connsiteX5809" y="connsiteY5809"/>
                </a:cxn>
                <a:cxn ang="0">
                  <a:pos x="connsiteX5810" y="connsiteY5810"/>
                </a:cxn>
                <a:cxn ang="0">
                  <a:pos x="connsiteX5811" y="connsiteY5811"/>
                </a:cxn>
                <a:cxn ang="0">
                  <a:pos x="connsiteX5812" y="connsiteY5812"/>
                </a:cxn>
                <a:cxn ang="0">
                  <a:pos x="connsiteX5813" y="connsiteY5813"/>
                </a:cxn>
                <a:cxn ang="0">
                  <a:pos x="connsiteX5814" y="connsiteY5814"/>
                </a:cxn>
                <a:cxn ang="0">
                  <a:pos x="connsiteX5815" y="connsiteY5815"/>
                </a:cxn>
                <a:cxn ang="0">
                  <a:pos x="connsiteX5816" y="connsiteY5816"/>
                </a:cxn>
                <a:cxn ang="0">
                  <a:pos x="connsiteX5817" y="connsiteY5817"/>
                </a:cxn>
                <a:cxn ang="0">
                  <a:pos x="connsiteX5818" y="connsiteY5818"/>
                </a:cxn>
                <a:cxn ang="0">
                  <a:pos x="connsiteX5819" y="connsiteY5819"/>
                </a:cxn>
                <a:cxn ang="0">
                  <a:pos x="connsiteX5820" y="connsiteY5820"/>
                </a:cxn>
                <a:cxn ang="0">
                  <a:pos x="connsiteX5821" y="connsiteY5821"/>
                </a:cxn>
                <a:cxn ang="0">
                  <a:pos x="connsiteX5822" y="connsiteY5822"/>
                </a:cxn>
                <a:cxn ang="0">
                  <a:pos x="connsiteX5823" y="connsiteY5823"/>
                </a:cxn>
                <a:cxn ang="0">
                  <a:pos x="connsiteX5824" y="connsiteY5824"/>
                </a:cxn>
                <a:cxn ang="0">
                  <a:pos x="connsiteX5825" y="connsiteY5825"/>
                </a:cxn>
                <a:cxn ang="0">
                  <a:pos x="connsiteX5826" y="connsiteY5826"/>
                </a:cxn>
                <a:cxn ang="0">
                  <a:pos x="connsiteX5827" y="connsiteY5827"/>
                </a:cxn>
                <a:cxn ang="0">
                  <a:pos x="connsiteX5828" y="connsiteY5828"/>
                </a:cxn>
                <a:cxn ang="0">
                  <a:pos x="connsiteX5829" y="connsiteY5829"/>
                </a:cxn>
                <a:cxn ang="0">
                  <a:pos x="connsiteX5830" y="connsiteY5830"/>
                </a:cxn>
                <a:cxn ang="0">
                  <a:pos x="connsiteX5831" y="connsiteY5831"/>
                </a:cxn>
                <a:cxn ang="0">
                  <a:pos x="connsiteX5832" y="connsiteY5832"/>
                </a:cxn>
                <a:cxn ang="0">
                  <a:pos x="connsiteX5833" y="connsiteY5833"/>
                </a:cxn>
                <a:cxn ang="0">
                  <a:pos x="connsiteX5834" y="connsiteY5834"/>
                </a:cxn>
                <a:cxn ang="0">
                  <a:pos x="connsiteX5835" y="connsiteY5835"/>
                </a:cxn>
                <a:cxn ang="0">
                  <a:pos x="connsiteX5836" y="connsiteY5836"/>
                </a:cxn>
                <a:cxn ang="0">
                  <a:pos x="connsiteX5837" y="connsiteY5837"/>
                </a:cxn>
                <a:cxn ang="0">
                  <a:pos x="connsiteX5838" y="connsiteY5838"/>
                </a:cxn>
                <a:cxn ang="0">
                  <a:pos x="connsiteX5839" y="connsiteY5839"/>
                </a:cxn>
                <a:cxn ang="0">
                  <a:pos x="connsiteX5840" y="connsiteY5840"/>
                </a:cxn>
                <a:cxn ang="0">
                  <a:pos x="connsiteX5841" y="connsiteY5841"/>
                </a:cxn>
                <a:cxn ang="0">
                  <a:pos x="connsiteX5842" y="connsiteY5842"/>
                </a:cxn>
                <a:cxn ang="0">
                  <a:pos x="connsiteX5843" y="connsiteY5843"/>
                </a:cxn>
                <a:cxn ang="0">
                  <a:pos x="connsiteX5844" y="connsiteY5844"/>
                </a:cxn>
                <a:cxn ang="0">
                  <a:pos x="connsiteX5845" y="connsiteY5845"/>
                </a:cxn>
                <a:cxn ang="0">
                  <a:pos x="connsiteX5846" y="connsiteY5846"/>
                </a:cxn>
                <a:cxn ang="0">
                  <a:pos x="connsiteX5847" y="connsiteY5847"/>
                </a:cxn>
                <a:cxn ang="0">
                  <a:pos x="connsiteX5848" y="connsiteY5848"/>
                </a:cxn>
                <a:cxn ang="0">
                  <a:pos x="connsiteX5849" y="connsiteY5849"/>
                </a:cxn>
                <a:cxn ang="0">
                  <a:pos x="connsiteX5850" y="connsiteY5850"/>
                </a:cxn>
                <a:cxn ang="0">
                  <a:pos x="connsiteX5851" y="connsiteY5851"/>
                </a:cxn>
                <a:cxn ang="0">
                  <a:pos x="connsiteX5852" y="connsiteY5852"/>
                </a:cxn>
                <a:cxn ang="0">
                  <a:pos x="connsiteX5853" y="connsiteY5853"/>
                </a:cxn>
                <a:cxn ang="0">
                  <a:pos x="connsiteX5854" y="connsiteY5854"/>
                </a:cxn>
                <a:cxn ang="0">
                  <a:pos x="connsiteX5855" y="connsiteY5855"/>
                </a:cxn>
                <a:cxn ang="0">
                  <a:pos x="connsiteX5856" y="connsiteY5856"/>
                </a:cxn>
                <a:cxn ang="0">
                  <a:pos x="connsiteX5857" y="connsiteY5857"/>
                </a:cxn>
                <a:cxn ang="0">
                  <a:pos x="connsiteX5858" y="connsiteY5858"/>
                </a:cxn>
                <a:cxn ang="0">
                  <a:pos x="connsiteX5859" y="connsiteY5859"/>
                </a:cxn>
                <a:cxn ang="0">
                  <a:pos x="connsiteX5860" y="connsiteY5860"/>
                </a:cxn>
                <a:cxn ang="0">
                  <a:pos x="connsiteX5861" y="connsiteY5861"/>
                </a:cxn>
                <a:cxn ang="0">
                  <a:pos x="connsiteX5862" y="connsiteY5862"/>
                </a:cxn>
                <a:cxn ang="0">
                  <a:pos x="connsiteX5863" y="connsiteY5863"/>
                </a:cxn>
                <a:cxn ang="0">
                  <a:pos x="connsiteX5864" y="connsiteY5864"/>
                </a:cxn>
                <a:cxn ang="0">
                  <a:pos x="connsiteX5865" y="connsiteY5865"/>
                </a:cxn>
                <a:cxn ang="0">
                  <a:pos x="connsiteX5866" y="connsiteY5866"/>
                </a:cxn>
                <a:cxn ang="0">
                  <a:pos x="connsiteX5867" y="connsiteY5867"/>
                </a:cxn>
                <a:cxn ang="0">
                  <a:pos x="connsiteX5868" y="connsiteY5868"/>
                </a:cxn>
                <a:cxn ang="0">
                  <a:pos x="connsiteX5869" y="connsiteY5869"/>
                </a:cxn>
                <a:cxn ang="0">
                  <a:pos x="connsiteX5870" y="connsiteY5870"/>
                </a:cxn>
                <a:cxn ang="0">
                  <a:pos x="connsiteX5871" y="connsiteY5871"/>
                </a:cxn>
                <a:cxn ang="0">
                  <a:pos x="connsiteX5872" y="connsiteY5872"/>
                </a:cxn>
                <a:cxn ang="0">
                  <a:pos x="connsiteX5873" y="connsiteY5873"/>
                </a:cxn>
                <a:cxn ang="0">
                  <a:pos x="connsiteX5874" y="connsiteY5874"/>
                </a:cxn>
                <a:cxn ang="0">
                  <a:pos x="connsiteX5875" y="connsiteY5875"/>
                </a:cxn>
                <a:cxn ang="0">
                  <a:pos x="connsiteX5876" y="connsiteY5876"/>
                </a:cxn>
                <a:cxn ang="0">
                  <a:pos x="connsiteX5877" y="connsiteY5877"/>
                </a:cxn>
                <a:cxn ang="0">
                  <a:pos x="connsiteX5878" y="connsiteY5878"/>
                </a:cxn>
                <a:cxn ang="0">
                  <a:pos x="connsiteX5879" y="connsiteY5879"/>
                </a:cxn>
                <a:cxn ang="0">
                  <a:pos x="connsiteX5880" y="connsiteY5880"/>
                </a:cxn>
                <a:cxn ang="0">
                  <a:pos x="connsiteX5881" y="connsiteY5881"/>
                </a:cxn>
                <a:cxn ang="0">
                  <a:pos x="connsiteX5882" y="connsiteY5882"/>
                </a:cxn>
                <a:cxn ang="0">
                  <a:pos x="connsiteX5883" y="connsiteY5883"/>
                </a:cxn>
                <a:cxn ang="0">
                  <a:pos x="connsiteX5884" y="connsiteY5884"/>
                </a:cxn>
                <a:cxn ang="0">
                  <a:pos x="connsiteX5885" y="connsiteY5885"/>
                </a:cxn>
                <a:cxn ang="0">
                  <a:pos x="connsiteX5886" y="connsiteY5886"/>
                </a:cxn>
                <a:cxn ang="0">
                  <a:pos x="connsiteX5887" y="connsiteY5887"/>
                </a:cxn>
                <a:cxn ang="0">
                  <a:pos x="connsiteX5888" y="connsiteY5888"/>
                </a:cxn>
                <a:cxn ang="0">
                  <a:pos x="connsiteX5889" y="connsiteY5889"/>
                </a:cxn>
                <a:cxn ang="0">
                  <a:pos x="connsiteX5890" y="connsiteY5890"/>
                </a:cxn>
                <a:cxn ang="0">
                  <a:pos x="connsiteX5891" y="connsiteY5891"/>
                </a:cxn>
                <a:cxn ang="0">
                  <a:pos x="connsiteX5892" y="connsiteY5892"/>
                </a:cxn>
                <a:cxn ang="0">
                  <a:pos x="connsiteX5893" y="connsiteY5893"/>
                </a:cxn>
                <a:cxn ang="0">
                  <a:pos x="connsiteX5894" y="connsiteY5894"/>
                </a:cxn>
                <a:cxn ang="0">
                  <a:pos x="connsiteX5895" y="connsiteY5895"/>
                </a:cxn>
                <a:cxn ang="0">
                  <a:pos x="connsiteX5896" y="connsiteY5896"/>
                </a:cxn>
                <a:cxn ang="0">
                  <a:pos x="connsiteX5897" y="connsiteY5897"/>
                </a:cxn>
                <a:cxn ang="0">
                  <a:pos x="connsiteX5898" y="connsiteY5898"/>
                </a:cxn>
                <a:cxn ang="0">
                  <a:pos x="connsiteX5899" y="connsiteY5899"/>
                </a:cxn>
                <a:cxn ang="0">
                  <a:pos x="connsiteX5900" y="connsiteY5900"/>
                </a:cxn>
                <a:cxn ang="0">
                  <a:pos x="connsiteX5901" y="connsiteY5901"/>
                </a:cxn>
                <a:cxn ang="0">
                  <a:pos x="connsiteX5902" y="connsiteY5902"/>
                </a:cxn>
                <a:cxn ang="0">
                  <a:pos x="connsiteX5903" y="connsiteY5903"/>
                </a:cxn>
                <a:cxn ang="0">
                  <a:pos x="connsiteX5904" y="connsiteY5904"/>
                </a:cxn>
                <a:cxn ang="0">
                  <a:pos x="connsiteX5905" y="connsiteY5905"/>
                </a:cxn>
                <a:cxn ang="0">
                  <a:pos x="connsiteX5906" y="connsiteY5906"/>
                </a:cxn>
                <a:cxn ang="0">
                  <a:pos x="connsiteX5907" y="connsiteY5907"/>
                </a:cxn>
                <a:cxn ang="0">
                  <a:pos x="connsiteX5908" y="connsiteY5908"/>
                </a:cxn>
                <a:cxn ang="0">
                  <a:pos x="connsiteX5909" y="connsiteY5909"/>
                </a:cxn>
                <a:cxn ang="0">
                  <a:pos x="connsiteX5910" y="connsiteY5910"/>
                </a:cxn>
                <a:cxn ang="0">
                  <a:pos x="connsiteX5911" y="connsiteY5911"/>
                </a:cxn>
                <a:cxn ang="0">
                  <a:pos x="connsiteX5912" y="connsiteY5912"/>
                </a:cxn>
                <a:cxn ang="0">
                  <a:pos x="connsiteX5913" y="connsiteY5913"/>
                </a:cxn>
                <a:cxn ang="0">
                  <a:pos x="connsiteX5914" y="connsiteY5914"/>
                </a:cxn>
                <a:cxn ang="0">
                  <a:pos x="connsiteX5915" y="connsiteY5915"/>
                </a:cxn>
                <a:cxn ang="0">
                  <a:pos x="connsiteX5916" y="connsiteY5916"/>
                </a:cxn>
                <a:cxn ang="0">
                  <a:pos x="connsiteX5917" y="connsiteY5917"/>
                </a:cxn>
                <a:cxn ang="0">
                  <a:pos x="connsiteX5918" y="connsiteY5918"/>
                </a:cxn>
                <a:cxn ang="0">
                  <a:pos x="connsiteX5919" y="connsiteY5919"/>
                </a:cxn>
                <a:cxn ang="0">
                  <a:pos x="connsiteX5920" y="connsiteY5920"/>
                </a:cxn>
                <a:cxn ang="0">
                  <a:pos x="connsiteX5921" y="connsiteY5921"/>
                </a:cxn>
                <a:cxn ang="0">
                  <a:pos x="connsiteX5922" y="connsiteY5922"/>
                </a:cxn>
                <a:cxn ang="0">
                  <a:pos x="connsiteX5923" y="connsiteY5923"/>
                </a:cxn>
                <a:cxn ang="0">
                  <a:pos x="connsiteX5924" y="connsiteY5924"/>
                </a:cxn>
                <a:cxn ang="0">
                  <a:pos x="connsiteX5925" y="connsiteY5925"/>
                </a:cxn>
                <a:cxn ang="0">
                  <a:pos x="connsiteX5926" y="connsiteY5926"/>
                </a:cxn>
                <a:cxn ang="0">
                  <a:pos x="connsiteX5927" y="connsiteY5927"/>
                </a:cxn>
                <a:cxn ang="0">
                  <a:pos x="connsiteX5928" y="connsiteY5928"/>
                </a:cxn>
                <a:cxn ang="0">
                  <a:pos x="connsiteX5929" y="connsiteY5929"/>
                </a:cxn>
                <a:cxn ang="0">
                  <a:pos x="connsiteX5930" y="connsiteY5930"/>
                </a:cxn>
                <a:cxn ang="0">
                  <a:pos x="connsiteX5931" y="connsiteY5931"/>
                </a:cxn>
                <a:cxn ang="0">
                  <a:pos x="connsiteX5932" y="connsiteY5932"/>
                </a:cxn>
                <a:cxn ang="0">
                  <a:pos x="connsiteX5933" y="connsiteY5933"/>
                </a:cxn>
                <a:cxn ang="0">
                  <a:pos x="connsiteX5934" y="connsiteY5934"/>
                </a:cxn>
                <a:cxn ang="0">
                  <a:pos x="connsiteX5935" y="connsiteY5935"/>
                </a:cxn>
                <a:cxn ang="0">
                  <a:pos x="connsiteX5936" y="connsiteY5936"/>
                </a:cxn>
                <a:cxn ang="0">
                  <a:pos x="connsiteX5937" y="connsiteY5937"/>
                </a:cxn>
                <a:cxn ang="0">
                  <a:pos x="connsiteX5938" y="connsiteY5938"/>
                </a:cxn>
                <a:cxn ang="0">
                  <a:pos x="connsiteX5939" y="connsiteY5939"/>
                </a:cxn>
                <a:cxn ang="0">
                  <a:pos x="connsiteX5940" y="connsiteY5940"/>
                </a:cxn>
                <a:cxn ang="0">
                  <a:pos x="connsiteX5941" y="connsiteY5941"/>
                </a:cxn>
                <a:cxn ang="0">
                  <a:pos x="connsiteX5942" y="connsiteY5942"/>
                </a:cxn>
                <a:cxn ang="0">
                  <a:pos x="connsiteX5943" y="connsiteY5943"/>
                </a:cxn>
                <a:cxn ang="0">
                  <a:pos x="connsiteX5944" y="connsiteY5944"/>
                </a:cxn>
                <a:cxn ang="0">
                  <a:pos x="connsiteX5945" y="connsiteY5945"/>
                </a:cxn>
                <a:cxn ang="0">
                  <a:pos x="connsiteX5946" y="connsiteY5946"/>
                </a:cxn>
                <a:cxn ang="0">
                  <a:pos x="connsiteX5947" y="connsiteY5947"/>
                </a:cxn>
                <a:cxn ang="0">
                  <a:pos x="connsiteX5948" y="connsiteY5948"/>
                </a:cxn>
                <a:cxn ang="0">
                  <a:pos x="connsiteX5949" y="connsiteY5949"/>
                </a:cxn>
                <a:cxn ang="0">
                  <a:pos x="connsiteX5950" y="connsiteY5950"/>
                </a:cxn>
                <a:cxn ang="0">
                  <a:pos x="connsiteX5951" y="connsiteY5951"/>
                </a:cxn>
                <a:cxn ang="0">
                  <a:pos x="connsiteX5952" y="connsiteY5952"/>
                </a:cxn>
                <a:cxn ang="0">
                  <a:pos x="connsiteX5953" y="connsiteY5953"/>
                </a:cxn>
                <a:cxn ang="0">
                  <a:pos x="connsiteX5954" y="connsiteY5954"/>
                </a:cxn>
                <a:cxn ang="0">
                  <a:pos x="connsiteX5955" y="connsiteY5955"/>
                </a:cxn>
                <a:cxn ang="0">
                  <a:pos x="connsiteX5956" y="connsiteY5956"/>
                </a:cxn>
                <a:cxn ang="0">
                  <a:pos x="connsiteX5957" y="connsiteY5957"/>
                </a:cxn>
                <a:cxn ang="0">
                  <a:pos x="connsiteX5958" y="connsiteY5958"/>
                </a:cxn>
                <a:cxn ang="0">
                  <a:pos x="connsiteX5959" y="connsiteY5959"/>
                </a:cxn>
                <a:cxn ang="0">
                  <a:pos x="connsiteX5960" y="connsiteY5960"/>
                </a:cxn>
                <a:cxn ang="0">
                  <a:pos x="connsiteX5961" y="connsiteY5961"/>
                </a:cxn>
                <a:cxn ang="0">
                  <a:pos x="connsiteX5962" y="connsiteY5962"/>
                </a:cxn>
                <a:cxn ang="0">
                  <a:pos x="connsiteX5963" y="connsiteY5963"/>
                </a:cxn>
                <a:cxn ang="0">
                  <a:pos x="connsiteX5964" y="connsiteY5964"/>
                </a:cxn>
                <a:cxn ang="0">
                  <a:pos x="connsiteX5965" y="connsiteY5965"/>
                </a:cxn>
                <a:cxn ang="0">
                  <a:pos x="connsiteX5966" y="connsiteY5966"/>
                </a:cxn>
                <a:cxn ang="0">
                  <a:pos x="connsiteX5967" y="connsiteY5967"/>
                </a:cxn>
                <a:cxn ang="0">
                  <a:pos x="connsiteX5968" y="connsiteY5968"/>
                </a:cxn>
                <a:cxn ang="0">
                  <a:pos x="connsiteX5969" y="connsiteY5969"/>
                </a:cxn>
                <a:cxn ang="0">
                  <a:pos x="connsiteX5970" y="connsiteY5970"/>
                </a:cxn>
                <a:cxn ang="0">
                  <a:pos x="connsiteX5971" y="connsiteY5971"/>
                </a:cxn>
                <a:cxn ang="0">
                  <a:pos x="connsiteX5972" y="connsiteY5972"/>
                </a:cxn>
                <a:cxn ang="0">
                  <a:pos x="connsiteX5973" y="connsiteY5973"/>
                </a:cxn>
                <a:cxn ang="0">
                  <a:pos x="connsiteX5974" y="connsiteY5974"/>
                </a:cxn>
                <a:cxn ang="0">
                  <a:pos x="connsiteX5975" y="connsiteY5975"/>
                </a:cxn>
                <a:cxn ang="0">
                  <a:pos x="connsiteX5976" y="connsiteY5976"/>
                </a:cxn>
                <a:cxn ang="0">
                  <a:pos x="connsiteX5977" y="connsiteY5977"/>
                </a:cxn>
                <a:cxn ang="0">
                  <a:pos x="connsiteX5978" y="connsiteY5978"/>
                </a:cxn>
                <a:cxn ang="0">
                  <a:pos x="connsiteX5979" y="connsiteY5979"/>
                </a:cxn>
                <a:cxn ang="0">
                  <a:pos x="connsiteX5980" y="connsiteY5980"/>
                </a:cxn>
                <a:cxn ang="0">
                  <a:pos x="connsiteX5981" y="connsiteY5981"/>
                </a:cxn>
                <a:cxn ang="0">
                  <a:pos x="connsiteX5982" y="connsiteY5982"/>
                </a:cxn>
                <a:cxn ang="0">
                  <a:pos x="connsiteX5983" y="connsiteY5983"/>
                </a:cxn>
                <a:cxn ang="0">
                  <a:pos x="connsiteX5984" y="connsiteY5984"/>
                </a:cxn>
                <a:cxn ang="0">
                  <a:pos x="connsiteX5985" y="connsiteY5985"/>
                </a:cxn>
                <a:cxn ang="0">
                  <a:pos x="connsiteX5986" y="connsiteY5986"/>
                </a:cxn>
                <a:cxn ang="0">
                  <a:pos x="connsiteX5987" y="connsiteY5987"/>
                </a:cxn>
                <a:cxn ang="0">
                  <a:pos x="connsiteX5988" y="connsiteY5988"/>
                </a:cxn>
                <a:cxn ang="0">
                  <a:pos x="connsiteX5989" y="connsiteY5989"/>
                </a:cxn>
                <a:cxn ang="0">
                  <a:pos x="connsiteX5990" y="connsiteY5990"/>
                </a:cxn>
                <a:cxn ang="0">
                  <a:pos x="connsiteX5991" y="connsiteY5991"/>
                </a:cxn>
                <a:cxn ang="0">
                  <a:pos x="connsiteX5992" y="connsiteY5992"/>
                </a:cxn>
                <a:cxn ang="0">
                  <a:pos x="connsiteX5993" y="connsiteY5993"/>
                </a:cxn>
                <a:cxn ang="0">
                  <a:pos x="connsiteX5994" y="connsiteY5994"/>
                </a:cxn>
                <a:cxn ang="0">
                  <a:pos x="connsiteX5995" y="connsiteY5995"/>
                </a:cxn>
                <a:cxn ang="0">
                  <a:pos x="connsiteX5996" y="connsiteY5996"/>
                </a:cxn>
                <a:cxn ang="0">
                  <a:pos x="connsiteX5997" y="connsiteY5997"/>
                </a:cxn>
                <a:cxn ang="0">
                  <a:pos x="connsiteX5998" y="connsiteY5998"/>
                </a:cxn>
                <a:cxn ang="0">
                  <a:pos x="connsiteX5999" y="connsiteY5999"/>
                </a:cxn>
                <a:cxn ang="0">
                  <a:pos x="connsiteX6000" y="connsiteY6000"/>
                </a:cxn>
                <a:cxn ang="0">
                  <a:pos x="connsiteX6001" y="connsiteY6001"/>
                </a:cxn>
                <a:cxn ang="0">
                  <a:pos x="connsiteX6002" y="connsiteY6002"/>
                </a:cxn>
                <a:cxn ang="0">
                  <a:pos x="connsiteX6003" y="connsiteY6003"/>
                </a:cxn>
                <a:cxn ang="0">
                  <a:pos x="connsiteX6004" y="connsiteY6004"/>
                </a:cxn>
                <a:cxn ang="0">
                  <a:pos x="connsiteX6005" y="connsiteY6005"/>
                </a:cxn>
                <a:cxn ang="0">
                  <a:pos x="connsiteX6006" y="connsiteY6006"/>
                </a:cxn>
                <a:cxn ang="0">
                  <a:pos x="connsiteX6007" y="connsiteY6007"/>
                </a:cxn>
                <a:cxn ang="0">
                  <a:pos x="connsiteX6008" y="connsiteY6008"/>
                </a:cxn>
                <a:cxn ang="0">
                  <a:pos x="connsiteX6009" y="connsiteY6009"/>
                </a:cxn>
                <a:cxn ang="0">
                  <a:pos x="connsiteX6010" y="connsiteY6010"/>
                </a:cxn>
                <a:cxn ang="0">
                  <a:pos x="connsiteX6011" y="connsiteY6011"/>
                </a:cxn>
                <a:cxn ang="0">
                  <a:pos x="connsiteX6012" y="connsiteY6012"/>
                </a:cxn>
                <a:cxn ang="0">
                  <a:pos x="connsiteX6013" y="connsiteY6013"/>
                </a:cxn>
                <a:cxn ang="0">
                  <a:pos x="connsiteX6014" y="connsiteY6014"/>
                </a:cxn>
                <a:cxn ang="0">
                  <a:pos x="connsiteX6015" y="connsiteY6015"/>
                </a:cxn>
                <a:cxn ang="0">
                  <a:pos x="connsiteX6016" y="connsiteY6016"/>
                </a:cxn>
                <a:cxn ang="0">
                  <a:pos x="connsiteX6017" y="connsiteY6017"/>
                </a:cxn>
                <a:cxn ang="0">
                  <a:pos x="connsiteX6018" y="connsiteY6018"/>
                </a:cxn>
                <a:cxn ang="0">
                  <a:pos x="connsiteX6019" y="connsiteY6019"/>
                </a:cxn>
                <a:cxn ang="0">
                  <a:pos x="connsiteX6020" y="connsiteY6020"/>
                </a:cxn>
                <a:cxn ang="0">
                  <a:pos x="connsiteX6021" y="connsiteY6021"/>
                </a:cxn>
                <a:cxn ang="0">
                  <a:pos x="connsiteX6022" y="connsiteY6022"/>
                </a:cxn>
                <a:cxn ang="0">
                  <a:pos x="connsiteX6023" y="connsiteY6023"/>
                </a:cxn>
                <a:cxn ang="0">
                  <a:pos x="connsiteX6024" y="connsiteY6024"/>
                </a:cxn>
                <a:cxn ang="0">
                  <a:pos x="connsiteX6025" y="connsiteY6025"/>
                </a:cxn>
                <a:cxn ang="0">
                  <a:pos x="connsiteX6026" y="connsiteY6026"/>
                </a:cxn>
                <a:cxn ang="0">
                  <a:pos x="connsiteX6027" y="connsiteY6027"/>
                </a:cxn>
                <a:cxn ang="0">
                  <a:pos x="connsiteX6028" y="connsiteY6028"/>
                </a:cxn>
                <a:cxn ang="0">
                  <a:pos x="connsiteX6029" y="connsiteY6029"/>
                </a:cxn>
                <a:cxn ang="0">
                  <a:pos x="connsiteX6030" y="connsiteY6030"/>
                </a:cxn>
                <a:cxn ang="0">
                  <a:pos x="connsiteX6031" y="connsiteY6031"/>
                </a:cxn>
                <a:cxn ang="0">
                  <a:pos x="connsiteX6032" y="connsiteY6032"/>
                </a:cxn>
                <a:cxn ang="0">
                  <a:pos x="connsiteX6033" y="connsiteY6033"/>
                </a:cxn>
                <a:cxn ang="0">
                  <a:pos x="connsiteX6034" y="connsiteY6034"/>
                </a:cxn>
                <a:cxn ang="0">
                  <a:pos x="connsiteX6035" y="connsiteY6035"/>
                </a:cxn>
                <a:cxn ang="0">
                  <a:pos x="connsiteX6036" y="connsiteY6036"/>
                </a:cxn>
                <a:cxn ang="0">
                  <a:pos x="connsiteX6037" y="connsiteY6037"/>
                </a:cxn>
                <a:cxn ang="0">
                  <a:pos x="connsiteX6038" y="connsiteY6038"/>
                </a:cxn>
                <a:cxn ang="0">
                  <a:pos x="connsiteX6039" y="connsiteY6039"/>
                </a:cxn>
                <a:cxn ang="0">
                  <a:pos x="connsiteX6040" y="connsiteY6040"/>
                </a:cxn>
                <a:cxn ang="0">
                  <a:pos x="connsiteX6041" y="connsiteY6041"/>
                </a:cxn>
                <a:cxn ang="0">
                  <a:pos x="connsiteX6042" y="connsiteY6042"/>
                </a:cxn>
                <a:cxn ang="0">
                  <a:pos x="connsiteX6043" y="connsiteY6043"/>
                </a:cxn>
                <a:cxn ang="0">
                  <a:pos x="connsiteX6044" y="connsiteY6044"/>
                </a:cxn>
                <a:cxn ang="0">
                  <a:pos x="connsiteX6045" y="connsiteY6045"/>
                </a:cxn>
                <a:cxn ang="0">
                  <a:pos x="connsiteX6046" y="connsiteY6046"/>
                </a:cxn>
                <a:cxn ang="0">
                  <a:pos x="connsiteX6047" y="connsiteY6047"/>
                </a:cxn>
                <a:cxn ang="0">
                  <a:pos x="connsiteX6048" y="connsiteY6048"/>
                </a:cxn>
                <a:cxn ang="0">
                  <a:pos x="connsiteX6049" y="connsiteY6049"/>
                </a:cxn>
                <a:cxn ang="0">
                  <a:pos x="connsiteX6050" y="connsiteY6050"/>
                </a:cxn>
                <a:cxn ang="0">
                  <a:pos x="connsiteX6051" y="connsiteY6051"/>
                </a:cxn>
                <a:cxn ang="0">
                  <a:pos x="connsiteX6052" y="connsiteY6052"/>
                </a:cxn>
                <a:cxn ang="0">
                  <a:pos x="connsiteX6053" y="connsiteY6053"/>
                </a:cxn>
                <a:cxn ang="0">
                  <a:pos x="connsiteX6054" y="connsiteY6054"/>
                </a:cxn>
                <a:cxn ang="0">
                  <a:pos x="connsiteX6055" y="connsiteY6055"/>
                </a:cxn>
                <a:cxn ang="0">
                  <a:pos x="connsiteX6056" y="connsiteY6056"/>
                </a:cxn>
                <a:cxn ang="0">
                  <a:pos x="connsiteX6057" y="connsiteY6057"/>
                </a:cxn>
                <a:cxn ang="0">
                  <a:pos x="connsiteX6058" y="connsiteY6058"/>
                </a:cxn>
                <a:cxn ang="0">
                  <a:pos x="connsiteX6059" y="connsiteY6059"/>
                </a:cxn>
                <a:cxn ang="0">
                  <a:pos x="connsiteX6060" y="connsiteY6060"/>
                </a:cxn>
                <a:cxn ang="0">
                  <a:pos x="connsiteX6061" y="connsiteY6061"/>
                </a:cxn>
                <a:cxn ang="0">
                  <a:pos x="connsiteX6062" y="connsiteY6062"/>
                </a:cxn>
                <a:cxn ang="0">
                  <a:pos x="connsiteX6063" y="connsiteY6063"/>
                </a:cxn>
                <a:cxn ang="0">
                  <a:pos x="connsiteX6064" y="connsiteY6064"/>
                </a:cxn>
                <a:cxn ang="0">
                  <a:pos x="connsiteX6065" y="connsiteY6065"/>
                </a:cxn>
                <a:cxn ang="0">
                  <a:pos x="connsiteX6066" y="connsiteY6066"/>
                </a:cxn>
                <a:cxn ang="0">
                  <a:pos x="connsiteX6067" y="connsiteY6067"/>
                </a:cxn>
                <a:cxn ang="0">
                  <a:pos x="connsiteX6068" y="connsiteY6068"/>
                </a:cxn>
                <a:cxn ang="0">
                  <a:pos x="connsiteX6069" y="connsiteY6069"/>
                </a:cxn>
                <a:cxn ang="0">
                  <a:pos x="connsiteX6070" y="connsiteY6070"/>
                </a:cxn>
                <a:cxn ang="0">
                  <a:pos x="connsiteX6071" y="connsiteY6071"/>
                </a:cxn>
                <a:cxn ang="0">
                  <a:pos x="connsiteX6072" y="connsiteY6072"/>
                </a:cxn>
                <a:cxn ang="0">
                  <a:pos x="connsiteX6073" y="connsiteY6073"/>
                </a:cxn>
                <a:cxn ang="0">
                  <a:pos x="connsiteX6074" y="connsiteY6074"/>
                </a:cxn>
                <a:cxn ang="0">
                  <a:pos x="connsiteX6075" y="connsiteY6075"/>
                </a:cxn>
                <a:cxn ang="0">
                  <a:pos x="connsiteX6076" y="connsiteY6076"/>
                </a:cxn>
                <a:cxn ang="0">
                  <a:pos x="connsiteX6077" y="connsiteY6077"/>
                </a:cxn>
                <a:cxn ang="0">
                  <a:pos x="connsiteX6078" y="connsiteY6078"/>
                </a:cxn>
                <a:cxn ang="0">
                  <a:pos x="connsiteX6079" y="connsiteY6079"/>
                </a:cxn>
                <a:cxn ang="0">
                  <a:pos x="connsiteX6080" y="connsiteY6080"/>
                </a:cxn>
                <a:cxn ang="0">
                  <a:pos x="connsiteX6081" y="connsiteY6081"/>
                </a:cxn>
                <a:cxn ang="0">
                  <a:pos x="connsiteX6082" y="connsiteY6082"/>
                </a:cxn>
                <a:cxn ang="0">
                  <a:pos x="connsiteX6083" y="connsiteY6083"/>
                </a:cxn>
                <a:cxn ang="0">
                  <a:pos x="connsiteX6084" y="connsiteY6084"/>
                </a:cxn>
                <a:cxn ang="0">
                  <a:pos x="connsiteX6085" y="connsiteY6085"/>
                </a:cxn>
                <a:cxn ang="0">
                  <a:pos x="connsiteX6086" y="connsiteY6086"/>
                </a:cxn>
                <a:cxn ang="0">
                  <a:pos x="connsiteX6087" y="connsiteY6087"/>
                </a:cxn>
                <a:cxn ang="0">
                  <a:pos x="connsiteX6088" y="connsiteY6088"/>
                </a:cxn>
                <a:cxn ang="0">
                  <a:pos x="connsiteX6089" y="connsiteY6089"/>
                </a:cxn>
                <a:cxn ang="0">
                  <a:pos x="connsiteX6090" y="connsiteY6090"/>
                </a:cxn>
                <a:cxn ang="0">
                  <a:pos x="connsiteX6091" y="connsiteY6091"/>
                </a:cxn>
                <a:cxn ang="0">
                  <a:pos x="connsiteX6092" y="connsiteY6092"/>
                </a:cxn>
                <a:cxn ang="0">
                  <a:pos x="connsiteX6093" y="connsiteY6093"/>
                </a:cxn>
                <a:cxn ang="0">
                  <a:pos x="connsiteX6094" y="connsiteY6094"/>
                </a:cxn>
                <a:cxn ang="0">
                  <a:pos x="connsiteX6095" y="connsiteY6095"/>
                </a:cxn>
                <a:cxn ang="0">
                  <a:pos x="connsiteX6096" y="connsiteY6096"/>
                </a:cxn>
                <a:cxn ang="0">
                  <a:pos x="connsiteX6097" y="connsiteY6097"/>
                </a:cxn>
                <a:cxn ang="0">
                  <a:pos x="connsiteX6098" y="connsiteY6098"/>
                </a:cxn>
                <a:cxn ang="0">
                  <a:pos x="connsiteX6099" y="connsiteY6099"/>
                </a:cxn>
                <a:cxn ang="0">
                  <a:pos x="connsiteX6100" y="connsiteY6100"/>
                </a:cxn>
                <a:cxn ang="0">
                  <a:pos x="connsiteX6101" y="connsiteY6101"/>
                </a:cxn>
                <a:cxn ang="0">
                  <a:pos x="connsiteX6102" y="connsiteY6102"/>
                </a:cxn>
                <a:cxn ang="0">
                  <a:pos x="connsiteX6103" y="connsiteY6103"/>
                </a:cxn>
                <a:cxn ang="0">
                  <a:pos x="connsiteX6104" y="connsiteY6104"/>
                </a:cxn>
                <a:cxn ang="0">
                  <a:pos x="connsiteX6105" y="connsiteY6105"/>
                </a:cxn>
                <a:cxn ang="0">
                  <a:pos x="connsiteX6106" y="connsiteY6106"/>
                </a:cxn>
                <a:cxn ang="0">
                  <a:pos x="connsiteX6107" y="connsiteY6107"/>
                </a:cxn>
                <a:cxn ang="0">
                  <a:pos x="connsiteX6108" y="connsiteY6108"/>
                </a:cxn>
                <a:cxn ang="0">
                  <a:pos x="connsiteX6109" y="connsiteY6109"/>
                </a:cxn>
                <a:cxn ang="0">
                  <a:pos x="connsiteX6110" y="connsiteY6110"/>
                </a:cxn>
                <a:cxn ang="0">
                  <a:pos x="connsiteX6111" y="connsiteY6111"/>
                </a:cxn>
                <a:cxn ang="0">
                  <a:pos x="connsiteX6112" y="connsiteY6112"/>
                </a:cxn>
                <a:cxn ang="0">
                  <a:pos x="connsiteX6113" y="connsiteY6113"/>
                </a:cxn>
                <a:cxn ang="0">
                  <a:pos x="connsiteX6114" y="connsiteY6114"/>
                </a:cxn>
                <a:cxn ang="0">
                  <a:pos x="connsiteX6115" y="connsiteY6115"/>
                </a:cxn>
                <a:cxn ang="0">
                  <a:pos x="connsiteX6116" y="connsiteY6116"/>
                </a:cxn>
                <a:cxn ang="0">
                  <a:pos x="connsiteX6117" y="connsiteY6117"/>
                </a:cxn>
                <a:cxn ang="0">
                  <a:pos x="connsiteX6118" y="connsiteY6118"/>
                </a:cxn>
                <a:cxn ang="0">
                  <a:pos x="connsiteX6119" y="connsiteY6119"/>
                </a:cxn>
                <a:cxn ang="0">
                  <a:pos x="connsiteX6120" y="connsiteY6120"/>
                </a:cxn>
                <a:cxn ang="0">
                  <a:pos x="connsiteX6121" y="connsiteY6121"/>
                </a:cxn>
                <a:cxn ang="0">
                  <a:pos x="connsiteX6122" y="connsiteY6122"/>
                </a:cxn>
                <a:cxn ang="0">
                  <a:pos x="connsiteX6123" y="connsiteY6123"/>
                </a:cxn>
                <a:cxn ang="0">
                  <a:pos x="connsiteX6124" y="connsiteY6124"/>
                </a:cxn>
                <a:cxn ang="0">
                  <a:pos x="connsiteX6125" y="connsiteY6125"/>
                </a:cxn>
                <a:cxn ang="0">
                  <a:pos x="connsiteX6126" y="connsiteY6126"/>
                </a:cxn>
                <a:cxn ang="0">
                  <a:pos x="connsiteX6127" y="connsiteY6127"/>
                </a:cxn>
                <a:cxn ang="0">
                  <a:pos x="connsiteX6128" y="connsiteY6128"/>
                </a:cxn>
                <a:cxn ang="0">
                  <a:pos x="connsiteX6129" y="connsiteY6129"/>
                </a:cxn>
                <a:cxn ang="0">
                  <a:pos x="connsiteX6130" y="connsiteY6130"/>
                </a:cxn>
                <a:cxn ang="0">
                  <a:pos x="connsiteX6131" y="connsiteY6131"/>
                </a:cxn>
                <a:cxn ang="0">
                  <a:pos x="connsiteX6132" y="connsiteY6132"/>
                </a:cxn>
                <a:cxn ang="0">
                  <a:pos x="connsiteX6133" y="connsiteY6133"/>
                </a:cxn>
                <a:cxn ang="0">
                  <a:pos x="connsiteX6134" y="connsiteY6134"/>
                </a:cxn>
                <a:cxn ang="0">
                  <a:pos x="connsiteX6135" y="connsiteY6135"/>
                </a:cxn>
                <a:cxn ang="0">
                  <a:pos x="connsiteX6136" y="connsiteY6136"/>
                </a:cxn>
                <a:cxn ang="0">
                  <a:pos x="connsiteX6137" y="connsiteY6137"/>
                </a:cxn>
                <a:cxn ang="0">
                  <a:pos x="connsiteX6138" y="connsiteY6138"/>
                </a:cxn>
                <a:cxn ang="0">
                  <a:pos x="connsiteX6139" y="connsiteY6139"/>
                </a:cxn>
                <a:cxn ang="0">
                  <a:pos x="connsiteX6140" y="connsiteY6140"/>
                </a:cxn>
                <a:cxn ang="0">
                  <a:pos x="connsiteX6141" y="connsiteY6141"/>
                </a:cxn>
                <a:cxn ang="0">
                  <a:pos x="connsiteX6142" y="connsiteY6142"/>
                </a:cxn>
                <a:cxn ang="0">
                  <a:pos x="connsiteX6143" y="connsiteY6143"/>
                </a:cxn>
                <a:cxn ang="0">
                  <a:pos x="connsiteX6144" y="connsiteY6144"/>
                </a:cxn>
                <a:cxn ang="0">
                  <a:pos x="connsiteX6145" y="connsiteY6145"/>
                </a:cxn>
                <a:cxn ang="0">
                  <a:pos x="connsiteX6146" y="connsiteY6146"/>
                </a:cxn>
                <a:cxn ang="0">
                  <a:pos x="connsiteX6147" y="connsiteY6147"/>
                </a:cxn>
                <a:cxn ang="0">
                  <a:pos x="connsiteX6148" y="connsiteY6148"/>
                </a:cxn>
                <a:cxn ang="0">
                  <a:pos x="connsiteX6149" y="connsiteY6149"/>
                </a:cxn>
                <a:cxn ang="0">
                  <a:pos x="connsiteX6150" y="connsiteY6150"/>
                </a:cxn>
                <a:cxn ang="0">
                  <a:pos x="connsiteX6151" y="connsiteY6151"/>
                </a:cxn>
                <a:cxn ang="0">
                  <a:pos x="connsiteX6152" y="connsiteY6152"/>
                </a:cxn>
                <a:cxn ang="0">
                  <a:pos x="connsiteX6153" y="connsiteY6153"/>
                </a:cxn>
                <a:cxn ang="0">
                  <a:pos x="connsiteX6154" y="connsiteY6154"/>
                </a:cxn>
                <a:cxn ang="0">
                  <a:pos x="connsiteX6155" y="connsiteY6155"/>
                </a:cxn>
                <a:cxn ang="0">
                  <a:pos x="connsiteX6156" y="connsiteY6156"/>
                </a:cxn>
                <a:cxn ang="0">
                  <a:pos x="connsiteX6157" y="connsiteY6157"/>
                </a:cxn>
                <a:cxn ang="0">
                  <a:pos x="connsiteX6158" y="connsiteY6158"/>
                </a:cxn>
                <a:cxn ang="0">
                  <a:pos x="connsiteX6159" y="connsiteY6159"/>
                </a:cxn>
                <a:cxn ang="0">
                  <a:pos x="connsiteX6160" y="connsiteY6160"/>
                </a:cxn>
                <a:cxn ang="0">
                  <a:pos x="connsiteX6161" y="connsiteY6161"/>
                </a:cxn>
                <a:cxn ang="0">
                  <a:pos x="connsiteX6162" y="connsiteY6162"/>
                </a:cxn>
                <a:cxn ang="0">
                  <a:pos x="connsiteX6163" y="connsiteY6163"/>
                </a:cxn>
                <a:cxn ang="0">
                  <a:pos x="connsiteX6164" y="connsiteY6164"/>
                </a:cxn>
                <a:cxn ang="0">
                  <a:pos x="connsiteX6165" y="connsiteY6165"/>
                </a:cxn>
                <a:cxn ang="0">
                  <a:pos x="connsiteX6166" y="connsiteY6166"/>
                </a:cxn>
                <a:cxn ang="0">
                  <a:pos x="connsiteX6167" y="connsiteY6167"/>
                </a:cxn>
                <a:cxn ang="0">
                  <a:pos x="connsiteX6168" y="connsiteY6168"/>
                </a:cxn>
                <a:cxn ang="0">
                  <a:pos x="connsiteX6169" y="connsiteY6169"/>
                </a:cxn>
                <a:cxn ang="0">
                  <a:pos x="connsiteX6170" y="connsiteY6170"/>
                </a:cxn>
                <a:cxn ang="0">
                  <a:pos x="connsiteX6171" y="connsiteY6171"/>
                </a:cxn>
                <a:cxn ang="0">
                  <a:pos x="connsiteX6172" y="connsiteY6172"/>
                </a:cxn>
                <a:cxn ang="0">
                  <a:pos x="connsiteX6173" y="connsiteY6173"/>
                </a:cxn>
                <a:cxn ang="0">
                  <a:pos x="connsiteX6174" y="connsiteY6174"/>
                </a:cxn>
                <a:cxn ang="0">
                  <a:pos x="connsiteX6175" y="connsiteY6175"/>
                </a:cxn>
                <a:cxn ang="0">
                  <a:pos x="connsiteX6176" y="connsiteY6176"/>
                </a:cxn>
                <a:cxn ang="0">
                  <a:pos x="connsiteX6177" y="connsiteY6177"/>
                </a:cxn>
                <a:cxn ang="0">
                  <a:pos x="connsiteX6178" y="connsiteY6178"/>
                </a:cxn>
                <a:cxn ang="0">
                  <a:pos x="connsiteX6179" y="connsiteY6179"/>
                </a:cxn>
                <a:cxn ang="0">
                  <a:pos x="connsiteX6180" y="connsiteY6180"/>
                </a:cxn>
                <a:cxn ang="0">
                  <a:pos x="connsiteX6181" y="connsiteY6181"/>
                </a:cxn>
                <a:cxn ang="0">
                  <a:pos x="connsiteX6182" y="connsiteY6182"/>
                </a:cxn>
                <a:cxn ang="0">
                  <a:pos x="connsiteX6183" y="connsiteY6183"/>
                </a:cxn>
                <a:cxn ang="0">
                  <a:pos x="connsiteX6184" y="connsiteY6184"/>
                </a:cxn>
                <a:cxn ang="0">
                  <a:pos x="connsiteX6185" y="connsiteY6185"/>
                </a:cxn>
                <a:cxn ang="0">
                  <a:pos x="connsiteX6186" y="connsiteY6186"/>
                </a:cxn>
                <a:cxn ang="0">
                  <a:pos x="connsiteX6187" y="connsiteY6187"/>
                </a:cxn>
                <a:cxn ang="0">
                  <a:pos x="connsiteX6188" y="connsiteY6188"/>
                </a:cxn>
                <a:cxn ang="0">
                  <a:pos x="connsiteX6189" y="connsiteY6189"/>
                </a:cxn>
                <a:cxn ang="0">
                  <a:pos x="connsiteX6190" y="connsiteY6190"/>
                </a:cxn>
                <a:cxn ang="0">
                  <a:pos x="connsiteX6191" y="connsiteY6191"/>
                </a:cxn>
                <a:cxn ang="0">
                  <a:pos x="connsiteX6192" y="connsiteY6192"/>
                </a:cxn>
                <a:cxn ang="0">
                  <a:pos x="connsiteX6193" y="connsiteY6193"/>
                </a:cxn>
                <a:cxn ang="0">
                  <a:pos x="connsiteX6194" y="connsiteY6194"/>
                </a:cxn>
                <a:cxn ang="0">
                  <a:pos x="connsiteX6195" y="connsiteY6195"/>
                </a:cxn>
                <a:cxn ang="0">
                  <a:pos x="connsiteX6196" y="connsiteY6196"/>
                </a:cxn>
                <a:cxn ang="0">
                  <a:pos x="connsiteX6197" y="connsiteY6197"/>
                </a:cxn>
                <a:cxn ang="0">
                  <a:pos x="connsiteX6198" y="connsiteY6198"/>
                </a:cxn>
                <a:cxn ang="0">
                  <a:pos x="connsiteX6199" y="connsiteY6199"/>
                </a:cxn>
                <a:cxn ang="0">
                  <a:pos x="connsiteX6200" y="connsiteY6200"/>
                </a:cxn>
                <a:cxn ang="0">
                  <a:pos x="connsiteX6201" y="connsiteY6201"/>
                </a:cxn>
                <a:cxn ang="0">
                  <a:pos x="connsiteX6202" y="connsiteY6202"/>
                </a:cxn>
                <a:cxn ang="0">
                  <a:pos x="connsiteX6203" y="connsiteY6203"/>
                </a:cxn>
                <a:cxn ang="0">
                  <a:pos x="connsiteX6204" y="connsiteY6204"/>
                </a:cxn>
                <a:cxn ang="0">
                  <a:pos x="connsiteX6205" y="connsiteY6205"/>
                </a:cxn>
                <a:cxn ang="0">
                  <a:pos x="connsiteX6206" y="connsiteY6206"/>
                </a:cxn>
                <a:cxn ang="0">
                  <a:pos x="connsiteX6207" y="connsiteY6207"/>
                </a:cxn>
                <a:cxn ang="0">
                  <a:pos x="connsiteX6208" y="connsiteY6208"/>
                </a:cxn>
                <a:cxn ang="0">
                  <a:pos x="connsiteX6209" y="connsiteY6209"/>
                </a:cxn>
                <a:cxn ang="0">
                  <a:pos x="connsiteX6210" y="connsiteY6210"/>
                </a:cxn>
                <a:cxn ang="0">
                  <a:pos x="connsiteX6211" y="connsiteY6211"/>
                </a:cxn>
                <a:cxn ang="0">
                  <a:pos x="connsiteX6212" y="connsiteY6212"/>
                </a:cxn>
                <a:cxn ang="0">
                  <a:pos x="connsiteX6213" y="connsiteY6213"/>
                </a:cxn>
                <a:cxn ang="0">
                  <a:pos x="connsiteX6214" y="connsiteY6214"/>
                </a:cxn>
                <a:cxn ang="0">
                  <a:pos x="connsiteX6215" y="connsiteY6215"/>
                </a:cxn>
                <a:cxn ang="0">
                  <a:pos x="connsiteX6216" y="connsiteY6216"/>
                </a:cxn>
                <a:cxn ang="0">
                  <a:pos x="connsiteX6217" y="connsiteY6217"/>
                </a:cxn>
                <a:cxn ang="0">
                  <a:pos x="connsiteX6218" y="connsiteY6218"/>
                </a:cxn>
                <a:cxn ang="0">
                  <a:pos x="connsiteX6219" y="connsiteY6219"/>
                </a:cxn>
                <a:cxn ang="0">
                  <a:pos x="connsiteX6220" y="connsiteY6220"/>
                </a:cxn>
                <a:cxn ang="0">
                  <a:pos x="connsiteX6221" y="connsiteY6221"/>
                </a:cxn>
                <a:cxn ang="0">
                  <a:pos x="connsiteX6222" y="connsiteY6222"/>
                </a:cxn>
                <a:cxn ang="0">
                  <a:pos x="connsiteX6223" y="connsiteY6223"/>
                </a:cxn>
                <a:cxn ang="0">
                  <a:pos x="connsiteX6224" y="connsiteY6224"/>
                </a:cxn>
                <a:cxn ang="0">
                  <a:pos x="connsiteX6225" y="connsiteY6225"/>
                </a:cxn>
                <a:cxn ang="0">
                  <a:pos x="connsiteX6226" y="connsiteY6226"/>
                </a:cxn>
                <a:cxn ang="0">
                  <a:pos x="connsiteX6227" y="connsiteY6227"/>
                </a:cxn>
                <a:cxn ang="0">
                  <a:pos x="connsiteX6228" y="connsiteY6228"/>
                </a:cxn>
                <a:cxn ang="0">
                  <a:pos x="connsiteX6229" y="connsiteY6229"/>
                </a:cxn>
                <a:cxn ang="0">
                  <a:pos x="connsiteX6230" y="connsiteY6230"/>
                </a:cxn>
                <a:cxn ang="0">
                  <a:pos x="connsiteX6231" y="connsiteY6231"/>
                </a:cxn>
                <a:cxn ang="0">
                  <a:pos x="connsiteX6232" y="connsiteY6232"/>
                </a:cxn>
                <a:cxn ang="0">
                  <a:pos x="connsiteX6233" y="connsiteY6233"/>
                </a:cxn>
                <a:cxn ang="0">
                  <a:pos x="connsiteX6234" y="connsiteY6234"/>
                </a:cxn>
                <a:cxn ang="0">
                  <a:pos x="connsiteX6235" y="connsiteY6235"/>
                </a:cxn>
                <a:cxn ang="0">
                  <a:pos x="connsiteX6236" y="connsiteY6236"/>
                </a:cxn>
                <a:cxn ang="0">
                  <a:pos x="connsiteX6237" y="connsiteY6237"/>
                </a:cxn>
                <a:cxn ang="0">
                  <a:pos x="connsiteX6238" y="connsiteY6238"/>
                </a:cxn>
                <a:cxn ang="0">
                  <a:pos x="connsiteX6239" y="connsiteY6239"/>
                </a:cxn>
                <a:cxn ang="0">
                  <a:pos x="connsiteX6240" y="connsiteY6240"/>
                </a:cxn>
                <a:cxn ang="0">
                  <a:pos x="connsiteX6241" y="connsiteY6241"/>
                </a:cxn>
                <a:cxn ang="0">
                  <a:pos x="connsiteX6242" y="connsiteY6242"/>
                </a:cxn>
                <a:cxn ang="0">
                  <a:pos x="connsiteX6243" y="connsiteY6243"/>
                </a:cxn>
                <a:cxn ang="0">
                  <a:pos x="connsiteX6244" y="connsiteY6244"/>
                </a:cxn>
                <a:cxn ang="0">
                  <a:pos x="connsiteX6245" y="connsiteY6245"/>
                </a:cxn>
                <a:cxn ang="0">
                  <a:pos x="connsiteX6246" y="connsiteY6246"/>
                </a:cxn>
                <a:cxn ang="0">
                  <a:pos x="connsiteX6247" y="connsiteY6247"/>
                </a:cxn>
                <a:cxn ang="0">
                  <a:pos x="connsiteX6248" y="connsiteY6248"/>
                </a:cxn>
                <a:cxn ang="0">
                  <a:pos x="connsiteX6249" y="connsiteY6249"/>
                </a:cxn>
                <a:cxn ang="0">
                  <a:pos x="connsiteX6250" y="connsiteY6250"/>
                </a:cxn>
                <a:cxn ang="0">
                  <a:pos x="connsiteX6251" y="connsiteY6251"/>
                </a:cxn>
                <a:cxn ang="0">
                  <a:pos x="connsiteX6252" y="connsiteY6252"/>
                </a:cxn>
                <a:cxn ang="0">
                  <a:pos x="connsiteX6253" y="connsiteY6253"/>
                </a:cxn>
                <a:cxn ang="0">
                  <a:pos x="connsiteX6254" y="connsiteY6254"/>
                </a:cxn>
                <a:cxn ang="0">
                  <a:pos x="connsiteX6255" y="connsiteY6255"/>
                </a:cxn>
                <a:cxn ang="0">
                  <a:pos x="connsiteX6256" y="connsiteY6256"/>
                </a:cxn>
                <a:cxn ang="0">
                  <a:pos x="connsiteX6257" y="connsiteY6257"/>
                </a:cxn>
                <a:cxn ang="0">
                  <a:pos x="connsiteX6258" y="connsiteY6258"/>
                </a:cxn>
                <a:cxn ang="0">
                  <a:pos x="connsiteX6259" y="connsiteY6259"/>
                </a:cxn>
                <a:cxn ang="0">
                  <a:pos x="connsiteX6260" y="connsiteY6260"/>
                </a:cxn>
                <a:cxn ang="0">
                  <a:pos x="connsiteX6261" y="connsiteY6261"/>
                </a:cxn>
                <a:cxn ang="0">
                  <a:pos x="connsiteX6262" y="connsiteY6262"/>
                </a:cxn>
                <a:cxn ang="0">
                  <a:pos x="connsiteX6263" y="connsiteY6263"/>
                </a:cxn>
                <a:cxn ang="0">
                  <a:pos x="connsiteX6264" y="connsiteY6264"/>
                </a:cxn>
                <a:cxn ang="0">
                  <a:pos x="connsiteX6265" y="connsiteY6265"/>
                </a:cxn>
                <a:cxn ang="0">
                  <a:pos x="connsiteX6266" y="connsiteY6266"/>
                </a:cxn>
                <a:cxn ang="0">
                  <a:pos x="connsiteX6267" y="connsiteY6267"/>
                </a:cxn>
                <a:cxn ang="0">
                  <a:pos x="connsiteX6268" y="connsiteY6268"/>
                </a:cxn>
                <a:cxn ang="0">
                  <a:pos x="connsiteX6269" y="connsiteY6269"/>
                </a:cxn>
                <a:cxn ang="0">
                  <a:pos x="connsiteX6270" y="connsiteY6270"/>
                </a:cxn>
                <a:cxn ang="0">
                  <a:pos x="connsiteX6271" y="connsiteY6271"/>
                </a:cxn>
                <a:cxn ang="0">
                  <a:pos x="connsiteX6272" y="connsiteY6272"/>
                </a:cxn>
                <a:cxn ang="0">
                  <a:pos x="connsiteX6273" y="connsiteY6273"/>
                </a:cxn>
                <a:cxn ang="0">
                  <a:pos x="connsiteX6274" y="connsiteY6274"/>
                </a:cxn>
                <a:cxn ang="0">
                  <a:pos x="connsiteX6275" y="connsiteY6275"/>
                </a:cxn>
                <a:cxn ang="0">
                  <a:pos x="connsiteX6276" y="connsiteY6276"/>
                </a:cxn>
                <a:cxn ang="0">
                  <a:pos x="connsiteX6277" y="connsiteY6277"/>
                </a:cxn>
                <a:cxn ang="0">
                  <a:pos x="connsiteX6278" y="connsiteY6278"/>
                </a:cxn>
                <a:cxn ang="0">
                  <a:pos x="connsiteX6279" y="connsiteY6279"/>
                </a:cxn>
                <a:cxn ang="0">
                  <a:pos x="connsiteX6280" y="connsiteY6280"/>
                </a:cxn>
                <a:cxn ang="0">
                  <a:pos x="connsiteX6281" y="connsiteY6281"/>
                </a:cxn>
                <a:cxn ang="0">
                  <a:pos x="connsiteX6282" y="connsiteY6282"/>
                </a:cxn>
                <a:cxn ang="0">
                  <a:pos x="connsiteX6283" y="connsiteY6283"/>
                </a:cxn>
                <a:cxn ang="0">
                  <a:pos x="connsiteX6284" y="connsiteY6284"/>
                </a:cxn>
                <a:cxn ang="0">
                  <a:pos x="connsiteX6285" y="connsiteY6285"/>
                </a:cxn>
                <a:cxn ang="0">
                  <a:pos x="connsiteX6286" y="connsiteY6286"/>
                </a:cxn>
                <a:cxn ang="0">
                  <a:pos x="connsiteX6287" y="connsiteY6287"/>
                </a:cxn>
                <a:cxn ang="0">
                  <a:pos x="connsiteX6288" y="connsiteY6288"/>
                </a:cxn>
                <a:cxn ang="0">
                  <a:pos x="connsiteX6289" y="connsiteY6289"/>
                </a:cxn>
                <a:cxn ang="0">
                  <a:pos x="connsiteX6290" y="connsiteY6290"/>
                </a:cxn>
                <a:cxn ang="0">
                  <a:pos x="connsiteX6291" y="connsiteY6291"/>
                </a:cxn>
                <a:cxn ang="0">
                  <a:pos x="connsiteX6292" y="connsiteY6292"/>
                </a:cxn>
                <a:cxn ang="0">
                  <a:pos x="connsiteX6293" y="connsiteY6293"/>
                </a:cxn>
                <a:cxn ang="0">
                  <a:pos x="connsiteX6294" y="connsiteY6294"/>
                </a:cxn>
                <a:cxn ang="0">
                  <a:pos x="connsiteX6295" y="connsiteY6295"/>
                </a:cxn>
                <a:cxn ang="0">
                  <a:pos x="connsiteX6296" y="connsiteY6296"/>
                </a:cxn>
                <a:cxn ang="0">
                  <a:pos x="connsiteX6297" y="connsiteY6297"/>
                </a:cxn>
                <a:cxn ang="0">
                  <a:pos x="connsiteX6298" y="connsiteY6298"/>
                </a:cxn>
                <a:cxn ang="0">
                  <a:pos x="connsiteX6299" y="connsiteY6299"/>
                </a:cxn>
                <a:cxn ang="0">
                  <a:pos x="connsiteX6300" y="connsiteY6300"/>
                </a:cxn>
                <a:cxn ang="0">
                  <a:pos x="connsiteX6301" y="connsiteY6301"/>
                </a:cxn>
                <a:cxn ang="0">
                  <a:pos x="connsiteX6302" y="connsiteY6302"/>
                </a:cxn>
                <a:cxn ang="0">
                  <a:pos x="connsiteX6303" y="connsiteY6303"/>
                </a:cxn>
                <a:cxn ang="0">
                  <a:pos x="connsiteX6304" y="connsiteY6304"/>
                </a:cxn>
                <a:cxn ang="0">
                  <a:pos x="connsiteX6305" y="connsiteY6305"/>
                </a:cxn>
                <a:cxn ang="0">
                  <a:pos x="connsiteX6306" y="connsiteY6306"/>
                </a:cxn>
                <a:cxn ang="0">
                  <a:pos x="connsiteX6307" y="connsiteY6307"/>
                </a:cxn>
                <a:cxn ang="0">
                  <a:pos x="connsiteX6308" y="connsiteY6308"/>
                </a:cxn>
                <a:cxn ang="0">
                  <a:pos x="connsiteX6309" y="connsiteY6309"/>
                </a:cxn>
                <a:cxn ang="0">
                  <a:pos x="connsiteX6310" y="connsiteY6310"/>
                </a:cxn>
                <a:cxn ang="0">
                  <a:pos x="connsiteX6311" y="connsiteY6311"/>
                </a:cxn>
                <a:cxn ang="0">
                  <a:pos x="connsiteX6312" y="connsiteY6312"/>
                </a:cxn>
                <a:cxn ang="0">
                  <a:pos x="connsiteX6313" y="connsiteY6313"/>
                </a:cxn>
                <a:cxn ang="0">
                  <a:pos x="connsiteX6314" y="connsiteY6314"/>
                </a:cxn>
                <a:cxn ang="0">
                  <a:pos x="connsiteX6315" y="connsiteY6315"/>
                </a:cxn>
                <a:cxn ang="0">
                  <a:pos x="connsiteX6316" y="connsiteY6316"/>
                </a:cxn>
                <a:cxn ang="0">
                  <a:pos x="connsiteX6317" y="connsiteY6317"/>
                </a:cxn>
                <a:cxn ang="0">
                  <a:pos x="connsiteX6318" y="connsiteY6318"/>
                </a:cxn>
                <a:cxn ang="0">
                  <a:pos x="connsiteX6319" y="connsiteY6319"/>
                </a:cxn>
                <a:cxn ang="0">
                  <a:pos x="connsiteX6320" y="connsiteY6320"/>
                </a:cxn>
                <a:cxn ang="0">
                  <a:pos x="connsiteX6321" y="connsiteY6321"/>
                </a:cxn>
                <a:cxn ang="0">
                  <a:pos x="connsiteX6322" y="connsiteY6322"/>
                </a:cxn>
                <a:cxn ang="0">
                  <a:pos x="connsiteX6323" y="connsiteY6323"/>
                </a:cxn>
                <a:cxn ang="0">
                  <a:pos x="connsiteX6324" y="connsiteY6324"/>
                </a:cxn>
                <a:cxn ang="0">
                  <a:pos x="connsiteX6325" y="connsiteY6325"/>
                </a:cxn>
                <a:cxn ang="0">
                  <a:pos x="connsiteX6326" y="connsiteY6326"/>
                </a:cxn>
                <a:cxn ang="0">
                  <a:pos x="connsiteX6327" y="connsiteY6327"/>
                </a:cxn>
                <a:cxn ang="0">
                  <a:pos x="connsiteX6328" y="connsiteY6328"/>
                </a:cxn>
                <a:cxn ang="0">
                  <a:pos x="connsiteX6329" y="connsiteY6329"/>
                </a:cxn>
                <a:cxn ang="0">
                  <a:pos x="connsiteX6330" y="connsiteY6330"/>
                </a:cxn>
                <a:cxn ang="0">
                  <a:pos x="connsiteX6331" y="connsiteY6331"/>
                </a:cxn>
                <a:cxn ang="0">
                  <a:pos x="connsiteX6332" y="connsiteY6332"/>
                </a:cxn>
                <a:cxn ang="0">
                  <a:pos x="connsiteX6333" y="connsiteY6333"/>
                </a:cxn>
                <a:cxn ang="0">
                  <a:pos x="connsiteX6334" y="connsiteY6334"/>
                </a:cxn>
                <a:cxn ang="0">
                  <a:pos x="connsiteX6335" y="connsiteY6335"/>
                </a:cxn>
                <a:cxn ang="0">
                  <a:pos x="connsiteX6336" y="connsiteY6336"/>
                </a:cxn>
                <a:cxn ang="0">
                  <a:pos x="connsiteX6337" y="connsiteY6337"/>
                </a:cxn>
                <a:cxn ang="0">
                  <a:pos x="connsiteX6338" y="connsiteY6338"/>
                </a:cxn>
                <a:cxn ang="0">
                  <a:pos x="connsiteX6339" y="connsiteY6339"/>
                </a:cxn>
                <a:cxn ang="0">
                  <a:pos x="connsiteX6340" y="connsiteY6340"/>
                </a:cxn>
                <a:cxn ang="0">
                  <a:pos x="connsiteX6341" y="connsiteY6341"/>
                </a:cxn>
                <a:cxn ang="0">
                  <a:pos x="connsiteX6342" y="connsiteY6342"/>
                </a:cxn>
                <a:cxn ang="0">
                  <a:pos x="connsiteX6343" y="connsiteY6343"/>
                </a:cxn>
                <a:cxn ang="0">
                  <a:pos x="connsiteX6344" y="connsiteY6344"/>
                </a:cxn>
                <a:cxn ang="0">
                  <a:pos x="connsiteX6345" y="connsiteY6345"/>
                </a:cxn>
                <a:cxn ang="0">
                  <a:pos x="connsiteX6346" y="connsiteY6346"/>
                </a:cxn>
                <a:cxn ang="0">
                  <a:pos x="connsiteX6347" y="connsiteY6347"/>
                </a:cxn>
                <a:cxn ang="0">
                  <a:pos x="connsiteX6348" y="connsiteY6348"/>
                </a:cxn>
                <a:cxn ang="0">
                  <a:pos x="connsiteX6349" y="connsiteY6349"/>
                </a:cxn>
                <a:cxn ang="0">
                  <a:pos x="connsiteX6350" y="connsiteY6350"/>
                </a:cxn>
                <a:cxn ang="0">
                  <a:pos x="connsiteX6351" y="connsiteY6351"/>
                </a:cxn>
                <a:cxn ang="0">
                  <a:pos x="connsiteX6352" y="connsiteY6352"/>
                </a:cxn>
                <a:cxn ang="0">
                  <a:pos x="connsiteX6353" y="connsiteY6353"/>
                </a:cxn>
                <a:cxn ang="0">
                  <a:pos x="connsiteX6354" y="connsiteY6354"/>
                </a:cxn>
                <a:cxn ang="0">
                  <a:pos x="connsiteX6355" y="connsiteY6355"/>
                </a:cxn>
                <a:cxn ang="0">
                  <a:pos x="connsiteX6356" y="connsiteY6356"/>
                </a:cxn>
                <a:cxn ang="0">
                  <a:pos x="connsiteX6357" y="connsiteY6357"/>
                </a:cxn>
                <a:cxn ang="0">
                  <a:pos x="connsiteX6358" y="connsiteY6358"/>
                </a:cxn>
                <a:cxn ang="0">
                  <a:pos x="connsiteX6359" y="connsiteY6359"/>
                </a:cxn>
                <a:cxn ang="0">
                  <a:pos x="connsiteX6360" y="connsiteY6360"/>
                </a:cxn>
                <a:cxn ang="0">
                  <a:pos x="connsiteX6361" y="connsiteY6361"/>
                </a:cxn>
                <a:cxn ang="0">
                  <a:pos x="connsiteX6362" y="connsiteY6362"/>
                </a:cxn>
                <a:cxn ang="0">
                  <a:pos x="connsiteX6363" y="connsiteY6363"/>
                </a:cxn>
                <a:cxn ang="0">
                  <a:pos x="connsiteX6364" y="connsiteY6364"/>
                </a:cxn>
                <a:cxn ang="0">
                  <a:pos x="connsiteX6365" y="connsiteY6365"/>
                </a:cxn>
                <a:cxn ang="0">
                  <a:pos x="connsiteX6366" y="connsiteY6366"/>
                </a:cxn>
                <a:cxn ang="0">
                  <a:pos x="connsiteX6367" y="connsiteY6367"/>
                </a:cxn>
                <a:cxn ang="0">
                  <a:pos x="connsiteX6368" y="connsiteY6368"/>
                </a:cxn>
                <a:cxn ang="0">
                  <a:pos x="connsiteX6369" y="connsiteY6369"/>
                </a:cxn>
                <a:cxn ang="0">
                  <a:pos x="connsiteX6370" y="connsiteY6370"/>
                </a:cxn>
                <a:cxn ang="0">
                  <a:pos x="connsiteX6371" y="connsiteY6371"/>
                </a:cxn>
                <a:cxn ang="0">
                  <a:pos x="connsiteX6372" y="connsiteY6372"/>
                </a:cxn>
                <a:cxn ang="0">
                  <a:pos x="connsiteX6373" y="connsiteY6373"/>
                </a:cxn>
                <a:cxn ang="0">
                  <a:pos x="connsiteX6374" y="connsiteY6374"/>
                </a:cxn>
                <a:cxn ang="0">
                  <a:pos x="connsiteX6375" y="connsiteY6375"/>
                </a:cxn>
                <a:cxn ang="0">
                  <a:pos x="connsiteX6376" y="connsiteY6376"/>
                </a:cxn>
                <a:cxn ang="0">
                  <a:pos x="connsiteX6377" y="connsiteY6377"/>
                </a:cxn>
                <a:cxn ang="0">
                  <a:pos x="connsiteX6378" y="connsiteY6378"/>
                </a:cxn>
                <a:cxn ang="0">
                  <a:pos x="connsiteX6379" y="connsiteY6379"/>
                </a:cxn>
                <a:cxn ang="0">
                  <a:pos x="connsiteX6380" y="connsiteY6380"/>
                </a:cxn>
                <a:cxn ang="0">
                  <a:pos x="connsiteX6381" y="connsiteY6381"/>
                </a:cxn>
                <a:cxn ang="0">
                  <a:pos x="connsiteX6382" y="connsiteY6382"/>
                </a:cxn>
                <a:cxn ang="0">
                  <a:pos x="connsiteX6383" y="connsiteY6383"/>
                </a:cxn>
                <a:cxn ang="0">
                  <a:pos x="connsiteX6384" y="connsiteY6384"/>
                </a:cxn>
                <a:cxn ang="0">
                  <a:pos x="connsiteX6385" y="connsiteY6385"/>
                </a:cxn>
                <a:cxn ang="0">
                  <a:pos x="connsiteX6386" y="connsiteY6386"/>
                </a:cxn>
                <a:cxn ang="0">
                  <a:pos x="connsiteX6387" y="connsiteY6387"/>
                </a:cxn>
                <a:cxn ang="0">
                  <a:pos x="connsiteX6388" y="connsiteY6388"/>
                </a:cxn>
                <a:cxn ang="0">
                  <a:pos x="connsiteX6389" y="connsiteY6389"/>
                </a:cxn>
                <a:cxn ang="0">
                  <a:pos x="connsiteX6390" y="connsiteY6390"/>
                </a:cxn>
                <a:cxn ang="0">
                  <a:pos x="connsiteX6391" y="connsiteY6391"/>
                </a:cxn>
                <a:cxn ang="0">
                  <a:pos x="connsiteX6392" y="connsiteY6392"/>
                </a:cxn>
                <a:cxn ang="0">
                  <a:pos x="connsiteX6393" y="connsiteY6393"/>
                </a:cxn>
                <a:cxn ang="0">
                  <a:pos x="connsiteX6394" y="connsiteY6394"/>
                </a:cxn>
                <a:cxn ang="0">
                  <a:pos x="connsiteX6395" y="connsiteY6395"/>
                </a:cxn>
                <a:cxn ang="0">
                  <a:pos x="connsiteX6396" y="connsiteY6396"/>
                </a:cxn>
                <a:cxn ang="0">
                  <a:pos x="connsiteX6397" y="connsiteY6397"/>
                </a:cxn>
                <a:cxn ang="0">
                  <a:pos x="connsiteX6398" y="connsiteY6398"/>
                </a:cxn>
                <a:cxn ang="0">
                  <a:pos x="connsiteX6399" y="connsiteY6399"/>
                </a:cxn>
                <a:cxn ang="0">
                  <a:pos x="connsiteX6400" y="connsiteY6400"/>
                </a:cxn>
                <a:cxn ang="0">
                  <a:pos x="connsiteX6401" y="connsiteY6401"/>
                </a:cxn>
                <a:cxn ang="0">
                  <a:pos x="connsiteX6402" y="connsiteY6402"/>
                </a:cxn>
                <a:cxn ang="0">
                  <a:pos x="connsiteX6403" y="connsiteY6403"/>
                </a:cxn>
                <a:cxn ang="0">
                  <a:pos x="connsiteX6404" y="connsiteY6404"/>
                </a:cxn>
                <a:cxn ang="0">
                  <a:pos x="connsiteX6405" y="connsiteY6405"/>
                </a:cxn>
                <a:cxn ang="0">
                  <a:pos x="connsiteX6406" y="connsiteY6406"/>
                </a:cxn>
                <a:cxn ang="0">
                  <a:pos x="connsiteX6407" y="connsiteY6407"/>
                </a:cxn>
                <a:cxn ang="0">
                  <a:pos x="connsiteX6408" y="connsiteY6408"/>
                </a:cxn>
                <a:cxn ang="0">
                  <a:pos x="connsiteX6409" y="connsiteY6409"/>
                </a:cxn>
                <a:cxn ang="0">
                  <a:pos x="connsiteX6410" y="connsiteY6410"/>
                </a:cxn>
                <a:cxn ang="0">
                  <a:pos x="connsiteX6411" y="connsiteY6411"/>
                </a:cxn>
                <a:cxn ang="0">
                  <a:pos x="connsiteX6412" y="connsiteY6412"/>
                </a:cxn>
                <a:cxn ang="0">
                  <a:pos x="connsiteX6413" y="connsiteY6413"/>
                </a:cxn>
                <a:cxn ang="0">
                  <a:pos x="connsiteX6414" y="connsiteY6414"/>
                </a:cxn>
                <a:cxn ang="0">
                  <a:pos x="connsiteX6415" y="connsiteY6415"/>
                </a:cxn>
                <a:cxn ang="0">
                  <a:pos x="connsiteX6416" y="connsiteY6416"/>
                </a:cxn>
                <a:cxn ang="0">
                  <a:pos x="connsiteX6417" y="connsiteY6417"/>
                </a:cxn>
                <a:cxn ang="0">
                  <a:pos x="connsiteX6418" y="connsiteY6418"/>
                </a:cxn>
                <a:cxn ang="0">
                  <a:pos x="connsiteX6419" y="connsiteY6419"/>
                </a:cxn>
                <a:cxn ang="0">
                  <a:pos x="connsiteX6420" y="connsiteY6420"/>
                </a:cxn>
                <a:cxn ang="0">
                  <a:pos x="connsiteX6421" y="connsiteY6421"/>
                </a:cxn>
                <a:cxn ang="0">
                  <a:pos x="connsiteX6422" y="connsiteY6422"/>
                </a:cxn>
                <a:cxn ang="0">
                  <a:pos x="connsiteX6423" y="connsiteY6423"/>
                </a:cxn>
                <a:cxn ang="0">
                  <a:pos x="connsiteX6424" y="connsiteY6424"/>
                </a:cxn>
                <a:cxn ang="0">
                  <a:pos x="connsiteX6425" y="connsiteY6425"/>
                </a:cxn>
                <a:cxn ang="0">
                  <a:pos x="connsiteX6426" y="connsiteY6426"/>
                </a:cxn>
                <a:cxn ang="0">
                  <a:pos x="connsiteX6427" y="connsiteY6427"/>
                </a:cxn>
                <a:cxn ang="0">
                  <a:pos x="connsiteX6428" y="connsiteY6428"/>
                </a:cxn>
                <a:cxn ang="0">
                  <a:pos x="connsiteX6429" y="connsiteY6429"/>
                </a:cxn>
                <a:cxn ang="0">
                  <a:pos x="connsiteX6430" y="connsiteY6430"/>
                </a:cxn>
                <a:cxn ang="0">
                  <a:pos x="connsiteX6431" y="connsiteY6431"/>
                </a:cxn>
                <a:cxn ang="0">
                  <a:pos x="connsiteX6432" y="connsiteY6432"/>
                </a:cxn>
                <a:cxn ang="0">
                  <a:pos x="connsiteX6433" y="connsiteY6433"/>
                </a:cxn>
                <a:cxn ang="0">
                  <a:pos x="connsiteX6434" y="connsiteY6434"/>
                </a:cxn>
                <a:cxn ang="0">
                  <a:pos x="connsiteX6435" y="connsiteY6435"/>
                </a:cxn>
                <a:cxn ang="0">
                  <a:pos x="connsiteX6436" y="connsiteY6436"/>
                </a:cxn>
                <a:cxn ang="0">
                  <a:pos x="connsiteX6437" y="connsiteY6437"/>
                </a:cxn>
                <a:cxn ang="0">
                  <a:pos x="connsiteX6438" y="connsiteY6438"/>
                </a:cxn>
                <a:cxn ang="0">
                  <a:pos x="connsiteX6439" y="connsiteY6439"/>
                </a:cxn>
                <a:cxn ang="0">
                  <a:pos x="connsiteX6440" y="connsiteY6440"/>
                </a:cxn>
                <a:cxn ang="0">
                  <a:pos x="connsiteX6441" y="connsiteY6441"/>
                </a:cxn>
                <a:cxn ang="0">
                  <a:pos x="connsiteX6442" y="connsiteY6442"/>
                </a:cxn>
                <a:cxn ang="0">
                  <a:pos x="connsiteX6443" y="connsiteY6443"/>
                </a:cxn>
                <a:cxn ang="0">
                  <a:pos x="connsiteX6444" y="connsiteY6444"/>
                </a:cxn>
                <a:cxn ang="0">
                  <a:pos x="connsiteX6445" y="connsiteY6445"/>
                </a:cxn>
                <a:cxn ang="0">
                  <a:pos x="connsiteX6446" y="connsiteY6446"/>
                </a:cxn>
                <a:cxn ang="0">
                  <a:pos x="connsiteX6447" y="connsiteY6447"/>
                </a:cxn>
                <a:cxn ang="0">
                  <a:pos x="connsiteX6448" y="connsiteY6448"/>
                </a:cxn>
                <a:cxn ang="0">
                  <a:pos x="connsiteX6449" y="connsiteY6449"/>
                </a:cxn>
                <a:cxn ang="0">
                  <a:pos x="connsiteX6450" y="connsiteY6450"/>
                </a:cxn>
                <a:cxn ang="0">
                  <a:pos x="connsiteX6451" y="connsiteY6451"/>
                </a:cxn>
                <a:cxn ang="0">
                  <a:pos x="connsiteX6452" y="connsiteY6452"/>
                </a:cxn>
                <a:cxn ang="0">
                  <a:pos x="connsiteX6453" y="connsiteY6453"/>
                </a:cxn>
                <a:cxn ang="0">
                  <a:pos x="connsiteX6454" y="connsiteY6454"/>
                </a:cxn>
                <a:cxn ang="0">
                  <a:pos x="connsiteX6455" y="connsiteY6455"/>
                </a:cxn>
                <a:cxn ang="0">
                  <a:pos x="connsiteX6456" y="connsiteY6456"/>
                </a:cxn>
                <a:cxn ang="0">
                  <a:pos x="connsiteX6457" y="connsiteY6457"/>
                </a:cxn>
                <a:cxn ang="0">
                  <a:pos x="connsiteX6458" y="connsiteY6458"/>
                </a:cxn>
                <a:cxn ang="0">
                  <a:pos x="connsiteX6459" y="connsiteY6459"/>
                </a:cxn>
                <a:cxn ang="0">
                  <a:pos x="connsiteX6460" y="connsiteY6460"/>
                </a:cxn>
                <a:cxn ang="0">
                  <a:pos x="connsiteX6461" y="connsiteY6461"/>
                </a:cxn>
                <a:cxn ang="0">
                  <a:pos x="connsiteX6462" y="connsiteY6462"/>
                </a:cxn>
                <a:cxn ang="0">
                  <a:pos x="connsiteX6463" y="connsiteY6463"/>
                </a:cxn>
                <a:cxn ang="0">
                  <a:pos x="connsiteX6464" y="connsiteY6464"/>
                </a:cxn>
                <a:cxn ang="0">
                  <a:pos x="connsiteX6465" y="connsiteY6465"/>
                </a:cxn>
                <a:cxn ang="0">
                  <a:pos x="connsiteX6466" y="connsiteY6466"/>
                </a:cxn>
                <a:cxn ang="0">
                  <a:pos x="connsiteX6467" y="connsiteY6467"/>
                </a:cxn>
                <a:cxn ang="0">
                  <a:pos x="connsiteX6468" y="connsiteY6468"/>
                </a:cxn>
                <a:cxn ang="0">
                  <a:pos x="connsiteX6469" y="connsiteY6469"/>
                </a:cxn>
                <a:cxn ang="0">
                  <a:pos x="connsiteX6470" y="connsiteY6470"/>
                </a:cxn>
                <a:cxn ang="0">
                  <a:pos x="connsiteX6471" y="connsiteY6471"/>
                </a:cxn>
                <a:cxn ang="0">
                  <a:pos x="connsiteX6472" y="connsiteY6472"/>
                </a:cxn>
                <a:cxn ang="0">
                  <a:pos x="connsiteX6473" y="connsiteY6473"/>
                </a:cxn>
                <a:cxn ang="0">
                  <a:pos x="connsiteX6474" y="connsiteY6474"/>
                </a:cxn>
                <a:cxn ang="0">
                  <a:pos x="connsiteX6475" y="connsiteY6475"/>
                </a:cxn>
                <a:cxn ang="0">
                  <a:pos x="connsiteX6476" y="connsiteY6476"/>
                </a:cxn>
                <a:cxn ang="0">
                  <a:pos x="connsiteX6477" y="connsiteY6477"/>
                </a:cxn>
                <a:cxn ang="0">
                  <a:pos x="connsiteX6478" y="connsiteY6478"/>
                </a:cxn>
                <a:cxn ang="0">
                  <a:pos x="connsiteX6479" y="connsiteY6479"/>
                </a:cxn>
                <a:cxn ang="0">
                  <a:pos x="connsiteX6480" y="connsiteY6480"/>
                </a:cxn>
                <a:cxn ang="0">
                  <a:pos x="connsiteX6481" y="connsiteY6481"/>
                </a:cxn>
                <a:cxn ang="0">
                  <a:pos x="connsiteX6482" y="connsiteY6482"/>
                </a:cxn>
                <a:cxn ang="0">
                  <a:pos x="connsiteX6483" y="connsiteY6483"/>
                </a:cxn>
                <a:cxn ang="0">
                  <a:pos x="connsiteX6484" y="connsiteY6484"/>
                </a:cxn>
                <a:cxn ang="0">
                  <a:pos x="connsiteX6485" y="connsiteY6485"/>
                </a:cxn>
                <a:cxn ang="0">
                  <a:pos x="connsiteX6486" y="connsiteY6486"/>
                </a:cxn>
                <a:cxn ang="0">
                  <a:pos x="connsiteX6487" y="connsiteY6487"/>
                </a:cxn>
                <a:cxn ang="0">
                  <a:pos x="connsiteX6488" y="connsiteY6488"/>
                </a:cxn>
                <a:cxn ang="0">
                  <a:pos x="connsiteX6489" y="connsiteY6489"/>
                </a:cxn>
                <a:cxn ang="0">
                  <a:pos x="connsiteX6490" y="connsiteY6490"/>
                </a:cxn>
                <a:cxn ang="0">
                  <a:pos x="connsiteX6491" y="connsiteY6491"/>
                </a:cxn>
                <a:cxn ang="0">
                  <a:pos x="connsiteX6492" y="connsiteY6492"/>
                </a:cxn>
                <a:cxn ang="0">
                  <a:pos x="connsiteX6493" y="connsiteY6493"/>
                </a:cxn>
                <a:cxn ang="0">
                  <a:pos x="connsiteX6494" y="connsiteY6494"/>
                </a:cxn>
                <a:cxn ang="0">
                  <a:pos x="connsiteX6495" y="connsiteY6495"/>
                </a:cxn>
                <a:cxn ang="0">
                  <a:pos x="connsiteX6496" y="connsiteY6496"/>
                </a:cxn>
                <a:cxn ang="0">
                  <a:pos x="connsiteX6497" y="connsiteY6497"/>
                </a:cxn>
                <a:cxn ang="0">
                  <a:pos x="connsiteX6498" y="connsiteY6498"/>
                </a:cxn>
                <a:cxn ang="0">
                  <a:pos x="connsiteX6499" y="connsiteY6499"/>
                </a:cxn>
                <a:cxn ang="0">
                  <a:pos x="connsiteX6500" y="connsiteY6500"/>
                </a:cxn>
                <a:cxn ang="0">
                  <a:pos x="connsiteX6501" y="connsiteY6501"/>
                </a:cxn>
                <a:cxn ang="0">
                  <a:pos x="connsiteX6502" y="connsiteY6502"/>
                </a:cxn>
                <a:cxn ang="0">
                  <a:pos x="connsiteX6503" y="connsiteY6503"/>
                </a:cxn>
                <a:cxn ang="0">
                  <a:pos x="connsiteX6504" y="connsiteY6504"/>
                </a:cxn>
                <a:cxn ang="0">
                  <a:pos x="connsiteX6505" y="connsiteY6505"/>
                </a:cxn>
                <a:cxn ang="0">
                  <a:pos x="connsiteX6506" y="connsiteY6506"/>
                </a:cxn>
                <a:cxn ang="0">
                  <a:pos x="connsiteX6507" y="connsiteY6507"/>
                </a:cxn>
                <a:cxn ang="0">
                  <a:pos x="connsiteX6508" y="connsiteY6508"/>
                </a:cxn>
                <a:cxn ang="0">
                  <a:pos x="connsiteX6509" y="connsiteY6509"/>
                </a:cxn>
                <a:cxn ang="0">
                  <a:pos x="connsiteX6510" y="connsiteY6510"/>
                </a:cxn>
                <a:cxn ang="0">
                  <a:pos x="connsiteX6511" y="connsiteY6511"/>
                </a:cxn>
                <a:cxn ang="0">
                  <a:pos x="connsiteX6512" y="connsiteY6512"/>
                </a:cxn>
                <a:cxn ang="0">
                  <a:pos x="connsiteX6513" y="connsiteY6513"/>
                </a:cxn>
                <a:cxn ang="0">
                  <a:pos x="connsiteX6514" y="connsiteY6514"/>
                </a:cxn>
                <a:cxn ang="0">
                  <a:pos x="connsiteX6515" y="connsiteY6515"/>
                </a:cxn>
                <a:cxn ang="0">
                  <a:pos x="connsiteX6516" y="connsiteY6516"/>
                </a:cxn>
                <a:cxn ang="0">
                  <a:pos x="connsiteX6517" y="connsiteY6517"/>
                </a:cxn>
                <a:cxn ang="0">
                  <a:pos x="connsiteX6518" y="connsiteY6518"/>
                </a:cxn>
                <a:cxn ang="0">
                  <a:pos x="connsiteX6519" y="connsiteY6519"/>
                </a:cxn>
                <a:cxn ang="0">
                  <a:pos x="connsiteX6520" y="connsiteY6520"/>
                </a:cxn>
                <a:cxn ang="0">
                  <a:pos x="connsiteX6521" y="connsiteY6521"/>
                </a:cxn>
                <a:cxn ang="0">
                  <a:pos x="connsiteX6522" y="connsiteY6522"/>
                </a:cxn>
                <a:cxn ang="0">
                  <a:pos x="connsiteX6523" y="connsiteY6523"/>
                </a:cxn>
                <a:cxn ang="0">
                  <a:pos x="connsiteX6524" y="connsiteY6524"/>
                </a:cxn>
                <a:cxn ang="0">
                  <a:pos x="connsiteX6525" y="connsiteY6525"/>
                </a:cxn>
                <a:cxn ang="0">
                  <a:pos x="connsiteX6526" y="connsiteY6526"/>
                </a:cxn>
                <a:cxn ang="0">
                  <a:pos x="connsiteX6527" y="connsiteY6527"/>
                </a:cxn>
                <a:cxn ang="0">
                  <a:pos x="connsiteX6528" y="connsiteY6528"/>
                </a:cxn>
                <a:cxn ang="0">
                  <a:pos x="connsiteX6529" y="connsiteY6529"/>
                </a:cxn>
                <a:cxn ang="0">
                  <a:pos x="connsiteX6530" y="connsiteY6530"/>
                </a:cxn>
                <a:cxn ang="0">
                  <a:pos x="connsiteX6531" y="connsiteY6531"/>
                </a:cxn>
                <a:cxn ang="0">
                  <a:pos x="connsiteX6532" y="connsiteY6532"/>
                </a:cxn>
                <a:cxn ang="0">
                  <a:pos x="connsiteX6533" y="connsiteY6533"/>
                </a:cxn>
                <a:cxn ang="0">
                  <a:pos x="connsiteX6534" y="connsiteY6534"/>
                </a:cxn>
                <a:cxn ang="0">
                  <a:pos x="connsiteX6535" y="connsiteY6535"/>
                </a:cxn>
                <a:cxn ang="0">
                  <a:pos x="connsiteX6536" y="connsiteY6536"/>
                </a:cxn>
                <a:cxn ang="0">
                  <a:pos x="connsiteX6537" y="connsiteY6537"/>
                </a:cxn>
                <a:cxn ang="0">
                  <a:pos x="connsiteX6538" y="connsiteY6538"/>
                </a:cxn>
                <a:cxn ang="0">
                  <a:pos x="connsiteX6539" y="connsiteY6539"/>
                </a:cxn>
                <a:cxn ang="0">
                  <a:pos x="connsiteX6540" y="connsiteY6540"/>
                </a:cxn>
                <a:cxn ang="0">
                  <a:pos x="connsiteX6541" y="connsiteY6541"/>
                </a:cxn>
                <a:cxn ang="0">
                  <a:pos x="connsiteX6542" y="connsiteY6542"/>
                </a:cxn>
                <a:cxn ang="0">
                  <a:pos x="connsiteX6543" y="connsiteY6543"/>
                </a:cxn>
                <a:cxn ang="0">
                  <a:pos x="connsiteX6544" y="connsiteY6544"/>
                </a:cxn>
                <a:cxn ang="0">
                  <a:pos x="connsiteX6545" y="connsiteY6545"/>
                </a:cxn>
                <a:cxn ang="0">
                  <a:pos x="connsiteX6546" y="connsiteY6546"/>
                </a:cxn>
                <a:cxn ang="0">
                  <a:pos x="connsiteX6547" y="connsiteY6547"/>
                </a:cxn>
                <a:cxn ang="0">
                  <a:pos x="connsiteX6548" y="connsiteY6548"/>
                </a:cxn>
                <a:cxn ang="0">
                  <a:pos x="connsiteX6549" y="connsiteY6549"/>
                </a:cxn>
                <a:cxn ang="0">
                  <a:pos x="connsiteX6550" y="connsiteY6550"/>
                </a:cxn>
                <a:cxn ang="0">
                  <a:pos x="connsiteX6551" y="connsiteY6551"/>
                </a:cxn>
                <a:cxn ang="0">
                  <a:pos x="connsiteX6552" y="connsiteY6552"/>
                </a:cxn>
                <a:cxn ang="0">
                  <a:pos x="connsiteX6553" y="connsiteY6553"/>
                </a:cxn>
                <a:cxn ang="0">
                  <a:pos x="connsiteX6554" y="connsiteY6554"/>
                </a:cxn>
                <a:cxn ang="0">
                  <a:pos x="connsiteX6555" y="connsiteY6555"/>
                </a:cxn>
                <a:cxn ang="0">
                  <a:pos x="connsiteX6556" y="connsiteY6556"/>
                </a:cxn>
                <a:cxn ang="0">
                  <a:pos x="connsiteX6557" y="connsiteY6557"/>
                </a:cxn>
                <a:cxn ang="0">
                  <a:pos x="connsiteX6558" y="connsiteY6558"/>
                </a:cxn>
                <a:cxn ang="0">
                  <a:pos x="connsiteX6559" y="connsiteY6559"/>
                </a:cxn>
                <a:cxn ang="0">
                  <a:pos x="connsiteX6560" y="connsiteY6560"/>
                </a:cxn>
                <a:cxn ang="0">
                  <a:pos x="connsiteX6561" y="connsiteY6561"/>
                </a:cxn>
                <a:cxn ang="0">
                  <a:pos x="connsiteX6562" y="connsiteY6562"/>
                </a:cxn>
                <a:cxn ang="0">
                  <a:pos x="connsiteX6563" y="connsiteY6563"/>
                </a:cxn>
                <a:cxn ang="0">
                  <a:pos x="connsiteX6564" y="connsiteY6564"/>
                </a:cxn>
                <a:cxn ang="0">
                  <a:pos x="connsiteX6565" y="connsiteY6565"/>
                </a:cxn>
                <a:cxn ang="0">
                  <a:pos x="connsiteX6566" y="connsiteY6566"/>
                </a:cxn>
                <a:cxn ang="0">
                  <a:pos x="connsiteX6567" y="connsiteY6567"/>
                </a:cxn>
                <a:cxn ang="0">
                  <a:pos x="connsiteX6568" y="connsiteY6568"/>
                </a:cxn>
                <a:cxn ang="0">
                  <a:pos x="connsiteX6569" y="connsiteY6569"/>
                </a:cxn>
                <a:cxn ang="0">
                  <a:pos x="connsiteX6570" y="connsiteY6570"/>
                </a:cxn>
                <a:cxn ang="0">
                  <a:pos x="connsiteX6571" y="connsiteY6571"/>
                </a:cxn>
                <a:cxn ang="0">
                  <a:pos x="connsiteX6572" y="connsiteY6572"/>
                </a:cxn>
                <a:cxn ang="0">
                  <a:pos x="connsiteX6573" y="connsiteY6573"/>
                </a:cxn>
                <a:cxn ang="0">
                  <a:pos x="connsiteX6574" y="connsiteY6574"/>
                </a:cxn>
                <a:cxn ang="0">
                  <a:pos x="connsiteX6575" y="connsiteY6575"/>
                </a:cxn>
                <a:cxn ang="0">
                  <a:pos x="connsiteX6576" y="connsiteY6576"/>
                </a:cxn>
                <a:cxn ang="0">
                  <a:pos x="connsiteX6577" y="connsiteY6577"/>
                </a:cxn>
                <a:cxn ang="0">
                  <a:pos x="connsiteX6578" y="connsiteY6578"/>
                </a:cxn>
                <a:cxn ang="0">
                  <a:pos x="connsiteX6579" y="connsiteY6579"/>
                </a:cxn>
                <a:cxn ang="0">
                  <a:pos x="connsiteX6580" y="connsiteY6580"/>
                </a:cxn>
                <a:cxn ang="0">
                  <a:pos x="connsiteX6581" y="connsiteY6581"/>
                </a:cxn>
                <a:cxn ang="0">
                  <a:pos x="connsiteX6582" y="connsiteY6582"/>
                </a:cxn>
                <a:cxn ang="0">
                  <a:pos x="connsiteX6583" y="connsiteY6583"/>
                </a:cxn>
                <a:cxn ang="0">
                  <a:pos x="connsiteX6584" y="connsiteY6584"/>
                </a:cxn>
                <a:cxn ang="0">
                  <a:pos x="connsiteX6585" y="connsiteY6585"/>
                </a:cxn>
                <a:cxn ang="0">
                  <a:pos x="connsiteX6586" y="connsiteY6586"/>
                </a:cxn>
                <a:cxn ang="0">
                  <a:pos x="connsiteX6587" y="connsiteY6587"/>
                </a:cxn>
                <a:cxn ang="0">
                  <a:pos x="connsiteX6588" y="connsiteY6588"/>
                </a:cxn>
                <a:cxn ang="0">
                  <a:pos x="connsiteX6589" y="connsiteY6589"/>
                </a:cxn>
                <a:cxn ang="0">
                  <a:pos x="connsiteX6590" y="connsiteY6590"/>
                </a:cxn>
                <a:cxn ang="0">
                  <a:pos x="connsiteX6591" y="connsiteY6591"/>
                </a:cxn>
                <a:cxn ang="0">
                  <a:pos x="connsiteX6592" y="connsiteY6592"/>
                </a:cxn>
                <a:cxn ang="0">
                  <a:pos x="connsiteX6593" y="connsiteY6593"/>
                </a:cxn>
                <a:cxn ang="0">
                  <a:pos x="connsiteX6594" y="connsiteY6594"/>
                </a:cxn>
                <a:cxn ang="0">
                  <a:pos x="connsiteX6595" y="connsiteY6595"/>
                </a:cxn>
                <a:cxn ang="0">
                  <a:pos x="connsiteX6596" y="connsiteY6596"/>
                </a:cxn>
                <a:cxn ang="0">
                  <a:pos x="connsiteX6597" y="connsiteY6597"/>
                </a:cxn>
                <a:cxn ang="0">
                  <a:pos x="connsiteX6598" y="connsiteY6598"/>
                </a:cxn>
                <a:cxn ang="0">
                  <a:pos x="connsiteX6599" y="connsiteY6599"/>
                </a:cxn>
                <a:cxn ang="0">
                  <a:pos x="connsiteX6600" y="connsiteY6600"/>
                </a:cxn>
                <a:cxn ang="0">
                  <a:pos x="connsiteX6601" y="connsiteY6601"/>
                </a:cxn>
                <a:cxn ang="0">
                  <a:pos x="connsiteX6602" y="connsiteY6602"/>
                </a:cxn>
                <a:cxn ang="0">
                  <a:pos x="connsiteX6603" y="connsiteY6603"/>
                </a:cxn>
                <a:cxn ang="0">
                  <a:pos x="connsiteX6604" y="connsiteY6604"/>
                </a:cxn>
                <a:cxn ang="0">
                  <a:pos x="connsiteX6605" y="connsiteY6605"/>
                </a:cxn>
                <a:cxn ang="0">
                  <a:pos x="connsiteX6606" y="connsiteY6606"/>
                </a:cxn>
                <a:cxn ang="0">
                  <a:pos x="connsiteX6607" y="connsiteY6607"/>
                </a:cxn>
                <a:cxn ang="0">
                  <a:pos x="connsiteX6608" y="connsiteY6608"/>
                </a:cxn>
                <a:cxn ang="0">
                  <a:pos x="connsiteX6609" y="connsiteY6609"/>
                </a:cxn>
                <a:cxn ang="0">
                  <a:pos x="connsiteX6610" y="connsiteY6610"/>
                </a:cxn>
                <a:cxn ang="0">
                  <a:pos x="connsiteX6611" y="connsiteY6611"/>
                </a:cxn>
                <a:cxn ang="0">
                  <a:pos x="connsiteX6612" y="connsiteY6612"/>
                </a:cxn>
                <a:cxn ang="0">
                  <a:pos x="connsiteX6613" y="connsiteY6613"/>
                </a:cxn>
                <a:cxn ang="0">
                  <a:pos x="connsiteX6614" y="connsiteY6614"/>
                </a:cxn>
                <a:cxn ang="0">
                  <a:pos x="connsiteX6615" y="connsiteY6615"/>
                </a:cxn>
                <a:cxn ang="0">
                  <a:pos x="connsiteX6616" y="connsiteY6616"/>
                </a:cxn>
                <a:cxn ang="0">
                  <a:pos x="connsiteX6617" y="connsiteY6617"/>
                </a:cxn>
                <a:cxn ang="0">
                  <a:pos x="connsiteX6618" y="connsiteY6618"/>
                </a:cxn>
                <a:cxn ang="0">
                  <a:pos x="connsiteX6619" y="connsiteY6619"/>
                </a:cxn>
                <a:cxn ang="0">
                  <a:pos x="connsiteX6620" y="connsiteY6620"/>
                </a:cxn>
                <a:cxn ang="0">
                  <a:pos x="connsiteX6621" y="connsiteY6621"/>
                </a:cxn>
                <a:cxn ang="0">
                  <a:pos x="connsiteX6622" y="connsiteY6622"/>
                </a:cxn>
                <a:cxn ang="0">
                  <a:pos x="connsiteX6623" y="connsiteY6623"/>
                </a:cxn>
                <a:cxn ang="0">
                  <a:pos x="connsiteX6624" y="connsiteY6624"/>
                </a:cxn>
                <a:cxn ang="0">
                  <a:pos x="connsiteX6625" y="connsiteY6625"/>
                </a:cxn>
                <a:cxn ang="0">
                  <a:pos x="connsiteX6626" y="connsiteY6626"/>
                </a:cxn>
                <a:cxn ang="0">
                  <a:pos x="connsiteX6627" y="connsiteY6627"/>
                </a:cxn>
                <a:cxn ang="0">
                  <a:pos x="connsiteX6628" y="connsiteY6628"/>
                </a:cxn>
                <a:cxn ang="0">
                  <a:pos x="connsiteX6629" y="connsiteY6629"/>
                </a:cxn>
                <a:cxn ang="0">
                  <a:pos x="connsiteX6630" y="connsiteY6630"/>
                </a:cxn>
                <a:cxn ang="0">
                  <a:pos x="connsiteX6631" y="connsiteY6631"/>
                </a:cxn>
                <a:cxn ang="0">
                  <a:pos x="connsiteX6632" y="connsiteY6632"/>
                </a:cxn>
                <a:cxn ang="0">
                  <a:pos x="connsiteX6633" y="connsiteY6633"/>
                </a:cxn>
                <a:cxn ang="0">
                  <a:pos x="connsiteX6634" y="connsiteY6634"/>
                </a:cxn>
                <a:cxn ang="0">
                  <a:pos x="connsiteX6635" y="connsiteY6635"/>
                </a:cxn>
                <a:cxn ang="0">
                  <a:pos x="connsiteX6636" y="connsiteY6636"/>
                </a:cxn>
                <a:cxn ang="0">
                  <a:pos x="connsiteX6637" y="connsiteY6637"/>
                </a:cxn>
                <a:cxn ang="0">
                  <a:pos x="connsiteX6638" y="connsiteY6638"/>
                </a:cxn>
                <a:cxn ang="0">
                  <a:pos x="connsiteX6639" y="connsiteY6639"/>
                </a:cxn>
                <a:cxn ang="0">
                  <a:pos x="connsiteX6640" y="connsiteY6640"/>
                </a:cxn>
                <a:cxn ang="0">
                  <a:pos x="connsiteX6641" y="connsiteY6641"/>
                </a:cxn>
                <a:cxn ang="0">
                  <a:pos x="connsiteX6642" y="connsiteY6642"/>
                </a:cxn>
                <a:cxn ang="0">
                  <a:pos x="connsiteX6643" y="connsiteY6643"/>
                </a:cxn>
                <a:cxn ang="0">
                  <a:pos x="connsiteX6644" y="connsiteY6644"/>
                </a:cxn>
                <a:cxn ang="0">
                  <a:pos x="connsiteX6645" y="connsiteY6645"/>
                </a:cxn>
                <a:cxn ang="0">
                  <a:pos x="connsiteX6646" y="connsiteY6646"/>
                </a:cxn>
                <a:cxn ang="0">
                  <a:pos x="connsiteX6647" y="connsiteY6647"/>
                </a:cxn>
                <a:cxn ang="0">
                  <a:pos x="connsiteX6648" y="connsiteY6648"/>
                </a:cxn>
                <a:cxn ang="0">
                  <a:pos x="connsiteX6649" y="connsiteY6649"/>
                </a:cxn>
                <a:cxn ang="0">
                  <a:pos x="connsiteX6650" y="connsiteY6650"/>
                </a:cxn>
                <a:cxn ang="0">
                  <a:pos x="connsiteX6651" y="connsiteY6651"/>
                </a:cxn>
                <a:cxn ang="0">
                  <a:pos x="connsiteX6652" y="connsiteY6652"/>
                </a:cxn>
                <a:cxn ang="0">
                  <a:pos x="connsiteX6653" y="connsiteY6653"/>
                </a:cxn>
                <a:cxn ang="0">
                  <a:pos x="connsiteX6654" y="connsiteY6654"/>
                </a:cxn>
                <a:cxn ang="0">
                  <a:pos x="connsiteX6655" y="connsiteY6655"/>
                </a:cxn>
                <a:cxn ang="0">
                  <a:pos x="connsiteX6656" y="connsiteY6656"/>
                </a:cxn>
                <a:cxn ang="0">
                  <a:pos x="connsiteX6657" y="connsiteY6657"/>
                </a:cxn>
                <a:cxn ang="0">
                  <a:pos x="connsiteX6658" y="connsiteY6658"/>
                </a:cxn>
                <a:cxn ang="0">
                  <a:pos x="connsiteX6659" y="connsiteY6659"/>
                </a:cxn>
                <a:cxn ang="0">
                  <a:pos x="connsiteX6660" y="connsiteY6660"/>
                </a:cxn>
                <a:cxn ang="0">
                  <a:pos x="connsiteX6661" y="connsiteY6661"/>
                </a:cxn>
                <a:cxn ang="0">
                  <a:pos x="connsiteX6662" y="connsiteY6662"/>
                </a:cxn>
                <a:cxn ang="0">
                  <a:pos x="connsiteX6663" y="connsiteY6663"/>
                </a:cxn>
                <a:cxn ang="0">
                  <a:pos x="connsiteX6664" y="connsiteY6664"/>
                </a:cxn>
                <a:cxn ang="0">
                  <a:pos x="connsiteX6665" y="connsiteY6665"/>
                </a:cxn>
                <a:cxn ang="0">
                  <a:pos x="connsiteX6666" y="connsiteY6666"/>
                </a:cxn>
                <a:cxn ang="0">
                  <a:pos x="connsiteX6667" y="connsiteY6667"/>
                </a:cxn>
                <a:cxn ang="0">
                  <a:pos x="connsiteX6668" y="connsiteY6668"/>
                </a:cxn>
                <a:cxn ang="0">
                  <a:pos x="connsiteX6669" y="connsiteY6669"/>
                </a:cxn>
                <a:cxn ang="0">
                  <a:pos x="connsiteX6670" y="connsiteY6670"/>
                </a:cxn>
                <a:cxn ang="0">
                  <a:pos x="connsiteX6671" y="connsiteY6671"/>
                </a:cxn>
                <a:cxn ang="0">
                  <a:pos x="connsiteX6672" y="connsiteY6672"/>
                </a:cxn>
                <a:cxn ang="0">
                  <a:pos x="connsiteX6673" y="connsiteY6673"/>
                </a:cxn>
                <a:cxn ang="0">
                  <a:pos x="connsiteX6674" y="connsiteY6674"/>
                </a:cxn>
                <a:cxn ang="0">
                  <a:pos x="connsiteX6675" y="connsiteY6675"/>
                </a:cxn>
                <a:cxn ang="0">
                  <a:pos x="connsiteX6676" y="connsiteY6676"/>
                </a:cxn>
                <a:cxn ang="0">
                  <a:pos x="connsiteX6677" y="connsiteY6677"/>
                </a:cxn>
                <a:cxn ang="0">
                  <a:pos x="connsiteX6678" y="connsiteY6678"/>
                </a:cxn>
                <a:cxn ang="0">
                  <a:pos x="connsiteX6679" y="connsiteY6679"/>
                </a:cxn>
                <a:cxn ang="0">
                  <a:pos x="connsiteX6680" y="connsiteY6680"/>
                </a:cxn>
                <a:cxn ang="0">
                  <a:pos x="connsiteX6681" y="connsiteY6681"/>
                </a:cxn>
                <a:cxn ang="0">
                  <a:pos x="connsiteX6682" y="connsiteY6682"/>
                </a:cxn>
                <a:cxn ang="0">
                  <a:pos x="connsiteX6683" y="connsiteY6683"/>
                </a:cxn>
                <a:cxn ang="0">
                  <a:pos x="connsiteX6684" y="connsiteY6684"/>
                </a:cxn>
                <a:cxn ang="0">
                  <a:pos x="connsiteX6685" y="connsiteY6685"/>
                </a:cxn>
                <a:cxn ang="0">
                  <a:pos x="connsiteX6686" y="connsiteY6686"/>
                </a:cxn>
                <a:cxn ang="0">
                  <a:pos x="connsiteX6687" y="connsiteY6687"/>
                </a:cxn>
                <a:cxn ang="0">
                  <a:pos x="connsiteX6688" y="connsiteY6688"/>
                </a:cxn>
                <a:cxn ang="0">
                  <a:pos x="connsiteX6689" y="connsiteY6689"/>
                </a:cxn>
                <a:cxn ang="0">
                  <a:pos x="connsiteX6690" y="connsiteY6690"/>
                </a:cxn>
                <a:cxn ang="0">
                  <a:pos x="connsiteX6691" y="connsiteY6691"/>
                </a:cxn>
                <a:cxn ang="0">
                  <a:pos x="connsiteX6692" y="connsiteY6692"/>
                </a:cxn>
                <a:cxn ang="0">
                  <a:pos x="connsiteX6693" y="connsiteY6693"/>
                </a:cxn>
                <a:cxn ang="0">
                  <a:pos x="connsiteX6694" y="connsiteY6694"/>
                </a:cxn>
                <a:cxn ang="0">
                  <a:pos x="connsiteX6695" y="connsiteY6695"/>
                </a:cxn>
                <a:cxn ang="0">
                  <a:pos x="connsiteX6696" y="connsiteY6696"/>
                </a:cxn>
                <a:cxn ang="0">
                  <a:pos x="connsiteX6697" y="connsiteY6697"/>
                </a:cxn>
                <a:cxn ang="0">
                  <a:pos x="connsiteX6698" y="connsiteY6698"/>
                </a:cxn>
                <a:cxn ang="0">
                  <a:pos x="connsiteX6699" y="connsiteY6699"/>
                </a:cxn>
                <a:cxn ang="0">
                  <a:pos x="connsiteX6700" y="connsiteY6700"/>
                </a:cxn>
                <a:cxn ang="0">
                  <a:pos x="connsiteX6701" y="connsiteY6701"/>
                </a:cxn>
                <a:cxn ang="0">
                  <a:pos x="connsiteX6702" y="connsiteY6702"/>
                </a:cxn>
                <a:cxn ang="0">
                  <a:pos x="connsiteX6703" y="connsiteY6703"/>
                </a:cxn>
                <a:cxn ang="0">
                  <a:pos x="connsiteX6704" y="connsiteY6704"/>
                </a:cxn>
                <a:cxn ang="0">
                  <a:pos x="connsiteX6705" y="connsiteY6705"/>
                </a:cxn>
                <a:cxn ang="0">
                  <a:pos x="connsiteX6706" y="connsiteY6706"/>
                </a:cxn>
                <a:cxn ang="0">
                  <a:pos x="connsiteX6707" y="connsiteY6707"/>
                </a:cxn>
                <a:cxn ang="0">
                  <a:pos x="connsiteX6708" y="connsiteY6708"/>
                </a:cxn>
                <a:cxn ang="0">
                  <a:pos x="connsiteX6709" y="connsiteY6709"/>
                </a:cxn>
                <a:cxn ang="0">
                  <a:pos x="connsiteX6710" y="connsiteY6710"/>
                </a:cxn>
                <a:cxn ang="0">
                  <a:pos x="connsiteX6711" y="connsiteY6711"/>
                </a:cxn>
                <a:cxn ang="0">
                  <a:pos x="connsiteX6712" y="connsiteY6712"/>
                </a:cxn>
                <a:cxn ang="0">
                  <a:pos x="connsiteX6713" y="connsiteY6713"/>
                </a:cxn>
                <a:cxn ang="0">
                  <a:pos x="connsiteX6714" y="connsiteY6714"/>
                </a:cxn>
                <a:cxn ang="0">
                  <a:pos x="connsiteX6715" y="connsiteY6715"/>
                </a:cxn>
                <a:cxn ang="0">
                  <a:pos x="connsiteX6716" y="connsiteY6716"/>
                </a:cxn>
                <a:cxn ang="0">
                  <a:pos x="connsiteX6717" y="connsiteY6717"/>
                </a:cxn>
                <a:cxn ang="0">
                  <a:pos x="connsiteX6718" y="connsiteY6718"/>
                </a:cxn>
                <a:cxn ang="0">
                  <a:pos x="connsiteX6719" y="connsiteY6719"/>
                </a:cxn>
                <a:cxn ang="0">
                  <a:pos x="connsiteX6720" y="connsiteY6720"/>
                </a:cxn>
                <a:cxn ang="0">
                  <a:pos x="connsiteX6721" y="connsiteY6721"/>
                </a:cxn>
                <a:cxn ang="0">
                  <a:pos x="connsiteX6722" y="connsiteY6722"/>
                </a:cxn>
                <a:cxn ang="0">
                  <a:pos x="connsiteX6723" y="connsiteY6723"/>
                </a:cxn>
                <a:cxn ang="0">
                  <a:pos x="connsiteX6724" y="connsiteY6724"/>
                </a:cxn>
                <a:cxn ang="0">
                  <a:pos x="connsiteX6725" y="connsiteY6725"/>
                </a:cxn>
                <a:cxn ang="0">
                  <a:pos x="connsiteX6726" y="connsiteY6726"/>
                </a:cxn>
                <a:cxn ang="0">
                  <a:pos x="connsiteX6727" y="connsiteY6727"/>
                </a:cxn>
                <a:cxn ang="0">
                  <a:pos x="connsiteX6728" y="connsiteY6728"/>
                </a:cxn>
                <a:cxn ang="0">
                  <a:pos x="connsiteX6729" y="connsiteY6729"/>
                </a:cxn>
                <a:cxn ang="0">
                  <a:pos x="connsiteX6730" y="connsiteY6730"/>
                </a:cxn>
                <a:cxn ang="0">
                  <a:pos x="connsiteX6731" y="connsiteY6731"/>
                </a:cxn>
                <a:cxn ang="0">
                  <a:pos x="connsiteX6732" y="connsiteY6732"/>
                </a:cxn>
                <a:cxn ang="0">
                  <a:pos x="connsiteX6733" y="connsiteY6733"/>
                </a:cxn>
                <a:cxn ang="0">
                  <a:pos x="connsiteX6734" y="connsiteY6734"/>
                </a:cxn>
                <a:cxn ang="0">
                  <a:pos x="connsiteX6735" y="connsiteY6735"/>
                </a:cxn>
                <a:cxn ang="0">
                  <a:pos x="connsiteX6736" y="connsiteY6736"/>
                </a:cxn>
                <a:cxn ang="0">
                  <a:pos x="connsiteX6737" y="connsiteY6737"/>
                </a:cxn>
                <a:cxn ang="0">
                  <a:pos x="connsiteX6738" y="connsiteY6738"/>
                </a:cxn>
                <a:cxn ang="0">
                  <a:pos x="connsiteX6739" y="connsiteY6739"/>
                </a:cxn>
                <a:cxn ang="0">
                  <a:pos x="connsiteX6740" y="connsiteY6740"/>
                </a:cxn>
                <a:cxn ang="0">
                  <a:pos x="connsiteX6741" y="connsiteY6741"/>
                </a:cxn>
                <a:cxn ang="0">
                  <a:pos x="connsiteX6742" y="connsiteY6742"/>
                </a:cxn>
                <a:cxn ang="0">
                  <a:pos x="connsiteX6743" y="connsiteY6743"/>
                </a:cxn>
                <a:cxn ang="0">
                  <a:pos x="connsiteX6744" y="connsiteY6744"/>
                </a:cxn>
                <a:cxn ang="0">
                  <a:pos x="connsiteX6745" y="connsiteY6745"/>
                </a:cxn>
                <a:cxn ang="0">
                  <a:pos x="connsiteX6746" y="connsiteY6746"/>
                </a:cxn>
                <a:cxn ang="0">
                  <a:pos x="connsiteX6747" y="connsiteY6747"/>
                </a:cxn>
                <a:cxn ang="0">
                  <a:pos x="connsiteX6748" y="connsiteY6748"/>
                </a:cxn>
                <a:cxn ang="0">
                  <a:pos x="connsiteX6749" y="connsiteY6749"/>
                </a:cxn>
                <a:cxn ang="0">
                  <a:pos x="connsiteX6750" y="connsiteY6750"/>
                </a:cxn>
                <a:cxn ang="0">
                  <a:pos x="connsiteX6751" y="connsiteY6751"/>
                </a:cxn>
                <a:cxn ang="0">
                  <a:pos x="connsiteX6752" y="connsiteY6752"/>
                </a:cxn>
                <a:cxn ang="0">
                  <a:pos x="connsiteX6753" y="connsiteY6753"/>
                </a:cxn>
                <a:cxn ang="0">
                  <a:pos x="connsiteX6754" y="connsiteY6754"/>
                </a:cxn>
                <a:cxn ang="0">
                  <a:pos x="connsiteX6755" y="connsiteY6755"/>
                </a:cxn>
                <a:cxn ang="0">
                  <a:pos x="connsiteX6756" y="connsiteY6756"/>
                </a:cxn>
                <a:cxn ang="0">
                  <a:pos x="connsiteX6757" y="connsiteY6757"/>
                </a:cxn>
                <a:cxn ang="0">
                  <a:pos x="connsiteX6758" y="connsiteY6758"/>
                </a:cxn>
                <a:cxn ang="0">
                  <a:pos x="connsiteX6759" y="connsiteY6759"/>
                </a:cxn>
                <a:cxn ang="0">
                  <a:pos x="connsiteX6760" y="connsiteY6760"/>
                </a:cxn>
                <a:cxn ang="0">
                  <a:pos x="connsiteX6761" y="connsiteY6761"/>
                </a:cxn>
                <a:cxn ang="0">
                  <a:pos x="connsiteX6762" y="connsiteY6762"/>
                </a:cxn>
                <a:cxn ang="0">
                  <a:pos x="connsiteX6763" y="connsiteY6763"/>
                </a:cxn>
                <a:cxn ang="0">
                  <a:pos x="connsiteX6764" y="connsiteY6764"/>
                </a:cxn>
                <a:cxn ang="0">
                  <a:pos x="connsiteX6765" y="connsiteY6765"/>
                </a:cxn>
                <a:cxn ang="0">
                  <a:pos x="connsiteX6766" y="connsiteY6766"/>
                </a:cxn>
                <a:cxn ang="0">
                  <a:pos x="connsiteX6767" y="connsiteY6767"/>
                </a:cxn>
                <a:cxn ang="0">
                  <a:pos x="connsiteX6768" y="connsiteY6768"/>
                </a:cxn>
                <a:cxn ang="0">
                  <a:pos x="connsiteX6769" y="connsiteY6769"/>
                </a:cxn>
                <a:cxn ang="0">
                  <a:pos x="connsiteX6770" y="connsiteY6770"/>
                </a:cxn>
                <a:cxn ang="0">
                  <a:pos x="connsiteX6771" y="connsiteY6771"/>
                </a:cxn>
                <a:cxn ang="0">
                  <a:pos x="connsiteX6772" y="connsiteY6772"/>
                </a:cxn>
                <a:cxn ang="0">
                  <a:pos x="connsiteX6773" y="connsiteY6773"/>
                </a:cxn>
                <a:cxn ang="0">
                  <a:pos x="connsiteX6774" y="connsiteY6774"/>
                </a:cxn>
                <a:cxn ang="0">
                  <a:pos x="connsiteX6775" y="connsiteY6775"/>
                </a:cxn>
                <a:cxn ang="0">
                  <a:pos x="connsiteX6776" y="connsiteY6776"/>
                </a:cxn>
                <a:cxn ang="0">
                  <a:pos x="connsiteX6777" y="connsiteY6777"/>
                </a:cxn>
                <a:cxn ang="0">
                  <a:pos x="connsiteX6778" y="connsiteY6778"/>
                </a:cxn>
                <a:cxn ang="0">
                  <a:pos x="connsiteX6779" y="connsiteY6779"/>
                </a:cxn>
                <a:cxn ang="0">
                  <a:pos x="connsiteX6780" y="connsiteY6780"/>
                </a:cxn>
                <a:cxn ang="0">
                  <a:pos x="connsiteX6781" y="connsiteY6781"/>
                </a:cxn>
                <a:cxn ang="0">
                  <a:pos x="connsiteX6782" y="connsiteY6782"/>
                </a:cxn>
                <a:cxn ang="0">
                  <a:pos x="connsiteX6783" y="connsiteY6783"/>
                </a:cxn>
                <a:cxn ang="0">
                  <a:pos x="connsiteX6784" y="connsiteY6784"/>
                </a:cxn>
                <a:cxn ang="0">
                  <a:pos x="connsiteX6785" y="connsiteY6785"/>
                </a:cxn>
                <a:cxn ang="0">
                  <a:pos x="connsiteX6786" y="connsiteY6786"/>
                </a:cxn>
                <a:cxn ang="0">
                  <a:pos x="connsiteX6787" y="connsiteY6787"/>
                </a:cxn>
                <a:cxn ang="0">
                  <a:pos x="connsiteX6788" y="connsiteY6788"/>
                </a:cxn>
                <a:cxn ang="0">
                  <a:pos x="connsiteX6789" y="connsiteY6789"/>
                </a:cxn>
                <a:cxn ang="0">
                  <a:pos x="connsiteX6790" y="connsiteY6790"/>
                </a:cxn>
                <a:cxn ang="0">
                  <a:pos x="connsiteX6791" y="connsiteY6791"/>
                </a:cxn>
                <a:cxn ang="0">
                  <a:pos x="connsiteX6792" y="connsiteY6792"/>
                </a:cxn>
                <a:cxn ang="0">
                  <a:pos x="connsiteX6793" y="connsiteY6793"/>
                </a:cxn>
                <a:cxn ang="0">
                  <a:pos x="connsiteX6794" y="connsiteY6794"/>
                </a:cxn>
                <a:cxn ang="0">
                  <a:pos x="connsiteX6795" y="connsiteY6795"/>
                </a:cxn>
                <a:cxn ang="0">
                  <a:pos x="connsiteX6796" y="connsiteY6796"/>
                </a:cxn>
                <a:cxn ang="0">
                  <a:pos x="connsiteX6797" y="connsiteY6797"/>
                </a:cxn>
                <a:cxn ang="0">
                  <a:pos x="connsiteX6798" y="connsiteY6798"/>
                </a:cxn>
                <a:cxn ang="0">
                  <a:pos x="connsiteX6799" y="connsiteY6799"/>
                </a:cxn>
                <a:cxn ang="0">
                  <a:pos x="connsiteX6800" y="connsiteY6800"/>
                </a:cxn>
                <a:cxn ang="0">
                  <a:pos x="connsiteX6801" y="connsiteY6801"/>
                </a:cxn>
                <a:cxn ang="0">
                  <a:pos x="connsiteX6802" y="connsiteY6802"/>
                </a:cxn>
                <a:cxn ang="0">
                  <a:pos x="connsiteX6803" y="connsiteY6803"/>
                </a:cxn>
                <a:cxn ang="0">
                  <a:pos x="connsiteX6804" y="connsiteY6804"/>
                </a:cxn>
                <a:cxn ang="0">
                  <a:pos x="connsiteX6805" y="connsiteY6805"/>
                </a:cxn>
                <a:cxn ang="0">
                  <a:pos x="connsiteX6806" y="connsiteY6806"/>
                </a:cxn>
                <a:cxn ang="0">
                  <a:pos x="connsiteX6807" y="connsiteY6807"/>
                </a:cxn>
                <a:cxn ang="0">
                  <a:pos x="connsiteX6808" y="connsiteY6808"/>
                </a:cxn>
                <a:cxn ang="0">
                  <a:pos x="connsiteX6809" y="connsiteY6809"/>
                </a:cxn>
                <a:cxn ang="0">
                  <a:pos x="connsiteX6810" y="connsiteY6810"/>
                </a:cxn>
                <a:cxn ang="0">
                  <a:pos x="connsiteX6811" y="connsiteY6811"/>
                </a:cxn>
                <a:cxn ang="0">
                  <a:pos x="connsiteX6812" y="connsiteY6812"/>
                </a:cxn>
                <a:cxn ang="0">
                  <a:pos x="connsiteX6813" y="connsiteY6813"/>
                </a:cxn>
                <a:cxn ang="0">
                  <a:pos x="connsiteX6814" y="connsiteY6814"/>
                </a:cxn>
                <a:cxn ang="0">
                  <a:pos x="connsiteX6815" y="connsiteY6815"/>
                </a:cxn>
                <a:cxn ang="0">
                  <a:pos x="connsiteX6816" y="connsiteY6816"/>
                </a:cxn>
                <a:cxn ang="0">
                  <a:pos x="connsiteX6817" y="connsiteY6817"/>
                </a:cxn>
                <a:cxn ang="0">
                  <a:pos x="connsiteX6818" y="connsiteY6818"/>
                </a:cxn>
                <a:cxn ang="0">
                  <a:pos x="connsiteX6819" y="connsiteY6819"/>
                </a:cxn>
                <a:cxn ang="0">
                  <a:pos x="connsiteX6820" y="connsiteY6820"/>
                </a:cxn>
                <a:cxn ang="0">
                  <a:pos x="connsiteX6821" y="connsiteY6821"/>
                </a:cxn>
                <a:cxn ang="0">
                  <a:pos x="connsiteX6822" y="connsiteY6822"/>
                </a:cxn>
                <a:cxn ang="0">
                  <a:pos x="connsiteX6823" y="connsiteY6823"/>
                </a:cxn>
                <a:cxn ang="0">
                  <a:pos x="connsiteX6824" y="connsiteY6824"/>
                </a:cxn>
                <a:cxn ang="0">
                  <a:pos x="connsiteX6825" y="connsiteY6825"/>
                </a:cxn>
                <a:cxn ang="0">
                  <a:pos x="connsiteX6826" y="connsiteY6826"/>
                </a:cxn>
                <a:cxn ang="0">
                  <a:pos x="connsiteX6827" y="connsiteY6827"/>
                </a:cxn>
                <a:cxn ang="0">
                  <a:pos x="connsiteX6828" y="connsiteY6828"/>
                </a:cxn>
                <a:cxn ang="0">
                  <a:pos x="connsiteX6829" y="connsiteY6829"/>
                </a:cxn>
                <a:cxn ang="0">
                  <a:pos x="connsiteX6830" y="connsiteY6830"/>
                </a:cxn>
                <a:cxn ang="0">
                  <a:pos x="connsiteX6831" y="connsiteY6831"/>
                </a:cxn>
                <a:cxn ang="0">
                  <a:pos x="connsiteX6832" y="connsiteY6832"/>
                </a:cxn>
                <a:cxn ang="0">
                  <a:pos x="connsiteX6833" y="connsiteY6833"/>
                </a:cxn>
                <a:cxn ang="0">
                  <a:pos x="connsiteX6834" y="connsiteY6834"/>
                </a:cxn>
                <a:cxn ang="0">
                  <a:pos x="connsiteX6835" y="connsiteY6835"/>
                </a:cxn>
                <a:cxn ang="0">
                  <a:pos x="connsiteX6836" y="connsiteY6836"/>
                </a:cxn>
                <a:cxn ang="0">
                  <a:pos x="connsiteX6837" y="connsiteY6837"/>
                </a:cxn>
                <a:cxn ang="0">
                  <a:pos x="connsiteX6838" y="connsiteY6838"/>
                </a:cxn>
                <a:cxn ang="0">
                  <a:pos x="connsiteX6839" y="connsiteY6839"/>
                </a:cxn>
                <a:cxn ang="0">
                  <a:pos x="connsiteX6840" y="connsiteY6840"/>
                </a:cxn>
                <a:cxn ang="0">
                  <a:pos x="connsiteX6841" y="connsiteY6841"/>
                </a:cxn>
                <a:cxn ang="0">
                  <a:pos x="connsiteX6842" y="connsiteY6842"/>
                </a:cxn>
                <a:cxn ang="0">
                  <a:pos x="connsiteX6843" y="connsiteY6843"/>
                </a:cxn>
                <a:cxn ang="0">
                  <a:pos x="connsiteX6844" y="connsiteY6844"/>
                </a:cxn>
                <a:cxn ang="0">
                  <a:pos x="connsiteX6845" y="connsiteY6845"/>
                </a:cxn>
                <a:cxn ang="0">
                  <a:pos x="connsiteX6846" y="connsiteY6846"/>
                </a:cxn>
                <a:cxn ang="0">
                  <a:pos x="connsiteX6847" y="connsiteY6847"/>
                </a:cxn>
                <a:cxn ang="0">
                  <a:pos x="connsiteX6848" y="connsiteY6848"/>
                </a:cxn>
                <a:cxn ang="0">
                  <a:pos x="connsiteX6849" y="connsiteY6849"/>
                </a:cxn>
                <a:cxn ang="0">
                  <a:pos x="connsiteX6850" y="connsiteY6850"/>
                </a:cxn>
                <a:cxn ang="0">
                  <a:pos x="connsiteX6851" y="connsiteY6851"/>
                </a:cxn>
                <a:cxn ang="0">
                  <a:pos x="connsiteX6852" y="connsiteY6852"/>
                </a:cxn>
                <a:cxn ang="0">
                  <a:pos x="connsiteX6853" y="connsiteY6853"/>
                </a:cxn>
                <a:cxn ang="0">
                  <a:pos x="connsiteX6854" y="connsiteY6854"/>
                </a:cxn>
                <a:cxn ang="0">
                  <a:pos x="connsiteX6855" y="connsiteY6855"/>
                </a:cxn>
                <a:cxn ang="0">
                  <a:pos x="connsiteX6856" y="connsiteY6856"/>
                </a:cxn>
                <a:cxn ang="0">
                  <a:pos x="connsiteX6857" y="connsiteY6857"/>
                </a:cxn>
                <a:cxn ang="0">
                  <a:pos x="connsiteX6858" y="connsiteY6858"/>
                </a:cxn>
                <a:cxn ang="0">
                  <a:pos x="connsiteX6859" y="connsiteY6859"/>
                </a:cxn>
                <a:cxn ang="0">
                  <a:pos x="connsiteX6860" y="connsiteY6860"/>
                </a:cxn>
                <a:cxn ang="0">
                  <a:pos x="connsiteX6861" y="connsiteY6861"/>
                </a:cxn>
                <a:cxn ang="0">
                  <a:pos x="connsiteX6862" y="connsiteY6862"/>
                </a:cxn>
                <a:cxn ang="0">
                  <a:pos x="connsiteX6863" y="connsiteY6863"/>
                </a:cxn>
                <a:cxn ang="0">
                  <a:pos x="connsiteX6864" y="connsiteY6864"/>
                </a:cxn>
                <a:cxn ang="0">
                  <a:pos x="connsiteX6865" y="connsiteY6865"/>
                </a:cxn>
                <a:cxn ang="0">
                  <a:pos x="connsiteX6866" y="connsiteY6866"/>
                </a:cxn>
                <a:cxn ang="0">
                  <a:pos x="connsiteX6867" y="connsiteY6867"/>
                </a:cxn>
                <a:cxn ang="0">
                  <a:pos x="connsiteX6868" y="connsiteY6868"/>
                </a:cxn>
                <a:cxn ang="0">
                  <a:pos x="connsiteX6869" y="connsiteY6869"/>
                </a:cxn>
                <a:cxn ang="0">
                  <a:pos x="connsiteX6870" y="connsiteY6870"/>
                </a:cxn>
                <a:cxn ang="0">
                  <a:pos x="connsiteX6871" y="connsiteY6871"/>
                </a:cxn>
                <a:cxn ang="0">
                  <a:pos x="connsiteX6872" y="connsiteY6872"/>
                </a:cxn>
                <a:cxn ang="0">
                  <a:pos x="connsiteX6873" y="connsiteY6873"/>
                </a:cxn>
                <a:cxn ang="0">
                  <a:pos x="connsiteX6874" y="connsiteY6874"/>
                </a:cxn>
                <a:cxn ang="0">
                  <a:pos x="connsiteX6875" y="connsiteY6875"/>
                </a:cxn>
                <a:cxn ang="0">
                  <a:pos x="connsiteX6876" y="connsiteY6876"/>
                </a:cxn>
                <a:cxn ang="0">
                  <a:pos x="connsiteX6877" y="connsiteY6877"/>
                </a:cxn>
                <a:cxn ang="0">
                  <a:pos x="connsiteX6878" y="connsiteY6878"/>
                </a:cxn>
                <a:cxn ang="0">
                  <a:pos x="connsiteX6879" y="connsiteY6879"/>
                </a:cxn>
                <a:cxn ang="0">
                  <a:pos x="connsiteX6880" y="connsiteY6880"/>
                </a:cxn>
                <a:cxn ang="0">
                  <a:pos x="connsiteX6881" y="connsiteY6881"/>
                </a:cxn>
                <a:cxn ang="0">
                  <a:pos x="connsiteX6882" y="connsiteY6882"/>
                </a:cxn>
                <a:cxn ang="0">
                  <a:pos x="connsiteX6883" y="connsiteY6883"/>
                </a:cxn>
                <a:cxn ang="0">
                  <a:pos x="connsiteX6884" y="connsiteY6884"/>
                </a:cxn>
                <a:cxn ang="0">
                  <a:pos x="connsiteX6885" y="connsiteY6885"/>
                </a:cxn>
                <a:cxn ang="0">
                  <a:pos x="connsiteX6886" y="connsiteY6886"/>
                </a:cxn>
                <a:cxn ang="0">
                  <a:pos x="connsiteX6887" y="connsiteY6887"/>
                </a:cxn>
                <a:cxn ang="0">
                  <a:pos x="connsiteX6888" y="connsiteY6888"/>
                </a:cxn>
                <a:cxn ang="0">
                  <a:pos x="connsiteX6889" y="connsiteY6889"/>
                </a:cxn>
                <a:cxn ang="0">
                  <a:pos x="connsiteX6890" y="connsiteY6890"/>
                </a:cxn>
                <a:cxn ang="0">
                  <a:pos x="connsiteX6891" y="connsiteY6891"/>
                </a:cxn>
                <a:cxn ang="0">
                  <a:pos x="connsiteX6892" y="connsiteY6892"/>
                </a:cxn>
                <a:cxn ang="0">
                  <a:pos x="connsiteX6893" y="connsiteY6893"/>
                </a:cxn>
                <a:cxn ang="0">
                  <a:pos x="connsiteX6894" y="connsiteY6894"/>
                </a:cxn>
                <a:cxn ang="0">
                  <a:pos x="connsiteX6895" y="connsiteY6895"/>
                </a:cxn>
                <a:cxn ang="0">
                  <a:pos x="connsiteX6896" y="connsiteY6896"/>
                </a:cxn>
                <a:cxn ang="0">
                  <a:pos x="connsiteX6897" y="connsiteY6897"/>
                </a:cxn>
                <a:cxn ang="0">
                  <a:pos x="connsiteX6898" y="connsiteY6898"/>
                </a:cxn>
                <a:cxn ang="0">
                  <a:pos x="connsiteX6899" y="connsiteY6899"/>
                </a:cxn>
                <a:cxn ang="0">
                  <a:pos x="connsiteX6900" y="connsiteY6900"/>
                </a:cxn>
                <a:cxn ang="0">
                  <a:pos x="connsiteX6901" y="connsiteY6901"/>
                </a:cxn>
                <a:cxn ang="0">
                  <a:pos x="connsiteX6902" y="connsiteY6902"/>
                </a:cxn>
                <a:cxn ang="0">
                  <a:pos x="connsiteX6903" y="connsiteY6903"/>
                </a:cxn>
                <a:cxn ang="0">
                  <a:pos x="connsiteX6904" y="connsiteY6904"/>
                </a:cxn>
                <a:cxn ang="0">
                  <a:pos x="connsiteX6905" y="connsiteY6905"/>
                </a:cxn>
                <a:cxn ang="0">
                  <a:pos x="connsiteX6906" y="connsiteY6906"/>
                </a:cxn>
                <a:cxn ang="0">
                  <a:pos x="connsiteX6907" y="connsiteY6907"/>
                </a:cxn>
                <a:cxn ang="0">
                  <a:pos x="connsiteX6908" y="connsiteY6908"/>
                </a:cxn>
                <a:cxn ang="0">
                  <a:pos x="connsiteX6909" y="connsiteY6909"/>
                </a:cxn>
                <a:cxn ang="0">
                  <a:pos x="connsiteX6910" y="connsiteY6910"/>
                </a:cxn>
                <a:cxn ang="0">
                  <a:pos x="connsiteX6911" y="connsiteY6911"/>
                </a:cxn>
                <a:cxn ang="0">
                  <a:pos x="connsiteX6912" y="connsiteY6912"/>
                </a:cxn>
                <a:cxn ang="0">
                  <a:pos x="connsiteX6913" y="connsiteY6913"/>
                </a:cxn>
                <a:cxn ang="0">
                  <a:pos x="connsiteX6914" y="connsiteY6914"/>
                </a:cxn>
                <a:cxn ang="0">
                  <a:pos x="connsiteX6915" y="connsiteY6915"/>
                </a:cxn>
                <a:cxn ang="0">
                  <a:pos x="connsiteX6916" y="connsiteY6916"/>
                </a:cxn>
                <a:cxn ang="0">
                  <a:pos x="connsiteX6917" y="connsiteY6917"/>
                </a:cxn>
                <a:cxn ang="0">
                  <a:pos x="connsiteX6918" y="connsiteY6918"/>
                </a:cxn>
                <a:cxn ang="0">
                  <a:pos x="connsiteX6919" y="connsiteY6919"/>
                </a:cxn>
                <a:cxn ang="0">
                  <a:pos x="connsiteX6920" y="connsiteY6920"/>
                </a:cxn>
                <a:cxn ang="0">
                  <a:pos x="connsiteX6921" y="connsiteY6921"/>
                </a:cxn>
                <a:cxn ang="0">
                  <a:pos x="connsiteX6922" y="connsiteY6922"/>
                </a:cxn>
                <a:cxn ang="0">
                  <a:pos x="connsiteX6923" y="connsiteY6923"/>
                </a:cxn>
                <a:cxn ang="0">
                  <a:pos x="connsiteX6924" y="connsiteY6924"/>
                </a:cxn>
                <a:cxn ang="0">
                  <a:pos x="connsiteX6925" y="connsiteY6925"/>
                </a:cxn>
                <a:cxn ang="0">
                  <a:pos x="connsiteX6926" y="connsiteY6926"/>
                </a:cxn>
                <a:cxn ang="0">
                  <a:pos x="connsiteX6927" y="connsiteY6927"/>
                </a:cxn>
                <a:cxn ang="0">
                  <a:pos x="connsiteX6928" y="connsiteY6928"/>
                </a:cxn>
                <a:cxn ang="0">
                  <a:pos x="connsiteX6929" y="connsiteY6929"/>
                </a:cxn>
                <a:cxn ang="0">
                  <a:pos x="connsiteX6930" y="connsiteY6930"/>
                </a:cxn>
                <a:cxn ang="0">
                  <a:pos x="connsiteX6931" y="connsiteY6931"/>
                </a:cxn>
                <a:cxn ang="0">
                  <a:pos x="connsiteX6932" y="connsiteY6932"/>
                </a:cxn>
                <a:cxn ang="0">
                  <a:pos x="connsiteX6933" y="connsiteY6933"/>
                </a:cxn>
                <a:cxn ang="0">
                  <a:pos x="connsiteX6934" y="connsiteY6934"/>
                </a:cxn>
                <a:cxn ang="0">
                  <a:pos x="connsiteX6935" y="connsiteY6935"/>
                </a:cxn>
                <a:cxn ang="0">
                  <a:pos x="connsiteX6936" y="connsiteY6936"/>
                </a:cxn>
                <a:cxn ang="0">
                  <a:pos x="connsiteX6937" y="connsiteY6937"/>
                </a:cxn>
                <a:cxn ang="0">
                  <a:pos x="connsiteX6938" y="connsiteY6938"/>
                </a:cxn>
                <a:cxn ang="0">
                  <a:pos x="connsiteX6939" y="connsiteY6939"/>
                </a:cxn>
                <a:cxn ang="0">
                  <a:pos x="connsiteX6940" y="connsiteY6940"/>
                </a:cxn>
                <a:cxn ang="0">
                  <a:pos x="connsiteX6941" y="connsiteY6941"/>
                </a:cxn>
                <a:cxn ang="0">
                  <a:pos x="connsiteX6942" y="connsiteY6942"/>
                </a:cxn>
                <a:cxn ang="0">
                  <a:pos x="connsiteX6943" y="connsiteY6943"/>
                </a:cxn>
                <a:cxn ang="0">
                  <a:pos x="connsiteX6944" y="connsiteY6944"/>
                </a:cxn>
                <a:cxn ang="0">
                  <a:pos x="connsiteX6945" y="connsiteY6945"/>
                </a:cxn>
                <a:cxn ang="0">
                  <a:pos x="connsiteX6946" y="connsiteY6946"/>
                </a:cxn>
                <a:cxn ang="0">
                  <a:pos x="connsiteX6947" y="connsiteY6947"/>
                </a:cxn>
                <a:cxn ang="0">
                  <a:pos x="connsiteX6948" y="connsiteY6948"/>
                </a:cxn>
                <a:cxn ang="0">
                  <a:pos x="connsiteX6949" y="connsiteY6949"/>
                </a:cxn>
                <a:cxn ang="0">
                  <a:pos x="connsiteX6950" y="connsiteY6950"/>
                </a:cxn>
                <a:cxn ang="0">
                  <a:pos x="connsiteX6951" y="connsiteY6951"/>
                </a:cxn>
                <a:cxn ang="0">
                  <a:pos x="connsiteX6952" y="connsiteY6952"/>
                </a:cxn>
                <a:cxn ang="0">
                  <a:pos x="connsiteX6953" y="connsiteY6953"/>
                </a:cxn>
                <a:cxn ang="0">
                  <a:pos x="connsiteX6954" y="connsiteY6954"/>
                </a:cxn>
                <a:cxn ang="0">
                  <a:pos x="connsiteX6955" y="connsiteY6955"/>
                </a:cxn>
                <a:cxn ang="0">
                  <a:pos x="connsiteX6956" y="connsiteY6956"/>
                </a:cxn>
                <a:cxn ang="0">
                  <a:pos x="connsiteX6957" y="connsiteY6957"/>
                </a:cxn>
                <a:cxn ang="0">
                  <a:pos x="connsiteX6958" y="connsiteY6958"/>
                </a:cxn>
                <a:cxn ang="0">
                  <a:pos x="connsiteX6959" y="connsiteY6959"/>
                </a:cxn>
                <a:cxn ang="0">
                  <a:pos x="connsiteX6960" y="connsiteY6960"/>
                </a:cxn>
                <a:cxn ang="0">
                  <a:pos x="connsiteX6961" y="connsiteY6961"/>
                </a:cxn>
                <a:cxn ang="0">
                  <a:pos x="connsiteX6962" y="connsiteY6962"/>
                </a:cxn>
                <a:cxn ang="0">
                  <a:pos x="connsiteX6963" y="connsiteY6963"/>
                </a:cxn>
                <a:cxn ang="0">
                  <a:pos x="connsiteX6964" y="connsiteY6964"/>
                </a:cxn>
                <a:cxn ang="0">
                  <a:pos x="connsiteX6965" y="connsiteY6965"/>
                </a:cxn>
                <a:cxn ang="0">
                  <a:pos x="connsiteX6966" y="connsiteY6966"/>
                </a:cxn>
                <a:cxn ang="0">
                  <a:pos x="connsiteX6967" y="connsiteY6967"/>
                </a:cxn>
                <a:cxn ang="0">
                  <a:pos x="connsiteX6968" y="connsiteY6968"/>
                </a:cxn>
                <a:cxn ang="0">
                  <a:pos x="connsiteX6969" y="connsiteY6969"/>
                </a:cxn>
                <a:cxn ang="0">
                  <a:pos x="connsiteX6970" y="connsiteY6970"/>
                </a:cxn>
                <a:cxn ang="0">
                  <a:pos x="connsiteX6971" y="connsiteY6971"/>
                </a:cxn>
                <a:cxn ang="0">
                  <a:pos x="connsiteX6972" y="connsiteY6972"/>
                </a:cxn>
                <a:cxn ang="0">
                  <a:pos x="connsiteX6973" y="connsiteY6973"/>
                </a:cxn>
                <a:cxn ang="0">
                  <a:pos x="connsiteX6974" y="connsiteY6974"/>
                </a:cxn>
                <a:cxn ang="0">
                  <a:pos x="connsiteX6975" y="connsiteY6975"/>
                </a:cxn>
                <a:cxn ang="0">
                  <a:pos x="connsiteX6976" y="connsiteY6976"/>
                </a:cxn>
                <a:cxn ang="0">
                  <a:pos x="connsiteX6977" y="connsiteY6977"/>
                </a:cxn>
                <a:cxn ang="0">
                  <a:pos x="connsiteX6978" y="connsiteY6978"/>
                </a:cxn>
                <a:cxn ang="0">
                  <a:pos x="connsiteX6979" y="connsiteY6979"/>
                </a:cxn>
                <a:cxn ang="0">
                  <a:pos x="connsiteX6980" y="connsiteY6980"/>
                </a:cxn>
                <a:cxn ang="0">
                  <a:pos x="connsiteX6981" y="connsiteY6981"/>
                </a:cxn>
                <a:cxn ang="0">
                  <a:pos x="connsiteX6982" y="connsiteY6982"/>
                </a:cxn>
                <a:cxn ang="0">
                  <a:pos x="connsiteX6983" y="connsiteY6983"/>
                </a:cxn>
                <a:cxn ang="0">
                  <a:pos x="connsiteX6984" y="connsiteY6984"/>
                </a:cxn>
                <a:cxn ang="0">
                  <a:pos x="connsiteX6985" y="connsiteY6985"/>
                </a:cxn>
                <a:cxn ang="0">
                  <a:pos x="connsiteX6986" y="connsiteY6986"/>
                </a:cxn>
                <a:cxn ang="0">
                  <a:pos x="connsiteX6987" y="connsiteY6987"/>
                </a:cxn>
                <a:cxn ang="0">
                  <a:pos x="connsiteX6988" y="connsiteY6988"/>
                </a:cxn>
                <a:cxn ang="0">
                  <a:pos x="connsiteX6989" y="connsiteY6989"/>
                </a:cxn>
                <a:cxn ang="0">
                  <a:pos x="connsiteX6990" y="connsiteY6990"/>
                </a:cxn>
                <a:cxn ang="0">
                  <a:pos x="connsiteX6991" y="connsiteY6991"/>
                </a:cxn>
                <a:cxn ang="0">
                  <a:pos x="connsiteX6992" y="connsiteY6992"/>
                </a:cxn>
                <a:cxn ang="0">
                  <a:pos x="connsiteX6993" y="connsiteY6993"/>
                </a:cxn>
                <a:cxn ang="0">
                  <a:pos x="connsiteX6994" y="connsiteY6994"/>
                </a:cxn>
                <a:cxn ang="0">
                  <a:pos x="connsiteX6995" y="connsiteY6995"/>
                </a:cxn>
                <a:cxn ang="0">
                  <a:pos x="connsiteX6996" y="connsiteY6996"/>
                </a:cxn>
                <a:cxn ang="0">
                  <a:pos x="connsiteX6997" y="connsiteY6997"/>
                </a:cxn>
                <a:cxn ang="0">
                  <a:pos x="connsiteX6998" y="connsiteY6998"/>
                </a:cxn>
                <a:cxn ang="0">
                  <a:pos x="connsiteX6999" y="connsiteY6999"/>
                </a:cxn>
                <a:cxn ang="0">
                  <a:pos x="connsiteX7000" y="connsiteY7000"/>
                </a:cxn>
                <a:cxn ang="0">
                  <a:pos x="connsiteX7001" y="connsiteY7001"/>
                </a:cxn>
                <a:cxn ang="0">
                  <a:pos x="connsiteX7002" y="connsiteY7002"/>
                </a:cxn>
                <a:cxn ang="0">
                  <a:pos x="connsiteX7003" y="connsiteY7003"/>
                </a:cxn>
                <a:cxn ang="0">
                  <a:pos x="connsiteX7004" y="connsiteY7004"/>
                </a:cxn>
                <a:cxn ang="0">
                  <a:pos x="connsiteX7005" y="connsiteY7005"/>
                </a:cxn>
                <a:cxn ang="0">
                  <a:pos x="connsiteX7006" y="connsiteY7006"/>
                </a:cxn>
                <a:cxn ang="0">
                  <a:pos x="connsiteX7007" y="connsiteY7007"/>
                </a:cxn>
                <a:cxn ang="0">
                  <a:pos x="connsiteX7008" y="connsiteY7008"/>
                </a:cxn>
                <a:cxn ang="0">
                  <a:pos x="connsiteX7009" y="connsiteY7009"/>
                </a:cxn>
                <a:cxn ang="0">
                  <a:pos x="connsiteX7010" y="connsiteY7010"/>
                </a:cxn>
                <a:cxn ang="0">
                  <a:pos x="connsiteX7011" y="connsiteY7011"/>
                </a:cxn>
                <a:cxn ang="0">
                  <a:pos x="connsiteX7012" y="connsiteY7012"/>
                </a:cxn>
                <a:cxn ang="0">
                  <a:pos x="connsiteX7013" y="connsiteY7013"/>
                </a:cxn>
                <a:cxn ang="0">
                  <a:pos x="connsiteX7014" y="connsiteY7014"/>
                </a:cxn>
                <a:cxn ang="0">
                  <a:pos x="connsiteX7015" y="connsiteY7015"/>
                </a:cxn>
                <a:cxn ang="0">
                  <a:pos x="connsiteX7016" y="connsiteY7016"/>
                </a:cxn>
                <a:cxn ang="0">
                  <a:pos x="connsiteX7017" y="connsiteY7017"/>
                </a:cxn>
                <a:cxn ang="0">
                  <a:pos x="connsiteX7018" y="connsiteY7018"/>
                </a:cxn>
                <a:cxn ang="0">
                  <a:pos x="connsiteX7019" y="connsiteY7019"/>
                </a:cxn>
                <a:cxn ang="0">
                  <a:pos x="connsiteX7020" y="connsiteY7020"/>
                </a:cxn>
                <a:cxn ang="0">
                  <a:pos x="connsiteX7021" y="connsiteY7021"/>
                </a:cxn>
                <a:cxn ang="0">
                  <a:pos x="connsiteX7022" y="connsiteY7022"/>
                </a:cxn>
                <a:cxn ang="0">
                  <a:pos x="connsiteX7023" y="connsiteY7023"/>
                </a:cxn>
                <a:cxn ang="0">
                  <a:pos x="connsiteX7024" y="connsiteY7024"/>
                </a:cxn>
                <a:cxn ang="0">
                  <a:pos x="connsiteX7025" y="connsiteY7025"/>
                </a:cxn>
                <a:cxn ang="0">
                  <a:pos x="connsiteX7026" y="connsiteY7026"/>
                </a:cxn>
                <a:cxn ang="0">
                  <a:pos x="connsiteX7027" y="connsiteY7027"/>
                </a:cxn>
                <a:cxn ang="0">
                  <a:pos x="connsiteX7028" y="connsiteY7028"/>
                </a:cxn>
                <a:cxn ang="0">
                  <a:pos x="connsiteX7029" y="connsiteY7029"/>
                </a:cxn>
                <a:cxn ang="0">
                  <a:pos x="connsiteX7030" y="connsiteY7030"/>
                </a:cxn>
                <a:cxn ang="0">
                  <a:pos x="connsiteX7031" y="connsiteY7031"/>
                </a:cxn>
                <a:cxn ang="0">
                  <a:pos x="connsiteX7032" y="connsiteY7032"/>
                </a:cxn>
                <a:cxn ang="0">
                  <a:pos x="connsiteX7033" y="connsiteY7033"/>
                </a:cxn>
                <a:cxn ang="0">
                  <a:pos x="connsiteX7034" y="connsiteY7034"/>
                </a:cxn>
                <a:cxn ang="0">
                  <a:pos x="connsiteX7035" y="connsiteY7035"/>
                </a:cxn>
                <a:cxn ang="0">
                  <a:pos x="connsiteX7036" y="connsiteY7036"/>
                </a:cxn>
                <a:cxn ang="0">
                  <a:pos x="connsiteX7037" y="connsiteY7037"/>
                </a:cxn>
                <a:cxn ang="0">
                  <a:pos x="connsiteX7038" y="connsiteY7038"/>
                </a:cxn>
                <a:cxn ang="0">
                  <a:pos x="connsiteX7039" y="connsiteY7039"/>
                </a:cxn>
                <a:cxn ang="0">
                  <a:pos x="connsiteX7040" y="connsiteY7040"/>
                </a:cxn>
                <a:cxn ang="0">
                  <a:pos x="connsiteX7041" y="connsiteY7041"/>
                </a:cxn>
                <a:cxn ang="0">
                  <a:pos x="connsiteX7042" y="connsiteY7042"/>
                </a:cxn>
                <a:cxn ang="0">
                  <a:pos x="connsiteX7043" y="connsiteY7043"/>
                </a:cxn>
                <a:cxn ang="0">
                  <a:pos x="connsiteX7044" y="connsiteY7044"/>
                </a:cxn>
                <a:cxn ang="0">
                  <a:pos x="connsiteX7045" y="connsiteY7045"/>
                </a:cxn>
                <a:cxn ang="0">
                  <a:pos x="connsiteX7046" y="connsiteY7046"/>
                </a:cxn>
                <a:cxn ang="0">
                  <a:pos x="connsiteX7047" y="connsiteY7047"/>
                </a:cxn>
                <a:cxn ang="0">
                  <a:pos x="connsiteX7048" y="connsiteY7048"/>
                </a:cxn>
                <a:cxn ang="0">
                  <a:pos x="connsiteX7049" y="connsiteY7049"/>
                </a:cxn>
                <a:cxn ang="0">
                  <a:pos x="connsiteX7050" y="connsiteY7050"/>
                </a:cxn>
                <a:cxn ang="0">
                  <a:pos x="connsiteX7051" y="connsiteY7051"/>
                </a:cxn>
                <a:cxn ang="0">
                  <a:pos x="connsiteX7052" y="connsiteY7052"/>
                </a:cxn>
                <a:cxn ang="0">
                  <a:pos x="connsiteX7053" y="connsiteY7053"/>
                </a:cxn>
                <a:cxn ang="0">
                  <a:pos x="connsiteX7054" y="connsiteY7054"/>
                </a:cxn>
                <a:cxn ang="0">
                  <a:pos x="connsiteX7055" y="connsiteY7055"/>
                </a:cxn>
                <a:cxn ang="0">
                  <a:pos x="connsiteX7056" y="connsiteY7056"/>
                </a:cxn>
                <a:cxn ang="0">
                  <a:pos x="connsiteX7057" y="connsiteY7057"/>
                </a:cxn>
                <a:cxn ang="0">
                  <a:pos x="connsiteX7058" y="connsiteY7058"/>
                </a:cxn>
                <a:cxn ang="0">
                  <a:pos x="connsiteX7059" y="connsiteY7059"/>
                </a:cxn>
                <a:cxn ang="0">
                  <a:pos x="connsiteX7060" y="connsiteY7060"/>
                </a:cxn>
                <a:cxn ang="0">
                  <a:pos x="connsiteX7061" y="connsiteY7061"/>
                </a:cxn>
                <a:cxn ang="0">
                  <a:pos x="connsiteX7062" y="connsiteY7062"/>
                </a:cxn>
                <a:cxn ang="0">
                  <a:pos x="connsiteX7063" y="connsiteY7063"/>
                </a:cxn>
                <a:cxn ang="0">
                  <a:pos x="connsiteX7064" y="connsiteY7064"/>
                </a:cxn>
                <a:cxn ang="0">
                  <a:pos x="connsiteX7065" y="connsiteY7065"/>
                </a:cxn>
                <a:cxn ang="0">
                  <a:pos x="connsiteX7066" y="connsiteY7066"/>
                </a:cxn>
                <a:cxn ang="0">
                  <a:pos x="connsiteX7067" y="connsiteY7067"/>
                </a:cxn>
                <a:cxn ang="0">
                  <a:pos x="connsiteX7068" y="connsiteY7068"/>
                </a:cxn>
                <a:cxn ang="0">
                  <a:pos x="connsiteX7069" y="connsiteY7069"/>
                </a:cxn>
                <a:cxn ang="0">
                  <a:pos x="connsiteX7070" y="connsiteY7070"/>
                </a:cxn>
                <a:cxn ang="0">
                  <a:pos x="connsiteX7071" y="connsiteY7071"/>
                </a:cxn>
                <a:cxn ang="0">
                  <a:pos x="connsiteX7072" y="connsiteY7072"/>
                </a:cxn>
                <a:cxn ang="0">
                  <a:pos x="connsiteX7073" y="connsiteY7073"/>
                </a:cxn>
                <a:cxn ang="0">
                  <a:pos x="connsiteX7074" y="connsiteY7074"/>
                </a:cxn>
                <a:cxn ang="0">
                  <a:pos x="connsiteX7075" y="connsiteY7075"/>
                </a:cxn>
                <a:cxn ang="0">
                  <a:pos x="connsiteX7076" y="connsiteY7076"/>
                </a:cxn>
                <a:cxn ang="0">
                  <a:pos x="connsiteX7077" y="connsiteY7077"/>
                </a:cxn>
                <a:cxn ang="0">
                  <a:pos x="connsiteX7078" y="connsiteY7078"/>
                </a:cxn>
                <a:cxn ang="0">
                  <a:pos x="connsiteX7079" y="connsiteY7079"/>
                </a:cxn>
                <a:cxn ang="0">
                  <a:pos x="connsiteX7080" y="connsiteY7080"/>
                </a:cxn>
                <a:cxn ang="0">
                  <a:pos x="connsiteX7081" y="connsiteY7081"/>
                </a:cxn>
                <a:cxn ang="0">
                  <a:pos x="connsiteX7082" y="connsiteY7082"/>
                </a:cxn>
                <a:cxn ang="0">
                  <a:pos x="connsiteX7083" y="connsiteY7083"/>
                </a:cxn>
                <a:cxn ang="0">
                  <a:pos x="connsiteX7084" y="connsiteY7084"/>
                </a:cxn>
                <a:cxn ang="0">
                  <a:pos x="connsiteX7085" y="connsiteY7085"/>
                </a:cxn>
                <a:cxn ang="0">
                  <a:pos x="connsiteX7086" y="connsiteY7086"/>
                </a:cxn>
                <a:cxn ang="0">
                  <a:pos x="connsiteX7087" y="connsiteY7087"/>
                </a:cxn>
                <a:cxn ang="0">
                  <a:pos x="connsiteX7088" y="connsiteY7088"/>
                </a:cxn>
                <a:cxn ang="0">
                  <a:pos x="connsiteX7089" y="connsiteY7089"/>
                </a:cxn>
                <a:cxn ang="0">
                  <a:pos x="connsiteX7090" y="connsiteY7090"/>
                </a:cxn>
                <a:cxn ang="0">
                  <a:pos x="connsiteX7091" y="connsiteY7091"/>
                </a:cxn>
                <a:cxn ang="0">
                  <a:pos x="connsiteX7092" y="connsiteY7092"/>
                </a:cxn>
                <a:cxn ang="0">
                  <a:pos x="connsiteX7093" y="connsiteY7093"/>
                </a:cxn>
                <a:cxn ang="0">
                  <a:pos x="connsiteX7094" y="connsiteY7094"/>
                </a:cxn>
                <a:cxn ang="0">
                  <a:pos x="connsiteX7095" y="connsiteY7095"/>
                </a:cxn>
                <a:cxn ang="0">
                  <a:pos x="connsiteX7096" y="connsiteY7096"/>
                </a:cxn>
                <a:cxn ang="0">
                  <a:pos x="connsiteX7097" y="connsiteY7097"/>
                </a:cxn>
                <a:cxn ang="0">
                  <a:pos x="connsiteX7098" y="connsiteY7098"/>
                </a:cxn>
                <a:cxn ang="0">
                  <a:pos x="connsiteX7099" y="connsiteY7099"/>
                </a:cxn>
                <a:cxn ang="0">
                  <a:pos x="connsiteX7100" y="connsiteY7100"/>
                </a:cxn>
                <a:cxn ang="0">
                  <a:pos x="connsiteX7101" y="connsiteY7101"/>
                </a:cxn>
                <a:cxn ang="0">
                  <a:pos x="connsiteX7102" y="connsiteY7102"/>
                </a:cxn>
                <a:cxn ang="0">
                  <a:pos x="connsiteX7103" y="connsiteY7103"/>
                </a:cxn>
                <a:cxn ang="0">
                  <a:pos x="connsiteX7104" y="connsiteY7104"/>
                </a:cxn>
                <a:cxn ang="0">
                  <a:pos x="connsiteX7105" y="connsiteY7105"/>
                </a:cxn>
                <a:cxn ang="0">
                  <a:pos x="connsiteX7106" y="connsiteY7106"/>
                </a:cxn>
                <a:cxn ang="0">
                  <a:pos x="connsiteX7107" y="connsiteY7107"/>
                </a:cxn>
                <a:cxn ang="0">
                  <a:pos x="connsiteX7108" y="connsiteY7108"/>
                </a:cxn>
                <a:cxn ang="0">
                  <a:pos x="connsiteX7109" y="connsiteY7109"/>
                </a:cxn>
                <a:cxn ang="0">
                  <a:pos x="connsiteX7110" y="connsiteY7110"/>
                </a:cxn>
                <a:cxn ang="0">
                  <a:pos x="connsiteX7111" y="connsiteY7111"/>
                </a:cxn>
                <a:cxn ang="0">
                  <a:pos x="connsiteX7112" y="connsiteY7112"/>
                </a:cxn>
                <a:cxn ang="0">
                  <a:pos x="connsiteX7113" y="connsiteY7113"/>
                </a:cxn>
                <a:cxn ang="0">
                  <a:pos x="connsiteX7114" y="connsiteY7114"/>
                </a:cxn>
                <a:cxn ang="0">
                  <a:pos x="connsiteX7115" y="connsiteY7115"/>
                </a:cxn>
                <a:cxn ang="0">
                  <a:pos x="connsiteX7116" y="connsiteY7116"/>
                </a:cxn>
                <a:cxn ang="0">
                  <a:pos x="connsiteX7117" y="connsiteY7117"/>
                </a:cxn>
                <a:cxn ang="0">
                  <a:pos x="connsiteX7118" y="connsiteY7118"/>
                </a:cxn>
                <a:cxn ang="0">
                  <a:pos x="connsiteX7119" y="connsiteY7119"/>
                </a:cxn>
                <a:cxn ang="0">
                  <a:pos x="connsiteX7120" y="connsiteY7120"/>
                </a:cxn>
                <a:cxn ang="0">
                  <a:pos x="connsiteX7121" y="connsiteY7121"/>
                </a:cxn>
                <a:cxn ang="0">
                  <a:pos x="connsiteX7122" y="connsiteY7122"/>
                </a:cxn>
                <a:cxn ang="0">
                  <a:pos x="connsiteX7123" y="connsiteY7123"/>
                </a:cxn>
                <a:cxn ang="0">
                  <a:pos x="connsiteX7124" y="connsiteY7124"/>
                </a:cxn>
                <a:cxn ang="0">
                  <a:pos x="connsiteX7125" y="connsiteY7125"/>
                </a:cxn>
                <a:cxn ang="0">
                  <a:pos x="connsiteX7126" y="connsiteY7126"/>
                </a:cxn>
                <a:cxn ang="0">
                  <a:pos x="connsiteX7127" y="connsiteY7127"/>
                </a:cxn>
                <a:cxn ang="0">
                  <a:pos x="connsiteX7128" y="connsiteY7128"/>
                </a:cxn>
                <a:cxn ang="0">
                  <a:pos x="connsiteX7129" y="connsiteY7129"/>
                </a:cxn>
                <a:cxn ang="0">
                  <a:pos x="connsiteX7130" y="connsiteY7130"/>
                </a:cxn>
                <a:cxn ang="0">
                  <a:pos x="connsiteX7131" y="connsiteY7131"/>
                </a:cxn>
                <a:cxn ang="0">
                  <a:pos x="connsiteX7132" y="connsiteY7132"/>
                </a:cxn>
                <a:cxn ang="0">
                  <a:pos x="connsiteX7133" y="connsiteY7133"/>
                </a:cxn>
                <a:cxn ang="0">
                  <a:pos x="connsiteX7134" y="connsiteY7134"/>
                </a:cxn>
                <a:cxn ang="0">
                  <a:pos x="connsiteX7135" y="connsiteY7135"/>
                </a:cxn>
                <a:cxn ang="0">
                  <a:pos x="connsiteX7136" y="connsiteY7136"/>
                </a:cxn>
                <a:cxn ang="0">
                  <a:pos x="connsiteX7137" y="connsiteY7137"/>
                </a:cxn>
                <a:cxn ang="0">
                  <a:pos x="connsiteX7138" y="connsiteY7138"/>
                </a:cxn>
                <a:cxn ang="0">
                  <a:pos x="connsiteX7139" y="connsiteY7139"/>
                </a:cxn>
                <a:cxn ang="0">
                  <a:pos x="connsiteX7140" y="connsiteY7140"/>
                </a:cxn>
                <a:cxn ang="0">
                  <a:pos x="connsiteX7141" y="connsiteY7141"/>
                </a:cxn>
                <a:cxn ang="0">
                  <a:pos x="connsiteX7142" y="connsiteY7142"/>
                </a:cxn>
                <a:cxn ang="0">
                  <a:pos x="connsiteX7143" y="connsiteY7143"/>
                </a:cxn>
                <a:cxn ang="0">
                  <a:pos x="connsiteX7144" y="connsiteY7144"/>
                </a:cxn>
                <a:cxn ang="0">
                  <a:pos x="connsiteX7145" y="connsiteY7145"/>
                </a:cxn>
                <a:cxn ang="0">
                  <a:pos x="connsiteX7146" y="connsiteY7146"/>
                </a:cxn>
                <a:cxn ang="0">
                  <a:pos x="connsiteX7147" y="connsiteY7147"/>
                </a:cxn>
                <a:cxn ang="0">
                  <a:pos x="connsiteX7148" y="connsiteY7148"/>
                </a:cxn>
                <a:cxn ang="0">
                  <a:pos x="connsiteX7149" y="connsiteY7149"/>
                </a:cxn>
                <a:cxn ang="0">
                  <a:pos x="connsiteX7150" y="connsiteY7150"/>
                </a:cxn>
                <a:cxn ang="0">
                  <a:pos x="connsiteX7151" y="connsiteY7151"/>
                </a:cxn>
                <a:cxn ang="0">
                  <a:pos x="connsiteX7152" y="connsiteY7152"/>
                </a:cxn>
                <a:cxn ang="0">
                  <a:pos x="connsiteX7153" y="connsiteY7153"/>
                </a:cxn>
                <a:cxn ang="0">
                  <a:pos x="connsiteX7154" y="connsiteY7154"/>
                </a:cxn>
                <a:cxn ang="0">
                  <a:pos x="connsiteX7155" y="connsiteY7155"/>
                </a:cxn>
                <a:cxn ang="0">
                  <a:pos x="connsiteX7156" y="connsiteY7156"/>
                </a:cxn>
                <a:cxn ang="0">
                  <a:pos x="connsiteX7157" y="connsiteY7157"/>
                </a:cxn>
                <a:cxn ang="0">
                  <a:pos x="connsiteX7158" y="connsiteY7158"/>
                </a:cxn>
                <a:cxn ang="0">
                  <a:pos x="connsiteX7159" y="connsiteY7159"/>
                </a:cxn>
                <a:cxn ang="0">
                  <a:pos x="connsiteX7160" y="connsiteY7160"/>
                </a:cxn>
                <a:cxn ang="0">
                  <a:pos x="connsiteX7161" y="connsiteY7161"/>
                </a:cxn>
                <a:cxn ang="0">
                  <a:pos x="connsiteX7162" y="connsiteY7162"/>
                </a:cxn>
                <a:cxn ang="0">
                  <a:pos x="connsiteX7163" y="connsiteY7163"/>
                </a:cxn>
                <a:cxn ang="0">
                  <a:pos x="connsiteX7164" y="connsiteY7164"/>
                </a:cxn>
                <a:cxn ang="0">
                  <a:pos x="connsiteX7165" y="connsiteY7165"/>
                </a:cxn>
                <a:cxn ang="0">
                  <a:pos x="connsiteX7166" y="connsiteY7166"/>
                </a:cxn>
                <a:cxn ang="0">
                  <a:pos x="connsiteX7167" y="connsiteY7167"/>
                </a:cxn>
                <a:cxn ang="0">
                  <a:pos x="connsiteX7168" y="connsiteY7168"/>
                </a:cxn>
                <a:cxn ang="0">
                  <a:pos x="connsiteX7169" y="connsiteY7169"/>
                </a:cxn>
                <a:cxn ang="0">
                  <a:pos x="connsiteX7170" y="connsiteY7170"/>
                </a:cxn>
                <a:cxn ang="0">
                  <a:pos x="connsiteX7171" y="connsiteY7171"/>
                </a:cxn>
                <a:cxn ang="0">
                  <a:pos x="connsiteX7172" y="connsiteY7172"/>
                </a:cxn>
                <a:cxn ang="0">
                  <a:pos x="connsiteX7173" y="connsiteY7173"/>
                </a:cxn>
                <a:cxn ang="0">
                  <a:pos x="connsiteX7174" y="connsiteY7174"/>
                </a:cxn>
                <a:cxn ang="0">
                  <a:pos x="connsiteX7175" y="connsiteY7175"/>
                </a:cxn>
                <a:cxn ang="0">
                  <a:pos x="connsiteX7176" y="connsiteY7176"/>
                </a:cxn>
                <a:cxn ang="0">
                  <a:pos x="connsiteX7177" y="connsiteY7177"/>
                </a:cxn>
                <a:cxn ang="0">
                  <a:pos x="connsiteX7178" y="connsiteY7178"/>
                </a:cxn>
                <a:cxn ang="0">
                  <a:pos x="connsiteX7179" y="connsiteY7179"/>
                </a:cxn>
                <a:cxn ang="0">
                  <a:pos x="connsiteX7180" y="connsiteY7180"/>
                </a:cxn>
                <a:cxn ang="0">
                  <a:pos x="connsiteX7181" y="connsiteY7181"/>
                </a:cxn>
                <a:cxn ang="0">
                  <a:pos x="connsiteX7182" y="connsiteY7182"/>
                </a:cxn>
                <a:cxn ang="0">
                  <a:pos x="connsiteX7183" y="connsiteY7183"/>
                </a:cxn>
                <a:cxn ang="0">
                  <a:pos x="connsiteX7184" y="connsiteY7184"/>
                </a:cxn>
                <a:cxn ang="0">
                  <a:pos x="connsiteX7185" y="connsiteY7185"/>
                </a:cxn>
                <a:cxn ang="0">
                  <a:pos x="connsiteX7186" y="connsiteY7186"/>
                </a:cxn>
                <a:cxn ang="0">
                  <a:pos x="connsiteX7187" y="connsiteY7187"/>
                </a:cxn>
                <a:cxn ang="0">
                  <a:pos x="connsiteX7188" y="connsiteY7188"/>
                </a:cxn>
                <a:cxn ang="0">
                  <a:pos x="connsiteX7189" y="connsiteY7189"/>
                </a:cxn>
                <a:cxn ang="0">
                  <a:pos x="connsiteX7190" y="connsiteY7190"/>
                </a:cxn>
                <a:cxn ang="0">
                  <a:pos x="connsiteX7191" y="connsiteY7191"/>
                </a:cxn>
                <a:cxn ang="0">
                  <a:pos x="connsiteX7192" y="connsiteY7192"/>
                </a:cxn>
                <a:cxn ang="0">
                  <a:pos x="connsiteX7193" y="connsiteY7193"/>
                </a:cxn>
                <a:cxn ang="0">
                  <a:pos x="connsiteX7194" y="connsiteY7194"/>
                </a:cxn>
                <a:cxn ang="0">
                  <a:pos x="connsiteX7195" y="connsiteY7195"/>
                </a:cxn>
                <a:cxn ang="0">
                  <a:pos x="connsiteX7196" y="connsiteY7196"/>
                </a:cxn>
                <a:cxn ang="0">
                  <a:pos x="connsiteX7197" y="connsiteY7197"/>
                </a:cxn>
                <a:cxn ang="0">
                  <a:pos x="connsiteX7198" y="connsiteY7198"/>
                </a:cxn>
                <a:cxn ang="0">
                  <a:pos x="connsiteX7199" y="connsiteY7199"/>
                </a:cxn>
                <a:cxn ang="0">
                  <a:pos x="connsiteX7200" y="connsiteY7200"/>
                </a:cxn>
                <a:cxn ang="0">
                  <a:pos x="connsiteX7201" y="connsiteY7201"/>
                </a:cxn>
                <a:cxn ang="0">
                  <a:pos x="connsiteX7202" y="connsiteY7202"/>
                </a:cxn>
                <a:cxn ang="0">
                  <a:pos x="connsiteX7203" y="connsiteY7203"/>
                </a:cxn>
                <a:cxn ang="0">
                  <a:pos x="connsiteX7204" y="connsiteY7204"/>
                </a:cxn>
                <a:cxn ang="0">
                  <a:pos x="connsiteX7205" y="connsiteY7205"/>
                </a:cxn>
                <a:cxn ang="0">
                  <a:pos x="connsiteX7206" y="connsiteY7206"/>
                </a:cxn>
                <a:cxn ang="0">
                  <a:pos x="connsiteX7207" y="connsiteY7207"/>
                </a:cxn>
                <a:cxn ang="0">
                  <a:pos x="connsiteX7208" y="connsiteY7208"/>
                </a:cxn>
                <a:cxn ang="0">
                  <a:pos x="connsiteX7209" y="connsiteY7209"/>
                </a:cxn>
                <a:cxn ang="0">
                  <a:pos x="connsiteX7210" y="connsiteY7210"/>
                </a:cxn>
                <a:cxn ang="0">
                  <a:pos x="connsiteX7211" y="connsiteY7211"/>
                </a:cxn>
                <a:cxn ang="0">
                  <a:pos x="connsiteX7212" y="connsiteY7212"/>
                </a:cxn>
                <a:cxn ang="0">
                  <a:pos x="connsiteX7213" y="connsiteY7213"/>
                </a:cxn>
                <a:cxn ang="0">
                  <a:pos x="connsiteX7214" y="connsiteY7214"/>
                </a:cxn>
                <a:cxn ang="0">
                  <a:pos x="connsiteX7215" y="connsiteY7215"/>
                </a:cxn>
                <a:cxn ang="0">
                  <a:pos x="connsiteX7216" y="connsiteY7216"/>
                </a:cxn>
                <a:cxn ang="0">
                  <a:pos x="connsiteX7217" y="connsiteY7217"/>
                </a:cxn>
                <a:cxn ang="0">
                  <a:pos x="connsiteX7218" y="connsiteY7218"/>
                </a:cxn>
                <a:cxn ang="0">
                  <a:pos x="connsiteX7219" y="connsiteY7219"/>
                </a:cxn>
                <a:cxn ang="0">
                  <a:pos x="connsiteX7220" y="connsiteY7220"/>
                </a:cxn>
                <a:cxn ang="0">
                  <a:pos x="connsiteX7221" y="connsiteY7221"/>
                </a:cxn>
                <a:cxn ang="0">
                  <a:pos x="connsiteX7222" y="connsiteY7222"/>
                </a:cxn>
                <a:cxn ang="0">
                  <a:pos x="connsiteX7223" y="connsiteY7223"/>
                </a:cxn>
                <a:cxn ang="0">
                  <a:pos x="connsiteX7224" y="connsiteY7224"/>
                </a:cxn>
                <a:cxn ang="0">
                  <a:pos x="connsiteX7225" y="connsiteY7225"/>
                </a:cxn>
                <a:cxn ang="0">
                  <a:pos x="connsiteX7226" y="connsiteY7226"/>
                </a:cxn>
                <a:cxn ang="0">
                  <a:pos x="connsiteX7227" y="connsiteY7227"/>
                </a:cxn>
                <a:cxn ang="0">
                  <a:pos x="connsiteX7228" y="connsiteY7228"/>
                </a:cxn>
                <a:cxn ang="0">
                  <a:pos x="connsiteX7229" y="connsiteY7229"/>
                </a:cxn>
                <a:cxn ang="0">
                  <a:pos x="connsiteX7230" y="connsiteY7230"/>
                </a:cxn>
                <a:cxn ang="0">
                  <a:pos x="connsiteX7231" y="connsiteY7231"/>
                </a:cxn>
                <a:cxn ang="0">
                  <a:pos x="connsiteX7232" y="connsiteY7232"/>
                </a:cxn>
                <a:cxn ang="0">
                  <a:pos x="connsiteX7233" y="connsiteY7233"/>
                </a:cxn>
                <a:cxn ang="0">
                  <a:pos x="connsiteX7234" y="connsiteY7234"/>
                </a:cxn>
                <a:cxn ang="0">
                  <a:pos x="connsiteX7235" y="connsiteY7235"/>
                </a:cxn>
                <a:cxn ang="0">
                  <a:pos x="connsiteX7236" y="connsiteY7236"/>
                </a:cxn>
                <a:cxn ang="0">
                  <a:pos x="connsiteX7237" y="connsiteY7237"/>
                </a:cxn>
                <a:cxn ang="0">
                  <a:pos x="connsiteX7238" y="connsiteY7238"/>
                </a:cxn>
                <a:cxn ang="0">
                  <a:pos x="connsiteX7239" y="connsiteY7239"/>
                </a:cxn>
                <a:cxn ang="0">
                  <a:pos x="connsiteX7240" y="connsiteY7240"/>
                </a:cxn>
                <a:cxn ang="0">
                  <a:pos x="connsiteX7241" y="connsiteY7241"/>
                </a:cxn>
                <a:cxn ang="0">
                  <a:pos x="connsiteX7242" y="connsiteY7242"/>
                </a:cxn>
                <a:cxn ang="0">
                  <a:pos x="connsiteX7243" y="connsiteY7243"/>
                </a:cxn>
                <a:cxn ang="0">
                  <a:pos x="connsiteX7244" y="connsiteY7244"/>
                </a:cxn>
                <a:cxn ang="0">
                  <a:pos x="connsiteX7245" y="connsiteY7245"/>
                </a:cxn>
                <a:cxn ang="0">
                  <a:pos x="connsiteX7246" y="connsiteY7246"/>
                </a:cxn>
                <a:cxn ang="0">
                  <a:pos x="connsiteX7247" y="connsiteY7247"/>
                </a:cxn>
                <a:cxn ang="0">
                  <a:pos x="connsiteX7248" y="connsiteY7248"/>
                </a:cxn>
                <a:cxn ang="0">
                  <a:pos x="connsiteX7249" y="connsiteY7249"/>
                </a:cxn>
                <a:cxn ang="0">
                  <a:pos x="connsiteX7250" y="connsiteY7250"/>
                </a:cxn>
                <a:cxn ang="0">
                  <a:pos x="connsiteX7251" y="connsiteY7251"/>
                </a:cxn>
                <a:cxn ang="0">
                  <a:pos x="connsiteX7252" y="connsiteY7252"/>
                </a:cxn>
                <a:cxn ang="0">
                  <a:pos x="connsiteX7253" y="connsiteY7253"/>
                </a:cxn>
                <a:cxn ang="0">
                  <a:pos x="connsiteX7254" y="connsiteY7254"/>
                </a:cxn>
                <a:cxn ang="0">
                  <a:pos x="connsiteX7255" y="connsiteY7255"/>
                </a:cxn>
                <a:cxn ang="0">
                  <a:pos x="connsiteX7256" y="connsiteY7256"/>
                </a:cxn>
                <a:cxn ang="0">
                  <a:pos x="connsiteX7257" y="connsiteY7257"/>
                </a:cxn>
                <a:cxn ang="0">
                  <a:pos x="connsiteX7258" y="connsiteY7258"/>
                </a:cxn>
                <a:cxn ang="0">
                  <a:pos x="connsiteX7259" y="connsiteY7259"/>
                </a:cxn>
                <a:cxn ang="0">
                  <a:pos x="connsiteX7260" y="connsiteY7260"/>
                </a:cxn>
                <a:cxn ang="0">
                  <a:pos x="connsiteX7261" y="connsiteY7261"/>
                </a:cxn>
                <a:cxn ang="0">
                  <a:pos x="connsiteX7262" y="connsiteY7262"/>
                </a:cxn>
                <a:cxn ang="0">
                  <a:pos x="connsiteX7263" y="connsiteY7263"/>
                </a:cxn>
                <a:cxn ang="0">
                  <a:pos x="connsiteX7264" y="connsiteY7264"/>
                </a:cxn>
                <a:cxn ang="0">
                  <a:pos x="connsiteX7265" y="connsiteY7265"/>
                </a:cxn>
                <a:cxn ang="0">
                  <a:pos x="connsiteX7266" y="connsiteY7266"/>
                </a:cxn>
                <a:cxn ang="0">
                  <a:pos x="connsiteX7267" y="connsiteY7267"/>
                </a:cxn>
                <a:cxn ang="0">
                  <a:pos x="connsiteX7268" y="connsiteY7268"/>
                </a:cxn>
                <a:cxn ang="0">
                  <a:pos x="connsiteX7269" y="connsiteY7269"/>
                </a:cxn>
                <a:cxn ang="0">
                  <a:pos x="connsiteX7270" y="connsiteY7270"/>
                </a:cxn>
                <a:cxn ang="0">
                  <a:pos x="connsiteX7271" y="connsiteY7271"/>
                </a:cxn>
                <a:cxn ang="0">
                  <a:pos x="connsiteX7272" y="connsiteY7272"/>
                </a:cxn>
                <a:cxn ang="0">
                  <a:pos x="connsiteX7273" y="connsiteY7273"/>
                </a:cxn>
                <a:cxn ang="0">
                  <a:pos x="connsiteX7274" y="connsiteY7274"/>
                </a:cxn>
                <a:cxn ang="0">
                  <a:pos x="connsiteX7275" y="connsiteY7275"/>
                </a:cxn>
                <a:cxn ang="0">
                  <a:pos x="connsiteX7276" y="connsiteY7276"/>
                </a:cxn>
                <a:cxn ang="0">
                  <a:pos x="connsiteX7277" y="connsiteY7277"/>
                </a:cxn>
                <a:cxn ang="0">
                  <a:pos x="connsiteX7278" y="connsiteY7278"/>
                </a:cxn>
                <a:cxn ang="0">
                  <a:pos x="connsiteX7279" y="connsiteY7279"/>
                </a:cxn>
                <a:cxn ang="0">
                  <a:pos x="connsiteX7280" y="connsiteY7280"/>
                </a:cxn>
                <a:cxn ang="0">
                  <a:pos x="connsiteX7281" y="connsiteY7281"/>
                </a:cxn>
                <a:cxn ang="0">
                  <a:pos x="connsiteX7282" y="connsiteY7282"/>
                </a:cxn>
                <a:cxn ang="0">
                  <a:pos x="connsiteX7283" y="connsiteY7283"/>
                </a:cxn>
                <a:cxn ang="0">
                  <a:pos x="connsiteX7284" y="connsiteY7284"/>
                </a:cxn>
                <a:cxn ang="0">
                  <a:pos x="connsiteX7285" y="connsiteY7285"/>
                </a:cxn>
                <a:cxn ang="0">
                  <a:pos x="connsiteX7286" y="connsiteY7286"/>
                </a:cxn>
                <a:cxn ang="0">
                  <a:pos x="connsiteX7287" y="connsiteY7287"/>
                </a:cxn>
                <a:cxn ang="0">
                  <a:pos x="connsiteX7288" y="connsiteY7288"/>
                </a:cxn>
                <a:cxn ang="0">
                  <a:pos x="connsiteX7289" y="connsiteY7289"/>
                </a:cxn>
                <a:cxn ang="0">
                  <a:pos x="connsiteX7290" y="connsiteY7290"/>
                </a:cxn>
                <a:cxn ang="0">
                  <a:pos x="connsiteX7291" y="connsiteY7291"/>
                </a:cxn>
                <a:cxn ang="0">
                  <a:pos x="connsiteX7292" y="connsiteY7292"/>
                </a:cxn>
                <a:cxn ang="0">
                  <a:pos x="connsiteX7293" y="connsiteY7293"/>
                </a:cxn>
                <a:cxn ang="0">
                  <a:pos x="connsiteX7294" y="connsiteY7294"/>
                </a:cxn>
                <a:cxn ang="0">
                  <a:pos x="connsiteX7295" y="connsiteY7295"/>
                </a:cxn>
                <a:cxn ang="0">
                  <a:pos x="connsiteX7296" y="connsiteY7296"/>
                </a:cxn>
                <a:cxn ang="0">
                  <a:pos x="connsiteX7297" y="connsiteY7297"/>
                </a:cxn>
                <a:cxn ang="0">
                  <a:pos x="connsiteX7298" y="connsiteY7298"/>
                </a:cxn>
                <a:cxn ang="0">
                  <a:pos x="connsiteX7299" y="connsiteY7299"/>
                </a:cxn>
                <a:cxn ang="0">
                  <a:pos x="connsiteX7300" y="connsiteY7300"/>
                </a:cxn>
                <a:cxn ang="0">
                  <a:pos x="connsiteX7301" y="connsiteY7301"/>
                </a:cxn>
                <a:cxn ang="0">
                  <a:pos x="connsiteX7302" y="connsiteY7302"/>
                </a:cxn>
                <a:cxn ang="0">
                  <a:pos x="connsiteX7303" y="connsiteY7303"/>
                </a:cxn>
                <a:cxn ang="0">
                  <a:pos x="connsiteX7304" y="connsiteY7304"/>
                </a:cxn>
                <a:cxn ang="0">
                  <a:pos x="connsiteX7305" y="connsiteY7305"/>
                </a:cxn>
                <a:cxn ang="0">
                  <a:pos x="connsiteX7306" y="connsiteY7306"/>
                </a:cxn>
                <a:cxn ang="0">
                  <a:pos x="connsiteX7307" y="connsiteY7307"/>
                </a:cxn>
                <a:cxn ang="0">
                  <a:pos x="connsiteX7308" y="connsiteY7308"/>
                </a:cxn>
                <a:cxn ang="0">
                  <a:pos x="connsiteX7309" y="connsiteY7309"/>
                </a:cxn>
                <a:cxn ang="0">
                  <a:pos x="connsiteX7310" y="connsiteY7310"/>
                </a:cxn>
                <a:cxn ang="0">
                  <a:pos x="connsiteX7311" y="connsiteY7311"/>
                </a:cxn>
                <a:cxn ang="0">
                  <a:pos x="connsiteX7312" y="connsiteY7312"/>
                </a:cxn>
                <a:cxn ang="0">
                  <a:pos x="connsiteX7313" y="connsiteY7313"/>
                </a:cxn>
                <a:cxn ang="0">
                  <a:pos x="connsiteX7314" y="connsiteY7314"/>
                </a:cxn>
                <a:cxn ang="0">
                  <a:pos x="connsiteX7315" y="connsiteY7315"/>
                </a:cxn>
                <a:cxn ang="0">
                  <a:pos x="connsiteX7316" y="connsiteY7316"/>
                </a:cxn>
                <a:cxn ang="0">
                  <a:pos x="connsiteX7317" y="connsiteY7317"/>
                </a:cxn>
                <a:cxn ang="0">
                  <a:pos x="connsiteX7318" y="connsiteY7318"/>
                </a:cxn>
                <a:cxn ang="0">
                  <a:pos x="connsiteX7319" y="connsiteY7319"/>
                </a:cxn>
                <a:cxn ang="0">
                  <a:pos x="connsiteX7320" y="connsiteY7320"/>
                </a:cxn>
                <a:cxn ang="0">
                  <a:pos x="connsiteX7321" y="connsiteY7321"/>
                </a:cxn>
                <a:cxn ang="0">
                  <a:pos x="connsiteX7322" y="connsiteY7322"/>
                </a:cxn>
                <a:cxn ang="0">
                  <a:pos x="connsiteX7323" y="connsiteY7323"/>
                </a:cxn>
                <a:cxn ang="0">
                  <a:pos x="connsiteX7324" y="connsiteY7324"/>
                </a:cxn>
                <a:cxn ang="0">
                  <a:pos x="connsiteX7325" y="connsiteY7325"/>
                </a:cxn>
                <a:cxn ang="0">
                  <a:pos x="connsiteX7326" y="connsiteY7326"/>
                </a:cxn>
                <a:cxn ang="0">
                  <a:pos x="connsiteX7327" y="connsiteY7327"/>
                </a:cxn>
                <a:cxn ang="0">
                  <a:pos x="connsiteX7328" y="connsiteY7328"/>
                </a:cxn>
                <a:cxn ang="0">
                  <a:pos x="connsiteX7329" y="connsiteY7329"/>
                </a:cxn>
                <a:cxn ang="0">
                  <a:pos x="connsiteX7330" y="connsiteY7330"/>
                </a:cxn>
                <a:cxn ang="0">
                  <a:pos x="connsiteX7331" y="connsiteY7331"/>
                </a:cxn>
                <a:cxn ang="0">
                  <a:pos x="connsiteX7332" y="connsiteY7332"/>
                </a:cxn>
                <a:cxn ang="0">
                  <a:pos x="connsiteX7333" y="connsiteY7333"/>
                </a:cxn>
                <a:cxn ang="0">
                  <a:pos x="connsiteX7334" y="connsiteY7334"/>
                </a:cxn>
                <a:cxn ang="0">
                  <a:pos x="connsiteX7335" y="connsiteY7335"/>
                </a:cxn>
                <a:cxn ang="0">
                  <a:pos x="connsiteX7336" y="connsiteY7336"/>
                </a:cxn>
                <a:cxn ang="0">
                  <a:pos x="connsiteX7337" y="connsiteY7337"/>
                </a:cxn>
                <a:cxn ang="0">
                  <a:pos x="connsiteX7338" y="connsiteY7338"/>
                </a:cxn>
                <a:cxn ang="0">
                  <a:pos x="connsiteX7339" y="connsiteY7339"/>
                </a:cxn>
                <a:cxn ang="0">
                  <a:pos x="connsiteX7340" y="connsiteY7340"/>
                </a:cxn>
                <a:cxn ang="0">
                  <a:pos x="connsiteX7341" y="connsiteY7341"/>
                </a:cxn>
                <a:cxn ang="0">
                  <a:pos x="connsiteX7342" y="connsiteY7342"/>
                </a:cxn>
                <a:cxn ang="0">
                  <a:pos x="connsiteX7343" y="connsiteY7343"/>
                </a:cxn>
                <a:cxn ang="0">
                  <a:pos x="connsiteX7344" y="connsiteY7344"/>
                </a:cxn>
                <a:cxn ang="0">
                  <a:pos x="connsiteX7345" y="connsiteY7345"/>
                </a:cxn>
                <a:cxn ang="0">
                  <a:pos x="connsiteX7346" y="connsiteY7346"/>
                </a:cxn>
                <a:cxn ang="0">
                  <a:pos x="connsiteX7347" y="connsiteY7347"/>
                </a:cxn>
                <a:cxn ang="0">
                  <a:pos x="connsiteX7348" y="connsiteY7348"/>
                </a:cxn>
                <a:cxn ang="0">
                  <a:pos x="connsiteX7349" y="connsiteY7349"/>
                </a:cxn>
                <a:cxn ang="0">
                  <a:pos x="connsiteX7350" y="connsiteY7350"/>
                </a:cxn>
                <a:cxn ang="0">
                  <a:pos x="connsiteX7351" y="connsiteY7351"/>
                </a:cxn>
                <a:cxn ang="0">
                  <a:pos x="connsiteX7352" y="connsiteY7352"/>
                </a:cxn>
                <a:cxn ang="0">
                  <a:pos x="connsiteX7353" y="connsiteY7353"/>
                </a:cxn>
                <a:cxn ang="0">
                  <a:pos x="connsiteX7354" y="connsiteY7354"/>
                </a:cxn>
                <a:cxn ang="0">
                  <a:pos x="connsiteX7355" y="connsiteY7355"/>
                </a:cxn>
                <a:cxn ang="0">
                  <a:pos x="connsiteX7356" y="connsiteY7356"/>
                </a:cxn>
                <a:cxn ang="0">
                  <a:pos x="connsiteX7357" y="connsiteY7357"/>
                </a:cxn>
                <a:cxn ang="0">
                  <a:pos x="connsiteX7358" y="connsiteY7358"/>
                </a:cxn>
                <a:cxn ang="0">
                  <a:pos x="connsiteX7359" y="connsiteY7359"/>
                </a:cxn>
                <a:cxn ang="0">
                  <a:pos x="connsiteX7360" y="connsiteY7360"/>
                </a:cxn>
                <a:cxn ang="0">
                  <a:pos x="connsiteX7361" y="connsiteY7361"/>
                </a:cxn>
                <a:cxn ang="0">
                  <a:pos x="connsiteX7362" y="connsiteY7362"/>
                </a:cxn>
                <a:cxn ang="0">
                  <a:pos x="connsiteX7363" y="connsiteY7363"/>
                </a:cxn>
                <a:cxn ang="0">
                  <a:pos x="connsiteX7364" y="connsiteY7364"/>
                </a:cxn>
                <a:cxn ang="0">
                  <a:pos x="connsiteX7365" y="connsiteY7365"/>
                </a:cxn>
                <a:cxn ang="0">
                  <a:pos x="connsiteX7366" y="connsiteY7366"/>
                </a:cxn>
                <a:cxn ang="0">
                  <a:pos x="connsiteX7367" y="connsiteY7367"/>
                </a:cxn>
                <a:cxn ang="0">
                  <a:pos x="connsiteX7368" y="connsiteY7368"/>
                </a:cxn>
                <a:cxn ang="0">
                  <a:pos x="connsiteX7369" y="connsiteY7369"/>
                </a:cxn>
                <a:cxn ang="0">
                  <a:pos x="connsiteX7370" y="connsiteY7370"/>
                </a:cxn>
                <a:cxn ang="0">
                  <a:pos x="connsiteX7371" y="connsiteY7371"/>
                </a:cxn>
                <a:cxn ang="0">
                  <a:pos x="connsiteX7372" y="connsiteY7372"/>
                </a:cxn>
                <a:cxn ang="0">
                  <a:pos x="connsiteX7373" y="connsiteY7373"/>
                </a:cxn>
                <a:cxn ang="0">
                  <a:pos x="connsiteX7374" y="connsiteY7374"/>
                </a:cxn>
                <a:cxn ang="0">
                  <a:pos x="connsiteX7375" y="connsiteY7375"/>
                </a:cxn>
                <a:cxn ang="0">
                  <a:pos x="connsiteX7376" y="connsiteY7376"/>
                </a:cxn>
                <a:cxn ang="0">
                  <a:pos x="connsiteX7377" y="connsiteY7377"/>
                </a:cxn>
                <a:cxn ang="0">
                  <a:pos x="connsiteX7378" y="connsiteY7378"/>
                </a:cxn>
                <a:cxn ang="0">
                  <a:pos x="connsiteX7379" y="connsiteY7379"/>
                </a:cxn>
                <a:cxn ang="0">
                  <a:pos x="connsiteX7380" y="connsiteY7380"/>
                </a:cxn>
                <a:cxn ang="0">
                  <a:pos x="connsiteX7381" y="connsiteY7381"/>
                </a:cxn>
                <a:cxn ang="0">
                  <a:pos x="connsiteX7382" y="connsiteY7382"/>
                </a:cxn>
                <a:cxn ang="0">
                  <a:pos x="connsiteX7383" y="connsiteY7383"/>
                </a:cxn>
                <a:cxn ang="0">
                  <a:pos x="connsiteX7384" y="connsiteY7384"/>
                </a:cxn>
                <a:cxn ang="0">
                  <a:pos x="connsiteX7385" y="connsiteY7385"/>
                </a:cxn>
                <a:cxn ang="0">
                  <a:pos x="connsiteX7386" y="connsiteY7386"/>
                </a:cxn>
                <a:cxn ang="0">
                  <a:pos x="connsiteX7387" y="connsiteY7387"/>
                </a:cxn>
                <a:cxn ang="0">
                  <a:pos x="connsiteX7388" y="connsiteY7388"/>
                </a:cxn>
                <a:cxn ang="0">
                  <a:pos x="connsiteX7389" y="connsiteY7389"/>
                </a:cxn>
                <a:cxn ang="0">
                  <a:pos x="connsiteX7390" y="connsiteY7390"/>
                </a:cxn>
                <a:cxn ang="0">
                  <a:pos x="connsiteX7391" y="connsiteY7391"/>
                </a:cxn>
                <a:cxn ang="0">
                  <a:pos x="connsiteX7392" y="connsiteY7392"/>
                </a:cxn>
                <a:cxn ang="0">
                  <a:pos x="connsiteX7393" y="connsiteY7393"/>
                </a:cxn>
                <a:cxn ang="0">
                  <a:pos x="connsiteX7394" y="connsiteY7394"/>
                </a:cxn>
                <a:cxn ang="0">
                  <a:pos x="connsiteX7395" y="connsiteY7395"/>
                </a:cxn>
                <a:cxn ang="0">
                  <a:pos x="connsiteX7396" y="connsiteY7396"/>
                </a:cxn>
                <a:cxn ang="0">
                  <a:pos x="connsiteX7397" y="connsiteY7397"/>
                </a:cxn>
                <a:cxn ang="0">
                  <a:pos x="connsiteX7398" y="connsiteY7398"/>
                </a:cxn>
                <a:cxn ang="0">
                  <a:pos x="connsiteX7399" y="connsiteY7399"/>
                </a:cxn>
                <a:cxn ang="0">
                  <a:pos x="connsiteX7400" y="connsiteY7400"/>
                </a:cxn>
                <a:cxn ang="0">
                  <a:pos x="connsiteX7401" y="connsiteY7401"/>
                </a:cxn>
                <a:cxn ang="0">
                  <a:pos x="connsiteX7402" y="connsiteY7402"/>
                </a:cxn>
                <a:cxn ang="0">
                  <a:pos x="connsiteX7403" y="connsiteY7403"/>
                </a:cxn>
                <a:cxn ang="0">
                  <a:pos x="connsiteX7404" y="connsiteY7404"/>
                </a:cxn>
                <a:cxn ang="0">
                  <a:pos x="connsiteX7405" y="connsiteY7405"/>
                </a:cxn>
                <a:cxn ang="0">
                  <a:pos x="connsiteX7406" y="connsiteY7406"/>
                </a:cxn>
                <a:cxn ang="0">
                  <a:pos x="connsiteX7407" y="connsiteY7407"/>
                </a:cxn>
                <a:cxn ang="0">
                  <a:pos x="connsiteX7408" y="connsiteY7408"/>
                </a:cxn>
                <a:cxn ang="0">
                  <a:pos x="connsiteX7409" y="connsiteY7409"/>
                </a:cxn>
                <a:cxn ang="0">
                  <a:pos x="connsiteX7410" y="connsiteY7410"/>
                </a:cxn>
                <a:cxn ang="0">
                  <a:pos x="connsiteX7411" y="connsiteY7411"/>
                </a:cxn>
                <a:cxn ang="0">
                  <a:pos x="connsiteX7412" y="connsiteY7412"/>
                </a:cxn>
                <a:cxn ang="0">
                  <a:pos x="connsiteX7413" y="connsiteY7413"/>
                </a:cxn>
                <a:cxn ang="0">
                  <a:pos x="connsiteX7414" y="connsiteY7414"/>
                </a:cxn>
                <a:cxn ang="0">
                  <a:pos x="connsiteX7415" y="connsiteY7415"/>
                </a:cxn>
                <a:cxn ang="0">
                  <a:pos x="connsiteX7416" y="connsiteY7416"/>
                </a:cxn>
                <a:cxn ang="0">
                  <a:pos x="connsiteX7417" y="connsiteY7417"/>
                </a:cxn>
                <a:cxn ang="0">
                  <a:pos x="connsiteX7418" y="connsiteY7418"/>
                </a:cxn>
                <a:cxn ang="0">
                  <a:pos x="connsiteX7419" y="connsiteY7419"/>
                </a:cxn>
                <a:cxn ang="0">
                  <a:pos x="connsiteX7420" y="connsiteY7420"/>
                </a:cxn>
                <a:cxn ang="0">
                  <a:pos x="connsiteX7421" y="connsiteY7421"/>
                </a:cxn>
                <a:cxn ang="0">
                  <a:pos x="connsiteX7422" y="connsiteY7422"/>
                </a:cxn>
                <a:cxn ang="0">
                  <a:pos x="connsiteX7423" y="connsiteY7423"/>
                </a:cxn>
                <a:cxn ang="0">
                  <a:pos x="connsiteX7424" y="connsiteY7424"/>
                </a:cxn>
                <a:cxn ang="0">
                  <a:pos x="connsiteX7425" y="connsiteY7425"/>
                </a:cxn>
                <a:cxn ang="0">
                  <a:pos x="connsiteX7426" y="connsiteY7426"/>
                </a:cxn>
                <a:cxn ang="0">
                  <a:pos x="connsiteX7427" y="connsiteY7427"/>
                </a:cxn>
                <a:cxn ang="0">
                  <a:pos x="connsiteX7428" y="connsiteY7428"/>
                </a:cxn>
                <a:cxn ang="0">
                  <a:pos x="connsiteX7429" y="connsiteY7429"/>
                </a:cxn>
                <a:cxn ang="0">
                  <a:pos x="connsiteX7430" y="connsiteY7430"/>
                </a:cxn>
                <a:cxn ang="0">
                  <a:pos x="connsiteX7431" y="connsiteY7431"/>
                </a:cxn>
                <a:cxn ang="0">
                  <a:pos x="connsiteX7432" y="connsiteY7432"/>
                </a:cxn>
                <a:cxn ang="0">
                  <a:pos x="connsiteX7433" y="connsiteY7433"/>
                </a:cxn>
                <a:cxn ang="0">
                  <a:pos x="connsiteX7434" y="connsiteY7434"/>
                </a:cxn>
                <a:cxn ang="0">
                  <a:pos x="connsiteX7435" y="connsiteY7435"/>
                </a:cxn>
                <a:cxn ang="0">
                  <a:pos x="connsiteX7436" y="connsiteY7436"/>
                </a:cxn>
                <a:cxn ang="0">
                  <a:pos x="connsiteX7437" y="connsiteY7437"/>
                </a:cxn>
                <a:cxn ang="0">
                  <a:pos x="connsiteX7438" y="connsiteY7438"/>
                </a:cxn>
                <a:cxn ang="0">
                  <a:pos x="connsiteX7439" y="connsiteY7439"/>
                </a:cxn>
                <a:cxn ang="0">
                  <a:pos x="connsiteX7440" y="connsiteY7440"/>
                </a:cxn>
                <a:cxn ang="0">
                  <a:pos x="connsiteX7441" y="connsiteY7441"/>
                </a:cxn>
                <a:cxn ang="0">
                  <a:pos x="connsiteX7442" y="connsiteY7442"/>
                </a:cxn>
                <a:cxn ang="0">
                  <a:pos x="connsiteX7443" y="connsiteY7443"/>
                </a:cxn>
                <a:cxn ang="0">
                  <a:pos x="connsiteX7444" y="connsiteY7444"/>
                </a:cxn>
                <a:cxn ang="0">
                  <a:pos x="connsiteX7445" y="connsiteY7445"/>
                </a:cxn>
                <a:cxn ang="0">
                  <a:pos x="connsiteX7446" y="connsiteY7446"/>
                </a:cxn>
                <a:cxn ang="0">
                  <a:pos x="connsiteX7447" y="connsiteY7447"/>
                </a:cxn>
                <a:cxn ang="0">
                  <a:pos x="connsiteX7448" y="connsiteY7448"/>
                </a:cxn>
                <a:cxn ang="0">
                  <a:pos x="connsiteX7449" y="connsiteY7449"/>
                </a:cxn>
                <a:cxn ang="0">
                  <a:pos x="connsiteX7450" y="connsiteY7450"/>
                </a:cxn>
                <a:cxn ang="0">
                  <a:pos x="connsiteX7451" y="connsiteY7451"/>
                </a:cxn>
                <a:cxn ang="0">
                  <a:pos x="connsiteX7452" y="connsiteY7452"/>
                </a:cxn>
                <a:cxn ang="0">
                  <a:pos x="connsiteX7453" y="connsiteY7453"/>
                </a:cxn>
                <a:cxn ang="0">
                  <a:pos x="connsiteX7454" y="connsiteY7454"/>
                </a:cxn>
                <a:cxn ang="0">
                  <a:pos x="connsiteX7455" y="connsiteY7455"/>
                </a:cxn>
                <a:cxn ang="0">
                  <a:pos x="connsiteX7456" y="connsiteY7456"/>
                </a:cxn>
                <a:cxn ang="0">
                  <a:pos x="connsiteX7457" y="connsiteY7457"/>
                </a:cxn>
                <a:cxn ang="0">
                  <a:pos x="connsiteX7458" y="connsiteY7458"/>
                </a:cxn>
                <a:cxn ang="0">
                  <a:pos x="connsiteX7459" y="connsiteY7459"/>
                </a:cxn>
                <a:cxn ang="0">
                  <a:pos x="connsiteX7460" y="connsiteY7460"/>
                </a:cxn>
                <a:cxn ang="0">
                  <a:pos x="connsiteX7461" y="connsiteY7461"/>
                </a:cxn>
                <a:cxn ang="0">
                  <a:pos x="connsiteX7462" y="connsiteY7462"/>
                </a:cxn>
                <a:cxn ang="0">
                  <a:pos x="connsiteX7463" y="connsiteY7463"/>
                </a:cxn>
                <a:cxn ang="0">
                  <a:pos x="connsiteX7464" y="connsiteY7464"/>
                </a:cxn>
                <a:cxn ang="0">
                  <a:pos x="connsiteX7465" y="connsiteY7465"/>
                </a:cxn>
                <a:cxn ang="0">
                  <a:pos x="connsiteX7466" y="connsiteY7466"/>
                </a:cxn>
                <a:cxn ang="0">
                  <a:pos x="connsiteX7467" y="connsiteY7467"/>
                </a:cxn>
                <a:cxn ang="0">
                  <a:pos x="connsiteX7468" y="connsiteY7468"/>
                </a:cxn>
                <a:cxn ang="0">
                  <a:pos x="connsiteX7469" y="connsiteY7469"/>
                </a:cxn>
                <a:cxn ang="0">
                  <a:pos x="connsiteX7470" y="connsiteY7470"/>
                </a:cxn>
                <a:cxn ang="0">
                  <a:pos x="connsiteX7471" y="connsiteY7471"/>
                </a:cxn>
                <a:cxn ang="0">
                  <a:pos x="connsiteX7472" y="connsiteY7472"/>
                </a:cxn>
                <a:cxn ang="0">
                  <a:pos x="connsiteX7473" y="connsiteY7473"/>
                </a:cxn>
                <a:cxn ang="0">
                  <a:pos x="connsiteX7474" y="connsiteY7474"/>
                </a:cxn>
                <a:cxn ang="0">
                  <a:pos x="connsiteX7475" y="connsiteY7475"/>
                </a:cxn>
                <a:cxn ang="0">
                  <a:pos x="connsiteX7476" y="connsiteY7476"/>
                </a:cxn>
                <a:cxn ang="0">
                  <a:pos x="connsiteX7477" y="connsiteY7477"/>
                </a:cxn>
                <a:cxn ang="0">
                  <a:pos x="connsiteX7478" y="connsiteY7478"/>
                </a:cxn>
                <a:cxn ang="0">
                  <a:pos x="connsiteX7479" y="connsiteY7479"/>
                </a:cxn>
                <a:cxn ang="0">
                  <a:pos x="connsiteX7480" y="connsiteY7480"/>
                </a:cxn>
                <a:cxn ang="0">
                  <a:pos x="connsiteX7481" y="connsiteY7481"/>
                </a:cxn>
                <a:cxn ang="0">
                  <a:pos x="connsiteX7482" y="connsiteY7482"/>
                </a:cxn>
                <a:cxn ang="0">
                  <a:pos x="connsiteX7483" y="connsiteY7483"/>
                </a:cxn>
                <a:cxn ang="0">
                  <a:pos x="connsiteX7484" y="connsiteY7484"/>
                </a:cxn>
                <a:cxn ang="0">
                  <a:pos x="connsiteX7485" y="connsiteY7485"/>
                </a:cxn>
                <a:cxn ang="0">
                  <a:pos x="connsiteX7486" y="connsiteY7486"/>
                </a:cxn>
                <a:cxn ang="0">
                  <a:pos x="connsiteX7487" y="connsiteY7487"/>
                </a:cxn>
                <a:cxn ang="0">
                  <a:pos x="connsiteX7488" y="connsiteY7488"/>
                </a:cxn>
                <a:cxn ang="0">
                  <a:pos x="connsiteX7489" y="connsiteY7489"/>
                </a:cxn>
                <a:cxn ang="0">
                  <a:pos x="connsiteX7490" y="connsiteY7490"/>
                </a:cxn>
                <a:cxn ang="0">
                  <a:pos x="connsiteX7491" y="connsiteY7491"/>
                </a:cxn>
                <a:cxn ang="0">
                  <a:pos x="connsiteX7492" y="connsiteY7492"/>
                </a:cxn>
                <a:cxn ang="0">
                  <a:pos x="connsiteX7493" y="connsiteY7493"/>
                </a:cxn>
                <a:cxn ang="0">
                  <a:pos x="connsiteX7494" y="connsiteY7494"/>
                </a:cxn>
                <a:cxn ang="0">
                  <a:pos x="connsiteX7495" y="connsiteY7495"/>
                </a:cxn>
                <a:cxn ang="0">
                  <a:pos x="connsiteX7496" y="connsiteY7496"/>
                </a:cxn>
                <a:cxn ang="0">
                  <a:pos x="connsiteX7497" y="connsiteY7497"/>
                </a:cxn>
                <a:cxn ang="0">
                  <a:pos x="connsiteX7498" y="connsiteY7498"/>
                </a:cxn>
                <a:cxn ang="0">
                  <a:pos x="connsiteX7499" y="connsiteY7499"/>
                </a:cxn>
                <a:cxn ang="0">
                  <a:pos x="connsiteX7500" y="connsiteY7500"/>
                </a:cxn>
                <a:cxn ang="0">
                  <a:pos x="connsiteX7501" y="connsiteY7501"/>
                </a:cxn>
                <a:cxn ang="0">
                  <a:pos x="connsiteX7502" y="connsiteY7502"/>
                </a:cxn>
                <a:cxn ang="0">
                  <a:pos x="connsiteX7503" y="connsiteY7503"/>
                </a:cxn>
                <a:cxn ang="0">
                  <a:pos x="connsiteX7504" y="connsiteY7504"/>
                </a:cxn>
                <a:cxn ang="0">
                  <a:pos x="connsiteX7505" y="connsiteY7505"/>
                </a:cxn>
                <a:cxn ang="0">
                  <a:pos x="connsiteX7506" y="connsiteY7506"/>
                </a:cxn>
                <a:cxn ang="0">
                  <a:pos x="connsiteX7507" y="connsiteY7507"/>
                </a:cxn>
                <a:cxn ang="0">
                  <a:pos x="connsiteX7508" y="connsiteY7508"/>
                </a:cxn>
                <a:cxn ang="0">
                  <a:pos x="connsiteX7509" y="connsiteY7509"/>
                </a:cxn>
                <a:cxn ang="0">
                  <a:pos x="connsiteX7510" y="connsiteY7510"/>
                </a:cxn>
                <a:cxn ang="0">
                  <a:pos x="connsiteX7511" y="connsiteY7511"/>
                </a:cxn>
                <a:cxn ang="0">
                  <a:pos x="connsiteX7512" y="connsiteY7512"/>
                </a:cxn>
                <a:cxn ang="0">
                  <a:pos x="connsiteX7513" y="connsiteY7513"/>
                </a:cxn>
                <a:cxn ang="0">
                  <a:pos x="connsiteX7514" y="connsiteY7514"/>
                </a:cxn>
                <a:cxn ang="0">
                  <a:pos x="connsiteX7515" y="connsiteY7515"/>
                </a:cxn>
                <a:cxn ang="0">
                  <a:pos x="connsiteX7516" y="connsiteY7516"/>
                </a:cxn>
                <a:cxn ang="0">
                  <a:pos x="connsiteX7517" y="connsiteY7517"/>
                </a:cxn>
                <a:cxn ang="0">
                  <a:pos x="connsiteX7518" y="connsiteY7518"/>
                </a:cxn>
                <a:cxn ang="0">
                  <a:pos x="connsiteX7519" y="connsiteY7519"/>
                </a:cxn>
                <a:cxn ang="0">
                  <a:pos x="connsiteX7520" y="connsiteY7520"/>
                </a:cxn>
                <a:cxn ang="0">
                  <a:pos x="connsiteX7521" y="connsiteY7521"/>
                </a:cxn>
                <a:cxn ang="0">
                  <a:pos x="connsiteX7522" y="connsiteY7522"/>
                </a:cxn>
                <a:cxn ang="0">
                  <a:pos x="connsiteX7523" y="connsiteY7523"/>
                </a:cxn>
                <a:cxn ang="0">
                  <a:pos x="connsiteX7524" y="connsiteY7524"/>
                </a:cxn>
                <a:cxn ang="0">
                  <a:pos x="connsiteX7525" y="connsiteY7525"/>
                </a:cxn>
                <a:cxn ang="0">
                  <a:pos x="connsiteX7526" y="connsiteY7526"/>
                </a:cxn>
                <a:cxn ang="0">
                  <a:pos x="connsiteX7527" y="connsiteY7527"/>
                </a:cxn>
                <a:cxn ang="0">
                  <a:pos x="connsiteX7528" y="connsiteY7528"/>
                </a:cxn>
                <a:cxn ang="0">
                  <a:pos x="connsiteX7529" y="connsiteY7529"/>
                </a:cxn>
                <a:cxn ang="0">
                  <a:pos x="connsiteX7530" y="connsiteY7530"/>
                </a:cxn>
                <a:cxn ang="0">
                  <a:pos x="connsiteX7531" y="connsiteY7531"/>
                </a:cxn>
                <a:cxn ang="0">
                  <a:pos x="connsiteX7532" y="connsiteY7532"/>
                </a:cxn>
                <a:cxn ang="0">
                  <a:pos x="connsiteX7533" y="connsiteY7533"/>
                </a:cxn>
                <a:cxn ang="0">
                  <a:pos x="connsiteX7534" y="connsiteY7534"/>
                </a:cxn>
                <a:cxn ang="0">
                  <a:pos x="connsiteX7535" y="connsiteY7535"/>
                </a:cxn>
                <a:cxn ang="0">
                  <a:pos x="connsiteX7536" y="connsiteY7536"/>
                </a:cxn>
                <a:cxn ang="0">
                  <a:pos x="connsiteX7537" y="connsiteY7537"/>
                </a:cxn>
                <a:cxn ang="0">
                  <a:pos x="connsiteX7538" y="connsiteY7538"/>
                </a:cxn>
                <a:cxn ang="0">
                  <a:pos x="connsiteX7539" y="connsiteY7539"/>
                </a:cxn>
                <a:cxn ang="0">
                  <a:pos x="connsiteX7540" y="connsiteY7540"/>
                </a:cxn>
                <a:cxn ang="0">
                  <a:pos x="connsiteX7541" y="connsiteY7541"/>
                </a:cxn>
                <a:cxn ang="0">
                  <a:pos x="connsiteX7542" y="connsiteY7542"/>
                </a:cxn>
                <a:cxn ang="0">
                  <a:pos x="connsiteX7543" y="connsiteY7543"/>
                </a:cxn>
                <a:cxn ang="0">
                  <a:pos x="connsiteX7544" y="connsiteY7544"/>
                </a:cxn>
                <a:cxn ang="0">
                  <a:pos x="connsiteX7545" y="connsiteY7545"/>
                </a:cxn>
                <a:cxn ang="0">
                  <a:pos x="connsiteX7546" y="connsiteY7546"/>
                </a:cxn>
                <a:cxn ang="0">
                  <a:pos x="connsiteX7547" y="connsiteY7547"/>
                </a:cxn>
                <a:cxn ang="0">
                  <a:pos x="connsiteX7548" y="connsiteY7548"/>
                </a:cxn>
                <a:cxn ang="0">
                  <a:pos x="connsiteX7549" y="connsiteY7549"/>
                </a:cxn>
                <a:cxn ang="0">
                  <a:pos x="connsiteX7550" y="connsiteY7550"/>
                </a:cxn>
                <a:cxn ang="0">
                  <a:pos x="connsiteX7551" y="connsiteY7551"/>
                </a:cxn>
                <a:cxn ang="0">
                  <a:pos x="connsiteX7552" y="connsiteY7552"/>
                </a:cxn>
                <a:cxn ang="0">
                  <a:pos x="connsiteX7553" y="connsiteY7553"/>
                </a:cxn>
                <a:cxn ang="0">
                  <a:pos x="connsiteX7554" y="connsiteY7554"/>
                </a:cxn>
                <a:cxn ang="0">
                  <a:pos x="connsiteX7555" y="connsiteY7555"/>
                </a:cxn>
                <a:cxn ang="0">
                  <a:pos x="connsiteX7556" y="connsiteY7556"/>
                </a:cxn>
                <a:cxn ang="0">
                  <a:pos x="connsiteX7557" y="connsiteY7557"/>
                </a:cxn>
                <a:cxn ang="0">
                  <a:pos x="connsiteX7558" y="connsiteY7558"/>
                </a:cxn>
                <a:cxn ang="0">
                  <a:pos x="connsiteX7559" y="connsiteY7559"/>
                </a:cxn>
                <a:cxn ang="0">
                  <a:pos x="connsiteX7560" y="connsiteY7560"/>
                </a:cxn>
                <a:cxn ang="0">
                  <a:pos x="connsiteX7561" y="connsiteY7561"/>
                </a:cxn>
                <a:cxn ang="0">
                  <a:pos x="connsiteX7562" y="connsiteY7562"/>
                </a:cxn>
                <a:cxn ang="0">
                  <a:pos x="connsiteX7563" y="connsiteY7563"/>
                </a:cxn>
                <a:cxn ang="0">
                  <a:pos x="connsiteX7564" y="connsiteY7564"/>
                </a:cxn>
                <a:cxn ang="0">
                  <a:pos x="connsiteX7565" y="connsiteY7565"/>
                </a:cxn>
                <a:cxn ang="0">
                  <a:pos x="connsiteX7566" y="connsiteY7566"/>
                </a:cxn>
                <a:cxn ang="0">
                  <a:pos x="connsiteX7567" y="connsiteY7567"/>
                </a:cxn>
                <a:cxn ang="0">
                  <a:pos x="connsiteX7568" y="connsiteY7568"/>
                </a:cxn>
                <a:cxn ang="0">
                  <a:pos x="connsiteX7569" y="connsiteY7569"/>
                </a:cxn>
                <a:cxn ang="0">
                  <a:pos x="connsiteX7570" y="connsiteY7570"/>
                </a:cxn>
                <a:cxn ang="0">
                  <a:pos x="connsiteX7571" y="connsiteY7571"/>
                </a:cxn>
                <a:cxn ang="0">
                  <a:pos x="connsiteX7572" y="connsiteY7572"/>
                </a:cxn>
                <a:cxn ang="0">
                  <a:pos x="connsiteX7573" y="connsiteY7573"/>
                </a:cxn>
                <a:cxn ang="0">
                  <a:pos x="connsiteX7574" y="connsiteY7574"/>
                </a:cxn>
                <a:cxn ang="0">
                  <a:pos x="connsiteX7575" y="connsiteY7575"/>
                </a:cxn>
                <a:cxn ang="0">
                  <a:pos x="connsiteX7576" y="connsiteY7576"/>
                </a:cxn>
                <a:cxn ang="0">
                  <a:pos x="connsiteX7577" y="connsiteY7577"/>
                </a:cxn>
                <a:cxn ang="0">
                  <a:pos x="connsiteX7578" y="connsiteY7578"/>
                </a:cxn>
                <a:cxn ang="0">
                  <a:pos x="connsiteX7579" y="connsiteY7579"/>
                </a:cxn>
                <a:cxn ang="0">
                  <a:pos x="connsiteX7580" y="connsiteY7580"/>
                </a:cxn>
                <a:cxn ang="0">
                  <a:pos x="connsiteX7581" y="connsiteY7581"/>
                </a:cxn>
                <a:cxn ang="0">
                  <a:pos x="connsiteX7582" y="connsiteY7582"/>
                </a:cxn>
                <a:cxn ang="0">
                  <a:pos x="connsiteX7583" y="connsiteY7583"/>
                </a:cxn>
                <a:cxn ang="0">
                  <a:pos x="connsiteX7584" y="connsiteY7584"/>
                </a:cxn>
                <a:cxn ang="0">
                  <a:pos x="connsiteX7585" y="connsiteY7585"/>
                </a:cxn>
                <a:cxn ang="0">
                  <a:pos x="connsiteX7586" y="connsiteY7586"/>
                </a:cxn>
                <a:cxn ang="0">
                  <a:pos x="connsiteX7587" y="connsiteY7587"/>
                </a:cxn>
                <a:cxn ang="0">
                  <a:pos x="connsiteX7588" y="connsiteY7588"/>
                </a:cxn>
                <a:cxn ang="0">
                  <a:pos x="connsiteX7589" y="connsiteY7589"/>
                </a:cxn>
                <a:cxn ang="0">
                  <a:pos x="connsiteX7590" y="connsiteY7590"/>
                </a:cxn>
                <a:cxn ang="0">
                  <a:pos x="connsiteX7591" y="connsiteY7591"/>
                </a:cxn>
                <a:cxn ang="0">
                  <a:pos x="connsiteX7592" y="connsiteY7592"/>
                </a:cxn>
                <a:cxn ang="0">
                  <a:pos x="connsiteX7593" y="connsiteY7593"/>
                </a:cxn>
                <a:cxn ang="0">
                  <a:pos x="connsiteX7594" y="connsiteY7594"/>
                </a:cxn>
                <a:cxn ang="0">
                  <a:pos x="connsiteX7595" y="connsiteY7595"/>
                </a:cxn>
                <a:cxn ang="0">
                  <a:pos x="connsiteX7596" y="connsiteY7596"/>
                </a:cxn>
                <a:cxn ang="0">
                  <a:pos x="connsiteX7597" y="connsiteY7597"/>
                </a:cxn>
                <a:cxn ang="0">
                  <a:pos x="connsiteX7598" y="connsiteY7598"/>
                </a:cxn>
                <a:cxn ang="0">
                  <a:pos x="connsiteX7599" y="connsiteY7599"/>
                </a:cxn>
                <a:cxn ang="0">
                  <a:pos x="connsiteX7600" y="connsiteY7600"/>
                </a:cxn>
                <a:cxn ang="0">
                  <a:pos x="connsiteX7601" y="connsiteY7601"/>
                </a:cxn>
                <a:cxn ang="0">
                  <a:pos x="connsiteX7602" y="connsiteY7602"/>
                </a:cxn>
                <a:cxn ang="0">
                  <a:pos x="connsiteX7603" y="connsiteY7603"/>
                </a:cxn>
                <a:cxn ang="0">
                  <a:pos x="connsiteX7604" y="connsiteY7604"/>
                </a:cxn>
                <a:cxn ang="0">
                  <a:pos x="connsiteX7605" y="connsiteY7605"/>
                </a:cxn>
                <a:cxn ang="0">
                  <a:pos x="connsiteX7606" y="connsiteY7606"/>
                </a:cxn>
                <a:cxn ang="0">
                  <a:pos x="connsiteX7607" y="connsiteY7607"/>
                </a:cxn>
                <a:cxn ang="0">
                  <a:pos x="connsiteX7608" y="connsiteY7608"/>
                </a:cxn>
                <a:cxn ang="0">
                  <a:pos x="connsiteX7609" y="connsiteY7609"/>
                </a:cxn>
                <a:cxn ang="0">
                  <a:pos x="connsiteX7610" y="connsiteY7610"/>
                </a:cxn>
                <a:cxn ang="0">
                  <a:pos x="connsiteX7611" y="connsiteY7611"/>
                </a:cxn>
                <a:cxn ang="0">
                  <a:pos x="connsiteX7612" y="connsiteY7612"/>
                </a:cxn>
                <a:cxn ang="0">
                  <a:pos x="connsiteX7613" y="connsiteY7613"/>
                </a:cxn>
                <a:cxn ang="0">
                  <a:pos x="connsiteX7614" y="connsiteY7614"/>
                </a:cxn>
                <a:cxn ang="0">
                  <a:pos x="connsiteX7615" y="connsiteY7615"/>
                </a:cxn>
                <a:cxn ang="0">
                  <a:pos x="connsiteX7616" y="connsiteY7616"/>
                </a:cxn>
                <a:cxn ang="0">
                  <a:pos x="connsiteX7617" y="connsiteY7617"/>
                </a:cxn>
                <a:cxn ang="0">
                  <a:pos x="connsiteX7618" y="connsiteY7618"/>
                </a:cxn>
                <a:cxn ang="0">
                  <a:pos x="connsiteX7619" y="connsiteY7619"/>
                </a:cxn>
                <a:cxn ang="0">
                  <a:pos x="connsiteX7620" y="connsiteY7620"/>
                </a:cxn>
                <a:cxn ang="0">
                  <a:pos x="connsiteX7621" y="connsiteY7621"/>
                </a:cxn>
                <a:cxn ang="0">
                  <a:pos x="connsiteX7622" y="connsiteY7622"/>
                </a:cxn>
                <a:cxn ang="0">
                  <a:pos x="connsiteX7623" y="connsiteY7623"/>
                </a:cxn>
                <a:cxn ang="0">
                  <a:pos x="connsiteX7624" y="connsiteY7624"/>
                </a:cxn>
                <a:cxn ang="0">
                  <a:pos x="connsiteX7625" y="connsiteY7625"/>
                </a:cxn>
                <a:cxn ang="0">
                  <a:pos x="connsiteX7626" y="connsiteY7626"/>
                </a:cxn>
                <a:cxn ang="0">
                  <a:pos x="connsiteX7627" y="connsiteY7627"/>
                </a:cxn>
                <a:cxn ang="0">
                  <a:pos x="connsiteX7628" y="connsiteY7628"/>
                </a:cxn>
                <a:cxn ang="0">
                  <a:pos x="connsiteX7629" y="connsiteY7629"/>
                </a:cxn>
                <a:cxn ang="0">
                  <a:pos x="connsiteX7630" y="connsiteY7630"/>
                </a:cxn>
                <a:cxn ang="0">
                  <a:pos x="connsiteX7631" y="connsiteY7631"/>
                </a:cxn>
                <a:cxn ang="0">
                  <a:pos x="connsiteX7632" y="connsiteY7632"/>
                </a:cxn>
                <a:cxn ang="0">
                  <a:pos x="connsiteX7633" y="connsiteY7633"/>
                </a:cxn>
                <a:cxn ang="0">
                  <a:pos x="connsiteX7634" y="connsiteY7634"/>
                </a:cxn>
                <a:cxn ang="0">
                  <a:pos x="connsiteX7635" y="connsiteY7635"/>
                </a:cxn>
                <a:cxn ang="0">
                  <a:pos x="connsiteX7636" y="connsiteY7636"/>
                </a:cxn>
                <a:cxn ang="0">
                  <a:pos x="connsiteX7637" y="connsiteY7637"/>
                </a:cxn>
                <a:cxn ang="0">
                  <a:pos x="connsiteX7638" y="connsiteY7638"/>
                </a:cxn>
                <a:cxn ang="0">
                  <a:pos x="connsiteX7639" y="connsiteY7639"/>
                </a:cxn>
                <a:cxn ang="0">
                  <a:pos x="connsiteX7640" y="connsiteY7640"/>
                </a:cxn>
                <a:cxn ang="0">
                  <a:pos x="connsiteX7641" y="connsiteY7641"/>
                </a:cxn>
                <a:cxn ang="0">
                  <a:pos x="connsiteX7642" y="connsiteY7642"/>
                </a:cxn>
                <a:cxn ang="0">
                  <a:pos x="connsiteX7643" y="connsiteY7643"/>
                </a:cxn>
                <a:cxn ang="0">
                  <a:pos x="connsiteX7644" y="connsiteY7644"/>
                </a:cxn>
                <a:cxn ang="0">
                  <a:pos x="connsiteX7645" y="connsiteY7645"/>
                </a:cxn>
                <a:cxn ang="0">
                  <a:pos x="connsiteX7646" y="connsiteY7646"/>
                </a:cxn>
                <a:cxn ang="0">
                  <a:pos x="connsiteX7647" y="connsiteY7647"/>
                </a:cxn>
                <a:cxn ang="0">
                  <a:pos x="connsiteX7648" y="connsiteY7648"/>
                </a:cxn>
                <a:cxn ang="0">
                  <a:pos x="connsiteX7649" y="connsiteY7649"/>
                </a:cxn>
                <a:cxn ang="0">
                  <a:pos x="connsiteX7650" y="connsiteY7650"/>
                </a:cxn>
                <a:cxn ang="0">
                  <a:pos x="connsiteX7651" y="connsiteY7651"/>
                </a:cxn>
                <a:cxn ang="0">
                  <a:pos x="connsiteX7652" y="connsiteY7652"/>
                </a:cxn>
                <a:cxn ang="0">
                  <a:pos x="connsiteX7653" y="connsiteY7653"/>
                </a:cxn>
                <a:cxn ang="0">
                  <a:pos x="connsiteX7654" y="connsiteY7654"/>
                </a:cxn>
                <a:cxn ang="0">
                  <a:pos x="connsiteX7655" y="connsiteY7655"/>
                </a:cxn>
                <a:cxn ang="0">
                  <a:pos x="connsiteX7656" y="connsiteY7656"/>
                </a:cxn>
                <a:cxn ang="0">
                  <a:pos x="connsiteX7657" y="connsiteY7657"/>
                </a:cxn>
                <a:cxn ang="0">
                  <a:pos x="connsiteX7658" y="connsiteY7658"/>
                </a:cxn>
                <a:cxn ang="0">
                  <a:pos x="connsiteX7659" y="connsiteY7659"/>
                </a:cxn>
                <a:cxn ang="0">
                  <a:pos x="connsiteX7660" y="connsiteY7660"/>
                </a:cxn>
                <a:cxn ang="0">
                  <a:pos x="connsiteX7661" y="connsiteY7661"/>
                </a:cxn>
                <a:cxn ang="0">
                  <a:pos x="connsiteX7662" y="connsiteY7662"/>
                </a:cxn>
                <a:cxn ang="0">
                  <a:pos x="connsiteX7663" y="connsiteY7663"/>
                </a:cxn>
                <a:cxn ang="0">
                  <a:pos x="connsiteX7664" y="connsiteY7664"/>
                </a:cxn>
                <a:cxn ang="0">
                  <a:pos x="connsiteX7665" y="connsiteY7665"/>
                </a:cxn>
                <a:cxn ang="0">
                  <a:pos x="connsiteX7666" y="connsiteY7666"/>
                </a:cxn>
                <a:cxn ang="0">
                  <a:pos x="connsiteX7667" y="connsiteY7667"/>
                </a:cxn>
                <a:cxn ang="0">
                  <a:pos x="connsiteX7668" y="connsiteY7668"/>
                </a:cxn>
                <a:cxn ang="0">
                  <a:pos x="connsiteX7669" y="connsiteY7669"/>
                </a:cxn>
                <a:cxn ang="0">
                  <a:pos x="connsiteX7670" y="connsiteY7670"/>
                </a:cxn>
                <a:cxn ang="0">
                  <a:pos x="connsiteX7671" y="connsiteY7671"/>
                </a:cxn>
                <a:cxn ang="0">
                  <a:pos x="connsiteX7672" y="connsiteY7672"/>
                </a:cxn>
                <a:cxn ang="0">
                  <a:pos x="connsiteX7673" y="connsiteY7673"/>
                </a:cxn>
                <a:cxn ang="0">
                  <a:pos x="connsiteX7674" y="connsiteY7674"/>
                </a:cxn>
                <a:cxn ang="0">
                  <a:pos x="connsiteX7675" y="connsiteY7675"/>
                </a:cxn>
                <a:cxn ang="0">
                  <a:pos x="connsiteX7676" y="connsiteY7676"/>
                </a:cxn>
                <a:cxn ang="0">
                  <a:pos x="connsiteX7677" y="connsiteY7677"/>
                </a:cxn>
                <a:cxn ang="0">
                  <a:pos x="connsiteX7678" y="connsiteY7678"/>
                </a:cxn>
                <a:cxn ang="0">
                  <a:pos x="connsiteX7679" y="connsiteY7679"/>
                </a:cxn>
                <a:cxn ang="0">
                  <a:pos x="connsiteX7680" y="connsiteY7680"/>
                </a:cxn>
                <a:cxn ang="0">
                  <a:pos x="connsiteX7681" y="connsiteY7681"/>
                </a:cxn>
                <a:cxn ang="0">
                  <a:pos x="connsiteX7682" y="connsiteY7682"/>
                </a:cxn>
                <a:cxn ang="0">
                  <a:pos x="connsiteX7683" y="connsiteY7683"/>
                </a:cxn>
                <a:cxn ang="0">
                  <a:pos x="connsiteX7684" y="connsiteY7684"/>
                </a:cxn>
                <a:cxn ang="0">
                  <a:pos x="connsiteX7685" y="connsiteY7685"/>
                </a:cxn>
                <a:cxn ang="0">
                  <a:pos x="connsiteX7686" y="connsiteY7686"/>
                </a:cxn>
                <a:cxn ang="0">
                  <a:pos x="connsiteX7687" y="connsiteY7687"/>
                </a:cxn>
                <a:cxn ang="0">
                  <a:pos x="connsiteX7688" y="connsiteY7688"/>
                </a:cxn>
                <a:cxn ang="0">
                  <a:pos x="connsiteX7689" y="connsiteY7689"/>
                </a:cxn>
                <a:cxn ang="0">
                  <a:pos x="connsiteX7690" y="connsiteY7690"/>
                </a:cxn>
                <a:cxn ang="0">
                  <a:pos x="connsiteX7691" y="connsiteY7691"/>
                </a:cxn>
                <a:cxn ang="0">
                  <a:pos x="connsiteX7692" y="connsiteY7692"/>
                </a:cxn>
                <a:cxn ang="0">
                  <a:pos x="connsiteX7693" y="connsiteY7693"/>
                </a:cxn>
                <a:cxn ang="0">
                  <a:pos x="connsiteX7694" y="connsiteY7694"/>
                </a:cxn>
                <a:cxn ang="0">
                  <a:pos x="connsiteX7695" y="connsiteY7695"/>
                </a:cxn>
                <a:cxn ang="0">
                  <a:pos x="connsiteX7696" y="connsiteY7696"/>
                </a:cxn>
                <a:cxn ang="0">
                  <a:pos x="connsiteX7697" y="connsiteY7697"/>
                </a:cxn>
                <a:cxn ang="0">
                  <a:pos x="connsiteX7698" y="connsiteY7698"/>
                </a:cxn>
                <a:cxn ang="0">
                  <a:pos x="connsiteX7699" y="connsiteY7699"/>
                </a:cxn>
                <a:cxn ang="0">
                  <a:pos x="connsiteX7700" y="connsiteY7700"/>
                </a:cxn>
                <a:cxn ang="0">
                  <a:pos x="connsiteX7701" y="connsiteY7701"/>
                </a:cxn>
                <a:cxn ang="0">
                  <a:pos x="connsiteX7702" y="connsiteY7702"/>
                </a:cxn>
                <a:cxn ang="0">
                  <a:pos x="connsiteX7703" y="connsiteY7703"/>
                </a:cxn>
                <a:cxn ang="0">
                  <a:pos x="connsiteX7704" y="connsiteY7704"/>
                </a:cxn>
                <a:cxn ang="0">
                  <a:pos x="connsiteX7705" y="connsiteY7705"/>
                </a:cxn>
                <a:cxn ang="0">
                  <a:pos x="connsiteX7706" y="connsiteY7706"/>
                </a:cxn>
                <a:cxn ang="0">
                  <a:pos x="connsiteX7707" y="connsiteY7707"/>
                </a:cxn>
                <a:cxn ang="0">
                  <a:pos x="connsiteX7708" y="connsiteY7708"/>
                </a:cxn>
                <a:cxn ang="0">
                  <a:pos x="connsiteX7709" y="connsiteY7709"/>
                </a:cxn>
                <a:cxn ang="0">
                  <a:pos x="connsiteX7710" y="connsiteY7710"/>
                </a:cxn>
                <a:cxn ang="0">
                  <a:pos x="connsiteX7711" y="connsiteY7711"/>
                </a:cxn>
                <a:cxn ang="0">
                  <a:pos x="connsiteX7712" y="connsiteY7712"/>
                </a:cxn>
                <a:cxn ang="0">
                  <a:pos x="connsiteX7713" y="connsiteY7713"/>
                </a:cxn>
                <a:cxn ang="0">
                  <a:pos x="connsiteX7714" y="connsiteY7714"/>
                </a:cxn>
                <a:cxn ang="0">
                  <a:pos x="connsiteX7715" y="connsiteY7715"/>
                </a:cxn>
                <a:cxn ang="0">
                  <a:pos x="connsiteX7716" y="connsiteY7716"/>
                </a:cxn>
                <a:cxn ang="0">
                  <a:pos x="connsiteX7717" y="connsiteY7717"/>
                </a:cxn>
                <a:cxn ang="0">
                  <a:pos x="connsiteX7718" y="connsiteY7718"/>
                </a:cxn>
                <a:cxn ang="0">
                  <a:pos x="connsiteX7719" y="connsiteY7719"/>
                </a:cxn>
                <a:cxn ang="0">
                  <a:pos x="connsiteX7720" y="connsiteY7720"/>
                </a:cxn>
                <a:cxn ang="0">
                  <a:pos x="connsiteX7721" y="connsiteY7721"/>
                </a:cxn>
                <a:cxn ang="0">
                  <a:pos x="connsiteX7722" y="connsiteY7722"/>
                </a:cxn>
                <a:cxn ang="0">
                  <a:pos x="connsiteX7723" y="connsiteY7723"/>
                </a:cxn>
                <a:cxn ang="0">
                  <a:pos x="connsiteX7724" y="connsiteY7724"/>
                </a:cxn>
                <a:cxn ang="0">
                  <a:pos x="connsiteX7725" y="connsiteY7725"/>
                </a:cxn>
                <a:cxn ang="0">
                  <a:pos x="connsiteX7726" y="connsiteY7726"/>
                </a:cxn>
                <a:cxn ang="0">
                  <a:pos x="connsiteX7727" y="connsiteY7727"/>
                </a:cxn>
                <a:cxn ang="0">
                  <a:pos x="connsiteX7728" y="connsiteY7728"/>
                </a:cxn>
                <a:cxn ang="0">
                  <a:pos x="connsiteX7729" y="connsiteY7729"/>
                </a:cxn>
                <a:cxn ang="0">
                  <a:pos x="connsiteX7730" y="connsiteY7730"/>
                </a:cxn>
                <a:cxn ang="0">
                  <a:pos x="connsiteX7731" y="connsiteY7731"/>
                </a:cxn>
                <a:cxn ang="0">
                  <a:pos x="connsiteX7732" y="connsiteY7732"/>
                </a:cxn>
                <a:cxn ang="0">
                  <a:pos x="connsiteX7733" y="connsiteY7733"/>
                </a:cxn>
                <a:cxn ang="0">
                  <a:pos x="connsiteX7734" y="connsiteY7734"/>
                </a:cxn>
                <a:cxn ang="0">
                  <a:pos x="connsiteX7735" y="connsiteY7735"/>
                </a:cxn>
                <a:cxn ang="0">
                  <a:pos x="connsiteX7736" y="connsiteY7736"/>
                </a:cxn>
                <a:cxn ang="0">
                  <a:pos x="connsiteX7737" y="connsiteY7737"/>
                </a:cxn>
                <a:cxn ang="0">
                  <a:pos x="connsiteX7738" y="connsiteY7738"/>
                </a:cxn>
                <a:cxn ang="0">
                  <a:pos x="connsiteX7739" y="connsiteY7739"/>
                </a:cxn>
                <a:cxn ang="0">
                  <a:pos x="connsiteX7740" y="connsiteY7740"/>
                </a:cxn>
                <a:cxn ang="0">
                  <a:pos x="connsiteX7741" y="connsiteY7741"/>
                </a:cxn>
                <a:cxn ang="0">
                  <a:pos x="connsiteX7742" y="connsiteY7742"/>
                </a:cxn>
                <a:cxn ang="0">
                  <a:pos x="connsiteX7743" y="connsiteY7743"/>
                </a:cxn>
                <a:cxn ang="0">
                  <a:pos x="connsiteX7744" y="connsiteY7744"/>
                </a:cxn>
                <a:cxn ang="0">
                  <a:pos x="connsiteX7745" y="connsiteY7745"/>
                </a:cxn>
                <a:cxn ang="0">
                  <a:pos x="connsiteX7746" y="connsiteY7746"/>
                </a:cxn>
                <a:cxn ang="0">
                  <a:pos x="connsiteX7747" y="connsiteY7747"/>
                </a:cxn>
                <a:cxn ang="0">
                  <a:pos x="connsiteX7748" y="connsiteY7748"/>
                </a:cxn>
                <a:cxn ang="0">
                  <a:pos x="connsiteX7749" y="connsiteY7749"/>
                </a:cxn>
                <a:cxn ang="0">
                  <a:pos x="connsiteX7750" y="connsiteY7750"/>
                </a:cxn>
                <a:cxn ang="0">
                  <a:pos x="connsiteX7751" y="connsiteY7751"/>
                </a:cxn>
                <a:cxn ang="0">
                  <a:pos x="connsiteX7752" y="connsiteY7752"/>
                </a:cxn>
                <a:cxn ang="0">
                  <a:pos x="connsiteX7753" y="connsiteY7753"/>
                </a:cxn>
                <a:cxn ang="0">
                  <a:pos x="connsiteX7754" y="connsiteY7754"/>
                </a:cxn>
                <a:cxn ang="0">
                  <a:pos x="connsiteX7755" y="connsiteY7755"/>
                </a:cxn>
                <a:cxn ang="0">
                  <a:pos x="connsiteX7756" y="connsiteY7756"/>
                </a:cxn>
                <a:cxn ang="0">
                  <a:pos x="connsiteX7757" y="connsiteY7757"/>
                </a:cxn>
                <a:cxn ang="0">
                  <a:pos x="connsiteX7758" y="connsiteY7758"/>
                </a:cxn>
                <a:cxn ang="0">
                  <a:pos x="connsiteX7759" y="connsiteY7759"/>
                </a:cxn>
                <a:cxn ang="0">
                  <a:pos x="connsiteX7760" y="connsiteY7760"/>
                </a:cxn>
                <a:cxn ang="0">
                  <a:pos x="connsiteX7761" y="connsiteY7761"/>
                </a:cxn>
                <a:cxn ang="0">
                  <a:pos x="connsiteX7762" y="connsiteY7762"/>
                </a:cxn>
                <a:cxn ang="0">
                  <a:pos x="connsiteX7763" y="connsiteY7763"/>
                </a:cxn>
                <a:cxn ang="0">
                  <a:pos x="connsiteX7764" y="connsiteY7764"/>
                </a:cxn>
                <a:cxn ang="0">
                  <a:pos x="connsiteX7765" y="connsiteY7765"/>
                </a:cxn>
                <a:cxn ang="0">
                  <a:pos x="connsiteX7766" y="connsiteY7766"/>
                </a:cxn>
                <a:cxn ang="0">
                  <a:pos x="connsiteX7767" y="connsiteY7767"/>
                </a:cxn>
                <a:cxn ang="0">
                  <a:pos x="connsiteX7768" y="connsiteY7768"/>
                </a:cxn>
                <a:cxn ang="0">
                  <a:pos x="connsiteX7769" y="connsiteY7769"/>
                </a:cxn>
                <a:cxn ang="0">
                  <a:pos x="connsiteX7770" y="connsiteY7770"/>
                </a:cxn>
                <a:cxn ang="0">
                  <a:pos x="connsiteX7771" y="connsiteY7771"/>
                </a:cxn>
                <a:cxn ang="0">
                  <a:pos x="connsiteX7772" y="connsiteY7772"/>
                </a:cxn>
                <a:cxn ang="0">
                  <a:pos x="connsiteX7773" y="connsiteY7773"/>
                </a:cxn>
                <a:cxn ang="0">
                  <a:pos x="connsiteX7774" y="connsiteY7774"/>
                </a:cxn>
                <a:cxn ang="0">
                  <a:pos x="connsiteX7775" y="connsiteY7775"/>
                </a:cxn>
                <a:cxn ang="0">
                  <a:pos x="connsiteX7776" y="connsiteY7776"/>
                </a:cxn>
                <a:cxn ang="0">
                  <a:pos x="connsiteX7777" y="connsiteY7777"/>
                </a:cxn>
                <a:cxn ang="0">
                  <a:pos x="connsiteX7778" y="connsiteY7778"/>
                </a:cxn>
                <a:cxn ang="0">
                  <a:pos x="connsiteX7779" y="connsiteY7779"/>
                </a:cxn>
                <a:cxn ang="0">
                  <a:pos x="connsiteX7780" y="connsiteY7780"/>
                </a:cxn>
                <a:cxn ang="0">
                  <a:pos x="connsiteX7781" y="connsiteY7781"/>
                </a:cxn>
                <a:cxn ang="0">
                  <a:pos x="connsiteX7782" y="connsiteY7782"/>
                </a:cxn>
                <a:cxn ang="0">
                  <a:pos x="connsiteX7783" y="connsiteY7783"/>
                </a:cxn>
                <a:cxn ang="0">
                  <a:pos x="connsiteX7784" y="connsiteY7784"/>
                </a:cxn>
                <a:cxn ang="0">
                  <a:pos x="connsiteX7785" y="connsiteY7785"/>
                </a:cxn>
                <a:cxn ang="0">
                  <a:pos x="connsiteX7786" y="connsiteY7786"/>
                </a:cxn>
                <a:cxn ang="0">
                  <a:pos x="connsiteX7787" y="connsiteY7787"/>
                </a:cxn>
                <a:cxn ang="0">
                  <a:pos x="connsiteX7788" y="connsiteY7788"/>
                </a:cxn>
                <a:cxn ang="0">
                  <a:pos x="connsiteX7789" y="connsiteY7789"/>
                </a:cxn>
                <a:cxn ang="0">
                  <a:pos x="connsiteX7790" y="connsiteY7790"/>
                </a:cxn>
                <a:cxn ang="0">
                  <a:pos x="connsiteX7791" y="connsiteY7791"/>
                </a:cxn>
                <a:cxn ang="0">
                  <a:pos x="connsiteX7792" y="connsiteY7792"/>
                </a:cxn>
                <a:cxn ang="0">
                  <a:pos x="connsiteX7793" y="connsiteY7793"/>
                </a:cxn>
                <a:cxn ang="0">
                  <a:pos x="connsiteX7794" y="connsiteY7794"/>
                </a:cxn>
                <a:cxn ang="0">
                  <a:pos x="connsiteX7795" y="connsiteY7795"/>
                </a:cxn>
                <a:cxn ang="0">
                  <a:pos x="connsiteX7796" y="connsiteY7796"/>
                </a:cxn>
                <a:cxn ang="0">
                  <a:pos x="connsiteX7797" y="connsiteY7797"/>
                </a:cxn>
                <a:cxn ang="0">
                  <a:pos x="connsiteX7798" y="connsiteY7798"/>
                </a:cxn>
                <a:cxn ang="0">
                  <a:pos x="connsiteX7799" y="connsiteY7799"/>
                </a:cxn>
                <a:cxn ang="0">
                  <a:pos x="connsiteX7800" y="connsiteY7800"/>
                </a:cxn>
                <a:cxn ang="0">
                  <a:pos x="connsiteX7801" y="connsiteY7801"/>
                </a:cxn>
                <a:cxn ang="0">
                  <a:pos x="connsiteX7802" y="connsiteY7802"/>
                </a:cxn>
                <a:cxn ang="0">
                  <a:pos x="connsiteX7803" y="connsiteY7803"/>
                </a:cxn>
                <a:cxn ang="0">
                  <a:pos x="connsiteX7804" y="connsiteY7804"/>
                </a:cxn>
                <a:cxn ang="0">
                  <a:pos x="connsiteX7805" y="connsiteY7805"/>
                </a:cxn>
                <a:cxn ang="0">
                  <a:pos x="connsiteX7806" y="connsiteY7806"/>
                </a:cxn>
                <a:cxn ang="0">
                  <a:pos x="connsiteX7807" y="connsiteY7807"/>
                </a:cxn>
                <a:cxn ang="0">
                  <a:pos x="connsiteX7808" y="connsiteY7808"/>
                </a:cxn>
                <a:cxn ang="0">
                  <a:pos x="connsiteX7809" y="connsiteY7809"/>
                </a:cxn>
                <a:cxn ang="0">
                  <a:pos x="connsiteX7810" y="connsiteY7810"/>
                </a:cxn>
                <a:cxn ang="0">
                  <a:pos x="connsiteX7811" y="connsiteY7811"/>
                </a:cxn>
                <a:cxn ang="0">
                  <a:pos x="connsiteX7812" y="connsiteY7812"/>
                </a:cxn>
                <a:cxn ang="0">
                  <a:pos x="connsiteX7813" y="connsiteY7813"/>
                </a:cxn>
                <a:cxn ang="0">
                  <a:pos x="connsiteX7814" y="connsiteY7814"/>
                </a:cxn>
                <a:cxn ang="0">
                  <a:pos x="connsiteX7815" y="connsiteY7815"/>
                </a:cxn>
                <a:cxn ang="0">
                  <a:pos x="connsiteX7816" y="connsiteY7816"/>
                </a:cxn>
                <a:cxn ang="0">
                  <a:pos x="connsiteX7817" y="connsiteY7817"/>
                </a:cxn>
                <a:cxn ang="0">
                  <a:pos x="connsiteX7818" y="connsiteY7818"/>
                </a:cxn>
                <a:cxn ang="0">
                  <a:pos x="connsiteX7819" y="connsiteY7819"/>
                </a:cxn>
                <a:cxn ang="0">
                  <a:pos x="connsiteX7820" y="connsiteY7820"/>
                </a:cxn>
                <a:cxn ang="0">
                  <a:pos x="connsiteX7821" y="connsiteY7821"/>
                </a:cxn>
                <a:cxn ang="0">
                  <a:pos x="connsiteX7822" y="connsiteY7822"/>
                </a:cxn>
                <a:cxn ang="0">
                  <a:pos x="connsiteX7823" y="connsiteY7823"/>
                </a:cxn>
                <a:cxn ang="0">
                  <a:pos x="connsiteX7824" y="connsiteY7824"/>
                </a:cxn>
                <a:cxn ang="0">
                  <a:pos x="connsiteX7825" y="connsiteY7825"/>
                </a:cxn>
                <a:cxn ang="0">
                  <a:pos x="connsiteX7826" y="connsiteY7826"/>
                </a:cxn>
                <a:cxn ang="0">
                  <a:pos x="connsiteX7827" y="connsiteY7827"/>
                </a:cxn>
                <a:cxn ang="0">
                  <a:pos x="connsiteX7828" y="connsiteY7828"/>
                </a:cxn>
                <a:cxn ang="0">
                  <a:pos x="connsiteX7829" y="connsiteY7829"/>
                </a:cxn>
                <a:cxn ang="0">
                  <a:pos x="connsiteX7830" y="connsiteY7830"/>
                </a:cxn>
                <a:cxn ang="0">
                  <a:pos x="connsiteX7831" y="connsiteY7831"/>
                </a:cxn>
                <a:cxn ang="0">
                  <a:pos x="connsiteX7832" y="connsiteY7832"/>
                </a:cxn>
                <a:cxn ang="0">
                  <a:pos x="connsiteX7833" y="connsiteY7833"/>
                </a:cxn>
                <a:cxn ang="0">
                  <a:pos x="connsiteX7834" y="connsiteY7834"/>
                </a:cxn>
                <a:cxn ang="0">
                  <a:pos x="connsiteX7835" y="connsiteY7835"/>
                </a:cxn>
                <a:cxn ang="0">
                  <a:pos x="connsiteX7836" y="connsiteY7836"/>
                </a:cxn>
                <a:cxn ang="0">
                  <a:pos x="connsiteX7837" y="connsiteY7837"/>
                </a:cxn>
                <a:cxn ang="0">
                  <a:pos x="connsiteX7838" y="connsiteY7838"/>
                </a:cxn>
                <a:cxn ang="0">
                  <a:pos x="connsiteX7839" y="connsiteY7839"/>
                </a:cxn>
                <a:cxn ang="0">
                  <a:pos x="connsiteX7840" y="connsiteY7840"/>
                </a:cxn>
                <a:cxn ang="0">
                  <a:pos x="connsiteX7841" y="connsiteY7841"/>
                </a:cxn>
                <a:cxn ang="0">
                  <a:pos x="connsiteX7842" y="connsiteY7842"/>
                </a:cxn>
                <a:cxn ang="0">
                  <a:pos x="connsiteX7843" y="connsiteY7843"/>
                </a:cxn>
                <a:cxn ang="0">
                  <a:pos x="connsiteX7844" y="connsiteY7844"/>
                </a:cxn>
                <a:cxn ang="0">
                  <a:pos x="connsiteX7845" y="connsiteY7845"/>
                </a:cxn>
                <a:cxn ang="0">
                  <a:pos x="connsiteX7846" y="connsiteY7846"/>
                </a:cxn>
                <a:cxn ang="0">
                  <a:pos x="connsiteX7847" y="connsiteY7847"/>
                </a:cxn>
                <a:cxn ang="0">
                  <a:pos x="connsiteX7848" y="connsiteY7848"/>
                </a:cxn>
                <a:cxn ang="0">
                  <a:pos x="connsiteX7849" y="connsiteY7849"/>
                </a:cxn>
                <a:cxn ang="0">
                  <a:pos x="connsiteX7850" y="connsiteY7850"/>
                </a:cxn>
                <a:cxn ang="0">
                  <a:pos x="connsiteX7851" y="connsiteY7851"/>
                </a:cxn>
                <a:cxn ang="0">
                  <a:pos x="connsiteX7852" y="connsiteY7852"/>
                </a:cxn>
                <a:cxn ang="0">
                  <a:pos x="connsiteX7853" y="connsiteY7853"/>
                </a:cxn>
                <a:cxn ang="0">
                  <a:pos x="connsiteX7854" y="connsiteY7854"/>
                </a:cxn>
                <a:cxn ang="0">
                  <a:pos x="connsiteX7855" y="connsiteY7855"/>
                </a:cxn>
                <a:cxn ang="0">
                  <a:pos x="connsiteX7856" y="connsiteY7856"/>
                </a:cxn>
                <a:cxn ang="0">
                  <a:pos x="connsiteX7857" y="connsiteY7857"/>
                </a:cxn>
                <a:cxn ang="0">
                  <a:pos x="connsiteX7858" y="connsiteY7858"/>
                </a:cxn>
                <a:cxn ang="0">
                  <a:pos x="connsiteX7859" y="connsiteY7859"/>
                </a:cxn>
                <a:cxn ang="0">
                  <a:pos x="connsiteX7860" y="connsiteY7860"/>
                </a:cxn>
                <a:cxn ang="0">
                  <a:pos x="connsiteX7861" y="connsiteY7861"/>
                </a:cxn>
                <a:cxn ang="0">
                  <a:pos x="connsiteX7862" y="connsiteY7862"/>
                </a:cxn>
                <a:cxn ang="0">
                  <a:pos x="connsiteX7863" y="connsiteY7863"/>
                </a:cxn>
                <a:cxn ang="0">
                  <a:pos x="connsiteX7864" y="connsiteY7864"/>
                </a:cxn>
                <a:cxn ang="0">
                  <a:pos x="connsiteX7865" y="connsiteY7865"/>
                </a:cxn>
                <a:cxn ang="0">
                  <a:pos x="connsiteX7866" y="connsiteY7866"/>
                </a:cxn>
                <a:cxn ang="0">
                  <a:pos x="connsiteX7867" y="connsiteY7867"/>
                </a:cxn>
                <a:cxn ang="0">
                  <a:pos x="connsiteX7868" y="connsiteY7868"/>
                </a:cxn>
                <a:cxn ang="0">
                  <a:pos x="connsiteX7869" y="connsiteY7869"/>
                </a:cxn>
                <a:cxn ang="0">
                  <a:pos x="connsiteX7870" y="connsiteY7870"/>
                </a:cxn>
                <a:cxn ang="0">
                  <a:pos x="connsiteX7871" y="connsiteY7871"/>
                </a:cxn>
                <a:cxn ang="0">
                  <a:pos x="connsiteX7872" y="connsiteY7872"/>
                </a:cxn>
                <a:cxn ang="0">
                  <a:pos x="connsiteX7873" y="connsiteY7873"/>
                </a:cxn>
                <a:cxn ang="0">
                  <a:pos x="connsiteX7874" y="connsiteY7874"/>
                </a:cxn>
                <a:cxn ang="0">
                  <a:pos x="connsiteX7875" y="connsiteY7875"/>
                </a:cxn>
                <a:cxn ang="0">
                  <a:pos x="connsiteX7876" y="connsiteY7876"/>
                </a:cxn>
                <a:cxn ang="0">
                  <a:pos x="connsiteX7877" y="connsiteY7877"/>
                </a:cxn>
                <a:cxn ang="0">
                  <a:pos x="connsiteX7878" y="connsiteY7878"/>
                </a:cxn>
                <a:cxn ang="0">
                  <a:pos x="connsiteX7879" y="connsiteY7879"/>
                </a:cxn>
                <a:cxn ang="0">
                  <a:pos x="connsiteX7880" y="connsiteY7880"/>
                </a:cxn>
                <a:cxn ang="0">
                  <a:pos x="connsiteX7881" y="connsiteY7881"/>
                </a:cxn>
                <a:cxn ang="0">
                  <a:pos x="connsiteX7882" y="connsiteY7882"/>
                </a:cxn>
                <a:cxn ang="0">
                  <a:pos x="connsiteX7883" y="connsiteY7883"/>
                </a:cxn>
                <a:cxn ang="0">
                  <a:pos x="connsiteX7884" y="connsiteY7884"/>
                </a:cxn>
                <a:cxn ang="0">
                  <a:pos x="connsiteX7885" y="connsiteY7885"/>
                </a:cxn>
                <a:cxn ang="0">
                  <a:pos x="connsiteX7886" y="connsiteY7886"/>
                </a:cxn>
                <a:cxn ang="0">
                  <a:pos x="connsiteX7887" y="connsiteY7887"/>
                </a:cxn>
                <a:cxn ang="0">
                  <a:pos x="connsiteX7888" y="connsiteY7888"/>
                </a:cxn>
                <a:cxn ang="0">
                  <a:pos x="connsiteX7889" y="connsiteY7889"/>
                </a:cxn>
                <a:cxn ang="0">
                  <a:pos x="connsiteX7890" y="connsiteY7890"/>
                </a:cxn>
                <a:cxn ang="0">
                  <a:pos x="connsiteX7891" y="connsiteY7891"/>
                </a:cxn>
                <a:cxn ang="0">
                  <a:pos x="connsiteX7892" y="connsiteY7892"/>
                </a:cxn>
                <a:cxn ang="0">
                  <a:pos x="connsiteX7893" y="connsiteY7893"/>
                </a:cxn>
                <a:cxn ang="0">
                  <a:pos x="connsiteX7894" y="connsiteY7894"/>
                </a:cxn>
                <a:cxn ang="0">
                  <a:pos x="connsiteX7895" y="connsiteY7895"/>
                </a:cxn>
                <a:cxn ang="0">
                  <a:pos x="connsiteX7896" y="connsiteY7896"/>
                </a:cxn>
                <a:cxn ang="0">
                  <a:pos x="connsiteX7897" y="connsiteY7897"/>
                </a:cxn>
                <a:cxn ang="0">
                  <a:pos x="connsiteX7898" y="connsiteY7898"/>
                </a:cxn>
                <a:cxn ang="0">
                  <a:pos x="connsiteX7899" y="connsiteY7899"/>
                </a:cxn>
                <a:cxn ang="0">
                  <a:pos x="connsiteX7900" y="connsiteY7900"/>
                </a:cxn>
                <a:cxn ang="0">
                  <a:pos x="connsiteX7901" y="connsiteY7901"/>
                </a:cxn>
                <a:cxn ang="0">
                  <a:pos x="connsiteX7902" y="connsiteY7902"/>
                </a:cxn>
                <a:cxn ang="0">
                  <a:pos x="connsiteX7903" y="connsiteY7903"/>
                </a:cxn>
                <a:cxn ang="0">
                  <a:pos x="connsiteX7904" y="connsiteY7904"/>
                </a:cxn>
                <a:cxn ang="0">
                  <a:pos x="connsiteX7905" y="connsiteY7905"/>
                </a:cxn>
                <a:cxn ang="0">
                  <a:pos x="connsiteX7906" y="connsiteY7906"/>
                </a:cxn>
                <a:cxn ang="0">
                  <a:pos x="connsiteX7907" y="connsiteY7907"/>
                </a:cxn>
                <a:cxn ang="0">
                  <a:pos x="connsiteX7908" y="connsiteY7908"/>
                </a:cxn>
                <a:cxn ang="0">
                  <a:pos x="connsiteX7909" y="connsiteY7909"/>
                </a:cxn>
                <a:cxn ang="0">
                  <a:pos x="connsiteX7910" y="connsiteY7910"/>
                </a:cxn>
                <a:cxn ang="0">
                  <a:pos x="connsiteX7911" y="connsiteY7911"/>
                </a:cxn>
                <a:cxn ang="0">
                  <a:pos x="connsiteX7912" y="connsiteY7912"/>
                </a:cxn>
                <a:cxn ang="0">
                  <a:pos x="connsiteX7913" y="connsiteY7913"/>
                </a:cxn>
                <a:cxn ang="0">
                  <a:pos x="connsiteX7914" y="connsiteY7914"/>
                </a:cxn>
                <a:cxn ang="0">
                  <a:pos x="connsiteX7915" y="connsiteY7915"/>
                </a:cxn>
                <a:cxn ang="0">
                  <a:pos x="connsiteX7916" y="connsiteY7916"/>
                </a:cxn>
                <a:cxn ang="0">
                  <a:pos x="connsiteX7917" y="connsiteY7917"/>
                </a:cxn>
                <a:cxn ang="0">
                  <a:pos x="connsiteX7918" y="connsiteY7918"/>
                </a:cxn>
                <a:cxn ang="0">
                  <a:pos x="connsiteX7919" y="connsiteY7919"/>
                </a:cxn>
                <a:cxn ang="0">
                  <a:pos x="connsiteX7920" y="connsiteY7920"/>
                </a:cxn>
                <a:cxn ang="0">
                  <a:pos x="connsiteX7921" y="connsiteY7921"/>
                </a:cxn>
                <a:cxn ang="0">
                  <a:pos x="connsiteX7922" y="connsiteY7922"/>
                </a:cxn>
                <a:cxn ang="0">
                  <a:pos x="connsiteX7923" y="connsiteY7923"/>
                </a:cxn>
                <a:cxn ang="0">
                  <a:pos x="connsiteX7924" y="connsiteY7924"/>
                </a:cxn>
                <a:cxn ang="0">
                  <a:pos x="connsiteX7925" y="connsiteY7925"/>
                </a:cxn>
                <a:cxn ang="0">
                  <a:pos x="connsiteX7926" y="connsiteY7926"/>
                </a:cxn>
                <a:cxn ang="0">
                  <a:pos x="connsiteX7927" y="connsiteY7927"/>
                </a:cxn>
                <a:cxn ang="0">
                  <a:pos x="connsiteX7928" y="connsiteY7928"/>
                </a:cxn>
                <a:cxn ang="0">
                  <a:pos x="connsiteX7929" y="connsiteY7929"/>
                </a:cxn>
                <a:cxn ang="0">
                  <a:pos x="connsiteX7930" y="connsiteY7930"/>
                </a:cxn>
                <a:cxn ang="0">
                  <a:pos x="connsiteX7931" y="connsiteY7931"/>
                </a:cxn>
                <a:cxn ang="0">
                  <a:pos x="connsiteX7932" y="connsiteY7932"/>
                </a:cxn>
                <a:cxn ang="0">
                  <a:pos x="connsiteX7933" y="connsiteY7933"/>
                </a:cxn>
                <a:cxn ang="0">
                  <a:pos x="connsiteX7934" y="connsiteY7934"/>
                </a:cxn>
                <a:cxn ang="0">
                  <a:pos x="connsiteX7935" y="connsiteY7935"/>
                </a:cxn>
                <a:cxn ang="0">
                  <a:pos x="connsiteX7936" y="connsiteY7936"/>
                </a:cxn>
                <a:cxn ang="0">
                  <a:pos x="connsiteX7937" y="connsiteY7937"/>
                </a:cxn>
                <a:cxn ang="0">
                  <a:pos x="connsiteX7938" y="connsiteY7938"/>
                </a:cxn>
                <a:cxn ang="0">
                  <a:pos x="connsiteX7939" y="connsiteY7939"/>
                </a:cxn>
                <a:cxn ang="0">
                  <a:pos x="connsiteX7940" y="connsiteY7940"/>
                </a:cxn>
                <a:cxn ang="0">
                  <a:pos x="connsiteX7941" y="connsiteY7941"/>
                </a:cxn>
                <a:cxn ang="0">
                  <a:pos x="connsiteX7942" y="connsiteY7942"/>
                </a:cxn>
                <a:cxn ang="0">
                  <a:pos x="connsiteX7943" y="connsiteY7943"/>
                </a:cxn>
                <a:cxn ang="0">
                  <a:pos x="connsiteX7944" y="connsiteY7944"/>
                </a:cxn>
                <a:cxn ang="0">
                  <a:pos x="connsiteX7945" y="connsiteY7945"/>
                </a:cxn>
                <a:cxn ang="0">
                  <a:pos x="connsiteX7946" y="connsiteY7946"/>
                </a:cxn>
                <a:cxn ang="0">
                  <a:pos x="connsiteX7947" y="connsiteY7947"/>
                </a:cxn>
                <a:cxn ang="0">
                  <a:pos x="connsiteX7948" y="connsiteY7948"/>
                </a:cxn>
                <a:cxn ang="0">
                  <a:pos x="connsiteX7949" y="connsiteY7949"/>
                </a:cxn>
                <a:cxn ang="0">
                  <a:pos x="connsiteX7950" y="connsiteY7950"/>
                </a:cxn>
                <a:cxn ang="0">
                  <a:pos x="connsiteX7951" y="connsiteY7951"/>
                </a:cxn>
                <a:cxn ang="0">
                  <a:pos x="connsiteX7952" y="connsiteY7952"/>
                </a:cxn>
                <a:cxn ang="0">
                  <a:pos x="connsiteX7953" y="connsiteY7953"/>
                </a:cxn>
                <a:cxn ang="0">
                  <a:pos x="connsiteX7954" y="connsiteY7954"/>
                </a:cxn>
                <a:cxn ang="0">
                  <a:pos x="connsiteX7955" y="connsiteY7955"/>
                </a:cxn>
                <a:cxn ang="0">
                  <a:pos x="connsiteX7956" y="connsiteY7956"/>
                </a:cxn>
                <a:cxn ang="0">
                  <a:pos x="connsiteX7957" y="connsiteY7957"/>
                </a:cxn>
                <a:cxn ang="0">
                  <a:pos x="connsiteX7958" y="connsiteY7958"/>
                </a:cxn>
                <a:cxn ang="0">
                  <a:pos x="connsiteX7959" y="connsiteY7959"/>
                </a:cxn>
                <a:cxn ang="0">
                  <a:pos x="connsiteX7960" y="connsiteY7960"/>
                </a:cxn>
                <a:cxn ang="0">
                  <a:pos x="connsiteX7961" y="connsiteY7961"/>
                </a:cxn>
                <a:cxn ang="0">
                  <a:pos x="connsiteX7962" y="connsiteY7962"/>
                </a:cxn>
                <a:cxn ang="0">
                  <a:pos x="connsiteX7963" y="connsiteY7963"/>
                </a:cxn>
                <a:cxn ang="0">
                  <a:pos x="connsiteX7964" y="connsiteY7964"/>
                </a:cxn>
                <a:cxn ang="0">
                  <a:pos x="connsiteX7965" y="connsiteY7965"/>
                </a:cxn>
                <a:cxn ang="0">
                  <a:pos x="connsiteX7966" y="connsiteY7966"/>
                </a:cxn>
                <a:cxn ang="0">
                  <a:pos x="connsiteX7967" y="connsiteY7967"/>
                </a:cxn>
                <a:cxn ang="0">
                  <a:pos x="connsiteX7968" y="connsiteY7968"/>
                </a:cxn>
                <a:cxn ang="0">
                  <a:pos x="connsiteX7969" y="connsiteY7969"/>
                </a:cxn>
                <a:cxn ang="0">
                  <a:pos x="connsiteX7970" y="connsiteY7970"/>
                </a:cxn>
                <a:cxn ang="0">
                  <a:pos x="connsiteX7971" y="connsiteY7971"/>
                </a:cxn>
                <a:cxn ang="0">
                  <a:pos x="connsiteX7972" y="connsiteY7972"/>
                </a:cxn>
                <a:cxn ang="0">
                  <a:pos x="connsiteX7973" y="connsiteY7973"/>
                </a:cxn>
                <a:cxn ang="0">
                  <a:pos x="connsiteX7974" y="connsiteY7974"/>
                </a:cxn>
                <a:cxn ang="0">
                  <a:pos x="connsiteX7975" y="connsiteY7975"/>
                </a:cxn>
                <a:cxn ang="0">
                  <a:pos x="connsiteX7976" y="connsiteY7976"/>
                </a:cxn>
                <a:cxn ang="0">
                  <a:pos x="connsiteX7977" y="connsiteY7977"/>
                </a:cxn>
                <a:cxn ang="0">
                  <a:pos x="connsiteX7978" y="connsiteY7978"/>
                </a:cxn>
                <a:cxn ang="0">
                  <a:pos x="connsiteX7979" y="connsiteY7979"/>
                </a:cxn>
                <a:cxn ang="0">
                  <a:pos x="connsiteX7980" y="connsiteY7980"/>
                </a:cxn>
                <a:cxn ang="0">
                  <a:pos x="connsiteX7981" y="connsiteY7981"/>
                </a:cxn>
                <a:cxn ang="0">
                  <a:pos x="connsiteX7982" y="connsiteY7982"/>
                </a:cxn>
                <a:cxn ang="0">
                  <a:pos x="connsiteX7983" y="connsiteY7983"/>
                </a:cxn>
                <a:cxn ang="0">
                  <a:pos x="connsiteX7984" y="connsiteY7984"/>
                </a:cxn>
                <a:cxn ang="0">
                  <a:pos x="connsiteX7985" y="connsiteY7985"/>
                </a:cxn>
                <a:cxn ang="0">
                  <a:pos x="connsiteX7986" y="connsiteY7986"/>
                </a:cxn>
                <a:cxn ang="0">
                  <a:pos x="connsiteX7987" y="connsiteY7987"/>
                </a:cxn>
                <a:cxn ang="0">
                  <a:pos x="connsiteX7988" y="connsiteY7988"/>
                </a:cxn>
                <a:cxn ang="0">
                  <a:pos x="connsiteX7989" y="connsiteY7989"/>
                </a:cxn>
                <a:cxn ang="0">
                  <a:pos x="connsiteX7990" y="connsiteY7990"/>
                </a:cxn>
                <a:cxn ang="0">
                  <a:pos x="connsiteX7991" y="connsiteY7991"/>
                </a:cxn>
                <a:cxn ang="0">
                  <a:pos x="connsiteX7992" y="connsiteY7992"/>
                </a:cxn>
                <a:cxn ang="0">
                  <a:pos x="connsiteX7993" y="connsiteY7993"/>
                </a:cxn>
                <a:cxn ang="0">
                  <a:pos x="connsiteX7994" y="connsiteY7994"/>
                </a:cxn>
                <a:cxn ang="0">
                  <a:pos x="connsiteX7995" y="connsiteY7995"/>
                </a:cxn>
                <a:cxn ang="0">
                  <a:pos x="connsiteX7996" y="connsiteY7996"/>
                </a:cxn>
                <a:cxn ang="0">
                  <a:pos x="connsiteX7997" y="connsiteY7997"/>
                </a:cxn>
                <a:cxn ang="0">
                  <a:pos x="connsiteX7998" y="connsiteY7998"/>
                </a:cxn>
                <a:cxn ang="0">
                  <a:pos x="connsiteX7999" y="connsiteY7999"/>
                </a:cxn>
                <a:cxn ang="0">
                  <a:pos x="connsiteX8000" y="connsiteY8000"/>
                </a:cxn>
                <a:cxn ang="0">
                  <a:pos x="connsiteX8001" y="connsiteY8001"/>
                </a:cxn>
                <a:cxn ang="0">
                  <a:pos x="connsiteX8002" y="connsiteY8002"/>
                </a:cxn>
                <a:cxn ang="0">
                  <a:pos x="connsiteX8003" y="connsiteY8003"/>
                </a:cxn>
                <a:cxn ang="0">
                  <a:pos x="connsiteX8004" y="connsiteY8004"/>
                </a:cxn>
                <a:cxn ang="0">
                  <a:pos x="connsiteX8005" y="connsiteY8005"/>
                </a:cxn>
                <a:cxn ang="0">
                  <a:pos x="connsiteX8006" y="connsiteY8006"/>
                </a:cxn>
                <a:cxn ang="0">
                  <a:pos x="connsiteX8007" y="connsiteY8007"/>
                </a:cxn>
                <a:cxn ang="0">
                  <a:pos x="connsiteX8008" y="connsiteY8008"/>
                </a:cxn>
                <a:cxn ang="0">
                  <a:pos x="connsiteX8009" y="connsiteY8009"/>
                </a:cxn>
                <a:cxn ang="0">
                  <a:pos x="connsiteX8010" y="connsiteY8010"/>
                </a:cxn>
                <a:cxn ang="0">
                  <a:pos x="connsiteX8011" y="connsiteY8011"/>
                </a:cxn>
                <a:cxn ang="0">
                  <a:pos x="connsiteX8012" y="connsiteY8012"/>
                </a:cxn>
                <a:cxn ang="0">
                  <a:pos x="connsiteX8013" y="connsiteY8013"/>
                </a:cxn>
                <a:cxn ang="0">
                  <a:pos x="connsiteX8014" y="connsiteY8014"/>
                </a:cxn>
                <a:cxn ang="0">
                  <a:pos x="connsiteX8015" y="connsiteY8015"/>
                </a:cxn>
                <a:cxn ang="0">
                  <a:pos x="connsiteX8016" y="connsiteY8016"/>
                </a:cxn>
                <a:cxn ang="0">
                  <a:pos x="connsiteX8017" y="connsiteY8017"/>
                </a:cxn>
                <a:cxn ang="0">
                  <a:pos x="connsiteX8018" y="connsiteY8018"/>
                </a:cxn>
                <a:cxn ang="0">
                  <a:pos x="connsiteX8019" y="connsiteY8019"/>
                </a:cxn>
                <a:cxn ang="0">
                  <a:pos x="connsiteX8020" y="connsiteY8020"/>
                </a:cxn>
                <a:cxn ang="0">
                  <a:pos x="connsiteX8021" y="connsiteY8021"/>
                </a:cxn>
                <a:cxn ang="0">
                  <a:pos x="connsiteX8022" y="connsiteY8022"/>
                </a:cxn>
                <a:cxn ang="0">
                  <a:pos x="connsiteX8023" y="connsiteY8023"/>
                </a:cxn>
                <a:cxn ang="0">
                  <a:pos x="connsiteX8024" y="connsiteY8024"/>
                </a:cxn>
                <a:cxn ang="0">
                  <a:pos x="connsiteX8025" y="connsiteY8025"/>
                </a:cxn>
                <a:cxn ang="0">
                  <a:pos x="connsiteX8026" y="connsiteY8026"/>
                </a:cxn>
                <a:cxn ang="0">
                  <a:pos x="connsiteX8027" y="connsiteY8027"/>
                </a:cxn>
                <a:cxn ang="0">
                  <a:pos x="connsiteX8028" y="connsiteY8028"/>
                </a:cxn>
                <a:cxn ang="0">
                  <a:pos x="connsiteX8029" y="connsiteY8029"/>
                </a:cxn>
                <a:cxn ang="0">
                  <a:pos x="connsiteX8030" y="connsiteY8030"/>
                </a:cxn>
                <a:cxn ang="0">
                  <a:pos x="connsiteX8031" y="connsiteY8031"/>
                </a:cxn>
                <a:cxn ang="0">
                  <a:pos x="connsiteX8032" y="connsiteY8032"/>
                </a:cxn>
                <a:cxn ang="0">
                  <a:pos x="connsiteX8033" y="connsiteY8033"/>
                </a:cxn>
                <a:cxn ang="0">
                  <a:pos x="connsiteX8034" y="connsiteY8034"/>
                </a:cxn>
                <a:cxn ang="0">
                  <a:pos x="connsiteX8035" y="connsiteY8035"/>
                </a:cxn>
                <a:cxn ang="0">
                  <a:pos x="connsiteX8036" y="connsiteY8036"/>
                </a:cxn>
                <a:cxn ang="0">
                  <a:pos x="connsiteX8037" y="connsiteY8037"/>
                </a:cxn>
                <a:cxn ang="0">
                  <a:pos x="connsiteX8038" y="connsiteY8038"/>
                </a:cxn>
                <a:cxn ang="0">
                  <a:pos x="connsiteX8039" y="connsiteY8039"/>
                </a:cxn>
                <a:cxn ang="0">
                  <a:pos x="connsiteX8040" y="connsiteY8040"/>
                </a:cxn>
                <a:cxn ang="0">
                  <a:pos x="connsiteX8041" y="connsiteY8041"/>
                </a:cxn>
                <a:cxn ang="0">
                  <a:pos x="connsiteX8042" y="connsiteY8042"/>
                </a:cxn>
                <a:cxn ang="0">
                  <a:pos x="connsiteX8043" y="connsiteY8043"/>
                </a:cxn>
                <a:cxn ang="0">
                  <a:pos x="connsiteX8044" y="connsiteY8044"/>
                </a:cxn>
                <a:cxn ang="0">
                  <a:pos x="connsiteX8045" y="connsiteY8045"/>
                </a:cxn>
                <a:cxn ang="0">
                  <a:pos x="connsiteX8046" y="connsiteY8046"/>
                </a:cxn>
                <a:cxn ang="0">
                  <a:pos x="connsiteX8047" y="connsiteY8047"/>
                </a:cxn>
                <a:cxn ang="0">
                  <a:pos x="connsiteX8048" y="connsiteY8048"/>
                </a:cxn>
                <a:cxn ang="0">
                  <a:pos x="connsiteX8049" y="connsiteY8049"/>
                </a:cxn>
                <a:cxn ang="0">
                  <a:pos x="connsiteX8050" y="connsiteY8050"/>
                </a:cxn>
                <a:cxn ang="0">
                  <a:pos x="connsiteX8051" y="connsiteY8051"/>
                </a:cxn>
                <a:cxn ang="0">
                  <a:pos x="connsiteX8052" y="connsiteY8052"/>
                </a:cxn>
                <a:cxn ang="0">
                  <a:pos x="connsiteX8053" y="connsiteY8053"/>
                </a:cxn>
                <a:cxn ang="0">
                  <a:pos x="connsiteX8054" y="connsiteY8054"/>
                </a:cxn>
                <a:cxn ang="0">
                  <a:pos x="connsiteX8055" y="connsiteY8055"/>
                </a:cxn>
                <a:cxn ang="0">
                  <a:pos x="connsiteX8056" y="connsiteY8056"/>
                </a:cxn>
                <a:cxn ang="0">
                  <a:pos x="connsiteX8057" y="connsiteY8057"/>
                </a:cxn>
                <a:cxn ang="0">
                  <a:pos x="connsiteX8058" y="connsiteY8058"/>
                </a:cxn>
                <a:cxn ang="0">
                  <a:pos x="connsiteX8059" y="connsiteY8059"/>
                </a:cxn>
                <a:cxn ang="0">
                  <a:pos x="connsiteX8060" y="connsiteY8060"/>
                </a:cxn>
                <a:cxn ang="0">
                  <a:pos x="connsiteX8061" y="connsiteY8061"/>
                </a:cxn>
                <a:cxn ang="0">
                  <a:pos x="connsiteX8062" y="connsiteY8062"/>
                </a:cxn>
                <a:cxn ang="0">
                  <a:pos x="connsiteX8063" y="connsiteY8063"/>
                </a:cxn>
                <a:cxn ang="0">
                  <a:pos x="connsiteX8064" y="connsiteY8064"/>
                </a:cxn>
                <a:cxn ang="0">
                  <a:pos x="connsiteX8065" y="connsiteY8065"/>
                </a:cxn>
                <a:cxn ang="0">
                  <a:pos x="connsiteX8066" y="connsiteY8066"/>
                </a:cxn>
                <a:cxn ang="0">
                  <a:pos x="connsiteX8067" y="connsiteY8067"/>
                </a:cxn>
                <a:cxn ang="0">
                  <a:pos x="connsiteX8068" y="connsiteY8068"/>
                </a:cxn>
                <a:cxn ang="0">
                  <a:pos x="connsiteX8069" y="connsiteY8069"/>
                </a:cxn>
                <a:cxn ang="0">
                  <a:pos x="connsiteX8070" y="connsiteY8070"/>
                </a:cxn>
                <a:cxn ang="0">
                  <a:pos x="connsiteX8071" y="connsiteY8071"/>
                </a:cxn>
                <a:cxn ang="0">
                  <a:pos x="connsiteX8072" y="connsiteY8072"/>
                </a:cxn>
                <a:cxn ang="0">
                  <a:pos x="connsiteX8073" y="connsiteY8073"/>
                </a:cxn>
                <a:cxn ang="0">
                  <a:pos x="connsiteX8074" y="connsiteY8074"/>
                </a:cxn>
                <a:cxn ang="0">
                  <a:pos x="connsiteX8075" y="connsiteY8075"/>
                </a:cxn>
                <a:cxn ang="0">
                  <a:pos x="connsiteX8076" y="connsiteY8076"/>
                </a:cxn>
                <a:cxn ang="0">
                  <a:pos x="connsiteX8077" y="connsiteY8077"/>
                </a:cxn>
                <a:cxn ang="0">
                  <a:pos x="connsiteX8078" y="connsiteY8078"/>
                </a:cxn>
                <a:cxn ang="0">
                  <a:pos x="connsiteX8079" y="connsiteY8079"/>
                </a:cxn>
                <a:cxn ang="0">
                  <a:pos x="connsiteX8080" y="connsiteY8080"/>
                </a:cxn>
                <a:cxn ang="0">
                  <a:pos x="connsiteX8081" y="connsiteY8081"/>
                </a:cxn>
                <a:cxn ang="0">
                  <a:pos x="connsiteX8082" y="connsiteY8082"/>
                </a:cxn>
                <a:cxn ang="0">
                  <a:pos x="connsiteX8083" y="connsiteY8083"/>
                </a:cxn>
                <a:cxn ang="0">
                  <a:pos x="connsiteX8084" y="connsiteY8084"/>
                </a:cxn>
                <a:cxn ang="0">
                  <a:pos x="connsiteX8085" y="connsiteY8085"/>
                </a:cxn>
                <a:cxn ang="0">
                  <a:pos x="connsiteX8086" y="connsiteY8086"/>
                </a:cxn>
                <a:cxn ang="0">
                  <a:pos x="connsiteX8087" y="connsiteY8087"/>
                </a:cxn>
                <a:cxn ang="0">
                  <a:pos x="connsiteX8088" y="connsiteY8088"/>
                </a:cxn>
                <a:cxn ang="0">
                  <a:pos x="connsiteX8089" y="connsiteY8089"/>
                </a:cxn>
                <a:cxn ang="0">
                  <a:pos x="connsiteX8090" y="connsiteY8090"/>
                </a:cxn>
                <a:cxn ang="0">
                  <a:pos x="connsiteX8091" y="connsiteY8091"/>
                </a:cxn>
                <a:cxn ang="0">
                  <a:pos x="connsiteX8092" y="connsiteY8092"/>
                </a:cxn>
                <a:cxn ang="0">
                  <a:pos x="connsiteX8093" y="connsiteY8093"/>
                </a:cxn>
                <a:cxn ang="0">
                  <a:pos x="connsiteX8094" y="connsiteY8094"/>
                </a:cxn>
                <a:cxn ang="0">
                  <a:pos x="connsiteX8095" y="connsiteY8095"/>
                </a:cxn>
                <a:cxn ang="0">
                  <a:pos x="connsiteX8096" y="connsiteY8096"/>
                </a:cxn>
                <a:cxn ang="0">
                  <a:pos x="connsiteX8097" y="connsiteY8097"/>
                </a:cxn>
                <a:cxn ang="0">
                  <a:pos x="connsiteX8098" y="connsiteY8098"/>
                </a:cxn>
                <a:cxn ang="0">
                  <a:pos x="connsiteX8099" y="connsiteY8099"/>
                </a:cxn>
                <a:cxn ang="0">
                  <a:pos x="connsiteX8100" y="connsiteY8100"/>
                </a:cxn>
                <a:cxn ang="0">
                  <a:pos x="connsiteX8101" y="connsiteY8101"/>
                </a:cxn>
                <a:cxn ang="0">
                  <a:pos x="connsiteX8102" y="connsiteY8102"/>
                </a:cxn>
                <a:cxn ang="0">
                  <a:pos x="connsiteX8103" y="connsiteY8103"/>
                </a:cxn>
                <a:cxn ang="0">
                  <a:pos x="connsiteX8104" y="connsiteY8104"/>
                </a:cxn>
                <a:cxn ang="0">
                  <a:pos x="connsiteX8105" y="connsiteY8105"/>
                </a:cxn>
                <a:cxn ang="0">
                  <a:pos x="connsiteX8106" y="connsiteY8106"/>
                </a:cxn>
                <a:cxn ang="0">
                  <a:pos x="connsiteX8107" y="connsiteY8107"/>
                </a:cxn>
                <a:cxn ang="0">
                  <a:pos x="connsiteX8108" y="connsiteY8108"/>
                </a:cxn>
                <a:cxn ang="0">
                  <a:pos x="connsiteX8109" y="connsiteY8109"/>
                </a:cxn>
                <a:cxn ang="0">
                  <a:pos x="connsiteX8110" y="connsiteY8110"/>
                </a:cxn>
                <a:cxn ang="0">
                  <a:pos x="connsiteX8111" y="connsiteY8111"/>
                </a:cxn>
                <a:cxn ang="0">
                  <a:pos x="connsiteX8112" y="connsiteY8112"/>
                </a:cxn>
                <a:cxn ang="0">
                  <a:pos x="connsiteX8113" y="connsiteY8113"/>
                </a:cxn>
                <a:cxn ang="0">
                  <a:pos x="connsiteX8114" y="connsiteY8114"/>
                </a:cxn>
                <a:cxn ang="0">
                  <a:pos x="connsiteX8115" y="connsiteY8115"/>
                </a:cxn>
                <a:cxn ang="0">
                  <a:pos x="connsiteX8116" y="connsiteY8116"/>
                </a:cxn>
                <a:cxn ang="0">
                  <a:pos x="connsiteX8117" y="connsiteY8117"/>
                </a:cxn>
                <a:cxn ang="0">
                  <a:pos x="connsiteX8118" y="connsiteY8118"/>
                </a:cxn>
                <a:cxn ang="0">
                  <a:pos x="connsiteX8119" y="connsiteY8119"/>
                </a:cxn>
                <a:cxn ang="0">
                  <a:pos x="connsiteX8120" y="connsiteY8120"/>
                </a:cxn>
                <a:cxn ang="0">
                  <a:pos x="connsiteX8121" y="connsiteY8121"/>
                </a:cxn>
                <a:cxn ang="0">
                  <a:pos x="connsiteX8122" y="connsiteY8122"/>
                </a:cxn>
                <a:cxn ang="0">
                  <a:pos x="connsiteX8123" y="connsiteY8123"/>
                </a:cxn>
                <a:cxn ang="0">
                  <a:pos x="connsiteX8124" y="connsiteY8124"/>
                </a:cxn>
                <a:cxn ang="0">
                  <a:pos x="connsiteX8125" y="connsiteY8125"/>
                </a:cxn>
                <a:cxn ang="0">
                  <a:pos x="connsiteX8126" y="connsiteY8126"/>
                </a:cxn>
                <a:cxn ang="0">
                  <a:pos x="connsiteX8127" y="connsiteY8127"/>
                </a:cxn>
                <a:cxn ang="0">
                  <a:pos x="connsiteX8128" y="connsiteY8128"/>
                </a:cxn>
                <a:cxn ang="0">
                  <a:pos x="connsiteX8129" y="connsiteY8129"/>
                </a:cxn>
                <a:cxn ang="0">
                  <a:pos x="connsiteX8130" y="connsiteY8130"/>
                </a:cxn>
                <a:cxn ang="0">
                  <a:pos x="connsiteX8131" y="connsiteY8131"/>
                </a:cxn>
                <a:cxn ang="0">
                  <a:pos x="connsiteX8132" y="connsiteY8132"/>
                </a:cxn>
                <a:cxn ang="0">
                  <a:pos x="connsiteX8133" y="connsiteY8133"/>
                </a:cxn>
                <a:cxn ang="0">
                  <a:pos x="connsiteX8134" y="connsiteY8134"/>
                </a:cxn>
                <a:cxn ang="0">
                  <a:pos x="connsiteX8135" y="connsiteY8135"/>
                </a:cxn>
                <a:cxn ang="0">
                  <a:pos x="connsiteX8136" y="connsiteY8136"/>
                </a:cxn>
                <a:cxn ang="0">
                  <a:pos x="connsiteX8137" y="connsiteY8137"/>
                </a:cxn>
                <a:cxn ang="0">
                  <a:pos x="connsiteX8138" y="connsiteY8138"/>
                </a:cxn>
                <a:cxn ang="0">
                  <a:pos x="connsiteX8139" y="connsiteY8139"/>
                </a:cxn>
                <a:cxn ang="0">
                  <a:pos x="connsiteX8140" y="connsiteY8140"/>
                </a:cxn>
                <a:cxn ang="0">
                  <a:pos x="connsiteX8141" y="connsiteY8141"/>
                </a:cxn>
                <a:cxn ang="0">
                  <a:pos x="connsiteX8142" y="connsiteY8142"/>
                </a:cxn>
                <a:cxn ang="0">
                  <a:pos x="connsiteX8143" y="connsiteY8143"/>
                </a:cxn>
                <a:cxn ang="0">
                  <a:pos x="connsiteX8144" y="connsiteY8144"/>
                </a:cxn>
                <a:cxn ang="0">
                  <a:pos x="connsiteX8145" y="connsiteY8145"/>
                </a:cxn>
                <a:cxn ang="0">
                  <a:pos x="connsiteX8146" y="connsiteY8146"/>
                </a:cxn>
                <a:cxn ang="0">
                  <a:pos x="connsiteX8147" y="connsiteY8147"/>
                </a:cxn>
                <a:cxn ang="0">
                  <a:pos x="connsiteX8148" y="connsiteY8148"/>
                </a:cxn>
                <a:cxn ang="0">
                  <a:pos x="connsiteX8149" y="connsiteY8149"/>
                </a:cxn>
                <a:cxn ang="0">
                  <a:pos x="connsiteX8150" y="connsiteY8150"/>
                </a:cxn>
                <a:cxn ang="0">
                  <a:pos x="connsiteX8151" y="connsiteY8151"/>
                </a:cxn>
                <a:cxn ang="0">
                  <a:pos x="connsiteX8152" y="connsiteY8152"/>
                </a:cxn>
                <a:cxn ang="0">
                  <a:pos x="connsiteX8153" y="connsiteY8153"/>
                </a:cxn>
                <a:cxn ang="0">
                  <a:pos x="connsiteX8154" y="connsiteY8154"/>
                </a:cxn>
                <a:cxn ang="0">
                  <a:pos x="connsiteX8155" y="connsiteY8155"/>
                </a:cxn>
                <a:cxn ang="0">
                  <a:pos x="connsiteX8156" y="connsiteY8156"/>
                </a:cxn>
                <a:cxn ang="0">
                  <a:pos x="connsiteX8157" y="connsiteY8157"/>
                </a:cxn>
                <a:cxn ang="0">
                  <a:pos x="connsiteX8158" y="connsiteY8158"/>
                </a:cxn>
                <a:cxn ang="0">
                  <a:pos x="connsiteX8159" y="connsiteY8159"/>
                </a:cxn>
                <a:cxn ang="0">
                  <a:pos x="connsiteX8160" y="connsiteY8160"/>
                </a:cxn>
                <a:cxn ang="0">
                  <a:pos x="connsiteX8161" y="connsiteY8161"/>
                </a:cxn>
                <a:cxn ang="0">
                  <a:pos x="connsiteX8162" y="connsiteY8162"/>
                </a:cxn>
                <a:cxn ang="0">
                  <a:pos x="connsiteX8163" y="connsiteY8163"/>
                </a:cxn>
                <a:cxn ang="0">
                  <a:pos x="connsiteX8164" y="connsiteY8164"/>
                </a:cxn>
                <a:cxn ang="0">
                  <a:pos x="connsiteX8165" y="connsiteY8165"/>
                </a:cxn>
                <a:cxn ang="0">
                  <a:pos x="connsiteX8166" y="connsiteY8166"/>
                </a:cxn>
                <a:cxn ang="0">
                  <a:pos x="connsiteX8167" y="connsiteY8167"/>
                </a:cxn>
                <a:cxn ang="0">
                  <a:pos x="connsiteX8168" y="connsiteY8168"/>
                </a:cxn>
                <a:cxn ang="0">
                  <a:pos x="connsiteX8169" y="connsiteY8169"/>
                </a:cxn>
                <a:cxn ang="0">
                  <a:pos x="connsiteX8170" y="connsiteY8170"/>
                </a:cxn>
                <a:cxn ang="0">
                  <a:pos x="connsiteX8171" y="connsiteY8171"/>
                </a:cxn>
                <a:cxn ang="0">
                  <a:pos x="connsiteX8172" y="connsiteY8172"/>
                </a:cxn>
                <a:cxn ang="0">
                  <a:pos x="connsiteX8173" y="connsiteY8173"/>
                </a:cxn>
                <a:cxn ang="0">
                  <a:pos x="connsiteX8174" y="connsiteY8174"/>
                </a:cxn>
                <a:cxn ang="0">
                  <a:pos x="connsiteX8175" y="connsiteY8175"/>
                </a:cxn>
                <a:cxn ang="0">
                  <a:pos x="connsiteX8176" y="connsiteY8176"/>
                </a:cxn>
                <a:cxn ang="0">
                  <a:pos x="connsiteX8177" y="connsiteY8177"/>
                </a:cxn>
                <a:cxn ang="0">
                  <a:pos x="connsiteX8178" y="connsiteY8178"/>
                </a:cxn>
                <a:cxn ang="0">
                  <a:pos x="connsiteX8179" y="connsiteY8179"/>
                </a:cxn>
                <a:cxn ang="0">
                  <a:pos x="connsiteX8180" y="connsiteY8180"/>
                </a:cxn>
                <a:cxn ang="0">
                  <a:pos x="connsiteX8181" y="connsiteY8181"/>
                </a:cxn>
                <a:cxn ang="0">
                  <a:pos x="connsiteX8182" y="connsiteY8182"/>
                </a:cxn>
                <a:cxn ang="0">
                  <a:pos x="connsiteX8183" y="connsiteY8183"/>
                </a:cxn>
                <a:cxn ang="0">
                  <a:pos x="connsiteX8184" y="connsiteY8184"/>
                </a:cxn>
                <a:cxn ang="0">
                  <a:pos x="connsiteX8185" y="connsiteY8185"/>
                </a:cxn>
                <a:cxn ang="0">
                  <a:pos x="connsiteX8186" y="connsiteY8186"/>
                </a:cxn>
                <a:cxn ang="0">
                  <a:pos x="connsiteX8187" y="connsiteY8187"/>
                </a:cxn>
                <a:cxn ang="0">
                  <a:pos x="connsiteX8188" y="connsiteY8188"/>
                </a:cxn>
                <a:cxn ang="0">
                  <a:pos x="connsiteX8189" y="connsiteY8189"/>
                </a:cxn>
                <a:cxn ang="0">
                  <a:pos x="connsiteX8190" y="connsiteY8190"/>
                </a:cxn>
                <a:cxn ang="0">
                  <a:pos x="connsiteX8191" y="connsiteY8191"/>
                </a:cxn>
                <a:cxn ang="0">
                  <a:pos x="connsiteX8192" y="connsiteY8192"/>
                </a:cxn>
                <a:cxn ang="0">
                  <a:pos x="connsiteX8193" y="connsiteY8193"/>
                </a:cxn>
                <a:cxn ang="0">
                  <a:pos x="connsiteX8194" y="connsiteY8194"/>
                </a:cxn>
                <a:cxn ang="0">
                  <a:pos x="connsiteX8195" y="connsiteY8195"/>
                </a:cxn>
                <a:cxn ang="0">
                  <a:pos x="connsiteX8196" y="connsiteY8196"/>
                </a:cxn>
                <a:cxn ang="0">
                  <a:pos x="connsiteX8197" y="connsiteY8197"/>
                </a:cxn>
                <a:cxn ang="0">
                  <a:pos x="connsiteX8198" y="connsiteY8198"/>
                </a:cxn>
                <a:cxn ang="0">
                  <a:pos x="connsiteX8199" y="connsiteY8199"/>
                </a:cxn>
                <a:cxn ang="0">
                  <a:pos x="connsiteX8200" y="connsiteY8200"/>
                </a:cxn>
                <a:cxn ang="0">
                  <a:pos x="connsiteX8201" y="connsiteY8201"/>
                </a:cxn>
                <a:cxn ang="0">
                  <a:pos x="connsiteX8202" y="connsiteY8202"/>
                </a:cxn>
                <a:cxn ang="0">
                  <a:pos x="connsiteX8203" y="connsiteY8203"/>
                </a:cxn>
                <a:cxn ang="0">
                  <a:pos x="connsiteX8204" y="connsiteY8204"/>
                </a:cxn>
                <a:cxn ang="0">
                  <a:pos x="connsiteX8205" y="connsiteY8205"/>
                </a:cxn>
                <a:cxn ang="0">
                  <a:pos x="connsiteX8206" y="connsiteY8206"/>
                </a:cxn>
                <a:cxn ang="0">
                  <a:pos x="connsiteX8207" y="connsiteY8207"/>
                </a:cxn>
                <a:cxn ang="0">
                  <a:pos x="connsiteX8208" y="connsiteY8208"/>
                </a:cxn>
                <a:cxn ang="0">
                  <a:pos x="connsiteX8209" y="connsiteY8209"/>
                </a:cxn>
                <a:cxn ang="0">
                  <a:pos x="connsiteX8210" y="connsiteY8210"/>
                </a:cxn>
                <a:cxn ang="0">
                  <a:pos x="connsiteX8211" y="connsiteY8211"/>
                </a:cxn>
                <a:cxn ang="0">
                  <a:pos x="connsiteX8212" y="connsiteY8212"/>
                </a:cxn>
                <a:cxn ang="0">
                  <a:pos x="connsiteX8213" y="connsiteY8213"/>
                </a:cxn>
                <a:cxn ang="0">
                  <a:pos x="connsiteX8214" y="connsiteY8214"/>
                </a:cxn>
                <a:cxn ang="0">
                  <a:pos x="connsiteX8215" y="connsiteY8215"/>
                </a:cxn>
                <a:cxn ang="0">
                  <a:pos x="connsiteX8216" y="connsiteY8216"/>
                </a:cxn>
                <a:cxn ang="0">
                  <a:pos x="connsiteX8217" y="connsiteY8217"/>
                </a:cxn>
                <a:cxn ang="0">
                  <a:pos x="connsiteX8218" y="connsiteY8218"/>
                </a:cxn>
                <a:cxn ang="0">
                  <a:pos x="connsiteX8219" y="connsiteY8219"/>
                </a:cxn>
                <a:cxn ang="0">
                  <a:pos x="connsiteX8220" y="connsiteY8220"/>
                </a:cxn>
                <a:cxn ang="0">
                  <a:pos x="connsiteX8221" y="connsiteY8221"/>
                </a:cxn>
                <a:cxn ang="0">
                  <a:pos x="connsiteX8222" y="connsiteY8222"/>
                </a:cxn>
                <a:cxn ang="0">
                  <a:pos x="connsiteX8223" y="connsiteY8223"/>
                </a:cxn>
                <a:cxn ang="0">
                  <a:pos x="connsiteX8224" y="connsiteY8224"/>
                </a:cxn>
                <a:cxn ang="0">
                  <a:pos x="connsiteX8225" y="connsiteY8225"/>
                </a:cxn>
                <a:cxn ang="0">
                  <a:pos x="connsiteX8226" y="connsiteY8226"/>
                </a:cxn>
                <a:cxn ang="0">
                  <a:pos x="connsiteX8227" y="connsiteY8227"/>
                </a:cxn>
                <a:cxn ang="0">
                  <a:pos x="connsiteX8228" y="connsiteY8228"/>
                </a:cxn>
                <a:cxn ang="0">
                  <a:pos x="connsiteX8229" y="connsiteY8229"/>
                </a:cxn>
                <a:cxn ang="0">
                  <a:pos x="connsiteX8230" y="connsiteY8230"/>
                </a:cxn>
                <a:cxn ang="0">
                  <a:pos x="connsiteX8231" y="connsiteY8231"/>
                </a:cxn>
                <a:cxn ang="0">
                  <a:pos x="connsiteX8232" y="connsiteY8232"/>
                </a:cxn>
                <a:cxn ang="0">
                  <a:pos x="connsiteX8233" y="connsiteY8233"/>
                </a:cxn>
                <a:cxn ang="0">
                  <a:pos x="connsiteX8234" y="connsiteY8234"/>
                </a:cxn>
                <a:cxn ang="0">
                  <a:pos x="connsiteX8235" y="connsiteY8235"/>
                </a:cxn>
                <a:cxn ang="0">
                  <a:pos x="connsiteX8236" y="connsiteY8236"/>
                </a:cxn>
                <a:cxn ang="0">
                  <a:pos x="connsiteX8237" y="connsiteY8237"/>
                </a:cxn>
                <a:cxn ang="0">
                  <a:pos x="connsiteX8238" y="connsiteY8238"/>
                </a:cxn>
                <a:cxn ang="0">
                  <a:pos x="connsiteX8239" y="connsiteY8239"/>
                </a:cxn>
                <a:cxn ang="0">
                  <a:pos x="connsiteX8240" y="connsiteY8240"/>
                </a:cxn>
                <a:cxn ang="0">
                  <a:pos x="connsiteX8241" y="connsiteY8241"/>
                </a:cxn>
                <a:cxn ang="0">
                  <a:pos x="connsiteX8242" y="connsiteY8242"/>
                </a:cxn>
                <a:cxn ang="0">
                  <a:pos x="connsiteX8243" y="connsiteY8243"/>
                </a:cxn>
                <a:cxn ang="0">
                  <a:pos x="connsiteX8244" y="connsiteY8244"/>
                </a:cxn>
                <a:cxn ang="0">
                  <a:pos x="connsiteX8245" y="connsiteY8245"/>
                </a:cxn>
                <a:cxn ang="0">
                  <a:pos x="connsiteX8246" y="connsiteY8246"/>
                </a:cxn>
                <a:cxn ang="0">
                  <a:pos x="connsiteX8247" y="connsiteY8247"/>
                </a:cxn>
                <a:cxn ang="0">
                  <a:pos x="connsiteX8248" y="connsiteY8248"/>
                </a:cxn>
                <a:cxn ang="0">
                  <a:pos x="connsiteX8249" y="connsiteY8249"/>
                </a:cxn>
                <a:cxn ang="0">
                  <a:pos x="connsiteX8250" y="connsiteY8250"/>
                </a:cxn>
                <a:cxn ang="0">
                  <a:pos x="connsiteX8251" y="connsiteY8251"/>
                </a:cxn>
                <a:cxn ang="0">
                  <a:pos x="connsiteX8252" y="connsiteY8252"/>
                </a:cxn>
                <a:cxn ang="0">
                  <a:pos x="connsiteX8253" y="connsiteY8253"/>
                </a:cxn>
                <a:cxn ang="0">
                  <a:pos x="connsiteX8254" y="connsiteY8254"/>
                </a:cxn>
                <a:cxn ang="0">
                  <a:pos x="connsiteX8255" y="connsiteY8255"/>
                </a:cxn>
                <a:cxn ang="0">
                  <a:pos x="connsiteX8256" y="connsiteY8256"/>
                </a:cxn>
                <a:cxn ang="0">
                  <a:pos x="connsiteX8257" y="connsiteY8257"/>
                </a:cxn>
                <a:cxn ang="0">
                  <a:pos x="connsiteX8258" y="connsiteY8258"/>
                </a:cxn>
                <a:cxn ang="0">
                  <a:pos x="connsiteX8259" y="connsiteY8259"/>
                </a:cxn>
                <a:cxn ang="0">
                  <a:pos x="connsiteX8260" y="connsiteY8260"/>
                </a:cxn>
                <a:cxn ang="0">
                  <a:pos x="connsiteX8261" y="connsiteY8261"/>
                </a:cxn>
                <a:cxn ang="0">
                  <a:pos x="connsiteX8262" y="connsiteY8262"/>
                </a:cxn>
                <a:cxn ang="0">
                  <a:pos x="connsiteX8263" y="connsiteY8263"/>
                </a:cxn>
                <a:cxn ang="0">
                  <a:pos x="connsiteX8264" y="connsiteY8264"/>
                </a:cxn>
                <a:cxn ang="0">
                  <a:pos x="connsiteX8265" y="connsiteY8265"/>
                </a:cxn>
                <a:cxn ang="0">
                  <a:pos x="connsiteX8266" y="connsiteY8266"/>
                </a:cxn>
                <a:cxn ang="0">
                  <a:pos x="connsiteX8267" y="connsiteY8267"/>
                </a:cxn>
                <a:cxn ang="0">
                  <a:pos x="connsiteX8268" y="connsiteY8268"/>
                </a:cxn>
                <a:cxn ang="0">
                  <a:pos x="connsiteX8269" y="connsiteY8269"/>
                </a:cxn>
                <a:cxn ang="0">
                  <a:pos x="connsiteX8270" y="connsiteY8270"/>
                </a:cxn>
                <a:cxn ang="0">
                  <a:pos x="connsiteX8271" y="connsiteY8271"/>
                </a:cxn>
                <a:cxn ang="0">
                  <a:pos x="connsiteX8272" y="connsiteY8272"/>
                </a:cxn>
                <a:cxn ang="0">
                  <a:pos x="connsiteX8273" y="connsiteY8273"/>
                </a:cxn>
                <a:cxn ang="0">
                  <a:pos x="connsiteX8274" y="connsiteY8274"/>
                </a:cxn>
                <a:cxn ang="0">
                  <a:pos x="connsiteX8275" y="connsiteY8275"/>
                </a:cxn>
                <a:cxn ang="0">
                  <a:pos x="connsiteX8276" y="connsiteY8276"/>
                </a:cxn>
                <a:cxn ang="0">
                  <a:pos x="connsiteX8277" y="connsiteY8277"/>
                </a:cxn>
                <a:cxn ang="0">
                  <a:pos x="connsiteX8278" y="connsiteY8278"/>
                </a:cxn>
                <a:cxn ang="0">
                  <a:pos x="connsiteX8279" y="connsiteY8279"/>
                </a:cxn>
                <a:cxn ang="0">
                  <a:pos x="connsiteX8280" y="connsiteY8280"/>
                </a:cxn>
                <a:cxn ang="0">
                  <a:pos x="connsiteX8281" y="connsiteY8281"/>
                </a:cxn>
                <a:cxn ang="0">
                  <a:pos x="connsiteX8282" y="connsiteY8282"/>
                </a:cxn>
                <a:cxn ang="0">
                  <a:pos x="connsiteX8283" y="connsiteY8283"/>
                </a:cxn>
                <a:cxn ang="0">
                  <a:pos x="connsiteX8284" y="connsiteY8284"/>
                </a:cxn>
                <a:cxn ang="0">
                  <a:pos x="connsiteX8285" y="connsiteY8285"/>
                </a:cxn>
                <a:cxn ang="0">
                  <a:pos x="connsiteX8286" y="connsiteY8286"/>
                </a:cxn>
                <a:cxn ang="0">
                  <a:pos x="connsiteX8287" y="connsiteY8287"/>
                </a:cxn>
                <a:cxn ang="0">
                  <a:pos x="connsiteX8288" y="connsiteY8288"/>
                </a:cxn>
                <a:cxn ang="0">
                  <a:pos x="connsiteX8289" y="connsiteY8289"/>
                </a:cxn>
                <a:cxn ang="0">
                  <a:pos x="connsiteX8290" y="connsiteY8290"/>
                </a:cxn>
                <a:cxn ang="0">
                  <a:pos x="connsiteX8291" y="connsiteY8291"/>
                </a:cxn>
                <a:cxn ang="0">
                  <a:pos x="connsiteX8292" y="connsiteY8292"/>
                </a:cxn>
                <a:cxn ang="0">
                  <a:pos x="connsiteX8293" y="connsiteY8293"/>
                </a:cxn>
                <a:cxn ang="0">
                  <a:pos x="connsiteX8294" y="connsiteY8294"/>
                </a:cxn>
                <a:cxn ang="0">
                  <a:pos x="connsiteX8295" y="connsiteY8295"/>
                </a:cxn>
                <a:cxn ang="0">
                  <a:pos x="connsiteX8296" y="connsiteY8296"/>
                </a:cxn>
                <a:cxn ang="0">
                  <a:pos x="connsiteX8297" y="connsiteY8297"/>
                </a:cxn>
                <a:cxn ang="0">
                  <a:pos x="connsiteX8298" y="connsiteY8298"/>
                </a:cxn>
                <a:cxn ang="0">
                  <a:pos x="connsiteX8299" y="connsiteY8299"/>
                </a:cxn>
                <a:cxn ang="0">
                  <a:pos x="connsiteX8300" y="connsiteY8300"/>
                </a:cxn>
                <a:cxn ang="0">
                  <a:pos x="connsiteX8301" y="connsiteY8301"/>
                </a:cxn>
                <a:cxn ang="0">
                  <a:pos x="connsiteX8302" y="connsiteY8302"/>
                </a:cxn>
                <a:cxn ang="0">
                  <a:pos x="connsiteX8303" y="connsiteY8303"/>
                </a:cxn>
                <a:cxn ang="0">
                  <a:pos x="connsiteX8304" y="connsiteY8304"/>
                </a:cxn>
                <a:cxn ang="0">
                  <a:pos x="connsiteX8305" y="connsiteY8305"/>
                </a:cxn>
                <a:cxn ang="0">
                  <a:pos x="connsiteX8306" y="connsiteY8306"/>
                </a:cxn>
                <a:cxn ang="0">
                  <a:pos x="connsiteX8307" y="connsiteY8307"/>
                </a:cxn>
                <a:cxn ang="0">
                  <a:pos x="connsiteX8308" y="connsiteY8308"/>
                </a:cxn>
                <a:cxn ang="0">
                  <a:pos x="connsiteX8309" y="connsiteY8309"/>
                </a:cxn>
                <a:cxn ang="0">
                  <a:pos x="connsiteX8310" y="connsiteY8310"/>
                </a:cxn>
                <a:cxn ang="0">
                  <a:pos x="connsiteX8311" y="connsiteY8311"/>
                </a:cxn>
                <a:cxn ang="0">
                  <a:pos x="connsiteX8312" y="connsiteY8312"/>
                </a:cxn>
                <a:cxn ang="0">
                  <a:pos x="connsiteX8313" y="connsiteY8313"/>
                </a:cxn>
                <a:cxn ang="0">
                  <a:pos x="connsiteX8314" y="connsiteY8314"/>
                </a:cxn>
                <a:cxn ang="0">
                  <a:pos x="connsiteX8315" y="connsiteY8315"/>
                </a:cxn>
                <a:cxn ang="0">
                  <a:pos x="connsiteX8316" y="connsiteY8316"/>
                </a:cxn>
                <a:cxn ang="0">
                  <a:pos x="connsiteX8317" y="connsiteY8317"/>
                </a:cxn>
                <a:cxn ang="0">
                  <a:pos x="connsiteX8318" y="connsiteY8318"/>
                </a:cxn>
                <a:cxn ang="0">
                  <a:pos x="connsiteX8319" y="connsiteY8319"/>
                </a:cxn>
                <a:cxn ang="0">
                  <a:pos x="connsiteX8320" y="connsiteY8320"/>
                </a:cxn>
                <a:cxn ang="0">
                  <a:pos x="connsiteX8321" y="connsiteY8321"/>
                </a:cxn>
                <a:cxn ang="0">
                  <a:pos x="connsiteX8322" y="connsiteY8322"/>
                </a:cxn>
                <a:cxn ang="0">
                  <a:pos x="connsiteX8323" y="connsiteY8323"/>
                </a:cxn>
                <a:cxn ang="0">
                  <a:pos x="connsiteX8324" y="connsiteY8324"/>
                </a:cxn>
                <a:cxn ang="0">
                  <a:pos x="connsiteX8325" y="connsiteY8325"/>
                </a:cxn>
                <a:cxn ang="0">
                  <a:pos x="connsiteX8326" y="connsiteY8326"/>
                </a:cxn>
                <a:cxn ang="0">
                  <a:pos x="connsiteX8327" y="connsiteY8327"/>
                </a:cxn>
                <a:cxn ang="0">
                  <a:pos x="connsiteX8328" y="connsiteY8328"/>
                </a:cxn>
                <a:cxn ang="0">
                  <a:pos x="connsiteX8329" y="connsiteY8329"/>
                </a:cxn>
                <a:cxn ang="0">
                  <a:pos x="connsiteX8330" y="connsiteY8330"/>
                </a:cxn>
                <a:cxn ang="0">
                  <a:pos x="connsiteX8331" y="connsiteY8331"/>
                </a:cxn>
                <a:cxn ang="0">
                  <a:pos x="connsiteX8332" y="connsiteY8332"/>
                </a:cxn>
                <a:cxn ang="0">
                  <a:pos x="connsiteX8333" y="connsiteY8333"/>
                </a:cxn>
                <a:cxn ang="0">
                  <a:pos x="connsiteX8334" y="connsiteY8334"/>
                </a:cxn>
                <a:cxn ang="0">
                  <a:pos x="connsiteX8335" y="connsiteY8335"/>
                </a:cxn>
                <a:cxn ang="0">
                  <a:pos x="connsiteX8336" y="connsiteY8336"/>
                </a:cxn>
                <a:cxn ang="0">
                  <a:pos x="connsiteX8337" y="connsiteY8337"/>
                </a:cxn>
                <a:cxn ang="0">
                  <a:pos x="connsiteX8338" y="connsiteY8338"/>
                </a:cxn>
                <a:cxn ang="0">
                  <a:pos x="connsiteX8339" y="connsiteY8339"/>
                </a:cxn>
                <a:cxn ang="0">
                  <a:pos x="connsiteX8340" y="connsiteY8340"/>
                </a:cxn>
                <a:cxn ang="0">
                  <a:pos x="connsiteX8341" y="connsiteY8341"/>
                </a:cxn>
                <a:cxn ang="0">
                  <a:pos x="connsiteX8342" y="connsiteY8342"/>
                </a:cxn>
                <a:cxn ang="0">
                  <a:pos x="connsiteX8343" y="connsiteY8343"/>
                </a:cxn>
                <a:cxn ang="0">
                  <a:pos x="connsiteX8344" y="connsiteY8344"/>
                </a:cxn>
                <a:cxn ang="0">
                  <a:pos x="connsiteX8345" y="connsiteY8345"/>
                </a:cxn>
                <a:cxn ang="0">
                  <a:pos x="connsiteX8346" y="connsiteY8346"/>
                </a:cxn>
                <a:cxn ang="0">
                  <a:pos x="connsiteX8347" y="connsiteY8347"/>
                </a:cxn>
                <a:cxn ang="0">
                  <a:pos x="connsiteX8348" y="connsiteY8348"/>
                </a:cxn>
                <a:cxn ang="0">
                  <a:pos x="connsiteX8349" y="connsiteY8349"/>
                </a:cxn>
                <a:cxn ang="0">
                  <a:pos x="connsiteX8350" y="connsiteY8350"/>
                </a:cxn>
                <a:cxn ang="0">
                  <a:pos x="connsiteX8351" y="connsiteY8351"/>
                </a:cxn>
                <a:cxn ang="0">
                  <a:pos x="connsiteX8352" y="connsiteY8352"/>
                </a:cxn>
                <a:cxn ang="0">
                  <a:pos x="connsiteX8353" y="connsiteY8353"/>
                </a:cxn>
                <a:cxn ang="0">
                  <a:pos x="connsiteX8354" y="connsiteY8354"/>
                </a:cxn>
                <a:cxn ang="0">
                  <a:pos x="connsiteX8355" y="connsiteY8355"/>
                </a:cxn>
                <a:cxn ang="0">
                  <a:pos x="connsiteX8356" y="connsiteY8356"/>
                </a:cxn>
                <a:cxn ang="0">
                  <a:pos x="connsiteX8357" y="connsiteY8357"/>
                </a:cxn>
                <a:cxn ang="0">
                  <a:pos x="connsiteX8358" y="connsiteY8358"/>
                </a:cxn>
                <a:cxn ang="0">
                  <a:pos x="connsiteX8359" y="connsiteY8359"/>
                </a:cxn>
                <a:cxn ang="0">
                  <a:pos x="connsiteX8360" y="connsiteY8360"/>
                </a:cxn>
                <a:cxn ang="0">
                  <a:pos x="connsiteX8361" y="connsiteY8361"/>
                </a:cxn>
                <a:cxn ang="0">
                  <a:pos x="connsiteX8362" y="connsiteY8362"/>
                </a:cxn>
                <a:cxn ang="0">
                  <a:pos x="connsiteX8363" y="connsiteY8363"/>
                </a:cxn>
                <a:cxn ang="0">
                  <a:pos x="connsiteX8364" y="connsiteY8364"/>
                </a:cxn>
                <a:cxn ang="0">
                  <a:pos x="connsiteX8365" y="connsiteY8365"/>
                </a:cxn>
                <a:cxn ang="0">
                  <a:pos x="connsiteX8366" y="connsiteY8366"/>
                </a:cxn>
                <a:cxn ang="0">
                  <a:pos x="connsiteX8367" y="connsiteY8367"/>
                </a:cxn>
                <a:cxn ang="0">
                  <a:pos x="connsiteX8368" y="connsiteY8368"/>
                </a:cxn>
                <a:cxn ang="0">
                  <a:pos x="connsiteX8369" y="connsiteY8369"/>
                </a:cxn>
                <a:cxn ang="0">
                  <a:pos x="connsiteX8370" y="connsiteY8370"/>
                </a:cxn>
                <a:cxn ang="0">
                  <a:pos x="connsiteX8371" y="connsiteY8371"/>
                </a:cxn>
                <a:cxn ang="0">
                  <a:pos x="connsiteX8372" y="connsiteY8372"/>
                </a:cxn>
                <a:cxn ang="0">
                  <a:pos x="connsiteX8373" y="connsiteY8373"/>
                </a:cxn>
                <a:cxn ang="0">
                  <a:pos x="connsiteX8374" y="connsiteY8374"/>
                </a:cxn>
                <a:cxn ang="0">
                  <a:pos x="connsiteX8375" y="connsiteY8375"/>
                </a:cxn>
                <a:cxn ang="0">
                  <a:pos x="connsiteX8376" y="connsiteY8376"/>
                </a:cxn>
                <a:cxn ang="0">
                  <a:pos x="connsiteX8377" y="connsiteY8377"/>
                </a:cxn>
                <a:cxn ang="0">
                  <a:pos x="connsiteX8378" y="connsiteY8378"/>
                </a:cxn>
                <a:cxn ang="0">
                  <a:pos x="connsiteX8379" y="connsiteY8379"/>
                </a:cxn>
                <a:cxn ang="0">
                  <a:pos x="connsiteX8380" y="connsiteY8380"/>
                </a:cxn>
                <a:cxn ang="0">
                  <a:pos x="connsiteX8381" y="connsiteY8381"/>
                </a:cxn>
                <a:cxn ang="0">
                  <a:pos x="connsiteX8382" y="connsiteY8382"/>
                </a:cxn>
                <a:cxn ang="0">
                  <a:pos x="connsiteX8383" y="connsiteY8383"/>
                </a:cxn>
                <a:cxn ang="0">
                  <a:pos x="connsiteX8384" y="connsiteY8384"/>
                </a:cxn>
                <a:cxn ang="0">
                  <a:pos x="connsiteX8385" y="connsiteY8385"/>
                </a:cxn>
                <a:cxn ang="0">
                  <a:pos x="connsiteX8386" y="connsiteY8386"/>
                </a:cxn>
                <a:cxn ang="0">
                  <a:pos x="connsiteX8387" y="connsiteY8387"/>
                </a:cxn>
                <a:cxn ang="0">
                  <a:pos x="connsiteX8388" y="connsiteY8388"/>
                </a:cxn>
                <a:cxn ang="0">
                  <a:pos x="connsiteX8389" y="connsiteY8389"/>
                </a:cxn>
                <a:cxn ang="0">
                  <a:pos x="connsiteX8390" y="connsiteY8390"/>
                </a:cxn>
                <a:cxn ang="0">
                  <a:pos x="connsiteX8391" y="connsiteY8391"/>
                </a:cxn>
                <a:cxn ang="0">
                  <a:pos x="connsiteX8392" y="connsiteY8392"/>
                </a:cxn>
                <a:cxn ang="0">
                  <a:pos x="connsiteX8393" y="connsiteY8393"/>
                </a:cxn>
                <a:cxn ang="0">
                  <a:pos x="connsiteX8394" y="connsiteY8394"/>
                </a:cxn>
                <a:cxn ang="0">
                  <a:pos x="connsiteX8395" y="connsiteY8395"/>
                </a:cxn>
                <a:cxn ang="0">
                  <a:pos x="connsiteX8396" y="connsiteY8396"/>
                </a:cxn>
                <a:cxn ang="0">
                  <a:pos x="connsiteX8397" y="connsiteY8397"/>
                </a:cxn>
                <a:cxn ang="0">
                  <a:pos x="connsiteX8398" y="connsiteY8398"/>
                </a:cxn>
                <a:cxn ang="0">
                  <a:pos x="connsiteX8399" y="connsiteY8399"/>
                </a:cxn>
                <a:cxn ang="0">
                  <a:pos x="connsiteX8400" y="connsiteY8400"/>
                </a:cxn>
                <a:cxn ang="0">
                  <a:pos x="connsiteX8401" y="connsiteY8401"/>
                </a:cxn>
                <a:cxn ang="0">
                  <a:pos x="connsiteX8402" y="connsiteY8402"/>
                </a:cxn>
                <a:cxn ang="0">
                  <a:pos x="connsiteX8403" y="connsiteY8403"/>
                </a:cxn>
                <a:cxn ang="0">
                  <a:pos x="connsiteX8404" y="connsiteY8404"/>
                </a:cxn>
                <a:cxn ang="0">
                  <a:pos x="connsiteX8405" y="connsiteY8405"/>
                </a:cxn>
                <a:cxn ang="0">
                  <a:pos x="connsiteX8406" y="connsiteY8406"/>
                </a:cxn>
                <a:cxn ang="0">
                  <a:pos x="connsiteX8407" y="connsiteY8407"/>
                </a:cxn>
                <a:cxn ang="0">
                  <a:pos x="connsiteX8408" y="connsiteY8408"/>
                </a:cxn>
                <a:cxn ang="0">
                  <a:pos x="connsiteX8409" y="connsiteY8409"/>
                </a:cxn>
                <a:cxn ang="0">
                  <a:pos x="connsiteX8410" y="connsiteY8410"/>
                </a:cxn>
                <a:cxn ang="0">
                  <a:pos x="connsiteX8411" y="connsiteY8411"/>
                </a:cxn>
                <a:cxn ang="0">
                  <a:pos x="connsiteX8412" y="connsiteY8412"/>
                </a:cxn>
                <a:cxn ang="0">
                  <a:pos x="connsiteX8413" y="connsiteY8413"/>
                </a:cxn>
                <a:cxn ang="0">
                  <a:pos x="connsiteX8414" y="connsiteY8414"/>
                </a:cxn>
                <a:cxn ang="0">
                  <a:pos x="connsiteX8415" y="connsiteY8415"/>
                </a:cxn>
                <a:cxn ang="0">
                  <a:pos x="connsiteX8416" y="connsiteY8416"/>
                </a:cxn>
                <a:cxn ang="0">
                  <a:pos x="connsiteX8417" y="connsiteY8417"/>
                </a:cxn>
                <a:cxn ang="0">
                  <a:pos x="connsiteX8418" y="connsiteY8418"/>
                </a:cxn>
                <a:cxn ang="0">
                  <a:pos x="connsiteX8419" y="connsiteY8419"/>
                </a:cxn>
                <a:cxn ang="0">
                  <a:pos x="connsiteX8420" y="connsiteY8420"/>
                </a:cxn>
                <a:cxn ang="0">
                  <a:pos x="connsiteX8421" y="connsiteY8421"/>
                </a:cxn>
                <a:cxn ang="0">
                  <a:pos x="connsiteX8422" y="connsiteY8422"/>
                </a:cxn>
                <a:cxn ang="0">
                  <a:pos x="connsiteX8423" y="connsiteY8423"/>
                </a:cxn>
                <a:cxn ang="0">
                  <a:pos x="connsiteX8424" y="connsiteY8424"/>
                </a:cxn>
                <a:cxn ang="0">
                  <a:pos x="connsiteX8425" y="connsiteY8425"/>
                </a:cxn>
                <a:cxn ang="0">
                  <a:pos x="connsiteX8426" y="connsiteY8426"/>
                </a:cxn>
                <a:cxn ang="0">
                  <a:pos x="connsiteX8427" y="connsiteY8427"/>
                </a:cxn>
                <a:cxn ang="0">
                  <a:pos x="connsiteX8428" y="connsiteY8428"/>
                </a:cxn>
                <a:cxn ang="0">
                  <a:pos x="connsiteX8429" y="connsiteY8429"/>
                </a:cxn>
                <a:cxn ang="0">
                  <a:pos x="connsiteX8430" y="connsiteY8430"/>
                </a:cxn>
                <a:cxn ang="0">
                  <a:pos x="connsiteX8431" y="connsiteY8431"/>
                </a:cxn>
                <a:cxn ang="0">
                  <a:pos x="connsiteX8432" y="connsiteY8432"/>
                </a:cxn>
                <a:cxn ang="0">
                  <a:pos x="connsiteX8433" y="connsiteY8433"/>
                </a:cxn>
                <a:cxn ang="0">
                  <a:pos x="connsiteX8434" y="connsiteY8434"/>
                </a:cxn>
                <a:cxn ang="0">
                  <a:pos x="connsiteX8435" y="connsiteY8435"/>
                </a:cxn>
                <a:cxn ang="0">
                  <a:pos x="connsiteX8436" y="connsiteY8436"/>
                </a:cxn>
                <a:cxn ang="0">
                  <a:pos x="connsiteX8437" y="connsiteY8437"/>
                </a:cxn>
                <a:cxn ang="0">
                  <a:pos x="connsiteX8438" y="connsiteY8438"/>
                </a:cxn>
                <a:cxn ang="0">
                  <a:pos x="connsiteX8439" y="connsiteY8439"/>
                </a:cxn>
                <a:cxn ang="0">
                  <a:pos x="connsiteX8440" y="connsiteY8440"/>
                </a:cxn>
                <a:cxn ang="0">
                  <a:pos x="connsiteX8441" y="connsiteY8441"/>
                </a:cxn>
                <a:cxn ang="0">
                  <a:pos x="connsiteX8442" y="connsiteY8442"/>
                </a:cxn>
                <a:cxn ang="0">
                  <a:pos x="connsiteX8443" y="connsiteY8443"/>
                </a:cxn>
                <a:cxn ang="0">
                  <a:pos x="connsiteX8444" y="connsiteY8444"/>
                </a:cxn>
                <a:cxn ang="0">
                  <a:pos x="connsiteX8445" y="connsiteY8445"/>
                </a:cxn>
                <a:cxn ang="0">
                  <a:pos x="connsiteX8446" y="connsiteY8446"/>
                </a:cxn>
                <a:cxn ang="0">
                  <a:pos x="connsiteX8447" y="connsiteY8447"/>
                </a:cxn>
                <a:cxn ang="0">
                  <a:pos x="connsiteX8448" y="connsiteY8448"/>
                </a:cxn>
                <a:cxn ang="0">
                  <a:pos x="connsiteX8449" y="connsiteY8449"/>
                </a:cxn>
                <a:cxn ang="0">
                  <a:pos x="connsiteX8450" y="connsiteY8450"/>
                </a:cxn>
                <a:cxn ang="0">
                  <a:pos x="connsiteX8451" y="connsiteY8451"/>
                </a:cxn>
                <a:cxn ang="0">
                  <a:pos x="connsiteX8452" y="connsiteY8452"/>
                </a:cxn>
                <a:cxn ang="0">
                  <a:pos x="connsiteX8453" y="connsiteY8453"/>
                </a:cxn>
                <a:cxn ang="0">
                  <a:pos x="connsiteX8454" y="connsiteY8454"/>
                </a:cxn>
                <a:cxn ang="0">
                  <a:pos x="connsiteX8455" y="connsiteY8455"/>
                </a:cxn>
                <a:cxn ang="0">
                  <a:pos x="connsiteX8456" y="connsiteY8456"/>
                </a:cxn>
                <a:cxn ang="0">
                  <a:pos x="connsiteX8457" y="connsiteY8457"/>
                </a:cxn>
                <a:cxn ang="0">
                  <a:pos x="connsiteX8458" y="connsiteY8458"/>
                </a:cxn>
                <a:cxn ang="0">
                  <a:pos x="connsiteX8459" y="connsiteY8459"/>
                </a:cxn>
                <a:cxn ang="0">
                  <a:pos x="connsiteX8460" y="connsiteY8460"/>
                </a:cxn>
                <a:cxn ang="0">
                  <a:pos x="connsiteX8461" y="connsiteY8461"/>
                </a:cxn>
                <a:cxn ang="0">
                  <a:pos x="connsiteX8462" y="connsiteY8462"/>
                </a:cxn>
                <a:cxn ang="0">
                  <a:pos x="connsiteX8463" y="connsiteY8463"/>
                </a:cxn>
                <a:cxn ang="0">
                  <a:pos x="connsiteX8464" y="connsiteY8464"/>
                </a:cxn>
                <a:cxn ang="0">
                  <a:pos x="connsiteX8465" y="connsiteY8465"/>
                </a:cxn>
                <a:cxn ang="0">
                  <a:pos x="connsiteX8466" y="connsiteY8466"/>
                </a:cxn>
                <a:cxn ang="0">
                  <a:pos x="connsiteX8467" y="connsiteY8467"/>
                </a:cxn>
                <a:cxn ang="0">
                  <a:pos x="connsiteX8468" y="connsiteY8468"/>
                </a:cxn>
                <a:cxn ang="0">
                  <a:pos x="connsiteX8469" y="connsiteY8469"/>
                </a:cxn>
                <a:cxn ang="0">
                  <a:pos x="connsiteX8470" y="connsiteY8470"/>
                </a:cxn>
                <a:cxn ang="0">
                  <a:pos x="connsiteX8471" y="connsiteY8471"/>
                </a:cxn>
                <a:cxn ang="0">
                  <a:pos x="connsiteX8472" y="connsiteY8472"/>
                </a:cxn>
                <a:cxn ang="0">
                  <a:pos x="connsiteX8473" y="connsiteY8473"/>
                </a:cxn>
                <a:cxn ang="0">
                  <a:pos x="connsiteX8474" y="connsiteY8474"/>
                </a:cxn>
                <a:cxn ang="0">
                  <a:pos x="connsiteX8475" y="connsiteY8475"/>
                </a:cxn>
                <a:cxn ang="0">
                  <a:pos x="connsiteX8476" y="connsiteY8476"/>
                </a:cxn>
                <a:cxn ang="0">
                  <a:pos x="connsiteX8477" y="connsiteY8477"/>
                </a:cxn>
                <a:cxn ang="0">
                  <a:pos x="connsiteX8478" y="connsiteY8478"/>
                </a:cxn>
                <a:cxn ang="0">
                  <a:pos x="connsiteX8479" y="connsiteY8479"/>
                </a:cxn>
                <a:cxn ang="0">
                  <a:pos x="connsiteX8480" y="connsiteY8480"/>
                </a:cxn>
                <a:cxn ang="0">
                  <a:pos x="connsiteX8481" y="connsiteY8481"/>
                </a:cxn>
                <a:cxn ang="0">
                  <a:pos x="connsiteX8482" y="connsiteY8482"/>
                </a:cxn>
                <a:cxn ang="0">
                  <a:pos x="connsiteX8483" y="connsiteY8483"/>
                </a:cxn>
                <a:cxn ang="0">
                  <a:pos x="connsiteX8484" y="connsiteY8484"/>
                </a:cxn>
                <a:cxn ang="0">
                  <a:pos x="connsiteX8485" y="connsiteY8485"/>
                </a:cxn>
                <a:cxn ang="0">
                  <a:pos x="connsiteX8486" y="connsiteY8486"/>
                </a:cxn>
                <a:cxn ang="0">
                  <a:pos x="connsiteX8487" y="connsiteY8487"/>
                </a:cxn>
                <a:cxn ang="0">
                  <a:pos x="connsiteX8488" y="connsiteY8488"/>
                </a:cxn>
                <a:cxn ang="0">
                  <a:pos x="connsiteX8489" y="connsiteY8489"/>
                </a:cxn>
                <a:cxn ang="0">
                  <a:pos x="connsiteX8490" y="connsiteY8490"/>
                </a:cxn>
                <a:cxn ang="0">
                  <a:pos x="connsiteX8491" y="connsiteY8491"/>
                </a:cxn>
                <a:cxn ang="0">
                  <a:pos x="connsiteX8492" y="connsiteY8492"/>
                </a:cxn>
                <a:cxn ang="0">
                  <a:pos x="connsiteX8493" y="connsiteY8493"/>
                </a:cxn>
                <a:cxn ang="0">
                  <a:pos x="connsiteX8494" y="connsiteY8494"/>
                </a:cxn>
                <a:cxn ang="0">
                  <a:pos x="connsiteX8495" y="connsiteY8495"/>
                </a:cxn>
                <a:cxn ang="0">
                  <a:pos x="connsiteX8496" y="connsiteY8496"/>
                </a:cxn>
                <a:cxn ang="0">
                  <a:pos x="connsiteX8497" y="connsiteY8497"/>
                </a:cxn>
                <a:cxn ang="0">
                  <a:pos x="connsiteX8498" y="connsiteY8498"/>
                </a:cxn>
                <a:cxn ang="0">
                  <a:pos x="connsiteX8499" y="connsiteY8499"/>
                </a:cxn>
                <a:cxn ang="0">
                  <a:pos x="connsiteX8500" y="connsiteY8500"/>
                </a:cxn>
                <a:cxn ang="0">
                  <a:pos x="connsiteX8501" y="connsiteY8501"/>
                </a:cxn>
                <a:cxn ang="0">
                  <a:pos x="connsiteX8502" y="connsiteY8502"/>
                </a:cxn>
                <a:cxn ang="0">
                  <a:pos x="connsiteX8503" y="connsiteY8503"/>
                </a:cxn>
                <a:cxn ang="0">
                  <a:pos x="connsiteX8504" y="connsiteY8504"/>
                </a:cxn>
                <a:cxn ang="0">
                  <a:pos x="connsiteX8505" y="connsiteY8505"/>
                </a:cxn>
                <a:cxn ang="0">
                  <a:pos x="connsiteX8506" y="connsiteY8506"/>
                </a:cxn>
                <a:cxn ang="0">
                  <a:pos x="connsiteX8507" y="connsiteY8507"/>
                </a:cxn>
                <a:cxn ang="0">
                  <a:pos x="connsiteX8508" y="connsiteY8508"/>
                </a:cxn>
                <a:cxn ang="0">
                  <a:pos x="connsiteX8509" y="connsiteY8509"/>
                </a:cxn>
                <a:cxn ang="0">
                  <a:pos x="connsiteX8510" y="connsiteY8510"/>
                </a:cxn>
                <a:cxn ang="0">
                  <a:pos x="connsiteX8511" y="connsiteY8511"/>
                </a:cxn>
                <a:cxn ang="0">
                  <a:pos x="connsiteX8512" y="connsiteY8512"/>
                </a:cxn>
                <a:cxn ang="0">
                  <a:pos x="connsiteX8513" y="connsiteY8513"/>
                </a:cxn>
                <a:cxn ang="0">
                  <a:pos x="connsiteX8514" y="connsiteY8514"/>
                </a:cxn>
                <a:cxn ang="0">
                  <a:pos x="connsiteX8515" y="connsiteY8515"/>
                </a:cxn>
                <a:cxn ang="0">
                  <a:pos x="connsiteX8516" y="connsiteY8516"/>
                </a:cxn>
                <a:cxn ang="0">
                  <a:pos x="connsiteX8517" y="connsiteY8517"/>
                </a:cxn>
                <a:cxn ang="0">
                  <a:pos x="connsiteX8518" y="connsiteY8518"/>
                </a:cxn>
                <a:cxn ang="0">
                  <a:pos x="connsiteX8519" y="connsiteY8519"/>
                </a:cxn>
                <a:cxn ang="0">
                  <a:pos x="connsiteX8520" y="connsiteY8520"/>
                </a:cxn>
                <a:cxn ang="0">
                  <a:pos x="connsiteX8521" y="connsiteY8521"/>
                </a:cxn>
                <a:cxn ang="0">
                  <a:pos x="connsiteX8522" y="connsiteY8522"/>
                </a:cxn>
                <a:cxn ang="0">
                  <a:pos x="connsiteX8523" y="connsiteY8523"/>
                </a:cxn>
                <a:cxn ang="0">
                  <a:pos x="connsiteX8524" y="connsiteY8524"/>
                </a:cxn>
                <a:cxn ang="0">
                  <a:pos x="connsiteX8525" y="connsiteY8525"/>
                </a:cxn>
                <a:cxn ang="0">
                  <a:pos x="connsiteX8526" y="connsiteY8526"/>
                </a:cxn>
                <a:cxn ang="0">
                  <a:pos x="connsiteX8527" y="connsiteY8527"/>
                </a:cxn>
                <a:cxn ang="0">
                  <a:pos x="connsiteX8528" y="connsiteY8528"/>
                </a:cxn>
                <a:cxn ang="0">
                  <a:pos x="connsiteX8529" y="connsiteY8529"/>
                </a:cxn>
                <a:cxn ang="0">
                  <a:pos x="connsiteX8530" y="connsiteY8530"/>
                </a:cxn>
                <a:cxn ang="0">
                  <a:pos x="connsiteX8531" y="connsiteY8531"/>
                </a:cxn>
                <a:cxn ang="0">
                  <a:pos x="connsiteX8532" y="connsiteY8532"/>
                </a:cxn>
                <a:cxn ang="0">
                  <a:pos x="connsiteX8533" y="connsiteY8533"/>
                </a:cxn>
                <a:cxn ang="0">
                  <a:pos x="connsiteX8534" y="connsiteY8534"/>
                </a:cxn>
                <a:cxn ang="0">
                  <a:pos x="connsiteX8535" y="connsiteY8535"/>
                </a:cxn>
                <a:cxn ang="0">
                  <a:pos x="connsiteX8536" y="connsiteY8536"/>
                </a:cxn>
                <a:cxn ang="0">
                  <a:pos x="connsiteX8537" y="connsiteY8537"/>
                </a:cxn>
                <a:cxn ang="0">
                  <a:pos x="connsiteX8538" y="connsiteY8538"/>
                </a:cxn>
                <a:cxn ang="0">
                  <a:pos x="connsiteX8539" y="connsiteY8539"/>
                </a:cxn>
                <a:cxn ang="0">
                  <a:pos x="connsiteX8540" y="connsiteY8540"/>
                </a:cxn>
                <a:cxn ang="0">
                  <a:pos x="connsiteX8541" y="connsiteY8541"/>
                </a:cxn>
                <a:cxn ang="0">
                  <a:pos x="connsiteX8542" y="connsiteY8542"/>
                </a:cxn>
                <a:cxn ang="0">
                  <a:pos x="connsiteX8543" y="connsiteY8543"/>
                </a:cxn>
                <a:cxn ang="0">
                  <a:pos x="connsiteX8544" y="connsiteY8544"/>
                </a:cxn>
                <a:cxn ang="0">
                  <a:pos x="connsiteX8545" y="connsiteY8545"/>
                </a:cxn>
                <a:cxn ang="0">
                  <a:pos x="connsiteX8546" y="connsiteY8546"/>
                </a:cxn>
                <a:cxn ang="0">
                  <a:pos x="connsiteX8547" y="connsiteY8547"/>
                </a:cxn>
                <a:cxn ang="0">
                  <a:pos x="connsiteX8548" y="connsiteY8548"/>
                </a:cxn>
                <a:cxn ang="0">
                  <a:pos x="connsiteX8549" y="connsiteY8549"/>
                </a:cxn>
                <a:cxn ang="0">
                  <a:pos x="connsiteX8550" y="connsiteY8550"/>
                </a:cxn>
                <a:cxn ang="0">
                  <a:pos x="connsiteX8551" y="connsiteY8551"/>
                </a:cxn>
                <a:cxn ang="0">
                  <a:pos x="connsiteX8552" y="connsiteY8552"/>
                </a:cxn>
                <a:cxn ang="0">
                  <a:pos x="connsiteX8553" y="connsiteY8553"/>
                </a:cxn>
                <a:cxn ang="0">
                  <a:pos x="connsiteX8554" y="connsiteY8554"/>
                </a:cxn>
                <a:cxn ang="0">
                  <a:pos x="connsiteX8555" y="connsiteY8555"/>
                </a:cxn>
                <a:cxn ang="0">
                  <a:pos x="connsiteX8556" y="connsiteY8556"/>
                </a:cxn>
                <a:cxn ang="0">
                  <a:pos x="connsiteX8557" y="connsiteY8557"/>
                </a:cxn>
                <a:cxn ang="0">
                  <a:pos x="connsiteX8558" y="connsiteY8558"/>
                </a:cxn>
                <a:cxn ang="0">
                  <a:pos x="connsiteX8559" y="connsiteY8559"/>
                </a:cxn>
                <a:cxn ang="0">
                  <a:pos x="connsiteX8560" y="connsiteY8560"/>
                </a:cxn>
                <a:cxn ang="0">
                  <a:pos x="connsiteX8561" y="connsiteY8561"/>
                </a:cxn>
                <a:cxn ang="0">
                  <a:pos x="connsiteX8562" y="connsiteY8562"/>
                </a:cxn>
                <a:cxn ang="0">
                  <a:pos x="connsiteX8563" y="connsiteY8563"/>
                </a:cxn>
                <a:cxn ang="0">
                  <a:pos x="connsiteX8564" y="connsiteY8564"/>
                </a:cxn>
                <a:cxn ang="0">
                  <a:pos x="connsiteX8565" y="connsiteY8565"/>
                </a:cxn>
                <a:cxn ang="0">
                  <a:pos x="connsiteX8566" y="connsiteY8566"/>
                </a:cxn>
                <a:cxn ang="0">
                  <a:pos x="connsiteX8567" y="connsiteY8567"/>
                </a:cxn>
                <a:cxn ang="0">
                  <a:pos x="connsiteX8568" y="connsiteY8568"/>
                </a:cxn>
                <a:cxn ang="0">
                  <a:pos x="connsiteX8569" y="connsiteY8569"/>
                </a:cxn>
                <a:cxn ang="0">
                  <a:pos x="connsiteX8570" y="connsiteY8570"/>
                </a:cxn>
                <a:cxn ang="0">
                  <a:pos x="connsiteX8571" y="connsiteY8571"/>
                </a:cxn>
                <a:cxn ang="0">
                  <a:pos x="connsiteX8572" y="connsiteY8572"/>
                </a:cxn>
                <a:cxn ang="0">
                  <a:pos x="connsiteX8573" y="connsiteY8573"/>
                </a:cxn>
                <a:cxn ang="0">
                  <a:pos x="connsiteX8574" y="connsiteY8574"/>
                </a:cxn>
                <a:cxn ang="0">
                  <a:pos x="connsiteX8575" y="connsiteY8575"/>
                </a:cxn>
                <a:cxn ang="0">
                  <a:pos x="connsiteX8576" y="connsiteY8576"/>
                </a:cxn>
                <a:cxn ang="0">
                  <a:pos x="connsiteX8577" y="connsiteY8577"/>
                </a:cxn>
                <a:cxn ang="0">
                  <a:pos x="connsiteX8578" y="connsiteY8578"/>
                </a:cxn>
                <a:cxn ang="0">
                  <a:pos x="connsiteX8579" y="connsiteY8579"/>
                </a:cxn>
                <a:cxn ang="0">
                  <a:pos x="connsiteX8580" y="connsiteY8580"/>
                </a:cxn>
                <a:cxn ang="0">
                  <a:pos x="connsiteX8581" y="connsiteY8581"/>
                </a:cxn>
                <a:cxn ang="0">
                  <a:pos x="connsiteX8582" y="connsiteY8582"/>
                </a:cxn>
                <a:cxn ang="0">
                  <a:pos x="connsiteX8583" y="connsiteY8583"/>
                </a:cxn>
                <a:cxn ang="0">
                  <a:pos x="connsiteX8584" y="connsiteY8584"/>
                </a:cxn>
                <a:cxn ang="0">
                  <a:pos x="connsiteX8585" y="connsiteY8585"/>
                </a:cxn>
                <a:cxn ang="0">
                  <a:pos x="connsiteX8586" y="connsiteY8586"/>
                </a:cxn>
                <a:cxn ang="0">
                  <a:pos x="connsiteX8587" y="connsiteY8587"/>
                </a:cxn>
                <a:cxn ang="0">
                  <a:pos x="connsiteX8588" y="connsiteY8588"/>
                </a:cxn>
                <a:cxn ang="0">
                  <a:pos x="connsiteX8589" y="connsiteY8589"/>
                </a:cxn>
                <a:cxn ang="0">
                  <a:pos x="connsiteX8590" y="connsiteY8590"/>
                </a:cxn>
                <a:cxn ang="0">
                  <a:pos x="connsiteX8591" y="connsiteY8591"/>
                </a:cxn>
                <a:cxn ang="0">
                  <a:pos x="connsiteX8592" y="connsiteY8592"/>
                </a:cxn>
                <a:cxn ang="0">
                  <a:pos x="connsiteX8593" y="connsiteY8593"/>
                </a:cxn>
                <a:cxn ang="0">
                  <a:pos x="connsiteX8594" y="connsiteY8594"/>
                </a:cxn>
                <a:cxn ang="0">
                  <a:pos x="connsiteX8595" y="connsiteY8595"/>
                </a:cxn>
                <a:cxn ang="0">
                  <a:pos x="connsiteX8596" y="connsiteY8596"/>
                </a:cxn>
                <a:cxn ang="0">
                  <a:pos x="connsiteX8597" y="connsiteY8597"/>
                </a:cxn>
                <a:cxn ang="0">
                  <a:pos x="connsiteX8598" y="connsiteY8598"/>
                </a:cxn>
                <a:cxn ang="0">
                  <a:pos x="connsiteX8599" y="connsiteY8599"/>
                </a:cxn>
                <a:cxn ang="0">
                  <a:pos x="connsiteX8600" y="connsiteY8600"/>
                </a:cxn>
                <a:cxn ang="0">
                  <a:pos x="connsiteX8601" y="connsiteY8601"/>
                </a:cxn>
                <a:cxn ang="0">
                  <a:pos x="connsiteX8602" y="connsiteY8602"/>
                </a:cxn>
                <a:cxn ang="0">
                  <a:pos x="connsiteX8603" y="connsiteY8603"/>
                </a:cxn>
                <a:cxn ang="0">
                  <a:pos x="connsiteX8604" y="connsiteY8604"/>
                </a:cxn>
                <a:cxn ang="0">
                  <a:pos x="connsiteX8605" y="connsiteY8605"/>
                </a:cxn>
                <a:cxn ang="0">
                  <a:pos x="connsiteX8606" y="connsiteY8606"/>
                </a:cxn>
                <a:cxn ang="0">
                  <a:pos x="connsiteX8607" y="connsiteY8607"/>
                </a:cxn>
                <a:cxn ang="0">
                  <a:pos x="connsiteX8608" y="connsiteY8608"/>
                </a:cxn>
                <a:cxn ang="0">
                  <a:pos x="connsiteX8609" y="connsiteY8609"/>
                </a:cxn>
                <a:cxn ang="0">
                  <a:pos x="connsiteX8610" y="connsiteY8610"/>
                </a:cxn>
                <a:cxn ang="0">
                  <a:pos x="connsiteX8611" y="connsiteY8611"/>
                </a:cxn>
                <a:cxn ang="0">
                  <a:pos x="connsiteX8612" y="connsiteY8612"/>
                </a:cxn>
                <a:cxn ang="0">
                  <a:pos x="connsiteX8613" y="connsiteY8613"/>
                </a:cxn>
                <a:cxn ang="0">
                  <a:pos x="connsiteX8614" y="connsiteY8614"/>
                </a:cxn>
                <a:cxn ang="0">
                  <a:pos x="connsiteX8615" y="connsiteY8615"/>
                </a:cxn>
                <a:cxn ang="0">
                  <a:pos x="connsiteX8616" y="connsiteY8616"/>
                </a:cxn>
                <a:cxn ang="0">
                  <a:pos x="connsiteX8617" y="connsiteY8617"/>
                </a:cxn>
                <a:cxn ang="0">
                  <a:pos x="connsiteX8618" y="connsiteY8618"/>
                </a:cxn>
                <a:cxn ang="0">
                  <a:pos x="connsiteX8619" y="connsiteY8619"/>
                </a:cxn>
                <a:cxn ang="0">
                  <a:pos x="connsiteX8620" y="connsiteY8620"/>
                </a:cxn>
                <a:cxn ang="0">
                  <a:pos x="connsiteX8621" y="connsiteY8621"/>
                </a:cxn>
                <a:cxn ang="0">
                  <a:pos x="connsiteX8622" y="connsiteY8622"/>
                </a:cxn>
                <a:cxn ang="0">
                  <a:pos x="connsiteX8623" y="connsiteY8623"/>
                </a:cxn>
                <a:cxn ang="0">
                  <a:pos x="connsiteX8624" y="connsiteY8624"/>
                </a:cxn>
                <a:cxn ang="0">
                  <a:pos x="connsiteX8625" y="connsiteY8625"/>
                </a:cxn>
                <a:cxn ang="0">
                  <a:pos x="connsiteX8626" y="connsiteY8626"/>
                </a:cxn>
                <a:cxn ang="0">
                  <a:pos x="connsiteX8627" y="connsiteY8627"/>
                </a:cxn>
                <a:cxn ang="0">
                  <a:pos x="connsiteX8628" y="connsiteY8628"/>
                </a:cxn>
                <a:cxn ang="0">
                  <a:pos x="connsiteX8629" y="connsiteY8629"/>
                </a:cxn>
                <a:cxn ang="0">
                  <a:pos x="connsiteX8630" y="connsiteY8630"/>
                </a:cxn>
                <a:cxn ang="0">
                  <a:pos x="connsiteX8631" y="connsiteY8631"/>
                </a:cxn>
                <a:cxn ang="0">
                  <a:pos x="connsiteX8632" y="connsiteY8632"/>
                </a:cxn>
                <a:cxn ang="0">
                  <a:pos x="connsiteX8633" y="connsiteY8633"/>
                </a:cxn>
                <a:cxn ang="0">
                  <a:pos x="connsiteX8634" y="connsiteY8634"/>
                </a:cxn>
                <a:cxn ang="0">
                  <a:pos x="connsiteX8635" y="connsiteY8635"/>
                </a:cxn>
                <a:cxn ang="0">
                  <a:pos x="connsiteX8636" y="connsiteY8636"/>
                </a:cxn>
                <a:cxn ang="0">
                  <a:pos x="connsiteX8637" y="connsiteY8637"/>
                </a:cxn>
                <a:cxn ang="0">
                  <a:pos x="connsiteX8638" y="connsiteY8638"/>
                </a:cxn>
                <a:cxn ang="0">
                  <a:pos x="connsiteX8639" y="connsiteY8639"/>
                </a:cxn>
                <a:cxn ang="0">
                  <a:pos x="connsiteX8640" y="connsiteY8640"/>
                </a:cxn>
                <a:cxn ang="0">
                  <a:pos x="connsiteX8641" y="connsiteY8641"/>
                </a:cxn>
                <a:cxn ang="0">
                  <a:pos x="connsiteX8642" y="connsiteY8642"/>
                </a:cxn>
                <a:cxn ang="0">
                  <a:pos x="connsiteX8643" y="connsiteY8643"/>
                </a:cxn>
                <a:cxn ang="0">
                  <a:pos x="connsiteX8644" y="connsiteY8644"/>
                </a:cxn>
                <a:cxn ang="0">
                  <a:pos x="connsiteX8645" y="connsiteY8645"/>
                </a:cxn>
                <a:cxn ang="0">
                  <a:pos x="connsiteX8646" y="connsiteY8646"/>
                </a:cxn>
                <a:cxn ang="0">
                  <a:pos x="connsiteX8647" y="connsiteY8647"/>
                </a:cxn>
                <a:cxn ang="0">
                  <a:pos x="connsiteX8648" y="connsiteY8648"/>
                </a:cxn>
                <a:cxn ang="0">
                  <a:pos x="connsiteX8649" y="connsiteY8649"/>
                </a:cxn>
                <a:cxn ang="0">
                  <a:pos x="connsiteX8650" y="connsiteY8650"/>
                </a:cxn>
                <a:cxn ang="0">
                  <a:pos x="connsiteX8651" y="connsiteY8651"/>
                </a:cxn>
                <a:cxn ang="0">
                  <a:pos x="connsiteX8652" y="connsiteY8652"/>
                </a:cxn>
                <a:cxn ang="0">
                  <a:pos x="connsiteX8653" y="connsiteY8653"/>
                </a:cxn>
                <a:cxn ang="0">
                  <a:pos x="connsiteX8654" y="connsiteY8654"/>
                </a:cxn>
                <a:cxn ang="0">
                  <a:pos x="connsiteX8655" y="connsiteY8655"/>
                </a:cxn>
                <a:cxn ang="0">
                  <a:pos x="connsiteX8656" y="connsiteY8656"/>
                </a:cxn>
                <a:cxn ang="0">
                  <a:pos x="connsiteX8657" y="connsiteY8657"/>
                </a:cxn>
                <a:cxn ang="0">
                  <a:pos x="connsiteX8658" y="connsiteY8658"/>
                </a:cxn>
                <a:cxn ang="0">
                  <a:pos x="connsiteX8659" y="connsiteY8659"/>
                </a:cxn>
                <a:cxn ang="0">
                  <a:pos x="connsiteX8660" y="connsiteY8660"/>
                </a:cxn>
                <a:cxn ang="0">
                  <a:pos x="connsiteX8661" y="connsiteY8661"/>
                </a:cxn>
                <a:cxn ang="0">
                  <a:pos x="connsiteX8662" y="connsiteY8662"/>
                </a:cxn>
                <a:cxn ang="0">
                  <a:pos x="connsiteX8663" y="connsiteY8663"/>
                </a:cxn>
                <a:cxn ang="0">
                  <a:pos x="connsiteX8664" y="connsiteY8664"/>
                </a:cxn>
                <a:cxn ang="0">
                  <a:pos x="connsiteX8665" y="connsiteY8665"/>
                </a:cxn>
                <a:cxn ang="0">
                  <a:pos x="connsiteX8666" y="connsiteY8666"/>
                </a:cxn>
                <a:cxn ang="0">
                  <a:pos x="connsiteX8667" y="connsiteY8667"/>
                </a:cxn>
                <a:cxn ang="0">
                  <a:pos x="connsiteX8668" y="connsiteY8668"/>
                </a:cxn>
                <a:cxn ang="0">
                  <a:pos x="connsiteX8669" y="connsiteY8669"/>
                </a:cxn>
                <a:cxn ang="0">
                  <a:pos x="connsiteX8670" y="connsiteY8670"/>
                </a:cxn>
                <a:cxn ang="0">
                  <a:pos x="connsiteX8671" y="connsiteY8671"/>
                </a:cxn>
                <a:cxn ang="0">
                  <a:pos x="connsiteX8672" y="connsiteY8672"/>
                </a:cxn>
                <a:cxn ang="0">
                  <a:pos x="connsiteX8673" y="connsiteY8673"/>
                </a:cxn>
                <a:cxn ang="0">
                  <a:pos x="connsiteX8674" y="connsiteY8674"/>
                </a:cxn>
                <a:cxn ang="0">
                  <a:pos x="connsiteX8675" y="connsiteY8675"/>
                </a:cxn>
                <a:cxn ang="0">
                  <a:pos x="connsiteX8676" y="connsiteY8676"/>
                </a:cxn>
                <a:cxn ang="0">
                  <a:pos x="connsiteX8677" y="connsiteY8677"/>
                </a:cxn>
                <a:cxn ang="0">
                  <a:pos x="connsiteX8678" y="connsiteY8678"/>
                </a:cxn>
                <a:cxn ang="0">
                  <a:pos x="connsiteX8679" y="connsiteY8679"/>
                </a:cxn>
                <a:cxn ang="0">
                  <a:pos x="connsiteX8680" y="connsiteY8680"/>
                </a:cxn>
                <a:cxn ang="0">
                  <a:pos x="connsiteX8681" y="connsiteY8681"/>
                </a:cxn>
                <a:cxn ang="0">
                  <a:pos x="connsiteX8682" y="connsiteY8682"/>
                </a:cxn>
                <a:cxn ang="0">
                  <a:pos x="connsiteX8683" y="connsiteY8683"/>
                </a:cxn>
                <a:cxn ang="0">
                  <a:pos x="connsiteX8684" y="connsiteY8684"/>
                </a:cxn>
                <a:cxn ang="0">
                  <a:pos x="connsiteX8685" y="connsiteY8685"/>
                </a:cxn>
                <a:cxn ang="0">
                  <a:pos x="connsiteX8686" y="connsiteY8686"/>
                </a:cxn>
                <a:cxn ang="0">
                  <a:pos x="connsiteX8687" y="connsiteY8687"/>
                </a:cxn>
                <a:cxn ang="0">
                  <a:pos x="connsiteX8688" y="connsiteY8688"/>
                </a:cxn>
                <a:cxn ang="0">
                  <a:pos x="connsiteX8689" y="connsiteY8689"/>
                </a:cxn>
                <a:cxn ang="0">
                  <a:pos x="connsiteX8690" y="connsiteY8690"/>
                </a:cxn>
                <a:cxn ang="0">
                  <a:pos x="connsiteX8691" y="connsiteY8691"/>
                </a:cxn>
                <a:cxn ang="0">
                  <a:pos x="connsiteX8692" y="connsiteY8692"/>
                </a:cxn>
                <a:cxn ang="0">
                  <a:pos x="connsiteX8693" y="connsiteY8693"/>
                </a:cxn>
                <a:cxn ang="0">
                  <a:pos x="connsiteX8694" y="connsiteY8694"/>
                </a:cxn>
                <a:cxn ang="0">
                  <a:pos x="connsiteX8695" y="connsiteY8695"/>
                </a:cxn>
                <a:cxn ang="0">
                  <a:pos x="connsiteX8696" y="connsiteY8696"/>
                </a:cxn>
                <a:cxn ang="0">
                  <a:pos x="connsiteX8697" y="connsiteY8697"/>
                </a:cxn>
                <a:cxn ang="0">
                  <a:pos x="connsiteX8698" y="connsiteY8698"/>
                </a:cxn>
                <a:cxn ang="0">
                  <a:pos x="connsiteX8699" y="connsiteY8699"/>
                </a:cxn>
                <a:cxn ang="0">
                  <a:pos x="connsiteX8700" y="connsiteY8700"/>
                </a:cxn>
                <a:cxn ang="0">
                  <a:pos x="connsiteX8701" y="connsiteY8701"/>
                </a:cxn>
                <a:cxn ang="0">
                  <a:pos x="connsiteX8702" y="connsiteY8702"/>
                </a:cxn>
                <a:cxn ang="0">
                  <a:pos x="connsiteX8703" y="connsiteY8703"/>
                </a:cxn>
                <a:cxn ang="0">
                  <a:pos x="connsiteX8704" y="connsiteY8704"/>
                </a:cxn>
                <a:cxn ang="0">
                  <a:pos x="connsiteX8705" y="connsiteY8705"/>
                </a:cxn>
                <a:cxn ang="0">
                  <a:pos x="connsiteX8706" y="connsiteY8706"/>
                </a:cxn>
                <a:cxn ang="0">
                  <a:pos x="connsiteX8707" y="connsiteY8707"/>
                </a:cxn>
                <a:cxn ang="0">
                  <a:pos x="connsiteX8708" y="connsiteY8708"/>
                </a:cxn>
                <a:cxn ang="0">
                  <a:pos x="connsiteX8709" y="connsiteY8709"/>
                </a:cxn>
                <a:cxn ang="0">
                  <a:pos x="connsiteX8710" y="connsiteY8710"/>
                </a:cxn>
                <a:cxn ang="0">
                  <a:pos x="connsiteX8711" y="connsiteY8711"/>
                </a:cxn>
                <a:cxn ang="0">
                  <a:pos x="connsiteX8712" y="connsiteY8712"/>
                </a:cxn>
                <a:cxn ang="0">
                  <a:pos x="connsiteX8713" y="connsiteY8713"/>
                </a:cxn>
                <a:cxn ang="0">
                  <a:pos x="connsiteX8714" y="connsiteY8714"/>
                </a:cxn>
                <a:cxn ang="0">
                  <a:pos x="connsiteX8715" y="connsiteY8715"/>
                </a:cxn>
                <a:cxn ang="0">
                  <a:pos x="connsiteX8716" y="connsiteY8716"/>
                </a:cxn>
                <a:cxn ang="0">
                  <a:pos x="connsiteX8717" y="connsiteY8717"/>
                </a:cxn>
                <a:cxn ang="0">
                  <a:pos x="connsiteX8718" y="connsiteY8718"/>
                </a:cxn>
                <a:cxn ang="0">
                  <a:pos x="connsiteX8719" y="connsiteY8719"/>
                </a:cxn>
                <a:cxn ang="0">
                  <a:pos x="connsiteX8720" y="connsiteY8720"/>
                </a:cxn>
                <a:cxn ang="0">
                  <a:pos x="connsiteX8721" y="connsiteY8721"/>
                </a:cxn>
                <a:cxn ang="0">
                  <a:pos x="connsiteX8722" y="connsiteY8722"/>
                </a:cxn>
                <a:cxn ang="0">
                  <a:pos x="connsiteX8723" y="connsiteY8723"/>
                </a:cxn>
                <a:cxn ang="0">
                  <a:pos x="connsiteX8724" y="connsiteY8724"/>
                </a:cxn>
                <a:cxn ang="0">
                  <a:pos x="connsiteX8725" y="connsiteY8725"/>
                </a:cxn>
                <a:cxn ang="0">
                  <a:pos x="connsiteX8726" y="connsiteY8726"/>
                </a:cxn>
                <a:cxn ang="0">
                  <a:pos x="connsiteX8727" y="connsiteY8727"/>
                </a:cxn>
                <a:cxn ang="0">
                  <a:pos x="connsiteX8728" y="connsiteY8728"/>
                </a:cxn>
                <a:cxn ang="0">
                  <a:pos x="connsiteX8729" y="connsiteY8729"/>
                </a:cxn>
                <a:cxn ang="0">
                  <a:pos x="connsiteX8730" y="connsiteY8730"/>
                </a:cxn>
                <a:cxn ang="0">
                  <a:pos x="connsiteX8731" y="connsiteY8731"/>
                </a:cxn>
                <a:cxn ang="0">
                  <a:pos x="connsiteX8732" y="connsiteY8732"/>
                </a:cxn>
                <a:cxn ang="0">
                  <a:pos x="connsiteX8733" y="connsiteY8733"/>
                </a:cxn>
                <a:cxn ang="0">
                  <a:pos x="connsiteX8734" y="connsiteY8734"/>
                </a:cxn>
                <a:cxn ang="0">
                  <a:pos x="connsiteX8735" y="connsiteY8735"/>
                </a:cxn>
                <a:cxn ang="0">
                  <a:pos x="connsiteX8736" y="connsiteY8736"/>
                </a:cxn>
                <a:cxn ang="0">
                  <a:pos x="connsiteX8737" y="connsiteY8737"/>
                </a:cxn>
                <a:cxn ang="0">
                  <a:pos x="connsiteX8738" y="connsiteY8738"/>
                </a:cxn>
                <a:cxn ang="0">
                  <a:pos x="connsiteX8739" y="connsiteY8739"/>
                </a:cxn>
                <a:cxn ang="0">
                  <a:pos x="connsiteX8740" y="connsiteY8740"/>
                </a:cxn>
                <a:cxn ang="0">
                  <a:pos x="connsiteX8741" y="connsiteY8741"/>
                </a:cxn>
                <a:cxn ang="0">
                  <a:pos x="connsiteX8742" y="connsiteY8742"/>
                </a:cxn>
                <a:cxn ang="0">
                  <a:pos x="connsiteX8743" y="connsiteY8743"/>
                </a:cxn>
                <a:cxn ang="0">
                  <a:pos x="connsiteX8744" y="connsiteY8744"/>
                </a:cxn>
                <a:cxn ang="0">
                  <a:pos x="connsiteX8745" y="connsiteY8745"/>
                </a:cxn>
                <a:cxn ang="0">
                  <a:pos x="connsiteX8746" y="connsiteY8746"/>
                </a:cxn>
                <a:cxn ang="0">
                  <a:pos x="connsiteX8747" y="connsiteY8747"/>
                </a:cxn>
                <a:cxn ang="0">
                  <a:pos x="connsiteX8748" y="connsiteY8748"/>
                </a:cxn>
                <a:cxn ang="0">
                  <a:pos x="connsiteX8749" y="connsiteY8749"/>
                </a:cxn>
                <a:cxn ang="0">
                  <a:pos x="connsiteX8750" y="connsiteY8750"/>
                </a:cxn>
                <a:cxn ang="0">
                  <a:pos x="connsiteX8751" y="connsiteY8751"/>
                </a:cxn>
                <a:cxn ang="0">
                  <a:pos x="connsiteX8752" y="connsiteY8752"/>
                </a:cxn>
                <a:cxn ang="0">
                  <a:pos x="connsiteX8753" y="connsiteY8753"/>
                </a:cxn>
                <a:cxn ang="0">
                  <a:pos x="connsiteX8754" y="connsiteY8754"/>
                </a:cxn>
                <a:cxn ang="0">
                  <a:pos x="connsiteX8755" y="connsiteY8755"/>
                </a:cxn>
                <a:cxn ang="0">
                  <a:pos x="connsiteX8756" y="connsiteY8756"/>
                </a:cxn>
                <a:cxn ang="0">
                  <a:pos x="connsiteX8757" y="connsiteY8757"/>
                </a:cxn>
                <a:cxn ang="0">
                  <a:pos x="connsiteX8758" y="connsiteY8758"/>
                </a:cxn>
                <a:cxn ang="0">
                  <a:pos x="connsiteX8759" y="connsiteY8759"/>
                </a:cxn>
                <a:cxn ang="0">
                  <a:pos x="connsiteX8760" y="connsiteY8760"/>
                </a:cxn>
                <a:cxn ang="0">
                  <a:pos x="connsiteX8761" y="connsiteY8761"/>
                </a:cxn>
                <a:cxn ang="0">
                  <a:pos x="connsiteX8762" y="connsiteY8762"/>
                </a:cxn>
                <a:cxn ang="0">
                  <a:pos x="connsiteX8763" y="connsiteY8763"/>
                </a:cxn>
                <a:cxn ang="0">
                  <a:pos x="connsiteX8764" y="connsiteY8764"/>
                </a:cxn>
                <a:cxn ang="0">
                  <a:pos x="connsiteX8765" y="connsiteY8765"/>
                </a:cxn>
                <a:cxn ang="0">
                  <a:pos x="connsiteX8766" y="connsiteY8766"/>
                </a:cxn>
                <a:cxn ang="0">
                  <a:pos x="connsiteX8767" y="connsiteY8767"/>
                </a:cxn>
                <a:cxn ang="0">
                  <a:pos x="connsiteX8768" y="connsiteY8768"/>
                </a:cxn>
                <a:cxn ang="0">
                  <a:pos x="connsiteX8769" y="connsiteY8769"/>
                </a:cxn>
                <a:cxn ang="0">
                  <a:pos x="connsiteX8770" y="connsiteY8770"/>
                </a:cxn>
                <a:cxn ang="0">
                  <a:pos x="connsiteX8771" y="connsiteY8771"/>
                </a:cxn>
                <a:cxn ang="0">
                  <a:pos x="connsiteX8772" y="connsiteY8772"/>
                </a:cxn>
                <a:cxn ang="0">
                  <a:pos x="connsiteX8773" y="connsiteY8773"/>
                </a:cxn>
                <a:cxn ang="0">
                  <a:pos x="connsiteX8774" y="connsiteY8774"/>
                </a:cxn>
                <a:cxn ang="0">
                  <a:pos x="connsiteX8775" y="connsiteY8775"/>
                </a:cxn>
                <a:cxn ang="0">
                  <a:pos x="connsiteX8776" y="connsiteY8776"/>
                </a:cxn>
                <a:cxn ang="0">
                  <a:pos x="connsiteX8777" y="connsiteY8777"/>
                </a:cxn>
                <a:cxn ang="0">
                  <a:pos x="connsiteX8778" y="connsiteY8778"/>
                </a:cxn>
                <a:cxn ang="0">
                  <a:pos x="connsiteX8779" y="connsiteY8779"/>
                </a:cxn>
                <a:cxn ang="0">
                  <a:pos x="connsiteX8780" y="connsiteY8780"/>
                </a:cxn>
                <a:cxn ang="0">
                  <a:pos x="connsiteX8781" y="connsiteY8781"/>
                </a:cxn>
                <a:cxn ang="0">
                  <a:pos x="connsiteX8782" y="connsiteY8782"/>
                </a:cxn>
                <a:cxn ang="0">
                  <a:pos x="connsiteX8783" y="connsiteY8783"/>
                </a:cxn>
                <a:cxn ang="0">
                  <a:pos x="connsiteX8784" y="connsiteY8784"/>
                </a:cxn>
                <a:cxn ang="0">
                  <a:pos x="connsiteX8785" y="connsiteY8785"/>
                </a:cxn>
                <a:cxn ang="0">
                  <a:pos x="connsiteX8786" y="connsiteY8786"/>
                </a:cxn>
                <a:cxn ang="0">
                  <a:pos x="connsiteX8787" y="connsiteY8787"/>
                </a:cxn>
                <a:cxn ang="0">
                  <a:pos x="connsiteX8788" y="connsiteY8788"/>
                </a:cxn>
                <a:cxn ang="0">
                  <a:pos x="connsiteX8789" y="connsiteY8789"/>
                </a:cxn>
                <a:cxn ang="0">
                  <a:pos x="connsiteX8790" y="connsiteY8790"/>
                </a:cxn>
                <a:cxn ang="0">
                  <a:pos x="connsiteX8791" y="connsiteY8791"/>
                </a:cxn>
                <a:cxn ang="0">
                  <a:pos x="connsiteX8792" y="connsiteY8792"/>
                </a:cxn>
                <a:cxn ang="0">
                  <a:pos x="connsiteX8793" y="connsiteY8793"/>
                </a:cxn>
                <a:cxn ang="0">
                  <a:pos x="connsiteX8794" y="connsiteY8794"/>
                </a:cxn>
                <a:cxn ang="0">
                  <a:pos x="connsiteX8795" y="connsiteY8795"/>
                </a:cxn>
                <a:cxn ang="0">
                  <a:pos x="connsiteX8796" y="connsiteY8796"/>
                </a:cxn>
                <a:cxn ang="0">
                  <a:pos x="connsiteX8797" y="connsiteY8797"/>
                </a:cxn>
                <a:cxn ang="0">
                  <a:pos x="connsiteX8798" y="connsiteY8798"/>
                </a:cxn>
                <a:cxn ang="0">
                  <a:pos x="connsiteX8799" y="connsiteY8799"/>
                </a:cxn>
                <a:cxn ang="0">
                  <a:pos x="connsiteX8800" y="connsiteY8800"/>
                </a:cxn>
                <a:cxn ang="0">
                  <a:pos x="connsiteX8801" y="connsiteY8801"/>
                </a:cxn>
                <a:cxn ang="0">
                  <a:pos x="connsiteX8802" y="connsiteY8802"/>
                </a:cxn>
                <a:cxn ang="0">
                  <a:pos x="connsiteX8803" y="connsiteY8803"/>
                </a:cxn>
                <a:cxn ang="0">
                  <a:pos x="connsiteX8804" y="connsiteY8804"/>
                </a:cxn>
                <a:cxn ang="0">
                  <a:pos x="connsiteX8805" y="connsiteY8805"/>
                </a:cxn>
                <a:cxn ang="0">
                  <a:pos x="connsiteX8806" y="connsiteY8806"/>
                </a:cxn>
                <a:cxn ang="0">
                  <a:pos x="connsiteX8807" y="connsiteY8807"/>
                </a:cxn>
                <a:cxn ang="0">
                  <a:pos x="connsiteX8808" y="connsiteY8808"/>
                </a:cxn>
                <a:cxn ang="0">
                  <a:pos x="connsiteX8809" y="connsiteY8809"/>
                </a:cxn>
                <a:cxn ang="0">
                  <a:pos x="connsiteX8810" y="connsiteY8810"/>
                </a:cxn>
                <a:cxn ang="0">
                  <a:pos x="connsiteX8811" y="connsiteY8811"/>
                </a:cxn>
                <a:cxn ang="0">
                  <a:pos x="connsiteX8812" y="connsiteY8812"/>
                </a:cxn>
                <a:cxn ang="0">
                  <a:pos x="connsiteX8813" y="connsiteY8813"/>
                </a:cxn>
                <a:cxn ang="0">
                  <a:pos x="connsiteX8814" y="connsiteY8814"/>
                </a:cxn>
                <a:cxn ang="0">
                  <a:pos x="connsiteX8815" y="connsiteY8815"/>
                </a:cxn>
                <a:cxn ang="0">
                  <a:pos x="connsiteX8816" y="connsiteY8816"/>
                </a:cxn>
                <a:cxn ang="0">
                  <a:pos x="connsiteX8817" y="connsiteY8817"/>
                </a:cxn>
                <a:cxn ang="0">
                  <a:pos x="connsiteX8818" y="connsiteY8818"/>
                </a:cxn>
                <a:cxn ang="0">
                  <a:pos x="connsiteX8819" y="connsiteY8819"/>
                </a:cxn>
                <a:cxn ang="0">
                  <a:pos x="connsiteX8820" y="connsiteY8820"/>
                </a:cxn>
                <a:cxn ang="0">
                  <a:pos x="connsiteX8821" y="connsiteY8821"/>
                </a:cxn>
                <a:cxn ang="0">
                  <a:pos x="connsiteX8822" y="connsiteY8822"/>
                </a:cxn>
                <a:cxn ang="0">
                  <a:pos x="connsiteX8823" y="connsiteY8823"/>
                </a:cxn>
                <a:cxn ang="0">
                  <a:pos x="connsiteX8824" y="connsiteY8824"/>
                </a:cxn>
                <a:cxn ang="0">
                  <a:pos x="connsiteX8825" y="connsiteY8825"/>
                </a:cxn>
                <a:cxn ang="0">
                  <a:pos x="connsiteX8826" y="connsiteY8826"/>
                </a:cxn>
                <a:cxn ang="0">
                  <a:pos x="connsiteX8827" y="connsiteY8827"/>
                </a:cxn>
                <a:cxn ang="0">
                  <a:pos x="connsiteX8828" y="connsiteY8828"/>
                </a:cxn>
                <a:cxn ang="0">
                  <a:pos x="connsiteX8829" y="connsiteY8829"/>
                </a:cxn>
                <a:cxn ang="0">
                  <a:pos x="connsiteX8830" y="connsiteY8830"/>
                </a:cxn>
                <a:cxn ang="0">
                  <a:pos x="connsiteX8831" y="connsiteY8831"/>
                </a:cxn>
                <a:cxn ang="0">
                  <a:pos x="connsiteX8832" y="connsiteY8832"/>
                </a:cxn>
                <a:cxn ang="0">
                  <a:pos x="connsiteX8833" y="connsiteY8833"/>
                </a:cxn>
                <a:cxn ang="0">
                  <a:pos x="connsiteX8834" y="connsiteY8834"/>
                </a:cxn>
                <a:cxn ang="0">
                  <a:pos x="connsiteX8835" y="connsiteY8835"/>
                </a:cxn>
                <a:cxn ang="0">
                  <a:pos x="connsiteX8836" y="connsiteY8836"/>
                </a:cxn>
                <a:cxn ang="0">
                  <a:pos x="connsiteX8837" y="connsiteY8837"/>
                </a:cxn>
                <a:cxn ang="0">
                  <a:pos x="connsiteX8838" y="connsiteY8838"/>
                </a:cxn>
                <a:cxn ang="0">
                  <a:pos x="connsiteX8839" y="connsiteY8839"/>
                </a:cxn>
                <a:cxn ang="0">
                  <a:pos x="connsiteX8840" y="connsiteY8840"/>
                </a:cxn>
                <a:cxn ang="0">
                  <a:pos x="connsiteX8841" y="connsiteY8841"/>
                </a:cxn>
                <a:cxn ang="0">
                  <a:pos x="connsiteX8842" y="connsiteY8842"/>
                </a:cxn>
                <a:cxn ang="0">
                  <a:pos x="connsiteX8843" y="connsiteY8843"/>
                </a:cxn>
                <a:cxn ang="0">
                  <a:pos x="connsiteX8844" y="connsiteY8844"/>
                </a:cxn>
                <a:cxn ang="0">
                  <a:pos x="connsiteX8845" y="connsiteY8845"/>
                </a:cxn>
                <a:cxn ang="0">
                  <a:pos x="connsiteX8846" y="connsiteY8846"/>
                </a:cxn>
                <a:cxn ang="0">
                  <a:pos x="connsiteX8847" y="connsiteY8847"/>
                </a:cxn>
                <a:cxn ang="0">
                  <a:pos x="connsiteX8848" y="connsiteY8848"/>
                </a:cxn>
                <a:cxn ang="0">
                  <a:pos x="connsiteX8849" y="connsiteY8849"/>
                </a:cxn>
                <a:cxn ang="0">
                  <a:pos x="connsiteX8850" y="connsiteY8850"/>
                </a:cxn>
                <a:cxn ang="0">
                  <a:pos x="connsiteX8851" y="connsiteY8851"/>
                </a:cxn>
                <a:cxn ang="0">
                  <a:pos x="connsiteX8852" y="connsiteY8852"/>
                </a:cxn>
                <a:cxn ang="0">
                  <a:pos x="connsiteX8853" y="connsiteY8853"/>
                </a:cxn>
                <a:cxn ang="0">
                  <a:pos x="connsiteX8854" y="connsiteY8854"/>
                </a:cxn>
                <a:cxn ang="0">
                  <a:pos x="connsiteX8855" y="connsiteY8855"/>
                </a:cxn>
                <a:cxn ang="0">
                  <a:pos x="connsiteX8856" y="connsiteY8856"/>
                </a:cxn>
                <a:cxn ang="0">
                  <a:pos x="connsiteX8857" y="connsiteY8857"/>
                </a:cxn>
                <a:cxn ang="0">
                  <a:pos x="connsiteX8858" y="connsiteY8858"/>
                </a:cxn>
                <a:cxn ang="0">
                  <a:pos x="connsiteX8859" y="connsiteY8859"/>
                </a:cxn>
                <a:cxn ang="0">
                  <a:pos x="connsiteX8860" y="connsiteY8860"/>
                </a:cxn>
                <a:cxn ang="0">
                  <a:pos x="connsiteX8861" y="connsiteY8861"/>
                </a:cxn>
                <a:cxn ang="0">
                  <a:pos x="connsiteX8862" y="connsiteY8862"/>
                </a:cxn>
                <a:cxn ang="0">
                  <a:pos x="connsiteX8863" y="connsiteY8863"/>
                </a:cxn>
                <a:cxn ang="0">
                  <a:pos x="connsiteX8864" y="connsiteY8864"/>
                </a:cxn>
                <a:cxn ang="0">
                  <a:pos x="connsiteX8865" y="connsiteY8865"/>
                </a:cxn>
                <a:cxn ang="0">
                  <a:pos x="connsiteX8866" y="connsiteY8866"/>
                </a:cxn>
                <a:cxn ang="0">
                  <a:pos x="connsiteX8867" y="connsiteY8867"/>
                </a:cxn>
                <a:cxn ang="0">
                  <a:pos x="connsiteX8868" y="connsiteY8868"/>
                </a:cxn>
                <a:cxn ang="0">
                  <a:pos x="connsiteX8869" y="connsiteY8869"/>
                </a:cxn>
                <a:cxn ang="0">
                  <a:pos x="connsiteX8870" y="connsiteY8870"/>
                </a:cxn>
                <a:cxn ang="0">
                  <a:pos x="connsiteX8871" y="connsiteY8871"/>
                </a:cxn>
                <a:cxn ang="0">
                  <a:pos x="connsiteX8872" y="connsiteY8872"/>
                </a:cxn>
                <a:cxn ang="0">
                  <a:pos x="connsiteX8873" y="connsiteY8873"/>
                </a:cxn>
                <a:cxn ang="0">
                  <a:pos x="connsiteX8874" y="connsiteY8874"/>
                </a:cxn>
                <a:cxn ang="0">
                  <a:pos x="connsiteX8875" y="connsiteY8875"/>
                </a:cxn>
                <a:cxn ang="0">
                  <a:pos x="connsiteX8876" y="connsiteY8876"/>
                </a:cxn>
                <a:cxn ang="0">
                  <a:pos x="connsiteX8877" y="connsiteY8877"/>
                </a:cxn>
                <a:cxn ang="0">
                  <a:pos x="connsiteX8878" y="connsiteY8878"/>
                </a:cxn>
                <a:cxn ang="0">
                  <a:pos x="connsiteX8879" y="connsiteY8879"/>
                </a:cxn>
                <a:cxn ang="0">
                  <a:pos x="connsiteX8880" y="connsiteY8880"/>
                </a:cxn>
                <a:cxn ang="0">
                  <a:pos x="connsiteX8881" y="connsiteY8881"/>
                </a:cxn>
                <a:cxn ang="0">
                  <a:pos x="connsiteX8882" y="connsiteY8882"/>
                </a:cxn>
                <a:cxn ang="0">
                  <a:pos x="connsiteX8883" y="connsiteY8883"/>
                </a:cxn>
                <a:cxn ang="0">
                  <a:pos x="connsiteX8884" y="connsiteY8884"/>
                </a:cxn>
                <a:cxn ang="0">
                  <a:pos x="connsiteX8885" y="connsiteY8885"/>
                </a:cxn>
                <a:cxn ang="0">
                  <a:pos x="connsiteX8886" y="connsiteY8886"/>
                </a:cxn>
                <a:cxn ang="0">
                  <a:pos x="connsiteX8887" y="connsiteY8887"/>
                </a:cxn>
                <a:cxn ang="0">
                  <a:pos x="connsiteX8888" y="connsiteY8888"/>
                </a:cxn>
                <a:cxn ang="0">
                  <a:pos x="connsiteX8889" y="connsiteY8889"/>
                </a:cxn>
                <a:cxn ang="0">
                  <a:pos x="connsiteX8890" y="connsiteY8890"/>
                </a:cxn>
                <a:cxn ang="0">
                  <a:pos x="connsiteX8891" y="connsiteY8891"/>
                </a:cxn>
                <a:cxn ang="0">
                  <a:pos x="connsiteX8892" y="connsiteY8892"/>
                </a:cxn>
                <a:cxn ang="0">
                  <a:pos x="connsiteX8893" y="connsiteY8893"/>
                </a:cxn>
                <a:cxn ang="0">
                  <a:pos x="connsiteX8894" y="connsiteY8894"/>
                </a:cxn>
                <a:cxn ang="0">
                  <a:pos x="connsiteX8895" y="connsiteY8895"/>
                </a:cxn>
                <a:cxn ang="0">
                  <a:pos x="connsiteX8896" y="connsiteY8896"/>
                </a:cxn>
                <a:cxn ang="0">
                  <a:pos x="connsiteX8897" y="connsiteY8897"/>
                </a:cxn>
                <a:cxn ang="0">
                  <a:pos x="connsiteX8898" y="connsiteY8898"/>
                </a:cxn>
                <a:cxn ang="0">
                  <a:pos x="connsiteX8899" y="connsiteY8899"/>
                </a:cxn>
                <a:cxn ang="0">
                  <a:pos x="connsiteX8900" y="connsiteY8900"/>
                </a:cxn>
                <a:cxn ang="0">
                  <a:pos x="connsiteX8901" y="connsiteY8901"/>
                </a:cxn>
                <a:cxn ang="0">
                  <a:pos x="connsiteX8902" y="connsiteY8902"/>
                </a:cxn>
                <a:cxn ang="0">
                  <a:pos x="connsiteX8903" y="connsiteY8903"/>
                </a:cxn>
                <a:cxn ang="0">
                  <a:pos x="connsiteX8904" y="connsiteY8904"/>
                </a:cxn>
                <a:cxn ang="0">
                  <a:pos x="connsiteX8905" y="connsiteY8905"/>
                </a:cxn>
                <a:cxn ang="0">
                  <a:pos x="connsiteX8906" y="connsiteY8906"/>
                </a:cxn>
                <a:cxn ang="0">
                  <a:pos x="connsiteX8907" y="connsiteY8907"/>
                </a:cxn>
                <a:cxn ang="0">
                  <a:pos x="connsiteX8908" y="connsiteY8908"/>
                </a:cxn>
                <a:cxn ang="0">
                  <a:pos x="connsiteX8909" y="connsiteY8909"/>
                </a:cxn>
                <a:cxn ang="0">
                  <a:pos x="connsiteX8910" y="connsiteY8910"/>
                </a:cxn>
                <a:cxn ang="0">
                  <a:pos x="connsiteX8911" y="connsiteY8911"/>
                </a:cxn>
                <a:cxn ang="0">
                  <a:pos x="connsiteX8912" y="connsiteY8912"/>
                </a:cxn>
                <a:cxn ang="0">
                  <a:pos x="connsiteX8913" y="connsiteY8913"/>
                </a:cxn>
                <a:cxn ang="0">
                  <a:pos x="connsiteX8914" y="connsiteY8914"/>
                </a:cxn>
                <a:cxn ang="0">
                  <a:pos x="connsiteX8915" y="connsiteY8915"/>
                </a:cxn>
                <a:cxn ang="0">
                  <a:pos x="connsiteX8916" y="connsiteY8916"/>
                </a:cxn>
                <a:cxn ang="0">
                  <a:pos x="connsiteX8917" y="connsiteY8917"/>
                </a:cxn>
                <a:cxn ang="0">
                  <a:pos x="connsiteX8918" y="connsiteY8918"/>
                </a:cxn>
                <a:cxn ang="0">
                  <a:pos x="connsiteX8919" y="connsiteY8919"/>
                </a:cxn>
                <a:cxn ang="0">
                  <a:pos x="connsiteX8920" y="connsiteY8920"/>
                </a:cxn>
                <a:cxn ang="0">
                  <a:pos x="connsiteX8921" y="connsiteY8921"/>
                </a:cxn>
                <a:cxn ang="0">
                  <a:pos x="connsiteX8922" y="connsiteY8922"/>
                </a:cxn>
                <a:cxn ang="0">
                  <a:pos x="connsiteX8923" y="connsiteY8923"/>
                </a:cxn>
                <a:cxn ang="0">
                  <a:pos x="connsiteX8924" y="connsiteY8924"/>
                </a:cxn>
                <a:cxn ang="0">
                  <a:pos x="connsiteX8925" y="connsiteY8925"/>
                </a:cxn>
                <a:cxn ang="0">
                  <a:pos x="connsiteX8926" y="connsiteY8926"/>
                </a:cxn>
                <a:cxn ang="0">
                  <a:pos x="connsiteX8927" y="connsiteY8927"/>
                </a:cxn>
                <a:cxn ang="0">
                  <a:pos x="connsiteX8928" y="connsiteY8928"/>
                </a:cxn>
                <a:cxn ang="0">
                  <a:pos x="connsiteX8929" y="connsiteY8929"/>
                </a:cxn>
                <a:cxn ang="0">
                  <a:pos x="connsiteX8930" y="connsiteY8930"/>
                </a:cxn>
                <a:cxn ang="0">
                  <a:pos x="connsiteX8931" y="connsiteY8931"/>
                </a:cxn>
                <a:cxn ang="0">
                  <a:pos x="connsiteX8932" y="connsiteY8932"/>
                </a:cxn>
                <a:cxn ang="0">
                  <a:pos x="connsiteX8933" y="connsiteY8933"/>
                </a:cxn>
                <a:cxn ang="0">
                  <a:pos x="connsiteX8934" y="connsiteY8934"/>
                </a:cxn>
                <a:cxn ang="0">
                  <a:pos x="connsiteX8935" y="connsiteY8935"/>
                </a:cxn>
                <a:cxn ang="0">
                  <a:pos x="connsiteX8936" y="connsiteY8936"/>
                </a:cxn>
                <a:cxn ang="0">
                  <a:pos x="connsiteX8937" y="connsiteY8937"/>
                </a:cxn>
                <a:cxn ang="0">
                  <a:pos x="connsiteX8938" y="connsiteY8938"/>
                </a:cxn>
                <a:cxn ang="0">
                  <a:pos x="connsiteX8939" y="connsiteY8939"/>
                </a:cxn>
                <a:cxn ang="0">
                  <a:pos x="connsiteX8940" y="connsiteY8940"/>
                </a:cxn>
                <a:cxn ang="0">
                  <a:pos x="connsiteX8941" y="connsiteY8941"/>
                </a:cxn>
                <a:cxn ang="0">
                  <a:pos x="connsiteX8942" y="connsiteY8942"/>
                </a:cxn>
                <a:cxn ang="0">
                  <a:pos x="connsiteX8943" y="connsiteY8943"/>
                </a:cxn>
                <a:cxn ang="0">
                  <a:pos x="connsiteX8944" y="connsiteY8944"/>
                </a:cxn>
                <a:cxn ang="0">
                  <a:pos x="connsiteX8945" y="connsiteY8945"/>
                </a:cxn>
                <a:cxn ang="0">
                  <a:pos x="connsiteX8946" y="connsiteY8946"/>
                </a:cxn>
                <a:cxn ang="0">
                  <a:pos x="connsiteX8947" y="connsiteY8947"/>
                </a:cxn>
                <a:cxn ang="0">
                  <a:pos x="connsiteX8948" y="connsiteY8948"/>
                </a:cxn>
                <a:cxn ang="0">
                  <a:pos x="connsiteX8949" y="connsiteY8949"/>
                </a:cxn>
                <a:cxn ang="0">
                  <a:pos x="connsiteX8950" y="connsiteY8950"/>
                </a:cxn>
                <a:cxn ang="0">
                  <a:pos x="connsiteX8951" y="connsiteY8951"/>
                </a:cxn>
                <a:cxn ang="0">
                  <a:pos x="connsiteX8952" y="connsiteY8952"/>
                </a:cxn>
                <a:cxn ang="0">
                  <a:pos x="connsiteX8953" y="connsiteY8953"/>
                </a:cxn>
                <a:cxn ang="0">
                  <a:pos x="connsiteX8954" y="connsiteY8954"/>
                </a:cxn>
                <a:cxn ang="0">
                  <a:pos x="connsiteX8955" y="connsiteY8955"/>
                </a:cxn>
                <a:cxn ang="0">
                  <a:pos x="connsiteX8956" y="connsiteY8956"/>
                </a:cxn>
                <a:cxn ang="0">
                  <a:pos x="connsiteX8957" y="connsiteY8957"/>
                </a:cxn>
                <a:cxn ang="0">
                  <a:pos x="connsiteX8958" y="connsiteY8958"/>
                </a:cxn>
                <a:cxn ang="0">
                  <a:pos x="connsiteX8959" y="connsiteY8959"/>
                </a:cxn>
                <a:cxn ang="0">
                  <a:pos x="connsiteX8960" y="connsiteY8960"/>
                </a:cxn>
                <a:cxn ang="0">
                  <a:pos x="connsiteX8961" y="connsiteY8961"/>
                </a:cxn>
                <a:cxn ang="0">
                  <a:pos x="connsiteX8962" y="connsiteY8962"/>
                </a:cxn>
                <a:cxn ang="0">
                  <a:pos x="connsiteX8963" y="connsiteY8963"/>
                </a:cxn>
                <a:cxn ang="0">
                  <a:pos x="connsiteX8964" y="connsiteY8964"/>
                </a:cxn>
                <a:cxn ang="0">
                  <a:pos x="connsiteX8965" y="connsiteY8965"/>
                </a:cxn>
                <a:cxn ang="0">
                  <a:pos x="connsiteX8966" y="connsiteY8966"/>
                </a:cxn>
                <a:cxn ang="0">
                  <a:pos x="connsiteX8967" y="connsiteY8967"/>
                </a:cxn>
                <a:cxn ang="0">
                  <a:pos x="connsiteX8968" y="connsiteY8968"/>
                </a:cxn>
                <a:cxn ang="0">
                  <a:pos x="connsiteX8969" y="connsiteY8969"/>
                </a:cxn>
                <a:cxn ang="0">
                  <a:pos x="connsiteX8970" y="connsiteY8970"/>
                </a:cxn>
                <a:cxn ang="0">
                  <a:pos x="connsiteX8971" y="connsiteY8971"/>
                </a:cxn>
                <a:cxn ang="0">
                  <a:pos x="connsiteX8972" y="connsiteY8972"/>
                </a:cxn>
                <a:cxn ang="0">
                  <a:pos x="connsiteX8973" y="connsiteY8973"/>
                </a:cxn>
                <a:cxn ang="0">
                  <a:pos x="connsiteX8974" y="connsiteY8974"/>
                </a:cxn>
                <a:cxn ang="0">
                  <a:pos x="connsiteX8975" y="connsiteY8975"/>
                </a:cxn>
                <a:cxn ang="0">
                  <a:pos x="connsiteX8976" y="connsiteY8976"/>
                </a:cxn>
                <a:cxn ang="0">
                  <a:pos x="connsiteX8977" y="connsiteY8977"/>
                </a:cxn>
                <a:cxn ang="0">
                  <a:pos x="connsiteX8978" y="connsiteY8978"/>
                </a:cxn>
                <a:cxn ang="0">
                  <a:pos x="connsiteX8979" y="connsiteY8979"/>
                </a:cxn>
                <a:cxn ang="0">
                  <a:pos x="connsiteX8980" y="connsiteY8980"/>
                </a:cxn>
                <a:cxn ang="0">
                  <a:pos x="connsiteX8981" y="connsiteY8981"/>
                </a:cxn>
                <a:cxn ang="0">
                  <a:pos x="connsiteX8982" y="connsiteY8982"/>
                </a:cxn>
                <a:cxn ang="0">
                  <a:pos x="connsiteX8983" y="connsiteY8983"/>
                </a:cxn>
                <a:cxn ang="0">
                  <a:pos x="connsiteX8984" y="connsiteY8984"/>
                </a:cxn>
                <a:cxn ang="0">
                  <a:pos x="connsiteX8985" y="connsiteY8985"/>
                </a:cxn>
                <a:cxn ang="0">
                  <a:pos x="connsiteX8986" y="connsiteY8986"/>
                </a:cxn>
                <a:cxn ang="0">
                  <a:pos x="connsiteX8987" y="connsiteY8987"/>
                </a:cxn>
                <a:cxn ang="0">
                  <a:pos x="connsiteX8988" y="connsiteY8988"/>
                </a:cxn>
                <a:cxn ang="0">
                  <a:pos x="connsiteX8989" y="connsiteY8989"/>
                </a:cxn>
                <a:cxn ang="0">
                  <a:pos x="connsiteX8990" y="connsiteY8990"/>
                </a:cxn>
                <a:cxn ang="0">
                  <a:pos x="connsiteX8991" y="connsiteY8991"/>
                </a:cxn>
                <a:cxn ang="0">
                  <a:pos x="connsiteX8992" y="connsiteY8992"/>
                </a:cxn>
                <a:cxn ang="0">
                  <a:pos x="connsiteX8993" y="connsiteY8993"/>
                </a:cxn>
                <a:cxn ang="0">
                  <a:pos x="connsiteX8994" y="connsiteY8994"/>
                </a:cxn>
                <a:cxn ang="0">
                  <a:pos x="connsiteX8995" y="connsiteY8995"/>
                </a:cxn>
                <a:cxn ang="0">
                  <a:pos x="connsiteX8996" y="connsiteY8996"/>
                </a:cxn>
                <a:cxn ang="0">
                  <a:pos x="connsiteX8997" y="connsiteY8997"/>
                </a:cxn>
                <a:cxn ang="0">
                  <a:pos x="connsiteX8998" y="connsiteY8998"/>
                </a:cxn>
                <a:cxn ang="0">
                  <a:pos x="connsiteX8999" y="connsiteY8999"/>
                </a:cxn>
                <a:cxn ang="0">
                  <a:pos x="connsiteX9000" y="connsiteY9000"/>
                </a:cxn>
                <a:cxn ang="0">
                  <a:pos x="connsiteX9001" y="connsiteY9001"/>
                </a:cxn>
                <a:cxn ang="0">
                  <a:pos x="connsiteX9002" y="connsiteY9002"/>
                </a:cxn>
                <a:cxn ang="0">
                  <a:pos x="connsiteX9003" y="connsiteY9003"/>
                </a:cxn>
                <a:cxn ang="0">
                  <a:pos x="connsiteX9004" y="connsiteY9004"/>
                </a:cxn>
                <a:cxn ang="0">
                  <a:pos x="connsiteX9005" y="connsiteY9005"/>
                </a:cxn>
                <a:cxn ang="0">
                  <a:pos x="connsiteX9006" y="connsiteY9006"/>
                </a:cxn>
                <a:cxn ang="0">
                  <a:pos x="connsiteX9007" y="connsiteY9007"/>
                </a:cxn>
                <a:cxn ang="0">
                  <a:pos x="connsiteX9008" y="connsiteY9008"/>
                </a:cxn>
                <a:cxn ang="0">
                  <a:pos x="connsiteX9009" y="connsiteY9009"/>
                </a:cxn>
                <a:cxn ang="0">
                  <a:pos x="connsiteX9010" y="connsiteY9010"/>
                </a:cxn>
                <a:cxn ang="0">
                  <a:pos x="connsiteX9011" y="connsiteY9011"/>
                </a:cxn>
                <a:cxn ang="0">
                  <a:pos x="connsiteX9012" y="connsiteY9012"/>
                </a:cxn>
                <a:cxn ang="0">
                  <a:pos x="connsiteX9013" y="connsiteY9013"/>
                </a:cxn>
                <a:cxn ang="0">
                  <a:pos x="connsiteX9014" y="connsiteY9014"/>
                </a:cxn>
                <a:cxn ang="0">
                  <a:pos x="connsiteX9015" y="connsiteY9015"/>
                </a:cxn>
                <a:cxn ang="0">
                  <a:pos x="connsiteX9016" y="connsiteY9016"/>
                </a:cxn>
                <a:cxn ang="0">
                  <a:pos x="connsiteX9017" y="connsiteY9017"/>
                </a:cxn>
                <a:cxn ang="0">
                  <a:pos x="connsiteX9018" y="connsiteY9018"/>
                </a:cxn>
                <a:cxn ang="0">
                  <a:pos x="connsiteX9019" y="connsiteY9019"/>
                </a:cxn>
                <a:cxn ang="0">
                  <a:pos x="connsiteX9020" y="connsiteY9020"/>
                </a:cxn>
                <a:cxn ang="0">
                  <a:pos x="connsiteX9021" y="connsiteY9021"/>
                </a:cxn>
                <a:cxn ang="0">
                  <a:pos x="connsiteX9022" y="connsiteY9022"/>
                </a:cxn>
                <a:cxn ang="0">
                  <a:pos x="connsiteX9023" y="connsiteY9023"/>
                </a:cxn>
                <a:cxn ang="0">
                  <a:pos x="connsiteX9024" y="connsiteY9024"/>
                </a:cxn>
                <a:cxn ang="0">
                  <a:pos x="connsiteX9025" y="connsiteY9025"/>
                </a:cxn>
                <a:cxn ang="0">
                  <a:pos x="connsiteX9026" y="connsiteY9026"/>
                </a:cxn>
                <a:cxn ang="0">
                  <a:pos x="connsiteX9027" y="connsiteY9027"/>
                </a:cxn>
                <a:cxn ang="0">
                  <a:pos x="connsiteX9028" y="connsiteY9028"/>
                </a:cxn>
                <a:cxn ang="0">
                  <a:pos x="connsiteX9029" y="connsiteY9029"/>
                </a:cxn>
                <a:cxn ang="0">
                  <a:pos x="connsiteX9030" y="connsiteY9030"/>
                </a:cxn>
                <a:cxn ang="0">
                  <a:pos x="connsiteX9031" y="connsiteY9031"/>
                </a:cxn>
                <a:cxn ang="0">
                  <a:pos x="connsiteX9032" y="connsiteY9032"/>
                </a:cxn>
                <a:cxn ang="0">
                  <a:pos x="connsiteX9033" y="connsiteY9033"/>
                </a:cxn>
                <a:cxn ang="0">
                  <a:pos x="connsiteX9034" y="connsiteY9034"/>
                </a:cxn>
                <a:cxn ang="0">
                  <a:pos x="connsiteX9035" y="connsiteY9035"/>
                </a:cxn>
                <a:cxn ang="0">
                  <a:pos x="connsiteX9036" y="connsiteY9036"/>
                </a:cxn>
                <a:cxn ang="0">
                  <a:pos x="connsiteX9037" y="connsiteY9037"/>
                </a:cxn>
                <a:cxn ang="0">
                  <a:pos x="connsiteX9038" y="connsiteY9038"/>
                </a:cxn>
                <a:cxn ang="0">
                  <a:pos x="connsiteX9039" y="connsiteY9039"/>
                </a:cxn>
                <a:cxn ang="0">
                  <a:pos x="connsiteX9040" y="connsiteY9040"/>
                </a:cxn>
                <a:cxn ang="0">
                  <a:pos x="connsiteX9041" y="connsiteY9041"/>
                </a:cxn>
                <a:cxn ang="0">
                  <a:pos x="connsiteX9042" y="connsiteY9042"/>
                </a:cxn>
                <a:cxn ang="0">
                  <a:pos x="connsiteX9043" y="connsiteY9043"/>
                </a:cxn>
                <a:cxn ang="0">
                  <a:pos x="connsiteX9044" y="connsiteY9044"/>
                </a:cxn>
                <a:cxn ang="0">
                  <a:pos x="connsiteX9045" y="connsiteY9045"/>
                </a:cxn>
                <a:cxn ang="0">
                  <a:pos x="connsiteX9046" y="connsiteY9046"/>
                </a:cxn>
                <a:cxn ang="0">
                  <a:pos x="connsiteX9047" y="connsiteY9047"/>
                </a:cxn>
                <a:cxn ang="0">
                  <a:pos x="connsiteX9048" y="connsiteY9048"/>
                </a:cxn>
                <a:cxn ang="0">
                  <a:pos x="connsiteX9049" y="connsiteY9049"/>
                </a:cxn>
                <a:cxn ang="0">
                  <a:pos x="connsiteX9050" y="connsiteY9050"/>
                </a:cxn>
                <a:cxn ang="0">
                  <a:pos x="connsiteX9051" y="connsiteY9051"/>
                </a:cxn>
                <a:cxn ang="0">
                  <a:pos x="connsiteX9052" y="connsiteY9052"/>
                </a:cxn>
                <a:cxn ang="0">
                  <a:pos x="connsiteX9053" y="connsiteY9053"/>
                </a:cxn>
                <a:cxn ang="0">
                  <a:pos x="connsiteX9054" y="connsiteY9054"/>
                </a:cxn>
                <a:cxn ang="0">
                  <a:pos x="connsiteX9055" y="connsiteY9055"/>
                </a:cxn>
                <a:cxn ang="0">
                  <a:pos x="connsiteX9056" y="connsiteY9056"/>
                </a:cxn>
                <a:cxn ang="0">
                  <a:pos x="connsiteX9057" y="connsiteY9057"/>
                </a:cxn>
                <a:cxn ang="0">
                  <a:pos x="connsiteX9058" y="connsiteY9058"/>
                </a:cxn>
                <a:cxn ang="0">
                  <a:pos x="connsiteX9059" y="connsiteY9059"/>
                </a:cxn>
                <a:cxn ang="0">
                  <a:pos x="connsiteX9060" y="connsiteY9060"/>
                </a:cxn>
                <a:cxn ang="0">
                  <a:pos x="connsiteX9061" y="connsiteY9061"/>
                </a:cxn>
                <a:cxn ang="0">
                  <a:pos x="connsiteX9062" y="connsiteY9062"/>
                </a:cxn>
                <a:cxn ang="0">
                  <a:pos x="connsiteX9063" y="connsiteY9063"/>
                </a:cxn>
                <a:cxn ang="0">
                  <a:pos x="connsiteX9064" y="connsiteY9064"/>
                </a:cxn>
                <a:cxn ang="0">
                  <a:pos x="connsiteX9065" y="connsiteY9065"/>
                </a:cxn>
                <a:cxn ang="0">
                  <a:pos x="connsiteX9066" y="connsiteY9066"/>
                </a:cxn>
                <a:cxn ang="0">
                  <a:pos x="connsiteX9067" y="connsiteY9067"/>
                </a:cxn>
                <a:cxn ang="0">
                  <a:pos x="connsiteX9068" y="connsiteY9068"/>
                </a:cxn>
                <a:cxn ang="0">
                  <a:pos x="connsiteX9069" y="connsiteY9069"/>
                </a:cxn>
                <a:cxn ang="0">
                  <a:pos x="connsiteX9070" y="connsiteY9070"/>
                </a:cxn>
                <a:cxn ang="0">
                  <a:pos x="connsiteX9071" y="connsiteY9071"/>
                </a:cxn>
                <a:cxn ang="0">
                  <a:pos x="connsiteX9072" y="connsiteY9072"/>
                </a:cxn>
                <a:cxn ang="0">
                  <a:pos x="connsiteX9073" y="connsiteY9073"/>
                </a:cxn>
                <a:cxn ang="0">
                  <a:pos x="connsiteX9074" y="connsiteY9074"/>
                </a:cxn>
                <a:cxn ang="0">
                  <a:pos x="connsiteX9075" y="connsiteY9075"/>
                </a:cxn>
                <a:cxn ang="0">
                  <a:pos x="connsiteX9076" y="connsiteY9076"/>
                </a:cxn>
                <a:cxn ang="0">
                  <a:pos x="connsiteX9077" y="connsiteY9077"/>
                </a:cxn>
                <a:cxn ang="0">
                  <a:pos x="connsiteX9078" y="connsiteY9078"/>
                </a:cxn>
                <a:cxn ang="0">
                  <a:pos x="connsiteX9079" y="connsiteY9079"/>
                </a:cxn>
                <a:cxn ang="0">
                  <a:pos x="connsiteX9080" y="connsiteY9080"/>
                </a:cxn>
                <a:cxn ang="0">
                  <a:pos x="connsiteX9081" y="connsiteY9081"/>
                </a:cxn>
                <a:cxn ang="0">
                  <a:pos x="connsiteX9082" y="connsiteY9082"/>
                </a:cxn>
                <a:cxn ang="0">
                  <a:pos x="connsiteX9083" y="connsiteY9083"/>
                </a:cxn>
                <a:cxn ang="0">
                  <a:pos x="connsiteX9084" y="connsiteY9084"/>
                </a:cxn>
                <a:cxn ang="0">
                  <a:pos x="connsiteX9085" y="connsiteY9085"/>
                </a:cxn>
                <a:cxn ang="0">
                  <a:pos x="connsiteX9086" y="connsiteY9086"/>
                </a:cxn>
                <a:cxn ang="0">
                  <a:pos x="connsiteX9087" y="connsiteY9087"/>
                </a:cxn>
                <a:cxn ang="0">
                  <a:pos x="connsiteX9088" y="connsiteY9088"/>
                </a:cxn>
                <a:cxn ang="0">
                  <a:pos x="connsiteX9089" y="connsiteY9089"/>
                </a:cxn>
                <a:cxn ang="0">
                  <a:pos x="connsiteX9090" y="connsiteY9090"/>
                </a:cxn>
                <a:cxn ang="0">
                  <a:pos x="connsiteX9091" y="connsiteY9091"/>
                </a:cxn>
                <a:cxn ang="0">
                  <a:pos x="connsiteX9092" y="connsiteY9092"/>
                </a:cxn>
                <a:cxn ang="0">
                  <a:pos x="connsiteX9093" y="connsiteY9093"/>
                </a:cxn>
                <a:cxn ang="0">
                  <a:pos x="connsiteX9094" y="connsiteY9094"/>
                </a:cxn>
                <a:cxn ang="0">
                  <a:pos x="connsiteX9095" y="connsiteY9095"/>
                </a:cxn>
                <a:cxn ang="0">
                  <a:pos x="connsiteX9096" y="connsiteY9096"/>
                </a:cxn>
                <a:cxn ang="0">
                  <a:pos x="connsiteX9097" y="connsiteY9097"/>
                </a:cxn>
                <a:cxn ang="0">
                  <a:pos x="connsiteX9098" y="connsiteY9098"/>
                </a:cxn>
                <a:cxn ang="0">
                  <a:pos x="connsiteX9099" y="connsiteY9099"/>
                </a:cxn>
                <a:cxn ang="0">
                  <a:pos x="connsiteX9100" y="connsiteY9100"/>
                </a:cxn>
                <a:cxn ang="0">
                  <a:pos x="connsiteX9101" y="connsiteY9101"/>
                </a:cxn>
                <a:cxn ang="0">
                  <a:pos x="connsiteX9102" y="connsiteY9102"/>
                </a:cxn>
                <a:cxn ang="0">
                  <a:pos x="connsiteX9103" y="connsiteY9103"/>
                </a:cxn>
                <a:cxn ang="0">
                  <a:pos x="connsiteX9104" y="connsiteY9104"/>
                </a:cxn>
                <a:cxn ang="0">
                  <a:pos x="connsiteX9105" y="connsiteY9105"/>
                </a:cxn>
                <a:cxn ang="0">
                  <a:pos x="connsiteX9106" y="connsiteY9106"/>
                </a:cxn>
                <a:cxn ang="0">
                  <a:pos x="connsiteX9107" y="connsiteY9107"/>
                </a:cxn>
                <a:cxn ang="0">
                  <a:pos x="connsiteX9108" y="connsiteY9108"/>
                </a:cxn>
                <a:cxn ang="0">
                  <a:pos x="connsiteX9109" y="connsiteY9109"/>
                </a:cxn>
                <a:cxn ang="0">
                  <a:pos x="connsiteX9110" y="connsiteY9110"/>
                </a:cxn>
                <a:cxn ang="0">
                  <a:pos x="connsiteX9111" y="connsiteY9111"/>
                </a:cxn>
                <a:cxn ang="0">
                  <a:pos x="connsiteX9112" y="connsiteY9112"/>
                </a:cxn>
                <a:cxn ang="0">
                  <a:pos x="connsiteX9113" y="connsiteY9113"/>
                </a:cxn>
                <a:cxn ang="0">
                  <a:pos x="connsiteX9114" y="connsiteY9114"/>
                </a:cxn>
                <a:cxn ang="0">
                  <a:pos x="connsiteX9115" y="connsiteY9115"/>
                </a:cxn>
                <a:cxn ang="0">
                  <a:pos x="connsiteX9116" y="connsiteY9116"/>
                </a:cxn>
                <a:cxn ang="0">
                  <a:pos x="connsiteX9117" y="connsiteY9117"/>
                </a:cxn>
                <a:cxn ang="0">
                  <a:pos x="connsiteX9118" y="connsiteY9118"/>
                </a:cxn>
                <a:cxn ang="0">
                  <a:pos x="connsiteX9119" y="connsiteY9119"/>
                </a:cxn>
                <a:cxn ang="0">
                  <a:pos x="connsiteX9120" y="connsiteY9120"/>
                </a:cxn>
                <a:cxn ang="0">
                  <a:pos x="connsiteX9121" y="connsiteY9121"/>
                </a:cxn>
                <a:cxn ang="0">
                  <a:pos x="connsiteX9122" y="connsiteY9122"/>
                </a:cxn>
                <a:cxn ang="0">
                  <a:pos x="connsiteX9123" y="connsiteY9123"/>
                </a:cxn>
                <a:cxn ang="0">
                  <a:pos x="connsiteX9124" y="connsiteY9124"/>
                </a:cxn>
                <a:cxn ang="0">
                  <a:pos x="connsiteX9125" y="connsiteY9125"/>
                </a:cxn>
                <a:cxn ang="0">
                  <a:pos x="connsiteX9126" y="connsiteY9126"/>
                </a:cxn>
                <a:cxn ang="0">
                  <a:pos x="connsiteX9127" y="connsiteY9127"/>
                </a:cxn>
                <a:cxn ang="0">
                  <a:pos x="connsiteX9128" y="connsiteY9128"/>
                </a:cxn>
                <a:cxn ang="0">
                  <a:pos x="connsiteX9129" y="connsiteY9129"/>
                </a:cxn>
                <a:cxn ang="0">
                  <a:pos x="connsiteX9130" y="connsiteY9130"/>
                </a:cxn>
                <a:cxn ang="0">
                  <a:pos x="connsiteX9131" y="connsiteY9131"/>
                </a:cxn>
                <a:cxn ang="0">
                  <a:pos x="connsiteX9132" y="connsiteY9132"/>
                </a:cxn>
                <a:cxn ang="0">
                  <a:pos x="connsiteX9133" y="connsiteY9133"/>
                </a:cxn>
                <a:cxn ang="0">
                  <a:pos x="connsiteX9134" y="connsiteY9134"/>
                </a:cxn>
                <a:cxn ang="0">
                  <a:pos x="connsiteX9135" y="connsiteY9135"/>
                </a:cxn>
                <a:cxn ang="0">
                  <a:pos x="connsiteX9136" y="connsiteY9136"/>
                </a:cxn>
                <a:cxn ang="0">
                  <a:pos x="connsiteX9137" y="connsiteY9137"/>
                </a:cxn>
                <a:cxn ang="0">
                  <a:pos x="connsiteX9138" y="connsiteY9138"/>
                </a:cxn>
                <a:cxn ang="0">
                  <a:pos x="connsiteX9139" y="connsiteY9139"/>
                </a:cxn>
                <a:cxn ang="0">
                  <a:pos x="connsiteX9140" y="connsiteY9140"/>
                </a:cxn>
                <a:cxn ang="0">
                  <a:pos x="connsiteX9141" y="connsiteY9141"/>
                </a:cxn>
                <a:cxn ang="0">
                  <a:pos x="connsiteX9142" y="connsiteY9142"/>
                </a:cxn>
                <a:cxn ang="0">
                  <a:pos x="connsiteX9143" y="connsiteY9143"/>
                </a:cxn>
                <a:cxn ang="0">
                  <a:pos x="connsiteX9144" y="connsiteY9144"/>
                </a:cxn>
                <a:cxn ang="0">
                  <a:pos x="connsiteX9145" y="connsiteY9145"/>
                </a:cxn>
                <a:cxn ang="0">
                  <a:pos x="connsiteX9146" y="connsiteY9146"/>
                </a:cxn>
                <a:cxn ang="0">
                  <a:pos x="connsiteX9147" y="connsiteY9147"/>
                </a:cxn>
                <a:cxn ang="0">
                  <a:pos x="connsiteX9148" y="connsiteY9148"/>
                </a:cxn>
                <a:cxn ang="0">
                  <a:pos x="connsiteX9149" y="connsiteY9149"/>
                </a:cxn>
                <a:cxn ang="0">
                  <a:pos x="connsiteX9150" y="connsiteY9150"/>
                </a:cxn>
                <a:cxn ang="0">
                  <a:pos x="connsiteX9151" y="connsiteY9151"/>
                </a:cxn>
                <a:cxn ang="0">
                  <a:pos x="connsiteX9152" y="connsiteY9152"/>
                </a:cxn>
                <a:cxn ang="0">
                  <a:pos x="connsiteX9153" y="connsiteY9153"/>
                </a:cxn>
                <a:cxn ang="0">
                  <a:pos x="connsiteX9154" y="connsiteY9154"/>
                </a:cxn>
                <a:cxn ang="0">
                  <a:pos x="connsiteX9155" y="connsiteY9155"/>
                </a:cxn>
                <a:cxn ang="0">
                  <a:pos x="connsiteX9156" y="connsiteY9156"/>
                </a:cxn>
                <a:cxn ang="0">
                  <a:pos x="connsiteX9157" y="connsiteY9157"/>
                </a:cxn>
                <a:cxn ang="0">
                  <a:pos x="connsiteX9158" y="connsiteY9158"/>
                </a:cxn>
                <a:cxn ang="0">
                  <a:pos x="connsiteX9159" y="connsiteY9159"/>
                </a:cxn>
                <a:cxn ang="0">
                  <a:pos x="connsiteX9160" y="connsiteY9160"/>
                </a:cxn>
                <a:cxn ang="0">
                  <a:pos x="connsiteX9161" y="connsiteY9161"/>
                </a:cxn>
                <a:cxn ang="0">
                  <a:pos x="connsiteX9162" y="connsiteY9162"/>
                </a:cxn>
                <a:cxn ang="0">
                  <a:pos x="connsiteX9163" y="connsiteY9163"/>
                </a:cxn>
                <a:cxn ang="0">
                  <a:pos x="connsiteX9164" y="connsiteY9164"/>
                </a:cxn>
                <a:cxn ang="0">
                  <a:pos x="connsiteX9165" y="connsiteY9165"/>
                </a:cxn>
                <a:cxn ang="0">
                  <a:pos x="connsiteX9166" y="connsiteY9166"/>
                </a:cxn>
                <a:cxn ang="0">
                  <a:pos x="connsiteX9167" y="connsiteY9167"/>
                </a:cxn>
                <a:cxn ang="0">
                  <a:pos x="connsiteX9168" y="connsiteY9168"/>
                </a:cxn>
                <a:cxn ang="0">
                  <a:pos x="connsiteX9169" y="connsiteY9169"/>
                </a:cxn>
                <a:cxn ang="0">
                  <a:pos x="connsiteX9170" y="connsiteY9170"/>
                </a:cxn>
                <a:cxn ang="0">
                  <a:pos x="connsiteX9171" y="connsiteY9171"/>
                </a:cxn>
                <a:cxn ang="0">
                  <a:pos x="connsiteX9172" y="connsiteY9172"/>
                </a:cxn>
                <a:cxn ang="0">
                  <a:pos x="connsiteX9173" y="connsiteY9173"/>
                </a:cxn>
                <a:cxn ang="0">
                  <a:pos x="connsiteX9174" y="connsiteY9174"/>
                </a:cxn>
                <a:cxn ang="0">
                  <a:pos x="connsiteX9175" y="connsiteY9175"/>
                </a:cxn>
                <a:cxn ang="0">
                  <a:pos x="connsiteX9176" y="connsiteY9176"/>
                </a:cxn>
                <a:cxn ang="0">
                  <a:pos x="connsiteX9177" y="connsiteY9177"/>
                </a:cxn>
                <a:cxn ang="0">
                  <a:pos x="connsiteX9178" y="connsiteY9178"/>
                </a:cxn>
                <a:cxn ang="0">
                  <a:pos x="connsiteX9179" y="connsiteY9179"/>
                </a:cxn>
                <a:cxn ang="0">
                  <a:pos x="connsiteX9180" y="connsiteY9180"/>
                </a:cxn>
                <a:cxn ang="0">
                  <a:pos x="connsiteX9181" y="connsiteY9181"/>
                </a:cxn>
                <a:cxn ang="0">
                  <a:pos x="connsiteX9182" y="connsiteY9182"/>
                </a:cxn>
                <a:cxn ang="0">
                  <a:pos x="connsiteX9183" y="connsiteY9183"/>
                </a:cxn>
                <a:cxn ang="0">
                  <a:pos x="connsiteX9184" y="connsiteY9184"/>
                </a:cxn>
                <a:cxn ang="0">
                  <a:pos x="connsiteX9185" y="connsiteY9185"/>
                </a:cxn>
                <a:cxn ang="0">
                  <a:pos x="connsiteX9186" y="connsiteY9186"/>
                </a:cxn>
                <a:cxn ang="0">
                  <a:pos x="connsiteX9187" y="connsiteY9187"/>
                </a:cxn>
                <a:cxn ang="0">
                  <a:pos x="connsiteX9188" y="connsiteY9188"/>
                </a:cxn>
                <a:cxn ang="0">
                  <a:pos x="connsiteX9189" y="connsiteY9189"/>
                </a:cxn>
                <a:cxn ang="0">
                  <a:pos x="connsiteX9190" y="connsiteY9190"/>
                </a:cxn>
                <a:cxn ang="0">
                  <a:pos x="connsiteX9191" y="connsiteY9191"/>
                </a:cxn>
                <a:cxn ang="0">
                  <a:pos x="connsiteX9192" y="connsiteY9192"/>
                </a:cxn>
                <a:cxn ang="0">
                  <a:pos x="connsiteX9193" y="connsiteY9193"/>
                </a:cxn>
                <a:cxn ang="0">
                  <a:pos x="connsiteX9194" y="connsiteY9194"/>
                </a:cxn>
                <a:cxn ang="0">
                  <a:pos x="connsiteX9195" y="connsiteY9195"/>
                </a:cxn>
                <a:cxn ang="0">
                  <a:pos x="connsiteX9196" y="connsiteY9196"/>
                </a:cxn>
                <a:cxn ang="0">
                  <a:pos x="connsiteX9197" y="connsiteY9197"/>
                </a:cxn>
                <a:cxn ang="0">
                  <a:pos x="connsiteX9198" y="connsiteY9198"/>
                </a:cxn>
                <a:cxn ang="0">
                  <a:pos x="connsiteX9199" y="connsiteY9199"/>
                </a:cxn>
                <a:cxn ang="0">
                  <a:pos x="connsiteX9200" y="connsiteY9200"/>
                </a:cxn>
                <a:cxn ang="0">
                  <a:pos x="connsiteX9201" y="connsiteY9201"/>
                </a:cxn>
                <a:cxn ang="0">
                  <a:pos x="connsiteX9202" y="connsiteY9202"/>
                </a:cxn>
                <a:cxn ang="0">
                  <a:pos x="connsiteX9203" y="connsiteY9203"/>
                </a:cxn>
                <a:cxn ang="0">
                  <a:pos x="connsiteX9204" y="connsiteY9204"/>
                </a:cxn>
                <a:cxn ang="0">
                  <a:pos x="connsiteX9205" y="connsiteY9205"/>
                </a:cxn>
                <a:cxn ang="0">
                  <a:pos x="connsiteX9206" y="connsiteY9206"/>
                </a:cxn>
                <a:cxn ang="0">
                  <a:pos x="connsiteX9207" y="connsiteY9207"/>
                </a:cxn>
                <a:cxn ang="0">
                  <a:pos x="connsiteX9208" y="connsiteY9208"/>
                </a:cxn>
                <a:cxn ang="0">
                  <a:pos x="connsiteX9209" y="connsiteY9209"/>
                </a:cxn>
                <a:cxn ang="0">
                  <a:pos x="connsiteX9210" y="connsiteY9210"/>
                </a:cxn>
                <a:cxn ang="0">
                  <a:pos x="connsiteX9211" y="connsiteY9211"/>
                </a:cxn>
                <a:cxn ang="0">
                  <a:pos x="connsiteX9212" y="connsiteY9212"/>
                </a:cxn>
                <a:cxn ang="0">
                  <a:pos x="connsiteX9213" y="connsiteY9213"/>
                </a:cxn>
                <a:cxn ang="0">
                  <a:pos x="connsiteX9214" y="connsiteY9214"/>
                </a:cxn>
                <a:cxn ang="0">
                  <a:pos x="connsiteX9215" y="connsiteY9215"/>
                </a:cxn>
                <a:cxn ang="0">
                  <a:pos x="connsiteX9216" y="connsiteY9216"/>
                </a:cxn>
                <a:cxn ang="0">
                  <a:pos x="connsiteX9217" y="connsiteY9217"/>
                </a:cxn>
                <a:cxn ang="0">
                  <a:pos x="connsiteX9218" y="connsiteY9218"/>
                </a:cxn>
                <a:cxn ang="0">
                  <a:pos x="connsiteX9219" y="connsiteY9219"/>
                </a:cxn>
                <a:cxn ang="0">
                  <a:pos x="connsiteX9220" y="connsiteY9220"/>
                </a:cxn>
                <a:cxn ang="0">
                  <a:pos x="connsiteX9221" y="connsiteY9221"/>
                </a:cxn>
                <a:cxn ang="0">
                  <a:pos x="connsiteX9222" y="connsiteY9222"/>
                </a:cxn>
                <a:cxn ang="0">
                  <a:pos x="connsiteX9223" y="connsiteY9223"/>
                </a:cxn>
                <a:cxn ang="0">
                  <a:pos x="connsiteX9224" y="connsiteY9224"/>
                </a:cxn>
                <a:cxn ang="0">
                  <a:pos x="connsiteX9225" y="connsiteY9225"/>
                </a:cxn>
                <a:cxn ang="0">
                  <a:pos x="connsiteX9226" y="connsiteY9226"/>
                </a:cxn>
                <a:cxn ang="0">
                  <a:pos x="connsiteX9227" y="connsiteY9227"/>
                </a:cxn>
                <a:cxn ang="0">
                  <a:pos x="connsiteX9228" y="connsiteY9228"/>
                </a:cxn>
                <a:cxn ang="0">
                  <a:pos x="connsiteX9229" y="connsiteY9229"/>
                </a:cxn>
                <a:cxn ang="0">
                  <a:pos x="connsiteX9230" y="connsiteY9230"/>
                </a:cxn>
                <a:cxn ang="0">
                  <a:pos x="connsiteX9231" y="connsiteY9231"/>
                </a:cxn>
                <a:cxn ang="0">
                  <a:pos x="connsiteX9232" y="connsiteY9232"/>
                </a:cxn>
                <a:cxn ang="0">
                  <a:pos x="connsiteX9233" y="connsiteY9233"/>
                </a:cxn>
                <a:cxn ang="0">
                  <a:pos x="connsiteX9234" y="connsiteY9234"/>
                </a:cxn>
                <a:cxn ang="0">
                  <a:pos x="connsiteX9235" y="connsiteY9235"/>
                </a:cxn>
                <a:cxn ang="0">
                  <a:pos x="connsiteX9236" y="connsiteY9236"/>
                </a:cxn>
                <a:cxn ang="0">
                  <a:pos x="connsiteX9237" y="connsiteY9237"/>
                </a:cxn>
                <a:cxn ang="0">
                  <a:pos x="connsiteX9238" y="connsiteY9238"/>
                </a:cxn>
                <a:cxn ang="0">
                  <a:pos x="connsiteX9239" y="connsiteY9239"/>
                </a:cxn>
                <a:cxn ang="0">
                  <a:pos x="connsiteX9240" y="connsiteY9240"/>
                </a:cxn>
                <a:cxn ang="0">
                  <a:pos x="connsiteX9241" y="connsiteY9241"/>
                </a:cxn>
                <a:cxn ang="0">
                  <a:pos x="connsiteX9242" y="connsiteY9242"/>
                </a:cxn>
                <a:cxn ang="0">
                  <a:pos x="connsiteX9243" y="connsiteY9243"/>
                </a:cxn>
                <a:cxn ang="0">
                  <a:pos x="connsiteX9244" y="connsiteY9244"/>
                </a:cxn>
                <a:cxn ang="0">
                  <a:pos x="connsiteX9245" y="connsiteY9245"/>
                </a:cxn>
                <a:cxn ang="0">
                  <a:pos x="connsiteX9246" y="connsiteY9246"/>
                </a:cxn>
                <a:cxn ang="0">
                  <a:pos x="connsiteX9247" y="connsiteY9247"/>
                </a:cxn>
                <a:cxn ang="0">
                  <a:pos x="connsiteX9248" y="connsiteY9248"/>
                </a:cxn>
                <a:cxn ang="0">
                  <a:pos x="connsiteX9249" y="connsiteY9249"/>
                </a:cxn>
                <a:cxn ang="0">
                  <a:pos x="connsiteX9250" y="connsiteY9250"/>
                </a:cxn>
                <a:cxn ang="0">
                  <a:pos x="connsiteX9251" y="connsiteY9251"/>
                </a:cxn>
                <a:cxn ang="0">
                  <a:pos x="connsiteX9252" y="connsiteY9252"/>
                </a:cxn>
                <a:cxn ang="0">
                  <a:pos x="connsiteX9253" y="connsiteY9253"/>
                </a:cxn>
                <a:cxn ang="0">
                  <a:pos x="connsiteX9254" y="connsiteY9254"/>
                </a:cxn>
                <a:cxn ang="0">
                  <a:pos x="connsiteX9255" y="connsiteY9255"/>
                </a:cxn>
                <a:cxn ang="0">
                  <a:pos x="connsiteX9256" y="connsiteY9256"/>
                </a:cxn>
                <a:cxn ang="0">
                  <a:pos x="connsiteX9257" y="connsiteY9257"/>
                </a:cxn>
                <a:cxn ang="0">
                  <a:pos x="connsiteX9258" y="connsiteY9258"/>
                </a:cxn>
                <a:cxn ang="0">
                  <a:pos x="connsiteX9259" y="connsiteY9259"/>
                </a:cxn>
                <a:cxn ang="0">
                  <a:pos x="connsiteX9260" y="connsiteY9260"/>
                </a:cxn>
                <a:cxn ang="0">
                  <a:pos x="connsiteX9261" y="connsiteY9261"/>
                </a:cxn>
                <a:cxn ang="0">
                  <a:pos x="connsiteX9262" y="connsiteY9262"/>
                </a:cxn>
                <a:cxn ang="0">
                  <a:pos x="connsiteX9263" y="connsiteY9263"/>
                </a:cxn>
                <a:cxn ang="0">
                  <a:pos x="connsiteX9264" y="connsiteY9264"/>
                </a:cxn>
                <a:cxn ang="0">
                  <a:pos x="connsiteX9265" y="connsiteY9265"/>
                </a:cxn>
                <a:cxn ang="0">
                  <a:pos x="connsiteX9266" y="connsiteY9266"/>
                </a:cxn>
                <a:cxn ang="0">
                  <a:pos x="connsiteX9267" y="connsiteY9267"/>
                </a:cxn>
                <a:cxn ang="0">
                  <a:pos x="connsiteX9268" y="connsiteY9268"/>
                </a:cxn>
                <a:cxn ang="0">
                  <a:pos x="connsiteX9269" y="connsiteY9269"/>
                </a:cxn>
                <a:cxn ang="0">
                  <a:pos x="connsiteX9270" y="connsiteY9270"/>
                </a:cxn>
                <a:cxn ang="0">
                  <a:pos x="connsiteX9271" y="connsiteY9271"/>
                </a:cxn>
                <a:cxn ang="0">
                  <a:pos x="connsiteX9272" y="connsiteY9272"/>
                </a:cxn>
                <a:cxn ang="0">
                  <a:pos x="connsiteX9273" y="connsiteY9273"/>
                </a:cxn>
                <a:cxn ang="0">
                  <a:pos x="connsiteX9274" y="connsiteY9274"/>
                </a:cxn>
                <a:cxn ang="0">
                  <a:pos x="connsiteX9275" y="connsiteY9275"/>
                </a:cxn>
                <a:cxn ang="0">
                  <a:pos x="connsiteX9276" y="connsiteY9276"/>
                </a:cxn>
                <a:cxn ang="0">
                  <a:pos x="connsiteX9277" y="connsiteY9277"/>
                </a:cxn>
                <a:cxn ang="0">
                  <a:pos x="connsiteX9278" y="connsiteY9278"/>
                </a:cxn>
                <a:cxn ang="0">
                  <a:pos x="connsiteX9279" y="connsiteY9279"/>
                </a:cxn>
                <a:cxn ang="0">
                  <a:pos x="connsiteX9280" y="connsiteY9280"/>
                </a:cxn>
                <a:cxn ang="0">
                  <a:pos x="connsiteX9281" y="connsiteY9281"/>
                </a:cxn>
                <a:cxn ang="0">
                  <a:pos x="connsiteX9282" y="connsiteY9282"/>
                </a:cxn>
                <a:cxn ang="0">
                  <a:pos x="connsiteX9283" y="connsiteY9283"/>
                </a:cxn>
                <a:cxn ang="0">
                  <a:pos x="connsiteX9284" y="connsiteY9284"/>
                </a:cxn>
                <a:cxn ang="0">
                  <a:pos x="connsiteX9285" y="connsiteY9285"/>
                </a:cxn>
                <a:cxn ang="0">
                  <a:pos x="connsiteX9286" y="connsiteY9286"/>
                </a:cxn>
                <a:cxn ang="0">
                  <a:pos x="connsiteX9287" y="connsiteY9287"/>
                </a:cxn>
                <a:cxn ang="0">
                  <a:pos x="connsiteX9288" y="connsiteY9288"/>
                </a:cxn>
                <a:cxn ang="0">
                  <a:pos x="connsiteX9289" y="connsiteY9289"/>
                </a:cxn>
                <a:cxn ang="0">
                  <a:pos x="connsiteX9290" y="connsiteY9290"/>
                </a:cxn>
                <a:cxn ang="0">
                  <a:pos x="connsiteX9291" y="connsiteY9291"/>
                </a:cxn>
                <a:cxn ang="0">
                  <a:pos x="connsiteX9292" y="connsiteY9292"/>
                </a:cxn>
                <a:cxn ang="0">
                  <a:pos x="connsiteX9293" y="connsiteY9293"/>
                </a:cxn>
                <a:cxn ang="0">
                  <a:pos x="connsiteX9294" y="connsiteY9294"/>
                </a:cxn>
                <a:cxn ang="0">
                  <a:pos x="connsiteX9295" y="connsiteY9295"/>
                </a:cxn>
                <a:cxn ang="0">
                  <a:pos x="connsiteX9296" y="connsiteY9296"/>
                </a:cxn>
                <a:cxn ang="0">
                  <a:pos x="connsiteX9297" y="connsiteY9297"/>
                </a:cxn>
                <a:cxn ang="0">
                  <a:pos x="connsiteX9298" y="connsiteY9298"/>
                </a:cxn>
                <a:cxn ang="0">
                  <a:pos x="connsiteX9299" y="connsiteY9299"/>
                </a:cxn>
                <a:cxn ang="0">
                  <a:pos x="connsiteX9300" y="connsiteY9300"/>
                </a:cxn>
                <a:cxn ang="0">
                  <a:pos x="connsiteX9301" y="connsiteY9301"/>
                </a:cxn>
                <a:cxn ang="0">
                  <a:pos x="connsiteX9302" y="connsiteY9302"/>
                </a:cxn>
                <a:cxn ang="0">
                  <a:pos x="connsiteX9303" y="connsiteY9303"/>
                </a:cxn>
                <a:cxn ang="0">
                  <a:pos x="connsiteX9304" y="connsiteY9304"/>
                </a:cxn>
                <a:cxn ang="0">
                  <a:pos x="connsiteX9305" y="connsiteY9305"/>
                </a:cxn>
                <a:cxn ang="0">
                  <a:pos x="connsiteX9306" y="connsiteY9306"/>
                </a:cxn>
                <a:cxn ang="0">
                  <a:pos x="connsiteX9307" y="connsiteY9307"/>
                </a:cxn>
                <a:cxn ang="0">
                  <a:pos x="connsiteX9308" y="connsiteY9308"/>
                </a:cxn>
                <a:cxn ang="0">
                  <a:pos x="connsiteX9309" y="connsiteY9309"/>
                </a:cxn>
                <a:cxn ang="0">
                  <a:pos x="connsiteX9310" y="connsiteY9310"/>
                </a:cxn>
                <a:cxn ang="0">
                  <a:pos x="connsiteX9311" y="connsiteY9311"/>
                </a:cxn>
                <a:cxn ang="0">
                  <a:pos x="connsiteX9312" y="connsiteY9312"/>
                </a:cxn>
                <a:cxn ang="0">
                  <a:pos x="connsiteX9313" y="connsiteY9313"/>
                </a:cxn>
                <a:cxn ang="0">
                  <a:pos x="connsiteX9314" y="connsiteY9314"/>
                </a:cxn>
                <a:cxn ang="0">
                  <a:pos x="connsiteX9315" y="connsiteY9315"/>
                </a:cxn>
                <a:cxn ang="0">
                  <a:pos x="connsiteX9316" y="connsiteY9316"/>
                </a:cxn>
                <a:cxn ang="0">
                  <a:pos x="connsiteX9317" y="connsiteY9317"/>
                </a:cxn>
                <a:cxn ang="0">
                  <a:pos x="connsiteX9318" y="connsiteY9318"/>
                </a:cxn>
                <a:cxn ang="0">
                  <a:pos x="connsiteX9319" y="connsiteY9319"/>
                </a:cxn>
                <a:cxn ang="0">
                  <a:pos x="connsiteX9320" y="connsiteY9320"/>
                </a:cxn>
                <a:cxn ang="0">
                  <a:pos x="connsiteX9321" y="connsiteY9321"/>
                </a:cxn>
                <a:cxn ang="0">
                  <a:pos x="connsiteX9322" y="connsiteY9322"/>
                </a:cxn>
                <a:cxn ang="0">
                  <a:pos x="connsiteX9323" y="connsiteY9323"/>
                </a:cxn>
                <a:cxn ang="0">
                  <a:pos x="connsiteX9324" y="connsiteY9324"/>
                </a:cxn>
                <a:cxn ang="0">
                  <a:pos x="connsiteX9325" y="connsiteY9325"/>
                </a:cxn>
                <a:cxn ang="0">
                  <a:pos x="connsiteX9326" y="connsiteY9326"/>
                </a:cxn>
                <a:cxn ang="0">
                  <a:pos x="connsiteX9327" y="connsiteY9327"/>
                </a:cxn>
                <a:cxn ang="0">
                  <a:pos x="connsiteX9328" y="connsiteY9328"/>
                </a:cxn>
                <a:cxn ang="0">
                  <a:pos x="connsiteX9329" y="connsiteY9329"/>
                </a:cxn>
                <a:cxn ang="0">
                  <a:pos x="connsiteX9330" y="connsiteY9330"/>
                </a:cxn>
                <a:cxn ang="0">
                  <a:pos x="connsiteX9331" y="connsiteY9331"/>
                </a:cxn>
                <a:cxn ang="0">
                  <a:pos x="connsiteX9332" y="connsiteY9332"/>
                </a:cxn>
                <a:cxn ang="0">
                  <a:pos x="connsiteX9333" y="connsiteY9333"/>
                </a:cxn>
                <a:cxn ang="0">
                  <a:pos x="connsiteX9334" y="connsiteY9334"/>
                </a:cxn>
                <a:cxn ang="0">
                  <a:pos x="connsiteX9335" y="connsiteY9335"/>
                </a:cxn>
                <a:cxn ang="0">
                  <a:pos x="connsiteX9336" y="connsiteY9336"/>
                </a:cxn>
                <a:cxn ang="0">
                  <a:pos x="connsiteX9337" y="connsiteY9337"/>
                </a:cxn>
                <a:cxn ang="0">
                  <a:pos x="connsiteX9338" y="connsiteY9338"/>
                </a:cxn>
                <a:cxn ang="0">
                  <a:pos x="connsiteX9339" y="connsiteY9339"/>
                </a:cxn>
                <a:cxn ang="0">
                  <a:pos x="connsiteX9340" y="connsiteY9340"/>
                </a:cxn>
                <a:cxn ang="0">
                  <a:pos x="connsiteX9341" y="connsiteY9341"/>
                </a:cxn>
                <a:cxn ang="0">
                  <a:pos x="connsiteX9342" y="connsiteY9342"/>
                </a:cxn>
                <a:cxn ang="0">
                  <a:pos x="connsiteX9343" y="connsiteY9343"/>
                </a:cxn>
                <a:cxn ang="0">
                  <a:pos x="connsiteX9344" y="connsiteY9344"/>
                </a:cxn>
                <a:cxn ang="0">
                  <a:pos x="connsiteX9345" y="connsiteY9345"/>
                </a:cxn>
                <a:cxn ang="0">
                  <a:pos x="connsiteX9346" y="connsiteY9346"/>
                </a:cxn>
                <a:cxn ang="0">
                  <a:pos x="connsiteX9347" y="connsiteY9347"/>
                </a:cxn>
                <a:cxn ang="0">
                  <a:pos x="connsiteX9348" y="connsiteY9348"/>
                </a:cxn>
                <a:cxn ang="0">
                  <a:pos x="connsiteX9349" y="connsiteY9349"/>
                </a:cxn>
                <a:cxn ang="0">
                  <a:pos x="connsiteX9350" y="connsiteY9350"/>
                </a:cxn>
                <a:cxn ang="0">
                  <a:pos x="connsiteX9351" y="connsiteY9351"/>
                </a:cxn>
                <a:cxn ang="0">
                  <a:pos x="connsiteX9352" y="connsiteY9352"/>
                </a:cxn>
                <a:cxn ang="0">
                  <a:pos x="connsiteX9353" y="connsiteY9353"/>
                </a:cxn>
                <a:cxn ang="0">
                  <a:pos x="connsiteX9354" y="connsiteY9354"/>
                </a:cxn>
                <a:cxn ang="0">
                  <a:pos x="connsiteX9355" y="connsiteY9355"/>
                </a:cxn>
                <a:cxn ang="0">
                  <a:pos x="connsiteX9356" y="connsiteY9356"/>
                </a:cxn>
                <a:cxn ang="0">
                  <a:pos x="connsiteX9357" y="connsiteY9357"/>
                </a:cxn>
                <a:cxn ang="0">
                  <a:pos x="connsiteX9358" y="connsiteY9358"/>
                </a:cxn>
                <a:cxn ang="0">
                  <a:pos x="connsiteX9359" y="connsiteY9359"/>
                </a:cxn>
                <a:cxn ang="0">
                  <a:pos x="connsiteX9360" y="connsiteY9360"/>
                </a:cxn>
                <a:cxn ang="0">
                  <a:pos x="connsiteX9361" y="connsiteY9361"/>
                </a:cxn>
                <a:cxn ang="0">
                  <a:pos x="connsiteX9362" y="connsiteY9362"/>
                </a:cxn>
                <a:cxn ang="0">
                  <a:pos x="connsiteX9363" y="connsiteY9363"/>
                </a:cxn>
                <a:cxn ang="0">
                  <a:pos x="connsiteX9364" y="connsiteY9364"/>
                </a:cxn>
                <a:cxn ang="0">
                  <a:pos x="connsiteX9365" y="connsiteY9365"/>
                </a:cxn>
                <a:cxn ang="0">
                  <a:pos x="connsiteX9366" y="connsiteY9366"/>
                </a:cxn>
                <a:cxn ang="0">
                  <a:pos x="connsiteX9367" y="connsiteY9367"/>
                </a:cxn>
                <a:cxn ang="0">
                  <a:pos x="connsiteX9368" y="connsiteY9368"/>
                </a:cxn>
                <a:cxn ang="0">
                  <a:pos x="connsiteX9369" y="connsiteY9369"/>
                </a:cxn>
                <a:cxn ang="0">
                  <a:pos x="connsiteX9370" y="connsiteY9370"/>
                </a:cxn>
                <a:cxn ang="0">
                  <a:pos x="connsiteX9371" y="connsiteY9371"/>
                </a:cxn>
                <a:cxn ang="0">
                  <a:pos x="connsiteX9372" y="connsiteY9372"/>
                </a:cxn>
                <a:cxn ang="0">
                  <a:pos x="connsiteX9373" y="connsiteY9373"/>
                </a:cxn>
                <a:cxn ang="0">
                  <a:pos x="connsiteX9374" y="connsiteY9374"/>
                </a:cxn>
                <a:cxn ang="0">
                  <a:pos x="connsiteX9375" y="connsiteY9375"/>
                </a:cxn>
                <a:cxn ang="0">
                  <a:pos x="connsiteX9376" y="connsiteY9376"/>
                </a:cxn>
                <a:cxn ang="0">
                  <a:pos x="connsiteX9377" y="connsiteY9377"/>
                </a:cxn>
                <a:cxn ang="0">
                  <a:pos x="connsiteX9378" y="connsiteY9378"/>
                </a:cxn>
                <a:cxn ang="0">
                  <a:pos x="connsiteX9379" y="connsiteY9379"/>
                </a:cxn>
                <a:cxn ang="0">
                  <a:pos x="connsiteX9380" y="connsiteY9380"/>
                </a:cxn>
                <a:cxn ang="0">
                  <a:pos x="connsiteX9381" y="connsiteY9381"/>
                </a:cxn>
                <a:cxn ang="0">
                  <a:pos x="connsiteX9382" y="connsiteY9382"/>
                </a:cxn>
                <a:cxn ang="0">
                  <a:pos x="connsiteX9383" y="connsiteY9383"/>
                </a:cxn>
                <a:cxn ang="0">
                  <a:pos x="connsiteX9384" y="connsiteY9384"/>
                </a:cxn>
                <a:cxn ang="0">
                  <a:pos x="connsiteX9385" y="connsiteY9385"/>
                </a:cxn>
                <a:cxn ang="0">
                  <a:pos x="connsiteX9386" y="connsiteY9386"/>
                </a:cxn>
                <a:cxn ang="0">
                  <a:pos x="connsiteX9387" y="connsiteY9387"/>
                </a:cxn>
                <a:cxn ang="0">
                  <a:pos x="connsiteX9388" y="connsiteY9388"/>
                </a:cxn>
                <a:cxn ang="0">
                  <a:pos x="connsiteX9389" y="connsiteY9389"/>
                </a:cxn>
                <a:cxn ang="0">
                  <a:pos x="connsiteX9390" y="connsiteY9390"/>
                </a:cxn>
                <a:cxn ang="0">
                  <a:pos x="connsiteX9391" y="connsiteY9391"/>
                </a:cxn>
                <a:cxn ang="0">
                  <a:pos x="connsiteX9392" y="connsiteY9392"/>
                </a:cxn>
                <a:cxn ang="0">
                  <a:pos x="connsiteX9393" y="connsiteY9393"/>
                </a:cxn>
                <a:cxn ang="0">
                  <a:pos x="connsiteX9394" y="connsiteY9394"/>
                </a:cxn>
                <a:cxn ang="0">
                  <a:pos x="connsiteX9395" y="connsiteY9395"/>
                </a:cxn>
                <a:cxn ang="0">
                  <a:pos x="connsiteX9396" y="connsiteY9396"/>
                </a:cxn>
                <a:cxn ang="0">
                  <a:pos x="connsiteX9397" y="connsiteY9397"/>
                </a:cxn>
                <a:cxn ang="0">
                  <a:pos x="connsiteX9398" y="connsiteY9398"/>
                </a:cxn>
                <a:cxn ang="0">
                  <a:pos x="connsiteX9399" y="connsiteY9399"/>
                </a:cxn>
                <a:cxn ang="0">
                  <a:pos x="connsiteX9400" y="connsiteY9400"/>
                </a:cxn>
                <a:cxn ang="0">
                  <a:pos x="connsiteX9401" y="connsiteY9401"/>
                </a:cxn>
                <a:cxn ang="0">
                  <a:pos x="connsiteX9402" y="connsiteY9402"/>
                </a:cxn>
                <a:cxn ang="0">
                  <a:pos x="connsiteX9403" y="connsiteY9403"/>
                </a:cxn>
                <a:cxn ang="0">
                  <a:pos x="connsiteX9404" y="connsiteY9404"/>
                </a:cxn>
                <a:cxn ang="0">
                  <a:pos x="connsiteX9405" y="connsiteY9405"/>
                </a:cxn>
                <a:cxn ang="0">
                  <a:pos x="connsiteX9406" y="connsiteY9406"/>
                </a:cxn>
                <a:cxn ang="0">
                  <a:pos x="connsiteX9407" y="connsiteY9407"/>
                </a:cxn>
                <a:cxn ang="0">
                  <a:pos x="connsiteX9408" y="connsiteY9408"/>
                </a:cxn>
                <a:cxn ang="0">
                  <a:pos x="connsiteX9409" y="connsiteY9409"/>
                </a:cxn>
                <a:cxn ang="0">
                  <a:pos x="connsiteX9410" y="connsiteY9410"/>
                </a:cxn>
                <a:cxn ang="0">
                  <a:pos x="connsiteX9411" y="connsiteY9411"/>
                </a:cxn>
                <a:cxn ang="0">
                  <a:pos x="connsiteX9412" y="connsiteY9412"/>
                </a:cxn>
                <a:cxn ang="0">
                  <a:pos x="connsiteX9413" y="connsiteY9413"/>
                </a:cxn>
                <a:cxn ang="0">
                  <a:pos x="connsiteX9414" y="connsiteY9414"/>
                </a:cxn>
                <a:cxn ang="0">
                  <a:pos x="connsiteX9415" y="connsiteY9415"/>
                </a:cxn>
                <a:cxn ang="0">
                  <a:pos x="connsiteX9416" y="connsiteY9416"/>
                </a:cxn>
                <a:cxn ang="0">
                  <a:pos x="connsiteX9417" y="connsiteY9417"/>
                </a:cxn>
                <a:cxn ang="0">
                  <a:pos x="connsiteX9418" y="connsiteY9418"/>
                </a:cxn>
                <a:cxn ang="0">
                  <a:pos x="connsiteX9419" y="connsiteY9419"/>
                </a:cxn>
                <a:cxn ang="0">
                  <a:pos x="connsiteX9420" y="connsiteY9420"/>
                </a:cxn>
                <a:cxn ang="0">
                  <a:pos x="connsiteX9421" y="connsiteY9421"/>
                </a:cxn>
                <a:cxn ang="0">
                  <a:pos x="connsiteX9422" y="connsiteY9422"/>
                </a:cxn>
                <a:cxn ang="0">
                  <a:pos x="connsiteX9423" y="connsiteY9423"/>
                </a:cxn>
                <a:cxn ang="0">
                  <a:pos x="connsiteX9424" y="connsiteY9424"/>
                </a:cxn>
                <a:cxn ang="0">
                  <a:pos x="connsiteX9425" y="connsiteY9425"/>
                </a:cxn>
                <a:cxn ang="0">
                  <a:pos x="connsiteX9426" y="connsiteY9426"/>
                </a:cxn>
                <a:cxn ang="0">
                  <a:pos x="connsiteX9427" y="connsiteY9427"/>
                </a:cxn>
                <a:cxn ang="0">
                  <a:pos x="connsiteX9428" y="connsiteY9428"/>
                </a:cxn>
                <a:cxn ang="0">
                  <a:pos x="connsiteX9429" y="connsiteY9429"/>
                </a:cxn>
                <a:cxn ang="0">
                  <a:pos x="connsiteX9430" y="connsiteY9430"/>
                </a:cxn>
                <a:cxn ang="0">
                  <a:pos x="connsiteX9431" y="connsiteY9431"/>
                </a:cxn>
                <a:cxn ang="0">
                  <a:pos x="connsiteX9432" y="connsiteY9432"/>
                </a:cxn>
                <a:cxn ang="0">
                  <a:pos x="connsiteX9433" y="connsiteY9433"/>
                </a:cxn>
                <a:cxn ang="0">
                  <a:pos x="connsiteX9434" y="connsiteY9434"/>
                </a:cxn>
                <a:cxn ang="0">
                  <a:pos x="connsiteX9435" y="connsiteY9435"/>
                </a:cxn>
                <a:cxn ang="0">
                  <a:pos x="connsiteX9436" y="connsiteY9436"/>
                </a:cxn>
                <a:cxn ang="0">
                  <a:pos x="connsiteX9437" y="connsiteY9437"/>
                </a:cxn>
                <a:cxn ang="0">
                  <a:pos x="connsiteX9438" y="connsiteY9438"/>
                </a:cxn>
                <a:cxn ang="0">
                  <a:pos x="connsiteX9439" y="connsiteY9439"/>
                </a:cxn>
                <a:cxn ang="0">
                  <a:pos x="connsiteX9440" y="connsiteY9440"/>
                </a:cxn>
                <a:cxn ang="0">
                  <a:pos x="connsiteX9441" y="connsiteY9441"/>
                </a:cxn>
                <a:cxn ang="0">
                  <a:pos x="connsiteX9442" y="connsiteY9442"/>
                </a:cxn>
                <a:cxn ang="0">
                  <a:pos x="connsiteX9443" y="connsiteY9443"/>
                </a:cxn>
                <a:cxn ang="0">
                  <a:pos x="connsiteX9444" y="connsiteY9444"/>
                </a:cxn>
                <a:cxn ang="0">
                  <a:pos x="connsiteX9445" y="connsiteY9445"/>
                </a:cxn>
                <a:cxn ang="0">
                  <a:pos x="connsiteX9446" y="connsiteY9446"/>
                </a:cxn>
                <a:cxn ang="0">
                  <a:pos x="connsiteX9447" y="connsiteY9447"/>
                </a:cxn>
                <a:cxn ang="0">
                  <a:pos x="connsiteX9448" y="connsiteY9448"/>
                </a:cxn>
                <a:cxn ang="0">
                  <a:pos x="connsiteX9449" y="connsiteY9449"/>
                </a:cxn>
                <a:cxn ang="0">
                  <a:pos x="connsiteX9450" y="connsiteY9450"/>
                </a:cxn>
                <a:cxn ang="0">
                  <a:pos x="connsiteX9451" y="connsiteY9451"/>
                </a:cxn>
                <a:cxn ang="0">
                  <a:pos x="connsiteX9452" y="connsiteY9452"/>
                </a:cxn>
                <a:cxn ang="0">
                  <a:pos x="connsiteX9453" y="connsiteY9453"/>
                </a:cxn>
                <a:cxn ang="0">
                  <a:pos x="connsiteX9454" y="connsiteY9454"/>
                </a:cxn>
                <a:cxn ang="0">
                  <a:pos x="connsiteX9455" y="connsiteY9455"/>
                </a:cxn>
                <a:cxn ang="0">
                  <a:pos x="connsiteX9456" y="connsiteY9456"/>
                </a:cxn>
                <a:cxn ang="0">
                  <a:pos x="connsiteX9457" y="connsiteY9457"/>
                </a:cxn>
                <a:cxn ang="0">
                  <a:pos x="connsiteX9458" y="connsiteY9458"/>
                </a:cxn>
                <a:cxn ang="0">
                  <a:pos x="connsiteX9459" y="connsiteY9459"/>
                </a:cxn>
                <a:cxn ang="0">
                  <a:pos x="connsiteX9460" y="connsiteY9460"/>
                </a:cxn>
                <a:cxn ang="0">
                  <a:pos x="connsiteX9461" y="connsiteY9461"/>
                </a:cxn>
                <a:cxn ang="0">
                  <a:pos x="connsiteX9462" y="connsiteY9462"/>
                </a:cxn>
                <a:cxn ang="0">
                  <a:pos x="connsiteX9463" y="connsiteY9463"/>
                </a:cxn>
                <a:cxn ang="0">
                  <a:pos x="connsiteX9464" y="connsiteY9464"/>
                </a:cxn>
                <a:cxn ang="0">
                  <a:pos x="connsiteX9465" y="connsiteY9465"/>
                </a:cxn>
                <a:cxn ang="0">
                  <a:pos x="connsiteX9466" y="connsiteY9466"/>
                </a:cxn>
                <a:cxn ang="0">
                  <a:pos x="connsiteX9467" y="connsiteY9467"/>
                </a:cxn>
                <a:cxn ang="0">
                  <a:pos x="connsiteX9468" y="connsiteY9468"/>
                </a:cxn>
                <a:cxn ang="0">
                  <a:pos x="connsiteX9469" y="connsiteY9469"/>
                </a:cxn>
                <a:cxn ang="0">
                  <a:pos x="connsiteX9470" y="connsiteY9470"/>
                </a:cxn>
                <a:cxn ang="0">
                  <a:pos x="connsiteX9471" y="connsiteY9471"/>
                </a:cxn>
                <a:cxn ang="0">
                  <a:pos x="connsiteX9472" y="connsiteY9472"/>
                </a:cxn>
                <a:cxn ang="0">
                  <a:pos x="connsiteX9473" y="connsiteY9473"/>
                </a:cxn>
                <a:cxn ang="0">
                  <a:pos x="connsiteX9474" y="connsiteY9474"/>
                </a:cxn>
                <a:cxn ang="0">
                  <a:pos x="connsiteX9475" y="connsiteY9475"/>
                </a:cxn>
                <a:cxn ang="0">
                  <a:pos x="connsiteX9476" y="connsiteY9476"/>
                </a:cxn>
                <a:cxn ang="0">
                  <a:pos x="connsiteX9477" y="connsiteY9477"/>
                </a:cxn>
                <a:cxn ang="0">
                  <a:pos x="connsiteX9478" y="connsiteY9478"/>
                </a:cxn>
                <a:cxn ang="0">
                  <a:pos x="connsiteX9479" y="connsiteY9479"/>
                </a:cxn>
                <a:cxn ang="0">
                  <a:pos x="connsiteX9480" y="connsiteY9480"/>
                </a:cxn>
                <a:cxn ang="0">
                  <a:pos x="connsiteX9481" y="connsiteY9481"/>
                </a:cxn>
                <a:cxn ang="0">
                  <a:pos x="connsiteX9482" y="connsiteY9482"/>
                </a:cxn>
                <a:cxn ang="0">
                  <a:pos x="connsiteX9483" y="connsiteY9483"/>
                </a:cxn>
                <a:cxn ang="0">
                  <a:pos x="connsiteX9484" y="connsiteY9484"/>
                </a:cxn>
                <a:cxn ang="0">
                  <a:pos x="connsiteX9485" y="connsiteY9485"/>
                </a:cxn>
                <a:cxn ang="0">
                  <a:pos x="connsiteX9486" y="connsiteY9486"/>
                </a:cxn>
                <a:cxn ang="0">
                  <a:pos x="connsiteX9487" y="connsiteY9487"/>
                </a:cxn>
                <a:cxn ang="0">
                  <a:pos x="connsiteX9488" y="connsiteY9488"/>
                </a:cxn>
                <a:cxn ang="0">
                  <a:pos x="connsiteX9489" y="connsiteY9489"/>
                </a:cxn>
                <a:cxn ang="0">
                  <a:pos x="connsiteX9490" y="connsiteY9490"/>
                </a:cxn>
                <a:cxn ang="0">
                  <a:pos x="connsiteX9491" y="connsiteY9491"/>
                </a:cxn>
                <a:cxn ang="0">
                  <a:pos x="connsiteX9492" y="connsiteY9492"/>
                </a:cxn>
                <a:cxn ang="0">
                  <a:pos x="connsiteX9493" y="connsiteY9493"/>
                </a:cxn>
                <a:cxn ang="0">
                  <a:pos x="connsiteX9494" y="connsiteY9494"/>
                </a:cxn>
                <a:cxn ang="0">
                  <a:pos x="connsiteX9495" y="connsiteY9495"/>
                </a:cxn>
                <a:cxn ang="0">
                  <a:pos x="connsiteX9496" y="connsiteY9496"/>
                </a:cxn>
                <a:cxn ang="0">
                  <a:pos x="connsiteX9497" y="connsiteY9497"/>
                </a:cxn>
                <a:cxn ang="0">
                  <a:pos x="connsiteX9498" y="connsiteY9498"/>
                </a:cxn>
                <a:cxn ang="0">
                  <a:pos x="connsiteX9499" y="connsiteY9499"/>
                </a:cxn>
                <a:cxn ang="0">
                  <a:pos x="connsiteX9500" y="connsiteY9500"/>
                </a:cxn>
                <a:cxn ang="0">
                  <a:pos x="connsiteX9501" y="connsiteY9501"/>
                </a:cxn>
                <a:cxn ang="0">
                  <a:pos x="connsiteX9502" y="connsiteY9502"/>
                </a:cxn>
                <a:cxn ang="0">
                  <a:pos x="connsiteX9503" y="connsiteY9503"/>
                </a:cxn>
                <a:cxn ang="0">
                  <a:pos x="connsiteX9504" y="connsiteY9504"/>
                </a:cxn>
                <a:cxn ang="0">
                  <a:pos x="connsiteX9505" y="connsiteY9505"/>
                </a:cxn>
                <a:cxn ang="0">
                  <a:pos x="connsiteX9506" y="connsiteY9506"/>
                </a:cxn>
                <a:cxn ang="0">
                  <a:pos x="connsiteX9507" y="connsiteY9507"/>
                </a:cxn>
                <a:cxn ang="0">
                  <a:pos x="connsiteX9508" y="connsiteY9508"/>
                </a:cxn>
                <a:cxn ang="0">
                  <a:pos x="connsiteX9509" y="connsiteY9509"/>
                </a:cxn>
                <a:cxn ang="0">
                  <a:pos x="connsiteX9510" y="connsiteY9510"/>
                </a:cxn>
                <a:cxn ang="0">
                  <a:pos x="connsiteX9511" y="connsiteY9511"/>
                </a:cxn>
                <a:cxn ang="0">
                  <a:pos x="connsiteX9512" y="connsiteY9512"/>
                </a:cxn>
                <a:cxn ang="0">
                  <a:pos x="connsiteX9513" y="connsiteY9513"/>
                </a:cxn>
                <a:cxn ang="0">
                  <a:pos x="connsiteX9514" y="connsiteY9514"/>
                </a:cxn>
                <a:cxn ang="0">
                  <a:pos x="connsiteX9515" y="connsiteY9515"/>
                </a:cxn>
                <a:cxn ang="0">
                  <a:pos x="connsiteX9516" y="connsiteY9516"/>
                </a:cxn>
                <a:cxn ang="0">
                  <a:pos x="connsiteX9517" y="connsiteY9517"/>
                </a:cxn>
                <a:cxn ang="0">
                  <a:pos x="connsiteX9518" y="connsiteY9518"/>
                </a:cxn>
                <a:cxn ang="0">
                  <a:pos x="connsiteX9519" y="connsiteY9519"/>
                </a:cxn>
                <a:cxn ang="0">
                  <a:pos x="connsiteX9520" y="connsiteY9520"/>
                </a:cxn>
                <a:cxn ang="0">
                  <a:pos x="connsiteX9521" y="connsiteY9521"/>
                </a:cxn>
                <a:cxn ang="0">
                  <a:pos x="connsiteX9522" y="connsiteY9522"/>
                </a:cxn>
                <a:cxn ang="0">
                  <a:pos x="connsiteX9523" y="connsiteY9523"/>
                </a:cxn>
                <a:cxn ang="0">
                  <a:pos x="connsiteX9524" y="connsiteY9524"/>
                </a:cxn>
                <a:cxn ang="0">
                  <a:pos x="connsiteX9525" y="connsiteY9525"/>
                </a:cxn>
                <a:cxn ang="0">
                  <a:pos x="connsiteX9526" y="connsiteY9526"/>
                </a:cxn>
                <a:cxn ang="0">
                  <a:pos x="connsiteX9527" y="connsiteY9527"/>
                </a:cxn>
                <a:cxn ang="0">
                  <a:pos x="connsiteX9528" y="connsiteY9528"/>
                </a:cxn>
                <a:cxn ang="0">
                  <a:pos x="connsiteX9529" y="connsiteY9529"/>
                </a:cxn>
                <a:cxn ang="0">
                  <a:pos x="connsiteX9530" y="connsiteY9530"/>
                </a:cxn>
                <a:cxn ang="0">
                  <a:pos x="connsiteX9531" y="connsiteY9531"/>
                </a:cxn>
                <a:cxn ang="0">
                  <a:pos x="connsiteX9532" y="connsiteY9532"/>
                </a:cxn>
                <a:cxn ang="0">
                  <a:pos x="connsiteX9533" y="connsiteY9533"/>
                </a:cxn>
                <a:cxn ang="0">
                  <a:pos x="connsiteX9534" y="connsiteY9534"/>
                </a:cxn>
                <a:cxn ang="0">
                  <a:pos x="connsiteX9535" y="connsiteY9535"/>
                </a:cxn>
                <a:cxn ang="0">
                  <a:pos x="connsiteX9536" y="connsiteY9536"/>
                </a:cxn>
                <a:cxn ang="0">
                  <a:pos x="connsiteX9537" y="connsiteY9537"/>
                </a:cxn>
                <a:cxn ang="0">
                  <a:pos x="connsiteX9538" y="connsiteY9538"/>
                </a:cxn>
                <a:cxn ang="0">
                  <a:pos x="connsiteX9539" y="connsiteY9539"/>
                </a:cxn>
                <a:cxn ang="0">
                  <a:pos x="connsiteX9540" y="connsiteY9540"/>
                </a:cxn>
                <a:cxn ang="0">
                  <a:pos x="connsiteX9541" y="connsiteY9541"/>
                </a:cxn>
                <a:cxn ang="0">
                  <a:pos x="connsiteX9542" y="connsiteY9542"/>
                </a:cxn>
                <a:cxn ang="0">
                  <a:pos x="connsiteX9543" y="connsiteY9543"/>
                </a:cxn>
                <a:cxn ang="0">
                  <a:pos x="connsiteX9544" y="connsiteY9544"/>
                </a:cxn>
                <a:cxn ang="0">
                  <a:pos x="connsiteX9545" y="connsiteY9545"/>
                </a:cxn>
                <a:cxn ang="0">
                  <a:pos x="connsiteX9546" y="connsiteY9546"/>
                </a:cxn>
                <a:cxn ang="0">
                  <a:pos x="connsiteX9547" y="connsiteY9547"/>
                </a:cxn>
                <a:cxn ang="0">
                  <a:pos x="connsiteX9548" y="connsiteY9548"/>
                </a:cxn>
                <a:cxn ang="0">
                  <a:pos x="connsiteX9549" y="connsiteY9549"/>
                </a:cxn>
                <a:cxn ang="0">
                  <a:pos x="connsiteX9550" y="connsiteY9550"/>
                </a:cxn>
                <a:cxn ang="0">
                  <a:pos x="connsiteX9551" y="connsiteY9551"/>
                </a:cxn>
                <a:cxn ang="0">
                  <a:pos x="connsiteX9552" y="connsiteY9552"/>
                </a:cxn>
                <a:cxn ang="0">
                  <a:pos x="connsiteX9553" y="connsiteY9553"/>
                </a:cxn>
                <a:cxn ang="0">
                  <a:pos x="connsiteX9554" y="connsiteY9554"/>
                </a:cxn>
                <a:cxn ang="0">
                  <a:pos x="connsiteX9555" y="connsiteY9555"/>
                </a:cxn>
                <a:cxn ang="0">
                  <a:pos x="connsiteX9556" y="connsiteY9556"/>
                </a:cxn>
                <a:cxn ang="0">
                  <a:pos x="connsiteX9557" y="connsiteY9557"/>
                </a:cxn>
                <a:cxn ang="0">
                  <a:pos x="connsiteX9558" y="connsiteY9558"/>
                </a:cxn>
                <a:cxn ang="0">
                  <a:pos x="connsiteX9559" y="connsiteY9559"/>
                </a:cxn>
                <a:cxn ang="0">
                  <a:pos x="connsiteX9560" y="connsiteY9560"/>
                </a:cxn>
                <a:cxn ang="0">
                  <a:pos x="connsiteX9561" y="connsiteY9561"/>
                </a:cxn>
                <a:cxn ang="0">
                  <a:pos x="connsiteX9562" y="connsiteY9562"/>
                </a:cxn>
                <a:cxn ang="0">
                  <a:pos x="connsiteX9563" y="connsiteY9563"/>
                </a:cxn>
                <a:cxn ang="0">
                  <a:pos x="connsiteX9564" y="connsiteY9564"/>
                </a:cxn>
                <a:cxn ang="0">
                  <a:pos x="connsiteX9565" y="connsiteY9565"/>
                </a:cxn>
                <a:cxn ang="0">
                  <a:pos x="connsiteX9566" y="connsiteY9566"/>
                </a:cxn>
                <a:cxn ang="0">
                  <a:pos x="connsiteX9567" y="connsiteY9567"/>
                </a:cxn>
                <a:cxn ang="0">
                  <a:pos x="connsiteX9568" y="connsiteY9568"/>
                </a:cxn>
                <a:cxn ang="0">
                  <a:pos x="connsiteX9569" y="connsiteY9569"/>
                </a:cxn>
                <a:cxn ang="0">
                  <a:pos x="connsiteX9570" y="connsiteY9570"/>
                </a:cxn>
                <a:cxn ang="0">
                  <a:pos x="connsiteX9571" y="connsiteY9571"/>
                </a:cxn>
                <a:cxn ang="0">
                  <a:pos x="connsiteX9572" y="connsiteY9572"/>
                </a:cxn>
                <a:cxn ang="0">
                  <a:pos x="connsiteX9573" y="connsiteY9573"/>
                </a:cxn>
                <a:cxn ang="0">
                  <a:pos x="connsiteX9574" y="connsiteY9574"/>
                </a:cxn>
                <a:cxn ang="0">
                  <a:pos x="connsiteX9575" y="connsiteY9575"/>
                </a:cxn>
                <a:cxn ang="0">
                  <a:pos x="connsiteX9576" y="connsiteY9576"/>
                </a:cxn>
                <a:cxn ang="0">
                  <a:pos x="connsiteX9577" y="connsiteY9577"/>
                </a:cxn>
                <a:cxn ang="0">
                  <a:pos x="connsiteX9578" y="connsiteY9578"/>
                </a:cxn>
                <a:cxn ang="0">
                  <a:pos x="connsiteX9579" y="connsiteY9579"/>
                </a:cxn>
                <a:cxn ang="0">
                  <a:pos x="connsiteX9580" y="connsiteY9580"/>
                </a:cxn>
                <a:cxn ang="0">
                  <a:pos x="connsiteX9581" y="connsiteY9581"/>
                </a:cxn>
                <a:cxn ang="0">
                  <a:pos x="connsiteX9582" y="connsiteY9582"/>
                </a:cxn>
                <a:cxn ang="0">
                  <a:pos x="connsiteX9583" y="connsiteY9583"/>
                </a:cxn>
                <a:cxn ang="0">
                  <a:pos x="connsiteX9584" y="connsiteY9584"/>
                </a:cxn>
                <a:cxn ang="0">
                  <a:pos x="connsiteX9585" y="connsiteY9585"/>
                </a:cxn>
                <a:cxn ang="0">
                  <a:pos x="connsiteX9586" y="connsiteY9586"/>
                </a:cxn>
                <a:cxn ang="0">
                  <a:pos x="connsiteX9587" y="connsiteY9587"/>
                </a:cxn>
                <a:cxn ang="0">
                  <a:pos x="connsiteX9588" y="connsiteY9588"/>
                </a:cxn>
                <a:cxn ang="0">
                  <a:pos x="connsiteX9589" y="connsiteY9589"/>
                </a:cxn>
                <a:cxn ang="0">
                  <a:pos x="connsiteX9590" y="connsiteY9590"/>
                </a:cxn>
                <a:cxn ang="0">
                  <a:pos x="connsiteX9591" y="connsiteY9591"/>
                </a:cxn>
                <a:cxn ang="0">
                  <a:pos x="connsiteX9592" y="connsiteY9592"/>
                </a:cxn>
                <a:cxn ang="0">
                  <a:pos x="connsiteX9593" y="connsiteY9593"/>
                </a:cxn>
                <a:cxn ang="0">
                  <a:pos x="connsiteX9594" y="connsiteY9594"/>
                </a:cxn>
                <a:cxn ang="0">
                  <a:pos x="connsiteX9595" y="connsiteY9595"/>
                </a:cxn>
                <a:cxn ang="0">
                  <a:pos x="connsiteX9596" y="connsiteY9596"/>
                </a:cxn>
                <a:cxn ang="0">
                  <a:pos x="connsiteX9597" y="connsiteY9597"/>
                </a:cxn>
                <a:cxn ang="0">
                  <a:pos x="connsiteX9598" y="connsiteY9598"/>
                </a:cxn>
                <a:cxn ang="0">
                  <a:pos x="connsiteX9599" y="connsiteY9599"/>
                </a:cxn>
                <a:cxn ang="0">
                  <a:pos x="connsiteX9600" y="connsiteY9600"/>
                </a:cxn>
                <a:cxn ang="0">
                  <a:pos x="connsiteX9601" y="connsiteY9601"/>
                </a:cxn>
                <a:cxn ang="0">
                  <a:pos x="connsiteX9602" y="connsiteY9602"/>
                </a:cxn>
                <a:cxn ang="0">
                  <a:pos x="connsiteX9603" y="connsiteY9603"/>
                </a:cxn>
                <a:cxn ang="0">
                  <a:pos x="connsiteX9604" y="connsiteY9604"/>
                </a:cxn>
                <a:cxn ang="0">
                  <a:pos x="connsiteX9605" y="connsiteY9605"/>
                </a:cxn>
                <a:cxn ang="0">
                  <a:pos x="connsiteX9606" y="connsiteY9606"/>
                </a:cxn>
                <a:cxn ang="0">
                  <a:pos x="connsiteX9607" y="connsiteY9607"/>
                </a:cxn>
                <a:cxn ang="0">
                  <a:pos x="connsiteX9608" y="connsiteY9608"/>
                </a:cxn>
                <a:cxn ang="0">
                  <a:pos x="connsiteX9609" y="connsiteY9609"/>
                </a:cxn>
                <a:cxn ang="0">
                  <a:pos x="connsiteX9610" y="connsiteY9610"/>
                </a:cxn>
                <a:cxn ang="0">
                  <a:pos x="connsiteX9611" y="connsiteY9611"/>
                </a:cxn>
                <a:cxn ang="0">
                  <a:pos x="connsiteX9612" y="connsiteY9612"/>
                </a:cxn>
                <a:cxn ang="0">
                  <a:pos x="connsiteX9613" y="connsiteY9613"/>
                </a:cxn>
                <a:cxn ang="0">
                  <a:pos x="connsiteX9614" y="connsiteY9614"/>
                </a:cxn>
                <a:cxn ang="0">
                  <a:pos x="connsiteX9615" y="connsiteY9615"/>
                </a:cxn>
                <a:cxn ang="0">
                  <a:pos x="connsiteX9616" y="connsiteY9616"/>
                </a:cxn>
                <a:cxn ang="0">
                  <a:pos x="connsiteX9617" y="connsiteY9617"/>
                </a:cxn>
                <a:cxn ang="0">
                  <a:pos x="connsiteX9618" y="connsiteY9618"/>
                </a:cxn>
                <a:cxn ang="0">
                  <a:pos x="connsiteX9619" y="connsiteY9619"/>
                </a:cxn>
                <a:cxn ang="0">
                  <a:pos x="connsiteX9620" y="connsiteY9620"/>
                </a:cxn>
                <a:cxn ang="0">
                  <a:pos x="connsiteX9621" y="connsiteY9621"/>
                </a:cxn>
                <a:cxn ang="0">
                  <a:pos x="connsiteX9622" y="connsiteY9622"/>
                </a:cxn>
                <a:cxn ang="0">
                  <a:pos x="connsiteX9623" y="connsiteY9623"/>
                </a:cxn>
                <a:cxn ang="0">
                  <a:pos x="connsiteX9624" y="connsiteY9624"/>
                </a:cxn>
                <a:cxn ang="0">
                  <a:pos x="connsiteX9625" y="connsiteY9625"/>
                </a:cxn>
                <a:cxn ang="0">
                  <a:pos x="connsiteX9626" y="connsiteY9626"/>
                </a:cxn>
                <a:cxn ang="0">
                  <a:pos x="connsiteX9627" y="connsiteY9627"/>
                </a:cxn>
                <a:cxn ang="0">
                  <a:pos x="connsiteX9628" y="connsiteY9628"/>
                </a:cxn>
                <a:cxn ang="0">
                  <a:pos x="connsiteX9629" y="connsiteY9629"/>
                </a:cxn>
                <a:cxn ang="0">
                  <a:pos x="connsiteX9630" y="connsiteY9630"/>
                </a:cxn>
                <a:cxn ang="0">
                  <a:pos x="connsiteX9631" y="connsiteY9631"/>
                </a:cxn>
                <a:cxn ang="0">
                  <a:pos x="connsiteX9632" y="connsiteY9632"/>
                </a:cxn>
                <a:cxn ang="0">
                  <a:pos x="connsiteX9633" y="connsiteY9633"/>
                </a:cxn>
                <a:cxn ang="0">
                  <a:pos x="connsiteX9634" y="connsiteY9634"/>
                </a:cxn>
                <a:cxn ang="0">
                  <a:pos x="connsiteX9635" y="connsiteY9635"/>
                </a:cxn>
                <a:cxn ang="0">
                  <a:pos x="connsiteX9636" y="connsiteY9636"/>
                </a:cxn>
                <a:cxn ang="0">
                  <a:pos x="connsiteX9637" y="connsiteY9637"/>
                </a:cxn>
                <a:cxn ang="0">
                  <a:pos x="connsiteX9638" y="connsiteY9638"/>
                </a:cxn>
                <a:cxn ang="0">
                  <a:pos x="connsiteX9639" y="connsiteY9639"/>
                </a:cxn>
                <a:cxn ang="0">
                  <a:pos x="connsiteX9640" y="connsiteY9640"/>
                </a:cxn>
                <a:cxn ang="0">
                  <a:pos x="connsiteX9641" y="connsiteY9641"/>
                </a:cxn>
                <a:cxn ang="0">
                  <a:pos x="connsiteX9642" y="connsiteY9642"/>
                </a:cxn>
                <a:cxn ang="0">
                  <a:pos x="connsiteX9643" y="connsiteY9643"/>
                </a:cxn>
                <a:cxn ang="0">
                  <a:pos x="connsiteX9644" y="connsiteY9644"/>
                </a:cxn>
                <a:cxn ang="0">
                  <a:pos x="connsiteX9645" y="connsiteY9645"/>
                </a:cxn>
                <a:cxn ang="0">
                  <a:pos x="connsiteX9646" y="connsiteY9646"/>
                </a:cxn>
                <a:cxn ang="0">
                  <a:pos x="connsiteX9647" y="connsiteY9647"/>
                </a:cxn>
                <a:cxn ang="0">
                  <a:pos x="connsiteX9648" y="connsiteY9648"/>
                </a:cxn>
                <a:cxn ang="0">
                  <a:pos x="connsiteX9649" y="connsiteY9649"/>
                </a:cxn>
                <a:cxn ang="0">
                  <a:pos x="connsiteX9650" y="connsiteY9650"/>
                </a:cxn>
                <a:cxn ang="0">
                  <a:pos x="connsiteX9651" y="connsiteY9651"/>
                </a:cxn>
                <a:cxn ang="0">
                  <a:pos x="connsiteX9652" y="connsiteY9652"/>
                </a:cxn>
                <a:cxn ang="0">
                  <a:pos x="connsiteX9653" y="connsiteY9653"/>
                </a:cxn>
                <a:cxn ang="0">
                  <a:pos x="connsiteX9654" y="connsiteY9654"/>
                </a:cxn>
                <a:cxn ang="0">
                  <a:pos x="connsiteX9655" y="connsiteY9655"/>
                </a:cxn>
                <a:cxn ang="0">
                  <a:pos x="connsiteX9656" y="connsiteY9656"/>
                </a:cxn>
                <a:cxn ang="0">
                  <a:pos x="connsiteX9657" y="connsiteY9657"/>
                </a:cxn>
                <a:cxn ang="0">
                  <a:pos x="connsiteX9658" y="connsiteY9658"/>
                </a:cxn>
                <a:cxn ang="0">
                  <a:pos x="connsiteX9659" y="connsiteY9659"/>
                </a:cxn>
                <a:cxn ang="0">
                  <a:pos x="connsiteX9660" y="connsiteY9660"/>
                </a:cxn>
                <a:cxn ang="0">
                  <a:pos x="connsiteX9661" y="connsiteY9661"/>
                </a:cxn>
                <a:cxn ang="0">
                  <a:pos x="connsiteX9662" y="connsiteY9662"/>
                </a:cxn>
                <a:cxn ang="0">
                  <a:pos x="connsiteX9663" y="connsiteY9663"/>
                </a:cxn>
                <a:cxn ang="0">
                  <a:pos x="connsiteX9664" y="connsiteY9664"/>
                </a:cxn>
                <a:cxn ang="0">
                  <a:pos x="connsiteX9665" y="connsiteY9665"/>
                </a:cxn>
                <a:cxn ang="0">
                  <a:pos x="connsiteX9666" y="connsiteY9666"/>
                </a:cxn>
                <a:cxn ang="0">
                  <a:pos x="connsiteX9667" y="connsiteY9667"/>
                </a:cxn>
                <a:cxn ang="0">
                  <a:pos x="connsiteX9668" y="connsiteY9668"/>
                </a:cxn>
                <a:cxn ang="0">
                  <a:pos x="connsiteX9669" y="connsiteY9669"/>
                </a:cxn>
                <a:cxn ang="0">
                  <a:pos x="connsiteX9670" y="connsiteY9670"/>
                </a:cxn>
                <a:cxn ang="0">
                  <a:pos x="connsiteX9671" y="connsiteY9671"/>
                </a:cxn>
                <a:cxn ang="0">
                  <a:pos x="connsiteX9672" y="connsiteY9672"/>
                </a:cxn>
                <a:cxn ang="0">
                  <a:pos x="connsiteX9673" y="connsiteY9673"/>
                </a:cxn>
                <a:cxn ang="0">
                  <a:pos x="connsiteX9674" y="connsiteY9674"/>
                </a:cxn>
                <a:cxn ang="0">
                  <a:pos x="connsiteX9675" y="connsiteY9675"/>
                </a:cxn>
                <a:cxn ang="0">
                  <a:pos x="connsiteX9676" y="connsiteY9676"/>
                </a:cxn>
                <a:cxn ang="0">
                  <a:pos x="connsiteX9677" y="connsiteY9677"/>
                </a:cxn>
                <a:cxn ang="0">
                  <a:pos x="connsiteX9678" y="connsiteY9678"/>
                </a:cxn>
                <a:cxn ang="0">
                  <a:pos x="connsiteX9679" y="connsiteY9679"/>
                </a:cxn>
                <a:cxn ang="0">
                  <a:pos x="connsiteX9680" y="connsiteY9680"/>
                </a:cxn>
                <a:cxn ang="0">
                  <a:pos x="connsiteX9681" y="connsiteY9681"/>
                </a:cxn>
                <a:cxn ang="0">
                  <a:pos x="connsiteX9682" y="connsiteY9682"/>
                </a:cxn>
                <a:cxn ang="0">
                  <a:pos x="connsiteX9683" y="connsiteY9683"/>
                </a:cxn>
                <a:cxn ang="0">
                  <a:pos x="connsiteX9684" y="connsiteY9684"/>
                </a:cxn>
                <a:cxn ang="0">
                  <a:pos x="connsiteX9685" y="connsiteY9685"/>
                </a:cxn>
                <a:cxn ang="0">
                  <a:pos x="connsiteX9686" y="connsiteY9686"/>
                </a:cxn>
                <a:cxn ang="0">
                  <a:pos x="connsiteX9687" y="connsiteY9687"/>
                </a:cxn>
                <a:cxn ang="0">
                  <a:pos x="connsiteX9688" y="connsiteY9688"/>
                </a:cxn>
                <a:cxn ang="0">
                  <a:pos x="connsiteX9689" y="connsiteY9689"/>
                </a:cxn>
                <a:cxn ang="0">
                  <a:pos x="connsiteX9690" y="connsiteY9690"/>
                </a:cxn>
                <a:cxn ang="0">
                  <a:pos x="connsiteX9691" y="connsiteY9691"/>
                </a:cxn>
                <a:cxn ang="0">
                  <a:pos x="connsiteX9692" y="connsiteY9692"/>
                </a:cxn>
                <a:cxn ang="0">
                  <a:pos x="connsiteX9693" y="connsiteY9693"/>
                </a:cxn>
                <a:cxn ang="0">
                  <a:pos x="connsiteX9694" y="connsiteY9694"/>
                </a:cxn>
                <a:cxn ang="0">
                  <a:pos x="connsiteX9695" y="connsiteY9695"/>
                </a:cxn>
                <a:cxn ang="0">
                  <a:pos x="connsiteX9696" y="connsiteY9696"/>
                </a:cxn>
                <a:cxn ang="0">
                  <a:pos x="connsiteX9697" y="connsiteY9697"/>
                </a:cxn>
                <a:cxn ang="0">
                  <a:pos x="connsiteX9698" y="connsiteY9698"/>
                </a:cxn>
                <a:cxn ang="0">
                  <a:pos x="connsiteX9699" y="connsiteY9699"/>
                </a:cxn>
                <a:cxn ang="0">
                  <a:pos x="connsiteX9700" y="connsiteY9700"/>
                </a:cxn>
                <a:cxn ang="0">
                  <a:pos x="connsiteX9701" y="connsiteY9701"/>
                </a:cxn>
                <a:cxn ang="0">
                  <a:pos x="connsiteX9702" y="connsiteY9702"/>
                </a:cxn>
                <a:cxn ang="0">
                  <a:pos x="connsiteX9703" y="connsiteY9703"/>
                </a:cxn>
                <a:cxn ang="0">
                  <a:pos x="connsiteX9704" y="connsiteY9704"/>
                </a:cxn>
                <a:cxn ang="0">
                  <a:pos x="connsiteX9705" y="connsiteY9705"/>
                </a:cxn>
                <a:cxn ang="0">
                  <a:pos x="connsiteX9706" y="connsiteY9706"/>
                </a:cxn>
                <a:cxn ang="0">
                  <a:pos x="connsiteX9707" y="connsiteY9707"/>
                </a:cxn>
                <a:cxn ang="0">
                  <a:pos x="connsiteX9708" y="connsiteY9708"/>
                </a:cxn>
                <a:cxn ang="0">
                  <a:pos x="connsiteX9709" y="connsiteY9709"/>
                </a:cxn>
                <a:cxn ang="0">
                  <a:pos x="connsiteX9710" y="connsiteY9710"/>
                </a:cxn>
                <a:cxn ang="0">
                  <a:pos x="connsiteX9711" y="connsiteY9711"/>
                </a:cxn>
                <a:cxn ang="0">
                  <a:pos x="connsiteX9712" y="connsiteY9712"/>
                </a:cxn>
                <a:cxn ang="0">
                  <a:pos x="connsiteX9713" y="connsiteY9713"/>
                </a:cxn>
                <a:cxn ang="0">
                  <a:pos x="connsiteX9714" y="connsiteY9714"/>
                </a:cxn>
                <a:cxn ang="0">
                  <a:pos x="connsiteX9715" y="connsiteY9715"/>
                </a:cxn>
                <a:cxn ang="0">
                  <a:pos x="connsiteX9716" y="connsiteY9716"/>
                </a:cxn>
                <a:cxn ang="0">
                  <a:pos x="connsiteX9717" y="connsiteY9717"/>
                </a:cxn>
                <a:cxn ang="0">
                  <a:pos x="connsiteX9718" y="connsiteY9718"/>
                </a:cxn>
                <a:cxn ang="0">
                  <a:pos x="connsiteX9719" y="connsiteY9719"/>
                </a:cxn>
                <a:cxn ang="0">
                  <a:pos x="connsiteX9720" y="connsiteY9720"/>
                </a:cxn>
                <a:cxn ang="0">
                  <a:pos x="connsiteX9721" y="connsiteY9721"/>
                </a:cxn>
                <a:cxn ang="0">
                  <a:pos x="connsiteX9722" y="connsiteY9722"/>
                </a:cxn>
                <a:cxn ang="0">
                  <a:pos x="connsiteX9723" y="connsiteY9723"/>
                </a:cxn>
                <a:cxn ang="0">
                  <a:pos x="connsiteX9724" y="connsiteY9724"/>
                </a:cxn>
                <a:cxn ang="0">
                  <a:pos x="connsiteX9725" y="connsiteY9725"/>
                </a:cxn>
                <a:cxn ang="0">
                  <a:pos x="connsiteX9726" y="connsiteY9726"/>
                </a:cxn>
                <a:cxn ang="0">
                  <a:pos x="connsiteX9727" y="connsiteY9727"/>
                </a:cxn>
                <a:cxn ang="0">
                  <a:pos x="connsiteX9728" y="connsiteY9728"/>
                </a:cxn>
                <a:cxn ang="0">
                  <a:pos x="connsiteX9729" y="connsiteY9729"/>
                </a:cxn>
                <a:cxn ang="0">
                  <a:pos x="connsiteX9730" y="connsiteY9730"/>
                </a:cxn>
                <a:cxn ang="0">
                  <a:pos x="connsiteX9731" y="connsiteY9731"/>
                </a:cxn>
                <a:cxn ang="0">
                  <a:pos x="connsiteX9732" y="connsiteY9732"/>
                </a:cxn>
                <a:cxn ang="0">
                  <a:pos x="connsiteX9733" y="connsiteY9733"/>
                </a:cxn>
                <a:cxn ang="0">
                  <a:pos x="connsiteX9734" y="connsiteY9734"/>
                </a:cxn>
                <a:cxn ang="0">
                  <a:pos x="connsiteX9735" y="connsiteY9735"/>
                </a:cxn>
                <a:cxn ang="0">
                  <a:pos x="connsiteX9736" y="connsiteY9736"/>
                </a:cxn>
                <a:cxn ang="0">
                  <a:pos x="connsiteX9737" y="connsiteY9737"/>
                </a:cxn>
                <a:cxn ang="0">
                  <a:pos x="connsiteX9738" y="connsiteY9738"/>
                </a:cxn>
                <a:cxn ang="0">
                  <a:pos x="connsiteX9739" y="connsiteY9739"/>
                </a:cxn>
                <a:cxn ang="0">
                  <a:pos x="connsiteX9740" y="connsiteY9740"/>
                </a:cxn>
                <a:cxn ang="0">
                  <a:pos x="connsiteX9741" y="connsiteY9741"/>
                </a:cxn>
                <a:cxn ang="0">
                  <a:pos x="connsiteX9742" y="connsiteY9742"/>
                </a:cxn>
                <a:cxn ang="0">
                  <a:pos x="connsiteX9743" y="connsiteY9743"/>
                </a:cxn>
                <a:cxn ang="0">
                  <a:pos x="connsiteX9744" y="connsiteY9744"/>
                </a:cxn>
                <a:cxn ang="0">
                  <a:pos x="connsiteX9745" y="connsiteY9745"/>
                </a:cxn>
                <a:cxn ang="0">
                  <a:pos x="connsiteX9746" y="connsiteY9746"/>
                </a:cxn>
                <a:cxn ang="0">
                  <a:pos x="connsiteX9747" y="connsiteY9747"/>
                </a:cxn>
                <a:cxn ang="0">
                  <a:pos x="connsiteX9748" y="connsiteY9748"/>
                </a:cxn>
                <a:cxn ang="0">
                  <a:pos x="connsiteX9749" y="connsiteY9749"/>
                </a:cxn>
                <a:cxn ang="0">
                  <a:pos x="connsiteX9750" y="connsiteY9750"/>
                </a:cxn>
                <a:cxn ang="0">
                  <a:pos x="connsiteX9751" y="connsiteY9751"/>
                </a:cxn>
                <a:cxn ang="0">
                  <a:pos x="connsiteX9752" y="connsiteY9752"/>
                </a:cxn>
                <a:cxn ang="0">
                  <a:pos x="connsiteX9753" y="connsiteY9753"/>
                </a:cxn>
                <a:cxn ang="0">
                  <a:pos x="connsiteX9754" y="connsiteY9754"/>
                </a:cxn>
                <a:cxn ang="0">
                  <a:pos x="connsiteX9755" y="connsiteY9755"/>
                </a:cxn>
                <a:cxn ang="0">
                  <a:pos x="connsiteX9756" y="connsiteY9756"/>
                </a:cxn>
                <a:cxn ang="0">
                  <a:pos x="connsiteX9757" y="connsiteY9757"/>
                </a:cxn>
                <a:cxn ang="0">
                  <a:pos x="connsiteX9758" y="connsiteY9758"/>
                </a:cxn>
                <a:cxn ang="0">
                  <a:pos x="connsiteX9759" y="connsiteY9759"/>
                </a:cxn>
                <a:cxn ang="0">
                  <a:pos x="connsiteX9760" y="connsiteY9760"/>
                </a:cxn>
                <a:cxn ang="0">
                  <a:pos x="connsiteX9761" y="connsiteY9761"/>
                </a:cxn>
                <a:cxn ang="0">
                  <a:pos x="connsiteX9762" y="connsiteY9762"/>
                </a:cxn>
                <a:cxn ang="0">
                  <a:pos x="connsiteX9763" y="connsiteY9763"/>
                </a:cxn>
                <a:cxn ang="0">
                  <a:pos x="connsiteX9764" y="connsiteY9764"/>
                </a:cxn>
                <a:cxn ang="0">
                  <a:pos x="connsiteX9765" y="connsiteY9765"/>
                </a:cxn>
                <a:cxn ang="0">
                  <a:pos x="connsiteX9766" y="connsiteY9766"/>
                </a:cxn>
                <a:cxn ang="0">
                  <a:pos x="connsiteX9767" y="connsiteY9767"/>
                </a:cxn>
                <a:cxn ang="0">
                  <a:pos x="connsiteX9768" y="connsiteY9768"/>
                </a:cxn>
                <a:cxn ang="0">
                  <a:pos x="connsiteX9769" y="connsiteY9769"/>
                </a:cxn>
                <a:cxn ang="0">
                  <a:pos x="connsiteX9770" y="connsiteY9770"/>
                </a:cxn>
                <a:cxn ang="0">
                  <a:pos x="connsiteX9771" y="connsiteY9771"/>
                </a:cxn>
                <a:cxn ang="0">
                  <a:pos x="connsiteX9772" y="connsiteY9772"/>
                </a:cxn>
                <a:cxn ang="0">
                  <a:pos x="connsiteX9773" y="connsiteY9773"/>
                </a:cxn>
                <a:cxn ang="0">
                  <a:pos x="connsiteX9774" y="connsiteY9774"/>
                </a:cxn>
                <a:cxn ang="0">
                  <a:pos x="connsiteX9775" y="connsiteY9775"/>
                </a:cxn>
                <a:cxn ang="0">
                  <a:pos x="connsiteX9776" y="connsiteY9776"/>
                </a:cxn>
                <a:cxn ang="0">
                  <a:pos x="connsiteX9777" y="connsiteY9777"/>
                </a:cxn>
                <a:cxn ang="0">
                  <a:pos x="connsiteX9778" y="connsiteY9778"/>
                </a:cxn>
                <a:cxn ang="0">
                  <a:pos x="connsiteX9779" y="connsiteY9779"/>
                </a:cxn>
                <a:cxn ang="0">
                  <a:pos x="connsiteX9780" y="connsiteY9780"/>
                </a:cxn>
                <a:cxn ang="0">
                  <a:pos x="connsiteX9781" y="connsiteY9781"/>
                </a:cxn>
                <a:cxn ang="0">
                  <a:pos x="connsiteX9782" y="connsiteY9782"/>
                </a:cxn>
                <a:cxn ang="0">
                  <a:pos x="connsiteX9783" y="connsiteY9783"/>
                </a:cxn>
                <a:cxn ang="0">
                  <a:pos x="connsiteX9784" y="connsiteY9784"/>
                </a:cxn>
                <a:cxn ang="0">
                  <a:pos x="connsiteX9785" y="connsiteY9785"/>
                </a:cxn>
                <a:cxn ang="0">
                  <a:pos x="connsiteX9786" y="connsiteY9786"/>
                </a:cxn>
                <a:cxn ang="0">
                  <a:pos x="connsiteX9787" y="connsiteY9787"/>
                </a:cxn>
                <a:cxn ang="0">
                  <a:pos x="connsiteX9788" y="connsiteY9788"/>
                </a:cxn>
                <a:cxn ang="0">
                  <a:pos x="connsiteX9789" y="connsiteY9789"/>
                </a:cxn>
                <a:cxn ang="0">
                  <a:pos x="connsiteX9790" y="connsiteY9790"/>
                </a:cxn>
                <a:cxn ang="0">
                  <a:pos x="connsiteX9791" y="connsiteY9791"/>
                </a:cxn>
                <a:cxn ang="0">
                  <a:pos x="connsiteX9792" y="connsiteY9792"/>
                </a:cxn>
                <a:cxn ang="0">
                  <a:pos x="connsiteX9793" y="connsiteY9793"/>
                </a:cxn>
                <a:cxn ang="0">
                  <a:pos x="connsiteX9794" y="connsiteY9794"/>
                </a:cxn>
                <a:cxn ang="0">
                  <a:pos x="connsiteX9795" y="connsiteY9795"/>
                </a:cxn>
                <a:cxn ang="0">
                  <a:pos x="connsiteX9796" y="connsiteY9796"/>
                </a:cxn>
                <a:cxn ang="0">
                  <a:pos x="connsiteX9797" y="connsiteY9797"/>
                </a:cxn>
                <a:cxn ang="0">
                  <a:pos x="connsiteX9798" y="connsiteY9798"/>
                </a:cxn>
                <a:cxn ang="0">
                  <a:pos x="connsiteX9799" y="connsiteY9799"/>
                </a:cxn>
                <a:cxn ang="0">
                  <a:pos x="connsiteX9800" y="connsiteY9800"/>
                </a:cxn>
                <a:cxn ang="0">
                  <a:pos x="connsiteX9801" y="connsiteY9801"/>
                </a:cxn>
                <a:cxn ang="0">
                  <a:pos x="connsiteX9802" y="connsiteY9802"/>
                </a:cxn>
                <a:cxn ang="0">
                  <a:pos x="connsiteX9803" y="connsiteY9803"/>
                </a:cxn>
                <a:cxn ang="0">
                  <a:pos x="connsiteX9804" y="connsiteY9804"/>
                </a:cxn>
                <a:cxn ang="0">
                  <a:pos x="connsiteX9805" y="connsiteY9805"/>
                </a:cxn>
                <a:cxn ang="0">
                  <a:pos x="connsiteX9806" y="connsiteY9806"/>
                </a:cxn>
                <a:cxn ang="0">
                  <a:pos x="connsiteX9807" y="connsiteY9807"/>
                </a:cxn>
                <a:cxn ang="0">
                  <a:pos x="connsiteX9808" y="connsiteY9808"/>
                </a:cxn>
                <a:cxn ang="0">
                  <a:pos x="connsiteX9809" y="connsiteY9809"/>
                </a:cxn>
                <a:cxn ang="0">
                  <a:pos x="connsiteX9810" y="connsiteY9810"/>
                </a:cxn>
                <a:cxn ang="0">
                  <a:pos x="connsiteX9811" y="connsiteY9811"/>
                </a:cxn>
                <a:cxn ang="0">
                  <a:pos x="connsiteX9812" y="connsiteY9812"/>
                </a:cxn>
                <a:cxn ang="0">
                  <a:pos x="connsiteX9813" y="connsiteY9813"/>
                </a:cxn>
                <a:cxn ang="0">
                  <a:pos x="connsiteX9814" y="connsiteY9814"/>
                </a:cxn>
                <a:cxn ang="0">
                  <a:pos x="connsiteX9815" y="connsiteY9815"/>
                </a:cxn>
                <a:cxn ang="0">
                  <a:pos x="connsiteX9816" y="connsiteY9816"/>
                </a:cxn>
                <a:cxn ang="0">
                  <a:pos x="connsiteX9817" y="connsiteY9817"/>
                </a:cxn>
                <a:cxn ang="0">
                  <a:pos x="connsiteX9818" y="connsiteY9818"/>
                </a:cxn>
                <a:cxn ang="0">
                  <a:pos x="connsiteX9819" y="connsiteY9819"/>
                </a:cxn>
                <a:cxn ang="0">
                  <a:pos x="connsiteX9820" y="connsiteY9820"/>
                </a:cxn>
                <a:cxn ang="0">
                  <a:pos x="connsiteX9821" y="connsiteY9821"/>
                </a:cxn>
                <a:cxn ang="0">
                  <a:pos x="connsiteX9822" y="connsiteY9822"/>
                </a:cxn>
                <a:cxn ang="0">
                  <a:pos x="connsiteX9823" y="connsiteY9823"/>
                </a:cxn>
                <a:cxn ang="0">
                  <a:pos x="connsiteX9824" y="connsiteY9824"/>
                </a:cxn>
                <a:cxn ang="0">
                  <a:pos x="connsiteX9825" y="connsiteY9825"/>
                </a:cxn>
                <a:cxn ang="0">
                  <a:pos x="connsiteX9826" y="connsiteY9826"/>
                </a:cxn>
                <a:cxn ang="0">
                  <a:pos x="connsiteX9827" y="connsiteY9827"/>
                </a:cxn>
                <a:cxn ang="0">
                  <a:pos x="connsiteX9828" y="connsiteY9828"/>
                </a:cxn>
                <a:cxn ang="0">
                  <a:pos x="connsiteX9829" y="connsiteY9829"/>
                </a:cxn>
                <a:cxn ang="0">
                  <a:pos x="connsiteX9830" y="connsiteY9830"/>
                </a:cxn>
                <a:cxn ang="0">
                  <a:pos x="connsiteX9831" y="connsiteY9831"/>
                </a:cxn>
                <a:cxn ang="0">
                  <a:pos x="connsiteX9832" y="connsiteY9832"/>
                </a:cxn>
                <a:cxn ang="0">
                  <a:pos x="connsiteX9833" y="connsiteY9833"/>
                </a:cxn>
                <a:cxn ang="0">
                  <a:pos x="connsiteX9834" y="connsiteY9834"/>
                </a:cxn>
                <a:cxn ang="0">
                  <a:pos x="connsiteX9835" y="connsiteY9835"/>
                </a:cxn>
                <a:cxn ang="0">
                  <a:pos x="connsiteX9836" y="connsiteY9836"/>
                </a:cxn>
                <a:cxn ang="0">
                  <a:pos x="connsiteX9837" y="connsiteY9837"/>
                </a:cxn>
                <a:cxn ang="0">
                  <a:pos x="connsiteX9838" y="connsiteY9838"/>
                </a:cxn>
                <a:cxn ang="0">
                  <a:pos x="connsiteX9839" y="connsiteY9839"/>
                </a:cxn>
                <a:cxn ang="0">
                  <a:pos x="connsiteX9840" y="connsiteY9840"/>
                </a:cxn>
                <a:cxn ang="0">
                  <a:pos x="connsiteX9841" y="connsiteY9841"/>
                </a:cxn>
                <a:cxn ang="0">
                  <a:pos x="connsiteX9842" y="connsiteY9842"/>
                </a:cxn>
                <a:cxn ang="0">
                  <a:pos x="connsiteX9843" y="connsiteY9843"/>
                </a:cxn>
                <a:cxn ang="0">
                  <a:pos x="connsiteX9844" y="connsiteY9844"/>
                </a:cxn>
                <a:cxn ang="0">
                  <a:pos x="connsiteX9845" y="connsiteY9845"/>
                </a:cxn>
                <a:cxn ang="0">
                  <a:pos x="connsiteX9846" y="connsiteY9846"/>
                </a:cxn>
                <a:cxn ang="0">
                  <a:pos x="connsiteX9847" y="connsiteY9847"/>
                </a:cxn>
                <a:cxn ang="0">
                  <a:pos x="connsiteX9848" y="connsiteY9848"/>
                </a:cxn>
                <a:cxn ang="0">
                  <a:pos x="connsiteX9849" y="connsiteY9849"/>
                </a:cxn>
                <a:cxn ang="0">
                  <a:pos x="connsiteX9850" y="connsiteY9850"/>
                </a:cxn>
                <a:cxn ang="0">
                  <a:pos x="connsiteX9851" y="connsiteY9851"/>
                </a:cxn>
                <a:cxn ang="0">
                  <a:pos x="connsiteX9852" y="connsiteY9852"/>
                </a:cxn>
                <a:cxn ang="0">
                  <a:pos x="connsiteX9853" y="connsiteY9853"/>
                </a:cxn>
                <a:cxn ang="0">
                  <a:pos x="connsiteX9854" y="connsiteY9854"/>
                </a:cxn>
                <a:cxn ang="0">
                  <a:pos x="connsiteX9855" y="connsiteY9855"/>
                </a:cxn>
                <a:cxn ang="0">
                  <a:pos x="connsiteX9856" y="connsiteY9856"/>
                </a:cxn>
                <a:cxn ang="0">
                  <a:pos x="connsiteX9857" y="connsiteY9857"/>
                </a:cxn>
                <a:cxn ang="0">
                  <a:pos x="connsiteX9858" y="connsiteY9858"/>
                </a:cxn>
                <a:cxn ang="0">
                  <a:pos x="connsiteX9859" y="connsiteY9859"/>
                </a:cxn>
                <a:cxn ang="0">
                  <a:pos x="connsiteX9860" y="connsiteY9860"/>
                </a:cxn>
                <a:cxn ang="0">
                  <a:pos x="connsiteX9861" y="connsiteY9861"/>
                </a:cxn>
                <a:cxn ang="0">
                  <a:pos x="connsiteX9862" y="connsiteY9862"/>
                </a:cxn>
                <a:cxn ang="0">
                  <a:pos x="connsiteX9863" y="connsiteY9863"/>
                </a:cxn>
                <a:cxn ang="0">
                  <a:pos x="connsiteX9864" y="connsiteY9864"/>
                </a:cxn>
                <a:cxn ang="0">
                  <a:pos x="connsiteX9865" y="connsiteY9865"/>
                </a:cxn>
                <a:cxn ang="0">
                  <a:pos x="connsiteX9866" y="connsiteY9866"/>
                </a:cxn>
                <a:cxn ang="0">
                  <a:pos x="connsiteX9867" y="connsiteY9867"/>
                </a:cxn>
                <a:cxn ang="0">
                  <a:pos x="connsiteX9868" y="connsiteY9868"/>
                </a:cxn>
                <a:cxn ang="0">
                  <a:pos x="connsiteX9869" y="connsiteY9869"/>
                </a:cxn>
                <a:cxn ang="0">
                  <a:pos x="connsiteX9870" y="connsiteY9870"/>
                </a:cxn>
                <a:cxn ang="0">
                  <a:pos x="connsiteX9871" y="connsiteY9871"/>
                </a:cxn>
                <a:cxn ang="0">
                  <a:pos x="connsiteX9872" y="connsiteY9872"/>
                </a:cxn>
                <a:cxn ang="0">
                  <a:pos x="connsiteX9873" y="connsiteY9873"/>
                </a:cxn>
                <a:cxn ang="0">
                  <a:pos x="connsiteX9874" y="connsiteY9874"/>
                </a:cxn>
                <a:cxn ang="0">
                  <a:pos x="connsiteX9875" y="connsiteY9875"/>
                </a:cxn>
                <a:cxn ang="0">
                  <a:pos x="connsiteX9876" y="connsiteY9876"/>
                </a:cxn>
                <a:cxn ang="0">
                  <a:pos x="connsiteX9877" y="connsiteY9877"/>
                </a:cxn>
                <a:cxn ang="0">
                  <a:pos x="connsiteX9878" y="connsiteY9878"/>
                </a:cxn>
                <a:cxn ang="0">
                  <a:pos x="connsiteX9879" y="connsiteY9879"/>
                </a:cxn>
                <a:cxn ang="0">
                  <a:pos x="connsiteX9880" y="connsiteY9880"/>
                </a:cxn>
                <a:cxn ang="0">
                  <a:pos x="connsiteX9881" y="connsiteY9881"/>
                </a:cxn>
                <a:cxn ang="0">
                  <a:pos x="connsiteX9882" y="connsiteY9882"/>
                </a:cxn>
                <a:cxn ang="0">
                  <a:pos x="connsiteX9883" y="connsiteY9883"/>
                </a:cxn>
                <a:cxn ang="0">
                  <a:pos x="connsiteX9884" y="connsiteY9884"/>
                </a:cxn>
                <a:cxn ang="0">
                  <a:pos x="connsiteX9885" y="connsiteY9885"/>
                </a:cxn>
                <a:cxn ang="0">
                  <a:pos x="connsiteX9886" y="connsiteY9886"/>
                </a:cxn>
                <a:cxn ang="0">
                  <a:pos x="connsiteX9887" y="connsiteY9887"/>
                </a:cxn>
                <a:cxn ang="0">
                  <a:pos x="connsiteX9888" y="connsiteY9888"/>
                </a:cxn>
                <a:cxn ang="0">
                  <a:pos x="connsiteX9889" y="connsiteY9889"/>
                </a:cxn>
                <a:cxn ang="0">
                  <a:pos x="connsiteX9890" y="connsiteY9890"/>
                </a:cxn>
                <a:cxn ang="0">
                  <a:pos x="connsiteX9891" y="connsiteY9891"/>
                </a:cxn>
                <a:cxn ang="0">
                  <a:pos x="connsiteX9892" y="connsiteY9892"/>
                </a:cxn>
                <a:cxn ang="0">
                  <a:pos x="connsiteX9893" y="connsiteY9893"/>
                </a:cxn>
                <a:cxn ang="0">
                  <a:pos x="connsiteX9894" y="connsiteY9894"/>
                </a:cxn>
                <a:cxn ang="0">
                  <a:pos x="connsiteX9895" y="connsiteY9895"/>
                </a:cxn>
                <a:cxn ang="0">
                  <a:pos x="connsiteX9896" y="connsiteY9896"/>
                </a:cxn>
                <a:cxn ang="0">
                  <a:pos x="connsiteX9897" y="connsiteY9897"/>
                </a:cxn>
                <a:cxn ang="0">
                  <a:pos x="connsiteX9898" y="connsiteY9898"/>
                </a:cxn>
                <a:cxn ang="0">
                  <a:pos x="connsiteX9899" y="connsiteY9899"/>
                </a:cxn>
                <a:cxn ang="0">
                  <a:pos x="connsiteX9900" y="connsiteY9900"/>
                </a:cxn>
                <a:cxn ang="0">
                  <a:pos x="connsiteX9901" y="connsiteY9901"/>
                </a:cxn>
                <a:cxn ang="0">
                  <a:pos x="connsiteX9902" y="connsiteY9902"/>
                </a:cxn>
                <a:cxn ang="0">
                  <a:pos x="connsiteX9903" y="connsiteY9903"/>
                </a:cxn>
                <a:cxn ang="0">
                  <a:pos x="connsiteX9904" y="connsiteY9904"/>
                </a:cxn>
                <a:cxn ang="0">
                  <a:pos x="connsiteX9905" y="connsiteY9905"/>
                </a:cxn>
                <a:cxn ang="0">
                  <a:pos x="connsiteX9906" y="connsiteY9906"/>
                </a:cxn>
                <a:cxn ang="0">
                  <a:pos x="connsiteX9907" y="connsiteY9907"/>
                </a:cxn>
                <a:cxn ang="0">
                  <a:pos x="connsiteX9908" y="connsiteY9908"/>
                </a:cxn>
                <a:cxn ang="0">
                  <a:pos x="connsiteX9909" y="connsiteY9909"/>
                </a:cxn>
                <a:cxn ang="0">
                  <a:pos x="connsiteX9910" y="connsiteY9910"/>
                </a:cxn>
                <a:cxn ang="0">
                  <a:pos x="connsiteX9911" y="connsiteY9911"/>
                </a:cxn>
                <a:cxn ang="0">
                  <a:pos x="connsiteX9912" y="connsiteY9912"/>
                </a:cxn>
                <a:cxn ang="0">
                  <a:pos x="connsiteX9913" y="connsiteY9913"/>
                </a:cxn>
                <a:cxn ang="0">
                  <a:pos x="connsiteX9914" y="connsiteY9914"/>
                </a:cxn>
                <a:cxn ang="0">
                  <a:pos x="connsiteX9915" y="connsiteY9915"/>
                </a:cxn>
                <a:cxn ang="0">
                  <a:pos x="connsiteX9916" y="connsiteY9916"/>
                </a:cxn>
                <a:cxn ang="0">
                  <a:pos x="connsiteX9917" y="connsiteY9917"/>
                </a:cxn>
                <a:cxn ang="0">
                  <a:pos x="connsiteX9918" y="connsiteY9918"/>
                </a:cxn>
                <a:cxn ang="0">
                  <a:pos x="connsiteX9919" y="connsiteY9919"/>
                </a:cxn>
                <a:cxn ang="0">
                  <a:pos x="connsiteX9920" y="connsiteY9920"/>
                </a:cxn>
                <a:cxn ang="0">
                  <a:pos x="connsiteX9921" y="connsiteY9921"/>
                </a:cxn>
                <a:cxn ang="0">
                  <a:pos x="connsiteX9922" y="connsiteY9922"/>
                </a:cxn>
                <a:cxn ang="0">
                  <a:pos x="connsiteX9923" y="connsiteY9923"/>
                </a:cxn>
                <a:cxn ang="0">
                  <a:pos x="connsiteX9924" y="connsiteY9924"/>
                </a:cxn>
                <a:cxn ang="0">
                  <a:pos x="connsiteX9925" y="connsiteY9925"/>
                </a:cxn>
                <a:cxn ang="0">
                  <a:pos x="connsiteX9926" y="connsiteY9926"/>
                </a:cxn>
                <a:cxn ang="0">
                  <a:pos x="connsiteX9927" y="connsiteY9927"/>
                </a:cxn>
                <a:cxn ang="0">
                  <a:pos x="connsiteX9928" y="connsiteY9928"/>
                </a:cxn>
                <a:cxn ang="0">
                  <a:pos x="connsiteX9929" y="connsiteY9929"/>
                </a:cxn>
                <a:cxn ang="0">
                  <a:pos x="connsiteX9930" y="connsiteY9930"/>
                </a:cxn>
                <a:cxn ang="0">
                  <a:pos x="connsiteX9931" y="connsiteY9931"/>
                </a:cxn>
                <a:cxn ang="0">
                  <a:pos x="connsiteX9932" y="connsiteY9932"/>
                </a:cxn>
                <a:cxn ang="0">
                  <a:pos x="connsiteX9933" y="connsiteY9933"/>
                </a:cxn>
                <a:cxn ang="0">
                  <a:pos x="connsiteX9934" y="connsiteY9934"/>
                </a:cxn>
                <a:cxn ang="0">
                  <a:pos x="connsiteX9935" y="connsiteY9935"/>
                </a:cxn>
                <a:cxn ang="0">
                  <a:pos x="connsiteX9936" y="connsiteY9936"/>
                </a:cxn>
                <a:cxn ang="0">
                  <a:pos x="connsiteX9937" y="connsiteY9937"/>
                </a:cxn>
                <a:cxn ang="0">
                  <a:pos x="connsiteX9938" y="connsiteY9938"/>
                </a:cxn>
                <a:cxn ang="0">
                  <a:pos x="connsiteX9939" y="connsiteY9939"/>
                </a:cxn>
                <a:cxn ang="0">
                  <a:pos x="connsiteX9940" y="connsiteY9940"/>
                </a:cxn>
                <a:cxn ang="0">
                  <a:pos x="connsiteX9941" y="connsiteY9941"/>
                </a:cxn>
                <a:cxn ang="0">
                  <a:pos x="connsiteX9942" y="connsiteY9942"/>
                </a:cxn>
                <a:cxn ang="0">
                  <a:pos x="connsiteX9943" y="connsiteY9943"/>
                </a:cxn>
                <a:cxn ang="0">
                  <a:pos x="connsiteX9944" y="connsiteY9944"/>
                </a:cxn>
                <a:cxn ang="0">
                  <a:pos x="connsiteX9945" y="connsiteY9945"/>
                </a:cxn>
                <a:cxn ang="0">
                  <a:pos x="connsiteX9946" y="connsiteY9946"/>
                </a:cxn>
                <a:cxn ang="0">
                  <a:pos x="connsiteX9947" y="connsiteY9947"/>
                </a:cxn>
                <a:cxn ang="0">
                  <a:pos x="connsiteX9948" y="connsiteY9948"/>
                </a:cxn>
                <a:cxn ang="0">
                  <a:pos x="connsiteX9949" y="connsiteY9949"/>
                </a:cxn>
                <a:cxn ang="0">
                  <a:pos x="connsiteX9950" y="connsiteY9950"/>
                </a:cxn>
                <a:cxn ang="0">
                  <a:pos x="connsiteX9951" y="connsiteY9951"/>
                </a:cxn>
                <a:cxn ang="0">
                  <a:pos x="connsiteX9952" y="connsiteY9952"/>
                </a:cxn>
                <a:cxn ang="0">
                  <a:pos x="connsiteX9953" y="connsiteY9953"/>
                </a:cxn>
                <a:cxn ang="0">
                  <a:pos x="connsiteX9954" y="connsiteY9954"/>
                </a:cxn>
                <a:cxn ang="0">
                  <a:pos x="connsiteX9955" y="connsiteY9955"/>
                </a:cxn>
                <a:cxn ang="0">
                  <a:pos x="connsiteX9956" y="connsiteY9956"/>
                </a:cxn>
                <a:cxn ang="0">
                  <a:pos x="connsiteX9957" y="connsiteY9957"/>
                </a:cxn>
                <a:cxn ang="0">
                  <a:pos x="connsiteX9958" y="connsiteY9958"/>
                </a:cxn>
                <a:cxn ang="0">
                  <a:pos x="connsiteX9959" y="connsiteY9959"/>
                </a:cxn>
                <a:cxn ang="0">
                  <a:pos x="connsiteX9960" y="connsiteY9960"/>
                </a:cxn>
                <a:cxn ang="0">
                  <a:pos x="connsiteX9961" y="connsiteY9961"/>
                </a:cxn>
                <a:cxn ang="0">
                  <a:pos x="connsiteX9962" y="connsiteY9962"/>
                </a:cxn>
                <a:cxn ang="0">
                  <a:pos x="connsiteX9963" y="connsiteY9963"/>
                </a:cxn>
                <a:cxn ang="0">
                  <a:pos x="connsiteX9964" y="connsiteY9964"/>
                </a:cxn>
                <a:cxn ang="0">
                  <a:pos x="connsiteX9965" y="connsiteY9965"/>
                </a:cxn>
                <a:cxn ang="0">
                  <a:pos x="connsiteX9966" y="connsiteY9966"/>
                </a:cxn>
                <a:cxn ang="0">
                  <a:pos x="connsiteX9967" y="connsiteY9967"/>
                </a:cxn>
                <a:cxn ang="0">
                  <a:pos x="connsiteX9968" y="connsiteY9968"/>
                </a:cxn>
                <a:cxn ang="0">
                  <a:pos x="connsiteX9969" y="connsiteY9969"/>
                </a:cxn>
                <a:cxn ang="0">
                  <a:pos x="connsiteX9970" y="connsiteY9970"/>
                </a:cxn>
                <a:cxn ang="0">
                  <a:pos x="connsiteX9971" y="connsiteY9971"/>
                </a:cxn>
                <a:cxn ang="0">
                  <a:pos x="connsiteX9972" y="connsiteY9972"/>
                </a:cxn>
                <a:cxn ang="0">
                  <a:pos x="connsiteX9973" y="connsiteY9973"/>
                </a:cxn>
                <a:cxn ang="0">
                  <a:pos x="connsiteX9974" y="connsiteY9974"/>
                </a:cxn>
                <a:cxn ang="0">
                  <a:pos x="connsiteX9975" y="connsiteY9975"/>
                </a:cxn>
                <a:cxn ang="0">
                  <a:pos x="connsiteX9976" y="connsiteY9976"/>
                </a:cxn>
                <a:cxn ang="0">
                  <a:pos x="connsiteX9977" y="connsiteY9977"/>
                </a:cxn>
                <a:cxn ang="0">
                  <a:pos x="connsiteX9978" y="connsiteY9978"/>
                </a:cxn>
                <a:cxn ang="0">
                  <a:pos x="connsiteX9979" y="connsiteY9979"/>
                </a:cxn>
                <a:cxn ang="0">
                  <a:pos x="connsiteX9980" y="connsiteY9980"/>
                </a:cxn>
                <a:cxn ang="0">
                  <a:pos x="connsiteX9981" y="connsiteY9981"/>
                </a:cxn>
                <a:cxn ang="0">
                  <a:pos x="connsiteX9982" y="connsiteY9982"/>
                </a:cxn>
                <a:cxn ang="0">
                  <a:pos x="connsiteX9983" y="connsiteY9983"/>
                </a:cxn>
                <a:cxn ang="0">
                  <a:pos x="connsiteX9984" y="connsiteY9984"/>
                </a:cxn>
                <a:cxn ang="0">
                  <a:pos x="connsiteX9985" y="connsiteY9985"/>
                </a:cxn>
                <a:cxn ang="0">
                  <a:pos x="connsiteX9986" y="connsiteY9986"/>
                </a:cxn>
                <a:cxn ang="0">
                  <a:pos x="connsiteX9987" y="connsiteY9987"/>
                </a:cxn>
                <a:cxn ang="0">
                  <a:pos x="connsiteX9988" y="connsiteY9988"/>
                </a:cxn>
                <a:cxn ang="0">
                  <a:pos x="connsiteX9989" y="connsiteY9989"/>
                </a:cxn>
                <a:cxn ang="0">
                  <a:pos x="connsiteX9990" y="connsiteY9990"/>
                </a:cxn>
                <a:cxn ang="0">
                  <a:pos x="connsiteX9991" y="connsiteY9991"/>
                </a:cxn>
                <a:cxn ang="0">
                  <a:pos x="connsiteX9992" y="connsiteY9992"/>
                </a:cxn>
                <a:cxn ang="0">
                  <a:pos x="connsiteX9993" y="connsiteY9993"/>
                </a:cxn>
                <a:cxn ang="0">
                  <a:pos x="connsiteX9994" y="connsiteY9994"/>
                </a:cxn>
                <a:cxn ang="0">
                  <a:pos x="connsiteX9995" y="connsiteY9995"/>
                </a:cxn>
                <a:cxn ang="0">
                  <a:pos x="connsiteX9996" y="connsiteY9996"/>
                </a:cxn>
                <a:cxn ang="0">
                  <a:pos x="connsiteX9997" y="connsiteY9997"/>
                </a:cxn>
                <a:cxn ang="0">
                  <a:pos x="connsiteX9998" y="connsiteY9998"/>
                </a:cxn>
                <a:cxn ang="0">
                  <a:pos x="connsiteX9999" y="connsiteY9999"/>
                </a:cxn>
                <a:cxn ang="0">
                  <a:pos x="connsiteX10000" y="connsiteY10000"/>
                </a:cxn>
                <a:cxn ang="0">
                  <a:pos x="connsiteX10001" y="connsiteY10001"/>
                </a:cxn>
                <a:cxn ang="0">
                  <a:pos x="connsiteX10002" y="connsiteY10002"/>
                </a:cxn>
                <a:cxn ang="0">
                  <a:pos x="connsiteX10003" y="connsiteY10003"/>
                </a:cxn>
                <a:cxn ang="0">
                  <a:pos x="connsiteX10004" y="connsiteY10004"/>
                </a:cxn>
                <a:cxn ang="0">
                  <a:pos x="connsiteX10005" y="connsiteY10005"/>
                </a:cxn>
                <a:cxn ang="0">
                  <a:pos x="connsiteX10006" y="connsiteY10006"/>
                </a:cxn>
                <a:cxn ang="0">
                  <a:pos x="connsiteX10007" y="connsiteY10007"/>
                </a:cxn>
                <a:cxn ang="0">
                  <a:pos x="connsiteX10008" y="connsiteY10008"/>
                </a:cxn>
                <a:cxn ang="0">
                  <a:pos x="connsiteX10009" y="connsiteY10009"/>
                </a:cxn>
                <a:cxn ang="0">
                  <a:pos x="connsiteX10010" y="connsiteY10010"/>
                </a:cxn>
                <a:cxn ang="0">
                  <a:pos x="connsiteX10011" y="connsiteY10011"/>
                </a:cxn>
                <a:cxn ang="0">
                  <a:pos x="connsiteX10012" y="connsiteY10012"/>
                </a:cxn>
                <a:cxn ang="0">
                  <a:pos x="connsiteX10013" y="connsiteY10013"/>
                </a:cxn>
                <a:cxn ang="0">
                  <a:pos x="connsiteX10014" y="connsiteY10014"/>
                </a:cxn>
                <a:cxn ang="0">
                  <a:pos x="connsiteX10015" y="connsiteY10015"/>
                </a:cxn>
                <a:cxn ang="0">
                  <a:pos x="connsiteX10016" y="connsiteY10016"/>
                </a:cxn>
                <a:cxn ang="0">
                  <a:pos x="connsiteX10017" y="connsiteY10017"/>
                </a:cxn>
                <a:cxn ang="0">
                  <a:pos x="connsiteX10018" y="connsiteY10018"/>
                </a:cxn>
                <a:cxn ang="0">
                  <a:pos x="connsiteX10019" y="connsiteY10019"/>
                </a:cxn>
                <a:cxn ang="0">
                  <a:pos x="connsiteX10020" y="connsiteY10020"/>
                </a:cxn>
                <a:cxn ang="0">
                  <a:pos x="connsiteX10021" y="connsiteY10021"/>
                </a:cxn>
                <a:cxn ang="0">
                  <a:pos x="connsiteX10022" y="connsiteY10022"/>
                </a:cxn>
                <a:cxn ang="0">
                  <a:pos x="connsiteX10023" y="connsiteY10023"/>
                </a:cxn>
                <a:cxn ang="0">
                  <a:pos x="connsiteX10024" y="connsiteY10024"/>
                </a:cxn>
                <a:cxn ang="0">
                  <a:pos x="connsiteX10025" y="connsiteY10025"/>
                </a:cxn>
                <a:cxn ang="0">
                  <a:pos x="connsiteX10026" y="connsiteY10026"/>
                </a:cxn>
                <a:cxn ang="0">
                  <a:pos x="connsiteX10027" y="connsiteY10027"/>
                </a:cxn>
                <a:cxn ang="0">
                  <a:pos x="connsiteX10028" y="connsiteY10028"/>
                </a:cxn>
                <a:cxn ang="0">
                  <a:pos x="connsiteX10029" y="connsiteY10029"/>
                </a:cxn>
                <a:cxn ang="0">
                  <a:pos x="connsiteX10030" y="connsiteY10030"/>
                </a:cxn>
                <a:cxn ang="0">
                  <a:pos x="connsiteX10031" y="connsiteY10031"/>
                </a:cxn>
                <a:cxn ang="0">
                  <a:pos x="connsiteX10032" y="connsiteY10032"/>
                </a:cxn>
                <a:cxn ang="0">
                  <a:pos x="connsiteX10033" y="connsiteY10033"/>
                </a:cxn>
                <a:cxn ang="0">
                  <a:pos x="connsiteX10034" y="connsiteY10034"/>
                </a:cxn>
                <a:cxn ang="0">
                  <a:pos x="connsiteX10035" y="connsiteY10035"/>
                </a:cxn>
                <a:cxn ang="0">
                  <a:pos x="connsiteX10036" y="connsiteY10036"/>
                </a:cxn>
                <a:cxn ang="0">
                  <a:pos x="connsiteX10037" y="connsiteY10037"/>
                </a:cxn>
                <a:cxn ang="0">
                  <a:pos x="connsiteX10038" y="connsiteY10038"/>
                </a:cxn>
                <a:cxn ang="0">
                  <a:pos x="connsiteX10039" y="connsiteY10039"/>
                </a:cxn>
                <a:cxn ang="0">
                  <a:pos x="connsiteX10040" y="connsiteY10040"/>
                </a:cxn>
                <a:cxn ang="0">
                  <a:pos x="connsiteX10041" y="connsiteY10041"/>
                </a:cxn>
                <a:cxn ang="0">
                  <a:pos x="connsiteX10042" y="connsiteY10042"/>
                </a:cxn>
                <a:cxn ang="0">
                  <a:pos x="connsiteX10043" y="connsiteY10043"/>
                </a:cxn>
                <a:cxn ang="0">
                  <a:pos x="connsiteX10044" y="connsiteY10044"/>
                </a:cxn>
                <a:cxn ang="0">
                  <a:pos x="connsiteX10045" y="connsiteY10045"/>
                </a:cxn>
                <a:cxn ang="0">
                  <a:pos x="connsiteX10046" y="connsiteY10046"/>
                </a:cxn>
                <a:cxn ang="0">
                  <a:pos x="connsiteX10047" y="connsiteY10047"/>
                </a:cxn>
                <a:cxn ang="0">
                  <a:pos x="connsiteX10048" y="connsiteY10048"/>
                </a:cxn>
                <a:cxn ang="0">
                  <a:pos x="connsiteX10049" y="connsiteY10049"/>
                </a:cxn>
                <a:cxn ang="0">
                  <a:pos x="connsiteX10050" y="connsiteY10050"/>
                </a:cxn>
                <a:cxn ang="0">
                  <a:pos x="connsiteX10051" y="connsiteY10051"/>
                </a:cxn>
                <a:cxn ang="0">
                  <a:pos x="connsiteX10052" y="connsiteY10052"/>
                </a:cxn>
                <a:cxn ang="0">
                  <a:pos x="connsiteX10053" y="connsiteY10053"/>
                </a:cxn>
                <a:cxn ang="0">
                  <a:pos x="connsiteX10054" y="connsiteY10054"/>
                </a:cxn>
                <a:cxn ang="0">
                  <a:pos x="connsiteX10055" y="connsiteY10055"/>
                </a:cxn>
                <a:cxn ang="0">
                  <a:pos x="connsiteX10056" y="connsiteY10056"/>
                </a:cxn>
                <a:cxn ang="0">
                  <a:pos x="connsiteX10057" y="connsiteY10057"/>
                </a:cxn>
                <a:cxn ang="0">
                  <a:pos x="connsiteX10058" y="connsiteY10058"/>
                </a:cxn>
                <a:cxn ang="0">
                  <a:pos x="connsiteX10059" y="connsiteY10059"/>
                </a:cxn>
                <a:cxn ang="0">
                  <a:pos x="connsiteX10060" y="connsiteY10060"/>
                </a:cxn>
                <a:cxn ang="0">
                  <a:pos x="connsiteX10061" y="connsiteY10061"/>
                </a:cxn>
                <a:cxn ang="0">
                  <a:pos x="connsiteX10062" y="connsiteY10062"/>
                </a:cxn>
                <a:cxn ang="0">
                  <a:pos x="connsiteX10063" y="connsiteY10063"/>
                </a:cxn>
                <a:cxn ang="0">
                  <a:pos x="connsiteX10064" y="connsiteY10064"/>
                </a:cxn>
                <a:cxn ang="0">
                  <a:pos x="connsiteX10065" y="connsiteY10065"/>
                </a:cxn>
                <a:cxn ang="0">
                  <a:pos x="connsiteX10066" y="connsiteY10066"/>
                </a:cxn>
                <a:cxn ang="0">
                  <a:pos x="connsiteX10067" y="connsiteY10067"/>
                </a:cxn>
                <a:cxn ang="0">
                  <a:pos x="connsiteX10068" y="connsiteY10068"/>
                </a:cxn>
                <a:cxn ang="0">
                  <a:pos x="connsiteX10069" y="connsiteY10069"/>
                </a:cxn>
                <a:cxn ang="0">
                  <a:pos x="connsiteX10070" y="connsiteY10070"/>
                </a:cxn>
                <a:cxn ang="0">
                  <a:pos x="connsiteX10071" y="connsiteY10071"/>
                </a:cxn>
                <a:cxn ang="0">
                  <a:pos x="connsiteX10072" y="connsiteY10072"/>
                </a:cxn>
                <a:cxn ang="0">
                  <a:pos x="connsiteX10073" y="connsiteY10073"/>
                </a:cxn>
                <a:cxn ang="0">
                  <a:pos x="connsiteX10074" y="connsiteY10074"/>
                </a:cxn>
                <a:cxn ang="0">
                  <a:pos x="connsiteX10075" y="connsiteY10075"/>
                </a:cxn>
                <a:cxn ang="0">
                  <a:pos x="connsiteX10076" y="connsiteY10076"/>
                </a:cxn>
                <a:cxn ang="0">
                  <a:pos x="connsiteX10077" y="connsiteY10077"/>
                </a:cxn>
                <a:cxn ang="0">
                  <a:pos x="connsiteX10078" y="connsiteY10078"/>
                </a:cxn>
                <a:cxn ang="0">
                  <a:pos x="connsiteX10079" y="connsiteY10079"/>
                </a:cxn>
                <a:cxn ang="0">
                  <a:pos x="connsiteX10080" y="connsiteY10080"/>
                </a:cxn>
                <a:cxn ang="0">
                  <a:pos x="connsiteX10081" y="connsiteY10081"/>
                </a:cxn>
                <a:cxn ang="0">
                  <a:pos x="connsiteX10082" y="connsiteY10082"/>
                </a:cxn>
                <a:cxn ang="0">
                  <a:pos x="connsiteX10083" y="connsiteY10083"/>
                </a:cxn>
                <a:cxn ang="0">
                  <a:pos x="connsiteX10084" y="connsiteY10084"/>
                </a:cxn>
                <a:cxn ang="0">
                  <a:pos x="connsiteX10085" y="connsiteY10085"/>
                </a:cxn>
                <a:cxn ang="0">
                  <a:pos x="connsiteX10086" y="connsiteY10086"/>
                </a:cxn>
                <a:cxn ang="0">
                  <a:pos x="connsiteX10087" y="connsiteY10087"/>
                </a:cxn>
                <a:cxn ang="0">
                  <a:pos x="connsiteX10088" y="connsiteY10088"/>
                </a:cxn>
                <a:cxn ang="0">
                  <a:pos x="connsiteX10089" y="connsiteY10089"/>
                </a:cxn>
                <a:cxn ang="0">
                  <a:pos x="connsiteX10090" y="connsiteY10090"/>
                </a:cxn>
                <a:cxn ang="0">
                  <a:pos x="connsiteX10091" y="connsiteY10091"/>
                </a:cxn>
                <a:cxn ang="0">
                  <a:pos x="connsiteX10092" y="connsiteY10092"/>
                </a:cxn>
                <a:cxn ang="0">
                  <a:pos x="connsiteX10093" y="connsiteY10093"/>
                </a:cxn>
                <a:cxn ang="0">
                  <a:pos x="connsiteX10094" y="connsiteY10094"/>
                </a:cxn>
                <a:cxn ang="0">
                  <a:pos x="connsiteX10095" y="connsiteY10095"/>
                </a:cxn>
                <a:cxn ang="0">
                  <a:pos x="connsiteX10096" y="connsiteY10096"/>
                </a:cxn>
                <a:cxn ang="0">
                  <a:pos x="connsiteX10097" y="connsiteY10097"/>
                </a:cxn>
                <a:cxn ang="0">
                  <a:pos x="connsiteX10098" y="connsiteY10098"/>
                </a:cxn>
                <a:cxn ang="0">
                  <a:pos x="connsiteX10099" y="connsiteY10099"/>
                </a:cxn>
                <a:cxn ang="0">
                  <a:pos x="connsiteX10100" y="connsiteY10100"/>
                </a:cxn>
                <a:cxn ang="0">
                  <a:pos x="connsiteX10101" y="connsiteY10101"/>
                </a:cxn>
                <a:cxn ang="0">
                  <a:pos x="connsiteX10102" y="connsiteY10102"/>
                </a:cxn>
                <a:cxn ang="0">
                  <a:pos x="connsiteX10103" y="connsiteY10103"/>
                </a:cxn>
                <a:cxn ang="0">
                  <a:pos x="connsiteX10104" y="connsiteY10104"/>
                </a:cxn>
                <a:cxn ang="0">
                  <a:pos x="connsiteX10105" y="connsiteY10105"/>
                </a:cxn>
                <a:cxn ang="0">
                  <a:pos x="connsiteX10106" y="connsiteY10106"/>
                </a:cxn>
                <a:cxn ang="0">
                  <a:pos x="connsiteX10107" y="connsiteY10107"/>
                </a:cxn>
                <a:cxn ang="0">
                  <a:pos x="connsiteX10108" y="connsiteY10108"/>
                </a:cxn>
                <a:cxn ang="0">
                  <a:pos x="connsiteX10109" y="connsiteY10109"/>
                </a:cxn>
                <a:cxn ang="0">
                  <a:pos x="connsiteX10110" y="connsiteY10110"/>
                </a:cxn>
                <a:cxn ang="0">
                  <a:pos x="connsiteX10111" y="connsiteY10111"/>
                </a:cxn>
                <a:cxn ang="0">
                  <a:pos x="connsiteX10112" y="connsiteY10112"/>
                </a:cxn>
                <a:cxn ang="0">
                  <a:pos x="connsiteX10113" y="connsiteY10113"/>
                </a:cxn>
                <a:cxn ang="0">
                  <a:pos x="connsiteX10114" y="connsiteY10114"/>
                </a:cxn>
                <a:cxn ang="0">
                  <a:pos x="connsiteX10115" y="connsiteY10115"/>
                </a:cxn>
                <a:cxn ang="0">
                  <a:pos x="connsiteX10116" y="connsiteY10116"/>
                </a:cxn>
                <a:cxn ang="0">
                  <a:pos x="connsiteX10117" y="connsiteY10117"/>
                </a:cxn>
                <a:cxn ang="0">
                  <a:pos x="connsiteX10118" y="connsiteY10118"/>
                </a:cxn>
                <a:cxn ang="0">
                  <a:pos x="connsiteX10119" y="connsiteY10119"/>
                </a:cxn>
                <a:cxn ang="0">
                  <a:pos x="connsiteX10120" y="connsiteY10120"/>
                </a:cxn>
                <a:cxn ang="0">
                  <a:pos x="connsiteX10121" y="connsiteY10121"/>
                </a:cxn>
                <a:cxn ang="0">
                  <a:pos x="connsiteX10122" y="connsiteY10122"/>
                </a:cxn>
                <a:cxn ang="0">
                  <a:pos x="connsiteX10123" y="connsiteY10123"/>
                </a:cxn>
                <a:cxn ang="0">
                  <a:pos x="connsiteX10124" y="connsiteY10124"/>
                </a:cxn>
                <a:cxn ang="0">
                  <a:pos x="connsiteX10125" y="connsiteY10125"/>
                </a:cxn>
                <a:cxn ang="0">
                  <a:pos x="connsiteX10126" y="connsiteY10126"/>
                </a:cxn>
                <a:cxn ang="0">
                  <a:pos x="connsiteX10127" y="connsiteY10127"/>
                </a:cxn>
                <a:cxn ang="0">
                  <a:pos x="connsiteX10128" y="connsiteY10128"/>
                </a:cxn>
                <a:cxn ang="0">
                  <a:pos x="connsiteX10129" y="connsiteY10129"/>
                </a:cxn>
                <a:cxn ang="0">
                  <a:pos x="connsiteX10130" y="connsiteY10130"/>
                </a:cxn>
                <a:cxn ang="0">
                  <a:pos x="connsiteX10131" y="connsiteY10131"/>
                </a:cxn>
                <a:cxn ang="0">
                  <a:pos x="connsiteX10132" y="connsiteY10132"/>
                </a:cxn>
                <a:cxn ang="0">
                  <a:pos x="connsiteX10133" y="connsiteY10133"/>
                </a:cxn>
                <a:cxn ang="0">
                  <a:pos x="connsiteX10134" y="connsiteY10134"/>
                </a:cxn>
                <a:cxn ang="0">
                  <a:pos x="connsiteX10135" y="connsiteY10135"/>
                </a:cxn>
                <a:cxn ang="0">
                  <a:pos x="connsiteX10136" y="connsiteY10136"/>
                </a:cxn>
                <a:cxn ang="0">
                  <a:pos x="connsiteX10137" y="connsiteY10137"/>
                </a:cxn>
                <a:cxn ang="0">
                  <a:pos x="connsiteX10138" y="connsiteY10138"/>
                </a:cxn>
                <a:cxn ang="0">
                  <a:pos x="connsiteX10139" y="connsiteY10139"/>
                </a:cxn>
                <a:cxn ang="0">
                  <a:pos x="connsiteX10140" y="connsiteY10140"/>
                </a:cxn>
                <a:cxn ang="0">
                  <a:pos x="connsiteX10141" y="connsiteY10141"/>
                </a:cxn>
                <a:cxn ang="0">
                  <a:pos x="connsiteX10142" y="connsiteY10142"/>
                </a:cxn>
                <a:cxn ang="0">
                  <a:pos x="connsiteX10143" y="connsiteY10143"/>
                </a:cxn>
                <a:cxn ang="0">
                  <a:pos x="connsiteX10144" y="connsiteY10144"/>
                </a:cxn>
                <a:cxn ang="0">
                  <a:pos x="connsiteX10145" y="connsiteY10145"/>
                </a:cxn>
                <a:cxn ang="0">
                  <a:pos x="connsiteX10146" y="connsiteY10146"/>
                </a:cxn>
                <a:cxn ang="0">
                  <a:pos x="connsiteX10147" y="connsiteY10147"/>
                </a:cxn>
                <a:cxn ang="0">
                  <a:pos x="connsiteX10148" y="connsiteY10148"/>
                </a:cxn>
                <a:cxn ang="0">
                  <a:pos x="connsiteX10149" y="connsiteY10149"/>
                </a:cxn>
                <a:cxn ang="0">
                  <a:pos x="connsiteX10150" y="connsiteY10150"/>
                </a:cxn>
                <a:cxn ang="0">
                  <a:pos x="connsiteX10151" y="connsiteY10151"/>
                </a:cxn>
                <a:cxn ang="0">
                  <a:pos x="connsiteX10152" y="connsiteY10152"/>
                </a:cxn>
                <a:cxn ang="0">
                  <a:pos x="connsiteX10153" y="connsiteY10153"/>
                </a:cxn>
                <a:cxn ang="0">
                  <a:pos x="connsiteX10154" y="connsiteY10154"/>
                </a:cxn>
                <a:cxn ang="0">
                  <a:pos x="connsiteX10155" y="connsiteY10155"/>
                </a:cxn>
                <a:cxn ang="0">
                  <a:pos x="connsiteX10156" y="connsiteY10156"/>
                </a:cxn>
                <a:cxn ang="0">
                  <a:pos x="connsiteX10157" y="connsiteY10157"/>
                </a:cxn>
                <a:cxn ang="0">
                  <a:pos x="connsiteX10158" y="connsiteY10158"/>
                </a:cxn>
                <a:cxn ang="0">
                  <a:pos x="connsiteX10159" y="connsiteY10159"/>
                </a:cxn>
                <a:cxn ang="0">
                  <a:pos x="connsiteX10160" y="connsiteY10160"/>
                </a:cxn>
                <a:cxn ang="0">
                  <a:pos x="connsiteX10161" y="connsiteY10161"/>
                </a:cxn>
                <a:cxn ang="0">
                  <a:pos x="connsiteX10162" y="connsiteY10162"/>
                </a:cxn>
                <a:cxn ang="0">
                  <a:pos x="connsiteX10163" y="connsiteY10163"/>
                </a:cxn>
                <a:cxn ang="0">
                  <a:pos x="connsiteX10164" y="connsiteY10164"/>
                </a:cxn>
                <a:cxn ang="0">
                  <a:pos x="connsiteX10165" y="connsiteY10165"/>
                </a:cxn>
                <a:cxn ang="0">
                  <a:pos x="connsiteX10166" y="connsiteY10166"/>
                </a:cxn>
                <a:cxn ang="0">
                  <a:pos x="connsiteX10167" y="connsiteY10167"/>
                </a:cxn>
                <a:cxn ang="0">
                  <a:pos x="connsiteX10168" y="connsiteY10168"/>
                </a:cxn>
                <a:cxn ang="0">
                  <a:pos x="connsiteX10169" y="connsiteY10169"/>
                </a:cxn>
                <a:cxn ang="0">
                  <a:pos x="connsiteX10170" y="connsiteY10170"/>
                </a:cxn>
                <a:cxn ang="0">
                  <a:pos x="connsiteX10171" y="connsiteY10171"/>
                </a:cxn>
                <a:cxn ang="0">
                  <a:pos x="connsiteX10172" y="connsiteY10172"/>
                </a:cxn>
                <a:cxn ang="0">
                  <a:pos x="connsiteX10173" y="connsiteY10173"/>
                </a:cxn>
                <a:cxn ang="0">
                  <a:pos x="connsiteX10174" y="connsiteY10174"/>
                </a:cxn>
                <a:cxn ang="0">
                  <a:pos x="connsiteX10175" y="connsiteY10175"/>
                </a:cxn>
                <a:cxn ang="0">
                  <a:pos x="connsiteX10176" y="connsiteY10176"/>
                </a:cxn>
                <a:cxn ang="0">
                  <a:pos x="connsiteX10177" y="connsiteY10177"/>
                </a:cxn>
                <a:cxn ang="0">
                  <a:pos x="connsiteX10178" y="connsiteY10178"/>
                </a:cxn>
                <a:cxn ang="0">
                  <a:pos x="connsiteX10179" y="connsiteY10179"/>
                </a:cxn>
                <a:cxn ang="0">
                  <a:pos x="connsiteX10180" y="connsiteY10180"/>
                </a:cxn>
                <a:cxn ang="0">
                  <a:pos x="connsiteX10181" y="connsiteY10181"/>
                </a:cxn>
                <a:cxn ang="0">
                  <a:pos x="connsiteX10182" y="connsiteY10182"/>
                </a:cxn>
                <a:cxn ang="0">
                  <a:pos x="connsiteX10183" y="connsiteY10183"/>
                </a:cxn>
                <a:cxn ang="0">
                  <a:pos x="connsiteX10184" y="connsiteY10184"/>
                </a:cxn>
                <a:cxn ang="0">
                  <a:pos x="connsiteX10185" y="connsiteY10185"/>
                </a:cxn>
                <a:cxn ang="0">
                  <a:pos x="connsiteX10186" y="connsiteY10186"/>
                </a:cxn>
                <a:cxn ang="0">
                  <a:pos x="connsiteX10187" y="connsiteY10187"/>
                </a:cxn>
                <a:cxn ang="0">
                  <a:pos x="connsiteX10188" y="connsiteY10188"/>
                </a:cxn>
                <a:cxn ang="0">
                  <a:pos x="connsiteX10189" y="connsiteY10189"/>
                </a:cxn>
                <a:cxn ang="0">
                  <a:pos x="connsiteX10190" y="connsiteY10190"/>
                </a:cxn>
                <a:cxn ang="0">
                  <a:pos x="connsiteX10191" y="connsiteY10191"/>
                </a:cxn>
                <a:cxn ang="0">
                  <a:pos x="connsiteX10192" y="connsiteY10192"/>
                </a:cxn>
                <a:cxn ang="0">
                  <a:pos x="connsiteX10193" y="connsiteY10193"/>
                </a:cxn>
                <a:cxn ang="0">
                  <a:pos x="connsiteX10194" y="connsiteY10194"/>
                </a:cxn>
                <a:cxn ang="0">
                  <a:pos x="connsiteX10195" y="connsiteY10195"/>
                </a:cxn>
                <a:cxn ang="0">
                  <a:pos x="connsiteX10196" y="connsiteY10196"/>
                </a:cxn>
                <a:cxn ang="0">
                  <a:pos x="connsiteX10197" y="connsiteY10197"/>
                </a:cxn>
                <a:cxn ang="0">
                  <a:pos x="connsiteX10198" y="connsiteY10198"/>
                </a:cxn>
                <a:cxn ang="0">
                  <a:pos x="connsiteX10199" y="connsiteY10199"/>
                </a:cxn>
                <a:cxn ang="0">
                  <a:pos x="connsiteX10200" y="connsiteY10200"/>
                </a:cxn>
                <a:cxn ang="0">
                  <a:pos x="connsiteX10201" y="connsiteY10201"/>
                </a:cxn>
                <a:cxn ang="0">
                  <a:pos x="connsiteX10202" y="connsiteY10202"/>
                </a:cxn>
                <a:cxn ang="0">
                  <a:pos x="connsiteX10203" y="connsiteY10203"/>
                </a:cxn>
                <a:cxn ang="0">
                  <a:pos x="connsiteX10204" y="connsiteY10204"/>
                </a:cxn>
                <a:cxn ang="0">
                  <a:pos x="connsiteX10205" y="connsiteY10205"/>
                </a:cxn>
                <a:cxn ang="0">
                  <a:pos x="connsiteX10206" y="connsiteY10206"/>
                </a:cxn>
                <a:cxn ang="0">
                  <a:pos x="connsiteX10207" y="connsiteY10207"/>
                </a:cxn>
                <a:cxn ang="0">
                  <a:pos x="connsiteX10208" y="connsiteY10208"/>
                </a:cxn>
                <a:cxn ang="0">
                  <a:pos x="connsiteX10209" y="connsiteY10209"/>
                </a:cxn>
                <a:cxn ang="0">
                  <a:pos x="connsiteX10210" y="connsiteY10210"/>
                </a:cxn>
                <a:cxn ang="0">
                  <a:pos x="connsiteX10211" y="connsiteY10211"/>
                </a:cxn>
                <a:cxn ang="0">
                  <a:pos x="connsiteX10212" y="connsiteY10212"/>
                </a:cxn>
                <a:cxn ang="0">
                  <a:pos x="connsiteX10213" y="connsiteY10213"/>
                </a:cxn>
                <a:cxn ang="0">
                  <a:pos x="connsiteX10214" y="connsiteY10214"/>
                </a:cxn>
                <a:cxn ang="0">
                  <a:pos x="connsiteX10215" y="connsiteY10215"/>
                </a:cxn>
                <a:cxn ang="0">
                  <a:pos x="connsiteX10216" y="connsiteY10216"/>
                </a:cxn>
                <a:cxn ang="0">
                  <a:pos x="connsiteX10217" y="connsiteY10217"/>
                </a:cxn>
                <a:cxn ang="0">
                  <a:pos x="connsiteX10218" y="connsiteY10218"/>
                </a:cxn>
                <a:cxn ang="0">
                  <a:pos x="connsiteX10219" y="connsiteY10219"/>
                </a:cxn>
                <a:cxn ang="0">
                  <a:pos x="connsiteX10220" y="connsiteY10220"/>
                </a:cxn>
                <a:cxn ang="0">
                  <a:pos x="connsiteX10221" y="connsiteY10221"/>
                </a:cxn>
                <a:cxn ang="0">
                  <a:pos x="connsiteX10222" y="connsiteY10222"/>
                </a:cxn>
                <a:cxn ang="0">
                  <a:pos x="connsiteX10223" y="connsiteY10223"/>
                </a:cxn>
                <a:cxn ang="0">
                  <a:pos x="connsiteX10224" y="connsiteY10224"/>
                </a:cxn>
                <a:cxn ang="0">
                  <a:pos x="connsiteX10225" y="connsiteY10225"/>
                </a:cxn>
                <a:cxn ang="0">
                  <a:pos x="connsiteX10226" y="connsiteY10226"/>
                </a:cxn>
                <a:cxn ang="0">
                  <a:pos x="connsiteX10227" y="connsiteY10227"/>
                </a:cxn>
                <a:cxn ang="0">
                  <a:pos x="connsiteX10228" y="connsiteY10228"/>
                </a:cxn>
                <a:cxn ang="0">
                  <a:pos x="connsiteX10229" y="connsiteY10229"/>
                </a:cxn>
                <a:cxn ang="0">
                  <a:pos x="connsiteX10230" y="connsiteY10230"/>
                </a:cxn>
                <a:cxn ang="0">
                  <a:pos x="connsiteX10231" y="connsiteY10231"/>
                </a:cxn>
                <a:cxn ang="0">
                  <a:pos x="connsiteX10232" y="connsiteY10232"/>
                </a:cxn>
                <a:cxn ang="0">
                  <a:pos x="connsiteX10233" y="connsiteY10233"/>
                </a:cxn>
                <a:cxn ang="0">
                  <a:pos x="connsiteX10234" y="connsiteY10234"/>
                </a:cxn>
                <a:cxn ang="0">
                  <a:pos x="connsiteX10235" y="connsiteY10235"/>
                </a:cxn>
                <a:cxn ang="0">
                  <a:pos x="connsiteX10236" y="connsiteY10236"/>
                </a:cxn>
                <a:cxn ang="0">
                  <a:pos x="connsiteX10237" y="connsiteY10237"/>
                </a:cxn>
                <a:cxn ang="0">
                  <a:pos x="connsiteX10238" y="connsiteY10238"/>
                </a:cxn>
                <a:cxn ang="0">
                  <a:pos x="connsiteX10239" y="connsiteY10239"/>
                </a:cxn>
                <a:cxn ang="0">
                  <a:pos x="connsiteX10240" y="connsiteY10240"/>
                </a:cxn>
                <a:cxn ang="0">
                  <a:pos x="connsiteX10241" y="connsiteY10241"/>
                </a:cxn>
                <a:cxn ang="0">
                  <a:pos x="connsiteX10242" y="connsiteY10242"/>
                </a:cxn>
                <a:cxn ang="0">
                  <a:pos x="connsiteX10243" y="connsiteY10243"/>
                </a:cxn>
                <a:cxn ang="0">
                  <a:pos x="connsiteX10244" y="connsiteY10244"/>
                </a:cxn>
                <a:cxn ang="0">
                  <a:pos x="connsiteX10245" y="connsiteY10245"/>
                </a:cxn>
                <a:cxn ang="0">
                  <a:pos x="connsiteX10246" y="connsiteY10246"/>
                </a:cxn>
                <a:cxn ang="0">
                  <a:pos x="connsiteX10247" y="connsiteY10247"/>
                </a:cxn>
                <a:cxn ang="0">
                  <a:pos x="connsiteX10248" y="connsiteY10248"/>
                </a:cxn>
                <a:cxn ang="0">
                  <a:pos x="connsiteX10249" y="connsiteY10249"/>
                </a:cxn>
                <a:cxn ang="0">
                  <a:pos x="connsiteX10250" y="connsiteY10250"/>
                </a:cxn>
                <a:cxn ang="0">
                  <a:pos x="connsiteX10251" y="connsiteY10251"/>
                </a:cxn>
                <a:cxn ang="0">
                  <a:pos x="connsiteX10252" y="connsiteY10252"/>
                </a:cxn>
                <a:cxn ang="0">
                  <a:pos x="connsiteX10253" y="connsiteY10253"/>
                </a:cxn>
                <a:cxn ang="0">
                  <a:pos x="connsiteX10254" y="connsiteY10254"/>
                </a:cxn>
                <a:cxn ang="0">
                  <a:pos x="connsiteX10255" y="connsiteY10255"/>
                </a:cxn>
                <a:cxn ang="0">
                  <a:pos x="connsiteX10256" y="connsiteY10256"/>
                </a:cxn>
                <a:cxn ang="0">
                  <a:pos x="connsiteX10257" y="connsiteY10257"/>
                </a:cxn>
                <a:cxn ang="0">
                  <a:pos x="connsiteX10258" y="connsiteY10258"/>
                </a:cxn>
                <a:cxn ang="0">
                  <a:pos x="connsiteX10259" y="connsiteY10259"/>
                </a:cxn>
                <a:cxn ang="0">
                  <a:pos x="connsiteX10260" y="connsiteY10260"/>
                </a:cxn>
                <a:cxn ang="0">
                  <a:pos x="connsiteX10261" y="connsiteY10261"/>
                </a:cxn>
                <a:cxn ang="0">
                  <a:pos x="connsiteX10262" y="connsiteY10262"/>
                </a:cxn>
                <a:cxn ang="0">
                  <a:pos x="connsiteX10263" y="connsiteY10263"/>
                </a:cxn>
                <a:cxn ang="0">
                  <a:pos x="connsiteX10264" y="connsiteY10264"/>
                </a:cxn>
                <a:cxn ang="0">
                  <a:pos x="connsiteX10265" y="connsiteY10265"/>
                </a:cxn>
                <a:cxn ang="0">
                  <a:pos x="connsiteX10266" y="connsiteY10266"/>
                </a:cxn>
                <a:cxn ang="0">
                  <a:pos x="connsiteX10267" y="connsiteY10267"/>
                </a:cxn>
                <a:cxn ang="0">
                  <a:pos x="connsiteX10268" y="connsiteY10268"/>
                </a:cxn>
                <a:cxn ang="0">
                  <a:pos x="connsiteX10269" y="connsiteY10269"/>
                </a:cxn>
                <a:cxn ang="0">
                  <a:pos x="connsiteX10270" y="connsiteY10270"/>
                </a:cxn>
                <a:cxn ang="0">
                  <a:pos x="connsiteX10271" y="connsiteY10271"/>
                </a:cxn>
                <a:cxn ang="0">
                  <a:pos x="connsiteX10272" y="connsiteY10272"/>
                </a:cxn>
                <a:cxn ang="0">
                  <a:pos x="connsiteX10273" y="connsiteY10273"/>
                </a:cxn>
                <a:cxn ang="0">
                  <a:pos x="connsiteX10274" y="connsiteY10274"/>
                </a:cxn>
                <a:cxn ang="0">
                  <a:pos x="connsiteX10275" y="connsiteY10275"/>
                </a:cxn>
                <a:cxn ang="0">
                  <a:pos x="connsiteX10276" y="connsiteY10276"/>
                </a:cxn>
                <a:cxn ang="0">
                  <a:pos x="connsiteX10277" y="connsiteY10277"/>
                </a:cxn>
                <a:cxn ang="0">
                  <a:pos x="connsiteX10278" y="connsiteY10278"/>
                </a:cxn>
                <a:cxn ang="0">
                  <a:pos x="connsiteX10279" y="connsiteY10279"/>
                </a:cxn>
                <a:cxn ang="0">
                  <a:pos x="connsiteX10280" y="connsiteY10280"/>
                </a:cxn>
                <a:cxn ang="0">
                  <a:pos x="connsiteX10281" y="connsiteY10281"/>
                </a:cxn>
                <a:cxn ang="0">
                  <a:pos x="connsiteX10282" y="connsiteY10282"/>
                </a:cxn>
                <a:cxn ang="0">
                  <a:pos x="connsiteX10283" y="connsiteY10283"/>
                </a:cxn>
                <a:cxn ang="0">
                  <a:pos x="connsiteX10284" y="connsiteY10284"/>
                </a:cxn>
                <a:cxn ang="0">
                  <a:pos x="connsiteX10285" y="connsiteY10285"/>
                </a:cxn>
                <a:cxn ang="0">
                  <a:pos x="connsiteX10286" y="connsiteY10286"/>
                </a:cxn>
                <a:cxn ang="0">
                  <a:pos x="connsiteX10287" y="connsiteY10287"/>
                </a:cxn>
                <a:cxn ang="0">
                  <a:pos x="connsiteX10288" y="connsiteY10288"/>
                </a:cxn>
                <a:cxn ang="0">
                  <a:pos x="connsiteX10289" y="connsiteY10289"/>
                </a:cxn>
                <a:cxn ang="0">
                  <a:pos x="connsiteX10290" y="connsiteY10290"/>
                </a:cxn>
                <a:cxn ang="0">
                  <a:pos x="connsiteX10291" y="connsiteY10291"/>
                </a:cxn>
                <a:cxn ang="0">
                  <a:pos x="connsiteX10292" y="connsiteY10292"/>
                </a:cxn>
                <a:cxn ang="0">
                  <a:pos x="connsiteX10293" y="connsiteY10293"/>
                </a:cxn>
                <a:cxn ang="0">
                  <a:pos x="connsiteX10294" y="connsiteY10294"/>
                </a:cxn>
                <a:cxn ang="0">
                  <a:pos x="connsiteX10295" y="connsiteY10295"/>
                </a:cxn>
                <a:cxn ang="0">
                  <a:pos x="connsiteX10296" y="connsiteY10296"/>
                </a:cxn>
                <a:cxn ang="0">
                  <a:pos x="connsiteX10297" y="connsiteY10297"/>
                </a:cxn>
                <a:cxn ang="0">
                  <a:pos x="connsiteX10298" y="connsiteY10298"/>
                </a:cxn>
                <a:cxn ang="0">
                  <a:pos x="connsiteX10299" y="connsiteY10299"/>
                </a:cxn>
                <a:cxn ang="0">
                  <a:pos x="connsiteX10300" y="connsiteY10300"/>
                </a:cxn>
                <a:cxn ang="0">
                  <a:pos x="connsiteX10301" y="connsiteY10301"/>
                </a:cxn>
                <a:cxn ang="0">
                  <a:pos x="connsiteX10302" y="connsiteY10302"/>
                </a:cxn>
                <a:cxn ang="0">
                  <a:pos x="connsiteX10303" y="connsiteY10303"/>
                </a:cxn>
                <a:cxn ang="0">
                  <a:pos x="connsiteX10304" y="connsiteY10304"/>
                </a:cxn>
                <a:cxn ang="0">
                  <a:pos x="connsiteX10305" y="connsiteY10305"/>
                </a:cxn>
                <a:cxn ang="0">
                  <a:pos x="connsiteX10306" y="connsiteY10306"/>
                </a:cxn>
                <a:cxn ang="0">
                  <a:pos x="connsiteX10307" y="connsiteY10307"/>
                </a:cxn>
                <a:cxn ang="0">
                  <a:pos x="connsiteX10308" y="connsiteY10308"/>
                </a:cxn>
                <a:cxn ang="0">
                  <a:pos x="connsiteX10309" y="connsiteY10309"/>
                </a:cxn>
                <a:cxn ang="0">
                  <a:pos x="connsiteX10310" y="connsiteY10310"/>
                </a:cxn>
                <a:cxn ang="0">
                  <a:pos x="connsiteX10311" y="connsiteY10311"/>
                </a:cxn>
                <a:cxn ang="0">
                  <a:pos x="connsiteX10312" y="connsiteY10312"/>
                </a:cxn>
                <a:cxn ang="0">
                  <a:pos x="connsiteX10313" y="connsiteY10313"/>
                </a:cxn>
                <a:cxn ang="0">
                  <a:pos x="connsiteX10314" y="connsiteY10314"/>
                </a:cxn>
                <a:cxn ang="0">
                  <a:pos x="connsiteX10315" y="connsiteY10315"/>
                </a:cxn>
                <a:cxn ang="0">
                  <a:pos x="connsiteX10316" y="connsiteY10316"/>
                </a:cxn>
                <a:cxn ang="0">
                  <a:pos x="connsiteX10317" y="connsiteY10317"/>
                </a:cxn>
                <a:cxn ang="0">
                  <a:pos x="connsiteX10318" y="connsiteY10318"/>
                </a:cxn>
                <a:cxn ang="0">
                  <a:pos x="connsiteX10319" y="connsiteY10319"/>
                </a:cxn>
                <a:cxn ang="0">
                  <a:pos x="connsiteX10320" y="connsiteY10320"/>
                </a:cxn>
                <a:cxn ang="0">
                  <a:pos x="connsiteX10321" y="connsiteY10321"/>
                </a:cxn>
                <a:cxn ang="0">
                  <a:pos x="connsiteX10322" y="connsiteY10322"/>
                </a:cxn>
                <a:cxn ang="0">
                  <a:pos x="connsiteX10323" y="connsiteY10323"/>
                </a:cxn>
                <a:cxn ang="0">
                  <a:pos x="connsiteX10324" y="connsiteY10324"/>
                </a:cxn>
                <a:cxn ang="0">
                  <a:pos x="connsiteX10325" y="connsiteY10325"/>
                </a:cxn>
                <a:cxn ang="0">
                  <a:pos x="connsiteX10326" y="connsiteY10326"/>
                </a:cxn>
                <a:cxn ang="0">
                  <a:pos x="connsiteX10327" y="connsiteY10327"/>
                </a:cxn>
                <a:cxn ang="0">
                  <a:pos x="connsiteX10328" y="connsiteY10328"/>
                </a:cxn>
                <a:cxn ang="0">
                  <a:pos x="connsiteX10329" y="connsiteY10329"/>
                </a:cxn>
                <a:cxn ang="0">
                  <a:pos x="connsiteX10330" y="connsiteY10330"/>
                </a:cxn>
                <a:cxn ang="0">
                  <a:pos x="connsiteX10331" y="connsiteY10331"/>
                </a:cxn>
                <a:cxn ang="0">
                  <a:pos x="connsiteX10332" y="connsiteY10332"/>
                </a:cxn>
                <a:cxn ang="0">
                  <a:pos x="connsiteX10333" y="connsiteY10333"/>
                </a:cxn>
                <a:cxn ang="0">
                  <a:pos x="connsiteX10334" y="connsiteY10334"/>
                </a:cxn>
                <a:cxn ang="0">
                  <a:pos x="connsiteX10335" y="connsiteY10335"/>
                </a:cxn>
                <a:cxn ang="0">
                  <a:pos x="connsiteX10336" y="connsiteY10336"/>
                </a:cxn>
                <a:cxn ang="0">
                  <a:pos x="connsiteX10337" y="connsiteY10337"/>
                </a:cxn>
                <a:cxn ang="0">
                  <a:pos x="connsiteX10338" y="connsiteY10338"/>
                </a:cxn>
                <a:cxn ang="0">
                  <a:pos x="connsiteX10339" y="connsiteY10339"/>
                </a:cxn>
                <a:cxn ang="0">
                  <a:pos x="connsiteX10340" y="connsiteY10340"/>
                </a:cxn>
                <a:cxn ang="0">
                  <a:pos x="connsiteX10341" y="connsiteY10341"/>
                </a:cxn>
                <a:cxn ang="0">
                  <a:pos x="connsiteX10342" y="connsiteY10342"/>
                </a:cxn>
                <a:cxn ang="0">
                  <a:pos x="connsiteX10343" y="connsiteY10343"/>
                </a:cxn>
                <a:cxn ang="0">
                  <a:pos x="connsiteX10344" y="connsiteY10344"/>
                </a:cxn>
                <a:cxn ang="0">
                  <a:pos x="connsiteX10345" y="connsiteY10345"/>
                </a:cxn>
                <a:cxn ang="0">
                  <a:pos x="connsiteX10346" y="connsiteY10346"/>
                </a:cxn>
                <a:cxn ang="0">
                  <a:pos x="connsiteX10347" y="connsiteY10347"/>
                </a:cxn>
                <a:cxn ang="0">
                  <a:pos x="connsiteX10348" y="connsiteY10348"/>
                </a:cxn>
                <a:cxn ang="0">
                  <a:pos x="connsiteX10349" y="connsiteY10349"/>
                </a:cxn>
                <a:cxn ang="0">
                  <a:pos x="connsiteX10350" y="connsiteY10350"/>
                </a:cxn>
                <a:cxn ang="0">
                  <a:pos x="connsiteX10351" y="connsiteY10351"/>
                </a:cxn>
                <a:cxn ang="0">
                  <a:pos x="connsiteX10352" y="connsiteY10352"/>
                </a:cxn>
                <a:cxn ang="0">
                  <a:pos x="connsiteX10353" y="connsiteY10353"/>
                </a:cxn>
                <a:cxn ang="0">
                  <a:pos x="connsiteX10354" y="connsiteY10354"/>
                </a:cxn>
                <a:cxn ang="0">
                  <a:pos x="connsiteX10355" y="connsiteY10355"/>
                </a:cxn>
                <a:cxn ang="0">
                  <a:pos x="connsiteX10356" y="connsiteY10356"/>
                </a:cxn>
                <a:cxn ang="0">
                  <a:pos x="connsiteX10357" y="connsiteY10357"/>
                </a:cxn>
                <a:cxn ang="0">
                  <a:pos x="connsiteX10358" y="connsiteY10358"/>
                </a:cxn>
                <a:cxn ang="0">
                  <a:pos x="connsiteX10359" y="connsiteY10359"/>
                </a:cxn>
                <a:cxn ang="0">
                  <a:pos x="connsiteX10360" y="connsiteY10360"/>
                </a:cxn>
                <a:cxn ang="0">
                  <a:pos x="connsiteX10361" y="connsiteY10361"/>
                </a:cxn>
                <a:cxn ang="0">
                  <a:pos x="connsiteX10362" y="connsiteY10362"/>
                </a:cxn>
                <a:cxn ang="0">
                  <a:pos x="connsiteX10363" y="connsiteY10363"/>
                </a:cxn>
                <a:cxn ang="0">
                  <a:pos x="connsiteX10364" y="connsiteY10364"/>
                </a:cxn>
                <a:cxn ang="0">
                  <a:pos x="connsiteX10365" y="connsiteY10365"/>
                </a:cxn>
                <a:cxn ang="0">
                  <a:pos x="connsiteX10366" y="connsiteY10366"/>
                </a:cxn>
                <a:cxn ang="0">
                  <a:pos x="connsiteX10367" y="connsiteY10367"/>
                </a:cxn>
                <a:cxn ang="0">
                  <a:pos x="connsiteX10368" y="connsiteY10368"/>
                </a:cxn>
                <a:cxn ang="0">
                  <a:pos x="connsiteX10369" y="connsiteY10369"/>
                </a:cxn>
                <a:cxn ang="0">
                  <a:pos x="connsiteX10370" y="connsiteY10370"/>
                </a:cxn>
                <a:cxn ang="0">
                  <a:pos x="connsiteX10371" y="connsiteY10371"/>
                </a:cxn>
                <a:cxn ang="0">
                  <a:pos x="connsiteX10372" y="connsiteY10372"/>
                </a:cxn>
                <a:cxn ang="0">
                  <a:pos x="connsiteX10373" y="connsiteY10373"/>
                </a:cxn>
                <a:cxn ang="0">
                  <a:pos x="connsiteX10374" y="connsiteY10374"/>
                </a:cxn>
                <a:cxn ang="0">
                  <a:pos x="connsiteX10375" y="connsiteY10375"/>
                </a:cxn>
                <a:cxn ang="0">
                  <a:pos x="connsiteX10376" y="connsiteY10376"/>
                </a:cxn>
                <a:cxn ang="0">
                  <a:pos x="connsiteX10377" y="connsiteY10377"/>
                </a:cxn>
                <a:cxn ang="0">
                  <a:pos x="connsiteX10378" y="connsiteY10378"/>
                </a:cxn>
                <a:cxn ang="0">
                  <a:pos x="connsiteX10379" y="connsiteY10379"/>
                </a:cxn>
                <a:cxn ang="0">
                  <a:pos x="connsiteX10380" y="connsiteY10380"/>
                </a:cxn>
                <a:cxn ang="0">
                  <a:pos x="connsiteX10381" y="connsiteY10381"/>
                </a:cxn>
                <a:cxn ang="0">
                  <a:pos x="connsiteX10382" y="connsiteY10382"/>
                </a:cxn>
                <a:cxn ang="0">
                  <a:pos x="connsiteX10383" y="connsiteY10383"/>
                </a:cxn>
                <a:cxn ang="0">
                  <a:pos x="connsiteX10384" y="connsiteY10384"/>
                </a:cxn>
                <a:cxn ang="0">
                  <a:pos x="connsiteX10385" y="connsiteY10385"/>
                </a:cxn>
                <a:cxn ang="0">
                  <a:pos x="connsiteX10386" y="connsiteY10386"/>
                </a:cxn>
                <a:cxn ang="0">
                  <a:pos x="connsiteX10387" y="connsiteY10387"/>
                </a:cxn>
                <a:cxn ang="0">
                  <a:pos x="connsiteX10388" y="connsiteY10388"/>
                </a:cxn>
                <a:cxn ang="0">
                  <a:pos x="connsiteX10389" y="connsiteY10389"/>
                </a:cxn>
                <a:cxn ang="0">
                  <a:pos x="connsiteX10390" y="connsiteY10390"/>
                </a:cxn>
                <a:cxn ang="0">
                  <a:pos x="connsiteX10391" y="connsiteY10391"/>
                </a:cxn>
                <a:cxn ang="0">
                  <a:pos x="connsiteX10392" y="connsiteY10392"/>
                </a:cxn>
                <a:cxn ang="0">
                  <a:pos x="connsiteX10393" y="connsiteY10393"/>
                </a:cxn>
                <a:cxn ang="0">
                  <a:pos x="connsiteX10394" y="connsiteY10394"/>
                </a:cxn>
                <a:cxn ang="0">
                  <a:pos x="connsiteX10395" y="connsiteY10395"/>
                </a:cxn>
                <a:cxn ang="0">
                  <a:pos x="connsiteX10396" y="connsiteY10396"/>
                </a:cxn>
                <a:cxn ang="0">
                  <a:pos x="connsiteX10397" y="connsiteY10397"/>
                </a:cxn>
                <a:cxn ang="0">
                  <a:pos x="connsiteX10398" y="connsiteY10398"/>
                </a:cxn>
                <a:cxn ang="0">
                  <a:pos x="connsiteX10399" y="connsiteY10399"/>
                </a:cxn>
                <a:cxn ang="0">
                  <a:pos x="connsiteX10400" y="connsiteY10400"/>
                </a:cxn>
                <a:cxn ang="0">
                  <a:pos x="connsiteX10401" y="connsiteY10401"/>
                </a:cxn>
                <a:cxn ang="0">
                  <a:pos x="connsiteX10402" y="connsiteY10402"/>
                </a:cxn>
                <a:cxn ang="0">
                  <a:pos x="connsiteX10403" y="connsiteY10403"/>
                </a:cxn>
                <a:cxn ang="0">
                  <a:pos x="connsiteX10404" y="connsiteY10404"/>
                </a:cxn>
                <a:cxn ang="0">
                  <a:pos x="connsiteX10405" y="connsiteY10405"/>
                </a:cxn>
                <a:cxn ang="0">
                  <a:pos x="connsiteX10406" y="connsiteY10406"/>
                </a:cxn>
                <a:cxn ang="0">
                  <a:pos x="connsiteX10407" y="connsiteY10407"/>
                </a:cxn>
                <a:cxn ang="0">
                  <a:pos x="connsiteX10408" y="connsiteY10408"/>
                </a:cxn>
                <a:cxn ang="0">
                  <a:pos x="connsiteX10409" y="connsiteY10409"/>
                </a:cxn>
                <a:cxn ang="0">
                  <a:pos x="connsiteX10410" y="connsiteY10410"/>
                </a:cxn>
                <a:cxn ang="0">
                  <a:pos x="connsiteX10411" y="connsiteY10411"/>
                </a:cxn>
                <a:cxn ang="0">
                  <a:pos x="connsiteX10412" y="connsiteY10412"/>
                </a:cxn>
                <a:cxn ang="0">
                  <a:pos x="connsiteX10413" y="connsiteY10413"/>
                </a:cxn>
                <a:cxn ang="0">
                  <a:pos x="connsiteX10414" y="connsiteY10414"/>
                </a:cxn>
                <a:cxn ang="0">
                  <a:pos x="connsiteX10415" y="connsiteY10415"/>
                </a:cxn>
                <a:cxn ang="0">
                  <a:pos x="connsiteX10416" y="connsiteY10416"/>
                </a:cxn>
                <a:cxn ang="0">
                  <a:pos x="connsiteX10417" y="connsiteY10417"/>
                </a:cxn>
                <a:cxn ang="0">
                  <a:pos x="connsiteX10418" y="connsiteY10418"/>
                </a:cxn>
                <a:cxn ang="0">
                  <a:pos x="connsiteX10419" y="connsiteY10419"/>
                </a:cxn>
                <a:cxn ang="0">
                  <a:pos x="connsiteX10420" y="connsiteY10420"/>
                </a:cxn>
                <a:cxn ang="0">
                  <a:pos x="connsiteX10421" y="connsiteY10421"/>
                </a:cxn>
                <a:cxn ang="0">
                  <a:pos x="connsiteX10422" y="connsiteY10422"/>
                </a:cxn>
                <a:cxn ang="0">
                  <a:pos x="connsiteX10423" y="connsiteY10423"/>
                </a:cxn>
                <a:cxn ang="0">
                  <a:pos x="connsiteX10424" y="connsiteY10424"/>
                </a:cxn>
                <a:cxn ang="0">
                  <a:pos x="connsiteX10425" y="connsiteY10425"/>
                </a:cxn>
                <a:cxn ang="0">
                  <a:pos x="connsiteX10426" y="connsiteY10426"/>
                </a:cxn>
                <a:cxn ang="0">
                  <a:pos x="connsiteX10427" y="connsiteY10427"/>
                </a:cxn>
                <a:cxn ang="0">
                  <a:pos x="connsiteX10428" y="connsiteY10428"/>
                </a:cxn>
                <a:cxn ang="0">
                  <a:pos x="connsiteX10429" y="connsiteY10429"/>
                </a:cxn>
                <a:cxn ang="0">
                  <a:pos x="connsiteX10430" y="connsiteY10430"/>
                </a:cxn>
                <a:cxn ang="0">
                  <a:pos x="connsiteX10431" y="connsiteY10431"/>
                </a:cxn>
                <a:cxn ang="0">
                  <a:pos x="connsiteX10432" y="connsiteY10432"/>
                </a:cxn>
                <a:cxn ang="0">
                  <a:pos x="connsiteX10433" y="connsiteY10433"/>
                </a:cxn>
                <a:cxn ang="0">
                  <a:pos x="connsiteX10434" y="connsiteY10434"/>
                </a:cxn>
                <a:cxn ang="0">
                  <a:pos x="connsiteX10435" y="connsiteY10435"/>
                </a:cxn>
                <a:cxn ang="0">
                  <a:pos x="connsiteX10436" y="connsiteY10436"/>
                </a:cxn>
                <a:cxn ang="0">
                  <a:pos x="connsiteX10437" y="connsiteY10437"/>
                </a:cxn>
                <a:cxn ang="0">
                  <a:pos x="connsiteX10438" y="connsiteY10438"/>
                </a:cxn>
                <a:cxn ang="0">
                  <a:pos x="connsiteX10439" y="connsiteY10439"/>
                </a:cxn>
                <a:cxn ang="0">
                  <a:pos x="connsiteX10440" y="connsiteY10440"/>
                </a:cxn>
                <a:cxn ang="0">
                  <a:pos x="connsiteX10441" y="connsiteY10441"/>
                </a:cxn>
                <a:cxn ang="0">
                  <a:pos x="connsiteX10442" y="connsiteY10442"/>
                </a:cxn>
                <a:cxn ang="0">
                  <a:pos x="connsiteX10443" y="connsiteY10443"/>
                </a:cxn>
                <a:cxn ang="0">
                  <a:pos x="connsiteX10444" y="connsiteY10444"/>
                </a:cxn>
                <a:cxn ang="0">
                  <a:pos x="connsiteX10445" y="connsiteY10445"/>
                </a:cxn>
                <a:cxn ang="0">
                  <a:pos x="connsiteX10446" y="connsiteY10446"/>
                </a:cxn>
                <a:cxn ang="0">
                  <a:pos x="connsiteX10447" y="connsiteY10447"/>
                </a:cxn>
                <a:cxn ang="0">
                  <a:pos x="connsiteX10448" y="connsiteY10448"/>
                </a:cxn>
                <a:cxn ang="0">
                  <a:pos x="connsiteX10449" y="connsiteY10449"/>
                </a:cxn>
                <a:cxn ang="0">
                  <a:pos x="connsiteX10450" y="connsiteY10450"/>
                </a:cxn>
                <a:cxn ang="0">
                  <a:pos x="connsiteX10451" y="connsiteY10451"/>
                </a:cxn>
                <a:cxn ang="0">
                  <a:pos x="connsiteX10452" y="connsiteY10452"/>
                </a:cxn>
                <a:cxn ang="0">
                  <a:pos x="connsiteX10453" y="connsiteY10453"/>
                </a:cxn>
                <a:cxn ang="0">
                  <a:pos x="connsiteX10454" y="connsiteY10454"/>
                </a:cxn>
                <a:cxn ang="0">
                  <a:pos x="connsiteX10455" y="connsiteY10455"/>
                </a:cxn>
                <a:cxn ang="0">
                  <a:pos x="connsiteX10456" y="connsiteY10456"/>
                </a:cxn>
                <a:cxn ang="0">
                  <a:pos x="connsiteX10457" y="connsiteY10457"/>
                </a:cxn>
                <a:cxn ang="0">
                  <a:pos x="connsiteX10458" y="connsiteY10458"/>
                </a:cxn>
                <a:cxn ang="0">
                  <a:pos x="connsiteX10459" y="connsiteY10459"/>
                </a:cxn>
                <a:cxn ang="0">
                  <a:pos x="connsiteX10460" y="connsiteY10460"/>
                </a:cxn>
                <a:cxn ang="0">
                  <a:pos x="connsiteX10461" y="connsiteY10461"/>
                </a:cxn>
                <a:cxn ang="0">
                  <a:pos x="connsiteX10462" y="connsiteY10462"/>
                </a:cxn>
                <a:cxn ang="0">
                  <a:pos x="connsiteX10463" y="connsiteY10463"/>
                </a:cxn>
                <a:cxn ang="0">
                  <a:pos x="connsiteX10464" y="connsiteY10464"/>
                </a:cxn>
                <a:cxn ang="0">
                  <a:pos x="connsiteX10465" y="connsiteY10465"/>
                </a:cxn>
                <a:cxn ang="0">
                  <a:pos x="connsiteX10466" y="connsiteY10466"/>
                </a:cxn>
                <a:cxn ang="0">
                  <a:pos x="connsiteX10467" y="connsiteY10467"/>
                </a:cxn>
                <a:cxn ang="0">
                  <a:pos x="connsiteX10468" y="connsiteY10468"/>
                </a:cxn>
                <a:cxn ang="0">
                  <a:pos x="connsiteX10469" y="connsiteY10469"/>
                </a:cxn>
                <a:cxn ang="0">
                  <a:pos x="connsiteX10470" y="connsiteY10470"/>
                </a:cxn>
                <a:cxn ang="0">
                  <a:pos x="connsiteX10471" y="connsiteY10471"/>
                </a:cxn>
                <a:cxn ang="0">
                  <a:pos x="connsiteX10472" y="connsiteY10472"/>
                </a:cxn>
                <a:cxn ang="0">
                  <a:pos x="connsiteX10473" y="connsiteY10473"/>
                </a:cxn>
                <a:cxn ang="0">
                  <a:pos x="connsiteX10474" y="connsiteY10474"/>
                </a:cxn>
                <a:cxn ang="0">
                  <a:pos x="connsiteX10475" y="connsiteY10475"/>
                </a:cxn>
                <a:cxn ang="0">
                  <a:pos x="connsiteX10476" y="connsiteY10476"/>
                </a:cxn>
                <a:cxn ang="0">
                  <a:pos x="connsiteX10477" y="connsiteY10477"/>
                </a:cxn>
                <a:cxn ang="0">
                  <a:pos x="connsiteX10478" y="connsiteY10478"/>
                </a:cxn>
                <a:cxn ang="0">
                  <a:pos x="connsiteX10479" y="connsiteY10479"/>
                </a:cxn>
                <a:cxn ang="0">
                  <a:pos x="connsiteX10480" y="connsiteY10480"/>
                </a:cxn>
                <a:cxn ang="0">
                  <a:pos x="connsiteX10481" y="connsiteY10481"/>
                </a:cxn>
                <a:cxn ang="0">
                  <a:pos x="connsiteX10482" y="connsiteY10482"/>
                </a:cxn>
                <a:cxn ang="0">
                  <a:pos x="connsiteX10483" y="connsiteY10483"/>
                </a:cxn>
                <a:cxn ang="0">
                  <a:pos x="connsiteX10484" y="connsiteY10484"/>
                </a:cxn>
                <a:cxn ang="0">
                  <a:pos x="connsiteX10485" y="connsiteY10485"/>
                </a:cxn>
                <a:cxn ang="0">
                  <a:pos x="connsiteX10486" y="connsiteY10486"/>
                </a:cxn>
                <a:cxn ang="0">
                  <a:pos x="connsiteX10487" y="connsiteY10487"/>
                </a:cxn>
                <a:cxn ang="0">
                  <a:pos x="connsiteX10488" y="connsiteY10488"/>
                </a:cxn>
                <a:cxn ang="0">
                  <a:pos x="connsiteX10489" y="connsiteY10489"/>
                </a:cxn>
                <a:cxn ang="0">
                  <a:pos x="connsiteX10490" y="connsiteY10490"/>
                </a:cxn>
                <a:cxn ang="0">
                  <a:pos x="connsiteX10491" y="connsiteY10491"/>
                </a:cxn>
                <a:cxn ang="0">
                  <a:pos x="connsiteX10492" y="connsiteY10492"/>
                </a:cxn>
                <a:cxn ang="0">
                  <a:pos x="connsiteX10493" y="connsiteY10493"/>
                </a:cxn>
                <a:cxn ang="0">
                  <a:pos x="connsiteX10494" y="connsiteY10494"/>
                </a:cxn>
                <a:cxn ang="0">
                  <a:pos x="connsiteX10495" y="connsiteY10495"/>
                </a:cxn>
                <a:cxn ang="0">
                  <a:pos x="connsiteX10496" y="connsiteY10496"/>
                </a:cxn>
                <a:cxn ang="0">
                  <a:pos x="connsiteX10497" y="connsiteY10497"/>
                </a:cxn>
                <a:cxn ang="0">
                  <a:pos x="connsiteX10498" y="connsiteY10498"/>
                </a:cxn>
                <a:cxn ang="0">
                  <a:pos x="connsiteX10499" y="connsiteY10499"/>
                </a:cxn>
                <a:cxn ang="0">
                  <a:pos x="connsiteX10500" y="connsiteY10500"/>
                </a:cxn>
                <a:cxn ang="0">
                  <a:pos x="connsiteX10501" y="connsiteY10501"/>
                </a:cxn>
                <a:cxn ang="0">
                  <a:pos x="connsiteX10502" y="connsiteY10502"/>
                </a:cxn>
                <a:cxn ang="0">
                  <a:pos x="connsiteX10503" y="connsiteY10503"/>
                </a:cxn>
                <a:cxn ang="0">
                  <a:pos x="connsiteX10504" y="connsiteY10504"/>
                </a:cxn>
                <a:cxn ang="0">
                  <a:pos x="connsiteX10505" y="connsiteY10505"/>
                </a:cxn>
                <a:cxn ang="0">
                  <a:pos x="connsiteX10506" y="connsiteY10506"/>
                </a:cxn>
                <a:cxn ang="0">
                  <a:pos x="connsiteX10507" y="connsiteY10507"/>
                </a:cxn>
                <a:cxn ang="0">
                  <a:pos x="connsiteX10508" y="connsiteY10508"/>
                </a:cxn>
                <a:cxn ang="0">
                  <a:pos x="connsiteX10509" y="connsiteY10509"/>
                </a:cxn>
                <a:cxn ang="0">
                  <a:pos x="connsiteX10510" y="connsiteY10510"/>
                </a:cxn>
                <a:cxn ang="0">
                  <a:pos x="connsiteX10511" y="connsiteY10511"/>
                </a:cxn>
                <a:cxn ang="0">
                  <a:pos x="connsiteX10512" y="connsiteY10512"/>
                </a:cxn>
                <a:cxn ang="0">
                  <a:pos x="connsiteX10513" y="connsiteY10513"/>
                </a:cxn>
                <a:cxn ang="0">
                  <a:pos x="connsiteX10514" y="connsiteY10514"/>
                </a:cxn>
                <a:cxn ang="0">
                  <a:pos x="connsiteX10515" y="connsiteY10515"/>
                </a:cxn>
                <a:cxn ang="0">
                  <a:pos x="connsiteX10516" y="connsiteY10516"/>
                </a:cxn>
                <a:cxn ang="0">
                  <a:pos x="connsiteX10517" y="connsiteY10517"/>
                </a:cxn>
                <a:cxn ang="0">
                  <a:pos x="connsiteX10518" y="connsiteY10518"/>
                </a:cxn>
                <a:cxn ang="0">
                  <a:pos x="connsiteX10519" y="connsiteY10519"/>
                </a:cxn>
                <a:cxn ang="0">
                  <a:pos x="connsiteX10520" y="connsiteY10520"/>
                </a:cxn>
                <a:cxn ang="0">
                  <a:pos x="connsiteX10521" y="connsiteY10521"/>
                </a:cxn>
                <a:cxn ang="0">
                  <a:pos x="connsiteX10522" y="connsiteY10522"/>
                </a:cxn>
                <a:cxn ang="0">
                  <a:pos x="connsiteX10523" y="connsiteY10523"/>
                </a:cxn>
                <a:cxn ang="0">
                  <a:pos x="connsiteX10524" y="connsiteY10524"/>
                </a:cxn>
                <a:cxn ang="0">
                  <a:pos x="connsiteX10525" y="connsiteY10525"/>
                </a:cxn>
                <a:cxn ang="0">
                  <a:pos x="connsiteX10526" y="connsiteY10526"/>
                </a:cxn>
                <a:cxn ang="0">
                  <a:pos x="connsiteX10527" y="connsiteY10527"/>
                </a:cxn>
                <a:cxn ang="0">
                  <a:pos x="connsiteX10528" y="connsiteY10528"/>
                </a:cxn>
                <a:cxn ang="0">
                  <a:pos x="connsiteX10529" y="connsiteY10529"/>
                </a:cxn>
                <a:cxn ang="0">
                  <a:pos x="connsiteX10530" y="connsiteY10530"/>
                </a:cxn>
                <a:cxn ang="0">
                  <a:pos x="connsiteX10531" y="connsiteY10531"/>
                </a:cxn>
                <a:cxn ang="0">
                  <a:pos x="connsiteX10532" y="connsiteY10532"/>
                </a:cxn>
                <a:cxn ang="0">
                  <a:pos x="connsiteX10533" y="connsiteY10533"/>
                </a:cxn>
                <a:cxn ang="0">
                  <a:pos x="connsiteX10534" y="connsiteY10534"/>
                </a:cxn>
                <a:cxn ang="0">
                  <a:pos x="connsiteX10535" y="connsiteY10535"/>
                </a:cxn>
                <a:cxn ang="0">
                  <a:pos x="connsiteX10536" y="connsiteY10536"/>
                </a:cxn>
                <a:cxn ang="0">
                  <a:pos x="connsiteX10537" y="connsiteY10537"/>
                </a:cxn>
                <a:cxn ang="0">
                  <a:pos x="connsiteX10538" y="connsiteY10538"/>
                </a:cxn>
                <a:cxn ang="0">
                  <a:pos x="connsiteX10539" y="connsiteY10539"/>
                </a:cxn>
                <a:cxn ang="0">
                  <a:pos x="connsiteX10540" y="connsiteY10540"/>
                </a:cxn>
                <a:cxn ang="0">
                  <a:pos x="connsiteX10541" y="connsiteY10541"/>
                </a:cxn>
                <a:cxn ang="0">
                  <a:pos x="connsiteX10542" y="connsiteY10542"/>
                </a:cxn>
                <a:cxn ang="0">
                  <a:pos x="connsiteX10543" y="connsiteY10543"/>
                </a:cxn>
                <a:cxn ang="0">
                  <a:pos x="connsiteX10544" y="connsiteY10544"/>
                </a:cxn>
                <a:cxn ang="0">
                  <a:pos x="connsiteX10545" y="connsiteY10545"/>
                </a:cxn>
                <a:cxn ang="0">
                  <a:pos x="connsiteX10546" y="connsiteY10546"/>
                </a:cxn>
                <a:cxn ang="0">
                  <a:pos x="connsiteX10547" y="connsiteY10547"/>
                </a:cxn>
                <a:cxn ang="0">
                  <a:pos x="connsiteX10548" y="connsiteY10548"/>
                </a:cxn>
                <a:cxn ang="0">
                  <a:pos x="connsiteX10549" y="connsiteY10549"/>
                </a:cxn>
                <a:cxn ang="0">
                  <a:pos x="connsiteX10550" y="connsiteY10550"/>
                </a:cxn>
                <a:cxn ang="0">
                  <a:pos x="connsiteX10551" y="connsiteY10551"/>
                </a:cxn>
                <a:cxn ang="0">
                  <a:pos x="connsiteX10552" y="connsiteY10552"/>
                </a:cxn>
                <a:cxn ang="0">
                  <a:pos x="connsiteX10553" y="connsiteY10553"/>
                </a:cxn>
                <a:cxn ang="0">
                  <a:pos x="connsiteX10554" y="connsiteY10554"/>
                </a:cxn>
                <a:cxn ang="0">
                  <a:pos x="connsiteX10555" y="connsiteY10555"/>
                </a:cxn>
                <a:cxn ang="0">
                  <a:pos x="connsiteX10556" y="connsiteY10556"/>
                </a:cxn>
                <a:cxn ang="0">
                  <a:pos x="connsiteX10557" y="connsiteY10557"/>
                </a:cxn>
                <a:cxn ang="0">
                  <a:pos x="connsiteX10558" y="connsiteY10558"/>
                </a:cxn>
                <a:cxn ang="0">
                  <a:pos x="connsiteX10559" y="connsiteY10559"/>
                </a:cxn>
                <a:cxn ang="0">
                  <a:pos x="connsiteX10560" y="connsiteY10560"/>
                </a:cxn>
                <a:cxn ang="0">
                  <a:pos x="connsiteX10561" y="connsiteY10561"/>
                </a:cxn>
                <a:cxn ang="0">
                  <a:pos x="connsiteX10562" y="connsiteY10562"/>
                </a:cxn>
                <a:cxn ang="0">
                  <a:pos x="connsiteX10563" y="connsiteY10563"/>
                </a:cxn>
                <a:cxn ang="0">
                  <a:pos x="connsiteX10564" y="connsiteY10564"/>
                </a:cxn>
                <a:cxn ang="0">
                  <a:pos x="connsiteX10565" y="connsiteY10565"/>
                </a:cxn>
                <a:cxn ang="0">
                  <a:pos x="connsiteX10566" y="connsiteY10566"/>
                </a:cxn>
                <a:cxn ang="0">
                  <a:pos x="connsiteX10567" y="connsiteY10567"/>
                </a:cxn>
                <a:cxn ang="0">
                  <a:pos x="connsiteX10568" y="connsiteY10568"/>
                </a:cxn>
                <a:cxn ang="0">
                  <a:pos x="connsiteX10569" y="connsiteY10569"/>
                </a:cxn>
                <a:cxn ang="0">
                  <a:pos x="connsiteX10570" y="connsiteY10570"/>
                </a:cxn>
                <a:cxn ang="0">
                  <a:pos x="connsiteX10571" y="connsiteY10571"/>
                </a:cxn>
                <a:cxn ang="0">
                  <a:pos x="connsiteX10572" y="connsiteY10572"/>
                </a:cxn>
                <a:cxn ang="0">
                  <a:pos x="connsiteX10573" y="connsiteY10573"/>
                </a:cxn>
                <a:cxn ang="0">
                  <a:pos x="connsiteX10574" y="connsiteY10574"/>
                </a:cxn>
                <a:cxn ang="0">
                  <a:pos x="connsiteX10575" y="connsiteY10575"/>
                </a:cxn>
                <a:cxn ang="0">
                  <a:pos x="connsiteX10576" y="connsiteY10576"/>
                </a:cxn>
                <a:cxn ang="0">
                  <a:pos x="connsiteX10577" y="connsiteY10577"/>
                </a:cxn>
                <a:cxn ang="0">
                  <a:pos x="connsiteX10578" y="connsiteY10578"/>
                </a:cxn>
                <a:cxn ang="0">
                  <a:pos x="connsiteX10579" y="connsiteY10579"/>
                </a:cxn>
                <a:cxn ang="0">
                  <a:pos x="connsiteX10580" y="connsiteY10580"/>
                </a:cxn>
                <a:cxn ang="0">
                  <a:pos x="connsiteX10581" y="connsiteY10581"/>
                </a:cxn>
                <a:cxn ang="0">
                  <a:pos x="connsiteX10582" y="connsiteY10582"/>
                </a:cxn>
                <a:cxn ang="0">
                  <a:pos x="connsiteX10583" y="connsiteY10583"/>
                </a:cxn>
                <a:cxn ang="0">
                  <a:pos x="connsiteX10584" y="connsiteY10584"/>
                </a:cxn>
                <a:cxn ang="0">
                  <a:pos x="connsiteX10585" y="connsiteY10585"/>
                </a:cxn>
                <a:cxn ang="0">
                  <a:pos x="connsiteX10586" y="connsiteY10586"/>
                </a:cxn>
                <a:cxn ang="0">
                  <a:pos x="connsiteX10587" y="connsiteY10587"/>
                </a:cxn>
                <a:cxn ang="0">
                  <a:pos x="connsiteX10588" y="connsiteY10588"/>
                </a:cxn>
                <a:cxn ang="0">
                  <a:pos x="connsiteX10589" y="connsiteY10589"/>
                </a:cxn>
                <a:cxn ang="0">
                  <a:pos x="connsiteX10590" y="connsiteY10590"/>
                </a:cxn>
                <a:cxn ang="0">
                  <a:pos x="connsiteX10591" y="connsiteY10591"/>
                </a:cxn>
                <a:cxn ang="0">
                  <a:pos x="connsiteX10592" y="connsiteY10592"/>
                </a:cxn>
                <a:cxn ang="0">
                  <a:pos x="connsiteX10593" y="connsiteY10593"/>
                </a:cxn>
                <a:cxn ang="0">
                  <a:pos x="connsiteX10594" y="connsiteY10594"/>
                </a:cxn>
                <a:cxn ang="0">
                  <a:pos x="connsiteX10595" y="connsiteY10595"/>
                </a:cxn>
                <a:cxn ang="0">
                  <a:pos x="connsiteX10596" y="connsiteY10596"/>
                </a:cxn>
                <a:cxn ang="0">
                  <a:pos x="connsiteX10597" y="connsiteY10597"/>
                </a:cxn>
                <a:cxn ang="0">
                  <a:pos x="connsiteX10598" y="connsiteY10598"/>
                </a:cxn>
                <a:cxn ang="0">
                  <a:pos x="connsiteX10599" y="connsiteY10599"/>
                </a:cxn>
                <a:cxn ang="0">
                  <a:pos x="connsiteX10600" y="connsiteY10600"/>
                </a:cxn>
                <a:cxn ang="0">
                  <a:pos x="connsiteX10601" y="connsiteY10601"/>
                </a:cxn>
                <a:cxn ang="0">
                  <a:pos x="connsiteX10602" y="connsiteY10602"/>
                </a:cxn>
                <a:cxn ang="0">
                  <a:pos x="connsiteX10603" y="connsiteY10603"/>
                </a:cxn>
                <a:cxn ang="0">
                  <a:pos x="connsiteX10604" y="connsiteY10604"/>
                </a:cxn>
                <a:cxn ang="0">
                  <a:pos x="connsiteX10605" y="connsiteY10605"/>
                </a:cxn>
                <a:cxn ang="0">
                  <a:pos x="connsiteX10606" y="connsiteY10606"/>
                </a:cxn>
                <a:cxn ang="0">
                  <a:pos x="connsiteX10607" y="connsiteY10607"/>
                </a:cxn>
                <a:cxn ang="0">
                  <a:pos x="connsiteX10608" y="connsiteY10608"/>
                </a:cxn>
                <a:cxn ang="0">
                  <a:pos x="connsiteX10609" y="connsiteY10609"/>
                </a:cxn>
                <a:cxn ang="0">
                  <a:pos x="connsiteX10610" y="connsiteY10610"/>
                </a:cxn>
                <a:cxn ang="0">
                  <a:pos x="connsiteX10611" y="connsiteY10611"/>
                </a:cxn>
                <a:cxn ang="0">
                  <a:pos x="connsiteX10612" y="connsiteY10612"/>
                </a:cxn>
                <a:cxn ang="0">
                  <a:pos x="connsiteX10613" y="connsiteY10613"/>
                </a:cxn>
                <a:cxn ang="0">
                  <a:pos x="connsiteX10614" y="connsiteY10614"/>
                </a:cxn>
                <a:cxn ang="0">
                  <a:pos x="connsiteX10615" y="connsiteY10615"/>
                </a:cxn>
                <a:cxn ang="0">
                  <a:pos x="connsiteX10616" y="connsiteY10616"/>
                </a:cxn>
                <a:cxn ang="0">
                  <a:pos x="connsiteX10617" y="connsiteY10617"/>
                </a:cxn>
                <a:cxn ang="0">
                  <a:pos x="connsiteX10618" y="connsiteY10618"/>
                </a:cxn>
                <a:cxn ang="0">
                  <a:pos x="connsiteX10619" y="connsiteY10619"/>
                </a:cxn>
                <a:cxn ang="0">
                  <a:pos x="connsiteX10620" y="connsiteY10620"/>
                </a:cxn>
                <a:cxn ang="0">
                  <a:pos x="connsiteX10621" y="connsiteY10621"/>
                </a:cxn>
                <a:cxn ang="0">
                  <a:pos x="connsiteX10622" y="connsiteY10622"/>
                </a:cxn>
                <a:cxn ang="0">
                  <a:pos x="connsiteX10623" y="connsiteY10623"/>
                </a:cxn>
                <a:cxn ang="0">
                  <a:pos x="connsiteX10624" y="connsiteY10624"/>
                </a:cxn>
                <a:cxn ang="0">
                  <a:pos x="connsiteX10625" y="connsiteY10625"/>
                </a:cxn>
                <a:cxn ang="0">
                  <a:pos x="connsiteX10626" y="connsiteY10626"/>
                </a:cxn>
                <a:cxn ang="0">
                  <a:pos x="connsiteX10627" y="connsiteY10627"/>
                </a:cxn>
                <a:cxn ang="0">
                  <a:pos x="connsiteX10628" y="connsiteY10628"/>
                </a:cxn>
                <a:cxn ang="0">
                  <a:pos x="connsiteX10629" y="connsiteY10629"/>
                </a:cxn>
                <a:cxn ang="0">
                  <a:pos x="connsiteX10630" y="connsiteY10630"/>
                </a:cxn>
                <a:cxn ang="0">
                  <a:pos x="connsiteX10631" y="connsiteY10631"/>
                </a:cxn>
                <a:cxn ang="0">
                  <a:pos x="connsiteX10632" y="connsiteY10632"/>
                </a:cxn>
                <a:cxn ang="0">
                  <a:pos x="connsiteX10633" y="connsiteY10633"/>
                </a:cxn>
                <a:cxn ang="0">
                  <a:pos x="connsiteX10634" y="connsiteY10634"/>
                </a:cxn>
                <a:cxn ang="0">
                  <a:pos x="connsiteX10635" y="connsiteY10635"/>
                </a:cxn>
                <a:cxn ang="0">
                  <a:pos x="connsiteX10636" y="connsiteY10636"/>
                </a:cxn>
                <a:cxn ang="0">
                  <a:pos x="connsiteX10637" y="connsiteY10637"/>
                </a:cxn>
                <a:cxn ang="0">
                  <a:pos x="connsiteX10638" y="connsiteY10638"/>
                </a:cxn>
                <a:cxn ang="0">
                  <a:pos x="connsiteX10639" y="connsiteY10639"/>
                </a:cxn>
                <a:cxn ang="0">
                  <a:pos x="connsiteX10640" y="connsiteY10640"/>
                </a:cxn>
                <a:cxn ang="0">
                  <a:pos x="connsiteX10641" y="connsiteY10641"/>
                </a:cxn>
                <a:cxn ang="0">
                  <a:pos x="connsiteX10642" y="connsiteY10642"/>
                </a:cxn>
                <a:cxn ang="0">
                  <a:pos x="connsiteX10643" y="connsiteY10643"/>
                </a:cxn>
                <a:cxn ang="0">
                  <a:pos x="connsiteX10644" y="connsiteY10644"/>
                </a:cxn>
                <a:cxn ang="0">
                  <a:pos x="connsiteX10645" y="connsiteY10645"/>
                </a:cxn>
                <a:cxn ang="0">
                  <a:pos x="connsiteX10646" y="connsiteY10646"/>
                </a:cxn>
                <a:cxn ang="0">
                  <a:pos x="connsiteX10647" y="connsiteY10647"/>
                </a:cxn>
                <a:cxn ang="0">
                  <a:pos x="connsiteX10648" y="connsiteY10648"/>
                </a:cxn>
                <a:cxn ang="0">
                  <a:pos x="connsiteX10649" y="connsiteY10649"/>
                </a:cxn>
                <a:cxn ang="0">
                  <a:pos x="connsiteX10650" y="connsiteY10650"/>
                </a:cxn>
                <a:cxn ang="0">
                  <a:pos x="connsiteX10651" y="connsiteY10651"/>
                </a:cxn>
                <a:cxn ang="0">
                  <a:pos x="connsiteX10652" y="connsiteY10652"/>
                </a:cxn>
                <a:cxn ang="0">
                  <a:pos x="connsiteX10653" y="connsiteY10653"/>
                </a:cxn>
                <a:cxn ang="0">
                  <a:pos x="connsiteX10654" y="connsiteY10654"/>
                </a:cxn>
                <a:cxn ang="0">
                  <a:pos x="connsiteX10655" y="connsiteY10655"/>
                </a:cxn>
                <a:cxn ang="0">
                  <a:pos x="connsiteX10656" y="connsiteY10656"/>
                </a:cxn>
                <a:cxn ang="0">
                  <a:pos x="connsiteX10657" y="connsiteY10657"/>
                </a:cxn>
                <a:cxn ang="0">
                  <a:pos x="connsiteX10658" y="connsiteY10658"/>
                </a:cxn>
                <a:cxn ang="0">
                  <a:pos x="connsiteX10659" y="connsiteY10659"/>
                </a:cxn>
                <a:cxn ang="0">
                  <a:pos x="connsiteX10660" y="connsiteY10660"/>
                </a:cxn>
                <a:cxn ang="0">
                  <a:pos x="connsiteX10661" y="connsiteY10661"/>
                </a:cxn>
                <a:cxn ang="0">
                  <a:pos x="connsiteX10662" y="connsiteY10662"/>
                </a:cxn>
                <a:cxn ang="0">
                  <a:pos x="connsiteX10663" y="connsiteY10663"/>
                </a:cxn>
                <a:cxn ang="0">
                  <a:pos x="connsiteX10664" y="connsiteY10664"/>
                </a:cxn>
                <a:cxn ang="0">
                  <a:pos x="connsiteX10665" y="connsiteY10665"/>
                </a:cxn>
                <a:cxn ang="0">
                  <a:pos x="connsiteX10666" y="connsiteY10666"/>
                </a:cxn>
                <a:cxn ang="0">
                  <a:pos x="connsiteX10667" y="connsiteY10667"/>
                </a:cxn>
                <a:cxn ang="0">
                  <a:pos x="connsiteX10668" y="connsiteY10668"/>
                </a:cxn>
                <a:cxn ang="0">
                  <a:pos x="connsiteX10669" y="connsiteY10669"/>
                </a:cxn>
                <a:cxn ang="0">
                  <a:pos x="connsiteX10670" y="connsiteY10670"/>
                </a:cxn>
                <a:cxn ang="0">
                  <a:pos x="connsiteX10671" y="connsiteY10671"/>
                </a:cxn>
                <a:cxn ang="0">
                  <a:pos x="connsiteX10672" y="connsiteY10672"/>
                </a:cxn>
                <a:cxn ang="0">
                  <a:pos x="connsiteX10673" y="connsiteY10673"/>
                </a:cxn>
                <a:cxn ang="0">
                  <a:pos x="connsiteX10674" y="connsiteY10674"/>
                </a:cxn>
                <a:cxn ang="0">
                  <a:pos x="connsiteX10675" y="connsiteY10675"/>
                </a:cxn>
                <a:cxn ang="0">
                  <a:pos x="connsiteX10676" y="connsiteY10676"/>
                </a:cxn>
                <a:cxn ang="0">
                  <a:pos x="connsiteX10677" y="connsiteY10677"/>
                </a:cxn>
                <a:cxn ang="0">
                  <a:pos x="connsiteX10678" y="connsiteY10678"/>
                </a:cxn>
                <a:cxn ang="0">
                  <a:pos x="connsiteX10679" y="connsiteY10679"/>
                </a:cxn>
                <a:cxn ang="0">
                  <a:pos x="connsiteX10680" y="connsiteY10680"/>
                </a:cxn>
                <a:cxn ang="0">
                  <a:pos x="connsiteX10681" y="connsiteY10681"/>
                </a:cxn>
                <a:cxn ang="0">
                  <a:pos x="connsiteX10682" y="connsiteY10682"/>
                </a:cxn>
                <a:cxn ang="0">
                  <a:pos x="connsiteX10683" y="connsiteY10683"/>
                </a:cxn>
                <a:cxn ang="0">
                  <a:pos x="connsiteX10684" y="connsiteY10684"/>
                </a:cxn>
                <a:cxn ang="0">
                  <a:pos x="connsiteX10685" y="connsiteY10685"/>
                </a:cxn>
                <a:cxn ang="0">
                  <a:pos x="connsiteX10686" y="connsiteY10686"/>
                </a:cxn>
                <a:cxn ang="0">
                  <a:pos x="connsiteX10687" y="connsiteY10687"/>
                </a:cxn>
                <a:cxn ang="0">
                  <a:pos x="connsiteX10688" y="connsiteY10688"/>
                </a:cxn>
                <a:cxn ang="0">
                  <a:pos x="connsiteX10689" y="connsiteY10689"/>
                </a:cxn>
                <a:cxn ang="0">
                  <a:pos x="connsiteX10690" y="connsiteY10690"/>
                </a:cxn>
                <a:cxn ang="0">
                  <a:pos x="connsiteX10691" y="connsiteY10691"/>
                </a:cxn>
                <a:cxn ang="0">
                  <a:pos x="connsiteX10692" y="connsiteY10692"/>
                </a:cxn>
                <a:cxn ang="0">
                  <a:pos x="connsiteX10693" y="connsiteY10693"/>
                </a:cxn>
                <a:cxn ang="0">
                  <a:pos x="connsiteX10694" y="connsiteY10694"/>
                </a:cxn>
                <a:cxn ang="0">
                  <a:pos x="connsiteX10695" y="connsiteY10695"/>
                </a:cxn>
                <a:cxn ang="0">
                  <a:pos x="connsiteX10696" y="connsiteY10696"/>
                </a:cxn>
                <a:cxn ang="0">
                  <a:pos x="connsiteX10697" y="connsiteY10697"/>
                </a:cxn>
                <a:cxn ang="0">
                  <a:pos x="connsiteX10698" y="connsiteY10698"/>
                </a:cxn>
                <a:cxn ang="0">
                  <a:pos x="connsiteX10699" y="connsiteY10699"/>
                </a:cxn>
                <a:cxn ang="0">
                  <a:pos x="connsiteX10700" y="connsiteY10700"/>
                </a:cxn>
                <a:cxn ang="0">
                  <a:pos x="connsiteX10701" y="connsiteY10701"/>
                </a:cxn>
                <a:cxn ang="0">
                  <a:pos x="connsiteX10702" y="connsiteY10702"/>
                </a:cxn>
                <a:cxn ang="0">
                  <a:pos x="connsiteX10703" y="connsiteY10703"/>
                </a:cxn>
                <a:cxn ang="0">
                  <a:pos x="connsiteX10704" y="connsiteY10704"/>
                </a:cxn>
                <a:cxn ang="0">
                  <a:pos x="connsiteX10705" y="connsiteY10705"/>
                </a:cxn>
                <a:cxn ang="0">
                  <a:pos x="connsiteX10706" y="connsiteY10706"/>
                </a:cxn>
                <a:cxn ang="0">
                  <a:pos x="connsiteX10707" y="connsiteY10707"/>
                </a:cxn>
                <a:cxn ang="0">
                  <a:pos x="connsiteX10708" y="connsiteY10708"/>
                </a:cxn>
                <a:cxn ang="0">
                  <a:pos x="connsiteX10709" y="connsiteY10709"/>
                </a:cxn>
                <a:cxn ang="0">
                  <a:pos x="connsiteX10710" y="connsiteY10710"/>
                </a:cxn>
                <a:cxn ang="0">
                  <a:pos x="connsiteX10711" y="connsiteY10711"/>
                </a:cxn>
                <a:cxn ang="0">
                  <a:pos x="connsiteX10712" y="connsiteY10712"/>
                </a:cxn>
                <a:cxn ang="0">
                  <a:pos x="connsiteX10713" y="connsiteY10713"/>
                </a:cxn>
                <a:cxn ang="0">
                  <a:pos x="connsiteX10714" y="connsiteY10714"/>
                </a:cxn>
                <a:cxn ang="0">
                  <a:pos x="connsiteX10715" y="connsiteY10715"/>
                </a:cxn>
                <a:cxn ang="0">
                  <a:pos x="connsiteX10716" y="connsiteY10716"/>
                </a:cxn>
                <a:cxn ang="0">
                  <a:pos x="connsiteX10717" y="connsiteY10717"/>
                </a:cxn>
                <a:cxn ang="0">
                  <a:pos x="connsiteX10718" y="connsiteY10718"/>
                </a:cxn>
                <a:cxn ang="0">
                  <a:pos x="connsiteX10719" y="connsiteY10719"/>
                </a:cxn>
                <a:cxn ang="0">
                  <a:pos x="connsiteX10720" y="connsiteY10720"/>
                </a:cxn>
                <a:cxn ang="0">
                  <a:pos x="connsiteX10721" y="connsiteY10721"/>
                </a:cxn>
                <a:cxn ang="0">
                  <a:pos x="connsiteX10722" y="connsiteY10722"/>
                </a:cxn>
                <a:cxn ang="0">
                  <a:pos x="connsiteX10723" y="connsiteY10723"/>
                </a:cxn>
                <a:cxn ang="0">
                  <a:pos x="connsiteX10724" y="connsiteY10724"/>
                </a:cxn>
                <a:cxn ang="0">
                  <a:pos x="connsiteX10725" y="connsiteY10725"/>
                </a:cxn>
                <a:cxn ang="0">
                  <a:pos x="connsiteX10726" y="connsiteY10726"/>
                </a:cxn>
                <a:cxn ang="0">
                  <a:pos x="connsiteX10727" y="connsiteY10727"/>
                </a:cxn>
                <a:cxn ang="0">
                  <a:pos x="connsiteX10728" y="connsiteY10728"/>
                </a:cxn>
                <a:cxn ang="0">
                  <a:pos x="connsiteX10729" y="connsiteY10729"/>
                </a:cxn>
                <a:cxn ang="0">
                  <a:pos x="connsiteX10730" y="connsiteY10730"/>
                </a:cxn>
                <a:cxn ang="0">
                  <a:pos x="connsiteX10731" y="connsiteY10731"/>
                </a:cxn>
                <a:cxn ang="0">
                  <a:pos x="connsiteX10732" y="connsiteY10732"/>
                </a:cxn>
                <a:cxn ang="0">
                  <a:pos x="connsiteX10733" y="connsiteY10733"/>
                </a:cxn>
                <a:cxn ang="0">
                  <a:pos x="connsiteX10734" y="connsiteY10734"/>
                </a:cxn>
                <a:cxn ang="0">
                  <a:pos x="connsiteX10735" y="connsiteY10735"/>
                </a:cxn>
                <a:cxn ang="0">
                  <a:pos x="connsiteX10736" y="connsiteY10736"/>
                </a:cxn>
                <a:cxn ang="0">
                  <a:pos x="connsiteX10737" y="connsiteY10737"/>
                </a:cxn>
                <a:cxn ang="0">
                  <a:pos x="connsiteX10738" y="connsiteY10738"/>
                </a:cxn>
                <a:cxn ang="0">
                  <a:pos x="connsiteX10739" y="connsiteY10739"/>
                </a:cxn>
                <a:cxn ang="0">
                  <a:pos x="connsiteX10740" y="connsiteY10740"/>
                </a:cxn>
                <a:cxn ang="0">
                  <a:pos x="connsiteX10741" y="connsiteY10741"/>
                </a:cxn>
                <a:cxn ang="0">
                  <a:pos x="connsiteX10742" y="connsiteY10742"/>
                </a:cxn>
                <a:cxn ang="0">
                  <a:pos x="connsiteX10743" y="connsiteY10743"/>
                </a:cxn>
                <a:cxn ang="0">
                  <a:pos x="connsiteX10744" y="connsiteY10744"/>
                </a:cxn>
                <a:cxn ang="0">
                  <a:pos x="connsiteX10745" y="connsiteY10745"/>
                </a:cxn>
                <a:cxn ang="0">
                  <a:pos x="connsiteX10746" y="connsiteY10746"/>
                </a:cxn>
                <a:cxn ang="0">
                  <a:pos x="connsiteX10747" y="connsiteY10747"/>
                </a:cxn>
                <a:cxn ang="0">
                  <a:pos x="connsiteX10748" y="connsiteY10748"/>
                </a:cxn>
                <a:cxn ang="0">
                  <a:pos x="connsiteX10749" y="connsiteY10749"/>
                </a:cxn>
                <a:cxn ang="0">
                  <a:pos x="connsiteX10750" y="connsiteY10750"/>
                </a:cxn>
                <a:cxn ang="0">
                  <a:pos x="connsiteX10751" y="connsiteY10751"/>
                </a:cxn>
                <a:cxn ang="0">
                  <a:pos x="connsiteX10752" y="connsiteY10752"/>
                </a:cxn>
                <a:cxn ang="0">
                  <a:pos x="connsiteX10753" y="connsiteY10753"/>
                </a:cxn>
                <a:cxn ang="0">
                  <a:pos x="connsiteX10754" y="connsiteY10754"/>
                </a:cxn>
                <a:cxn ang="0">
                  <a:pos x="connsiteX10755" y="connsiteY10755"/>
                </a:cxn>
                <a:cxn ang="0">
                  <a:pos x="connsiteX10756" y="connsiteY10756"/>
                </a:cxn>
                <a:cxn ang="0">
                  <a:pos x="connsiteX10757" y="connsiteY10757"/>
                </a:cxn>
                <a:cxn ang="0">
                  <a:pos x="connsiteX10758" y="connsiteY10758"/>
                </a:cxn>
                <a:cxn ang="0">
                  <a:pos x="connsiteX10759" y="connsiteY10759"/>
                </a:cxn>
                <a:cxn ang="0">
                  <a:pos x="connsiteX10760" y="connsiteY10760"/>
                </a:cxn>
                <a:cxn ang="0">
                  <a:pos x="connsiteX10761" y="connsiteY10761"/>
                </a:cxn>
                <a:cxn ang="0">
                  <a:pos x="connsiteX10762" y="connsiteY10762"/>
                </a:cxn>
                <a:cxn ang="0">
                  <a:pos x="connsiteX10763" y="connsiteY10763"/>
                </a:cxn>
                <a:cxn ang="0">
                  <a:pos x="connsiteX10764" y="connsiteY10764"/>
                </a:cxn>
                <a:cxn ang="0">
                  <a:pos x="connsiteX10765" y="connsiteY10765"/>
                </a:cxn>
                <a:cxn ang="0">
                  <a:pos x="connsiteX10766" y="connsiteY10766"/>
                </a:cxn>
                <a:cxn ang="0">
                  <a:pos x="connsiteX10767" y="connsiteY10767"/>
                </a:cxn>
                <a:cxn ang="0">
                  <a:pos x="connsiteX10768" y="connsiteY10768"/>
                </a:cxn>
                <a:cxn ang="0">
                  <a:pos x="connsiteX10769" y="connsiteY10769"/>
                </a:cxn>
                <a:cxn ang="0">
                  <a:pos x="connsiteX10770" y="connsiteY10770"/>
                </a:cxn>
                <a:cxn ang="0">
                  <a:pos x="connsiteX10771" y="connsiteY10771"/>
                </a:cxn>
                <a:cxn ang="0">
                  <a:pos x="connsiteX10772" y="connsiteY10772"/>
                </a:cxn>
                <a:cxn ang="0">
                  <a:pos x="connsiteX10773" y="connsiteY10773"/>
                </a:cxn>
                <a:cxn ang="0">
                  <a:pos x="connsiteX10774" y="connsiteY10774"/>
                </a:cxn>
                <a:cxn ang="0">
                  <a:pos x="connsiteX10775" y="connsiteY10775"/>
                </a:cxn>
                <a:cxn ang="0">
                  <a:pos x="connsiteX10776" y="connsiteY10776"/>
                </a:cxn>
                <a:cxn ang="0">
                  <a:pos x="connsiteX10777" y="connsiteY10777"/>
                </a:cxn>
                <a:cxn ang="0">
                  <a:pos x="connsiteX10778" y="connsiteY10778"/>
                </a:cxn>
                <a:cxn ang="0">
                  <a:pos x="connsiteX10779" y="connsiteY10779"/>
                </a:cxn>
                <a:cxn ang="0">
                  <a:pos x="connsiteX10780" y="connsiteY10780"/>
                </a:cxn>
                <a:cxn ang="0">
                  <a:pos x="connsiteX10781" y="connsiteY10781"/>
                </a:cxn>
                <a:cxn ang="0">
                  <a:pos x="connsiteX10782" y="connsiteY10782"/>
                </a:cxn>
                <a:cxn ang="0">
                  <a:pos x="connsiteX10783" y="connsiteY10783"/>
                </a:cxn>
                <a:cxn ang="0">
                  <a:pos x="connsiteX10784" y="connsiteY10784"/>
                </a:cxn>
                <a:cxn ang="0">
                  <a:pos x="connsiteX10785" y="connsiteY10785"/>
                </a:cxn>
                <a:cxn ang="0">
                  <a:pos x="connsiteX10786" y="connsiteY10786"/>
                </a:cxn>
                <a:cxn ang="0">
                  <a:pos x="connsiteX10787" y="connsiteY10787"/>
                </a:cxn>
                <a:cxn ang="0">
                  <a:pos x="connsiteX10788" y="connsiteY10788"/>
                </a:cxn>
                <a:cxn ang="0">
                  <a:pos x="connsiteX10789" y="connsiteY10789"/>
                </a:cxn>
                <a:cxn ang="0">
                  <a:pos x="connsiteX10790" y="connsiteY10790"/>
                </a:cxn>
                <a:cxn ang="0">
                  <a:pos x="connsiteX10791" y="connsiteY10791"/>
                </a:cxn>
                <a:cxn ang="0">
                  <a:pos x="connsiteX10792" y="connsiteY10792"/>
                </a:cxn>
                <a:cxn ang="0">
                  <a:pos x="connsiteX10793" y="connsiteY10793"/>
                </a:cxn>
                <a:cxn ang="0">
                  <a:pos x="connsiteX10794" y="connsiteY10794"/>
                </a:cxn>
                <a:cxn ang="0">
                  <a:pos x="connsiteX10795" y="connsiteY10795"/>
                </a:cxn>
                <a:cxn ang="0">
                  <a:pos x="connsiteX10796" y="connsiteY10796"/>
                </a:cxn>
                <a:cxn ang="0">
                  <a:pos x="connsiteX10797" y="connsiteY10797"/>
                </a:cxn>
                <a:cxn ang="0">
                  <a:pos x="connsiteX10798" y="connsiteY10798"/>
                </a:cxn>
                <a:cxn ang="0">
                  <a:pos x="connsiteX10799" y="connsiteY10799"/>
                </a:cxn>
                <a:cxn ang="0">
                  <a:pos x="connsiteX10800" y="connsiteY10800"/>
                </a:cxn>
                <a:cxn ang="0">
                  <a:pos x="connsiteX10801" y="connsiteY10801"/>
                </a:cxn>
                <a:cxn ang="0">
                  <a:pos x="connsiteX10802" y="connsiteY10802"/>
                </a:cxn>
                <a:cxn ang="0">
                  <a:pos x="connsiteX10803" y="connsiteY10803"/>
                </a:cxn>
                <a:cxn ang="0">
                  <a:pos x="connsiteX10804" y="connsiteY10804"/>
                </a:cxn>
                <a:cxn ang="0">
                  <a:pos x="connsiteX10805" y="connsiteY10805"/>
                </a:cxn>
                <a:cxn ang="0">
                  <a:pos x="connsiteX10806" y="connsiteY10806"/>
                </a:cxn>
                <a:cxn ang="0">
                  <a:pos x="connsiteX10807" y="connsiteY10807"/>
                </a:cxn>
                <a:cxn ang="0">
                  <a:pos x="connsiteX10808" y="connsiteY10808"/>
                </a:cxn>
                <a:cxn ang="0">
                  <a:pos x="connsiteX10809" y="connsiteY10809"/>
                </a:cxn>
                <a:cxn ang="0">
                  <a:pos x="connsiteX10810" y="connsiteY10810"/>
                </a:cxn>
                <a:cxn ang="0">
                  <a:pos x="connsiteX10811" y="connsiteY10811"/>
                </a:cxn>
                <a:cxn ang="0">
                  <a:pos x="connsiteX10812" y="connsiteY10812"/>
                </a:cxn>
                <a:cxn ang="0">
                  <a:pos x="connsiteX10813" y="connsiteY10813"/>
                </a:cxn>
                <a:cxn ang="0">
                  <a:pos x="connsiteX10814" y="connsiteY10814"/>
                </a:cxn>
                <a:cxn ang="0">
                  <a:pos x="connsiteX10815" y="connsiteY10815"/>
                </a:cxn>
                <a:cxn ang="0">
                  <a:pos x="connsiteX10816" y="connsiteY10816"/>
                </a:cxn>
                <a:cxn ang="0">
                  <a:pos x="connsiteX10817" y="connsiteY10817"/>
                </a:cxn>
                <a:cxn ang="0">
                  <a:pos x="connsiteX10818" y="connsiteY10818"/>
                </a:cxn>
                <a:cxn ang="0">
                  <a:pos x="connsiteX10819" y="connsiteY10819"/>
                </a:cxn>
                <a:cxn ang="0">
                  <a:pos x="connsiteX10820" y="connsiteY10820"/>
                </a:cxn>
                <a:cxn ang="0">
                  <a:pos x="connsiteX10821" y="connsiteY10821"/>
                </a:cxn>
                <a:cxn ang="0">
                  <a:pos x="connsiteX10822" y="connsiteY10822"/>
                </a:cxn>
                <a:cxn ang="0">
                  <a:pos x="connsiteX10823" y="connsiteY10823"/>
                </a:cxn>
                <a:cxn ang="0">
                  <a:pos x="connsiteX10824" y="connsiteY10824"/>
                </a:cxn>
                <a:cxn ang="0">
                  <a:pos x="connsiteX10825" y="connsiteY10825"/>
                </a:cxn>
                <a:cxn ang="0">
                  <a:pos x="connsiteX10826" y="connsiteY10826"/>
                </a:cxn>
                <a:cxn ang="0">
                  <a:pos x="connsiteX10827" y="connsiteY10827"/>
                </a:cxn>
                <a:cxn ang="0">
                  <a:pos x="connsiteX10828" y="connsiteY10828"/>
                </a:cxn>
                <a:cxn ang="0">
                  <a:pos x="connsiteX10829" y="connsiteY10829"/>
                </a:cxn>
                <a:cxn ang="0">
                  <a:pos x="connsiteX10830" y="connsiteY10830"/>
                </a:cxn>
                <a:cxn ang="0">
                  <a:pos x="connsiteX10831" y="connsiteY10831"/>
                </a:cxn>
                <a:cxn ang="0">
                  <a:pos x="connsiteX10832" y="connsiteY10832"/>
                </a:cxn>
                <a:cxn ang="0">
                  <a:pos x="connsiteX10833" y="connsiteY10833"/>
                </a:cxn>
                <a:cxn ang="0">
                  <a:pos x="connsiteX10834" y="connsiteY10834"/>
                </a:cxn>
                <a:cxn ang="0">
                  <a:pos x="connsiteX10835" y="connsiteY10835"/>
                </a:cxn>
                <a:cxn ang="0">
                  <a:pos x="connsiteX10836" y="connsiteY10836"/>
                </a:cxn>
                <a:cxn ang="0">
                  <a:pos x="connsiteX10837" y="connsiteY10837"/>
                </a:cxn>
                <a:cxn ang="0">
                  <a:pos x="connsiteX10838" y="connsiteY10838"/>
                </a:cxn>
                <a:cxn ang="0">
                  <a:pos x="connsiteX10839" y="connsiteY10839"/>
                </a:cxn>
                <a:cxn ang="0">
                  <a:pos x="connsiteX10840" y="connsiteY10840"/>
                </a:cxn>
                <a:cxn ang="0">
                  <a:pos x="connsiteX10841" y="connsiteY10841"/>
                </a:cxn>
                <a:cxn ang="0">
                  <a:pos x="connsiteX10842" y="connsiteY10842"/>
                </a:cxn>
                <a:cxn ang="0">
                  <a:pos x="connsiteX10843" y="connsiteY10843"/>
                </a:cxn>
                <a:cxn ang="0">
                  <a:pos x="connsiteX10844" y="connsiteY10844"/>
                </a:cxn>
                <a:cxn ang="0">
                  <a:pos x="connsiteX10845" y="connsiteY10845"/>
                </a:cxn>
                <a:cxn ang="0">
                  <a:pos x="connsiteX10846" y="connsiteY10846"/>
                </a:cxn>
                <a:cxn ang="0">
                  <a:pos x="connsiteX10847" y="connsiteY10847"/>
                </a:cxn>
                <a:cxn ang="0">
                  <a:pos x="connsiteX10848" y="connsiteY10848"/>
                </a:cxn>
                <a:cxn ang="0">
                  <a:pos x="connsiteX10849" y="connsiteY10849"/>
                </a:cxn>
                <a:cxn ang="0">
                  <a:pos x="connsiteX10850" y="connsiteY10850"/>
                </a:cxn>
                <a:cxn ang="0">
                  <a:pos x="connsiteX10851" y="connsiteY10851"/>
                </a:cxn>
                <a:cxn ang="0">
                  <a:pos x="connsiteX10852" y="connsiteY10852"/>
                </a:cxn>
                <a:cxn ang="0">
                  <a:pos x="connsiteX10853" y="connsiteY10853"/>
                </a:cxn>
                <a:cxn ang="0">
                  <a:pos x="connsiteX10854" y="connsiteY10854"/>
                </a:cxn>
                <a:cxn ang="0">
                  <a:pos x="connsiteX10855" y="connsiteY10855"/>
                </a:cxn>
                <a:cxn ang="0">
                  <a:pos x="connsiteX10856" y="connsiteY10856"/>
                </a:cxn>
                <a:cxn ang="0">
                  <a:pos x="connsiteX10857" y="connsiteY10857"/>
                </a:cxn>
                <a:cxn ang="0">
                  <a:pos x="connsiteX10858" y="connsiteY10858"/>
                </a:cxn>
                <a:cxn ang="0">
                  <a:pos x="connsiteX10859" y="connsiteY10859"/>
                </a:cxn>
                <a:cxn ang="0">
                  <a:pos x="connsiteX10860" y="connsiteY10860"/>
                </a:cxn>
                <a:cxn ang="0">
                  <a:pos x="connsiteX10861" y="connsiteY10861"/>
                </a:cxn>
                <a:cxn ang="0">
                  <a:pos x="connsiteX10862" y="connsiteY10862"/>
                </a:cxn>
                <a:cxn ang="0">
                  <a:pos x="connsiteX10863" y="connsiteY10863"/>
                </a:cxn>
                <a:cxn ang="0">
                  <a:pos x="connsiteX10864" y="connsiteY10864"/>
                </a:cxn>
                <a:cxn ang="0">
                  <a:pos x="connsiteX10865" y="connsiteY10865"/>
                </a:cxn>
                <a:cxn ang="0">
                  <a:pos x="connsiteX10866" y="connsiteY10866"/>
                </a:cxn>
                <a:cxn ang="0">
                  <a:pos x="connsiteX10867" y="connsiteY10867"/>
                </a:cxn>
                <a:cxn ang="0">
                  <a:pos x="connsiteX10868" y="connsiteY10868"/>
                </a:cxn>
                <a:cxn ang="0">
                  <a:pos x="connsiteX10869" y="connsiteY10869"/>
                </a:cxn>
                <a:cxn ang="0">
                  <a:pos x="connsiteX10870" y="connsiteY10870"/>
                </a:cxn>
                <a:cxn ang="0">
                  <a:pos x="connsiteX10871" y="connsiteY10871"/>
                </a:cxn>
                <a:cxn ang="0">
                  <a:pos x="connsiteX10872" y="connsiteY10872"/>
                </a:cxn>
                <a:cxn ang="0">
                  <a:pos x="connsiteX10873" y="connsiteY10873"/>
                </a:cxn>
                <a:cxn ang="0">
                  <a:pos x="connsiteX10874" y="connsiteY10874"/>
                </a:cxn>
                <a:cxn ang="0">
                  <a:pos x="connsiteX10875" y="connsiteY10875"/>
                </a:cxn>
                <a:cxn ang="0">
                  <a:pos x="connsiteX10876" y="connsiteY10876"/>
                </a:cxn>
                <a:cxn ang="0">
                  <a:pos x="connsiteX10877" y="connsiteY10877"/>
                </a:cxn>
                <a:cxn ang="0">
                  <a:pos x="connsiteX10878" y="connsiteY10878"/>
                </a:cxn>
                <a:cxn ang="0">
                  <a:pos x="connsiteX10879" y="connsiteY10879"/>
                </a:cxn>
                <a:cxn ang="0">
                  <a:pos x="connsiteX10880" y="connsiteY10880"/>
                </a:cxn>
                <a:cxn ang="0">
                  <a:pos x="connsiteX10881" y="connsiteY10881"/>
                </a:cxn>
                <a:cxn ang="0">
                  <a:pos x="connsiteX10882" y="connsiteY10882"/>
                </a:cxn>
                <a:cxn ang="0">
                  <a:pos x="connsiteX10883" y="connsiteY10883"/>
                </a:cxn>
                <a:cxn ang="0">
                  <a:pos x="connsiteX10884" y="connsiteY10884"/>
                </a:cxn>
                <a:cxn ang="0">
                  <a:pos x="connsiteX10885" y="connsiteY10885"/>
                </a:cxn>
                <a:cxn ang="0">
                  <a:pos x="connsiteX10886" y="connsiteY10886"/>
                </a:cxn>
                <a:cxn ang="0">
                  <a:pos x="connsiteX10887" y="connsiteY10887"/>
                </a:cxn>
                <a:cxn ang="0">
                  <a:pos x="connsiteX10888" y="connsiteY10888"/>
                </a:cxn>
                <a:cxn ang="0">
                  <a:pos x="connsiteX10889" y="connsiteY10889"/>
                </a:cxn>
                <a:cxn ang="0">
                  <a:pos x="connsiteX10890" y="connsiteY10890"/>
                </a:cxn>
                <a:cxn ang="0">
                  <a:pos x="connsiteX10891" y="connsiteY10891"/>
                </a:cxn>
                <a:cxn ang="0">
                  <a:pos x="connsiteX10892" y="connsiteY10892"/>
                </a:cxn>
                <a:cxn ang="0">
                  <a:pos x="connsiteX10893" y="connsiteY10893"/>
                </a:cxn>
                <a:cxn ang="0">
                  <a:pos x="connsiteX10894" y="connsiteY10894"/>
                </a:cxn>
                <a:cxn ang="0">
                  <a:pos x="connsiteX10895" y="connsiteY10895"/>
                </a:cxn>
                <a:cxn ang="0">
                  <a:pos x="connsiteX10896" y="connsiteY10896"/>
                </a:cxn>
                <a:cxn ang="0">
                  <a:pos x="connsiteX10897" y="connsiteY10897"/>
                </a:cxn>
                <a:cxn ang="0">
                  <a:pos x="connsiteX10898" y="connsiteY10898"/>
                </a:cxn>
                <a:cxn ang="0">
                  <a:pos x="connsiteX10899" y="connsiteY10899"/>
                </a:cxn>
                <a:cxn ang="0">
                  <a:pos x="connsiteX10900" y="connsiteY10900"/>
                </a:cxn>
                <a:cxn ang="0">
                  <a:pos x="connsiteX10901" y="connsiteY10901"/>
                </a:cxn>
                <a:cxn ang="0">
                  <a:pos x="connsiteX10902" y="connsiteY10902"/>
                </a:cxn>
                <a:cxn ang="0">
                  <a:pos x="connsiteX10903" y="connsiteY10903"/>
                </a:cxn>
                <a:cxn ang="0">
                  <a:pos x="connsiteX10904" y="connsiteY10904"/>
                </a:cxn>
                <a:cxn ang="0">
                  <a:pos x="connsiteX10905" y="connsiteY10905"/>
                </a:cxn>
                <a:cxn ang="0">
                  <a:pos x="connsiteX10906" y="connsiteY10906"/>
                </a:cxn>
                <a:cxn ang="0">
                  <a:pos x="connsiteX10907" y="connsiteY10907"/>
                </a:cxn>
                <a:cxn ang="0">
                  <a:pos x="connsiteX10908" y="connsiteY10908"/>
                </a:cxn>
                <a:cxn ang="0">
                  <a:pos x="connsiteX10909" y="connsiteY10909"/>
                </a:cxn>
                <a:cxn ang="0">
                  <a:pos x="connsiteX10910" y="connsiteY10910"/>
                </a:cxn>
                <a:cxn ang="0">
                  <a:pos x="connsiteX10911" y="connsiteY10911"/>
                </a:cxn>
                <a:cxn ang="0">
                  <a:pos x="connsiteX10912" y="connsiteY10912"/>
                </a:cxn>
                <a:cxn ang="0">
                  <a:pos x="connsiteX10913" y="connsiteY10913"/>
                </a:cxn>
                <a:cxn ang="0">
                  <a:pos x="connsiteX10914" y="connsiteY10914"/>
                </a:cxn>
                <a:cxn ang="0">
                  <a:pos x="connsiteX10915" y="connsiteY10915"/>
                </a:cxn>
                <a:cxn ang="0">
                  <a:pos x="connsiteX10916" y="connsiteY10916"/>
                </a:cxn>
                <a:cxn ang="0">
                  <a:pos x="connsiteX10917" y="connsiteY10917"/>
                </a:cxn>
                <a:cxn ang="0">
                  <a:pos x="connsiteX10918" y="connsiteY10918"/>
                </a:cxn>
                <a:cxn ang="0">
                  <a:pos x="connsiteX10919" y="connsiteY10919"/>
                </a:cxn>
                <a:cxn ang="0">
                  <a:pos x="connsiteX10920" y="connsiteY10920"/>
                </a:cxn>
                <a:cxn ang="0">
                  <a:pos x="connsiteX10921" y="connsiteY10921"/>
                </a:cxn>
                <a:cxn ang="0">
                  <a:pos x="connsiteX10922" y="connsiteY10922"/>
                </a:cxn>
                <a:cxn ang="0">
                  <a:pos x="connsiteX10923" y="connsiteY10923"/>
                </a:cxn>
                <a:cxn ang="0">
                  <a:pos x="connsiteX10924" y="connsiteY10924"/>
                </a:cxn>
                <a:cxn ang="0">
                  <a:pos x="connsiteX10925" y="connsiteY10925"/>
                </a:cxn>
                <a:cxn ang="0">
                  <a:pos x="connsiteX10926" y="connsiteY10926"/>
                </a:cxn>
                <a:cxn ang="0">
                  <a:pos x="connsiteX10927" y="connsiteY10927"/>
                </a:cxn>
                <a:cxn ang="0">
                  <a:pos x="connsiteX10928" y="connsiteY10928"/>
                </a:cxn>
                <a:cxn ang="0">
                  <a:pos x="connsiteX10929" y="connsiteY10929"/>
                </a:cxn>
                <a:cxn ang="0">
                  <a:pos x="connsiteX10930" y="connsiteY10930"/>
                </a:cxn>
                <a:cxn ang="0">
                  <a:pos x="connsiteX10931" y="connsiteY10931"/>
                </a:cxn>
                <a:cxn ang="0">
                  <a:pos x="connsiteX10932" y="connsiteY10932"/>
                </a:cxn>
                <a:cxn ang="0">
                  <a:pos x="connsiteX10933" y="connsiteY10933"/>
                </a:cxn>
                <a:cxn ang="0">
                  <a:pos x="connsiteX10934" y="connsiteY10934"/>
                </a:cxn>
                <a:cxn ang="0">
                  <a:pos x="connsiteX10935" y="connsiteY10935"/>
                </a:cxn>
                <a:cxn ang="0">
                  <a:pos x="connsiteX10936" y="connsiteY10936"/>
                </a:cxn>
                <a:cxn ang="0">
                  <a:pos x="connsiteX10937" y="connsiteY10937"/>
                </a:cxn>
                <a:cxn ang="0">
                  <a:pos x="connsiteX10938" y="connsiteY10938"/>
                </a:cxn>
                <a:cxn ang="0">
                  <a:pos x="connsiteX10939" y="connsiteY10939"/>
                </a:cxn>
                <a:cxn ang="0">
                  <a:pos x="connsiteX10940" y="connsiteY10940"/>
                </a:cxn>
                <a:cxn ang="0">
                  <a:pos x="connsiteX10941" y="connsiteY10941"/>
                </a:cxn>
                <a:cxn ang="0">
                  <a:pos x="connsiteX10942" y="connsiteY10942"/>
                </a:cxn>
                <a:cxn ang="0">
                  <a:pos x="connsiteX10943" y="connsiteY10943"/>
                </a:cxn>
                <a:cxn ang="0">
                  <a:pos x="connsiteX10944" y="connsiteY10944"/>
                </a:cxn>
                <a:cxn ang="0">
                  <a:pos x="connsiteX10945" y="connsiteY10945"/>
                </a:cxn>
                <a:cxn ang="0">
                  <a:pos x="connsiteX10946" y="connsiteY10946"/>
                </a:cxn>
                <a:cxn ang="0">
                  <a:pos x="connsiteX10947" y="connsiteY10947"/>
                </a:cxn>
                <a:cxn ang="0">
                  <a:pos x="connsiteX10948" y="connsiteY10948"/>
                </a:cxn>
                <a:cxn ang="0">
                  <a:pos x="connsiteX10949" y="connsiteY10949"/>
                </a:cxn>
                <a:cxn ang="0">
                  <a:pos x="connsiteX10950" y="connsiteY10950"/>
                </a:cxn>
                <a:cxn ang="0">
                  <a:pos x="connsiteX10951" y="connsiteY10951"/>
                </a:cxn>
                <a:cxn ang="0">
                  <a:pos x="connsiteX10952" y="connsiteY10952"/>
                </a:cxn>
                <a:cxn ang="0">
                  <a:pos x="connsiteX10953" y="connsiteY10953"/>
                </a:cxn>
                <a:cxn ang="0">
                  <a:pos x="connsiteX10954" y="connsiteY10954"/>
                </a:cxn>
                <a:cxn ang="0">
                  <a:pos x="connsiteX10955" y="connsiteY10955"/>
                </a:cxn>
                <a:cxn ang="0">
                  <a:pos x="connsiteX10956" y="connsiteY10956"/>
                </a:cxn>
                <a:cxn ang="0">
                  <a:pos x="connsiteX10957" y="connsiteY10957"/>
                </a:cxn>
                <a:cxn ang="0">
                  <a:pos x="connsiteX10958" y="connsiteY10958"/>
                </a:cxn>
                <a:cxn ang="0">
                  <a:pos x="connsiteX10959" y="connsiteY10959"/>
                </a:cxn>
                <a:cxn ang="0">
                  <a:pos x="connsiteX10960" y="connsiteY10960"/>
                </a:cxn>
                <a:cxn ang="0">
                  <a:pos x="connsiteX10961" y="connsiteY10961"/>
                </a:cxn>
                <a:cxn ang="0">
                  <a:pos x="connsiteX10962" y="connsiteY10962"/>
                </a:cxn>
                <a:cxn ang="0">
                  <a:pos x="connsiteX10963" y="connsiteY10963"/>
                </a:cxn>
                <a:cxn ang="0">
                  <a:pos x="connsiteX10964" y="connsiteY10964"/>
                </a:cxn>
                <a:cxn ang="0">
                  <a:pos x="connsiteX10965" y="connsiteY10965"/>
                </a:cxn>
                <a:cxn ang="0">
                  <a:pos x="connsiteX10966" y="connsiteY10966"/>
                </a:cxn>
                <a:cxn ang="0">
                  <a:pos x="connsiteX10967" y="connsiteY10967"/>
                </a:cxn>
                <a:cxn ang="0">
                  <a:pos x="connsiteX10968" y="connsiteY10968"/>
                </a:cxn>
                <a:cxn ang="0">
                  <a:pos x="connsiteX10969" y="connsiteY10969"/>
                </a:cxn>
                <a:cxn ang="0">
                  <a:pos x="connsiteX10970" y="connsiteY10970"/>
                </a:cxn>
                <a:cxn ang="0">
                  <a:pos x="connsiteX10971" y="connsiteY10971"/>
                </a:cxn>
                <a:cxn ang="0">
                  <a:pos x="connsiteX10972" y="connsiteY10972"/>
                </a:cxn>
                <a:cxn ang="0">
                  <a:pos x="connsiteX10973" y="connsiteY10973"/>
                </a:cxn>
                <a:cxn ang="0">
                  <a:pos x="connsiteX10974" y="connsiteY10974"/>
                </a:cxn>
                <a:cxn ang="0">
                  <a:pos x="connsiteX10975" y="connsiteY10975"/>
                </a:cxn>
                <a:cxn ang="0">
                  <a:pos x="connsiteX10976" y="connsiteY10976"/>
                </a:cxn>
                <a:cxn ang="0">
                  <a:pos x="connsiteX10977" y="connsiteY10977"/>
                </a:cxn>
                <a:cxn ang="0">
                  <a:pos x="connsiteX10978" y="connsiteY10978"/>
                </a:cxn>
                <a:cxn ang="0">
                  <a:pos x="connsiteX10979" y="connsiteY10979"/>
                </a:cxn>
                <a:cxn ang="0">
                  <a:pos x="connsiteX10980" y="connsiteY10980"/>
                </a:cxn>
                <a:cxn ang="0">
                  <a:pos x="connsiteX10981" y="connsiteY10981"/>
                </a:cxn>
                <a:cxn ang="0">
                  <a:pos x="connsiteX10982" y="connsiteY10982"/>
                </a:cxn>
                <a:cxn ang="0">
                  <a:pos x="connsiteX10983" y="connsiteY10983"/>
                </a:cxn>
                <a:cxn ang="0">
                  <a:pos x="connsiteX10984" y="connsiteY10984"/>
                </a:cxn>
                <a:cxn ang="0">
                  <a:pos x="connsiteX10985" y="connsiteY10985"/>
                </a:cxn>
                <a:cxn ang="0">
                  <a:pos x="connsiteX10986" y="connsiteY10986"/>
                </a:cxn>
                <a:cxn ang="0">
                  <a:pos x="connsiteX10987" y="connsiteY10987"/>
                </a:cxn>
                <a:cxn ang="0">
                  <a:pos x="connsiteX10988" y="connsiteY10988"/>
                </a:cxn>
                <a:cxn ang="0">
                  <a:pos x="connsiteX10989" y="connsiteY10989"/>
                </a:cxn>
                <a:cxn ang="0">
                  <a:pos x="connsiteX10990" y="connsiteY10990"/>
                </a:cxn>
                <a:cxn ang="0">
                  <a:pos x="connsiteX10991" y="connsiteY10991"/>
                </a:cxn>
                <a:cxn ang="0">
                  <a:pos x="connsiteX10992" y="connsiteY10992"/>
                </a:cxn>
                <a:cxn ang="0">
                  <a:pos x="connsiteX10993" y="connsiteY10993"/>
                </a:cxn>
                <a:cxn ang="0">
                  <a:pos x="connsiteX10994" y="connsiteY10994"/>
                </a:cxn>
                <a:cxn ang="0">
                  <a:pos x="connsiteX10995" y="connsiteY10995"/>
                </a:cxn>
                <a:cxn ang="0">
                  <a:pos x="connsiteX10996" y="connsiteY10996"/>
                </a:cxn>
                <a:cxn ang="0">
                  <a:pos x="connsiteX10997" y="connsiteY10997"/>
                </a:cxn>
                <a:cxn ang="0">
                  <a:pos x="connsiteX10998" y="connsiteY10998"/>
                </a:cxn>
                <a:cxn ang="0">
                  <a:pos x="connsiteX10999" y="connsiteY10999"/>
                </a:cxn>
                <a:cxn ang="0">
                  <a:pos x="connsiteX11000" y="connsiteY11000"/>
                </a:cxn>
                <a:cxn ang="0">
                  <a:pos x="connsiteX11001" y="connsiteY11001"/>
                </a:cxn>
                <a:cxn ang="0">
                  <a:pos x="connsiteX11002" y="connsiteY11002"/>
                </a:cxn>
                <a:cxn ang="0">
                  <a:pos x="connsiteX11003" y="connsiteY11003"/>
                </a:cxn>
                <a:cxn ang="0">
                  <a:pos x="connsiteX11004" y="connsiteY11004"/>
                </a:cxn>
                <a:cxn ang="0">
                  <a:pos x="connsiteX11005" y="connsiteY11005"/>
                </a:cxn>
                <a:cxn ang="0">
                  <a:pos x="connsiteX11006" y="connsiteY11006"/>
                </a:cxn>
                <a:cxn ang="0">
                  <a:pos x="connsiteX11007" y="connsiteY11007"/>
                </a:cxn>
                <a:cxn ang="0">
                  <a:pos x="connsiteX11008" y="connsiteY11008"/>
                </a:cxn>
                <a:cxn ang="0">
                  <a:pos x="connsiteX11009" y="connsiteY11009"/>
                </a:cxn>
                <a:cxn ang="0">
                  <a:pos x="connsiteX11010" y="connsiteY11010"/>
                </a:cxn>
                <a:cxn ang="0">
                  <a:pos x="connsiteX11011" y="connsiteY11011"/>
                </a:cxn>
                <a:cxn ang="0">
                  <a:pos x="connsiteX11012" y="connsiteY11012"/>
                </a:cxn>
                <a:cxn ang="0">
                  <a:pos x="connsiteX11013" y="connsiteY11013"/>
                </a:cxn>
                <a:cxn ang="0">
                  <a:pos x="connsiteX11014" y="connsiteY11014"/>
                </a:cxn>
                <a:cxn ang="0">
                  <a:pos x="connsiteX11015" y="connsiteY11015"/>
                </a:cxn>
                <a:cxn ang="0">
                  <a:pos x="connsiteX11016" y="connsiteY11016"/>
                </a:cxn>
                <a:cxn ang="0">
                  <a:pos x="connsiteX11017" y="connsiteY11017"/>
                </a:cxn>
                <a:cxn ang="0">
                  <a:pos x="connsiteX11018" y="connsiteY11018"/>
                </a:cxn>
                <a:cxn ang="0">
                  <a:pos x="connsiteX11019" y="connsiteY11019"/>
                </a:cxn>
                <a:cxn ang="0">
                  <a:pos x="connsiteX11020" y="connsiteY11020"/>
                </a:cxn>
                <a:cxn ang="0">
                  <a:pos x="connsiteX11021" y="connsiteY11021"/>
                </a:cxn>
                <a:cxn ang="0">
                  <a:pos x="connsiteX11022" y="connsiteY11022"/>
                </a:cxn>
                <a:cxn ang="0">
                  <a:pos x="connsiteX11023" y="connsiteY11023"/>
                </a:cxn>
                <a:cxn ang="0">
                  <a:pos x="connsiteX11024" y="connsiteY11024"/>
                </a:cxn>
                <a:cxn ang="0">
                  <a:pos x="connsiteX11025" y="connsiteY11025"/>
                </a:cxn>
                <a:cxn ang="0">
                  <a:pos x="connsiteX11026" y="connsiteY11026"/>
                </a:cxn>
                <a:cxn ang="0">
                  <a:pos x="connsiteX11027" y="connsiteY11027"/>
                </a:cxn>
                <a:cxn ang="0">
                  <a:pos x="connsiteX11028" y="connsiteY11028"/>
                </a:cxn>
                <a:cxn ang="0">
                  <a:pos x="connsiteX11029" y="connsiteY11029"/>
                </a:cxn>
                <a:cxn ang="0">
                  <a:pos x="connsiteX11030" y="connsiteY11030"/>
                </a:cxn>
                <a:cxn ang="0">
                  <a:pos x="connsiteX11031" y="connsiteY11031"/>
                </a:cxn>
                <a:cxn ang="0">
                  <a:pos x="connsiteX11032" y="connsiteY11032"/>
                </a:cxn>
                <a:cxn ang="0">
                  <a:pos x="connsiteX11033" y="connsiteY11033"/>
                </a:cxn>
                <a:cxn ang="0">
                  <a:pos x="connsiteX11034" y="connsiteY11034"/>
                </a:cxn>
                <a:cxn ang="0">
                  <a:pos x="connsiteX11035" y="connsiteY11035"/>
                </a:cxn>
                <a:cxn ang="0">
                  <a:pos x="connsiteX11036" y="connsiteY11036"/>
                </a:cxn>
                <a:cxn ang="0">
                  <a:pos x="connsiteX11037" y="connsiteY11037"/>
                </a:cxn>
                <a:cxn ang="0">
                  <a:pos x="connsiteX11038" y="connsiteY11038"/>
                </a:cxn>
                <a:cxn ang="0">
                  <a:pos x="connsiteX11039" y="connsiteY11039"/>
                </a:cxn>
                <a:cxn ang="0">
                  <a:pos x="connsiteX11040" y="connsiteY11040"/>
                </a:cxn>
                <a:cxn ang="0">
                  <a:pos x="connsiteX11041" y="connsiteY11041"/>
                </a:cxn>
                <a:cxn ang="0">
                  <a:pos x="connsiteX11042" y="connsiteY11042"/>
                </a:cxn>
                <a:cxn ang="0">
                  <a:pos x="connsiteX11043" y="connsiteY11043"/>
                </a:cxn>
                <a:cxn ang="0">
                  <a:pos x="connsiteX11044" y="connsiteY11044"/>
                </a:cxn>
                <a:cxn ang="0">
                  <a:pos x="connsiteX11045" y="connsiteY11045"/>
                </a:cxn>
                <a:cxn ang="0">
                  <a:pos x="connsiteX11046" y="connsiteY11046"/>
                </a:cxn>
                <a:cxn ang="0">
                  <a:pos x="connsiteX11047" y="connsiteY11047"/>
                </a:cxn>
                <a:cxn ang="0">
                  <a:pos x="connsiteX11048" y="connsiteY11048"/>
                </a:cxn>
                <a:cxn ang="0">
                  <a:pos x="connsiteX11049" y="connsiteY11049"/>
                </a:cxn>
                <a:cxn ang="0">
                  <a:pos x="connsiteX11050" y="connsiteY11050"/>
                </a:cxn>
                <a:cxn ang="0">
                  <a:pos x="connsiteX11051" y="connsiteY11051"/>
                </a:cxn>
                <a:cxn ang="0">
                  <a:pos x="connsiteX11052" y="connsiteY11052"/>
                </a:cxn>
                <a:cxn ang="0">
                  <a:pos x="connsiteX11053" y="connsiteY11053"/>
                </a:cxn>
                <a:cxn ang="0">
                  <a:pos x="connsiteX11054" y="connsiteY11054"/>
                </a:cxn>
                <a:cxn ang="0">
                  <a:pos x="connsiteX11055" y="connsiteY11055"/>
                </a:cxn>
                <a:cxn ang="0">
                  <a:pos x="connsiteX11056" y="connsiteY11056"/>
                </a:cxn>
                <a:cxn ang="0">
                  <a:pos x="connsiteX11057" y="connsiteY11057"/>
                </a:cxn>
                <a:cxn ang="0">
                  <a:pos x="connsiteX11058" y="connsiteY11058"/>
                </a:cxn>
                <a:cxn ang="0">
                  <a:pos x="connsiteX11059" y="connsiteY11059"/>
                </a:cxn>
                <a:cxn ang="0">
                  <a:pos x="connsiteX11060" y="connsiteY11060"/>
                </a:cxn>
                <a:cxn ang="0">
                  <a:pos x="connsiteX11061" y="connsiteY11061"/>
                </a:cxn>
                <a:cxn ang="0">
                  <a:pos x="connsiteX11062" y="connsiteY11062"/>
                </a:cxn>
                <a:cxn ang="0">
                  <a:pos x="connsiteX11063" y="connsiteY11063"/>
                </a:cxn>
                <a:cxn ang="0">
                  <a:pos x="connsiteX11064" y="connsiteY11064"/>
                </a:cxn>
                <a:cxn ang="0">
                  <a:pos x="connsiteX11065" y="connsiteY11065"/>
                </a:cxn>
                <a:cxn ang="0">
                  <a:pos x="connsiteX11066" y="connsiteY11066"/>
                </a:cxn>
                <a:cxn ang="0">
                  <a:pos x="connsiteX11067" y="connsiteY11067"/>
                </a:cxn>
                <a:cxn ang="0">
                  <a:pos x="connsiteX11068" y="connsiteY11068"/>
                </a:cxn>
                <a:cxn ang="0">
                  <a:pos x="connsiteX11069" y="connsiteY11069"/>
                </a:cxn>
                <a:cxn ang="0">
                  <a:pos x="connsiteX11070" y="connsiteY11070"/>
                </a:cxn>
                <a:cxn ang="0">
                  <a:pos x="connsiteX11071" y="connsiteY11071"/>
                </a:cxn>
                <a:cxn ang="0">
                  <a:pos x="connsiteX11072" y="connsiteY11072"/>
                </a:cxn>
                <a:cxn ang="0">
                  <a:pos x="connsiteX11073" y="connsiteY11073"/>
                </a:cxn>
                <a:cxn ang="0">
                  <a:pos x="connsiteX11074" y="connsiteY11074"/>
                </a:cxn>
                <a:cxn ang="0">
                  <a:pos x="connsiteX11075" y="connsiteY11075"/>
                </a:cxn>
                <a:cxn ang="0">
                  <a:pos x="connsiteX11076" y="connsiteY11076"/>
                </a:cxn>
                <a:cxn ang="0">
                  <a:pos x="connsiteX11077" y="connsiteY11077"/>
                </a:cxn>
                <a:cxn ang="0">
                  <a:pos x="connsiteX11078" y="connsiteY11078"/>
                </a:cxn>
                <a:cxn ang="0">
                  <a:pos x="connsiteX11079" y="connsiteY11079"/>
                </a:cxn>
                <a:cxn ang="0">
                  <a:pos x="connsiteX11080" y="connsiteY11080"/>
                </a:cxn>
                <a:cxn ang="0">
                  <a:pos x="connsiteX11081" y="connsiteY11081"/>
                </a:cxn>
                <a:cxn ang="0">
                  <a:pos x="connsiteX11082" y="connsiteY11082"/>
                </a:cxn>
                <a:cxn ang="0">
                  <a:pos x="connsiteX11083" y="connsiteY11083"/>
                </a:cxn>
                <a:cxn ang="0">
                  <a:pos x="connsiteX11084" y="connsiteY11084"/>
                </a:cxn>
                <a:cxn ang="0">
                  <a:pos x="connsiteX11085" y="connsiteY11085"/>
                </a:cxn>
                <a:cxn ang="0">
                  <a:pos x="connsiteX11086" y="connsiteY11086"/>
                </a:cxn>
                <a:cxn ang="0">
                  <a:pos x="connsiteX11087" y="connsiteY11087"/>
                </a:cxn>
                <a:cxn ang="0">
                  <a:pos x="connsiteX11088" y="connsiteY11088"/>
                </a:cxn>
                <a:cxn ang="0">
                  <a:pos x="connsiteX11089" y="connsiteY11089"/>
                </a:cxn>
                <a:cxn ang="0">
                  <a:pos x="connsiteX11090" y="connsiteY11090"/>
                </a:cxn>
                <a:cxn ang="0">
                  <a:pos x="connsiteX11091" y="connsiteY11091"/>
                </a:cxn>
                <a:cxn ang="0">
                  <a:pos x="connsiteX11092" y="connsiteY11092"/>
                </a:cxn>
                <a:cxn ang="0">
                  <a:pos x="connsiteX11093" y="connsiteY11093"/>
                </a:cxn>
                <a:cxn ang="0">
                  <a:pos x="connsiteX11094" y="connsiteY11094"/>
                </a:cxn>
                <a:cxn ang="0">
                  <a:pos x="connsiteX11095" y="connsiteY11095"/>
                </a:cxn>
                <a:cxn ang="0">
                  <a:pos x="connsiteX11096" y="connsiteY11096"/>
                </a:cxn>
                <a:cxn ang="0">
                  <a:pos x="connsiteX11097" y="connsiteY11097"/>
                </a:cxn>
                <a:cxn ang="0">
                  <a:pos x="connsiteX11098" y="connsiteY11098"/>
                </a:cxn>
                <a:cxn ang="0">
                  <a:pos x="connsiteX11099" y="connsiteY11099"/>
                </a:cxn>
                <a:cxn ang="0">
                  <a:pos x="connsiteX11100" y="connsiteY11100"/>
                </a:cxn>
                <a:cxn ang="0">
                  <a:pos x="connsiteX11101" y="connsiteY11101"/>
                </a:cxn>
                <a:cxn ang="0">
                  <a:pos x="connsiteX11102" y="connsiteY11102"/>
                </a:cxn>
                <a:cxn ang="0">
                  <a:pos x="connsiteX11103" y="connsiteY11103"/>
                </a:cxn>
                <a:cxn ang="0">
                  <a:pos x="connsiteX11104" y="connsiteY11104"/>
                </a:cxn>
                <a:cxn ang="0">
                  <a:pos x="connsiteX11105" y="connsiteY11105"/>
                </a:cxn>
                <a:cxn ang="0">
                  <a:pos x="connsiteX11106" y="connsiteY11106"/>
                </a:cxn>
                <a:cxn ang="0">
                  <a:pos x="connsiteX11107" y="connsiteY11107"/>
                </a:cxn>
                <a:cxn ang="0">
                  <a:pos x="connsiteX11108" y="connsiteY11108"/>
                </a:cxn>
                <a:cxn ang="0">
                  <a:pos x="connsiteX11109" y="connsiteY11109"/>
                </a:cxn>
                <a:cxn ang="0">
                  <a:pos x="connsiteX11110" y="connsiteY11110"/>
                </a:cxn>
                <a:cxn ang="0">
                  <a:pos x="connsiteX11111" y="connsiteY11111"/>
                </a:cxn>
                <a:cxn ang="0">
                  <a:pos x="connsiteX11112" y="connsiteY11112"/>
                </a:cxn>
                <a:cxn ang="0">
                  <a:pos x="connsiteX11113" y="connsiteY11113"/>
                </a:cxn>
                <a:cxn ang="0">
                  <a:pos x="connsiteX11114" y="connsiteY11114"/>
                </a:cxn>
                <a:cxn ang="0">
                  <a:pos x="connsiteX11115" y="connsiteY11115"/>
                </a:cxn>
                <a:cxn ang="0">
                  <a:pos x="connsiteX11116" y="connsiteY11116"/>
                </a:cxn>
                <a:cxn ang="0">
                  <a:pos x="connsiteX11117" y="connsiteY11117"/>
                </a:cxn>
                <a:cxn ang="0">
                  <a:pos x="connsiteX11118" y="connsiteY11118"/>
                </a:cxn>
                <a:cxn ang="0">
                  <a:pos x="connsiteX11119" y="connsiteY11119"/>
                </a:cxn>
                <a:cxn ang="0">
                  <a:pos x="connsiteX11120" y="connsiteY11120"/>
                </a:cxn>
                <a:cxn ang="0">
                  <a:pos x="connsiteX11121" y="connsiteY11121"/>
                </a:cxn>
                <a:cxn ang="0">
                  <a:pos x="connsiteX11122" y="connsiteY11122"/>
                </a:cxn>
                <a:cxn ang="0">
                  <a:pos x="connsiteX11123" y="connsiteY11123"/>
                </a:cxn>
                <a:cxn ang="0">
                  <a:pos x="connsiteX11124" y="connsiteY11124"/>
                </a:cxn>
                <a:cxn ang="0">
                  <a:pos x="connsiteX11125" y="connsiteY11125"/>
                </a:cxn>
                <a:cxn ang="0">
                  <a:pos x="connsiteX11126" y="connsiteY11126"/>
                </a:cxn>
                <a:cxn ang="0">
                  <a:pos x="connsiteX11127" y="connsiteY11127"/>
                </a:cxn>
                <a:cxn ang="0">
                  <a:pos x="connsiteX11128" y="connsiteY11128"/>
                </a:cxn>
                <a:cxn ang="0">
                  <a:pos x="connsiteX11129" y="connsiteY11129"/>
                </a:cxn>
                <a:cxn ang="0">
                  <a:pos x="connsiteX11130" y="connsiteY11130"/>
                </a:cxn>
                <a:cxn ang="0">
                  <a:pos x="connsiteX11131" y="connsiteY11131"/>
                </a:cxn>
                <a:cxn ang="0">
                  <a:pos x="connsiteX11132" y="connsiteY11132"/>
                </a:cxn>
                <a:cxn ang="0">
                  <a:pos x="connsiteX11133" y="connsiteY11133"/>
                </a:cxn>
                <a:cxn ang="0">
                  <a:pos x="connsiteX11134" y="connsiteY11134"/>
                </a:cxn>
                <a:cxn ang="0">
                  <a:pos x="connsiteX11135" y="connsiteY11135"/>
                </a:cxn>
                <a:cxn ang="0">
                  <a:pos x="connsiteX11136" y="connsiteY11136"/>
                </a:cxn>
                <a:cxn ang="0">
                  <a:pos x="connsiteX11137" y="connsiteY11137"/>
                </a:cxn>
                <a:cxn ang="0">
                  <a:pos x="connsiteX11138" y="connsiteY11138"/>
                </a:cxn>
                <a:cxn ang="0">
                  <a:pos x="connsiteX11139" y="connsiteY11139"/>
                </a:cxn>
                <a:cxn ang="0">
                  <a:pos x="connsiteX11140" y="connsiteY11140"/>
                </a:cxn>
                <a:cxn ang="0">
                  <a:pos x="connsiteX11141" y="connsiteY11141"/>
                </a:cxn>
                <a:cxn ang="0">
                  <a:pos x="connsiteX11142" y="connsiteY11142"/>
                </a:cxn>
                <a:cxn ang="0">
                  <a:pos x="connsiteX11143" y="connsiteY11143"/>
                </a:cxn>
                <a:cxn ang="0">
                  <a:pos x="connsiteX11144" y="connsiteY11144"/>
                </a:cxn>
                <a:cxn ang="0">
                  <a:pos x="connsiteX11145" y="connsiteY11145"/>
                </a:cxn>
                <a:cxn ang="0">
                  <a:pos x="connsiteX11146" y="connsiteY11146"/>
                </a:cxn>
                <a:cxn ang="0">
                  <a:pos x="connsiteX11147" y="connsiteY11147"/>
                </a:cxn>
                <a:cxn ang="0">
                  <a:pos x="connsiteX11148" y="connsiteY11148"/>
                </a:cxn>
                <a:cxn ang="0">
                  <a:pos x="connsiteX11149" y="connsiteY11149"/>
                </a:cxn>
                <a:cxn ang="0">
                  <a:pos x="connsiteX11150" y="connsiteY11150"/>
                </a:cxn>
                <a:cxn ang="0">
                  <a:pos x="connsiteX11151" y="connsiteY11151"/>
                </a:cxn>
                <a:cxn ang="0">
                  <a:pos x="connsiteX11152" y="connsiteY11152"/>
                </a:cxn>
                <a:cxn ang="0">
                  <a:pos x="connsiteX11153" y="connsiteY11153"/>
                </a:cxn>
                <a:cxn ang="0">
                  <a:pos x="connsiteX11154" y="connsiteY11154"/>
                </a:cxn>
                <a:cxn ang="0">
                  <a:pos x="connsiteX11155" y="connsiteY11155"/>
                </a:cxn>
                <a:cxn ang="0">
                  <a:pos x="connsiteX11156" y="connsiteY11156"/>
                </a:cxn>
                <a:cxn ang="0">
                  <a:pos x="connsiteX11157" y="connsiteY11157"/>
                </a:cxn>
                <a:cxn ang="0">
                  <a:pos x="connsiteX11158" y="connsiteY11158"/>
                </a:cxn>
                <a:cxn ang="0">
                  <a:pos x="connsiteX11159" y="connsiteY11159"/>
                </a:cxn>
                <a:cxn ang="0">
                  <a:pos x="connsiteX11160" y="connsiteY11160"/>
                </a:cxn>
                <a:cxn ang="0">
                  <a:pos x="connsiteX11161" y="connsiteY11161"/>
                </a:cxn>
                <a:cxn ang="0">
                  <a:pos x="connsiteX11162" y="connsiteY11162"/>
                </a:cxn>
                <a:cxn ang="0">
                  <a:pos x="connsiteX11163" y="connsiteY11163"/>
                </a:cxn>
                <a:cxn ang="0">
                  <a:pos x="connsiteX11164" y="connsiteY11164"/>
                </a:cxn>
                <a:cxn ang="0">
                  <a:pos x="connsiteX11165" y="connsiteY11165"/>
                </a:cxn>
                <a:cxn ang="0">
                  <a:pos x="connsiteX11166" y="connsiteY11166"/>
                </a:cxn>
                <a:cxn ang="0">
                  <a:pos x="connsiteX11167" y="connsiteY11167"/>
                </a:cxn>
                <a:cxn ang="0">
                  <a:pos x="connsiteX11168" y="connsiteY11168"/>
                </a:cxn>
                <a:cxn ang="0">
                  <a:pos x="connsiteX11169" y="connsiteY11169"/>
                </a:cxn>
                <a:cxn ang="0">
                  <a:pos x="connsiteX11170" y="connsiteY11170"/>
                </a:cxn>
                <a:cxn ang="0">
                  <a:pos x="connsiteX11171" y="connsiteY11171"/>
                </a:cxn>
                <a:cxn ang="0">
                  <a:pos x="connsiteX11172" y="connsiteY11172"/>
                </a:cxn>
                <a:cxn ang="0">
                  <a:pos x="connsiteX11173" y="connsiteY11173"/>
                </a:cxn>
                <a:cxn ang="0">
                  <a:pos x="connsiteX11174" y="connsiteY11174"/>
                </a:cxn>
                <a:cxn ang="0">
                  <a:pos x="connsiteX11175" y="connsiteY11175"/>
                </a:cxn>
                <a:cxn ang="0">
                  <a:pos x="connsiteX11176" y="connsiteY11176"/>
                </a:cxn>
                <a:cxn ang="0">
                  <a:pos x="connsiteX11177" y="connsiteY11177"/>
                </a:cxn>
                <a:cxn ang="0">
                  <a:pos x="connsiteX11178" y="connsiteY11178"/>
                </a:cxn>
                <a:cxn ang="0">
                  <a:pos x="connsiteX11179" y="connsiteY11179"/>
                </a:cxn>
                <a:cxn ang="0">
                  <a:pos x="connsiteX11180" y="connsiteY11180"/>
                </a:cxn>
                <a:cxn ang="0">
                  <a:pos x="connsiteX11181" y="connsiteY11181"/>
                </a:cxn>
                <a:cxn ang="0">
                  <a:pos x="connsiteX11182" y="connsiteY11182"/>
                </a:cxn>
                <a:cxn ang="0">
                  <a:pos x="connsiteX11183" y="connsiteY11183"/>
                </a:cxn>
                <a:cxn ang="0">
                  <a:pos x="connsiteX11184" y="connsiteY11184"/>
                </a:cxn>
                <a:cxn ang="0">
                  <a:pos x="connsiteX11185" y="connsiteY11185"/>
                </a:cxn>
                <a:cxn ang="0">
                  <a:pos x="connsiteX11186" y="connsiteY11186"/>
                </a:cxn>
                <a:cxn ang="0">
                  <a:pos x="connsiteX11187" y="connsiteY11187"/>
                </a:cxn>
                <a:cxn ang="0">
                  <a:pos x="connsiteX11188" y="connsiteY11188"/>
                </a:cxn>
                <a:cxn ang="0">
                  <a:pos x="connsiteX11189" y="connsiteY11189"/>
                </a:cxn>
                <a:cxn ang="0">
                  <a:pos x="connsiteX11190" y="connsiteY11190"/>
                </a:cxn>
                <a:cxn ang="0">
                  <a:pos x="connsiteX11191" y="connsiteY11191"/>
                </a:cxn>
                <a:cxn ang="0">
                  <a:pos x="connsiteX11192" y="connsiteY11192"/>
                </a:cxn>
                <a:cxn ang="0">
                  <a:pos x="connsiteX11193" y="connsiteY11193"/>
                </a:cxn>
                <a:cxn ang="0">
                  <a:pos x="connsiteX11194" y="connsiteY11194"/>
                </a:cxn>
                <a:cxn ang="0">
                  <a:pos x="connsiteX11195" y="connsiteY11195"/>
                </a:cxn>
                <a:cxn ang="0">
                  <a:pos x="connsiteX11196" y="connsiteY11196"/>
                </a:cxn>
                <a:cxn ang="0">
                  <a:pos x="connsiteX11197" y="connsiteY11197"/>
                </a:cxn>
                <a:cxn ang="0">
                  <a:pos x="connsiteX11198" y="connsiteY11198"/>
                </a:cxn>
                <a:cxn ang="0">
                  <a:pos x="connsiteX11199" y="connsiteY11199"/>
                </a:cxn>
                <a:cxn ang="0">
                  <a:pos x="connsiteX11200" y="connsiteY11200"/>
                </a:cxn>
                <a:cxn ang="0">
                  <a:pos x="connsiteX11201" y="connsiteY11201"/>
                </a:cxn>
                <a:cxn ang="0">
                  <a:pos x="connsiteX11202" y="connsiteY11202"/>
                </a:cxn>
                <a:cxn ang="0">
                  <a:pos x="connsiteX11203" y="connsiteY11203"/>
                </a:cxn>
                <a:cxn ang="0">
                  <a:pos x="connsiteX11204" y="connsiteY11204"/>
                </a:cxn>
                <a:cxn ang="0">
                  <a:pos x="connsiteX11205" y="connsiteY11205"/>
                </a:cxn>
                <a:cxn ang="0">
                  <a:pos x="connsiteX11206" y="connsiteY11206"/>
                </a:cxn>
                <a:cxn ang="0">
                  <a:pos x="connsiteX11207" y="connsiteY11207"/>
                </a:cxn>
                <a:cxn ang="0">
                  <a:pos x="connsiteX11208" y="connsiteY11208"/>
                </a:cxn>
                <a:cxn ang="0">
                  <a:pos x="connsiteX11209" y="connsiteY11209"/>
                </a:cxn>
                <a:cxn ang="0">
                  <a:pos x="connsiteX11210" y="connsiteY11210"/>
                </a:cxn>
                <a:cxn ang="0">
                  <a:pos x="connsiteX11211" y="connsiteY11211"/>
                </a:cxn>
                <a:cxn ang="0">
                  <a:pos x="connsiteX11212" y="connsiteY11212"/>
                </a:cxn>
                <a:cxn ang="0">
                  <a:pos x="connsiteX11213" y="connsiteY11213"/>
                </a:cxn>
                <a:cxn ang="0">
                  <a:pos x="connsiteX11214" y="connsiteY11214"/>
                </a:cxn>
                <a:cxn ang="0">
                  <a:pos x="connsiteX11215" y="connsiteY11215"/>
                </a:cxn>
                <a:cxn ang="0">
                  <a:pos x="connsiteX11216" y="connsiteY11216"/>
                </a:cxn>
                <a:cxn ang="0">
                  <a:pos x="connsiteX11217" y="connsiteY11217"/>
                </a:cxn>
                <a:cxn ang="0">
                  <a:pos x="connsiteX11218" y="connsiteY11218"/>
                </a:cxn>
                <a:cxn ang="0">
                  <a:pos x="connsiteX11219" y="connsiteY11219"/>
                </a:cxn>
                <a:cxn ang="0">
                  <a:pos x="connsiteX11220" y="connsiteY11220"/>
                </a:cxn>
                <a:cxn ang="0">
                  <a:pos x="connsiteX11221" y="connsiteY11221"/>
                </a:cxn>
                <a:cxn ang="0">
                  <a:pos x="connsiteX11222" y="connsiteY11222"/>
                </a:cxn>
                <a:cxn ang="0">
                  <a:pos x="connsiteX11223" y="connsiteY11223"/>
                </a:cxn>
                <a:cxn ang="0">
                  <a:pos x="connsiteX11224" y="connsiteY11224"/>
                </a:cxn>
                <a:cxn ang="0">
                  <a:pos x="connsiteX11225" y="connsiteY11225"/>
                </a:cxn>
                <a:cxn ang="0">
                  <a:pos x="connsiteX11226" y="connsiteY11226"/>
                </a:cxn>
                <a:cxn ang="0">
                  <a:pos x="connsiteX11227" y="connsiteY11227"/>
                </a:cxn>
                <a:cxn ang="0">
                  <a:pos x="connsiteX11228" y="connsiteY11228"/>
                </a:cxn>
                <a:cxn ang="0">
                  <a:pos x="connsiteX11229" y="connsiteY11229"/>
                </a:cxn>
                <a:cxn ang="0">
                  <a:pos x="connsiteX11230" y="connsiteY11230"/>
                </a:cxn>
                <a:cxn ang="0">
                  <a:pos x="connsiteX11231" y="connsiteY11231"/>
                </a:cxn>
                <a:cxn ang="0">
                  <a:pos x="connsiteX11232" y="connsiteY11232"/>
                </a:cxn>
                <a:cxn ang="0">
                  <a:pos x="connsiteX11233" y="connsiteY11233"/>
                </a:cxn>
                <a:cxn ang="0">
                  <a:pos x="connsiteX11234" y="connsiteY11234"/>
                </a:cxn>
                <a:cxn ang="0">
                  <a:pos x="connsiteX11235" y="connsiteY11235"/>
                </a:cxn>
                <a:cxn ang="0">
                  <a:pos x="connsiteX11236" y="connsiteY11236"/>
                </a:cxn>
                <a:cxn ang="0">
                  <a:pos x="connsiteX11237" y="connsiteY11237"/>
                </a:cxn>
                <a:cxn ang="0">
                  <a:pos x="connsiteX11238" y="connsiteY11238"/>
                </a:cxn>
                <a:cxn ang="0">
                  <a:pos x="connsiteX11239" y="connsiteY11239"/>
                </a:cxn>
                <a:cxn ang="0">
                  <a:pos x="connsiteX11240" y="connsiteY11240"/>
                </a:cxn>
                <a:cxn ang="0">
                  <a:pos x="connsiteX11241" y="connsiteY11241"/>
                </a:cxn>
                <a:cxn ang="0">
                  <a:pos x="connsiteX11242" y="connsiteY11242"/>
                </a:cxn>
                <a:cxn ang="0">
                  <a:pos x="connsiteX11243" y="connsiteY11243"/>
                </a:cxn>
                <a:cxn ang="0">
                  <a:pos x="connsiteX11244" y="connsiteY11244"/>
                </a:cxn>
                <a:cxn ang="0">
                  <a:pos x="connsiteX11245" y="connsiteY11245"/>
                </a:cxn>
                <a:cxn ang="0">
                  <a:pos x="connsiteX11246" y="connsiteY11246"/>
                </a:cxn>
                <a:cxn ang="0">
                  <a:pos x="connsiteX11247" y="connsiteY11247"/>
                </a:cxn>
                <a:cxn ang="0">
                  <a:pos x="connsiteX11248" y="connsiteY11248"/>
                </a:cxn>
                <a:cxn ang="0">
                  <a:pos x="connsiteX11249" y="connsiteY11249"/>
                </a:cxn>
                <a:cxn ang="0">
                  <a:pos x="connsiteX11250" y="connsiteY11250"/>
                </a:cxn>
                <a:cxn ang="0">
                  <a:pos x="connsiteX11251" y="connsiteY11251"/>
                </a:cxn>
                <a:cxn ang="0">
                  <a:pos x="connsiteX11252" y="connsiteY11252"/>
                </a:cxn>
                <a:cxn ang="0">
                  <a:pos x="connsiteX11253" y="connsiteY11253"/>
                </a:cxn>
                <a:cxn ang="0">
                  <a:pos x="connsiteX11254" y="connsiteY11254"/>
                </a:cxn>
                <a:cxn ang="0">
                  <a:pos x="connsiteX11255" y="connsiteY11255"/>
                </a:cxn>
                <a:cxn ang="0">
                  <a:pos x="connsiteX11256" y="connsiteY11256"/>
                </a:cxn>
                <a:cxn ang="0">
                  <a:pos x="connsiteX11257" y="connsiteY11257"/>
                </a:cxn>
                <a:cxn ang="0">
                  <a:pos x="connsiteX11258" y="connsiteY11258"/>
                </a:cxn>
                <a:cxn ang="0">
                  <a:pos x="connsiteX11259" y="connsiteY11259"/>
                </a:cxn>
                <a:cxn ang="0">
                  <a:pos x="connsiteX11260" y="connsiteY11260"/>
                </a:cxn>
                <a:cxn ang="0">
                  <a:pos x="connsiteX11261" y="connsiteY11261"/>
                </a:cxn>
                <a:cxn ang="0">
                  <a:pos x="connsiteX11262" y="connsiteY11262"/>
                </a:cxn>
                <a:cxn ang="0">
                  <a:pos x="connsiteX11263" y="connsiteY11263"/>
                </a:cxn>
                <a:cxn ang="0">
                  <a:pos x="connsiteX11264" y="connsiteY11264"/>
                </a:cxn>
                <a:cxn ang="0">
                  <a:pos x="connsiteX11265" y="connsiteY11265"/>
                </a:cxn>
                <a:cxn ang="0">
                  <a:pos x="connsiteX11266" y="connsiteY11266"/>
                </a:cxn>
                <a:cxn ang="0">
                  <a:pos x="connsiteX11267" y="connsiteY11267"/>
                </a:cxn>
                <a:cxn ang="0">
                  <a:pos x="connsiteX11268" y="connsiteY11268"/>
                </a:cxn>
                <a:cxn ang="0">
                  <a:pos x="connsiteX11269" y="connsiteY11269"/>
                </a:cxn>
                <a:cxn ang="0">
                  <a:pos x="connsiteX11270" y="connsiteY11270"/>
                </a:cxn>
                <a:cxn ang="0">
                  <a:pos x="connsiteX11271" y="connsiteY11271"/>
                </a:cxn>
                <a:cxn ang="0">
                  <a:pos x="connsiteX11272" y="connsiteY11272"/>
                </a:cxn>
                <a:cxn ang="0">
                  <a:pos x="connsiteX11273" y="connsiteY11273"/>
                </a:cxn>
                <a:cxn ang="0">
                  <a:pos x="connsiteX11274" y="connsiteY11274"/>
                </a:cxn>
                <a:cxn ang="0">
                  <a:pos x="connsiteX11275" y="connsiteY11275"/>
                </a:cxn>
                <a:cxn ang="0">
                  <a:pos x="connsiteX11276" y="connsiteY11276"/>
                </a:cxn>
                <a:cxn ang="0">
                  <a:pos x="connsiteX11277" y="connsiteY11277"/>
                </a:cxn>
                <a:cxn ang="0">
                  <a:pos x="connsiteX11278" y="connsiteY11278"/>
                </a:cxn>
                <a:cxn ang="0">
                  <a:pos x="connsiteX11279" y="connsiteY11279"/>
                </a:cxn>
                <a:cxn ang="0">
                  <a:pos x="connsiteX11280" y="connsiteY11280"/>
                </a:cxn>
                <a:cxn ang="0">
                  <a:pos x="connsiteX11281" y="connsiteY11281"/>
                </a:cxn>
                <a:cxn ang="0">
                  <a:pos x="connsiteX11282" y="connsiteY11282"/>
                </a:cxn>
                <a:cxn ang="0">
                  <a:pos x="connsiteX11283" y="connsiteY11283"/>
                </a:cxn>
                <a:cxn ang="0">
                  <a:pos x="connsiteX11284" y="connsiteY11284"/>
                </a:cxn>
                <a:cxn ang="0">
                  <a:pos x="connsiteX11285" y="connsiteY11285"/>
                </a:cxn>
                <a:cxn ang="0">
                  <a:pos x="connsiteX11286" y="connsiteY11286"/>
                </a:cxn>
                <a:cxn ang="0">
                  <a:pos x="connsiteX11287" y="connsiteY11287"/>
                </a:cxn>
                <a:cxn ang="0">
                  <a:pos x="connsiteX11288" y="connsiteY11288"/>
                </a:cxn>
                <a:cxn ang="0">
                  <a:pos x="connsiteX11289" y="connsiteY11289"/>
                </a:cxn>
                <a:cxn ang="0">
                  <a:pos x="connsiteX11290" y="connsiteY11290"/>
                </a:cxn>
                <a:cxn ang="0">
                  <a:pos x="connsiteX11291" y="connsiteY11291"/>
                </a:cxn>
                <a:cxn ang="0">
                  <a:pos x="connsiteX11292" y="connsiteY11292"/>
                </a:cxn>
                <a:cxn ang="0">
                  <a:pos x="connsiteX11293" y="connsiteY11293"/>
                </a:cxn>
                <a:cxn ang="0">
                  <a:pos x="connsiteX11294" y="connsiteY11294"/>
                </a:cxn>
                <a:cxn ang="0">
                  <a:pos x="connsiteX11295" y="connsiteY11295"/>
                </a:cxn>
                <a:cxn ang="0">
                  <a:pos x="connsiteX11296" y="connsiteY11296"/>
                </a:cxn>
                <a:cxn ang="0">
                  <a:pos x="connsiteX11297" y="connsiteY11297"/>
                </a:cxn>
                <a:cxn ang="0">
                  <a:pos x="connsiteX11298" y="connsiteY11298"/>
                </a:cxn>
                <a:cxn ang="0">
                  <a:pos x="connsiteX11299" y="connsiteY11299"/>
                </a:cxn>
                <a:cxn ang="0">
                  <a:pos x="connsiteX11300" y="connsiteY11300"/>
                </a:cxn>
                <a:cxn ang="0">
                  <a:pos x="connsiteX11301" y="connsiteY11301"/>
                </a:cxn>
                <a:cxn ang="0">
                  <a:pos x="connsiteX11302" y="connsiteY11302"/>
                </a:cxn>
                <a:cxn ang="0">
                  <a:pos x="connsiteX11303" y="connsiteY11303"/>
                </a:cxn>
                <a:cxn ang="0">
                  <a:pos x="connsiteX11304" y="connsiteY11304"/>
                </a:cxn>
                <a:cxn ang="0">
                  <a:pos x="connsiteX11305" y="connsiteY11305"/>
                </a:cxn>
                <a:cxn ang="0">
                  <a:pos x="connsiteX11306" y="connsiteY11306"/>
                </a:cxn>
                <a:cxn ang="0">
                  <a:pos x="connsiteX11307" y="connsiteY11307"/>
                </a:cxn>
                <a:cxn ang="0">
                  <a:pos x="connsiteX11308" y="connsiteY11308"/>
                </a:cxn>
                <a:cxn ang="0">
                  <a:pos x="connsiteX11309" y="connsiteY11309"/>
                </a:cxn>
                <a:cxn ang="0">
                  <a:pos x="connsiteX11310" y="connsiteY11310"/>
                </a:cxn>
                <a:cxn ang="0">
                  <a:pos x="connsiteX11311" y="connsiteY11311"/>
                </a:cxn>
                <a:cxn ang="0">
                  <a:pos x="connsiteX11312" y="connsiteY11312"/>
                </a:cxn>
                <a:cxn ang="0">
                  <a:pos x="connsiteX11313" y="connsiteY11313"/>
                </a:cxn>
                <a:cxn ang="0">
                  <a:pos x="connsiteX11314" y="connsiteY11314"/>
                </a:cxn>
                <a:cxn ang="0">
                  <a:pos x="connsiteX11315" y="connsiteY11315"/>
                </a:cxn>
                <a:cxn ang="0">
                  <a:pos x="connsiteX11316" y="connsiteY11316"/>
                </a:cxn>
                <a:cxn ang="0">
                  <a:pos x="connsiteX11317" y="connsiteY11317"/>
                </a:cxn>
                <a:cxn ang="0">
                  <a:pos x="connsiteX11318" y="connsiteY11318"/>
                </a:cxn>
                <a:cxn ang="0">
                  <a:pos x="connsiteX11319" y="connsiteY11319"/>
                </a:cxn>
                <a:cxn ang="0">
                  <a:pos x="connsiteX11320" y="connsiteY11320"/>
                </a:cxn>
                <a:cxn ang="0">
                  <a:pos x="connsiteX11321" y="connsiteY11321"/>
                </a:cxn>
                <a:cxn ang="0">
                  <a:pos x="connsiteX11322" y="connsiteY11322"/>
                </a:cxn>
                <a:cxn ang="0">
                  <a:pos x="connsiteX11323" y="connsiteY11323"/>
                </a:cxn>
                <a:cxn ang="0">
                  <a:pos x="connsiteX11324" y="connsiteY11324"/>
                </a:cxn>
                <a:cxn ang="0">
                  <a:pos x="connsiteX11325" y="connsiteY11325"/>
                </a:cxn>
                <a:cxn ang="0">
                  <a:pos x="connsiteX11326" y="connsiteY11326"/>
                </a:cxn>
                <a:cxn ang="0">
                  <a:pos x="connsiteX11327" y="connsiteY11327"/>
                </a:cxn>
                <a:cxn ang="0">
                  <a:pos x="connsiteX11328" y="connsiteY11328"/>
                </a:cxn>
                <a:cxn ang="0">
                  <a:pos x="connsiteX11329" y="connsiteY11329"/>
                </a:cxn>
                <a:cxn ang="0">
                  <a:pos x="connsiteX11330" y="connsiteY11330"/>
                </a:cxn>
                <a:cxn ang="0">
                  <a:pos x="connsiteX11331" y="connsiteY11331"/>
                </a:cxn>
                <a:cxn ang="0">
                  <a:pos x="connsiteX11332" y="connsiteY11332"/>
                </a:cxn>
                <a:cxn ang="0">
                  <a:pos x="connsiteX11333" y="connsiteY11333"/>
                </a:cxn>
                <a:cxn ang="0">
                  <a:pos x="connsiteX11334" y="connsiteY11334"/>
                </a:cxn>
                <a:cxn ang="0">
                  <a:pos x="connsiteX11335" y="connsiteY11335"/>
                </a:cxn>
                <a:cxn ang="0">
                  <a:pos x="connsiteX11336" y="connsiteY11336"/>
                </a:cxn>
                <a:cxn ang="0">
                  <a:pos x="connsiteX11337" y="connsiteY11337"/>
                </a:cxn>
                <a:cxn ang="0">
                  <a:pos x="connsiteX11338" y="connsiteY11338"/>
                </a:cxn>
                <a:cxn ang="0">
                  <a:pos x="connsiteX11339" y="connsiteY11339"/>
                </a:cxn>
                <a:cxn ang="0">
                  <a:pos x="connsiteX11340" y="connsiteY11340"/>
                </a:cxn>
                <a:cxn ang="0">
                  <a:pos x="connsiteX11341" y="connsiteY11341"/>
                </a:cxn>
                <a:cxn ang="0">
                  <a:pos x="connsiteX11342" y="connsiteY11342"/>
                </a:cxn>
                <a:cxn ang="0">
                  <a:pos x="connsiteX11343" y="connsiteY11343"/>
                </a:cxn>
                <a:cxn ang="0">
                  <a:pos x="connsiteX11344" y="connsiteY11344"/>
                </a:cxn>
                <a:cxn ang="0">
                  <a:pos x="connsiteX11345" y="connsiteY11345"/>
                </a:cxn>
                <a:cxn ang="0">
                  <a:pos x="connsiteX11346" y="connsiteY11346"/>
                </a:cxn>
                <a:cxn ang="0">
                  <a:pos x="connsiteX11347" y="connsiteY11347"/>
                </a:cxn>
                <a:cxn ang="0">
                  <a:pos x="connsiteX11348" y="connsiteY11348"/>
                </a:cxn>
                <a:cxn ang="0">
                  <a:pos x="connsiteX11349" y="connsiteY11349"/>
                </a:cxn>
                <a:cxn ang="0">
                  <a:pos x="connsiteX11350" y="connsiteY11350"/>
                </a:cxn>
                <a:cxn ang="0">
                  <a:pos x="connsiteX11351" y="connsiteY11351"/>
                </a:cxn>
                <a:cxn ang="0">
                  <a:pos x="connsiteX11352" y="connsiteY11352"/>
                </a:cxn>
                <a:cxn ang="0">
                  <a:pos x="connsiteX11353" y="connsiteY11353"/>
                </a:cxn>
                <a:cxn ang="0">
                  <a:pos x="connsiteX11354" y="connsiteY11354"/>
                </a:cxn>
                <a:cxn ang="0">
                  <a:pos x="connsiteX11355" y="connsiteY11355"/>
                </a:cxn>
                <a:cxn ang="0">
                  <a:pos x="connsiteX11356" y="connsiteY11356"/>
                </a:cxn>
                <a:cxn ang="0">
                  <a:pos x="connsiteX11357" y="connsiteY11357"/>
                </a:cxn>
                <a:cxn ang="0">
                  <a:pos x="connsiteX11358" y="connsiteY11358"/>
                </a:cxn>
                <a:cxn ang="0">
                  <a:pos x="connsiteX11359" y="connsiteY11359"/>
                </a:cxn>
                <a:cxn ang="0">
                  <a:pos x="connsiteX11360" y="connsiteY11360"/>
                </a:cxn>
                <a:cxn ang="0">
                  <a:pos x="connsiteX11361" y="connsiteY11361"/>
                </a:cxn>
                <a:cxn ang="0">
                  <a:pos x="connsiteX11362" y="connsiteY11362"/>
                </a:cxn>
                <a:cxn ang="0">
                  <a:pos x="connsiteX11363" y="connsiteY11363"/>
                </a:cxn>
                <a:cxn ang="0">
                  <a:pos x="connsiteX11364" y="connsiteY11364"/>
                </a:cxn>
                <a:cxn ang="0">
                  <a:pos x="connsiteX11365" y="connsiteY11365"/>
                </a:cxn>
                <a:cxn ang="0">
                  <a:pos x="connsiteX11366" y="connsiteY11366"/>
                </a:cxn>
                <a:cxn ang="0">
                  <a:pos x="connsiteX11367" y="connsiteY11367"/>
                </a:cxn>
                <a:cxn ang="0">
                  <a:pos x="connsiteX11368" y="connsiteY11368"/>
                </a:cxn>
                <a:cxn ang="0">
                  <a:pos x="connsiteX11369" y="connsiteY11369"/>
                </a:cxn>
                <a:cxn ang="0">
                  <a:pos x="connsiteX11370" y="connsiteY11370"/>
                </a:cxn>
                <a:cxn ang="0">
                  <a:pos x="connsiteX11371" y="connsiteY11371"/>
                </a:cxn>
                <a:cxn ang="0">
                  <a:pos x="connsiteX11372" y="connsiteY11372"/>
                </a:cxn>
                <a:cxn ang="0">
                  <a:pos x="connsiteX11373" y="connsiteY11373"/>
                </a:cxn>
                <a:cxn ang="0">
                  <a:pos x="connsiteX11374" y="connsiteY11374"/>
                </a:cxn>
                <a:cxn ang="0">
                  <a:pos x="connsiteX11375" y="connsiteY11375"/>
                </a:cxn>
                <a:cxn ang="0">
                  <a:pos x="connsiteX11376" y="connsiteY11376"/>
                </a:cxn>
                <a:cxn ang="0">
                  <a:pos x="connsiteX11377" y="connsiteY11377"/>
                </a:cxn>
                <a:cxn ang="0">
                  <a:pos x="connsiteX11378" y="connsiteY11378"/>
                </a:cxn>
                <a:cxn ang="0">
                  <a:pos x="connsiteX11379" y="connsiteY11379"/>
                </a:cxn>
                <a:cxn ang="0">
                  <a:pos x="connsiteX11380" y="connsiteY11380"/>
                </a:cxn>
                <a:cxn ang="0">
                  <a:pos x="connsiteX11381" y="connsiteY11381"/>
                </a:cxn>
                <a:cxn ang="0">
                  <a:pos x="connsiteX11382" y="connsiteY11382"/>
                </a:cxn>
                <a:cxn ang="0">
                  <a:pos x="connsiteX11383" y="connsiteY11383"/>
                </a:cxn>
                <a:cxn ang="0">
                  <a:pos x="connsiteX11384" y="connsiteY11384"/>
                </a:cxn>
                <a:cxn ang="0">
                  <a:pos x="connsiteX11385" y="connsiteY11385"/>
                </a:cxn>
                <a:cxn ang="0">
                  <a:pos x="connsiteX11386" y="connsiteY11386"/>
                </a:cxn>
                <a:cxn ang="0">
                  <a:pos x="connsiteX11387" y="connsiteY11387"/>
                </a:cxn>
                <a:cxn ang="0">
                  <a:pos x="connsiteX11388" y="connsiteY11388"/>
                </a:cxn>
                <a:cxn ang="0">
                  <a:pos x="connsiteX11389" y="connsiteY11389"/>
                </a:cxn>
                <a:cxn ang="0">
                  <a:pos x="connsiteX11390" y="connsiteY11390"/>
                </a:cxn>
                <a:cxn ang="0">
                  <a:pos x="connsiteX11391" y="connsiteY11391"/>
                </a:cxn>
                <a:cxn ang="0">
                  <a:pos x="connsiteX11392" y="connsiteY11392"/>
                </a:cxn>
                <a:cxn ang="0">
                  <a:pos x="connsiteX11393" y="connsiteY11393"/>
                </a:cxn>
                <a:cxn ang="0">
                  <a:pos x="connsiteX11394" y="connsiteY11394"/>
                </a:cxn>
                <a:cxn ang="0">
                  <a:pos x="connsiteX11395" y="connsiteY11395"/>
                </a:cxn>
                <a:cxn ang="0">
                  <a:pos x="connsiteX11396" y="connsiteY11396"/>
                </a:cxn>
                <a:cxn ang="0">
                  <a:pos x="connsiteX11397" y="connsiteY11397"/>
                </a:cxn>
                <a:cxn ang="0">
                  <a:pos x="connsiteX11398" y="connsiteY11398"/>
                </a:cxn>
                <a:cxn ang="0">
                  <a:pos x="connsiteX11399" y="connsiteY11399"/>
                </a:cxn>
                <a:cxn ang="0">
                  <a:pos x="connsiteX11400" y="connsiteY11400"/>
                </a:cxn>
                <a:cxn ang="0">
                  <a:pos x="connsiteX11401" y="connsiteY11401"/>
                </a:cxn>
                <a:cxn ang="0">
                  <a:pos x="connsiteX11402" y="connsiteY11402"/>
                </a:cxn>
                <a:cxn ang="0">
                  <a:pos x="connsiteX11403" y="connsiteY11403"/>
                </a:cxn>
                <a:cxn ang="0">
                  <a:pos x="connsiteX11404" y="connsiteY11404"/>
                </a:cxn>
                <a:cxn ang="0">
                  <a:pos x="connsiteX11405" y="connsiteY11405"/>
                </a:cxn>
                <a:cxn ang="0">
                  <a:pos x="connsiteX11406" y="connsiteY11406"/>
                </a:cxn>
                <a:cxn ang="0">
                  <a:pos x="connsiteX11407" y="connsiteY11407"/>
                </a:cxn>
                <a:cxn ang="0">
                  <a:pos x="connsiteX11408" y="connsiteY11408"/>
                </a:cxn>
                <a:cxn ang="0">
                  <a:pos x="connsiteX11409" y="connsiteY11409"/>
                </a:cxn>
                <a:cxn ang="0">
                  <a:pos x="connsiteX11410" y="connsiteY11410"/>
                </a:cxn>
                <a:cxn ang="0">
                  <a:pos x="connsiteX11411" y="connsiteY11411"/>
                </a:cxn>
                <a:cxn ang="0">
                  <a:pos x="connsiteX11412" y="connsiteY11412"/>
                </a:cxn>
                <a:cxn ang="0">
                  <a:pos x="connsiteX11413" y="connsiteY11413"/>
                </a:cxn>
                <a:cxn ang="0">
                  <a:pos x="connsiteX11414" y="connsiteY11414"/>
                </a:cxn>
                <a:cxn ang="0">
                  <a:pos x="connsiteX11415" y="connsiteY11415"/>
                </a:cxn>
                <a:cxn ang="0">
                  <a:pos x="connsiteX11416" y="connsiteY11416"/>
                </a:cxn>
                <a:cxn ang="0">
                  <a:pos x="connsiteX11417" y="connsiteY11417"/>
                </a:cxn>
                <a:cxn ang="0">
                  <a:pos x="connsiteX11418" y="connsiteY11418"/>
                </a:cxn>
                <a:cxn ang="0">
                  <a:pos x="connsiteX11419" y="connsiteY11419"/>
                </a:cxn>
                <a:cxn ang="0">
                  <a:pos x="connsiteX11420" y="connsiteY11420"/>
                </a:cxn>
                <a:cxn ang="0">
                  <a:pos x="connsiteX11421" y="connsiteY11421"/>
                </a:cxn>
                <a:cxn ang="0">
                  <a:pos x="connsiteX11422" y="connsiteY11422"/>
                </a:cxn>
                <a:cxn ang="0">
                  <a:pos x="connsiteX11423" y="connsiteY11423"/>
                </a:cxn>
                <a:cxn ang="0">
                  <a:pos x="connsiteX11424" y="connsiteY11424"/>
                </a:cxn>
                <a:cxn ang="0">
                  <a:pos x="connsiteX11425" y="connsiteY11425"/>
                </a:cxn>
                <a:cxn ang="0">
                  <a:pos x="connsiteX11426" y="connsiteY11426"/>
                </a:cxn>
                <a:cxn ang="0">
                  <a:pos x="connsiteX11427" y="connsiteY11427"/>
                </a:cxn>
                <a:cxn ang="0">
                  <a:pos x="connsiteX11428" y="connsiteY11428"/>
                </a:cxn>
                <a:cxn ang="0">
                  <a:pos x="connsiteX11429" y="connsiteY11429"/>
                </a:cxn>
                <a:cxn ang="0">
                  <a:pos x="connsiteX11430" y="connsiteY11430"/>
                </a:cxn>
                <a:cxn ang="0">
                  <a:pos x="connsiteX11431" y="connsiteY11431"/>
                </a:cxn>
                <a:cxn ang="0">
                  <a:pos x="connsiteX11432" y="connsiteY11432"/>
                </a:cxn>
                <a:cxn ang="0">
                  <a:pos x="connsiteX11433" y="connsiteY11433"/>
                </a:cxn>
                <a:cxn ang="0">
                  <a:pos x="connsiteX11434" y="connsiteY11434"/>
                </a:cxn>
                <a:cxn ang="0">
                  <a:pos x="connsiteX11435" y="connsiteY11435"/>
                </a:cxn>
                <a:cxn ang="0">
                  <a:pos x="connsiteX11436" y="connsiteY11436"/>
                </a:cxn>
                <a:cxn ang="0">
                  <a:pos x="connsiteX11437" y="connsiteY11437"/>
                </a:cxn>
                <a:cxn ang="0">
                  <a:pos x="connsiteX11438" y="connsiteY11438"/>
                </a:cxn>
                <a:cxn ang="0">
                  <a:pos x="connsiteX11439" y="connsiteY11439"/>
                </a:cxn>
                <a:cxn ang="0">
                  <a:pos x="connsiteX11440" y="connsiteY11440"/>
                </a:cxn>
                <a:cxn ang="0">
                  <a:pos x="connsiteX11441" y="connsiteY11441"/>
                </a:cxn>
                <a:cxn ang="0">
                  <a:pos x="connsiteX11442" y="connsiteY11442"/>
                </a:cxn>
                <a:cxn ang="0">
                  <a:pos x="connsiteX11443" y="connsiteY11443"/>
                </a:cxn>
                <a:cxn ang="0">
                  <a:pos x="connsiteX11444" y="connsiteY11444"/>
                </a:cxn>
                <a:cxn ang="0">
                  <a:pos x="connsiteX11445" y="connsiteY11445"/>
                </a:cxn>
                <a:cxn ang="0">
                  <a:pos x="connsiteX11446" y="connsiteY11446"/>
                </a:cxn>
                <a:cxn ang="0">
                  <a:pos x="connsiteX11447" y="connsiteY11447"/>
                </a:cxn>
                <a:cxn ang="0">
                  <a:pos x="connsiteX11448" y="connsiteY11448"/>
                </a:cxn>
                <a:cxn ang="0">
                  <a:pos x="connsiteX11449" y="connsiteY11449"/>
                </a:cxn>
                <a:cxn ang="0">
                  <a:pos x="connsiteX11450" y="connsiteY11450"/>
                </a:cxn>
                <a:cxn ang="0">
                  <a:pos x="connsiteX11451" y="connsiteY11451"/>
                </a:cxn>
                <a:cxn ang="0">
                  <a:pos x="connsiteX11452" y="connsiteY11452"/>
                </a:cxn>
                <a:cxn ang="0">
                  <a:pos x="connsiteX11453" y="connsiteY11453"/>
                </a:cxn>
                <a:cxn ang="0">
                  <a:pos x="connsiteX11454" y="connsiteY11454"/>
                </a:cxn>
                <a:cxn ang="0">
                  <a:pos x="connsiteX11455" y="connsiteY11455"/>
                </a:cxn>
                <a:cxn ang="0">
                  <a:pos x="connsiteX11456" y="connsiteY11456"/>
                </a:cxn>
                <a:cxn ang="0">
                  <a:pos x="connsiteX11457" y="connsiteY11457"/>
                </a:cxn>
                <a:cxn ang="0">
                  <a:pos x="connsiteX11458" y="connsiteY11458"/>
                </a:cxn>
                <a:cxn ang="0">
                  <a:pos x="connsiteX11459" y="connsiteY11459"/>
                </a:cxn>
                <a:cxn ang="0">
                  <a:pos x="connsiteX11460" y="connsiteY11460"/>
                </a:cxn>
                <a:cxn ang="0">
                  <a:pos x="connsiteX11461" y="connsiteY11461"/>
                </a:cxn>
                <a:cxn ang="0">
                  <a:pos x="connsiteX11462" y="connsiteY11462"/>
                </a:cxn>
                <a:cxn ang="0">
                  <a:pos x="connsiteX11463" y="connsiteY11463"/>
                </a:cxn>
                <a:cxn ang="0">
                  <a:pos x="connsiteX11464" y="connsiteY11464"/>
                </a:cxn>
                <a:cxn ang="0">
                  <a:pos x="connsiteX11465" y="connsiteY11465"/>
                </a:cxn>
                <a:cxn ang="0">
                  <a:pos x="connsiteX11466" y="connsiteY11466"/>
                </a:cxn>
                <a:cxn ang="0">
                  <a:pos x="connsiteX11467" y="connsiteY11467"/>
                </a:cxn>
                <a:cxn ang="0">
                  <a:pos x="connsiteX11468" y="connsiteY11468"/>
                </a:cxn>
                <a:cxn ang="0">
                  <a:pos x="connsiteX11469" y="connsiteY11469"/>
                </a:cxn>
                <a:cxn ang="0">
                  <a:pos x="connsiteX11470" y="connsiteY11470"/>
                </a:cxn>
                <a:cxn ang="0">
                  <a:pos x="connsiteX11471" y="connsiteY11471"/>
                </a:cxn>
                <a:cxn ang="0">
                  <a:pos x="connsiteX11472" y="connsiteY11472"/>
                </a:cxn>
                <a:cxn ang="0">
                  <a:pos x="connsiteX11473" y="connsiteY11473"/>
                </a:cxn>
                <a:cxn ang="0">
                  <a:pos x="connsiteX11474" y="connsiteY11474"/>
                </a:cxn>
                <a:cxn ang="0">
                  <a:pos x="connsiteX11475" y="connsiteY11475"/>
                </a:cxn>
                <a:cxn ang="0">
                  <a:pos x="connsiteX11476" y="connsiteY11476"/>
                </a:cxn>
                <a:cxn ang="0">
                  <a:pos x="connsiteX11477" y="connsiteY11477"/>
                </a:cxn>
                <a:cxn ang="0">
                  <a:pos x="connsiteX11478" y="connsiteY11478"/>
                </a:cxn>
                <a:cxn ang="0">
                  <a:pos x="connsiteX11479" y="connsiteY11479"/>
                </a:cxn>
                <a:cxn ang="0">
                  <a:pos x="connsiteX11480" y="connsiteY11480"/>
                </a:cxn>
                <a:cxn ang="0">
                  <a:pos x="connsiteX11481" y="connsiteY11481"/>
                </a:cxn>
                <a:cxn ang="0">
                  <a:pos x="connsiteX11482" y="connsiteY11482"/>
                </a:cxn>
                <a:cxn ang="0">
                  <a:pos x="connsiteX11483" y="connsiteY11483"/>
                </a:cxn>
                <a:cxn ang="0">
                  <a:pos x="connsiteX11484" y="connsiteY11484"/>
                </a:cxn>
                <a:cxn ang="0">
                  <a:pos x="connsiteX11485" y="connsiteY11485"/>
                </a:cxn>
                <a:cxn ang="0">
                  <a:pos x="connsiteX11486" y="connsiteY11486"/>
                </a:cxn>
                <a:cxn ang="0">
                  <a:pos x="connsiteX11487" y="connsiteY11487"/>
                </a:cxn>
                <a:cxn ang="0">
                  <a:pos x="connsiteX11488" y="connsiteY11488"/>
                </a:cxn>
                <a:cxn ang="0">
                  <a:pos x="connsiteX11489" y="connsiteY11489"/>
                </a:cxn>
                <a:cxn ang="0">
                  <a:pos x="connsiteX11490" y="connsiteY11490"/>
                </a:cxn>
                <a:cxn ang="0">
                  <a:pos x="connsiteX11491" y="connsiteY11491"/>
                </a:cxn>
                <a:cxn ang="0">
                  <a:pos x="connsiteX11492" y="connsiteY11492"/>
                </a:cxn>
                <a:cxn ang="0">
                  <a:pos x="connsiteX11493" y="connsiteY11493"/>
                </a:cxn>
                <a:cxn ang="0">
                  <a:pos x="connsiteX11494" y="connsiteY11494"/>
                </a:cxn>
                <a:cxn ang="0">
                  <a:pos x="connsiteX11495" y="connsiteY11495"/>
                </a:cxn>
                <a:cxn ang="0">
                  <a:pos x="connsiteX11496" y="connsiteY11496"/>
                </a:cxn>
                <a:cxn ang="0">
                  <a:pos x="connsiteX11497" y="connsiteY11497"/>
                </a:cxn>
                <a:cxn ang="0">
                  <a:pos x="connsiteX11498" y="connsiteY11498"/>
                </a:cxn>
                <a:cxn ang="0">
                  <a:pos x="connsiteX11499" y="connsiteY11499"/>
                </a:cxn>
                <a:cxn ang="0">
                  <a:pos x="connsiteX11500" y="connsiteY11500"/>
                </a:cxn>
                <a:cxn ang="0">
                  <a:pos x="connsiteX11501" y="connsiteY11501"/>
                </a:cxn>
                <a:cxn ang="0">
                  <a:pos x="connsiteX11502" y="connsiteY11502"/>
                </a:cxn>
                <a:cxn ang="0">
                  <a:pos x="connsiteX11503" y="connsiteY11503"/>
                </a:cxn>
                <a:cxn ang="0">
                  <a:pos x="connsiteX11504" y="connsiteY11504"/>
                </a:cxn>
                <a:cxn ang="0">
                  <a:pos x="connsiteX11505" y="connsiteY11505"/>
                </a:cxn>
                <a:cxn ang="0">
                  <a:pos x="connsiteX11506" y="connsiteY11506"/>
                </a:cxn>
                <a:cxn ang="0">
                  <a:pos x="connsiteX11507" y="connsiteY11507"/>
                </a:cxn>
                <a:cxn ang="0">
                  <a:pos x="connsiteX11508" y="connsiteY11508"/>
                </a:cxn>
                <a:cxn ang="0">
                  <a:pos x="connsiteX11509" y="connsiteY11509"/>
                </a:cxn>
                <a:cxn ang="0">
                  <a:pos x="connsiteX11510" y="connsiteY11510"/>
                </a:cxn>
                <a:cxn ang="0">
                  <a:pos x="connsiteX11511" y="connsiteY11511"/>
                </a:cxn>
                <a:cxn ang="0">
                  <a:pos x="connsiteX11512" y="connsiteY11512"/>
                </a:cxn>
                <a:cxn ang="0">
                  <a:pos x="connsiteX11513" y="connsiteY11513"/>
                </a:cxn>
                <a:cxn ang="0">
                  <a:pos x="connsiteX11514" y="connsiteY11514"/>
                </a:cxn>
                <a:cxn ang="0">
                  <a:pos x="connsiteX11515" y="connsiteY11515"/>
                </a:cxn>
                <a:cxn ang="0">
                  <a:pos x="connsiteX11516" y="connsiteY11516"/>
                </a:cxn>
                <a:cxn ang="0">
                  <a:pos x="connsiteX11517" y="connsiteY11517"/>
                </a:cxn>
                <a:cxn ang="0">
                  <a:pos x="connsiteX11518" y="connsiteY11518"/>
                </a:cxn>
                <a:cxn ang="0">
                  <a:pos x="connsiteX11519" y="connsiteY11519"/>
                </a:cxn>
                <a:cxn ang="0">
                  <a:pos x="connsiteX11520" y="connsiteY11520"/>
                </a:cxn>
                <a:cxn ang="0">
                  <a:pos x="connsiteX11521" y="connsiteY11521"/>
                </a:cxn>
                <a:cxn ang="0">
                  <a:pos x="connsiteX11522" y="connsiteY11522"/>
                </a:cxn>
                <a:cxn ang="0">
                  <a:pos x="connsiteX11523" y="connsiteY11523"/>
                </a:cxn>
                <a:cxn ang="0">
                  <a:pos x="connsiteX11524" y="connsiteY11524"/>
                </a:cxn>
                <a:cxn ang="0">
                  <a:pos x="connsiteX11525" y="connsiteY11525"/>
                </a:cxn>
                <a:cxn ang="0">
                  <a:pos x="connsiteX11526" y="connsiteY11526"/>
                </a:cxn>
                <a:cxn ang="0">
                  <a:pos x="connsiteX11527" y="connsiteY11527"/>
                </a:cxn>
                <a:cxn ang="0">
                  <a:pos x="connsiteX11528" y="connsiteY11528"/>
                </a:cxn>
                <a:cxn ang="0">
                  <a:pos x="connsiteX11529" y="connsiteY11529"/>
                </a:cxn>
                <a:cxn ang="0">
                  <a:pos x="connsiteX11530" y="connsiteY11530"/>
                </a:cxn>
                <a:cxn ang="0">
                  <a:pos x="connsiteX11531" y="connsiteY11531"/>
                </a:cxn>
                <a:cxn ang="0">
                  <a:pos x="connsiteX11532" y="connsiteY11532"/>
                </a:cxn>
                <a:cxn ang="0">
                  <a:pos x="connsiteX11533" y="connsiteY11533"/>
                </a:cxn>
                <a:cxn ang="0">
                  <a:pos x="connsiteX11534" y="connsiteY11534"/>
                </a:cxn>
                <a:cxn ang="0">
                  <a:pos x="connsiteX11535" y="connsiteY11535"/>
                </a:cxn>
                <a:cxn ang="0">
                  <a:pos x="connsiteX11536" y="connsiteY11536"/>
                </a:cxn>
                <a:cxn ang="0">
                  <a:pos x="connsiteX11537" y="connsiteY11537"/>
                </a:cxn>
                <a:cxn ang="0">
                  <a:pos x="connsiteX11538" y="connsiteY11538"/>
                </a:cxn>
                <a:cxn ang="0">
                  <a:pos x="connsiteX11539" y="connsiteY11539"/>
                </a:cxn>
                <a:cxn ang="0">
                  <a:pos x="connsiteX11540" y="connsiteY11540"/>
                </a:cxn>
                <a:cxn ang="0">
                  <a:pos x="connsiteX11541" y="connsiteY11541"/>
                </a:cxn>
                <a:cxn ang="0">
                  <a:pos x="connsiteX11542" y="connsiteY11542"/>
                </a:cxn>
                <a:cxn ang="0">
                  <a:pos x="connsiteX11543" y="connsiteY11543"/>
                </a:cxn>
                <a:cxn ang="0">
                  <a:pos x="connsiteX11544" y="connsiteY11544"/>
                </a:cxn>
                <a:cxn ang="0">
                  <a:pos x="connsiteX11545" y="connsiteY11545"/>
                </a:cxn>
                <a:cxn ang="0">
                  <a:pos x="connsiteX11546" y="connsiteY11546"/>
                </a:cxn>
                <a:cxn ang="0">
                  <a:pos x="connsiteX11547" y="connsiteY11547"/>
                </a:cxn>
                <a:cxn ang="0">
                  <a:pos x="connsiteX11548" y="connsiteY11548"/>
                </a:cxn>
                <a:cxn ang="0">
                  <a:pos x="connsiteX11549" y="connsiteY11549"/>
                </a:cxn>
                <a:cxn ang="0">
                  <a:pos x="connsiteX11550" y="connsiteY11550"/>
                </a:cxn>
                <a:cxn ang="0">
                  <a:pos x="connsiteX11551" y="connsiteY11551"/>
                </a:cxn>
                <a:cxn ang="0">
                  <a:pos x="connsiteX11552" y="connsiteY11552"/>
                </a:cxn>
                <a:cxn ang="0">
                  <a:pos x="connsiteX11553" y="connsiteY11553"/>
                </a:cxn>
                <a:cxn ang="0">
                  <a:pos x="connsiteX11554" y="connsiteY11554"/>
                </a:cxn>
                <a:cxn ang="0">
                  <a:pos x="connsiteX11555" y="connsiteY11555"/>
                </a:cxn>
                <a:cxn ang="0">
                  <a:pos x="connsiteX11556" y="connsiteY11556"/>
                </a:cxn>
                <a:cxn ang="0">
                  <a:pos x="connsiteX11557" y="connsiteY11557"/>
                </a:cxn>
                <a:cxn ang="0">
                  <a:pos x="connsiteX11558" y="connsiteY11558"/>
                </a:cxn>
                <a:cxn ang="0">
                  <a:pos x="connsiteX11559" y="connsiteY11559"/>
                </a:cxn>
                <a:cxn ang="0">
                  <a:pos x="connsiteX11560" y="connsiteY11560"/>
                </a:cxn>
                <a:cxn ang="0">
                  <a:pos x="connsiteX11561" y="connsiteY11561"/>
                </a:cxn>
                <a:cxn ang="0">
                  <a:pos x="connsiteX11562" y="connsiteY11562"/>
                </a:cxn>
                <a:cxn ang="0">
                  <a:pos x="connsiteX11563" y="connsiteY11563"/>
                </a:cxn>
                <a:cxn ang="0">
                  <a:pos x="connsiteX11564" y="connsiteY11564"/>
                </a:cxn>
                <a:cxn ang="0">
                  <a:pos x="connsiteX11565" y="connsiteY11565"/>
                </a:cxn>
                <a:cxn ang="0">
                  <a:pos x="connsiteX11566" y="connsiteY11566"/>
                </a:cxn>
                <a:cxn ang="0">
                  <a:pos x="connsiteX11567" y="connsiteY11567"/>
                </a:cxn>
                <a:cxn ang="0">
                  <a:pos x="connsiteX11568" y="connsiteY11568"/>
                </a:cxn>
                <a:cxn ang="0">
                  <a:pos x="connsiteX11569" y="connsiteY11569"/>
                </a:cxn>
                <a:cxn ang="0">
                  <a:pos x="connsiteX11570" y="connsiteY11570"/>
                </a:cxn>
                <a:cxn ang="0">
                  <a:pos x="connsiteX11571" y="connsiteY11571"/>
                </a:cxn>
                <a:cxn ang="0">
                  <a:pos x="connsiteX11572" y="connsiteY11572"/>
                </a:cxn>
                <a:cxn ang="0">
                  <a:pos x="connsiteX11573" y="connsiteY11573"/>
                </a:cxn>
                <a:cxn ang="0">
                  <a:pos x="connsiteX11574" y="connsiteY11574"/>
                </a:cxn>
                <a:cxn ang="0">
                  <a:pos x="connsiteX11575" y="connsiteY11575"/>
                </a:cxn>
                <a:cxn ang="0">
                  <a:pos x="connsiteX11576" y="connsiteY11576"/>
                </a:cxn>
                <a:cxn ang="0">
                  <a:pos x="connsiteX11577" y="connsiteY11577"/>
                </a:cxn>
                <a:cxn ang="0">
                  <a:pos x="connsiteX11578" y="connsiteY11578"/>
                </a:cxn>
                <a:cxn ang="0">
                  <a:pos x="connsiteX11579" y="connsiteY11579"/>
                </a:cxn>
                <a:cxn ang="0">
                  <a:pos x="connsiteX11580" y="connsiteY11580"/>
                </a:cxn>
                <a:cxn ang="0">
                  <a:pos x="connsiteX11581" y="connsiteY11581"/>
                </a:cxn>
                <a:cxn ang="0">
                  <a:pos x="connsiteX11582" y="connsiteY11582"/>
                </a:cxn>
                <a:cxn ang="0">
                  <a:pos x="connsiteX11583" y="connsiteY11583"/>
                </a:cxn>
                <a:cxn ang="0">
                  <a:pos x="connsiteX11584" y="connsiteY11584"/>
                </a:cxn>
                <a:cxn ang="0">
                  <a:pos x="connsiteX11585" y="connsiteY11585"/>
                </a:cxn>
                <a:cxn ang="0">
                  <a:pos x="connsiteX11586" y="connsiteY11586"/>
                </a:cxn>
                <a:cxn ang="0">
                  <a:pos x="connsiteX11587" y="connsiteY11587"/>
                </a:cxn>
                <a:cxn ang="0">
                  <a:pos x="connsiteX11588" y="connsiteY11588"/>
                </a:cxn>
                <a:cxn ang="0">
                  <a:pos x="connsiteX11589" y="connsiteY11589"/>
                </a:cxn>
                <a:cxn ang="0">
                  <a:pos x="connsiteX11590" y="connsiteY11590"/>
                </a:cxn>
                <a:cxn ang="0">
                  <a:pos x="connsiteX11591" y="connsiteY11591"/>
                </a:cxn>
                <a:cxn ang="0">
                  <a:pos x="connsiteX11592" y="connsiteY11592"/>
                </a:cxn>
                <a:cxn ang="0">
                  <a:pos x="connsiteX11593" y="connsiteY11593"/>
                </a:cxn>
                <a:cxn ang="0">
                  <a:pos x="connsiteX11594" y="connsiteY11594"/>
                </a:cxn>
                <a:cxn ang="0">
                  <a:pos x="connsiteX11595" y="connsiteY11595"/>
                </a:cxn>
                <a:cxn ang="0">
                  <a:pos x="connsiteX11596" y="connsiteY11596"/>
                </a:cxn>
                <a:cxn ang="0">
                  <a:pos x="connsiteX11597" y="connsiteY11597"/>
                </a:cxn>
                <a:cxn ang="0">
                  <a:pos x="connsiteX11598" y="connsiteY11598"/>
                </a:cxn>
                <a:cxn ang="0">
                  <a:pos x="connsiteX11599" y="connsiteY11599"/>
                </a:cxn>
                <a:cxn ang="0">
                  <a:pos x="connsiteX11600" y="connsiteY11600"/>
                </a:cxn>
                <a:cxn ang="0">
                  <a:pos x="connsiteX11601" y="connsiteY11601"/>
                </a:cxn>
                <a:cxn ang="0">
                  <a:pos x="connsiteX11602" y="connsiteY11602"/>
                </a:cxn>
                <a:cxn ang="0">
                  <a:pos x="connsiteX11603" y="connsiteY11603"/>
                </a:cxn>
                <a:cxn ang="0">
                  <a:pos x="connsiteX11604" y="connsiteY11604"/>
                </a:cxn>
                <a:cxn ang="0">
                  <a:pos x="connsiteX11605" y="connsiteY11605"/>
                </a:cxn>
                <a:cxn ang="0">
                  <a:pos x="connsiteX11606" y="connsiteY11606"/>
                </a:cxn>
                <a:cxn ang="0">
                  <a:pos x="connsiteX11607" y="connsiteY11607"/>
                </a:cxn>
                <a:cxn ang="0">
                  <a:pos x="connsiteX11608" y="connsiteY11608"/>
                </a:cxn>
                <a:cxn ang="0">
                  <a:pos x="connsiteX11609" y="connsiteY11609"/>
                </a:cxn>
                <a:cxn ang="0">
                  <a:pos x="connsiteX11610" y="connsiteY11610"/>
                </a:cxn>
                <a:cxn ang="0">
                  <a:pos x="connsiteX11611" y="connsiteY11611"/>
                </a:cxn>
                <a:cxn ang="0">
                  <a:pos x="connsiteX11612" y="connsiteY11612"/>
                </a:cxn>
                <a:cxn ang="0">
                  <a:pos x="connsiteX11613" y="connsiteY11613"/>
                </a:cxn>
                <a:cxn ang="0">
                  <a:pos x="connsiteX11614" y="connsiteY11614"/>
                </a:cxn>
                <a:cxn ang="0">
                  <a:pos x="connsiteX11615" y="connsiteY11615"/>
                </a:cxn>
                <a:cxn ang="0">
                  <a:pos x="connsiteX11616" y="connsiteY11616"/>
                </a:cxn>
                <a:cxn ang="0">
                  <a:pos x="connsiteX11617" y="connsiteY11617"/>
                </a:cxn>
                <a:cxn ang="0">
                  <a:pos x="connsiteX11618" y="connsiteY11618"/>
                </a:cxn>
                <a:cxn ang="0">
                  <a:pos x="connsiteX11619" y="connsiteY11619"/>
                </a:cxn>
                <a:cxn ang="0">
                  <a:pos x="connsiteX11620" y="connsiteY11620"/>
                </a:cxn>
                <a:cxn ang="0">
                  <a:pos x="connsiteX11621" y="connsiteY11621"/>
                </a:cxn>
                <a:cxn ang="0">
                  <a:pos x="connsiteX11622" y="connsiteY11622"/>
                </a:cxn>
                <a:cxn ang="0">
                  <a:pos x="connsiteX11623" y="connsiteY11623"/>
                </a:cxn>
                <a:cxn ang="0">
                  <a:pos x="connsiteX11624" y="connsiteY11624"/>
                </a:cxn>
                <a:cxn ang="0">
                  <a:pos x="connsiteX11625" y="connsiteY11625"/>
                </a:cxn>
                <a:cxn ang="0">
                  <a:pos x="connsiteX11626" y="connsiteY11626"/>
                </a:cxn>
                <a:cxn ang="0">
                  <a:pos x="connsiteX11627" y="connsiteY11627"/>
                </a:cxn>
                <a:cxn ang="0">
                  <a:pos x="connsiteX11628" y="connsiteY11628"/>
                </a:cxn>
                <a:cxn ang="0">
                  <a:pos x="connsiteX11629" y="connsiteY11629"/>
                </a:cxn>
                <a:cxn ang="0">
                  <a:pos x="connsiteX11630" y="connsiteY11630"/>
                </a:cxn>
                <a:cxn ang="0">
                  <a:pos x="connsiteX11631" y="connsiteY11631"/>
                </a:cxn>
                <a:cxn ang="0">
                  <a:pos x="connsiteX11632" y="connsiteY11632"/>
                </a:cxn>
                <a:cxn ang="0">
                  <a:pos x="connsiteX11633" y="connsiteY11633"/>
                </a:cxn>
                <a:cxn ang="0">
                  <a:pos x="connsiteX11634" y="connsiteY11634"/>
                </a:cxn>
                <a:cxn ang="0">
                  <a:pos x="connsiteX11635" y="connsiteY11635"/>
                </a:cxn>
                <a:cxn ang="0">
                  <a:pos x="connsiteX11636" y="connsiteY11636"/>
                </a:cxn>
                <a:cxn ang="0">
                  <a:pos x="connsiteX11637" y="connsiteY11637"/>
                </a:cxn>
                <a:cxn ang="0">
                  <a:pos x="connsiteX11638" y="connsiteY11638"/>
                </a:cxn>
                <a:cxn ang="0">
                  <a:pos x="connsiteX11639" y="connsiteY11639"/>
                </a:cxn>
                <a:cxn ang="0">
                  <a:pos x="connsiteX11640" y="connsiteY11640"/>
                </a:cxn>
                <a:cxn ang="0">
                  <a:pos x="connsiteX11641" y="connsiteY11641"/>
                </a:cxn>
                <a:cxn ang="0">
                  <a:pos x="connsiteX11642" y="connsiteY11642"/>
                </a:cxn>
                <a:cxn ang="0">
                  <a:pos x="connsiteX11643" y="connsiteY11643"/>
                </a:cxn>
                <a:cxn ang="0">
                  <a:pos x="connsiteX11644" y="connsiteY11644"/>
                </a:cxn>
                <a:cxn ang="0">
                  <a:pos x="connsiteX11645" y="connsiteY11645"/>
                </a:cxn>
                <a:cxn ang="0">
                  <a:pos x="connsiteX11646" y="connsiteY11646"/>
                </a:cxn>
                <a:cxn ang="0">
                  <a:pos x="connsiteX11647" y="connsiteY11647"/>
                </a:cxn>
                <a:cxn ang="0">
                  <a:pos x="connsiteX11648" y="connsiteY11648"/>
                </a:cxn>
                <a:cxn ang="0">
                  <a:pos x="connsiteX11649" y="connsiteY11649"/>
                </a:cxn>
                <a:cxn ang="0">
                  <a:pos x="connsiteX11650" y="connsiteY11650"/>
                </a:cxn>
                <a:cxn ang="0">
                  <a:pos x="connsiteX11651" y="connsiteY11651"/>
                </a:cxn>
                <a:cxn ang="0">
                  <a:pos x="connsiteX11652" y="connsiteY11652"/>
                </a:cxn>
                <a:cxn ang="0">
                  <a:pos x="connsiteX11653" y="connsiteY11653"/>
                </a:cxn>
                <a:cxn ang="0">
                  <a:pos x="connsiteX11654" y="connsiteY11654"/>
                </a:cxn>
                <a:cxn ang="0">
                  <a:pos x="connsiteX11655" y="connsiteY11655"/>
                </a:cxn>
                <a:cxn ang="0">
                  <a:pos x="connsiteX11656" y="connsiteY11656"/>
                </a:cxn>
                <a:cxn ang="0">
                  <a:pos x="connsiteX11657" y="connsiteY11657"/>
                </a:cxn>
                <a:cxn ang="0">
                  <a:pos x="connsiteX11658" y="connsiteY11658"/>
                </a:cxn>
                <a:cxn ang="0">
                  <a:pos x="connsiteX11659" y="connsiteY11659"/>
                </a:cxn>
                <a:cxn ang="0">
                  <a:pos x="connsiteX11660" y="connsiteY11660"/>
                </a:cxn>
                <a:cxn ang="0">
                  <a:pos x="connsiteX11661" y="connsiteY11661"/>
                </a:cxn>
                <a:cxn ang="0">
                  <a:pos x="connsiteX11662" y="connsiteY11662"/>
                </a:cxn>
                <a:cxn ang="0">
                  <a:pos x="connsiteX11663" y="connsiteY11663"/>
                </a:cxn>
                <a:cxn ang="0">
                  <a:pos x="connsiteX11664" y="connsiteY11664"/>
                </a:cxn>
                <a:cxn ang="0">
                  <a:pos x="connsiteX11665" y="connsiteY11665"/>
                </a:cxn>
                <a:cxn ang="0">
                  <a:pos x="connsiteX11666" y="connsiteY11666"/>
                </a:cxn>
                <a:cxn ang="0">
                  <a:pos x="connsiteX11667" y="connsiteY11667"/>
                </a:cxn>
                <a:cxn ang="0">
                  <a:pos x="connsiteX11668" y="connsiteY11668"/>
                </a:cxn>
                <a:cxn ang="0">
                  <a:pos x="connsiteX11669" y="connsiteY11669"/>
                </a:cxn>
                <a:cxn ang="0">
                  <a:pos x="connsiteX11670" y="connsiteY11670"/>
                </a:cxn>
                <a:cxn ang="0">
                  <a:pos x="connsiteX11671" y="connsiteY11671"/>
                </a:cxn>
                <a:cxn ang="0">
                  <a:pos x="connsiteX11672" y="connsiteY11672"/>
                </a:cxn>
                <a:cxn ang="0">
                  <a:pos x="connsiteX11673" y="connsiteY11673"/>
                </a:cxn>
                <a:cxn ang="0">
                  <a:pos x="connsiteX11674" y="connsiteY11674"/>
                </a:cxn>
                <a:cxn ang="0">
                  <a:pos x="connsiteX11675" y="connsiteY11675"/>
                </a:cxn>
                <a:cxn ang="0">
                  <a:pos x="connsiteX11676" y="connsiteY11676"/>
                </a:cxn>
                <a:cxn ang="0">
                  <a:pos x="connsiteX11677" y="connsiteY11677"/>
                </a:cxn>
                <a:cxn ang="0">
                  <a:pos x="connsiteX11678" y="connsiteY11678"/>
                </a:cxn>
                <a:cxn ang="0">
                  <a:pos x="connsiteX11679" y="connsiteY11679"/>
                </a:cxn>
                <a:cxn ang="0">
                  <a:pos x="connsiteX11680" y="connsiteY11680"/>
                </a:cxn>
                <a:cxn ang="0">
                  <a:pos x="connsiteX11681" y="connsiteY11681"/>
                </a:cxn>
                <a:cxn ang="0">
                  <a:pos x="connsiteX11682" y="connsiteY11682"/>
                </a:cxn>
                <a:cxn ang="0">
                  <a:pos x="connsiteX11683" y="connsiteY11683"/>
                </a:cxn>
                <a:cxn ang="0">
                  <a:pos x="connsiteX11684" y="connsiteY11684"/>
                </a:cxn>
                <a:cxn ang="0">
                  <a:pos x="connsiteX11685" y="connsiteY11685"/>
                </a:cxn>
                <a:cxn ang="0">
                  <a:pos x="connsiteX11686" y="connsiteY11686"/>
                </a:cxn>
                <a:cxn ang="0">
                  <a:pos x="connsiteX11687" y="connsiteY11687"/>
                </a:cxn>
                <a:cxn ang="0">
                  <a:pos x="connsiteX11688" y="connsiteY11688"/>
                </a:cxn>
                <a:cxn ang="0">
                  <a:pos x="connsiteX11689" y="connsiteY11689"/>
                </a:cxn>
                <a:cxn ang="0">
                  <a:pos x="connsiteX11690" y="connsiteY11690"/>
                </a:cxn>
                <a:cxn ang="0">
                  <a:pos x="connsiteX11691" y="connsiteY11691"/>
                </a:cxn>
                <a:cxn ang="0">
                  <a:pos x="connsiteX11692" y="connsiteY11692"/>
                </a:cxn>
                <a:cxn ang="0">
                  <a:pos x="connsiteX11693" y="connsiteY11693"/>
                </a:cxn>
                <a:cxn ang="0">
                  <a:pos x="connsiteX11694" y="connsiteY11694"/>
                </a:cxn>
                <a:cxn ang="0">
                  <a:pos x="connsiteX11695" y="connsiteY11695"/>
                </a:cxn>
                <a:cxn ang="0">
                  <a:pos x="connsiteX11696" y="connsiteY11696"/>
                </a:cxn>
                <a:cxn ang="0">
                  <a:pos x="connsiteX11697" y="connsiteY11697"/>
                </a:cxn>
                <a:cxn ang="0">
                  <a:pos x="connsiteX11698" y="connsiteY11698"/>
                </a:cxn>
                <a:cxn ang="0">
                  <a:pos x="connsiteX11699" y="connsiteY11699"/>
                </a:cxn>
                <a:cxn ang="0">
                  <a:pos x="connsiteX11700" y="connsiteY11700"/>
                </a:cxn>
                <a:cxn ang="0">
                  <a:pos x="connsiteX11701" y="connsiteY11701"/>
                </a:cxn>
                <a:cxn ang="0">
                  <a:pos x="connsiteX11702" y="connsiteY11702"/>
                </a:cxn>
                <a:cxn ang="0">
                  <a:pos x="connsiteX11703" y="connsiteY11703"/>
                </a:cxn>
                <a:cxn ang="0">
                  <a:pos x="connsiteX11704" y="connsiteY11704"/>
                </a:cxn>
                <a:cxn ang="0">
                  <a:pos x="connsiteX11705" y="connsiteY11705"/>
                </a:cxn>
                <a:cxn ang="0">
                  <a:pos x="connsiteX11706" y="connsiteY11706"/>
                </a:cxn>
                <a:cxn ang="0">
                  <a:pos x="connsiteX11707" y="connsiteY11707"/>
                </a:cxn>
                <a:cxn ang="0">
                  <a:pos x="connsiteX11708" y="connsiteY11708"/>
                </a:cxn>
                <a:cxn ang="0">
                  <a:pos x="connsiteX11709" y="connsiteY11709"/>
                </a:cxn>
                <a:cxn ang="0">
                  <a:pos x="connsiteX11710" y="connsiteY11710"/>
                </a:cxn>
                <a:cxn ang="0">
                  <a:pos x="connsiteX11711" y="connsiteY11711"/>
                </a:cxn>
                <a:cxn ang="0">
                  <a:pos x="connsiteX11712" y="connsiteY11712"/>
                </a:cxn>
                <a:cxn ang="0">
                  <a:pos x="connsiteX11713" y="connsiteY11713"/>
                </a:cxn>
                <a:cxn ang="0">
                  <a:pos x="connsiteX11714" y="connsiteY11714"/>
                </a:cxn>
                <a:cxn ang="0">
                  <a:pos x="connsiteX11715" y="connsiteY11715"/>
                </a:cxn>
                <a:cxn ang="0">
                  <a:pos x="connsiteX11716" y="connsiteY11716"/>
                </a:cxn>
                <a:cxn ang="0">
                  <a:pos x="connsiteX11717" y="connsiteY11717"/>
                </a:cxn>
                <a:cxn ang="0">
                  <a:pos x="connsiteX11718" y="connsiteY11718"/>
                </a:cxn>
                <a:cxn ang="0">
                  <a:pos x="connsiteX11719" y="connsiteY11719"/>
                </a:cxn>
                <a:cxn ang="0">
                  <a:pos x="connsiteX11720" y="connsiteY11720"/>
                </a:cxn>
                <a:cxn ang="0">
                  <a:pos x="connsiteX11721" y="connsiteY11721"/>
                </a:cxn>
                <a:cxn ang="0">
                  <a:pos x="connsiteX11722" y="connsiteY11722"/>
                </a:cxn>
                <a:cxn ang="0">
                  <a:pos x="connsiteX11723" y="connsiteY11723"/>
                </a:cxn>
                <a:cxn ang="0">
                  <a:pos x="connsiteX11724" y="connsiteY11724"/>
                </a:cxn>
                <a:cxn ang="0">
                  <a:pos x="connsiteX11725" y="connsiteY11725"/>
                </a:cxn>
                <a:cxn ang="0">
                  <a:pos x="connsiteX11726" y="connsiteY11726"/>
                </a:cxn>
                <a:cxn ang="0">
                  <a:pos x="connsiteX11727" y="connsiteY11727"/>
                </a:cxn>
                <a:cxn ang="0">
                  <a:pos x="connsiteX11728" y="connsiteY11728"/>
                </a:cxn>
                <a:cxn ang="0">
                  <a:pos x="connsiteX11729" y="connsiteY11729"/>
                </a:cxn>
                <a:cxn ang="0">
                  <a:pos x="connsiteX11730" y="connsiteY11730"/>
                </a:cxn>
                <a:cxn ang="0">
                  <a:pos x="connsiteX11731" y="connsiteY11731"/>
                </a:cxn>
                <a:cxn ang="0">
                  <a:pos x="connsiteX11732" y="connsiteY11732"/>
                </a:cxn>
                <a:cxn ang="0">
                  <a:pos x="connsiteX11733" y="connsiteY11733"/>
                </a:cxn>
                <a:cxn ang="0">
                  <a:pos x="connsiteX11734" y="connsiteY11734"/>
                </a:cxn>
                <a:cxn ang="0">
                  <a:pos x="connsiteX11735" y="connsiteY11735"/>
                </a:cxn>
                <a:cxn ang="0">
                  <a:pos x="connsiteX11736" y="connsiteY11736"/>
                </a:cxn>
                <a:cxn ang="0">
                  <a:pos x="connsiteX11737" y="connsiteY11737"/>
                </a:cxn>
                <a:cxn ang="0">
                  <a:pos x="connsiteX11738" y="connsiteY11738"/>
                </a:cxn>
                <a:cxn ang="0">
                  <a:pos x="connsiteX11739" y="connsiteY11739"/>
                </a:cxn>
                <a:cxn ang="0">
                  <a:pos x="connsiteX11740" y="connsiteY11740"/>
                </a:cxn>
                <a:cxn ang="0">
                  <a:pos x="connsiteX11741" y="connsiteY11741"/>
                </a:cxn>
                <a:cxn ang="0">
                  <a:pos x="connsiteX11742" y="connsiteY11742"/>
                </a:cxn>
                <a:cxn ang="0">
                  <a:pos x="connsiteX11743" y="connsiteY11743"/>
                </a:cxn>
                <a:cxn ang="0">
                  <a:pos x="connsiteX11744" y="connsiteY11744"/>
                </a:cxn>
                <a:cxn ang="0">
                  <a:pos x="connsiteX11745" y="connsiteY11745"/>
                </a:cxn>
                <a:cxn ang="0">
                  <a:pos x="connsiteX11746" y="connsiteY11746"/>
                </a:cxn>
                <a:cxn ang="0">
                  <a:pos x="connsiteX11747" y="connsiteY11747"/>
                </a:cxn>
                <a:cxn ang="0">
                  <a:pos x="connsiteX11748" y="connsiteY11748"/>
                </a:cxn>
                <a:cxn ang="0">
                  <a:pos x="connsiteX11749" y="connsiteY11749"/>
                </a:cxn>
                <a:cxn ang="0">
                  <a:pos x="connsiteX11750" y="connsiteY11750"/>
                </a:cxn>
                <a:cxn ang="0">
                  <a:pos x="connsiteX11751" y="connsiteY11751"/>
                </a:cxn>
                <a:cxn ang="0">
                  <a:pos x="connsiteX11752" y="connsiteY11752"/>
                </a:cxn>
                <a:cxn ang="0">
                  <a:pos x="connsiteX11753" y="connsiteY11753"/>
                </a:cxn>
                <a:cxn ang="0">
                  <a:pos x="connsiteX11754" y="connsiteY11754"/>
                </a:cxn>
                <a:cxn ang="0">
                  <a:pos x="connsiteX11755" y="connsiteY11755"/>
                </a:cxn>
                <a:cxn ang="0">
                  <a:pos x="connsiteX11756" y="connsiteY11756"/>
                </a:cxn>
                <a:cxn ang="0">
                  <a:pos x="connsiteX11757" y="connsiteY11757"/>
                </a:cxn>
                <a:cxn ang="0">
                  <a:pos x="connsiteX11758" y="connsiteY11758"/>
                </a:cxn>
                <a:cxn ang="0">
                  <a:pos x="connsiteX11759" y="connsiteY11759"/>
                </a:cxn>
                <a:cxn ang="0">
                  <a:pos x="connsiteX11760" y="connsiteY11760"/>
                </a:cxn>
                <a:cxn ang="0">
                  <a:pos x="connsiteX11761" y="connsiteY11761"/>
                </a:cxn>
                <a:cxn ang="0">
                  <a:pos x="connsiteX11762" y="connsiteY11762"/>
                </a:cxn>
                <a:cxn ang="0">
                  <a:pos x="connsiteX11763" y="connsiteY11763"/>
                </a:cxn>
                <a:cxn ang="0">
                  <a:pos x="connsiteX11764" y="connsiteY11764"/>
                </a:cxn>
                <a:cxn ang="0">
                  <a:pos x="connsiteX11765" y="connsiteY11765"/>
                </a:cxn>
                <a:cxn ang="0">
                  <a:pos x="connsiteX11766" y="connsiteY11766"/>
                </a:cxn>
                <a:cxn ang="0">
                  <a:pos x="connsiteX11767" y="connsiteY11767"/>
                </a:cxn>
                <a:cxn ang="0">
                  <a:pos x="connsiteX11768" y="connsiteY11768"/>
                </a:cxn>
                <a:cxn ang="0">
                  <a:pos x="connsiteX11769" y="connsiteY11769"/>
                </a:cxn>
                <a:cxn ang="0">
                  <a:pos x="connsiteX11770" y="connsiteY11770"/>
                </a:cxn>
                <a:cxn ang="0">
                  <a:pos x="connsiteX11771" y="connsiteY11771"/>
                </a:cxn>
                <a:cxn ang="0">
                  <a:pos x="connsiteX11772" y="connsiteY11772"/>
                </a:cxn>
                <a:cxn ang="0">
                  <a:pos x="connsiteX11773" y="connsiteY11773"/>
                </a:cxn>
                <a:cxn ang="0">
                  <a:pos x="connsiteX11774" y="connsiteY11774"/>
                </a:cxn>
                <a:cxn ang="0">
                  <a:pos x="connsiteX11775" y="connsiteY11775"/>
                </a:cxn>
                <a:cxn ang="0">
                  <a:pos x="connsiteX11776" y="connsiteY11776"/>
                </a:cxn>
                <a:cxn ang="0">
                  <a:pos x="connsiteX11777" y="connsiteY11777"/>
                </a:cxn>
                <a:cxn ang="0">
                  <a:pos x="connsiteX11778" y="connsiteY11778"/>
                </a:cxn>
                <a:cxn ang="0">
                  <a:pos x="connsiteX11779" y="connsiteY11779"/>
                </a:cxn>
                <a:cxn ang="0">
                  <a:pos x="connsiteX11780" y="connsiteY11780"/>
                </a:cxn>
                <a:cxn ang="0">
                  <a:pos x="connsiteX11781" y="connsiteY11781"/>
                </a:cxn>
                <a:cxn ang="0">
                  <a:pos x="connsiteX11782" y="connsiteY11782"/>
                </a:cxn>
                <a:cxn ang="0">
                  <a:pos x="connsiteX11783" y="connsiteY11783"/>
                </a:cxn>
                <a:cxn ang="0">
                  <a:pos x="connsiteX11784" y="connsiteY11784"/>
                </a:cxn>
                <a:cxn ang="0">
                  <a:pos x="connsiteX11785" y="connsiteY11785"/>
                </a:cxn>
                <a:cxn ang="0">
                  <a:pos x="connsiteX11786" y="connsiteY11786"/>
                </a:cxn>
                <a:cxn ang="0">
                  <a:pos x="connsiteX11787" y="connsiteY11787"/>
                </a:cxn>
                <a:cxn ang="0">
                  <a:pos x="connsiteX11788" y="connsiteY11788"/>
                </a:cxn>
                <a:cxn ang="0">
                  <a:pos x="connsiteX11789" y="connsiteY11789"/>
                </a:cxn>
                <a:cxn ang="0">
                  <a:pos x="connsiteX11790" y="connsiteY11790"/>
                </a:cxn>
                <a:cxn ang="0">
                  <a:pos x="connsiteX11791" y="connsiteY11791"/>
                </a:cxn>
                <a:cxn ang="0">
                  <a:pos x="connsiteX11792" y="connsiteY11792"/>
                </a:cxn>
                <a:cxn ang="0">
                  <a:pos x="connsiteX11793" y="connsiteY11793"/>
                </a:cxn>
                <a:cxn ang="0">
                  <a:pos x="connsiteX11794" y="connsiteY11794"/>
                </a:cxn>
                <a:cxn ang="0">
                  <a:pos x="connsiteX11795" y="connsiteY11795"/>
                </a:cxn>
                <a:cxn ang="0">
                  <a:pos x="connsiteX11796" y="connsiteY11796"/>
                </a:cxn>
                <a:cxn ang="0">
                  <a:pos x="connsiteX11797" y="connsiteY11797"/>
                </a:cxn>
                <a:cxn ang="0">
                  <a:pos x="connsiteX11798" y="connsiteY11798"/>
                </a:cxn>
                <a:cxn ang="0">
                  <a:pos x="connsiteX11799" y="connsiteY11799"/>
                </a:cxn>
                <a:cxn ang="0">
                  <a:pos x="connsiteX11800" y="connsiteY11800"/>
                </a:cxn>
                <a:cxn ang="0">
                  <a:pos x="connsiteX11801" y="connsiteY11801"/>
                </a:cxn>
                <a:cxn ang="0">
                  <a:pos x="connsiteX11802" y="connsiteY11802"/>
                </a:cxn>
                <a:cxn ang="0">
                  <a:pos x="connsiteX11803" y="connsiteY11803"/>
                </a:cxn>
                <a:cxn ang="0">
                  <a:pos x="connsiteX11804" y="connsiteY11804"/>
                </a:cxn>
                <a:cxn ang="0">
                  <a:pos x="connsiteX11805" y="connsiteY11805"/>
                </a:cxn>
                <a:cxn ang="0">
                  <a:pos x="connsiteX11806" y="connsiteY11806"/>
                </a:cxn>
                <a:cxn ang="0">
                  <a:pos x="connsiteX11807" y="connsiteY11807"/>
                </a:cxn>
                <a:cxn ang="0">
                  <a:pos x="connsiteX11808" y="connsiteY11808"/>
                </a:cxn>
                <a:cxn ang="0">
                  <a:pos x="connsiteX11809" y="connsiteY11809"/>
                </a:cxn>
                <a:cxn ang="0">
                  <a:pos x="connsiteX11810" y="connsiteY11810"/>
                </a:cxn>
                <a:cxn ang="0">
                  <a:pos x="connsiteX11811" y="connsiteY11811"/>
                </a:cxn>
                <a:cxn ang="0">
                  <a:pos x="connsiteX11812" y="connsiteY11812"/>
                </a:cxn>
                <a:cxn ang="0">
                  <a:pos x="connsiteX11813" y="connsiteY11813"/>
                </a:cxn>
                <a:cxn ang="0">
                  <a:pos x="connsiteX11814" y="connsiteY11814"/>
                </a:cxn>
                <a:cxn ang="0">
                  <a:pos x="connsiteX11815" y="connsiteY11815"/>
                </a:cxn>
                <a:cxn ang="0">
                  <a:pos x="connsiteX11816" y="connsiteY11816"/>
                </a:cxn>
                <a:cxn ang="0">
                  <a:pos x="connsiteX11817" y="connsiteY11817"/>
                </a:cxn>
                <a:cxn ang="0">
                  <a:pos x="connsiteX11818" y="connsiteY11818"/>
                </a:cxn>
                <a:cxn ang="0">
                  <a:pos x="connsiteX11819" y="connsiteY11819"/>
                </a:cxn>
                <a:cxn ang="0">
                  <a:pos x="connsiteX11820" y="connsiteY11820"/>
                </a:cxn>
                <a:cxn ang="0">
                  <a:pos x="connsiteX11821" y="connsiteY11821"/>
                </a:cxn>
                <a:cxn ang="0">
                  <a:pos x="connsiteX11822" y="connsiteY11822"/>
                </a:cxn>
                <a:cxn ang="0">
                  <a:pos x="connsiteX11823" y="connsiteY11823"/>
                </a:cxn>
                <a:cxn ang="0">
                  <a:pos x="connsiteX11824" y="connsiteY11824"/>
                </a:cxn>
                <a:cxn ang="0">
                  <a:pos x="connsiteX11825" y="connsiteY11825"/>
                </a:cxn>
                <a:cxn ang="0">
                  <a:pos x="connsiteX11826" y="connsiteY11826"/>
                </a:cxn>
                <a:cxn ang="0">
                  <a:pos x="connsiteX11827" y="connsiteY11827"/>
                </a:cxn>
                <a:cxn ang="0">
                  <a:pos x="connsiteX11828" y="connsiteY11828"/>
                </a:cxn>
                <a:cxn ang="0">
                  <a:pos x="connsiteX11829" y="connsiteY11829"/>
                </a:cxn>
                <a:cxn ang="0">
                  <a:pos x="connsiteX11830" y="connsiteY11830"/>
                </a:cxn>
                <a:cxn ang="0">
                  <a:pos x="connsiteX11831" y="connsiteY11831"/>
                </a:cxn>
                <a:cxn ang="0">
                  <a:pos x="connsiteX11832" y="connsiteY11832"/>
                </a:cxn>
                <a:cxn ang="0">
                  <a:pos x="connsiteX11833" y="connsiteY11833"/>
                </a:cxn>
                <a:cxn ang="0">
                  <a:pos x="connsiteX11834" y="connsiteY11834"/>
                </a:cxn>
                <a:cxn ang="0">
                  <a:pos x="connsiteX11835" y="connsiteY11835"/>
                </a:cxn>
                <a:cxn ang="0">
                  <a:pos x="connsiteX11836" y="connsiteY11836"/>
                </a:cxn>
                <a:cxn ang="0">
                  <a:pos x="connsiteX11837" y="connsiteY11837"/>
                </a:cxn>
                <a:cxn ang="0">
                  <a:pos x="connsiteX11838" y="connsiteY11838"/>
                </a:cxn>
                <a:cxn ang="0">
                  <a:pos x="connsiteX11839" y="connsiteY11839"/>
                </a:cxn>
                <a:cxn ang="0">
                  <a:pos x="connsiteX11840" y="connsiteY11840"/>
                </a:cxn>
                <a:cxn ang="0">
                  <a:pos x="connsiteX11841" y="connsiteY11841"/>
                </a:cxn>
                <a:cxn ang="0">
                  <a:pos x="connsiteX11842" y="connsiteY11842"/>
                </a:cxn>
                <a:cxn ang="0">
                  <a:pos x="connsiteX11843" y="connsiteY11843"/>
                </a:cxn>
                <a:cxn ang="0">
                  <a:pos x="connsiteX11844" y="connsiteY11844"/>
                </a:cxn>
                <a:cxn ang="0">
                  <a:pos x="connsiteX11845" y="connsiteY11845"/>
                </a:cxn>
                <a:cxn ang="0">
                  <a:pos x="connsiteX11846" y="connsiteY11846"/>
                </a:cxn>
                <a:cxn ang="0">
                  <a:pos x="connsiteX11847" y="connsiteY11847"/>
                </a:cxn>
                <a:cxn ang="0">
                  <a:pos x="connsiteX11848" y="connsiteY11848"/>
                </a:cxn>
                <a:cxn ang="0">
                  <a:pos x="connsiteX11849" y="connsiteY11849"/>
                </a:cxn>
                <a:cxn ang="0">
                  <a:pos x="connsiteX11850" y="connsiteY11850"/>
                </a:cxn>
                <a:cxn ang="0">
                  <a:pos x="connsiteX11851" y="connsiteY11851"/>
                </a:cxn>
                <a:cxn ang="0">
                  <a:pos x="connsiteX11852" y="connsiteY11852"/>
                </a:cxn>
                <a:cxn ang="0">
                  <a:pos x="connsiteX11853" y="connsiteY11853"/>
                </a:cxn>
                <a:cxn ang="0">
                  <a:pos x="connsiteX11854" y="connsiteY11854"/>
                </a:cxn>
                <a:cxn ang="0">
                  <a:pos x="connsiteX11855" y="connsiteY11855"/>
                </a:cxn>
                <a:cxn ang="0">
                  <a:pos x="connsiteX11856" y="connsiteY11856"/>
                </a:cxn>
                <a:cxn ang="0">
                  <a:pos x="connsiteX11857" y="connsiteY11857"/>
                </a:cxn>
                <a:cxn ang="0">
                  <a:pos x="connsiteX11858" y="connsiteY11858"/>
                </a:cxn>
                <a:cxn ang="0">
                  <a:pos x="connsiteX11859" y="connsiteY11859"/>
                </a:cxn>
                <a:cxn ang="0">
                  <a:pos x="connsiteX11860" y="connsiteY11860"/>
                </a:cxn>
                <a:cxn ang="0">
                  <a:pos x="connsiteX11861" y="connsiteY11861"/>
                </a:cxn>
                <a:cxn ang="0">
                  <a:pos x="connsiteX11862" y="connsiteY11862"/>
                </a:cxn>
                <a:cxn ang="0">
                  <a:pos x="connsiteX11863" y="connsiteY11863"/>
                </a:cxn>
                <a:cxn ang="0">
                  <a:pos x="connsiteX11864" y="connsiteY11864"/>
                </a:cxn>
                <a:cxn ang="0">
                  <a:pos x="connsiteX11865" y="connsiteY11865"/>
                </a:cxn>
                <a:cxn ang="0">
                  <a:pos x="connsiteX11866" y="connsiteY11866"/>
                </a:cxn>
                <a:cxn ang="0">
                  <a:pos x="connsiteX11867" y="connsiteY11867"/>
                </a:cxn>
                <a:cxn ang="0">
                  <a:pos x="connsiteX11868" y="connsiteY11868"/>
                </a:cxn>
                <a:cxn ang="0">
                  <a:pos x="connsiteX11869" y="connsiteY11869"/>
                </a:cxn>
                <a:cxn ang="0">
                  <a:pos x="connsiteX11870" y="connsiteY11870"/>
                </a:cxn>
                <a:cxn ang="0">
                  <a:pos x="connsiteX11871" y="connsiteY11871"/>
                </a:cxn>
                <a:cxn ang="0">
                  <a:pos x="connsiteX11872" y="connsiteY11872"/>
                </a:cxn>
                <a:cxn ang="0">
                  <a:pos x="connsiteX11873" y="connsiteY11873"/>
                </a:cxn>
                <a:cxn ang="0">
                  <a:pos x="connsiteX11874" y="connsiteY11874"/>
                </a:cxn>
                <a:cxn ang="0">
                  <a:pos x="connsiteX11875" y="connsiteY11875"/>
                </a:cxn>
                <a:cxn ang="0">
                  <a:pos x="connsiteX11876" y="connsiteY11876"/>
                </a:cxn>
                <a:cxn ang="0">
                  <a:pos x="connsiteX11877" y="connsiteY11877"/>
                </a:cxn>
                <a:cxn ang="0">
                  <a:pos x="connsiteX11878" y="connsiteY11878"/>
                </a:cxn>
                <a:cxn ang="0">
                  <a:pos x="connsiteX11879" y="connsiteY11879"/>
                </a:cxn>
                <a:cxn ang="0">
                  <a:pos x="connsiteX11880" y="connsiteY11880"/>
                </a:cxn>
                <a:cxn ang="0">
                  <a:pos x="connsiteX11881" y="connsiteY11881"/>
                </a:cxn>
                <a:cxn ang="0">
                  <a:pos x="connsiteX11882" y="connsiteY11882"/>
                </a:cxn>
                <a:cxn ang="0">
                  <a:pos x="connsiteX11883" y="connsiteY11883"/>
                </a:cxn>
                <a:cxn ang="0">
                  <a:pos x="connsiteX11884" y="connsiteY11884"/>
                </a:cxn>
                <a:cxn ang="0">
                  <a:pos x="connsiteX11885" y="connsiteY11885"/>
                </a:cxn>
                <a:cxn ang="0">
                  <a:pos x="connsiteX11886" y="connsiteY11886"/>
                </a:cxn>
                <a:cxn ang="0">
                  <a:pos x="connsiteX11887" y="connsiteY11887"/>
                </a:cxn>
                <a:cxn ang="0">
                  <a:pos x="connsiteX11888" y="connsiteY11888"/>
                </a:cxn>
                <a:cxn ang="0">
                  <a:pos x="connsiteX11889" y="connsiteY11889"/>
                </a:cxn>
                <a:cxn ang="0">
                  <a:pos x="connsiteX11890" y="connsiteY11890"/>
                </a:cxn>
                <a:cxn ang="0">
                  <a:pos x="connsiteX11891" y="connsiteY11891"/>
                </a:cxn>
                <a:cxn ang="0">
                  <a:pos x="connsiteX11892" y="connsiteY11892"/>
                </a:cxn>
                <a:cxn ang="0">
                  <a:pos x="connsiteX11893" y="connsiteY11893"/>
                </a:cxn>
                <a:cxn ang="0">
                  <a:pos x="connsiteX11894" y="connsiteY11894"/>
                </a:cxn>
                <a:cxn ang="0">
                  <a:pos x="connsiteX11895" y="connsiteY11895"/>
                </a:cxn>
                <a:cxn ang="0">
                  <a:pos x="connsiteX11896" y="connsiteY11896"/>
                </a:cxn>
                <a:cxn ang="0">
                  <a:pos x="connsiteX11897" y="connsiteY11897"/>
                </a:cxn>
                <a:cxn ang="0">
                  <a:pos x="connsiteX11898" y="connsiteY11898"/>
                </a:cxn>
                <a:cxn ang="0">
                  <a:pos x="connsiteX11899" y="connsiteY11899"/>
                </a:cxn>
                <a:cxn ang="0">
                  <a:pos x="connsiteX11900" y="connsiteY11900"/>
                </a:cxn>
                <a:cxn ang="0">
                  <a:pos x="connsiteX11901" y="connsiteY11901"/>
                </a:cxn>
                <a:cxn ang="0">
                  <a:pos x="connsiteX11902" y="connsiteY11902"/>
                </a:cxn>
                <a:cxn ang="0">
                  <a:pos x="connsiteX11903" y="connsiteY11903"/>
                </a:cxn>
                <a:cxn ang="0">
                  <a:pos x="connsiteX11904" y="connsiteY11904"/>
                </a:cxn>
                <a:cxn ang="0">
                  <a:pos x="connsiteX11905" y="connsiteY11905"/>
                </a:cxn>
                <a:cxn ang="0">
                  <a:pos x="connsiteX11906" y="connsiteY11906"/>
                </a:cxn>
                <a:cxn ang="0">
                  <a:pos x="connsiteX11907" y="connsiteY11907"/>
                </a:cxn>
                <a:cxn ang="0">
                  <a:pos x="connsiteX11908" y="connsiteY11908"/>
                </a:cxn>
                <a:cxn ang="0">
                  <a:pos x="connsiteX11909" y="connsiteY11909"/>
                </a:cxn>
                <a:cxn ang="0">
                  <a:pos x="connsiteX11910" y="connsiteY11910"/>
                </a:cxn>
                <a:cxn ang="0">
                  <a:pos x="connsiteX11911" y="connsiteY11911"/>
                </a:cxn>
                <a:cxn ang="0">
                  <a:pos x="connsiteX11912" y="connsiteY11912"/>
                </a:cxn>
                <a:cxn ang="0">
                  <a:pos x="connsiteX11913" y="connsiteY11913"/>
                </a:cxn>
                <a:cxn ang="0">
                  <a:pos x="connsiteX11914" y="connsiteY11914"/>
                </a:cxn>
                <a:cxn ang="0">
                  <a:pos x="connsiteX11915" y="connsiteY11915"/>
                </a:cxn>
                <a:cxn ang="0">
                  <a:pos x="connsiteX11916" y="connsiteY11916"/>
                </a:cxn>
                <a:cxn ang="0">
                  <a:pos x="connsiteX11917" y="connsiteY11917"/>
                </a:cxn>
                <a:cxn ang="0">
                  <a:pos x="connsiteX11918" y="connsiteY11918"/>
                </a:cxn>
                <a:cxn ang="0">
                  <a:pos x="connsiteX11919" y="connsiteY11919"/>
                </a:cxn>
                <a:cxn ang="0">
                  <a:pos x="connsiteX11920" y="connsiteY11920"/>
                </a:cxn>
                <a:cxn ang="0">
                  <a:pos x="connsiteX11921" y="connsiteY11921"/>
                </a:cxn>
                <a:cxn ang="0">
                  <a:pos x="connsiteX11922" y="connsiteY11922"/>
                </a:cxn>
                <a:cxn ang="0">
                  <a:pos x="connsiteX11923" y="connsiteY11923"/>
                </a:cxn>
                <a:cxn ang="0">
                  <a:pos x="connsiteX11924" y="connsiteY11924"/>
                </a:cxn>
                <a:cxn ang="0">
                  <a:pos x="connsiteX11925" y="connsiteY11925"/>
                </a:cxn>
                <a:cxn ang="0">
                  <a:pos x="connsiteX11926" y="connsiteY11926"/>
                </a:cxn>
                <a:cxn ang="0">
                  <a:pos x="connsiteX11927" y="connsiteY11927"/>
                </a:cxn>
                <a:cxn ang="0">
                  <a:pos x="connsiteX11928" y="connsiteY11928"/>
                </a:cxn>
                <a:cxn ang="0">
                  <a:pos x="connsiteX11929" y="connsiteY11929"/>
                </a:cxn>
                <a:cxn ang="0">
                  <a:pos x="connsiteX11930" y="connsiteY11930"/>
                </a:cxn>
                <a:cxn ang="0">
                  <a:pos x="connsiteX11931" y="connsiteY11931"/>
                </a:cxn>
                <a:cxn ang="0">
                  <a:pos x="connsiteX11932" y="connsiteY11932"/>
                </a:cxn>
                <a:cxn ang="0">
                  <a:pos x="connsiteX11933" y="connsiteY11933"/>
                </a:cxn>
                <a:cxn ang="0">
                  <a:pos x="connsiteX11934" y="connsiteY11934"/>
                </a:cxn>
                <a:cxn ang="0">
                  <a:pos x="connsiteX11935" y="connsiteY11935"/>
                </a:cxn>
                <a:cxn ang="0">
                  <a:pos x="connsiteX11936" y="connsiteY11936"/>
                </a:cxn>
                <a:cxn ang="0">
                  <a:pos x="connsiteX11937" y="connsiteY11937"/>
                </a:cxn>
                <a:cxn ang="0">
                  <a:pos x="connsiteX11938" y="connsiteY11938"/>
                </a:cxn>
                <a:cxn ang="0">
                  <a:pos x="connsiteX11939" y="connsiteY11939"/>
                </a:cxn>
                <a:cxn ang="0">
                  <a:pos x="connsiteX11940" y="connsiteY11940"/>
                </a:cxn>
                <a:cxn ang="0">
                  <a:pos x="connsiteX11941" y="connsiteY11941"/>
                </a:cxn>
                <a:cxn ang="0">
                  <a:pos x="connsiteX11942" y="connsiteY11942"/>
                </a:cxn>
                <a:cxn ang="0">
                  <a:pos x="connsiteX11943" y="connsiteY11943"/>
                </a:cxn>
                <a:cxn ang="0">
                  <a:pos x="connsiteX11944" y="connsiteY11944"/>
                </a:cxn>
                <a:cxn ang="0">
                  <a:pos x="connsiteX11945" y="connsiteY11945"/>
                </a:cxn>
                <a:cxn ang="0">
                  <a:pos x="connsiteX11946" y="connsiteY11946"/>
                </a:cxn>
                <a:cxn ang="0">
                  <a:pos x="connsiteX11947" y="connsiteY11947"/>
                </a:cxn>
                <a:cxn ang="0">
                  <a:pos x="connsiteX11948" y="connsiteY11948"/>
                </a:cxn>
                <a:cxn ang="0">
                  <a:pos x="connsiteX11949" y="connsiteY11949"/>
                </a:cxn>
                <a:cxn ang="0">
                  <a:pos x="connsiteX11950" y="connsiteY11950"/>
                </a:cxn>
                <a:cxn ang="0">
                  <a:pos x="connsiteX11951" y="connsiteY11951"/>
                </a:cxn>
                <a:cxn ang="0">
                  <a:pos x="connsiteX11952" y="connsiteY11952"/>
                </a:cxn>
                <a:cxn ang="0">
                  <a:pos x="connsiteX11953" y="connsiteY11953"/>
                </a:cxn>
                <a:cxn ang="0">
                  <a:pos x="connsiteX11954" y="connsiteY11954"/>
                </a:cxn>
                <a:cxn ang="0">
                  <a:pos x="connsiteX11955" y="connsiteY11955"/>
                </a:cxn>
                <a:cxn ang="0">
                  <a:pos x="connsiteX11956" y="connsiteY11956"/>
                </a:cxn>
                <a:cxn ang="0">
                  <a:pos x="connsiteX11957" y="connsiteY11957"/>
                </a:cxn>
                <a:cxn ang="0">
                  <a:pos x="connsiteX11958" y="connsiteY11958"/>
                </a:cxn>
                <a:cxn ang="0">
                  <a:pos x="connsiteX11959" y="connsiteY11959"/>
                </a:cxn>
                <a:cxn ang="0">
                  <a:pos x="connsiteX11960" y="connsiteY11960"/>
                </a:cxn>
                <a:cxn ang="0">
                  <a:pos x="connsiteX11961" y="connsiteY11961"/>
                </a:cxn>
                <a:cxn ang="0">
                  <a:pos x="connsiteX11962" y="connsiteY11962"/>
                </a:cxn>
                <a:cxn ang="0">
                  <a:pos x="connsiteX11963" y="connsiteY11963"/>
                </a:cxn>
                <a:cxn ang="0">
                  <a:pos x="connsiteX11964" y="connsiteY11964"/>
                </a:cxn>
                <a:cxn ang="0">
                  <a:pos x="connsiteX11965" y="connsiteY11965"/>
                </a:cxn>
                <a:cxn ang="0">
                  <a:pos x="connsiteX11966" y="connsiteY11966"/>
                </a:cxn>
                <a:cxn ang="0">
                  <a:pos x="connsiteX11967" y="connsiteY11967"/>
                </a:cxn>
                <a:cxn ang="0">
                  <a:pos x="connsiteX11968" y="connsiteY11968"/>
                </a:cxn>
                <a:cxn ang="0">
                  <a:pos x="connsiteX11969" y="connsiteY11969"/>
                </a:cxn>
                <a:cxn ang="0">
                  <a:pos x="connsiteX11970" y="connsiteY11970"/>
                </a:cxn>
                <a:cxn ang="0">
                  <a:pos x="connsiteX11971" y="connsiteY11971"/>
                </a:cxn>
                <a:cxn ang="0">
                  <a:pos x="connsiteX11972" y="connsiteY11972"/>
                </a:cxn>
                <a:cxn ang="0">
                  <a:pos x="connsiteX11973" y="connsiteY11973"/>
                </a:cxn>
                <a:cxn ang="0">
                  <a:pos x="connsiteX11974" y="connsiteY11974"/>
                </a:cxn>
                <a:cxn ang="0">
                  <a:pos x="connsiteX11975" y="connsiteY11975"/>
                </a:cxn>
                <a:cxn ang="0">
                  <a:pos x="connsiteX11976" y="connsiteY11976"/>
                </a:cxn>
                <a:cxn ang="0">
                  <a:pos x="connsiteX11977" y="connsiteY11977"/>
                </a:cxn>
                <a:cxn ang="0">
                  <a:pos x="connsiteX11978" y="connsiteY11978"/>
                </a:cxn>
                <a:cxn ang="0">
                  <a:pos x="connsiteX11979" y="connsiteY11979"/>
                </a:cxn>
                <a:cxn ang="0">
                  <a:pos x="connsiteX11980" y="connsiteY11980"/>
                </a:cxn>
                <a:cxn ang="0">
                  <a:pos x="connsiteX11981" y="connsiteY11981"/>
                </a:cxn>
                <a:cxn ang="0">
                  <a:pos x="connsiteX11982" y="connsiteY11982"/>
                </a:cxn>
                <a:cxn ang="0">
                  <a:pos x="connsiteX11983" y="connsiteY11983"/>
                </a:cxn>
                <a:cxn ang="0">
                  <a:pos x="connsiteX11984" y="connsiteY11984"/>
                </a:cxn>
                <a:cxn ang="0">
                  <a:pos x="connsiteX11985" y="connsiteY11985"/>
                </a:cxn>
                <a:cxn ang="0">
                  <a:pos x="connsiteX11986" y="connsiteY11986"/>
                </a:cxn>
                <a:cxn ang="0">
                  <a:pos x="connsiteX11987" y="connsiteY11987"/>
                </a:cxn>
                <a:cxn ang="0">
                  <a:pos x="connsiteX11988" y="connsiteY11988"/>
                </a:cxn>
                <a:cxn ang="0">
                  <a:pos x="connsiteX11989" y="connsiteY11989"/>
                </a:cxn>
                <a:cxn ang="0">
                  <a:pos x="connsiteX11990" y="connsiteY11990"/>
                </a:cxn>
                <a:cxn ang="0">
                  <a:pos x="connsiteX11991" y="connsiteY11991"/>
                </a:cxn>
                <a:cxn ang="0">
                  <a:pos x="connsiteX11992" y="connsiteY11992"/>
                </a:cxn>
                <a:cxn ang="0">
                  <a:pos x="connsiteX11993" y="connsiteY11993"/>
                </a:cxn>
                <a:cxn ang="0">
                  <a:pos x="connsiteX11994" y="connsiteY11994"/>
                </a:cxn>
                <a:cxn ang="0">
                  <a:pos x="connsiteX11995" y="connsiteY11995"/>
                </a:cxn>
                <a:cxn ang="0">
                  <a:pos x="connsiteX11996" y="connsiteY11996"/>
                </a:cxn>
                <a:cxn ang="0">
                  <a:pos x="connsiteX11997" y="connsiteY11997"/>
                </a:cxn>
                <a:cxn ang="0">
                  <a:pos x="connsiteX11998" y="connsiteY11998"/>
                </a:cxn>
                <a:cxn ang="0">
                  <a:pos x="connsiteX11999" y="connsiteY11999"/>
                </a:cxn>
                <a:cxn ang="0">
                  <a:pos x="connsiteX12000" y="connsiteY12000"/>
                </a:cxn>
                <a:cxn ang="0">
                  <a:pos x="connsiteX12001" y="connsiteY12001"/>
                </a:cxn>
                <a:cxn ang="0">
                  <a:pos x="connsiteX12002" y="connsiteY12002"/>
                </a:cxn>
                <a:cxn ang="0">
                  <a:pos x="connsiteX12003" y="connsiteY12003"/>
                </a:cxn>
                <a:cxn ang="0">
                  <a:pos x="connsiteX12004" y="connsiteY12004"/>
                </a:cxn>
                <a:cxn ang="0">
                  <a:pos x="connsiteX12005" y="connsiteY12005"/>
                </a:cxn>
                <a:cxn ang="0">
                  <a:pos x="connsiteX12006" y="connsiteY12006"/>
                </a:cxn>
                <a:cxn ang="0">
                  <a:pos x="connsiteX12007" y="connsiteY12007"/>
                </a:cxn>
                <a:cxn ang="0">
                  <a:pos x="connsiteX12008" y="connsiteY12008"/>
                </a:cxn>
                <a:cxn ang="0">
                  <a:pos x="connsiteX12009" y="connsiteY12009"/>
                </a:cxn>
                <a:cxn ang="0">
                  <a:pos x="connsiteX12010" y="connsiteY12010"/>
                </a:cxn>
                <a:cxn ang="0">
                  <a:pos x="connsiteX12011" y="connsiteY12011"/>
                </a:cxn>
                <a:cxn ang="0">
                  <a:pos x="connsiteX12012" y="connsiteY12012"/>
                </a:cxn>
                <a:cxn ang="0">
                  <a:pos x="connsiteX12013" y="connsiteY12013"/>
                </a:cxn>
                <a:cxn ang="0">
                  <a:pos x="connsiteX12014" y="connsiteY12014"/>
                </a:cxn>
                <a:cxn ang="0">
                  <a:pos x="connsiteX12015" y="connsiteY12015"/>
                </a:cxn>
                <a:cxn ang="0">
                  <a:pos x="connsiteX12016" y="connsiteY12016"/>
                </a:cxn>
                <a:cxn ang="0">
                  <a:pos x="connsiteX12017" y="connsiteY12017"/>
                </a:cxn>
                <a:cxn ang="0">
                  <a:pos x="connsiteX12018" y="connsiteY12018"/>
                </a:cxn>
                <a:cxn ang="0">
                  <a:pos x="connsiteX12019" y="connsiteY12019"/>
                </a:cxn>
                <a:cxn ang="0">
                  <a:pos x="connsiteX12020" y="connsiteY12020"/>
                </a:cxn>
                <a:cxn ang="0">
                  <a:pos x="connsiteX12021" y="connsiteY12021"/>
                </a:cxn>
                <a:cxn ang="0">
                  <a:pos x="connsiteX12022" y="connsiteY12022"/>
                </a:cxn>
                <a:cxn ang="0">
                  <a:pos x="connsiteX12023" y="connsiteY12023"/>
                </a:cxn>
                <a:cxn ang="0">
                  <a:pos x="connsiteX12024" y="connsiteY12024"/>
                </a:cxn>
                <a:cxn ang="0">
                  <a:pos x="connsiteX12025" y="connsiteY12025"/>
                </a:cxn>
                <a:cxn ang="0">
                  <a:pos x="connsiteX12026" y="connsiteY12026"/>
                </a:cxn>
                <a:cxn ang="0">
                  <a:pos x="connsiteX12027" y="connsiteY12027"/>
                </a:cxn>
                <a:cxn ang="0">
                  <a:pos x="connsiteX12028" y="connsiteY12028"/>
                </a:cxn>
                <a:cxn ang="0">
                  <a:pos x="connsiteX12029" y="connsiteY12029"/>
                </a:cxn>
                <a:cxn ang="0">
                  <a:pos x="connsiteX12030" y="connsiteY12030"/>
                </a:cxn>
                <a:cxn ang="0">
                  <a:pos x="connsiteX12031" y="connsiteY12031"/>
                </a:cxn>
                <a:cxn ang="0">
                  <a:pos x="connsiteX12032" y="connsiteY12032"/>
                </a:cxn>
                <a:cxn ang="0">
                  <a:pos x="connsiteX12033" y="connsiteY12033"/>
                </a:cxn>
                <a:cxn ang="0">
                  <a:pos x="connsiteX12034" y="connsiteY12034"/>
                </a:cxn>
                <a:cxn ang="0">
                  <a:pos x="connsiteX12035" y="connsiteY12035"/>
                </a:cxn>
                <a:cxn ang="0">
                  <a:pos x="connsiteX12036" y="connsiteY12036"/>
                </a:cxn>
                <a:cxn ang="0">
                  <a:pos x="connsiteX12037" y="connsiteY12037"/>
                </a:cxn>
                <a:cxn ang="0">
                  <a:pos x="connsiteX12038" y="connsiteY12038"/>
                </a:cxn>
                <a:cxn ang="0">
                  <a:pos x="connsiteX12039" y="connsiteY12039"/>
                </a:cxn>
                <a:cxn ang="0">
                  <a:pos x="connsiteX12040" y="connsiteY12040"/>
                </a:cxn>
                <a:cxn ang="0">
                  <a:pos x="connsiteX12041" y="connsiteY12041"/>
                </a:cxn>
                <a:cxn ang="0">
                  <a:pos x="connsiteX12042" y="connsiteY12042"/>
                </a:cxn>
                <a:cxn ang="0">
                  <a:pos x="connsiteX12043" y="connsiteY12043"/>
                </a:cxn>
                <a:cxn ang="0">
                  <a:pos x="connsiteX12044" y="connsiteY12044"/>
                </a:cxn>
                <a:cxn ang="0">
                  <a:pos x="connsiteX12045" y="connsiteY12045"/>
                </a:cxn>
                <a:cxn ang="0">
                  <a:pos x="connsiteX12046" y="connsiteY12046"/>
                </a:cxn>
                <a:cxn ang="0">
                  <a:pos x="connsiteX12047" y="connsiteY12047"/>
                </a:cxn>
                <a:cxn ang="0">
                  <a:pos x="connsiteX12048" y="connsiteY12048"/>
                </a:cxn>
                <a:cxn ang="0">
                  <a:pos x="connsiteX12049" y="connsiteY12049"/>
                </a:cxn>
                <a:cxn ang="0">
                  <a:pos x="connsiteX12050" y="connsiteY12050"/>
                </a:cxn>
                <a:cxn ang="0">
                  <a:pos x="connsiteX12051" y="connsiteY12051"/>
                </a:cxn>
                <a:cxn ang="0">
                  <a:pos x="connsiteX12052" y="connsiteY12052"/>
                </a:cxn>
                <a:cxn ang="0">
                  <a:pos x="connsiteX12053" y="connsiteY12053"/>
                </a:cxn>
                <a:cxn ang="0">
                  <a:pos x="connsiteX12054" y="connsiteY12054"/>
                </a:cxn>
                <a:cxn ang="0">
                  <a:pos x="connsiteX12055" y="connsiteY12055"/>
                </a:cxn>
                <a:cxn ang="0">
                  <a:pos x="connsiteX12056" y="connsiteY12056"/>
                </a:cxn>
                <a:cxn ang="0">
                  <a:pos x="connsiteX12057" y="connsiteY12057"/>
                </a:cxn>
                <a:cxn ang="0">
                  <a:pos x="connsiteX12058" y="connsiteY12058"/>
                </a:cxn>
                <a:cxn ang="0">
                  <a:pos x="connsiteX12059" y="connsiteY12059"/>
                </a:cxn>
                <a:cxn ang="0">
                  <a:pos x="connsiteX12060" y="connsiteY12060"/>
                </a:cxn>
                <a:cxn ang="0">
                  <a:pos x="connsiteX12061" y="connsiteY12061"/>
                </a:cxn>
                <a:cxn ang="0">
                  <a:pos x="connsiteX12062" y="connsiteY12062"/>
                </a:cxn>
                <a:cxn ang="0">
                  <a:pos x="connsiteX12063" y="connsiteY12063"/>
                </a:cxn>
                <a:cxn ang="0">
                  <a:pos x="connsiteX12064" y="connsiteY12064"/>
                </a:cxn>
                <a:cxn ang="0">
                  <a:pos x="connsiteX12065" y="connsiteY12065"/>
                </a:cxn>
                <a:cxn ang="0">
                  <a:pos x="connsiteX12066" y="connsiteY12066"/>
                </a:cxn>
                <a:cxn ang="0">
                  <a:pos x="connsiteX12067" y="connsiteY12067"/>
                </a:cxn>
                <a:cxn ang="0">
                  <a:pos x="connsiteX12068" y="connsiteY12068"/>
                </a:cxn>
                <a:cxn ang="0">
                  <a:pos x="connsiteX12069" y="connsiteY12069"/>
                </a:cxn>
                <a:cxn ang="0">
                  <a:pos x="connsiteX12070" y="connsiteY12070"/>
                </a:cxn>
                <a:cxn ang="0">
                  <a:pos x="connsiteX12071" y="connsiteY12071"/>
                </a:cxn>
                <a:cxn ang="0">
                  <a:pos x="connsiteX12072" y="connsiteY12072"/>
                </a:cxn>
                <a:cxn ang="0">
                  <a:pos x="connsiteX12073" y="connsiteY12073"/>
                </a:cxn>
                <a:cxn ang="0">
                  <a:pos x="connsiteX12074" y="connsiteY12074"/>
                </a:cxn>
                <a:cxn ang="0">
                  <a:pos x="connsiteX12075" y="connsiteY12075"/>
                </a:cxn>
                <a:cxn ang="0">
                  <a:pos x="connsiteX12076" y="connsiteY12076"/>
                </a:cxn>
                <a:cxn ang="0">
                  <a:pos x="connsiteX12077" y="connsiteY12077"/>
                </a:cxn>
                <a:cxn ang="0">
                  <a:pos x="connsiteX12078" y="connsiteY12078"/>
                </a:cxn>
                <a:cxn ang="0">
                  <a:pos x="connsiteX12079" y="connsiteY12079"/>
                </a:cxn>
                <a:cxn ang="0">
                  <a:pos x="connsiteX12080" y="connsiteY12080"/>
                </a:cxn>
                <a:cxn ang="0">
                  <a:pos x="connsiteX12081" y="connsiteY12081"/>
                </a:cxn>
                <a:cxn ang="0">
                  <a:pos x="connsiteX12082" y="connsiteY12082"/>
                </a:cxn>
                <a:cxn ang="0">
                  <a:pos x="connsiteX12083" y="connsiteY12083"/>
                </a:cxn>
                <a:cxn ang="0">
                  <a:pos x="connsiteX12084" y="connsiteY12084"/>
                </a:cxn>
                <a:cxn ang="0">
                  <a:pos x="connsiteX12085" y="connsiteY12085"/>
                </a:cxn>
                <a:cxn ang="0">
                  <a:pos x="connsiteX12086" y="connsiteY12086"/>
                </a:cxn>
                <a:cxn ang="0">
                  <a:pos x="connsiteX12087" y="connsiteY12087"/>
                </a:cxn>
                <a:cxn ang="0">
                  <a:pos x="connsiteX12088" y="connsiteY12088"/>
                </a:cxn>
                <a:cxn ang="0">
                  <a:pos x="connsiteX12089" y="connsiteY12089"/>
                </a:cxn>
                <a:cxn ang="0">
                  <a:pos x="connsiteX12090" y="connsiteY12090"/>
                </a:cxn>
                <a:cxn ang="0">
                  <a:pos x="connsiteX12091" y="connsiteY12091"/>
                </a:cxn>
                <a:cxn ang="0">
                  <a:pos x="connsiteX12092" y="connsiteY12092"/>
                </a:cxn>
                <a:cxn ang="0">
                  <a:pos x="connsiteX12093" y="connsiteY12093"/>
                </a:cxn>
                <a:cxn ang="0">
                  <a:pos x="connsiteX12094" y="connsiteY12094"/>
                </a:cxn>
                <a:cxn ang="0">
                  <a:pos x="connsiteX12095" y="connsiteY12095"/>
                </a:cxn>
                <a:cxn ang="0">
                  <a:pos x="connsiteX12096" y="connsiteY12096"/>
                </a:cxn>
                <a:cxn ang="0">
                  <a:pos x="connsiteX12097" y="connsiteY12097"/>
                </a:cxn>
                <a:cxn ang="0">
                  <a:pos x="connsiteX12098" y="connsiteY12098"/>
                </a:cxn>
                <a:cxn ang="0">
                  <a:pos x="connsiteX12099" y="connsiteY12099"/>
                </a:cxn>
                <a:cxn ang="0">
                  <a:pos x="connsiteX12100" y="connsiteY12100"/>
                </a:cxn>
                <a:cxn ang="0">
                  <a:pos x="connsiteX12101" y="connsiteY12101"/>
                </a:cxn>
                <a:cxn ang="0">
                  <a:pos x="connsiteX12102" y="connsiteY12102"/>
                </a:cxn>
                <a:cxn ang="0">
                  <a:pos x="connsiteX12103" y="connsiteY12103"/>
                </a:cxn>
                <a:cxn ang="0">
                  <a:pos x="connsiteX12104" y="connsiteY12104"/>
                </a:cxn>
                <a:cxn ang="0">
                  <a:pos x="connsiteX12105" y="connsiteY12105"/>
                </a:cxn>
                <a:cxn ang="0">
                  <a:pos x="connsiteX12106" y="connsiteY12106"/>
                </a:cxn>
                <a:cxn ang="0">
                  <a:pos x="connsiteX12107" y="connsiteY12107"/>
                </a:cxn>
                <a:cxn ang="0">
                  <a:pos x="connsiteX12108" y="connsiteY12108"/>
                </a:cxn>
                <a:cxn ang="0">
                  <a:pos x="connsiteX12109" y="connsiteY12109"/>
                </a:cxn>
                <a:cxn ang="0">
                  <a:pos x="connsiteX12110" y="connsiteY12110"/>
                </a:cxn>
                <a:cxn ang="0">
                  <a:pos x="connsiteX12111" y="connsiteY12111"/>
                </a:cxn>
                <a:cxn ang="0">
                  <a:pos x="connsiteX12112" y="connsiteY12112"/>
                </a:cxn>
                <a:cxn ang="0">
                  <a:pos x="connsiteX12113" y="connsiteY12113"/>
                </a:cxn>
                <a:cxn ang="0">
                  <a:pos x="connsiteX12114" y="connsiteY12114"/>
                </a:cxn>
                <a:cxn ang="0">
                  <a:pos x="connsiteX12115" y="connsiteY12115"/>
                </a:cxn>
                <a:cxn ang="0">
                  <a:pos x="connsiteX12116" y="connsiteY12116"/>
                </a:cxn>
                <a:cxn ang="0">
                  <a:pos x="connsiteX12117" y="connsiteY12117"/>
                </a:cxn>
                <a:cxn ang="0">
                  <a:pos x="connsiteX12118" y="connsiteY12118"/>
                </a:cxn>
                <a:cxn ang="0">
                  <a:pos x="connsiteX12119" y="connsiteY12119"/>
                </a:cxn>
                <a:cxn ang="0">
                  <a:pos x="connsiteX12120" y="connsiteY12120"/>
                </a:cxn>
                <a:cxn ang="0">
                  <a:pos x="connsiteX12121" y="connsiteY12121"/>
                </a:cxn>
                <a:cxn ang="0">
                  <a:pos x="connsiteX12122" y="connsiteY12122"/>
                </a:cxn>
                <a:cxn ang="0">
                  <a:pos x="connsiteX12123" y="connsiteY12123"/>
                </a:cxn>
                <a:cxn ang="0">
                  <a:pos x="connsiteX12124" y="connsiteY12124"/>
                </a:cxn>
                <a:cxn ang="0">
                  <a:pos x="connsiteX12125" y="connsiteY12125"/>
                </a:cxn>
                <a:cxn ang="0">
                  <a:pos x="connsiteX12126" y="connsiteY12126"/>
                </a:cxn>
                <a:cxn ang="0">
                  <a:pos x="connsiteX12127" y="connsiteY12127"/>
                </a:cxn>
                <a:cxn ang="0">
                  <a:pos x="connsiteX12128" y="connsiteY12128"/>
                </a:cxn>
                <a:cxn ang="0">
                  <a:pos x="connsiteX12129" y="connsiteY12129"/>
                </a:cxn>
                <a:cxn ang="0">
                  <a:pos x="connsiteX12130" y="connsiteY12130"/>
                </a:cxn>
                <a:cxn ang="0">
                  <a:pos x="connsiteX12131" y="connsiteY12131"/>
                </a:cxn>
                <a:cxn ang="0">
                  <a:pos x="connsiteX12132" y="connsiteY12132"/>
                </a:cxn>
                <a:cxn ang="0">
                  <a:pos x="connsiteX12133" y="connsiteY12133"/>
                </a:cxn>
                <a:cxn ang="0">
                  <a:pos x="connsiteX12134" y="connsiteY12134"/>
                </a:cxn>
                <a:cxn ang="0">
                  <a:pos x="connsiteX12135" y="connsiteY12135"/>
                </a:cxn>
                <a:cxn ang="0">
                  <a:pos x="connsiteX12136" y="connsiteY12136"/>
                </a:cxn>
                <a:cxn ang="0">
                  <a:pos x="connsiteX12137" y="connsiteY12137"/>
                </a:cxn>
                <a:cxn ang="0">
                  <a:pos x="connsiteX12138" y="connsiteY12138"/>
                </a:cxn>
                <a:cxn ang="0">
                  <a:pos x="connsiteX12139" y="connsiteY12139"/>
                </a:cxn>
                <a:cxn ang="0">
                  <a:pos x="connsiteX12140" y="connsiteY12140"/>
                </a:cxn>
                <a:cxn ang="0">
                  <a:pos x="connsiteX12141" y="connsiteY12141"/>
                </a:cxn>
                <a:cxn ang="0">
                  <a:pos x="connsiteX12142" y="connsiteY12142"/>
                </a:cxn>
                <a:cxn ang="0">
                  <a:pos x="connsiteX12143" y="connsiteY12143"/>
                </a:cxn>
                <a:cxn ang="0">
                  <a:pos x="connsiteX12144" y="connsiteY12144"/>
                </a:cxn>
                <a:cxn ang="0">
                  <a:pos x="connsiteX12145" y="connsiteY12145"/>
                </a:cxn>
                <a:cxn ang="0">
                  <a:pos x="connsiteX12146" y="connsiteY12146"/>
                </a:cxn>
                <a:cxn ang="0">
                  <a:pos x="connsiteX12147" y="connsiteY12147"/>
                </a:cxn>
                <a:cxn ang="0">
                  <a:pos x="connsiteX12148" y="connsiteY12148"/>
                </a:cxn>
                <a:cxn ang="0">
                  <a:pos x="connsiteX12149" y="connsiteY12149"/>
                </a:cxn>
                <a:cxn ang="0">
                  <a:pos x="connsiteX12150" y="connsiteY12150"/>
                </a:cxn>
                <a:cxn ang="0">
                  <a:pos x="connsiteX12151" y="connsiteY12151"/>
                </a:cxn>
                <a:cxn ang="0">
                  <a:pos x="connsiteX12152" y="connsiteY12152"/>
                </a:cxn>
                <a:cxn ang="0">
                  <a:pos x="connsiteX12153" y="connsiteY12153"/>
                </a:cxn>
                <a:cxn ang="0">
                  <a:pos x="connsiteX12154" y="connsiteY12154"/>
                </a:cxn>
                <a:cxn ang="0">
                  <a:pos x="connsiteX12155" y="connsiteY12155"/>
                </a:cxn>
                <a:cxn ang="0">
                  <a:pos x="connsiteX12156" y="connsiteY12156"/>
                </a:cxn>
                <a:cxn ang="0">
                  <a:pos x="connsiteX12157" y="connsiteY12157"/>
                </a:cxn>
                <a:cxn ang="0">
                  <a:pos x="connsiteX12158" y="connsiteY12158"/>
                </a:cxn>
                <a:cxn ang="0">
                  <a:pos x="connsiteX12159" y="connsiteY12159"/>
                </a:cxn>
                <a:cxn ang="0">
                  <a:pos x="connsiteX12160" y="connsiteY12160"/>
                </a:cxn>
                <a:cxn ang="0">
                  <a:pos x="connsiteX12161" y="connsiteY12161"/>
                </a:cxn>
                <a:cxn ang="0">
                  <a:pos x="connsiteX12162" y="connsiteY12162"/>
                </a:cxn>
                <a:cxn ang="0">
                  <a:pos x="connsiteX12163" y="connsiteY12163"/>
                </a:cxn>
                <a:cxn ang="0">
                  <a:pos x="connsiteX12164" y="connsiteY12164"/>
                </a:cxn>
                <a:cxn ang="0">
                  <a:pos x="connsiteX12165" y="connsiteY12165"/>
                </a:cxn>
                <a:cxn ang="0">
                  <a:pos x="connsiteX12166" y="connsiteY12166"/>
                </a:cxn>
                <a:cxn ang="0">
                  <a:pos x="connsiteX12167" y="connsiteY12167"/>
                </a:cxn>
                <a:cxn ang="0">
                  <a:pos x="connsiteX12168" y="connsiteY12168"/>
                </a:cxn>
                <a:cxn ang="0">
                  <a:pos x="connsiteX12169" y="connsiteY12169"/>
                </a:cxn>
                <a:cxn ang="0">
                  <a:pos x="connsiteX12170" y="connsiteY12170"/>
                </a:cxn>
                <a:cxn ang="0">
                  <a:pos x="connsiteX12171" y="connsiteY12171"/>
                </a:cxn>
                <a:cxn ang="0">
                  <a:pos x="connsiteX12172" y="connsiteY12172"/>
                </a:cxn>
                <a:cxn ang="0">
                  <a:pos x="connsiteX12173" y="connsiteY12173"/>
                </a:cxn>
                <a:cxn ang="0">
                  <a:pos x="connsiteX12174" y="connsiteY12174"/>
                </a:cxn>
                <a:cxn ang="0">
                  <a:pos x="connsiteX12175" y="connsiteY12175"/>
                </a:cxn>
                <a:cxn ang="0">
                  <a:pos x="connsiteX12176" y="connsiteY12176"/>
                </a:cxn>
                <a:cxn ang="0">
                  <a:pos x="connsiteX12177" y="connsiteY12177"/>
                </a:cxn>
                <a:cxn ang="0">
                  <a:pos x="connsiteX12178" y="connsiteY12178"/>
                </a:cxn>
                <a:cxn ang="0">
                  <a:pos x="connsiteX12179" y="connsiteY12179"/>
                </a:cxn>
                <a:cxn ang="0">
                  <a:pos x="connsiteX12180" y="connsiteY12180"/>
                </a:cxn>
                <a:cxn ang="0">
                  <a:pos x="connsiteX12181" y="connsiteY12181"/>
                </a:cxn>
                <a:cxn ang="0">
                  <a:pos x="connsiteX12182" y="connsiteY12182"/>
                </a:cxn>
                <a:cxn ang="0">
                  <a:pos x="connsiteX12183" y="connsiteY12183"/>
                </a:cxn>
                <a:cxn ang="0">
                  <a:pos x="connsiteX12184" y="connsiteY12184"/>
                </a:cxn>
                <a:cxn ang="0">
                  <a:pos x="connsiteX12185" y="connsiteY12185"/>
                </a:cxn>
                <a:cxn ang="0">
                  <a:pos x="connsiteX12186" y="connsiteY12186"/>
                </a:cxn>
                <a:cxn ang="0">
                  <a:pos x="connsiteX12187" y="connsiteY12187"/>
                </a:cxn>
                <a:cxn ang="0">
                  <a:pos x="connsiteX12188" y="connsiteY12188"/>
                </a:cxn>
                <a:cxn ang="0">
                  <a:pos x="connsiteX12189" y="connsiteY12189"/>
                </a:cxn>
                <a:cxn ang="0">
                  <a:pos x="connsiteX12190" y="connsiteY12190"/>
                </a:cxn>
                <a:cxn ang="0">
                  <a:pos x="connsiteX12191" y="connsiteY12191"/>
                </a:cxn>
                <a:cxn ang="0">
                  <a:pos x="connsiteX12192" y="connsiteY12192"/>
                </a:cxn>
                <a:cxn ang="0">
                  <a:pos x="connsiteX12193" y="connsiteY12193"/>
                </a:cxn>
                <a:cxn ang="0">
                  <a:pos x="connsiteX12194" y="connsiteY12194"/>
                </a:cxn>
                <a:cxn ang="0">
                  <a:pos x="connsiteX12195" y="connsiteY12195"/>
                </a:cxn>
                <a:cxn ang="0">
                  <a:pos x="connsiteX12196" y="connsiteY12196"/>
                </a:cxn>
                <a:cxn ang="0">
                  <a:pos x="connsiteX12197" y="connsiteY12197"/>
                </a:cxn>
                <a:cxn ang="0">
                  <a:pos x="connsiteX12198" y="connsiteY12198"/>
                </a:cxn>
                <a:cxn ang="0">
                  <a:pos x="connsiteX12199" y="connsiteY12199"/>
                </a:cxn>
                <a:cxn ang="0">
                  <a:pos x="connsiteX12200" y="connsiteY12200"/>
                </a:cxn>
                <a:cxn ang="0">
                  <a:pos x="connsiteX12201" y="connsiteY12201"/>
                </a:cxn>
                <a:cxn ang="0">
                  <a:pos x="connsiteX12202" y="connsiteY12202"/>
                </a:cxn>
                <a:cxn ang="0">
                  <a:pos x="connsiteX12203" y="connsiteY12203"/>
                </a:cxn>
                <a:cxn ang="0">
                  <a:pos x="connsiteX12204" y="connsiteY12204"/>
                </a:cxn>
                <a:cxn ang="0">
                  <a:pos x="connsiteX12205" y="connsiteY12205"/>
                </a:cxn>
                <a:cxn ang="0">
                  <a:pos x="connsiteX12206" y="connsiteY12206"/>
                </a:cxn>
                <a:cxn ang="0">
                  <a:pos x="connsiteX12207" y="connsiteY12207"/>
                </a:cxn>
                <a:cxn ang="0">
                  <a:pos x="connsiteX12208" y="connsiteY12208"/>
                </a:cxn>
                <a:cxn ang="0">
                  <a:pos x="connsiteX12209" y="connsiteY12209"/>
                </a:cxn>
                <a:cxn ang="0">
                  <a:pos x="connsiteX12210" y="connsiteY12210"/>
                </a:cxn>
                <a:cxn ang="0">
                  <a:pos x="connsiteX12211" y="connsiteY12211"/>
                </a:cxn>
                <a:cxn ang="0">
                  <a:pos x="connsiteX12212" y="connsiteY12212"/>
                </a:cxn>
                <a:cxn ang="0">
                  <a:pos x="connsiteX12213" y="connsiteY12213"/>
                </a:cxn>
                <a:cxn ang="0">
                  <a:pos x="connsiteX12214" y="connsiteY12214"/>
                </a:cxn>
                <a:cxn ang="0">
                  <a:pos x="connsiteX12215" y="connsiteY12215"/>
                </a:cxn>
                <a:cxn ang="0">
                  <a:pos x="connsiteX12216" y="connsiteY12216"/>
                </a:cxn>
                <a:cxn ang="0">
                  <a:pos x="connsiteX12217" y="connsiteY12217"/>
                </a:cxn>
                <a:cxn ang="0">
                  <a:pos x="connsiteX12218" y="connsiteY12218"/>
                </a:cxn>
                <a:cxn ang="0">
                  <a:pos x="connsiteX12219" y="connsiteY12219"/>
                </a:cxn>
                <a:cxn ang="0">
                  <a:pos x="connsiteX12220" y="connsiteY12220"/>
                </a:cxn>
                <a:cxn ang="0">
                  <a:pos x="connsiteX12221" y="connsiteY12221"/>
                </a:cxn>
                <a:cxn ang="0">
                  <a:pos x="connsiteX12222" y="connsiteY12222"/>
                </a:cxn>
                <a:cxn ang="0">
                  <a:pos x="connsiteX12223" y="connsiteY12223"/>
                </a:cxn>
                <a:cxn ang="0">
                  <a:pos x="connsiteX12224" y="connsiteY12224"/>
                </a:cxn>
                <a:cxn ang="0">
                  <a:pos x="connsiteX12225" y="connsiteY12225"/>
                </a:cxn>
                <a:cxn ang="0">
                  <a:pos x="connsiteX12226" y="connsiteY12226"/>
                </a:cxn>
                <a:cxn ang="0">
                  <a:pos x="connsiteX12227" y="connsiteY12227"/>
                </a:cxn>
                <a:cxn ang="0">
                  <a:pos x="connsiteX12228" y="connsiteY12228"/>
                </a:cxn>
                <a:cxn ang="0">
                  <a:pos x="connsiteX12229" y="connsiteY12229"/>
                </a:cxn>
                <a:cxn ang="0">
                  <a:pos x="connsiteX12230" y="connsiteY12230"/>
                </a:cxn>
                <a:cxn ang="0">
                  <a:pos x="connsiteX12231" y="connsiteY12231"/>
                </a:cxn>
                <a:cxn ang="0">
                  <a:pos x="connsiteX12232" y="connsiteY12232"/>
                </a:cxn>
                <a:cxn ang="0">
                  <a:pos x="connsiteX12233" y="connsiteY12233"/>
                </a:cxn>
                <a:cxn ang="0">
                  <a:pos x="connsiteX12234" y="connsiteY12234"/>
                </a:cxn>
                <a:cxn ang="0">
                  <a:pos x="connsiteX12235" y="connsiteY12235"/>
                </a:cxn>
                <a:cxn ang="0">
                  <a:pos x="connsiteX12236" y="connsiteY12236"/>
                </a:cxn>
                <a:cxn ang="0">
                  <a:pos x="connsiteX12237" y="connsiteY12237"/>
                </a:cxn>
                <a:cxn ang="0">
                  <a:pos x="connsiteX12238" y="connsiteY12238"/>
                </a:cxn>
                <a:cxn ang="0">
                  <a:pos x="connsiteX12239" y="connsiteY12239"/>
                </a:cxn>
                <a:cxn ang="0">
                  <a:pos x="connsiteX12240" y="connsiteY12240"/>
                </a:cxn>
                <a:cxn ang="0">
                  <a:pos x="connsiteX12241" y="connsiteY12241"/>
                </a:cxn>
                <a:cxn ang="0">
                  <a:pos x="connsiteX12242" y="connsiteY12242"/>
                </a:cxn>
                <a:cxn ang="0">
                  <a:pos x="connsiteX12243" y="connsiteY12243"/>
                </a:cxn>
                <a:cxn ang="0">
                  <a:pos x="connsiteX12244" y="connsiteY12244"/>
                </a:cxn>
                <a:cxn ang="0">
                  <a:pos x="connsiteX12245" y="connsiteY12245"/>
                </a:cxn>
                <a:cxn ang="0">
                  <a:pos x="connsiteX12246" y="connsiteY12246"/>
                </a:cxn>
                <a:cxn ang="0">
                  <a:pos x="connsiteX12247" y="connsiteY12247"/>
                </a:cxn>
                <a:cxn ang="0">
                  <a:pos x="connsiteX12248" y="connsiteY12248"/>
                </a:cxn>
                <a:cxn ang="0">
                  <a:pos x="connsiteX12249" y="connsiteY12249"/>
                </a:cxn>
                <a:cxn ang="0">
                  <a:pos x="connsiteX12250" y="connsiteY12250"/>
                </a:cxn>
                <a:cxn ang="0">
                  <a:pos x="connsiteX12251" y="connsiteY12251"/>
                </a:cxn>
                <a:cxn ang="0">
                  <a:pos x="connsiteX12252" y="connsiteY12252"/>
                </a:cxn>
                <a:cxn ang="0">
                  <a:pos x="connsiteX12253" y="connsiteY12253"/>
                </a:cxn>
                <a:cxn ang="0">
                  <a:pos x="connsiteX12254" y="connsiteY12254"/>
                </a:cxn>
                <a:cxn ang="0">
                  <a:pos x="connsiteX12255" y="connsiteY12255"/>
                </a:cxn>
                <a:cxn ang="0">
                  <a:pos x="connsiteX12256" y="connsiteY12256"/>
                </a:cxn>
                <a:cxn ang="0">
                  <a:pos x="connsiteX12257" y="connsiteY12257"/>
                </a:cxn>
                <a:cxn ang="0">
                  <a:pos x="connsiteX12258" y="connsiteY12258"/>
                </a:cxn>
                <a:cxn ang="0">
                  <a:pos x="connsiteX12259" y="connsiteY12259"/>
                </a:cxn>
                <a:cxn ang="0">
                  <a:pos x="connsiteX12260" y="connsiteY12260"/>
                </a:cxn>
                <a:cxn ang="0">
                  <a:pos x="connsiteX12261" y="connsiteY12261"/>
                </a:cxn>
                <a:cxn ang="0">
                  <a:pos x="connsiteX12262" y="connsiteY12262"/>
                </a:cxn>
                <a:cxn ang="0">
                  <a:pos x="connsiteX12263" y="connsiteY12263"/>
                </a:cxn>
                <a:cxn ang="0">
                  <a:pos x="connsiteX12264" y="connsiteY12264"/>
                </a:cxn>
                <a:cxn ang="0">
                  <a:pos x="connsiteX12265" y="connsiteY12265"/>
                </a:cxn>
                <a:cxn ang="0">
                  <a:pos x="connsiteX12266" y="connsiteY12266"/>
                </a:cxn>
                <a:cxn ang="0">
                  <a:pos x="connsiteX12267" y="connsiteY12267"/>
                </a:cxn>
                <a:cxn ang="0">
                  <a:pos x="connsiteX12268" y="connsiteY12268"/>
                </a:cxn>
                <a:cxn ang="0">
                  <a:pos x="connsiteX12269" y="connsiteY12269"/>
                </a:cxn>
                <a:cxn ang="0">
                  <a:pos x="connsiteX12270" y="connsiteY12270"/>
                </a:cxn>
                <a:cxn ang="0">
                  <a:pos x="connsiteX12271" y="connsiteY12271"/>
                </a:cxn>
                <a:cxn ang="0">
                  <a:pos x="connsiteX12272" y="connsiteY12272"/>
                </a:cxn>
                <a:cxn ang="0">
                  <a:pos x="connsiteX12273" y="connsiteY12273"/>
                </a:cxn>
                <a:cxn ang="0">
                  <a:pos x="connsiteX12274" y="connsiteY12274"/>
                </a:cxn>
                <a:cxn ang="0">
                  <a:pos x="connsiteX12275" y="connsiteY12275"/>
                </a:cxn>
                <a:cxn ang="0">
                  <a:pos x="connsiteX12276" y="connsiteY12276"/>
                </a:cxn>
                <a:cxn ang="0">
                  <a:pos x="connsiteX12277" y="connsiteY12277"/>
                </a:cxn>
                <a:cxn ang="0">
                  <a:pos x="connsiteX12278" y="connsiteY12278"/>
                </a:cxn>
                <a:cxn ang="0">
                  <a:pos x="connsiteX12279" y="connsiteY12279"/>
                </a:cxn>
                <a:cxn ang="0">
                  <a:pos x="connsiteX12280" y="connsiteY12280"/>
                </a:cxn>
                <a:cxn ang="0">
                  <a:pos x="connsiteX12281" y="connsiteY12281"/>
                </a:cxn>
                <a:cxn ang="0">
                  <a:pos x="connsiteX12282" y="connsiteY12282"/>
                </a:cxn>
                <a:cxn ang="0">
                  <a:pos x="connsiteX12283" y="connsiteY12283"/>
                </a:cxn>
                <a:cxn ang="0">
                  <a:pos x="connsiteX12284" y="connsiteY12284"/>
                </a:cxn>
                <a:cxn ang="0">
                  <a:pos x="connsiteX12285" y="connsiteY12285"/>
                </a:cxn>
                <a:cxn ang="0">
                  <a:pos x="connsiteX12286" y="connsiteY12286"/>
                </a:cxn>
                <a:cxn ang="0">
                  <a:pos x="connsiteX12287" y="connsiteY12287"/>
                </a:cxn>
                <a:cxn ang="0">
                  <a:pos x="connsiteX12288" y="connsiteY12288"/>
                </a:cxn>
                <a:cxn ang="0">
                  <a:pos x="connsiteX12289" y="connsiteY12289"/>
                </a:cxn>
                <a:cxn ang="0">
                  <a:pos x="connsiteX12290" y="connsiteY12290"/>
                </a:cxn>
                <a:cxn ang="0">
                  <a:pos x="connsiteX12291" y="connsiteY12291"/>
                </a:cxn>
                <a:cxn ang="0">
                  <a:pos x="connsiteX12292" y="connsiteY12292"/>
                </a:cxn>
                <a:cxn ang="0">
                  <a:pos x="connsiteX12293" y="connsiteY12293"/>
                </a:cxn>
                <a:cxn ang="0">
                  <a:pos x="connsiteX12294" y="connsiteY12294"/>
                </a:cxn>
                <a:cxn ang="0">
                  <a:pos x="connsiteX12295" y="connsiteY12295"/>
                </a:cxn>
                <a:cxn ang="0">
                  <a:pos x="connsiteX12296" y="connsiteY12296"/>
                </a:cxn>
                <a:cxn ang="0">
                  <a:pos x="connsiteX12297" y="connsiteY12297"/>
                </a:cxn>
                <a:cxn ang="0">
                  <a:pos x="connsiteX12298" y="connsiteY12298"/>
                </a:cxn>
                <a:cxn ang="0">
                  <a:pos x="connsiteX12299" y="connsiteY12299"/>
                </a:cxn>
                <a:cxn ang="0">
                  <a:pos x="connsiteX12300" y="connsiteY12300"/>
                </a:cxn>
                <a:cxn ang="0">
                  <a:pos x="connsiteX12301" y="connsiteY12301"/>
                </a:cxn>
                <a:cxn ang="0">
                  <a:pos x="connsiteX12302" y="connsiteY12302"/>
                </a:cxn>
                <a:cxn ang="0">
                  <a:pos x="connsiteX12303" y="connsiteY12303"/>
                </a:cxn>
                <a:cxn ang="0">
                  <a:pos x="connsiteX12304" y="connsiteY12304"/>
                </a:cxn>
                <a:cxn ang="0">
                  <a:pos x="connsiteX12305" y="connsiteY12305"/>
                </a:cxn>
                <a:cxn ang="0">
                  <a:pos x="connsiteX12306" y="connsiteY12306"/>
                </a:cxn>
                <a:cxn ang="0">
                  <a:pos x="connsiteX12307" y="connsiteY12307"/>
                </a:cxn>
                <a:cxn ang="0">
                  <a:pos x="connsiteX12308" y="connsiteY12308"/>
                </a:cxn>
                <a:cxn ang="0">
                  <a:pos x="connsiteX12309" y="connsiteY12309"/>
                </a:cxn>
                <a:cxn ang="0">
                  <a:pos x="connsiteX12310" y="connsiteY12310"/>
                </a:cxn>
                <a:cxn ang="0">
                  <a:pos x="connsiteX12311" y="connsiteY12311"/>
                </a:cxn>
                <a:cxn ang="0">
                  <a:pos x="connsiteX12312" y="connsiteY12312"/>
                </a:cxn>
                <a:cxn ang="0">
                  <a:pos x="connsiteX12313" y="connsiteY12313"/>
                </a:cxn>
                <a:cxn ang="0">
                  <a:pos x="connsiteX12314" y="connsiteY12314"/>
                </a:cxn>
                <a:cxn ang="0">
                  <a:pos x="connsiteX12315" y="connsiteY12315"/>
                </a:cxn>
                <a:cxn ang="0">
                  <a:pos x="connsiteX12316" y="connsiteY12316"/>
                </a:cxn>
                <a:cxn ang="0">
                  <a:pos x="connsiteX12317" y="connsiteY12317"/>
                </a:cxn>
                <a:cxn ang="0">
                  <a:pos x="connsiteX12318" y="connsiteY12318"/>
                </a:cxn>
                <a:cxn ang="0">
                  <a:pos x="connsiteX12319" y="connsiteY12319"/>
                </a:cxn>
                <a:cxn ang="0">
                  <a:pos x="connsiteX12320" y="connsiteY12320"/>
                </a:cxn>
                <a:cxn ang="0">
                  <a:pos x="connsiteX12321" y="connsiteY12321"/>
                </a:cxn>
                <a:cxn ang="0">
                  <a:pos x="connsiteX12322" y="connsiteY12322"/>
                </a:cxn>
                <a:cxn ang="0">
                  <a:pos x="connsiteX12323" y="connsiteY12323"/>
                </a:cxn>
                <a:cxn ang="0">
                  <a:pos x="connsiteX12324" y="connsiteY12324"/>
                </a:cxn>
                <a:cxn ang="0">
                  <a:pos x="connsiteX12325" y="connsiteY12325"/>
                </a:cxn>
                <a:cxn ang="0">
                  <a:pos x="connsiteX12326" y="connsiteY12326"/>
                </a:cxn>
                <a:cxn ang="0">
                  <a:pos x="connsiteX12327" y="connsiteY12327"/>
                </a:cxn>
                <a:cxn ang="0">
                  <a:pos x="connsiteX12328" y="connsiteY12328"/>
                </a:cxn>
                <a:cxn ang="0">
                  <a:pos x="connsiteX12329" y="connsiteY12329"/>
                </a:cxn>
                <a:cxn ang="0">
                  <a:pos x="connsiteX12330" y="connsiteY12330"/>
                </a:cxn>
                <a:cxn ang="0">
                  <a:pos x="connsiteX12331" y="connsiteY12331"/>
                </a:cxn>
                <a:cxn ang="0">
                  <a:pos x="connsiteX12332" y="connsiteY12332"/>
                </a:cxn>
                <a:cxn ang="0">
                  <a:pos x="connsiteX12333" y="connsiteY12333"/>
                </a:cxn>
                <a:cxn ang="0">
                  <a:pos x="connsiteX12334" y="connsiteY12334"/>
                </a:cxn>
                <a:cxn ang="0">
                  <a:pos x="connsiteX12335" y="connsiteY12335"/>
                </a:cxn>
                <a:cxn ang="0">
                  <a:pos x="connsiteX12336" y="connsiteY12336"/>
                </a:cxn>
                <a:cxn ang="0">
                  <a:pos x="connsiteX12337" y="connsiteY12337"/>
                </a:cxn>
                <a:cxn ang="0">
                  <a:pos x="connsiteX12338" y="connsiteY12338"/>
                </a:cxn>
                <a:cxn ang="0">
                  <a:pos x="connsiteX12339" y="connsiteY12339"/>
                </a:cxn>
                <a:cxn ang="0">
                  <a:pos x="connsiteX12340" y="connsiteY12340"/>
                </a:cxn>
                <a:cxn ang="0">
                  <a:pos x="connsiteX12341" y="connsiteY12341"/>
                </a:cxn>
                <a:cxn ang="0">
                  <a:pos x="connsiteX12342" y="connsiteY12342"/>
                </a:cxn>
                <a:cxn ang="0">
                  <a:pos x="connsiteX12343" y="connsiteY12343"/>
                </a:cxn>
                <a:cxn ang="0">
                  <a:pos x="connsiteX12344" y="connsiteY12344"/>
                </a:cxn>
                <a:cxn ang="0">
                  <a:pos x="connsiteX12345" y="connsiteY12345"/>
                </a:cxn>
                <a:cxn ang="0">
                  <a:pos x="connsiteX12346" y="connsiteY12346"/>
                </a:cxn>
                <a:cxn ang="0">
                  <a:pos x="connsiteX12347" y="connsiteY12347"/>
                </a:cxn>
                <a:cxn ang="0">
                  <a:pos x="connsiteX12348" y="connsiteY12348"/>
                </a:cxn>
                <a:cxn ang="0">
                  <a:pos x="connsiteX12349" y="connsiteY12349"/>
                </a:cxn>
                <a:cxn ang="0">
                  <a:pos x="connsiteX12350" y="connsiteY12350"/>
                </a:cxn>
                <a:cxn ang="0">
                  <a:pos x="connsiteX12351" y="connsiteY12351"/>
                </a:cxn>
                <a:cxn ang="0">
                  <a:pos x="connsiteX12352" y="connsiteY12352"/>
                </a:cxn>
                <a:cxn ang="0">
                  <a:pos x="connsiteX12353" y="connsiteY12353"/>
                </a:cxn>
                <a:cxn ang="0">
                  <a:pos x="connsiteX12354" y="connsiteY12354"/>
                </a:cxn>
                <a:cxn ang="0">
                  <a:pos x="connsiteX12355" y="connsiteY12355"/>
                </a:cxn>
                <a:cxn ang="0">
                  <a:pos x="connsiteX12356" y="connsiteY12356"/>
                </a:cxn>
                <a:cxn ang="0">
                  <a:pos x="connsiteX12357" y="connsiteY12357"/>
                </a:cxn>
                <a:cxn ang="0">
                  <a:pos x="connsiteX12358" y="connsiteY12358"/>
                </a:cxn>
                <a:cxn ang="0">
                  <a:pos x="connsiteX12359" y="connsiteY12359"/>
                </a:cxn>
                <a:cxn ang="0">
                  <a:pos x="connsiteX12360" y="connsiteY12360"/>
                </a:cxn>
                <a:cxn ang="0">
                  <a:pos x="connsiteX12361" y="connsiteY12361"/>
                </a:cxn>
                <a:cxn ang="0">
                  <a:pos x="connsiteX12362" y="connsiteY12362"/>
                </a:cxn>
                <a:cxn ang="0">
                  <a:pos x="connsiteX12363" y="connsiteY12363"/>
                </a:cxn>
                <a:cxn ang="0">
                  <a:pos x="connsiteX12364" y="connsiteY12364"/>
                </a:cxn>
                <a:cxn ang="0">
                  <a:pos x="connsiteX12365" y="connsiteY12365"/>
                </a:cxn>
                <a:cxn ang="0">
                  <a:pos x="connsiteX12366" y="connsiteY12366"/>
                </a:cxn>
                <a:cxn ang="0">
                  <a:pos x="connsiteX12367" y="connsiteY12367"/>
                </a:cxn>
                <a:cxn ang="0">
                  <a:pos x="connsiteX12368" y="connsiteY12368"/>
                </a:cxn>
                <a:cxn ang="0">
                  <a:pos x="connsiteX12369" y="connsiteY12369"/>
                </a:cxn>
                <a:cxn ang="0">
                  <a:pos x="connsiteX12370" y="connsiteY12370"/>
                </a:cxn>
                <a:cxn ang="0">
                  <a:pos x="connsiteX12371" y="connsiteY12371"/>
                </a:cxn>
                <a:cxn ang="0">
                  <a:pos x="connsiteX12372" y="connsiteY12372"/>
                </a:cxn>
                <a:cxn ang="0">
                  <a:pos x="connsiteX12373" y="connsiteY12373"/>
                </a:cxn>
                <a:cxn ang="0">
                  <a:pos x="connsiteX12374" y="connsiteY12374"/>
                </a:cxn>
                <a:cxn ang="0">
                  <a:pos x="connsiteX12375" y="connsiteY12375"/>
                </a:cxn>
                <a:cxn ang="0">
                  <a:pos x="connsiteX12376" y="connsiteY12376"/>
                </a:cxn>
                <a:cxn ang="0">
                  <a:pos x="connsiteX12377" y="connsiteY12377"/>
                </a:cxn>
                <a:cxn ang="0">
                  <a:pos x="connsiteX12378" y="connsiteY12378"/>
                </a:cxn>
                <a:cxn ang="0">
                  <a:pos x="connsiteX12379" y="connsiteY12379"/>
                </a:cxn>
                <a:cxn ang="0">
                  <a:pos x="connsiteX12380" y="connsiteY12380"/>
                </a:cxn>
                <a:cxn ang="0">
                  <a:pos x="connsiteX12381" y="connsiteY12381"/>
                </a:cxn>
                <a:cxn ang="0">
                  <a:pos x="connsiteX12382" y="connsiteY12382"/>
                </a:cxn>
                <a:cxn ang="0">
                  <a:pos x="connsiteX12383" y="connsiteY12383"/>
                </a:cxn>
                <a:cxn ang="0">
                  <a:pos x="connsiteX12384" y="connsiteY12384"/>
                </a:cxn>
                <a:cxn ang="0">
                  <a:pos x="connsiteX12385" y="connsiteY12385"/>
                </a:cxn>
                <a:cxn ang="0">
                  <a:pos x="connsiteX12386" y="connsiteY12386"/>
                </a:cxn>
                <a:cxn ang="0">
                  <a:pos x="connsiteX12387" y="connsiteY12387"/>
                </a:cxn>
                <a:cxn ang="0">
                  <a:pos x="connsiteX12388" y="connsiteY12388"/>
                </a:cxn>
                <a:cxn ang="0">
                  <a:pos x="connsiteX12389" y="connsiteY12389"/>
                </a:cxn>
                <a:cxn ang="0">
                  <a:pos x="connsiteX12390" y="connsiteY12390"/>
                </a:cxn>
                <a:cxn ang="0">
                  <a:pos x="connsiteX12391" y="connsiteY12391"/>
                </a:cxn>
                <a:cxn ang="0">
                  <a:pos x="connsiteX12392" y="connsiteY12392"/>
                </a:cxn>
                <a:cxn ang="0">
                  <a:pos x="connsiteX12393" y="connsiteY12393"/>
                </a:cxn>
                <a:cxn ang="0">
                  <a:pos x="connsiteX12394" y="connsiteY12394"/>
                </a:cxn>
                <a:cxn ang="0">
                  <a:pos x="connsiteX12395" y="connsiteY12395"/>
                </a:cxn>
                <a:cxn ang="0">
                  <a:pos x="connsiteX12396" y="connsiteY12396"/>
                </a:cxn>
                <a:cxn ang="0">
                  <a:pos x="connsiteX12397" y="connsiteY12397"/>
                </a:cxn>
                <a:cxn ang="0">
                  <a:pos x="connsiteX12398" y="connsiteY12398"/>
                </a:cxn>
                <a:cxn ang="0">
                  <a:pos x="connsiteX12399" y="connsiteY12399"/>
                </a:cxn>
                <a:cxn ang="0">
                  <a:pos x="connsiteX12400" y="connsiteY12400"/>
                </a:cxn>
                <a:cxn ang="0">
                  <a:pos x="connsiteX12401" y="connsiteY12401"/>
                </a:cxn>
                <a:cxn ang="0">
                  <a:pos x="connsiteX12402" y="connsiteY12402"/>
                </a:cxn>
                <a:cxn ang="0">
                  <a:pos x="connsiteX12403" y="connsiteY12403"/>
                </a:cxn>
                <a:cxn ang="0">
                  <a:pos x="connsiteX12404" y="connsiteY12404"/>
                </a:cxn>
                <a:cxn ang="0">
                  <a:pos x="connsiteX12405" y="connsiteY12405"/>
                </a:cxn>
                <a:cxn ang="0">
                  <a:pos x="connsiteX12406" y="connsiteY12406"/>
                </a:cxn>
                <a:cxn ang="0">
                  <a:pos x="connsiteX12407" y="connsiteY12407"/>
                </a:cxn>
                <a:cxn ang="0">
                  <a:pos x="connsiteX12408" y="connsiteY12408"/>
                </a:cxn>
                <a:cxn ang="0">
                  <a:pos x="connsiteX12409" y="connsiteY12409"/>
                </a:cxn>
                <a:cxn ang="0">
                  <a:pos x="connsiteX12410" y="connsiteY12410"/>
                </a:cxn>
                <a:cxn ang="0">
                  <a:pos x="connsiteX12411" y="connsiteY12411"/>
                </a:cxn>
                <a:cxn ang="0">
                  <a:pos x="connsiteX12412" y="connsiteY12412"/>
                </a:cxn>
                <a:cxn ang="0">
                  <a:pos x="connsiteX12413" y="connsiteY12413"/>
                </a:cxn>
                <a:cxn ang="0">
                  <a:pos x="connsiteX12414" y="connsiteY12414"/>
                </a:cxn>
                <a:cxn ang="0">
                  <a:pos x="connsiteX12415" y="connsiteY12415"/>
                </a:cxn>
                <a:cxn ang="0">
                  <a:pos x="connsiteX12416" y="connsiteY12416"/>
                </a:cxn>
                <a:cxn ang="0">
                  <a:pos x="connsiteX12417" y="connsiteY12417"/>
                </a:cxn>
                <a:cxn ang="0">
                  <a:pos x="connsiteX12418" y="connsiteY12418"/>
                </a:cxn>
                <a:cxn ang="0">
                  <a:pos x="connsiteX12419" y="connsiteY12419"/>
                </a:cxn>
                <a:cxn ang="0">
                  <a:pos x="connsiteX12420" y="connsiteY12420"/>
                </a:cxn>
                <a:cxn ang="0">
                  <a:pos x="connsiteX12421" y="connsiteY12421"/>
                </a:cxn>
                <a:cxn ang="0">
                  <a:pos x="connsiteX12422" y="connsiteY12422"/>
                </a:cxn>
                <a:cxn ang="0">
                  <a:pos x="connsiteX12423" y="connsiteY12423"/>
                </a:cxn>
                <a:cxn ang="0">
                  <a:pos x="connsiteX12424" y="connsiteY12424"/>
                </a:cxn>
                <a:cxn ang="0">
                  <a:pos x="connsiteX12425" y="connsiteY12425"/>
                </a:cxn>
                <a:cxn ang="0">
                  <a:pos x="connsiteX12426" y="connsiteY12426"/>
                </a:cxn>
                <a:cxn ang="0">
                  <a:pos x="connsiteX12427" y="connsiteY12427"/>
                </a:cxn>
                <a:cxn ang="0">
                  <a:pos x="connsiteX12428" y="connsiteY12428"/>
                </a:cxn>
                <a:cxn ang="0">
                  <a:pos x="connsiteX12429" y="connsiteY12429"/>
                </a:cxn>
                <a:cxn ang="0">
                  <a:pos x="connsiteX12430" y="connsiteY12430"/>
                </a:cxn>
                <a:cxn ang="0">
                  <a:pos x="connsiteX12431" y="connsiteY12431"/>
                </a:cxn>
                <a:cxn ang="0">
                  <a:pos x="connsiteX12432" y="connsiteY12432"/>
                </a:cxn>
                <a:cxn ang="0">
                  <a:pos x="connsiteX12433" y="connsiteY12433"/>
                </a:cxn>
                <a:cxn ang="0">
                  <a:pos x="connsiteX12434" y="connsiteY12434"/>
                </a:cxn>
                <a:cxn ang="0">
                  <a:pos x="connsiteX12435" y="connsiteY12435"/>
                </a:cxn>
                <a:cxn ang="0">
                  <a:pos x="connsiteX12436" y="connsiteY12436"/>
                </a:cxn>
                <a:cxn ang="0">
                  <a:pos x="connsiteX12437" y="connsiteY12437"/>
                </a:cxn>
                <a:cxn ang="0">
                  <a:pos x="connsiteX12438" y="connsiteY12438"/>
                </a:cxn>
                <a:cxn ang="0">
                  <a:pos x="connsiteX12439" y="connsiteY12439"/>
                </a:cxn>
                <a:cxn ang="0">
                  <a:pos x="connsiteX12440" y="connsiteY12440"/>
                </a:cxn>
                <a:cxn ang="0">
                  <a:pos x="connsiteX12441" y="connsiteY12441"/>
                </a:cxn>
                <a:cxn ang="0">
                  <a:pos x="connsiteX12442" y="connsiteY12442"/>
                </a:cxn>
                <a:cxn ang="0">
                  <a:pos x="connsiteX12443" y="connsiteY12443"/>
                </a:cxn>
                <a:cxn ang="0">
                  <a:pos x="connsiteX12444" y="connsiteY12444"/>
                </a:cxn>
                <a:cxn ang="0">
                  <a:pos x="connsiteX12445" y="connsiteY12445"/>
                </a:cxn>
                <a:cxn ang="0">
                  <a:pos x="connsiteX12446" y="connsiteY12446"/>
                </a:cxn>
                <a:cxn ang="0">
                  <a:pos x="connsiteX12447" y="connsiteY12447"/>
                </a:cxn>
                <a:cxn ang="0">
                  <a:pos x="connsiteX12448" y="connsiteY12448"/>
                </a:cxn>
                <a:cxn ang="0">
                  <a:pos x="connsiteX12449" y="connsiteY12449"/>
                </a:cxn>
                <a:cxn ang="0">
                  <a:pos x="connsiteX12450" y="connsiteY12450"/>
                </a:cxn>
                <a:cxn ang="0">
                  <a:pos x="connsiteX12451" y="connsiteY12451"/>
                </a:cxn>
                <a:cxn ang="0">
                  <a:pos x="connsiteX12452" y="connsiteY12452"/>
                </a:cxn>
                <a:cxn ang="0">
                  <a:pos x="connsiteX12453" y="connsiteY12453"/>
                </a:cxn>
                <a:cxn ang="0">
                  <a:pos x="connsiteX12454" y="connsiteY12454"/>
                </a:cxn>
                <a:cxn ang="0">
                  <a:pos x="connsiteX12455" y="connsiteY12455"/>
                </a:cxn>
                <a:cxn ang="0">
                  <a:pos x="connsiteX12456" y="connsiteY12456"/>
                </a:cxn>
                <a:cxn ang="0">
                  <a:pos x="connsiteX12457" y="connsiteY12457"/>
                </a:cxn>
                <a:cxn ang="0">
                  <a:pos x="connsiteX12458" y="connsiteY12458"/>
                </a:cxn>
                <a:cxn ang="0">
                  <a:pos x="connsiteX12459" y="connsiteY12459"/>
                </a:cxn>
                <a:cxn ang="0">
                  <a:pos x="connsiteX12460" y="connsiteY12460"/>
                </a:cxn>
                <a:cxn ang="0">
                  <a:pos x="connsiteX12461" y="connsiteY12461"/>
                </a:cxn>
                <a:cxn ang="0">
                  <a:pos x="connsiteX12462" y="connsiteY12462"/>
                </a:cxn>
                <a:cxn ang="0">
                  <a:pos x="connsiteX12463" y="connsiteY12463"/>
                </a:cxn>
                <a:cxn ang="0">
                  <a:pos x="connsiteX12464" y="connsiteY12464"/>
                </a:cxn>
                <a:cxn ang="0">
                  <a:pos x="connsiteX12465" y="connsiteY12465"/>
                </a:cxn>
                <a:cxn ang="0">
                  <a:pos x="connsiteX12466" y="connsiteY12466"/>
                </a:cxn>
                <a:cxn ang="0">
                  <a:pos x="connsiteX12467" y="connsiteY12467"/>
                </a:cxn>
                <a:cxn ang="0">
                  <a:pos x="connsiteX12468" y="connsiteY12468"/>
                </a:cxn>
                <a:cxn ang="0">
                  <a:pos x="connsiteX12469" y="connsiteY12469"/>
                </a:cxn>
                <a:cxn ang="0">
                  <a:pos x="connsiteX12470" y="connsiteY12470"/>
                </a:cxn>
                <a:cxn ang="0">
                  <a:pos x="connsiteX12471" y="connsiteY12471"/>
                </a:cxn>
                <a:cxn ang="0">
                  <a:pos x="connsiteX12472" y="connsiteY12472"/>
                </a:cxn>
                <a:cxn ang="0">
                  <a:pos x="connsiteX12473" y="connsiteY12473"/>
                </a:cxn>
                <a:cxn ang="0">
                  <a:pos x="connsiteX12474" y="connsiteY12474"/>
                </a:cxn>
                <a:cxn ang="0">
                  <a:pos x="connsiteX12475" y="connsiteY12475"/>
                </a:cxn>
                <a:cxn ang="0">
                  <a:pos x="connsiteX12476" y="connsiteY12476"/>
                </a:cxn>
                <a:cxn ang="0">
                  <a:pos x="connsiteX12477" y="connsiteY12477"/>
                </a:cxn>
                <a:cxn ang="0">
                  <a:pos x="connsiteX12478" y="connsiteY12478"/>
                </a:cxn>
                <a:cxn ang="0">
                  <a:pos x="connsiteX12479" y="connsiteY12479"/>
                </a:cxn>
                <a:cxn ang="0">
                  <a:pos x="connsiteX12480" y="connsiteY12480"/>
                </a:cxn>
                <a:cxn ang="0">
                  <a:pos x="connsiteX12481" y="connsiteY12481"/>
                </a:cxn>
                <a:cxn ang="0">
                  <a:pos x="connsiteX12482" y="connsiteY12482"/>
                </a:cxn>
                <a:cxn ang="0">
                  <a:pos x="connsiteX12483" y="connsiteY12483"/>
                </a:cxn>
                <a:cxn ang="0">
                  <a:pos x="connsiteX12484" y="connsiteY12484"/>
                </a:cxn>
                <a:cxn ang="0">
                  <a:pos x="connsiteX12485" y="connsiteY12485"/>
                </a:cxn>
                <a:cxn ang="0">
                  <a:pos x="connsiteX12486" y="connsiteY12486"/>
                </a:cxn>
                <a:cxn ang="0">
                  <a:pos x="connsiteX12487" y="connsiteY12487"/>
                </a:cxn>
                <a:cxn ang="0">
                  <a:pos x="connsiteX12488" y="connsiteY12488"/>
                </a:cxn>
                <a:cxn ang="0">
                  <a:pos x="connsiteX12489" y="connsiteY12489"/>
                </a:cxn>
                <a:cxn ang="0">
                  <a:pos x="connsiteX12490" y="connsiteY12490"/>
                </a:cxn>
                <a:cxn ang="0">
                  <a:pos x="connsiteX12491" y="connsiteY12491"/>
                </a:cxn>
                <a:cxn ang="0">
                  <a:pos x="connsiteX12492" y="connsiteY12492"/>
                </a:cxn>
                <a:cxn ang="0">
                  <a:pos x="connsiteX12493" y="connsiteY12493"/>
                </a:cxn>
                <a:cxn ang="0">
                  <a:pos x="connsiteX12494" y="connsiteY12494"/>
                </a:cxn>
                <a:cxn ang="0">
                  <a:pos x="connsiteX12495" y="connsiteY12495"/>
                </a:cxn>
                <a:cxn ang="0">
                  <a:pos x="connsiteX12496" y="connsiteY12496"/>
                </a:cxn>
                <a:cxn ang="0">
                  <a:pos x="connsiteX12497" y="connsiteY12497"/>
                </a:cxn>
                <a:cxn ang="0">
                  <a:pos x="connsiteX12498" y="connsiteY12498"/>
                </a:cxn>
                <a:cxn ang="0">
                  <a:pos x="connsiteX12499" y="connsiteY12499"/>
                </a:cxn>
                <a:cxn ang="0">
                  <a:pos x="connsiteX12500" y="connsiteY12500"/>
                </a:cxn>
                <a:cxn ang="0">
                  <a:pos x="connsiteX12501" y="connsiteY12501"/>
                </a:cxn>
                <a:cxn ang="0">
                  <a:pos x="connsiteX12502" y="connsiteY12502"/>
                </a:cxn>
                <a:cxn ang="0">
                  <a:pos x="connsiteX12503" y="connsiteY12503"/>
                </a:cxn>
                <a:cxn ang="0">
                  <a:pos x="connsiteX12504" y="connsiteY12504"/>
                </a:cxn>
                <a:cxn ang="0">
                  <a:pos x="connsiteX12505" y="connsiteY12505"/>
                </a:cxn>
                <a:cxn ang="0">
                  <a:pos x="connsiteX12506" y="connsiteY12506"/>
                </a:cxn>
                <a:cxn ang="0">
                  <a:pos x="connsiteX12507" y="connsiteY12507"/>
                </a:cxn>
                <a:cxn ang="0">
                  <a:pos x="connsiteX12508" y="connsiteY12508"/>
                </a:cxn>
                <a:cxn ang="0">
                  <a:pos x="connsiteX12509" y="connsiteY12509"/>
                </a:cxn>
                <a:cxn ang="0">
                  <a:pos x="connsiteX12510" y="connsiteY12510"/>
                </a:cxn>
                <a:cxn ang="0">
                  <a:pos x="connsiteX12511" y="connsiteY12511"/>
                </a:cxn>
                <a:cxn ang="0">
                  <a:pos x="connsiteX12512" y="connsiteY12512"/>
                </a:cxn>
                <a:cxn ang="0">
                  <a:pos x="connsiteX12513" y="connsiteY12513"/>
                </a:cxn>
                <a:cxn ang="0">
                  <a:pos x="connsiteX12514" y="connsiteY12514"/>
                </a:cxn>
                <a:cxn ang="0">
                  <a:pos x="connsiteX12515" y="connsiteY12515"/>
                </a:cxn>
                <a:cxn ang="0">
                  <a:pos x="connsiteX12516" y="connsiteY12516"/>
                </a:cxn>
                <a:cxn ang="0">
                  <a:pos x="connsiteX12517" y="connsiteY12517"/>
                </a:cxn>
                <a:cxn ang="0">
                  <a:pos x="connsiteX12518" y="connsiteY12518"/>
                </a:cxn>
                <a:cxn ang="0">
                  <a:pos x="connsiteX12519" y="connsiteY12519"/>
                </a:cxn>
                <a:cxn ang="0">
                  <a:pos x="connsiteX12520" y="connsiteY12520"/>
                </a:cxn>
                <a:cxn ang="0">
                  <a:pos x="connsiteX12521" y="connsiteY12521"/>
                </a:cxn>
                <a:cxn ang="0">
                  <a:pos x="connsiteX12522" y="connsiteY12522"/>
                </a:cxn>
                <a:cxn ang="0">
                  <a:pos x="connsiteX12523" y="connsiteY12523"/>
                </a:cxn>
                <a:cxn ang="0">
                  <a:pos x="connsiteX12524" y="connsiteY12524"/>
                </a:cxn>
                <a:cxn ang="0">
                  <a:pos x="connsiteX12525" y="connsiteY12525"/>
                </a:cxn>
                <a:cxn ang="0">
                  <a:pos x="connsiteX12526" y="connsiteY12526"/>
                </a:cxn>
                <a:cxn ang="0">
                  <a:pos x="connsiteX12527" y="connsiteY12527"/>
                </a:cxn>
                <a:cxn ang="0">
                  <a:pos x="connsiteX12528" y="connsiteY12528"/>
                </a:cxn>
                <a:cxn ang="0">
                  <a:pos x="connsiteX12529" y="connsiteY12529"/>
                </a:cxn>
                <a:cxn ang="0">
                  <a:pos x="connsiteX12530" y="connsiteY12530"/>
                </a:cxn>
                <a:cxn ang="0">
                  <a:pos x="connsiteX12531" y="connsiteY12531"/>
                </a:cxn>
                <a:cxn ang="0">
                  <a:pos x="connsiteX12532" y="connsiteY12532"/>
                </a:cxn>
                <a:cxn ang="0">
                  <a:pos x="connsiteX12533" y="connsiteY12533"/>
                </a:cxn>
                <a:cxn ang="0">
                  <a:pos x="connsiteX12534" y="connsiteY12534"/>
                </a:cxn>
                <a:cxn ang="0">
                  <a:pos x="connsiteX12535" y="connsiteY12535"/>
                </a:cxn>
                <a:cxn ang="0">
                  <a:pos x="connsiteX12536" y="connsiteY12536"/>
                </a:cxn>
                <a:cxn ang="0">
                  <a:pos x="connsiteX12537" y="connsiteY12537"/>
                </a:cxn>
                <a:cxn ang="0">
                  <a:pos x="connsiteX12538" y="connsiteY12538"/>
                </a:cxn>
                <a:cxn ang="0">
                  <a:pos x="connsiteX12539" y="connsiteY12539"/>
                </a:cxn>
                <a:cxn ang="0">
                  <a:pos x="connsiteX12540" y="connsiteY12540"/>
                </a:cxn>
                <a:cxn ang="0">
                  <a:pos x="connsiteX12541" y="connsiteY12541"/>
                </a:cxn>
                <a:cxn ang="0">
                  <a:pos x="connsiteX12542" y="connsiteY12542"/>
                </a:cxn>
                <a:cxn ang="0">
                  <a:pos x="connsiteX12543" y="connsiteY12543"/>
                </a:cxn>
                <a:cxn ang="0">
                  <a:pos x="connsiteX12544" y="connsiteY12544"/>
                </a:cxn>
                <a:cxn ang="0">
                  <a:pos x="connsiteX12545" y="connsiteY12545"/>
                </a:cxn>
                <a:cxn ang="0">
                  <a:pos x="connsiteX12546" y="connsiteY12546"/>
                </a:cxn>
                <a:cxn ang="0">
                  <a:pos x="connsiteX12547" y="connsiteY12547"/>
                </a:cxn>
                <a:cxn ang="0">
                  <a:pos x="connsiteX12548" y="connsiteY12548"/>
                </a:cxn>
                <a:cxn ang="0">
                  <a:pos x="connsiteX12549" y="connsiteY12549"/>
                </a:cxn>
                <a:cxn ang="0">
                  <a:pos x="connsiteX12550" y="connsiteY12550"/>
                </a:cxn>
                <a:cxn ang="0">
                  <a:pos x="connsiteX12551" y="connsiteY12551"/>
                </a:cxn>
                <a:cxn ang="0">
                  <a:pos x="connsiteX12552" y="connsiteY12552"/>
                </a:cxn>
                <a:cxn ang="0">
                  <a:pos x="connsiteX12553" y="connsiteY12553"/>
                </a:cxn>
                <a:cxn ang="0">
                  <a:pos x="connsiteX12554" y="connsiteY12554"/>
                </a:cxn>
                <a:cxn ang="0">
                  <a:pos x="connsiteX12555" y="connsiteY12555"/>
                </a:cxn>
                <a:cxn ang="0">
                  <a:pos x="connsiteX12556" y="connsiteY12556"/>
                </a:cxn>
                <a:cxn ang="0">
                  <a:pos x="connsiteX12557" y="connsiteY12557"/>
                </a:cxn>
                <a:cxn ang="0">
                  <a:pos x="connsiteX12558" y="connsiteY12558"/>
                </a:cxn>
                <a:cxn ang="0">
                  <a:pos x="connsiteX12559" y="connsiteY12559"/>
                </a:cxn>
                <a:cxn ang="0">
                  <a:pos x="connsiteX12560" y="connsiteY12560"/>
                </a:cxn>
                <a:cxn ang="0">
                  <a:pos x="connsiteX12561" y="connsiteY12561"/>
                </a:cxn>
                <a:cxn ang="0">
                  <a:pos x="connsiteX12562" y="connsiteY12562"/>
                </a:cxn>
                <a:cxn ang="0">
                  <a:pos x="connsiteX12563" y="connsiteY12563"/>
                </a:cxn>
                <a:cxn ang="0">
                  <a:pos x="connsiteX12564" y="connsiteY12564"/>
                </a:cxn>
                <a:cxn ang="0">
                  <a:pos x="connsiteX12565" y="connsiteY12565"/>
                </a:cxn>
                <a:cxn ang="0">
                  <a:pos x="connsiteX12566" y="connsiteY12566"/>
                </a:cxn>
                <a:cxn ang="0">
                  <a:pos x="connsiteX12567" y="connsiteY12567"/>
                </a:cxn>
                <a:cxn ang="0">
                  <a:pos x="connsiteX12568" y="connsiteY12568"/>
                </a:cxn>
                <a:cxn ang="0">
                  <a:pos x="connsiteX12569" y="connsiteY12569"/>
                </a:cxn>
                <a:cxn ang="0">
                  <a:pos x="connsiteX12570" y="connsiteY12570"/>
                </a:cxn>
                <a:cxn ang="0">
                  <a:pos x="connsiteX12571" y="connsiteY12571"/>
                </a:cxn>
                <a:cxn ang="0">
                  <a:pos x="connsiteX12572" y="connsiteY12572"/>
                </a:cxn>
                <a:cxn ang="0">
                  <a:pos x="connsiteX12573" y="connsiteY12573"/>
                </a:cxn>
                <a:cxn ang="0">
                  <a:pos x="connsiteX12574" y="connsiteY12574"/>
                </a:cxn>
                <a:cxn ang="0">
                  <a:pos x="connsiteX12575" y="connsiteY12575"/>
                </a:cxn>
                <a:cxn ang="0">
                  <a:pos x="connsiteX12576" y="connsiteY12576"/>
                </a:cxn>
                <a:cxn ang="0">
                  <a:pos x="connsiteX12577" y="connsiteY12577"/>
                </a:cxn>
                <a:cxn ang="0">
                  <a:pos x="connsiteX12578" y="connsiteY12578"/>
                </a:cxn>
                <a:cxn ang="0">
                  <a:pos x="connsiteX12579" y="connsiteY12579"/>
                </a:cxn>
                <a:cxn ang="0">
                  <a:pos x="connsiteX12580" y="connsiteY12580"/>
                </a:cxn>
                <a:cxn ang="0">
                  <a:pos x="connsiteX12581" y="connsiteY12581"/>
                </a:cxn>
                <a:cxn ang="0">
                  <a:pos x="connsiteX12582" y="connsiteY12582"/>
                </a:cxn>
                <a:cxn ang="0">
                  <a:pos x="connsiteX12583" y="connsiteY12583"/>
                </a:cxn>
                <a:cxn ang="0">
                  <a:pos x="connsiteX12584" y="connsiteY12584"/>
                </a:cxn>
                <a:cxn ang="0">
                  <a:pos x="connsiteX12585" y="connsiteY12585"/>
                </a:cxn>
                <a:cxn ang="0">
                  <a:pos x="connsiteX12586" y="connsiteY12586"/>
                </a:cxn>
                <a:cxn ang="0">
                  <a:pos x="connsiteX12587" y="connsiteY12587"/>
                </a:cxn>
                <a:cxn ang="0">
                  <a:pos x="connsiteX12588" y="connsiteY12588"/>
                </a:cxn>
                <a:cxn ang="0">
                  <a:pos x="connsiteX12589" y="connsiteY12589"/>
                </a:cxn>
                <a:cxn ang="0">
                  <a:pos x="connsiteX12590" y="connsiteY12590"/>
                </a:cxn>
                <a:cxn ang="0">
                  <a:pos x="connsiteX12591" y="connsiteY12591"/>
                </a:cxn>
                <a:cxn ang="0">
                  <a:pos x="connsiteX12592" y="connsiteY12592"/>
                </a:cxn>
                <a:cxn ang="0">
                  <a:pos x="connsiteX12593" y="connsiteY12593"/>
                </a:cxn>
                <a:cxn ang="0">
                  <a:pos x="connsiteX12594" y="connsiteY12594"/>
                </a:cxn>
                <a:cxn ang="0">
                  <a:pos x="connsiteX12595" y="connsiteY12595"/>
                </a:cxn>
                <a:cxn ang="0">
                  <a:pos x="connsiteX12596" y="connsiteY12596"/>
                </a:cxn>
                <a:cxn ang="0">
                  <a:pos x="connsiteX12597" y="connsiteY12597"/>
                </a:cxn>
                <a:cxn ang="0">
                  <a:pos x="connsiteX12598" y="connsiteY12598"/>
                </a:cxn>
                <a:cxn ang="0">
                  <a:pos x="connsiteX12599" y="connsiteY12599"/>
                </a:cxn>
                <a:cxn ang="0">
                  <a:pos x="connsiteX12600" y="connsiteY12600"/>
                </a:cxn>
                <a:cxn ang="0">
                  <a:pos x="connsiteX12601" y="connsiteY12601"/>
                </a:cxn>
                <a:cxn ang="0">
                  <a:pos x="connsiteX12602" y="connsiteY12602"/>
                </a:cxn>
                <a:cxn ang="0">
                  <a:pos x="connsiteX12603" y="connsiteY12603"/>
                </a:cxn>
                <a:cxn ang="0">
                  <a:pos x="connsiteX12604" y="connsiteY12604"/>
                </a:cxn>
                <a:cxn ang="0">
                  <a:pos x="connsiteX12605" y="connsiteY12605"/>
                </a:cxn>
                <a:cxn ang="0">
                  <a:pos x="connsiteX12606" y="connsiteY12606"/>
                </a:cxn>
                <a:cxn ang="0">
                  <a:pos x="connsiteX12607" y="connsiteY12607"/>
                </a:cxn>
                <a:cxn ang="0">
                  <a:pos x="connsiteX12608" y="connsiteY12608"/>
                </a:cxn>
                <a:cxn ang="0">
                  <a:pos x="connsiteX12609" y="connsiteY12609"/>
                </a:cxn>
                <a:cxn ang="0">
                  <a:pos x="connsiteX12610" y="connsiteY12610"/>
                </a:cxn>
                <a:cxn ang="0">
                  <a:pos x="connsiteX12611" y="connsiteY12611"/>
                </a:cxn>
                <a:cxn ang="0">
                  <a:pos x="connsiteX12612" y="connsiteY12612"/>
                </a:cxn>
                <a:cxn ang="0">
                  <a:pos x="connsiteX12613" y="connsiteY12613"/>
                </a:cxn>
                <a:cxn ang="0">
                  <a:pos x="connsiteX12614" y="connsiteY12614"/>
                </a:cxn>
                <a:cxn ang="0">
                  <a:pos x="connsiteX12615" y="connsiteY12615"/>
                </a:cxn>
                <a:cxn ang="0">
                  <a:pos x="connsiteX12616" y="connsiteY12616"/>
                </a:cxn>
                <a:cxn ang="0">
                  <a:pos x="connsiteX12617" y="connsiteY12617"/>
                </a:cxn>
                <a:cxn ang="0">
                  <a:pos x="connsiteX12618" y="connsiteY12618"/>
                </a:cxn>
                <a:cxn ang="0">
                  <a:pos x="connsiteX12619" y="connsiteY12619"/>
                </a:cxn>
                <a:cxn ang="0">
                  <a:pos x="connsiteX12620" y="connsiteY12620"/>
                </a:cxn>
                <a:cxn ang="0">
                  <a:pos x="connsiteX12621" y="connsiteY12621"/>
                </a:cxn>
                <a:cxn ang="0">
                  <a:pos x="connsiteX12622" y="connsiteY12622"/>
                </a:cxn>
                <a:cxn ang="0">
                  <a:pos x="connsiteX12623" y="connsiteY12623"/>
                </a:cxn>
                <a:cxn ang="0">
                  <a:pos x="connsiteX12624" y="connsiteY12624"/>
                </a:cxn>
                <a:cxn ang="0">
                  <a:pos x="connsiteX12625" y="connsiteY12625"/>
                </a:cxn>
                <a:cxn ang="0">
                  <a:pos x="connsiteX12626" y="connsiteY12626"/>
                </a:cxn>
                <a:cxn ang="0">
                  <a:pos x="connsiteX12627" y="connsiteY12627"/>
                </a:cxn>
                <a:cxn ang="0">
                  <a:pos x="connsiteX12628" y="connsiteY12628"/>
                </a:cxn>
                <a:cxn ang="0">
                  <a:pos x="connsiteX12629" y="connsiteY12629"/>
                </a:cxn>
                <a:cxn ang="0">
                  <a:pos x="connsiteX12630" y="connsiteY12630"/>
                </a:cxn>
                <a:cxn ang="0">
                  <a:pos x="connsiteX12631" y="connsiteY12631"/>
                </a:cxn>
                <a:cxn ang="0">
                  <a:pos x="connsiteX12632" y="connsiteY12632"/>
                </a:cxn>
                <a:cxn ang="0">
                  <a:pos x="connsiteX12633" y="connsiteY12633"/>
                </a:cxn>
                <a:cxn ang="0">
                  <a:pos x="connsiteX12634" y="connsiteY12634"/>
                </a:cxn>
                <a:cxn ang="0">
                  <a:pos x="connsiteX12635" y="connsiteY12635"/>
                </a:cxn>
                <a:cxn ang="0">
                  <a:pos x="connsiteX12636" y="connsiteY12636"/>
                </a:cxn>
                <a:cxn ang="0">
                  <a:pos x="connsiteX12637" y="connsiteY12637"/>
                </a:cxn>
                <a:cxn ang="0">
                  <a:pos x="connsiteX12638" y="connsiteY12638"/>
                </a:cxn>
                <a:cxn ang="0">
                  <a:pos x="connsiteX12639" y="connsiteY12639"/>
                </a:cxn>
                <a:cxn ang="0">
                  <a:pos x="connsiteX12640" y="connsiteY12640"/>
                </a:cxn>
                <a:cxn ang="0">
                  <a:pos x="connsiteX12641" y="connsiteY12641"/>
                </a:cxn>
                <a:cxn ang="0">
                  <a:pos x="connsiteX12642" y="connsiteY12642"/>
                </a:cxn>
                <a:cxn ang="0">
                  <a:pos x="connsiteX12643" y="connsiteY12643"/>
                </a:cxn>
                <a:cxn ang="0">
                  <a:pos x="connsiteX12644" y="connsiteY12644"/>
                </a:cxn>
                <a:cxn ang="0">
                  <a:pos x="connsiteX12645" y="connsiteY12645"/>
                </a:cxn>
                <a:cxn ang="0">
                  <a:pos x="connsiteX12646" y="connsiteY12646"/>
                </a:cxn>
                <a:cxn ang="0">
                  <a:pos x="connsiteX12647" y="connsiteY12647"/>
                </a:cxn>
                <a:cxn ang="0">
                  <a:pos x="connsiteX12648" y="connsiteY12648"/>
                </a:cxn>
                <a:cxn ang="0">
                  <a:pos x="connsiteX12649" y="connsiteY12649"/>
                </a:cxn>
                <a:cxn ang="0">
                  <a:pos x="connsiteX12650" y="connsiteY12650"/>
                </a:cxn>
                <a:cxn ang="0">
                  <a:pos x="connsiteX12651" y="connsiteY12651"/>
                </a:cxn>
                <a:cxn ang="0">
                  <a:pos x="connsiteX12652" y="connsiteY12652"/>
                </a:cxn>
                <a:cxn ang="0">
                  <a:pos x="connsiteX12653" y="connsiteY12653"/>
                </a:cxn>
                <a:cxn ang="0">
                  <a:pos x="connsiteX12654" y="connsiteY12654"/>
                </a:cxn>
                <a:cxn ang="0">
                  <a:pos x="connsiteX12655" y="connsiteY12655"/>
                </a:cxn>
                <a:cxn ang="0">
                  <a:pos x="connsiteX12656" y="connsiteY12656"/>
                </a:cxn>
                <a:cxn ang="0">
                  <a:pos x="connsiteX12657" y="connsiteY12657"/>
                </a:cxn>
                <a:cxn ang="0">
                  <a:pos x="connsiteX12658" y="connsiteY12658"/>
                </a:cxn>
                <a:cxn ang="0">
                  <a:pos x="connsiteX12659" y="connsiteY12659"/>
                </a:cxn>
                <a:cxn ang="0">
                  <a:pos x="connsiteX12660" y="connsiteY12660"/>
                </a:cxn>
                <a:cxn ang="0">
                  <a:pos x="connsiteX12661" y="connsiteY12661"/>
                </a:cxn>
                <a:cxn ang="0">
                  <a:pos x="connsiteX12662" y="connsiteY12662"/>
                </a:cxn>
                <a:cxn ang="0">
                  <a:pos x="connsiteX12663" y="connsiteY12663"/>
                </a:cxn>
                <a:cxn ang="0">
                  <a:pos x="connsiteX12664" y="connsiteY12664"/>
                </a:cxn>
                <a:cxn ang="0">
                  <a:pos x="connsiteX12665" y="connsiteY12665"/>
                </a:cxn>
                <a:cxn ang="0">
                  <a:pos x="connsiteX12666" y="connsiteY12666"/>
                </a:cxn>
                <a:cxn ang="0">
                  <a:pos x="connsiteX12667" y="connsiteY12667"/>
                </a:cxn>
                <a:cxn ang="0">
                  <a:pos x="connsiteX12668" y="connsiteY12668"/>
                </a:cxn>
                <a:cxn ang="0">
                  <a:pos x="connsiteX12669" y="connsiteY12669"/>
                </a:cxn>
                <a:cxn ang="0">
                  <a:pos x="connsiteX12670" y="connsiteY12670"/>
                </a:cxn>
                <a:cxn ang="0">
                  <a:pos x="connsiteX12671" y="connsiteY12671"/>
                </a:cxn>
                <a:cxn ang="0">
                  <a:pos x="connsiteX12672" y="connsiteY12672"/>
                </a:cxn>
                <a:cxn ang="0">
                  <a:pos x="connsiteX12673" y="connsiteY12673"/>
                </a:cxn>
                <a:cxn ang="0">
                  <a:pos x="connsiteX12674" y="connsiteY12674"/>
                </a:cxn>
                <a:cxn ang="0">
                  <a:pos x="connsiteX12675" y="connsiteY12675"/>
                </a:cxn>
                <a:cxn ang="0">
                  <a:pos x="connsiteX12676" y="connsiteY12676"/>
                </a:cxn>
                <a:cxn ang="0">
                  <a:pos x="connsiteX12677" y="connsiteY12677"/>
                </a:cxn>
                <a:cxn ang="0">
                  <a:pos x="connsiteX12678" y="connsiteY12678"/>
                </a:cxn>
                <a:cxn ang="0">
                  <a:pos x="connsiteX12679" y="connsiteY12679"/>
                </a:cxn>
                <a:cxn ang="0">
                  <a:pos x="connsiteX12680" y="connsiteY12680"/>
                </a:cxn>
                <a:cxn ang="0">
                  <a:pos x="connsiteX12681" y="connsiteY12681"/>
                </a:cxn>
                <a:cxn ang="0">
                  <a:pos x="connsiteX12682" y="connsiteY12682"/>
                </a:cxn>
                <a:cxn ang="0">
                  <a:pos x="connsiteX12683" y="connsiteY12683"/>
                </a:cxn>
                <a:cxn ang="0">
                  <a:pos x="connsiteX12684" y="connsiteY12684"/>
                </a:cxn>
                <a:cxn ang="0">
                  <a:pos x="connsiteX12685" y="connsiteY12685"/>
                </a:cxn>
                <a:cxn ang="0">
                  <a:pos x="connsiteX12686" y="connsiteY12686"/>
                </a:cxn>
                <a:cxn ang="0">
                  <a:pos x="connsiteX12687" y="connsiteY12687"/>
                </a:cxn>
                <a:cxn ang="0">
                  <a:pos x="connsiteX12688" y="connsiteY12688"/>
                </a:cxn>
                <a:cxn ang="0">
                  <a:pos x="connsiteX12689" y="connsiteY12689"/>
                </a:cxn>
                <a:cxn ang="0">
                  <a:pos x="connsiteX12690" y="connsiteY12690"/>
                </a:cxn>
                <a:cxn ang="0">
                  <a:pos x="connsiteX12691" y="connsiteY12691"/>
                </a:cxn>
                <a:cxn ang="0">
                  <a:pos x="connsiteX12692" y="connsiteY12692"/>
                </a:cxn>
                <a:cxn ang="0">
                  <a:pos x="connsiteX12693" y="connsiteY12693"/>
                </a:cxn>
                <a:cxn ang="0">
                  <a:pos x="connsiteX12694" y="connsiteY12694"/>
                </a:cxn>
                <a:cxn ang="0">
                  <a:pos x="connsiteX12695" y="connsiteY12695"/>
                </a:cxn>
                <a:cxn ang="0">
                  <a:pos x="connsiteX12696" y="connsiteY12696"/>
                </a:cxn>
                <a:cxn ang="0">
                  <a:pos x="connsiteX12697" y="connsiteY12697"/>
                </a:cxn>
                <a:cxn ang="0">
                  <a:pos x="connsiteX12698" y="connsiteY12698"/>
                </a:cxn>
                <a:cxn ang="0">
                  <a:pos x="connsiteX12699" y="connsiteY12699"/>
                </a:cxn>
                <a:cxn ang="0">
                  <a:pos x="connsiteX12700" y="connsiteY12700"/>
                </a:cxn>
                <a:cxn ang="0">
                  <a:pos x="connsiteX12701" y="connsiteY12701"/>
                </a:cxn>
                <a:cxn ang="0">
                  <a:pos x="connsiteX12702" y="connsiteY12702"/>
                </a:cxn>
                <a:cxn ang="0">
                  <a:pos x="connsiteX12703" y="connsiteY12703"/>
                </a:cxn>
                <a:cxn ang="0">
                  <a:pos x="connsiteX12704" y="connsiteY12704"/>
                </a:cxn>
                <a:cxn ang="0">
                  <a:pos x="connsiteX12705" y="connsiteY12705"/>
                </a:cxn>
                <a:cxn ang="0">
                  <a:pos x="connsiteX12706" y="connsiteY12706"/>
                </a:cxn>
                <a:cxn ang="0">
                  <a:pos x="connsiteX12707" y="connsiteY12707"/>
                </a:cxn>
                <a:cxn ang="0">
                  <a:pos x="connsiteX12708" y="connsiteY12708"/>
                </a:cxn>
                <a:cxn ang="0">
                  <a:pos x="connsiteX12709" y="connsiteY12709"/>
                </a:cxn>
                <a:cxn ang="0">
                  <a:pos x="connsiteX12710" y="connsiteY12710"/>
                </a:cxn>
                <a:cxn ang="0">
                  <a:pos x="connsiteX12711" y="connsiteY12711"/>
                </a:cxn>
                <a:cxn ang="0">
                  <a:pos x="connsiteX12712" y="connsiteY12712"/>
                </a:cxn>
                <a:cxn ang="0">
                  <a:pos x="connsiteX12713" y="connsiteY12713"/>
                </a:cxn>
                <a:cxn ang="0">
                  <a:pos x="connsiteX12714" y="connsiteY12714"/>
                </a:cxn>
                <a:cxn ang="0">
                  <a:pos x="connsiteX12715" y="connsiteY12715"/>
                </a:cxn>
                <a:cxn ang="0">
                  <a:pos x="connsiteX12716" y="connsiteY12716"/>
                </a:cxn>
                <a:cxn ang="0">
                  <a:pos x="connsiteX12717" y="connsiteY12717"/>
                </a:cxn>
                <a:cxn ang="0">
                  <a:pos x="connsiteX12718" y="connsiteY12718"/>
                </a:cxn>
                <a:cxn ang="0">
                  <a:pos x="connsiteX12719" y="connsiteY12719"/>
                </a:cxn>
                <a:cxn ang="0">
                  <a:pos x="connsiteX12720" y="connsiteY12720"/>
                </a:cxn>
                <a:cxn ang="0">
                  <a:pos x="connsiteX12721" y="connsiteY12721"/>
                </a:cxn>
                <a:cxn ang="0">
                  <a:pos x="connsiteX12722" y="connsiteY12722"/>
                </a:cxn>
                <a:cxn ang="0">
                  <a:pos x="connsiteX12723" y="connsiteY12723"/>
                </a:cxn>
                <a:cxn ang="0">
                  <a:pos x="connsiteX12724" y="connsiteY12724"/>
                </a:cxn>
                <a:cxn ang="0">
                  <a:pos x="connsiteX12725" y="connsiteY12725"/>
                </a:cxn>
                <a:cxn ang="0">
                  <a:pos x="connsiteX12726" y="connsiteY12726"/>
                </a:cxn>
                <a:cxn ang="0">
                  <a:pos x="connsiteX12727" y="connsiteY12727"/>
                </a:cxn>
                <a:cxn ang="0">
                  <a:pos x="connsiteX12728" y="connsiteY12728"/>
                </a:cxn>
                <a:cxn ang="0">
                  <a:pos x="connsiteX12729" y="connsiteY12729"/>
                </a:cxn>
                <a:cxn ang="0">
                  <a:pos x="connsiteX12730" y="connsiteY12730"/>
                </a:cxn>
                <a:cxn ang="0">
                  <a:pos x="connsiteX12731" y="connsiteY12731"/>
                </a:cxn>
                <a:cxn ang="0">
                  <a:pos x="connsiteX12732" y="connsiteY12732"/>
                </a:cxn>
                <a:cxn ang="0">
                  <a:pos x="connsiteX12733" y="connsiteY12733"/>
                </a:cxn>
                <a:cxn ang="0">
                  <a:pos x="connsiteX12734" y="connsiteY12734"/>
                </a:cxn>
                <a:cxn ang="0">
                  <a:pos x="connsiteX12735" y="connsiteY12735"/>
                </a:cxn>
                <a:cxn ang="0">
                  <a:pos x="connsiteX12736" y="connsiteY12736"/>
                </a:cxn>
                <a:cxn ang="0">
                  <a:pos x="connsiteX12737" y="connsiteY12737"/>
                </a:cxn>
                <a:cxn ang="0">
                  <a:pos x="connsiteX12738" y="connsiteY12738"/>
                </a:cxn>
                <a:cxn ang="0">
                  <a:pos x="connsiteX12739" y="connsiteY12739"/>
                </a:cxn>
                <a:cxn ang="0">
                  <a:pos x="connsiteX12740" y="connsiteY12740"/>
                </a:cxn>
                <a:cxn ang="0">
                  <a:pos x="connsiteX12741" y="connsiteY12741"/>
                </a:cxn>
                <a:cxn ang="0">
                  <a:pos x="connsiteX12742" y="connsiteY12742"/>
                </a:cxn>
                <a:cxn ang="0">
                  <a:pos x="connsiteX12743" y="connsiteY12743"/>
                </a:cxn>
                <a:cxn ang="0">
                  <a:pos x="connsiteX12744" y="connsiteY12744"/>
                </a:cxn>
                <a:cxn ang="0">
                  <a:pos x="connsiteX12745" y="connsiteY12745"/>
                </a:cxn>
                <a:cxn ang="0">
                  <a:pos x="connsiteX12746" y="connsiteY12746"/>
                </a:cxn>
                <a:cxn ang="0">
                  <a:pos x="connsiteX12747" y="connsiteY12747"/>
                </a:cxn>
                <a:cxn ang="0">
                  <a:pos x="connsiteX12748" y="connsiteY12748"/>
                </a:cxn>
                <a:cxn ang="0">
                  <a:pos x="connsiteX12749" y="connsiteY12749"/>
                </a:cxn>
                <a:cxn ang="0">
                  <a:pos x="connsiteX12750" y="connsiteY12750"/>
                </a:cxn>
                <a:cxn ang="0">
                  <a:pos x="connsiteX12751" y="connsiteY12751"/>
                </a:cxn>
                <a:cxn ang="0">
                  <a:pos x="connsiteX12752" y="connsiteY12752"/>
                </a:cxn>
                <a:cxn ang="0">
                  <a:pos x="connsiteX12753" y="connsiteY12753"/>
                </a:cxn>
                <a:cxn ang="0">
                  <a:pos x="connsiteX12754" y="connsiteY12754"/>
                </a:cxn>
                <a:cxn ang="0">
                  <a:pos x="connsiteX12755" y="connsiteY12755"/>
                </a:cxn>
                <a:cxn ang="0">
                  <a:pos x="connsiteX12756" y="connsiteY12756"/>
                </a:cxn>
                <a:cxn ang="0">
                  <a:pos x="connsiteX12757" y="connsiteY12757"/>
                </a:cxn>
                <a:cxn ang="0">
                  <a:pos x="connsiteX12758" y="connsiteY12758"/>
                </a:cxn>
                <a:cxn ang="0">
                  <a:pos x="connsiteX12759" y="connsiteY12759"/>
                </a:cxn>
                <a:cxn ang="0">
                  <a:pos x="connsiteX12760" y="connsiteY12760"/>
                </a:cxn>
                <a:cxn ang="0">
                  <a:pos x="connsiteX12761" y="connsiteY12761"/>
                </a:cxn>
                <a:cxn ang="0">
                  <a:pos x="connsiteX12762" y="connsiteY12762"/>
                </a:cxn>
                <a:cxn ang="0">
                  <a:pos x="connsiteX12763" y="connsiteY12763"/>
                </a:cxn>
                <a:cxn ang="0">
                  <a:pos x="connsiteX12764" y="connsiteY12764"/>
                </a:cxn>
                <a:cxn ang="0">
                  <a:pos x="connsiteX12765" y="connsiteY12765"/>
                </a:cxn>
                <a:cxn ang="0">
                  <a:pos x="connsiteX12766" y="connsiteY12766"/>
                </a:cxn>
                <a:cxn ang="0">
                  <a:pos x="connsiteX12767" y="connsiteY12767"/>
                </a:cxn>
                <a:cxn ang="0">
                  <a:pos x="connsiteX12768" y="connsiteY12768"/>
                </a:cxn>
                <a:cxn ang="0">
                  <a:pos x="connsiteX12769" y="connsiteY12769"/>
                </a:cxn>
                <a:cxn ang="0">
                  <a:pos x="connsiteX12770" y="connsiteY12770"/>
                </a:cxn>
                <a:cxn ang="0">
                  <a:pos x="connsiteX12771" y="connsiteY12771"/>
                </a:cxn>
                <a:cxn ang="0">
                  <a:pos x="connsiteX12772" y="connsiteY12772"/>
                </a:cxn>
                <a:cxn ang="0">
                  <a:pos x="connsiteX12773" y="connsiteY12773"/>
                </a:cxn>
                <a:cxn ang="0">
                  <a:pos x="connsiteX12774" y="connsiteY12774"/>
                </a:cxn>
                <a:cxn ang="0">
                  <a:pos x="connsiteX12775" y="connsiteY12775"/>
                </a:cxn>
                <a:cxn ang="0">
                  <a:pos x="connsiteX12776" y="connsiteY12776"/>
                </a:cxn>
                <a:cxn ang="0">
                  <a:pos x="connsiteX12777" y="connsiteY12777"/>
                </a:cxn>
                <a:cxn ang="0">
                  <a:pos x="connsiteX12778" y="connsiteY12778"/>
                </a:cxn>
                <a:cxn ang="0">
                  <a:pos x="connsiteX12779" y="connsiteY12779"/>
                </a:cxn>
                <a:cxn ang="0">
                  <a:pos x="connsiteX12780" y="connsiteY12780"/>
                </a:cxn>
                <a:cxn ang="0">
                  <a:pos x="connsiteX12781" y="connsiteY12781"/>
                </a:cxn>
                <a:cxn ang="0">
                  <a:pos x="connsiteX12782" y="connsiteY12782"/>
                </a:cxn>
                <a:cxn ang="0">
                  <a:pos x="connsiteX12783" y="connsiteY12783"/>
                </a:cxn>
                <a:cxn ang="0">
                  <a:pos x="connsiteX12784" y="connsiteY12784"/>
                </a:cxn>
                <a:cxn ang="0">
                  <a:pos x="connsiteX12785" y="connsiteY12785"/>
                </a:cxn>
                <a:cxn ang="0">
                  <a:pos x="connsiteX12786" y="connsiteY12786"/>
                </a:cxn>
                <a:cxn ang="0">
                  <a:pos x="connsiteX12787" y="connsiteY12787"/>
                </a:cxn>
                <a:cxn ang="0">
                  <a:pos x="connsiteX12788" y="connsiteY12788"/>
                </a:cxn>
                <a:cxn ang="0">
                  <a:pos x="connsiteX12789" y="connsiteY12789"/>
                </a:cxn>
                <a:cxn ang="0">
                  <a:pos x="connsiteX12790" y="connsiteY12790"/>
                </a:cxn>
                <a:cxn ang="0">
                  <a:pos x="connsiteX12791" y="connsiteY12791"/>
                </a:cxn>
                <a:cxn ang="0">
                  <a:pos x="connsiteX12792" y="connsiteY12792"/>
                </a:cxn>
                <a:cxn ang="0">
                  <a:pos x="connsiteX12793" y="connsiteY12793"/>
                </a:cxn>
                <a:cxn ang="0">
                  <a:pos x="connsiteX12794" y="connsiteY12794"/>
                </a:cxn>
                <a:cxn ang="0">
                  <a:pos x="connsiteX12795" y="connsiteY12795"/>
                </a:cxn>
                <a:cxn ang="0">
                  <a:pos x="connsiteX12796" y="connsiteY12796"/>
                </a:cxn>
                <a:cxn ang="0">
                  <a:pos x="connsiteX12797" y="connsiteY12797"/>
                </a:cxn>
                <a:cxn ang="0">
                  <a:pos x="connsiteX12798" y="connsiteY12798"/>
                </a:cxn>
                <a:cxn ang="0">
                  <a:pos x="connsiteX12799" y="connsiteY12799"/>
                </a:cxn>
                <a:cxn ang="0">
                  <a:pos x="connsiteX12800" y="connsiteY12800"/>
                </a:cxn>
                <a:cxn ang="0">
                  <a:pos x="connsiteX12801" y="connsiteY12801"/>
                </a:cxn>
                <a:cxn ang="0">
                  <a:pos x="connsiteX12802" y="connsiteY12802"/>
                </a:cxn>
                <a:cxn ang="0">
                  <a:pos x="connsiteX12803" y="connsiteY12803"/>
                </a:cxn>
                <a:cxn ang="0">
                  <a:pos x="connsiteX12804" y="connsiteY12804"/>
                </a:cxn>
                <a:cxn ang="0">
                  <a:pos x="connsiteX12805" y="connsiteY12805"/>
                </a:cxn>
                <a:cxn ang="0">
                  <a:pos x="connsiteX12806" y="connsiteY12806"/>
                </a:cxn>
                <a:cxn ang="0">
                  <a:pos x="connsiteX12807" y="connsiteY12807"/>
                </a:cxn>
                <a:cxn ang="0">
                  <a:pos x="connsiteX12808" y="connsiteY12808"/>
                </a:cxn>
                <a:cxn ang="0">
                  <a:pos x="connsiteX12809" y="connsiteY12809"/>
                </a:cxn>
                <a:cxn ang="0">
                  <a:pos x="connsiteX12810" y="connsiteY12810"/>
                </a:cxn>
                <a:cxn ang="0">
                  <a:pos x="connsiteX12811" y="connsiteY12811"/>
                </a:cxn>
                <a:cxn ang="0">
                  <a:pos x="connsiteX12812" y="connsiteY12812"/>
                </a:cxn>
                <a:cxn ang="0">
                  <a:pos x="connsiteX12813" y="connsiteY12813"/>
                </a:cxn>
                <a:cxn ang="0">
                  <a:pos x="connsiteX12814" y="connsiteY12814"/>
                </a:cxn>
                <a:cxn ang="0">
                  <a:pos x="connsiteX12815" y="connsiteY12815"/>
                </a:cxn>
                <a:cxn ang="0">
                  <a:pos x="connsiteX12816" y="connsiteY12816"/>
                </a:cxn>
                <a:cxn ang="0">
                  <a:pos x="connsiteX12817" y="connsiteY12817"/>
                </a:cxn>
                <a:cxn ang="0">
                  <a:pos x="connsiteX12818" y="connsiteY12818"/>
                </a:cxn>
                <a:cxn ang="0">
                  <a:pos x="connsiteX12819" y="connsiteY12819"/>
                </a:cxn>
                <a:cxn ang="0">
                  <a:pos x="connsiteX12820" y="connsiteY12820"/>
                </a:cxn>
                <a:cxn ang="0">
                  <a:pos x="connsiteX12821" y="connsiteY12821"/>
                </a:cxn>
                <a:cxn ang="0">
                  <a:pos x="connsiteX12822" y="connsiteY12822"/>
                </a:cxn>
                <a:cxn ang="0">
                  <a:pos x="connsiteX12823" y="connsiteY12823"/>
                </a:cxn>
                <a:cxn ang="0">
                  <a:pos x="connsiteX12824" y="connsiteY12824"/>
                </a:cxn>
                <a:cxn ang="0">
                  <a:pos x="connsiteX12825" y="connsiteY12825"/>
                </a:cxn>
                <a:cxn ang="0">
                  <a:pos x="connsiteX12826" y="connsiteY12826"/>
                </a:cxn>
                <a:cxn ang="0">
                  <a:pos x="connsiteX12827" y="connsiteY12827"/>
                </a:cxn>
                <a:cxn ang="0">
                  <a:pos x="connsiteX12828" y="connsiteY12828"/>
                </a:cxn>
                <a:cxn ang="0">
                  <a:pos x="connsiteX12829" y="connsiteY12829"/>
                </a:cxn>
                <a:cxn ang="0">
                  <a:pos x="connsiteX12830" y="connsiteY12830"/>
                </a:cxn>
                <a:cxn ang="0">
                  <a:pos x="connsiteX12831" y="connsiteY12831"/>
                </a:cxn>
                <a:cxn ang="0">
                  <a:pos x="connsiteX12832" y="connsiteY12832"/>
                </a:cxn>
                <a:cxn ang="0">
                  <a:pos x="connsiteX12833" y="connsiteY12833"/>
                </a:cxn>
                <a:cxn ang="0">
                  <a:pos x="connsiteX12834" y="connsiteY12834"/>
                </a:cxn>
                <a:cxn ang="0">
                  <a:pos x="connsiteX12835" y="connsiteY12835"/>
                </a:cxn>
                <a:cxn ang="0">
                  <a:pos x="connsiteX12836" y="connsiteY12836"/>
                </a:cxn>
                <a:cxn ang="0">
                  <a:pos x="connsiteX12837" y="connsiteY12837"/>
                </a:cxn>
                <a:cxn ang="0">
                  <a:pos x="connsiteX12838" y="connsiteY12838"/>
                </a:cxn>
                <a:cxn ang="0">
                  <a:pos x="connsiteX12839" y="connsiteY12839"/>
                </a:cxn>
                <a:cxn ang="0">
                  <a:pos x="connsiteX12840" y="connsiteY12840"/>
                </a:cxn>
                <a:cxn ang="0">
                  <a:pos x="connsiteX12841" y="connsiteY12841"/>
                </a:cxn>
                <a:cxn ang="0">
                  <a:pos x="connsiteX12842" y="connsiteY12842"/>
                </a:cxn>
                <a:cxn ang="0">
                  <a:pos x="connsiteX12843" y="connsiteY12843"/>
                </a:cxn>
                <a:cxn ang="0">
                  <a:pos x="connsiteX12844" y="connsiteY12844"/>
                </a:cxn>
                <a:cxn ang="0">
                  <a:pos x="connsiteX12845" y="connsiteY12845"/>
                </a:cxn>
                <a:cxn ang="0">
                  <a:pos x="connsiteX12846" y="connsiteY12846"/>
                </a:cxn>
                <a:cxn ang="0">
                  <a:pos x="connsiteX12847" y="connsiteY12847"/>
                </a:cxn>
                <a:cxn ang="0">
                  <a:pos x="connsiteX12848" y="connsiteY12848"/>
                </a:cxn>
                <a:cxn ang="0">
                  <a:pos x="connsiteX12849" y="connsiteY12849"/>
                </a:cxn>
                <a:cxn ang="0">
                  <a:pos x="connsiteX12850" y="connsiteY12850"/>
                </a:cxn>
                <a:cxn ang="0">
                  <a:pos x="connsiteX12851" y="connsiteY12851"/>
                </a:cxn>
                <a:cxn ang="0">
                  <a:pos x="connsiteX12852" y="connsiteY12852"/>
                </a:cxn>
                <a:cxn ang="0">
                  <a:pos x="connsiteX12853" y="connsiteY12853"/>
                </a:cxn>
                <a:cxn ang="0">
                  <a:pos x="connsiteX12854" y="connsiteY12854"/>
                </a:cxn>
                <a:cxn ang="0">
                  <a:pos x="connsiteX12855" y="connsiteY12855"/>
                </a:cxn>
                <a:cxn ang="0">
                  <a:pos x="connsiteX12856" y="connsiteY12856"/>
                </a:cxn>
                <a:cxn ang="0">
                  <a:pos x="connsiteX12857" y="connsiteY12857"/>
                </a:cxn>
                <a:cxn ang="0">
                  <a:pos x="connsiteX12858" y="connsiteY12858"/>
                </a:cxn>
                <a:cxn ang="0">
                  <a:pos x="connsiteX12859" y="connsiteY12859"/>
                </a:cxn>
                <a:cxn ang="0">
                  <a:pos x="connsiteX12860" y="connsiteY12860"/>
                </a:cxn>
                <a:cxn ang="0">
                  <a:pos x="connsiteX12861" y="connsiteY12861"/>
                </a:cxn>
                <a:cxn ang="0">
                  <a:pos x="connsiteX12862" y="connsiteY12862"/>
                </a:cxn>
                <a:cxn ang="0">
                  <a:pos x="connsiteX12863" y="connsiteY12863"/>
                </a:cxn>
                <a:cxn ang="0">
                  <a:pos x="connsiteX12864" y="connsiteY12864"/>
                </a:cxn>
                <a:cxn ang="0">
                  <a:pos x="connsiteX12865" y="connsiteY12865"/>
                </a:cxn>
                <a:cxn ang="0">
                  <a:pos x="connsiteX12866" y="connsiteY12866"/>
                </a:cxn>
                <a:cxn ang="0">
                  <a:pos x="connsiteX12867" y="connsiteY12867"/>
                </a:cxn>
                <a:cxn ang="0">
                  <a:pos x="connsiteX12868" y="connsiteY12868"/>
                </a:cxn>
                <a:cxn ang="0">
                  <a:pos x="connsiteX12869" y="connsiteY12869"/>
                </a:cxn>
                <a:cxn ang="0">
                  <a:pos x="connsiteX12870" y="connsiteY12870"/>
                </a:cxn>
                <a:cxn ang="0">
                  <a:pos x="connsiteX12871" y="connsiteY12871"/>
                </a:cxn>
                <a:cxn ang="0">
                  <a:pos x="connsiteX12872" y="connsiteY12872"/>
                </a:cxn>
                <a:cxn ang="0">
                  <a:pos x="connsiteX12873" y="connsiteY12873"/>
                </a:cxn>
                <a:cxn ang="0">
                  <a:pos x="connsiteX12874" y="connsiteY12874"/>
                </a:cxn>
                <a:cxn ang="0">
                  <a:pos x="connsiteX12875" y="connsiteY12875"/>
                </a:cxn>
                <a:cxn ang="0">
                  <a:pos x="connsiteX12876" y="connsiteY12876"/>
                </a:cxn>
                <a:cxn ang="0">
                  <a:pos x="connsiteX12877" y="connsiteY12877"/>
                </a:cxn>
                <a:cxn ang="0">
                  <a:pos x="connsiteX12878" y="connsiteY12878"/>
                </a:cxn>
                <a:cxn ang="0">
                  <a:pos x="connsiteX12879" y="connsiteY12879"/>
                </a:cxn>
                <a:cxn ang="0">
                  <a:pos x="connsiteX12880" y="connsiteY12880"/>
                </a:cxn>
                <a:cxn ang="0">
                  <a:pos x="connsiteX12881" y="connsiteY12881"/>
                </a:cxn>
                <a:cxn ang="0">
                  <a:pos x="connsiteX12882" y="connsiteY12882"/>
                </a:cxn>
                <a:cxn ang="0">
                  <a:pos x="connsiteX12883" y="connsiteY12883"/>
                </a:cxn>
                <a:cxn ang="0">
                  <a:pos x="connsiteX12884" y="connsiteY12884"/>
                </a:cxn>
                <a:cxn ang="0">
                  <a:pos x="connsiteX12885" y="connsiteY12885"/>
                </a:cxn>
                <a:cxn ang="0">
                  <a:pos x="connsiteX12886" y="connsiteY12886"/>
                </a:cxn>
                <a:cxn ang="0">
                  <a:pos x="connsiteX12887" y="connsiteY12887"/>
                </a:cxn>
                <a:cxn ang="0">
                  <a:pos x="connsiteX12888" y="connsiteY12888"/>
                </a:cxn>
                <a:cxn ang="0">
                  <a:pos x="connsiteX12889" y="connsiteY12889"/>
                </a:cxn>
                <a:cxn ang="0">
                  <a:pos x="connsiteX12890" y="connsiteY12890"/>
                </a:cxn>
                <a:cxn ang="0">
                  <a:pos x="connsiteX12891" y="connsiteY12891"/>
                </a:cxn>
                <a:cxn ang="0">
                  <a:pos x="connsiteX12892" y="connsiteY12892"/>
                </a:cxn>
                <a:cxn ang="0">
                  <a:pos x="connsiteX12893" y="connsiteY12893"/>
                </a:cxn>
                <a:cxn ang="0">
                  <a:pos x="connsiteX12894" y="connsiteY12894"/>
                </a:cxn>
                <a:cxn ang="0">
                  <a:pos x="connsiteX12895" y="connsiteY12895"/>
                </a:cxn>
                <a:cxn ang="0">
                  <a:pos x="connsiteX12896" y="connsiteY12896"/>
                </a:cxn>
                <a:cxn ang="0">
                  <a:pos x="connsiteX12897" y="connsiteY12897"/>
                </a:cxn>
                <a:cxn ang="0">
                  <a:pos x="connsiteX12898" y="connsiteY12898"/>
                </a:cxn>
                <a:cxn ang="0">
                  <a:pos x="connsiteX12899" y="connsiteY12899"/>
                </a:cxn>
                <a:cxn ang="0">
                  <a:pos x="connsiteX12900" y="connsiteY12900"/>
                </a:cxn>
                <a:cxn ang="0">
                  <a:pos x="connsiteX12901" y="connsiteY12901"/>
                </a:cxn>
                <a:cxn ang="0">
                  <a:pos x="connsiteX12902" y="connsiteY12902"/>
                </a:cxn>
                <a:cxn ang="0">
                  <a:pos x="connsiteX12903" y="connsiteY12903"/>
                </a:cxn>
                <a:cxn ang="0">
                  <a:pos x="connsiteX12904" y="connsiteY12904"/>
                </a:cxn>
                <a:cxn ang="0">
                  <a:pos x="connsiteX12905" y="connsiteY12905"/>
                </a:cxn>
                <a:cxn ang="0">
                  <a:pos x="connsiteX12906" y="connsiteY12906"/>
                </a:cxn>
                <a:cxn ang="0">
                  <a:pos x="connsiteX12907" y="connsiteY12907"/>
                </a:cxn>
                <a:cxn ang="0">
                  <a:pos x="connsiteX12908" y="connsiteY12908"/>
                </a:cxn>
                <a:cxn ang="0">
                  <a:pos x="connsiteX12909" y="connsiteY12909"/>
                </a:cxn>
                <a:cxn ang="0">
                  <a:pos x="connsiteX12910" y="connsiteY12910"/>
                </a:cxn>
                <a:cxn ang="0">
                  <a:pos x="connsiteX12911" y="connsiteY12911"/>
                </a:cxn>
                <a:cxn ang="0">
                  <a:pos x="connsiteX12912" y="connsiteY12912"/>
                </a:cxn>
                <a:cxn ang="0">
                  <a:pos x="connsiteX12913" y="connsiteY12913"/>
                </a:cxn>
                <a:cxn ang="0">
                  <a:pos x="connsiteX12914" y="connsiteY12914"/>
                </a:cxn>
                <a:cxn ang="0">
                  <a:pos x="connsiteX12915" y="connsiteY12915"/>
                </a:cxn>
                <a:cxn ang="0">
                  <a:pos x="connsiteX12916" y="connsiteY12916"/>
                </a:cxn>
                <a:cxn ang="0">
                  <a:pos x="connsiteX12917" y="connsiteY12917"/>
                </a:cxn>
                <a:cxn ang="0">
                  <a:pos x="connsiteX12918" y="connsiteY12918"/>
                </a:cxn>
                <a:cxn ang="0">
                  <a:pos x="connsiteX12919" y="connsiteY12919"/>
                </a:cxn>
                <a:cxn ang="0">
                  <a:pos x="connsiteX12920" y="connsiteY12920"/>
                </a:cxn>
                <a:cxn ang="0">
                  <a:pos x="connsiteX12921" y="connsiteY12921"/>
                </a:cxn>
                <a:cxn ang="0">
                  <a:pos x="connsiteX12922" y="connsiteY12922"/>
                </a:cxn>
                <a:cxn ang="0">
                  <a:pos x="connsiteX12923" y="connsiteY12923"/>
                </a:cxn>
                <a:cxn ang="0">
                  <a:pos x="connsiteX12924" y="connsiteY12924"/>
                </a:cxn>
                <a:cxn ang="0">
                  <a:pos x="connsiteX12925" y="connsiteY12925"/>
                </a:cxn>
                <a:cxn ang="0">
                  <a:pos x="connsiteX12926" y="connsiteY12926"/>
                </a:cxn>
                <a:cxn ang="0">
                  <a:pos x="connsiteX12927" y="connsiteY12927"/>
                </a:cxn>
                <a:cxn ang="0">
                  <a:pos x="connsiteX12928" y="connsiteY12928"/>
                </a:cxn>
                <a:cxn ang="0">
                  <a:pos x="connsiteX12929" y="connsiteY12929"/>
                </a:cxn>
                <a:cxn ang="0">
                  <a:pos x="connsiteX12930" y="connsiteY12930"/>
                </a:cxn>
                <a:cxn ang="0">
                  <a:pos x="connsiteX12931" y="connsiteY12931"/>
                </a:cxn>
                <a:cxn ang="0">
                  <a:pos x="connsiteX12932" y="connsiteY12932"/>
                </a:cxn>
                <a:cxn ang="0">
                  <a:pos x="connsiteX12933" y="connsiteY12933"/>
                </a:cxn>
                <a:cxn ang="0">
                  <a:pos x="connsiteX12934" y="connsiteY12934"/>
                </a:cxn>
                <a:cxn ang="0">
                  <a:pos x="connsiteX12935" y="connsiteY12935"/>
                </a:cxn>
                <a:cxn ang="0">
                  <a:pos x="connsiteX12936" y="connsiteY12936"/>
                </a:cxn>
                <a:cxn ang="0">
                  <a:pos x="connsiteX12937" y="connsiteY12937"/>
                </a:cxn>
                <a:cxn ang="0">
                  <a:pos x="connsiteX12938" y="connsiteY12938"/>
                </a:cxn>
                <a:cxn ang="0">
                  <a:pos x="connsiteX12939" y="connsiteY12939"/>
                </a:cxn>
                <a:cxn ang="0">
                  <a:pos x="connsiteX12940" y="connsiteY12940"/>
                </a:cxn>
                <a:cxn ang="0">
                  <a:pos x="connsiteX12941" y="connsiteY12941"/>
                </a:cxn>
                <a:cxn ang="0">
                  <a:pos x="connsiteX12942" y="connsiteY12942"/>
                </a:cxn>
                <a:cxn ang="0">
                  <a:pos x="connsiteX12943" y="connsiteY12943"/>
                </a:cxn>
                <a:cxn ang="0">
                  <a:pos x="connsiteX12944" y="connsiteY12944"/>
                </a:cxn>
                <a:cxn ang="0">
                  <a:pos x="connsiteX12945" y="connsiteY12945"/>
                </a:cxn>
                <a:cxn ang="0">
                  <a:pos x="connsiteX12946" y="connsiteY12946"/>
                </a:cxn>
                <a:cxn ang="0">
                  <a:pos x="connsiteX12947" y="connsiteY12947"/>
                </a:cxn>
                <a:cxn ang="0">
                  <a:pos x="connsiteX12948" y="connsiteY12948"/>
                </a:cxn>
                <a:cxn ang="0">
                  <a:pos x="connsiteX12949" y="connsiteY12949"/>
                </a:cxn>
                <a:cxn ang="0">
                  <a:pos x="connsiteX12950" y="connsiteY12950"/>
                </a:cxn>
                <a:cxn ang="0">
                  <a:pos x="connsiteX12951" y="connsiteY12951"/>
                </a:cxn>
                <a:cxn ang="0">
                  <a:pos x="connsiteX12952" y="connsiteY12952"/>
                </a:cxn>
                <a:cxn ang="0">
                  <a:pos x="connsiteX12953" y="connsiteY12953"/>
                </a:cxn>
                <a:cxn ang="0">
                  <a:pos x="connsiteX12954" y="connsiteY12954"/>
                </a:cxn>
                <a:cxn ang="0">
                  <a:pos x="connsiteX12955" y="connsiteY12955"/>
                </a:cxn>
                <a:cxn ang="0">
                  <a:pos x="connsiteX12956" y="connsiteY12956"/>
                </a:cxn>
                <a:cxn ang="0">
                  <a:pos x="connsiteX12957" y="connsiteY12957"/>
                </a:cxn>
                <a:cxn ang="0">
                  <a:pos x="connsiteX12958" y="connsiteY12958"/>
                </a:cxn>
                <a:cxn ang="0">
                  <a:pos x="connsiteX12959" y="connsiteY12959"/>
                </a:cxn>
                <a:cxn ang="0">
                  <a:pos x="connsiteX12960" y="connsiteY12960"/>
                </a:cxn>
                <a:cxn ang="0">
                  <a:pos x="connsiteX12961" y="connsiteY12961"/>
                </a:cxn>
                <a:cxn ang="0">
                  <a:pos x="connsiteX12962" y="connsiteY12962"/>
                </a:cxn>
                <a:cxn ang="0">
                  <a:pos x="connsiteX12963" y="connsiteY12963"/>
                </a:cxn>
                <a:cxn ang="0">
                  <a:pos x="connsiteX12964" y="connsiteY12964"/>
                </a:cxn>
                <a:cxn ang="0">
                  <a:pos x="connsiteX12965" y="connsiteY12965"/>
                </a:cxn>
                <a:cxn ang="0">
                  <a:pos x="connsiteX12966" y="connsiteY12966"/>
                </a:cxn>
                <a:cxn ang="0">
                  <a:pos x="connsiteX12967" y="connsiteY12967"/>
                </a:cxn>
                <a:cxn ang="0">
                  <a:pos x="connsiteX12968" y="connsiteY12968"/>
                </a:cxn>
                <a:cxn ang="0">
                  <a:pos x="connsiteX12969" y="connsiteY12969"/>
                </a:cxn>
                <a:cxn ang="0">
                  <a:pos x="connsiteX12970" y="connsiteY12970"/>
                </a:cxn>
                <a:cxn ang="0">
                  <a:pos x="connsiteX12971" y="connsiteY12971"/>
                </a:cxn>
                <a:cxn ang="0">
                  <a:pos x="connsiteX12972" y="connsiteY12972"/>
                </a:cxn>
                <a:cxn ang="0">
                  <a:pos x="connsiteX12973" y="connsiteY12973"/>
                </a:cxn>
                <a:cxn ang="0">
                  <a:pos x="connsiteX12974" y="connsiteY12974"/>
                </a:cxn>
                <a:cxn ang="0">
                  <a:pos x="connsiteX12975" y="connsiteY12975"/>
                </a:cxn>
                <a:cxn ang="0">
                  <a:pos x="connsiteX12976" y="connsiteY12976"/>
                </a:cxn>
                <a:cxn ang="0">
                  <a:pos x="connsiteX12977" y="connsiteY12977"/>
                </a:cxn>
                <a:cxn ang="0">
                  <a:pos x="connsiteX12978" y="connsiteY12978"/>
                </a:cxn>
                <a:cxn ang="0">
                  <a:pos x="connsiteX12979" y="connsiteY12979"/>
                </a:cxn>
                <a:cxn ang="0">
                  <a:pos x="connsiteX12980" y="connsiteY12980"/>
                </a:cxn>
                <a:cxn ang="0">
                  <a:pos x="connsiteX12981" y="connsiteY12981"/>
                </a:cxn>
                <a:cxn ang="0">
                  <a:pos x="connsiteX12982" y="connsiteY12982"/>
                </a:cxn>
                <a:cxn ang="0">
                  <a:pos x="connsiteX12983" y="connsiteY12983"/>
                </a:cxn>
                <a:cxn ang="0">
                  <a:pos x="connsiteX12984" y="connsiteY12984"/>
                </a:cxn>
                <a:cxn ang="0">
                  <a:pos x="connsiteX12985" y="connsiteY12985"/>
                </a:cxn>
                <a:cxn ang="0">
                  <a:pos x="connsiteX12986" y="connsiteY12986"/>
                </a:cxn>
                <a:cxn ang="0">
                  <a:pos x="connsiteX12987" y="connsiteY12987"/>
                </a:cxn>
                <a:cxn ang="0">
                  <a:pos x="connsiteX12988" y="connsiteY12988"/>
                </a:cxn>
                <a:cxn ang="0">
                  <a:pos x="connsiteX12989" y="connsiteY12989"/>
                </a:cxn>
                <a:cxn ang="0">
                  <a:pos x="connsiteX12990" y="connsiteY12990"/>
                </a:cxn>
                <a:cxn ang="0">
                  <a:pos x="connsiteX12991" y="connsiteY12991"/>
                </a:cxn>
                <a:cxn ang="0">
                  <a:pos x="connsiteX12992" y="connsiteY12992"/>
                </a:cxn>
                <a:cxn ang="0">
                  <a:pos x="connsiteX12993" y="connsiteY12993"/>
                </a:cxn>
                <a:cxn ang="0">
                  <a:pos x="connsiteX12994" y="connsiteY12994"/>
                </a:cxn>
                <a:cxn ang="0">
                  <a:pos x="connsiteX12995" y="connsiteY12995"/>
                </a:cxn>
                <a:cxn ang="0">
                  <a:pos x="connsiteX12996" y="connsiteY12996"/>
                </a:cxn>
                <a:cxn ang="0">
                  <a:pos x="connsiteX12997" y="connsiteY12997"/>
                </a:cxn>
                <a:cxn ang="0">
                  <a:pos x="connsiteX12998" y="connsiteY12998"/>
                </a:cxn>
                <a:cxn ang="0">
                  <a:pos x="connsiteX12999" y="connsiteY12999"/>
                </a:cxn>
                <a:cxn ang="0">
                  <a:pos x="connsiteX13000" y="connsiteY13000"/>
                </a:cxn>
                <a:cxn ang="0">
                  <a:pos x="connsiteX13001" y="connsiteY13001"/>
                </a:cxn>
                <a:cxn ang="0">
                  <a:pos x="connsiteX13002" y="connsiteY13002"/>
                </a:cxn>
                <a:cxn ang="0">
                  <a:pos x="connsiteX13003" y="connsiteY13003"/>
                </a:cxn>
                <a:cxn ang="0">
                  <a:pos x="connsiteX13004" y="connsiteY13004"/>
                </a:cxn>
                <a:cxn ang="0">
                  <a:pos x="connsiteX13005" y="connsiteY13005"/>
                </a:cxn>
                <a:cxn ang="0">
                  <a:pos x="connsiteX13006" y="connsiteY13006"/>
                </a:cxn>
                <a:cxn ang="0">
                  <a:pos x="connsiteX13007" y="connsiteY13007"/>
                </a:cxn>
                <a:cxn ang="0">
                  <a:pos x="connsiteX13008" y="connsiteY13008"/>
                </a:cxn>
                <a:cxn ang="0">
                  <a:pos x="connsiteX13009" y="connsiteY13009"/>
                </a:cxn>
                <a:cxn ang="0">
                  <a:pos x="connsiteX13010" y="connsiteY13010"/>
                </a:cxn>
                <a:cxn ang="0">
                  <a:pos x="connsiteX13011" y="connsiteY13011"/>
                </a:cxn>
                <a:cxn ang="0">
                  <a:pos x="connsiteX13012" y="connsiteY13012"/>
                </a:cxn>
                <a:cxn ang="0">
                  <a:pos x="connsiteX13013" y="connsiteY13013"/>
                </a:cxn>
                <a:cxn ang="0">
                  <a:pos x="connsiteX13014" y="connsiteY13014"/>
                </a:cxn>
                <a:cxn ang="0">
                  <a:pos x="connsiteX13015" y="connsiteY13015"/>
                </a:cxn>
                <a:cxn ang="0">
                  <a:pos x="connsiteX13016" y="connsiteY13016"/>
                </a:cxn>
                <a:cxn ang="0">
                  <a:pos x="connsiteX13017" y="connsiteY13017"/>
                </a:cxn>
                <a:cxn ang="0">
                  <a:pos x="connsiteX13018" y="connsiteY13018"/>
                </a:cxn>
                <a:cxn ang="0">
                  <a:pos x="connsiteX13019" y="connsiteY13019"/>
                </a:cxn>
                <a:cxn ang="0">
                  <a:pos x="connsiteX13020" y="connsiteY13020"/>
                </a:cxn>
                <a:cxn ang="0">
                  <a:pos x="connsiteX13021" y="connsiteY13021"/>
                </a:cxn>
                <a:cxn ang="0">
                  <a:pos x="connsiteX13022" y="connsiteY13022"/>
                </a:cxn>
                <a:cxn ang="0">
                  <a:pos x="connsiteX13023" y="connsiteY13023"/>
                </a:cxn>
                <a:cxn ang="0">
                  <a:pos x="connsiteX13024" y="connsiteY13024"/>
                </a:cxn>
                <a:cxn ang="0">
                  <a:pos x="connsiteX13025" y="connsiteY13025"/>
                </a:cxn>
                <a:cxn ang="0">
                  <a:pos x="connsiteX13026" y="connsiteY13026"/>
                </a:cxn>
                <a:cxn ang="0">
                  <a:pos x="connsiteX13027" y="connsiteY13027"/>
                </a:cxn>
                <a:cxn ang="0">
                  <a:pos x="connsiteX13028" y="connsiteY13028"/>
                </a:cxn>
                <a:cxn ang="0">
                  <a:pos x="connsiteX13029" y="connsiteY13029"/>
                </a:cxn>
                <a:cxn ang="0">
                  <a:pos x="connsiteX13030" y="connsiteY13030"/>
                </a:cxn>
                <a:cxn ang="0">
                  <a:pos x="connsiteX13031" y="connsiteY13031"/>
                </a:cxn>
                <a:cxn ang="0">
                  <a:pos x="connsiteX13032" y="connsiteY13032"/>
                </a:cxn>
                <a:cxn ang="0">
                  <a:pos x="connsiteX13033" y="connsiteY13033"/>
                </a:cxn>
                <a:cxn ang="0">
                  <a:pos x="connsiteX13034" y="connsiteY13034"/>
                </a:cxn>
                <a:cxn ang="0">
                  <a:pos x="connsiteX13035" y="connsiteY13035"/>
                </a:cxn>
                <a:cxn ang="0">
                  <a:pos x="connsiteX13036" y="connsiteY13036"/>
                </a:cxn>
                <a:cxn ang="0">
                  <a:pos x="connsiteX13037" y="connsiteY13037"/>
                </a:cxn>
                <a:cxn ang="0">
                  <a:pos x="connsiteX13038" y="connsiteY13038"/>
                </a:cxn>
                <a:cxn ang="0">
                  <a:pos x="connsiteX13039" y="connsiteY13039"/>
                </a:cxn>
                <a:cxn ang="0">
                  <a:pos x="connsiteX13040" y="connsiteY13040"/>
                </a:cxn>
                <a:cxn ang="0">
                  <a:pos x="connsiteX13041" y="connsiteY13041"/>
                </a:cxn>
                <a:cxn ang="0">
                  <a:pos x="connsiteX13042" y="connsiteY13042"/>
                </a:cxn>
                <a:cxn ang="0">
                  <a:pos x="connsiteX13043" y="connsiteY13043"/>
                </a:cxn>
                <a:cxn ang="0">
                  <a:pos x="connsiteX13044" y="connsiteY13044"/>
                </a:cxn>
                <a:cxn ang="0">
                  <a:pos x="connsiteX13045" y="connsiteY13045"/>
                </a:cxn>
                <a:cxn ang="0">
                  <a:pos x="connsiteX13046" y="connsiteY13046"/>
                </a:cxn>
                <a:cxn ang="0">
                  <a:pos x="connsiteX13047" y="connsiteY13047"/>
                </a:cxn>
                <a:cxn ang="0">
                  <a:pos x="connsiteX13048" y="connsiteY13048"/>
                </a:cxn>
                <a:cxn ang="0">
                  <a:pos x="connsiteX13049" y="connsiteY13049"/>
                </a:cxn>
                <a:cxn ang="0">
                  <a:pos x="connsiteX13050" y="connsiteY13050"/>
                </a:cxn>
                <a:cxn ang="0">
                  <a:pos x="connsiteX13051" y="connsiteY13051"/>
                </a:cxn>
                <a:cxn ang="0">
                  <a:pos x="connsiteX13052" y="connsiteY13052"/>
                </a:cxn>
                <a:cxn ang="0">
                  <a:pos x="connsiteX13053" y="connsiteY13053"/>
                </a:cxn>
                <a:cxn ang="0">
                  <a:pos x="connsiteX13054" y="connsiteY13054"/>
                </a:cxn>
                <a:cxn ang="0">
                  <a:pos x="connsiteX13055" y="connsiteY13055"/>
                </a:cxn>
                <a:cxn ang="0">
                  <a:pos x="connsiteX13056" y="connsiteY13056"/>
                </a:cxn>
                <a:cxn ang="0">
                  <a:pos x="connsiteX13057" y="connsiteY13057"/>
                </a:cxn>
                <a:cxn ang="0">
                  <a:pos x="connsiteX13058" y="connsiteY13058"/>
                </a:cxn>
                <a:cxn ang="0">
                  <a:pos x="connsiteX13059" y="connsiteY13059"/>
                </a:cxn>
                <a:cxn ang="0">
                  <a:pos x="connsiteX13060" y="connsiteY13060"/>
                </a:cxn>
                <a:cxn ang="0">
                  <a:pos x="connsiteX13061" y="connsiteY13061"/>
                </a:cxn>
                <a:cxn ang="0">
                  <a:pos x="connsiteX13062" y="connsiteY13062"/>
                </a:cxn>
                <a:cxn ang="0">
                  <a:pos x="connsiteX13063" y="connsiteY13063"/>
                </a:cxn>
                <a:cxn ang="0">
                  <a:pos x="connsiteX13064" y="connsiteY13064"/>
                </a:cxn>
                <a:cxn ang="0">
                  <a:pos x="connsiteX13065" y="connsiteY13065"/>
                </a:cxn>
                <a:cxn ang="0">
                  <a:pos x="connsiteX13066" y="connsiteY13066"/>
                </a:cxn>
                <a:cxn ang="0">
                  <a:pos x="connsiteX13067" y="connsiteY13067"/>
                </a:cxn>
                <a:cxn ang="0">
                  <a:pos x="connsiteX13068" y="connsiteY13068"/>
                </a:cxn>
                <a:cxn ang="0">
                  <a:pos x="connsiteX13069" y="connsiteY13069"/>
                </a:cxn>
                <a:cxn ang="0">
                  <a:pos x="connsiteX13070" y="connsiteY13070"/>
                </a:cxn>
                <a:cxn ang="0">
                  <a:pos x="connsiteX13071" y="connsiteY13071"/>
                </a:cxn>
                <a:cxn ang="0">
                  <a:pos x="connsiteX13072" y="connsiteY13072"/>
                </a:cxn>
                <a:cxn ang="0">
                  <a:pos x="connsiteX13073" y="connsiteY13073"/>
                </a:cxn>
                <a:cxn ang="0">
                  <a:pos x="connsiteX13074" y="connsiteY13074"/>
                </a:cxn>
                <a:cxn ang="0">
                  <a:pos x="connsiteX13075" y="connsiteY13075"/>
                </a:cxn>
                <a:cxn ang="0">
                  <a:pos x="connsiteX13076" y="connsiteY13076"/>
                </a:cxn>
                <a:cxn ang="0">
                  <a:pos x="connsiteX13077" y="connsiteY13077"/>
                </a:cxn>
                <a:cxn ang="0">
                  <a:pos x="connsiteX13078" y="connsiteY13078"/>
                </a:cxn>
                <a:cxn ang="0">
                  <a:pos x="connsiteX13079" y="connsiteY13079"/>
                </a:cxn>
                <a:cxn ang="0">
                  <a:pos x="connsiteX13080" y="connsiteY13080"/>
                </a:cxn>
                <a:cxn ang="0">
                  <a:pos x="connsiteX13081" y="connsiteY13081"/>
                </a:cxn>
                <a:cxn ang="0">
                  <a:pos x="connsiteX13082" y="connsiteY13082"/>
                </a:cxn>
                <a:cxn ang="0">
                  <a:pos x="connsiteX13083" y="connsiteY13083"/>
                </a:cxn>
                <a:cxn ang="0">
                  <a:pos x="connsiteX13084" y="connsiteY13084"/>
                </a:cxn>
                <a:cxn ang="0">
                  <a:pos x="connsiteX13085" y="connsiteY13085"/>
                </a:cxn>
                <a:cxn ang="0">
                  <a:pos x="connsiteX13086" y="connsiteY13086"/>
                </a:cxn>
                <a:cxn ang="0">
                  <a:pos x="connsiteX13087" y="connsiteY13087"/>
                </a:cxn>
                <a:cxn ang="0">
                  <a:pos x="connsiteX13088" y="connsiteY13088"/>
                </a:cxn>
                <a:cxn ang="0">
                  <a:pos x="connsiteX13089" y="connsiteY13089"/>
                </a:cxn>
                <a:cxn ang="0">
                  <a:pos x="connsiteX13090" y="connsiteY13090"/>
                </a:cxn>
                <a:cxn ang="0">
                  <a:pos x="connsiteX13091" y="connsiteY13091"/>
                </a:cxn>
                <a:cxn ang="0">
                  <a:pos x="connsiteX13092" y="connsiteY13092"/>
                </a:cxn>
                <a:cxn ang="0">
                  <a:pos x="connsiteX13093" y="connsiteY13093"/>
                </a:cxn>
                <a:cxn ang="0">
                  <a:pos x="connsiteX13094" y="connsiteY13094"/>
                </a:cxn>
                <a:cxn ang="0">
                  <a:pos x="connsiteX13095" y="connsiteY13095"/>
                </a:cxn>
                <a:cxn ang="0">
                  <a:pos x="connsiteX13096" y="connsiteY13096"/>
                </a:cxn>
                <a:cxn ang="0">
                  <a:pos x="connsiteX13097" y="connsiteY13097"/>
                </a:cxn>
                <a:cxn ang="0">
                  <a:pos x="connsiteX13098" y="connsiteY13098"/>
                </a:cxn>
                <a:cxn ang="0">
                  <a:pos x="connsiteX13099" y="connsiteY13099"/>
                </a:cxn>
                <a:cxn ang="0">
                  <a:pos x="connsiteX13100" y="connsiteY13100"/>
                </a:cxn>
                <a:cxn ang="0">
                  <a:pos x="connsiteX13101" y="connsiteY13101"/>
                </a:cxn>
                <a:cxn ang="0">
                  <a:pos x="connsiteX13102" y="connsiteY13102"/>
                </a:cxn>
                <a:cxn ang="0">
                  <a:pos x="connsiteX13103" y="connsiteY13103"/>
                </a:cxn>
                <a:cxn ang="0">
                  <a:pos x="connsiteX13104" y="connsiteY13104"/>
                </a:cxn>
                <a:cxn ang="0">
                  <a:pos x="connsiteX13105" y="connsiteY13105"/>
                </a:cxn>
                <a:cxn ang="0">
                  <a:pos x="connsiteX13106" y="connsiteY13106"/>
                </a:cxn>
                <a:cxn ang="0">
                  <a:pos x="connsiteX13107" y="connsiteY13107"/>
                </a:cxn>
                <a:cxn ang="0">
                  <a:pos x="connsiteX13108" y="connsiteY13108"/>
                </a:cxn>
                <a:cxn ang="0">
                  <a:pos x="connsiteX13109" y="connsiteY13109"/>
                </a:cxn>
                <a:cxn ang="0">
                  <a:pos x="connsiteX13110" y="connsiteY13110"/>
                </a:cxn>
                <a:cxn ang="0">
                  <a:pos x="connsiteX13111" y="connsiteY13111"/>
                </a:cxn>
                <a:cxn ang="0">
                  <a:pos x="connsiteX13112" y="connsiteY13112"/>
                </a:cxn>
                <a:cxn ang="0">
                  <a:pos x="connsiteX13113" y="connsiteY13113"/>
                </a:cxn>
                <a:cxn ang="0">
                  <a:pos x="connsiteX13114" y="connsiteY13114"/>
                </a:cxn>
                <a:cxn ang="0">
                  <a:pos x="connsiteX13115" y="connsiteY13115"/>
                </a:cxn>
                <a:cxn ang="0">
                  <a:pos x="connsiteX13116" y="connsiteY13116"/>
                </a:cxn>
                <a:cxn ang="0">
                  <a:pos x="connsiteX13117" y="connsiteY13117"/>
                </a:cxn>
                <a:cxn ang="0">
                  <a:pos x="connsiteX13118" y="connsiteY13118"/>
                </a:cxn>
                <a:cxn ang="0">
                  <a:pos x="connsiteX13119" y="connsiteY13119"/>
                </a:cxn>
                <a:cxn ang="0">
                  <a:pos x="connsiteX13120" y="connsiteY13120"/>
                </a:cxn>
                <a:cxn ang="0">
                  <a:pos x="connsiteX13121" y="connsiteY13121"/>
                </a:cxn>
                <a:cxn ang="0">
                  <a:pos x="connsiteX13122" y="connsiteY13122"/>
                </a:cxn>
                <a:cxn ang="0">
                  <a:pos x="connsiteX13123" y="connsiteY13123"/>
                </a:cxn>
                <a:cxn ang="0">
                  <a:pos x="connsiteX13124" y="connsiteY13124"/>
                </a:cxn>
                <a:cxn ang="0">
                  <a:pos x="connsiteX13125" y="connsiteY13125"/>
                </a:cxn>
                <a:cxn ang="0">
                  <a:pos x="connsiteX13126" y="connsiteY13126"/>
                </a:cxn>
                <a:cxn ang="0">
                  <a:pos x="connsiteX13127" y="connsiteY13127"/>
                </a:cxn>
                <a:cxn ang="0">
                  <a:pos x="connsiteX13128" y="connsiteY13128"/>
                </a:cxn>
                <a:cxn ang="0">
                  <a:pos x="connsiteX13129" y="connsiteY13129"/>
                </a:cxn>
                <a:cxn ang="0">
                  <a:pos x="connsiteX13130" y="connsiteY13130"/>
                </a:cxn>
                <a:cxn ang="0">
                  <a:pos x="connsiteX13131" y="connsiteY13131"/>
                </a:cxn>
                <a:cxn ang="0">
                  <a:pos x="connsiteX13132" y="connsiteY13132"/>
                </a:cxn>
                <a:cxn ang="0">
                  <a:pos x="connsiteX13133" y="connsiteY13133"/>
                </a:cxn>
                <a:cxn ang="0">
                  <a:pos x="connsiteX13134" y="connsiteY13134"/>
                </a:cxn>
                <a:cxn ang="0">
                  <a:pos x="connsiteX13135" y="connsiteY13135"/>
                </a:cxn>
                <a:cxn ang="0">
                  <a:pos x="connsiteX13136" y="connsiteY13136"/>
                </a:cxn>
                <a:cxn ang="0">
                  <a:pos x="connsiteX13137" y="connsiteY13137"/>
                </a:cxn>
                <a:cxn ang="0">
                  <a:pos x="connsiteX13138" y="connsiteY13138"/>
                </a:cxn>
                <a:cxn ang="0">
                  <a:pos x="connsiteX13139" y="connsiteY13139"/>
                </a:cxn>
                <a:cxn ang="0">
                  <a:pos x="connsiteX13140" y="connsiteY13140"/>
                </a:cxn>
                <a:cxn ang="0">
                  <a:pos x="connsiteX13141" y="connsiteY13141"/>
                </a:cxn>
                <a:cxn ang="0">
                  <a:pos x="connsiteX13142" y="connsiteY13142"/>
                </a:cxn>
                <a:cxn ang="0">
                  <a:pos x="connsiteX13143" y="connsiteY13143"/>
                </a:cxn>
                <a:cxn ang="0">
                  <a:pos x="connsiteX13144" y="connsiteY13144"/>
                </a:cxn>
                <a:cxn ang="0">
                  <a:pos x="connsiteX13145" y="connsiteY13145"/>
                </a:cxn>
                <a:cxn ang="0">
                  <a:pos x="connsiteX13146" y="connsiteY13146"/>
                </a:cxn>
                <a:cxn ang="0">
                  <a:pos x="connsiteX13147" y="connsiteY13147"/>
                </a:cxn>
                <a:cxn ang="0">
                  <a:pos x="connsiteX13148" y="connsiteY13148"/>
                </a:cxn>
                <a:cxn ang="0">
                  <a:pos x="connsiteX13149" y="connsiteY13149"/>
                </a:cxn>
                <a:cxn ang="0">
                  <a:pos x="connsiteX13150" y="connsiteY13150"/>
                </a:cxn>
                <a:cxn ang="0">
                  <a:pos x="connsiteX13151" y="connsiteY13151"/>
                </a:cxn>
                <a:cxn ang="0">
                  <a:pos x="connsiteX13152" y="connsiteY13152"/>
                </a:cxn>
                <a:cxn ang="0">
                  <a:pos x="connsiteX13153" y="connsiteY13153"/>
                </a:cxn>
                <a:cxn ang="0">
                  <a:pos x="connsiteX13154" y="connsiteY13154"/>
                </a:cxn>
                <a:cxn ang="0">
                  <a:pos x="connsiteX13155" y="connsiteY13155"/>
                </a:cxn>
                <a:cxn ang="0">
                  <a:pos x="connsiteX13156" y="connsiteY13156"/>
                </a:cxn>
                <a:cxn ang="0">
                  <a:pos x="connsiteX13157" y="connsiteY13157"/>
                </a:cxn>
                <a:cxn ang="0">
                  <a:pos x="connsiteX13158" y="connsiteY13158"/>
                </a:cxn>
                <a:cxn ang="0">
                  <a:pos x="connsiteX13159" y="connsiteY13159"/>
                </a:cxn>
                <a:cxn ang="0">
                  <a:pos x="connsiteX13160" y="connsiteY13160"/>
                </a:cxn>
                <a:cxn ang="0">
                  <a:pos x="connsiteX13161" y="connsiteY13161"/>
                </a:cxn>
                <a:cxn ang="0">
                  <a:pos x="connsiteX13162" y="connsiteY13162"/>
                </a:cxn>
                <a:cxn ang="0">
                  <a:pos x="connsiteX13163" y="connsiteY13163"/>
                </a:cxn>
                <a:cxn ang="0">
                  <a:pos x="connsiteX13164" y="connsiteY13164"/>
                </a:cxn>
                <a:cxn ang="0">
                  <a:pos x="connsiteX13165" y="connsiteY13165"/>
                </a:cxn>
                <a:cxn ang="0">
                  <a:pos x="connsiteX13166" y="connsiteY13166"/>
                </a:cxn>
                <a:cxn ang="0">
                  <a:pos x="connsiteX13167" y="connsiteY13167"/>
                </a:cxn>
                <a:cxn ang="0">
                  <a:pos x="connsiteX13168" y="connsiteY13168"/>
                </a:cxn>
                <a:cxn ang="0">
                  <a:pos x="connsiteX13169" y="connsiteY13169"/>
                </a:cxn>
                <a:cxn ang="0">
                  <a:pos x="connsiteX13170" y="connsiteY13170"/>
                </a:cxn>
                <a:cxn ang="0">
                  <a:pos x="connsiteX13171" y="connsiteY13171"/>
                </a:cxn>
                <a:cxn ang="0">
                  <a:pos x="connsiteX13172" y="connsiteY13172"/>
                </a:cxn>
                <a:cxn ang="0">
                  <a:pos x="connsiteX13173" y="connsiteY13173"/>
                </a:cxn>
                <a:cxn ang="0">
                  <a:pos x="connsiteX13174" y="connsiteY13174"/>
                </a:cxn>
                <a:cxn ang="0">
                  <a:pos x="connsiteX13175" y="connsiteY13175"/>
                </a:cxn>
                <a:cxn ang="0">
                  <a:pos x="connsiteX13176" y="connsiteY13176"/>
                </a:cxn>
                <a:cxn ang="0">
                  <a:pos x="connsiteX13177" y="connsiteY13177"/>
                </a:cxn>
                <a:cxn ang="0">
                  <a:pos x="connsiteX13178" y="connsiteY13178"/>
                </a:cxn>
                <a:cxn ang="0">
                  <a:pos x="connsiteX13179" y="connsiteY13179"/>
                </a:cxn>
                <a:cxn ang="0">
                  <a:pos x="connsiteX13180" y="connsiteY13180"/>
                </a:cxn>
                <a:cxn ang="0">
                  <a:pos x="connsiteX13181" y="connsiteY13181"/>
                </a:cxn>
                <a:cxn ang="0">
                  <a:pos x="connsiteX13182" y="connsiteY13182"/>
                </a:cxn>
                <a:cxn ang="0">
                  <a:pos x="connsiteX13183" y="connsiteY13183"/>
                </a:cxn>
                <a:cxn ang="0">
                  <a:pos x="connsiteX13184" y="connsiteY13184"/>
                </a:cxn>
                <a:cxn ang="0">
                  <a:pos x="connsiteX13185" y="connsiteY13185"/>
                </a:cxn>
                <a:cxn ang="0">
                  <a:pos x="connsiteX13186" y="connsiteY13186"/>
                </a:cxn>
                <a:cxn ang="0">
                  <a:pos x="connsiteX13187" y="connsiteY13187"/>
                </a:cxn>
                <a:cxn ang="0">
                  <a:pos x="connsiteX13188" y="connsiteY13188"/>
                </a:cxn>
                <a:cxn ang="0">
                  <a:pos x="connsiteX13189" y="connsiteY13189"/>
                </a:cxn>
                <a:cxn ang="0">
                  <a:pos x="connsiteX13190" y="connsiteY13190"/>
                </a:cxn>
                <a:cxn ang="0">
                  <a:pos x="connsiteX13191" y="connsiteY13191"/>
                </a:cxn>
                <a:cxn ang="0">
                  <a:pos x="connsiteX13192" y="connsiteY13192"/>
                </a:cxn>
                <a:cxn ang="0">
                  <a:pos x="connsiteX13193" y="connsiteY13193"/>
                </a:cxn>
                <a:cxn ang="0">
                  <a:pos x="connsiteX13194" y="connsiteY13194"/>
                </a:cxn>
                <a:cxn ang="0">
                  <a:pos x="connsiteX13195" y="connsiteY13195"/>
                </a:cxn>
                <a:cxn ang="0">
                  <a:pos x="connsiteX13196" y="connsiteY13196"/>
                </a:cxn>
                <a:cxn ang="0">
                  <a:pos x="connsiteX13197" y="connsiteY13197"/>
                </a:cxn>
                <a:cxn ang="0">
                  <a:pos x="connsiteX13198" y="connsiteY13198"/>
                </a:cxn>
                <a:cxn ang="0">
                  <a:pos x="connsiteX13199" y="connsiteY13199"/>
                </a:cxn>
                <a:cxn ang="0">
                  <a:pos x="connsiteX13200" y="connsiteY13200"/>
                </a:cxn>
                <a:cxn ang="0">
                  <a:pos x="connsiteX13201" y="connsiteY13201"/>
                </a:cxn>
                <a:cxn ang="0">
                  <a:pos x="connsiteX13202" y="connsiteY13202"/>
                </a:cxn>
                <a:cxn ang="0">
                  <a:pos x="connsiteX13203" y="connsiteY13203"/>
                </a:cxn>
                <a:cxn ang="0">
                  <a:pos x="connsiteX13204" y="connsiteY13204"/>
                </a:cxn>
                <a:cxn ang="0">
                  <a:pos x="connsiteX13205" y="connsiteY13205"/>
                </a:cxn>
                <a:cxn ang="0">
                  <a:pos x="connsiteX13206" y="connsiteY13206"/>
                </a:cxn>
                <a:cxn ang="0">
                  <a:pos x="connsiteX13207" y="connsiteY13207"/>
                </a:cxn>
                <a:cxn ang="0">
                  <a:pos x="connsiteX13208" y="connsiteY13208"/>
                </a:cxn>
                <a:cxn ang="0">
                  <a:pos x="connsiteX13209" y="connsiteY13209"/>
                </a:cxn>
                <a:cxn ang="0">
                  <a:pos x="connsiteX13210" y="connsiteY13210"/>
                </a:cxn>
                <a:cxn ang="0">
                  <a:pos x="connsiteX13211" y="connsiteY13211"/>
                </a:cxn>
                <a:cxn ang="0">
                  <a:pos x="connsiteX13212" y="connsiteY13212"/>
                </a:cxn>
                <a:cxn ang="0">
                  <a:pos x="connsiteX13213" y="connsiteY13213"/>
                </a:cxn>
                <a:cxn ang="0">
                  <a:pos x="connsiteX13214" y="connsiteY13214"/>
                </a:cxn>
                <a:cxn ang="0">
                  <a:pos x="connsiteX13215" y="connsiteY13215"/>
                </a:cxn>
                <a:cxn ang="0">
                  <a:pos x="connsiteX13216" y="connsiteY13216"/>
                </a:cxn>
                <a:cxn ang="0">
                  <a:pos x="connsiteX13217" y="connsiteY13217"/>
                </a:cxn>
                <a:cxn ang="0">
                  <a:pos x="connsiteX13218" y="connsiteY13218"/>
                </a:cxn>
                <a:cxn ang="0">
                  <a:pos x="connsiteX13219" y="connsiteY13219"/>
                </a:cxn>
                <a:cxn ang="0">
                  <a:pos x="connsiteX13220" y="connsiteY13220"/>
                </a:cxn>
                <a:cxn ang="0">
                  <a:pos x="connsiteX13221" y="connsiteY13221"/>
                </a:cxn>
                <a:cxn ang="0">
                  <a:pos x="connsiteX13222" y="connsiteY13222"/>
                </a:cxn>
                <a:cxn ang="0">
                  <a:pos x="connsiteX13223" y="connsiteY13223"/>
                </a:cxn>
                <a:cxn ang="0">
                  <a:pos x="connsiteX13224" y="connsiteY13224"/>
                </a:cxn>
                <a:cxn ang="0">
                  <a:pos x="connsiteX13225" y="connsiteY13225"/>
                </a:cxn>
                <a:cxn ang="0">
                  <a:pos x="connsiteX13226" y="connsiteY13226"/>
                </a:cxn>
                <a:cxn ang="0">
                  <a:pos x="connsiteX13227" y="connsiteY13227"/>
                </a:cxn>
                <a:cxn ang="0">
                  <a:pos x="connsiteX13228" y="connsiteY13228"/>
                </a:cxn>
                <a:cxn ang="0">
                  <a:pos x="connsiteX13229" y="connsiteY13229"/>
                </a:cxn>
                <a:cxn ang="0">
                  <a:pos x="connsiteX13230" y="connsiteY13230"/>
                </a:cxn>
                <a:cxn ang="0">
                  <a:pos x="connsiteX13231" y="connsiteY13231"/>
                </a:cxn>
                <a:cxn ang="0">
                  <a:pos x="connsiteX13232" y="connsiteY13232"/>
                </a:cxn>
                <a:cxn ang="0">
                  <a:pos x="connsiteX13233" y="connsiteY13233"/>
                </a:cxn>
                <a:cxn ang="0">
                  <a:pos x="connsiteX13234" y="connsiteY13234"/>
                </a:cxn>
                <a:cxn ang="0">
                  <a:pos x="connsiteX13235" y="connsiteY13235"/>
                </a:cxn>
                <a:cxn ang="0">
                  <a:pos x="connsiteX13236" y="connsiteY13236"/>
                </a:cxn>
                <a:cxn ang="0">
                  <a:pos x="connsiteX13237" y="connsiteY13237"/>
                </a:cxn>
                <a:cxn ang="0">
                  <a:pos x="connsiteX13238" y="connsiteY13238"/>
                </a:cxn>
                <a:cxn ang="0">
                  <a:pos x="connsiteX13239" y="connsiteY13239"/>
                </a:cxn>
                <a:cxn ang="0">
                  <a:pos x="connsiteX13240" y="connsiteY13240"/>
                </a:cxn>
                <a:cxn ang="0">
                  <a:pos x="connsiteX13241" y="connsiteY13241"/>
                </a:cxn>
                <a:cxn ang="0">
                  <a:pos x="connsiteX13242" y="connsiteY13242"/>
                </a:cxn>
                <a:cxn ang="0">
                  <a:pos x="connsiteX13243" y="connsiteY13243"/>
                </a:cxn>
                <a:cxn ang="0">
                  <a:pos x="connsiteX13244" y="connsiteY13244"/>
                </a:cxn>
                <a:cxn ang="0">
                  <a:pos x="connsiteX13245" y="connsiteY13245"/>
                </a:cxn>
                <a:cxn ang="0">
                  <a:pos x="connsiteX13246" y="connsiteY13246"/>
                </a:cxn>
                <a:cxn ang="0">
                  <a:pos x="connsiteX13247" y="connsiteY13247"/>
                </a:cxn>
                <a:cxn ang="0">
                  <a:pos x="connsiteX13248" y="connsiteY13248"/>
                </a:cxn>
                <a:cxn ang="0">
                  <a:pos x="connsiteX13249" y="connsiteY13249"/>
                </a:cxn>
                <a:cxn ang="0">
                  <a:pos x="connsiteX13250" y="connsiteY13250"/>
                </a:cxn>
                <a:cxn ang="0">
                  <a:pos x="connsiteX13251" y="connsiteY13251"/>
                </a:cxn>
                <a:cxn ang="0">
                  <a:pos x="connsiteX13252" y="connsiteY13252"/>
                </a:cxn>
                <a:cxn ang="0">
                  <a:pos x="connsiteX13253" y="connsiteY13253"/>
                </a:cxn>
                <a:cxn ang="0">
                  <a:pos x="connsiteX13254" y="connsiteY13254"/>
                </a:cxn>
                <a:cxn ang="0">
                  <a:pos x="connsiteX13255" y="connsiteY13255"/>
                </a:cxn>
                <a:cxn ang="0">
                  <a:pos x="connsiteX13256" y="connsiteY13256"/>
                </a:cxn>
                <a:cxn ang="0">
                  <a:pos x="connsiteX13257" y="connsiteY13257"/>
                </a:cxn>
                <a:cxn ang="0">
                  <a:pos x="connsiteX13258" y="connsiteY13258"/>
                </a:cxn>
                <a:cxn ang="0">
                  <a:pos x="connsiteX13259" y="connsiteY13259"/>
                </a:cxn>
                <a:cxn ang="0">
                  <a:pos x="connsiteX13260" y="connsiteY13260"/>
                </a:cxn>
                <a:cxn ang="0">
                  <a:pos x="connsiteX13261" y="connsiteY13261"/>
                </a:cxn>
                <a:cxn ang="0">
                  <a:pos x="connsiteX13262" y="connsiteY13262"/>
                </a:cxn>
                <a:cxn ang="0">
                  <a:pos x="connsiteX13263" y="connsiteY13263"/>
                </a:cxn>
                <a:cxn ang="0">
                  <a:pos x="connsiteX13264" y="connsiteY13264"/>
                </a:cxn>
                <a:cxn ang="0">
                  <a:pos x="connsiteX13265" y="connsiteY13265"/>
                </a:cxn>
                <a:cxn ang="0">
                  <a:pos x="connsiteX13266" y="connsiteY13266"/>
                </a:cxn>
                <a:cxn ang="0">
                  <a:pos x="connsiteX13267" y="connsiteY13267"/>
                </a:cxn>
                <a:cxn ang="0">
                  <a:pos x="connsiteX13268" y="connsiteY13268"/>
                </a:cxn>
                <a:cxn ang="0">
                  <a:pos x="connsiteX13269" y="connsiteY13269"/>
                </a:cxn>
                <a:cxn ang="0">
                  <a:pos x="connsiteX13270" y="connsiteY13270"/>
                </a:cxn>
                <a:cxn ang="0">
                  <a:pos x="connsiteX13271" y="connsiteY13271"/>
                </a:cxn>
                <a:cxn ang="0">
                  <a:pos x="connsiteX13272" y="connsiteY13272"/>
                </a:cxn>
                <a:cxn ang="0">
                  <a:pos x="connsiteX13273" y="connsiteY13273"/>
                </a:cxn>
                <a:cxn ang="0">
                  <a:pos x="connsiteX13274" y="connsiteY13274"/>
                </a:cxn>
                <a:cxn ang="0">
                  <a:pos x="connsiteX13275" y="connsiteY13275"/>
                </a:cxn>
                <a:cxn ang="0">
                  <a:pos x="connsiteX13276" y="connsiteY13276"/>
                </a:cxn>
                <a:cxn ang="0">
                  <a:pos x="connsiteX13277" y="connsiteY13277"/>
                </a:cxn>
                <a:cxn ang="0">
                  <a:pos x="connsiteX13278" y="connsiteY13278"/>
                </a:cxn>
                <a:cxn ang="0">
                  <a:pos x="connsiteX13279" y="connsiteY13279"/>
                </a:cxn>
                <a:cxn ang="0">
                  <a:pos x="connsiteX13280" y="connsiteY13280"/>
                </a:cxn>
                <a:cxn ang="0">
                  <a:pos x="connsiteX13281" y="connsiteY13281"/>
                </a:cxn>
                <a:cxn ang="0">
                  <a:pos x="connsiteX13282" y="connsiteY13282"/>
                </a:cxn>
                <a:cxn ang="0">
                  <a:pos x="connsiteX13283" y="connsiteY13283"/>
                </a:cxn>
                <a:cxn ang="0">
                  <a:pos x="connsiteX13284" y="connsiteY13284"/>
                </a:cxn>
                <a:cxn ang="0">
                  <a:pos x="connsiteX13285" y="connsiteY13285"/>
                </a:cxn>
                <a:cxn ang="0">
                  <a:pos x="connsiteX13286" y="connsiteY13286"/>
                </a:cxn>
                <a:cxn ang="0">
                  <a:pos x="connsiteX13287" y="connsiteY13287"/>
                </a:cxn>
                <a:cxn ang="0">
                  <a:pos x="connsiteX13288" y="connsiteY13288"/>
                </a:cxn>
                <a:cxn ang="0">
                  <a:pos x="connsiteX13289" y="connsiteY13289"/>
                </a:cxn>
                <a:cxn ang="0">
                  <a:pos x="connsiteX13290" y="connsiteY13290"/>
                </a:cxn>
                <a:cxn ang="0">
                  <a:pos x="connsiteX13291" y="connsiteY13291"/>
                </a:cxn>
                <a:cxn ang="0">
                  <a:pos x="connsiteX13292" y="connsiteY13292"/>
                </a:cxn>
                <a:cxn ang="0">
                  <a:pos x="connsiteX13293" y="connsiteY13293"/>
                </a:cxn>
                <a:cxn ang="0">
                  <a:pos x="connsiteX13294" y="connsiteY13294"/>
                </a:cxn>
                <a:cxn ang="0">
                  <a:pos x="connsiteX13295" y="connsiteY13295"/>
                </a:cxn>
                <a:cxn ang="0">
                  <a:pos x="connsiteX13296" y="connsiteY13296"/>
                </a:cxn>
                <a:cxn ang="0">
                  <a:pos x="connsiteX13297" y="connsiteY13297"/>
                </a:cxn>
                <a:cxn ang="0">
                  <a:pos x="connsiteX13298" y="connsiteY13298"/>
                </a:cxn>
                <a:cxn ang="0">
                  <a:pos x="connsiteX13299" y="connsiteY13299"/>
                </a:cxn>
                <a:cxn ang="0">
                  <a:pos x="connsiteX13300" y="connsiteY13300"/>
                </a:cxn>
                <a:cxn ang="0">
                  <a:pos x="connsiteX13301" y="connsiteY13301"/>
                </a:cxn>
                <a:cxn ang="0">
                  <a:pos x="connsiteX13302" y="connsiteY13302"/>
                </a:cxn>
                <a:cxn ang="0">
                  <a:pos x="connsiteX13303" y="connsiteY13303"/>
                </a:cxn>
                <a:cxn ang="0">
                  <a:pos x="connsiteX13304" y="connsiteY13304"/>
                </a:cxn>
                <a:cxn ang="0">
                  <a:pos x="connsiteX13305" y="connsiteY13305"/>
                </a:cxn>
                <a:cxn ang="0">
                  <a:pos x="connsiteX13306" y="connsiteY13306"/>
                </a:cxn>
                <a:cxn ang="0">
                  <a:pos x="connsiteX13307" y="connsiteY13307"/>
                </a:cxn>
                <a:cxn ang="0">
                  <a:pos x="connsiteX13308" y="connsiteY13308"/>
                </a:cxn>
                <a:cxn ang="0">
                  <a:pos x="connsiteX13309" y="connsiteY13309"/>
                </a:cxn>
                <a:cxn ang="0">
                  <a:pos x="connsiteX13310" y="connsiteY13310"/>
                </a:cxn>
                <a:cxn ang="0">
                  <a:pos x="connsiteX13311" y="connsiteY13311"/>
                </a:cxn>
                <a:cxn ang="0">
                  <a:pos x="connsiteX13312" y="connsiteY13312"/>
                </a:cxn>
                <a:cxn ang="0">
                  <a:pos x="connsiteX13313" y="connsiteY13313"/>
                </a:cxn>
                <a:cxn ang="0">
                  <a:pos x="connsiteX13314" y="connsiteY13314"/>
                </a:cxn>
                <a:cxn ang="0">
                  <a:pos x="connsiteX13315" y="connsiteY13315"/>
                </a:cxn>
                <a:cxn ang="0">
                  <a:pos x="connsiteX13316" y="connsiteY13316"/>
                </a:cxn>
                <a:cxn ang="0">
                  <a:pos x="connsiteX13317" y="connsiteY13317"/>
                </a:cxn>
                <a:cxn ang="0">
                  <a:pos x="connsiteX13318" y="connsiteY13318"/>
                </a:cxn>
                <a:cxn ang="0">
                  <a:pos x="connsiteX13319" y="connsiteY13319"/>
                </a:cxn>
                <a:cxn ang="0">
                  <a:pos x="connsiteX13320" y="connsiteY13320"/>
                </a:cxn>
                <a:cxn ang="0">
                  <a:pos x="connsiteX13321" y="connsiteY13321"/>
                </a:cxn>
                <a:cxn ang="0">
                  <a:pos x="connsiteX13322" y="connsiteY13322"/>
                </a:cxn>
                <a:cxn ang="0">
                  <a:pos x="connsiteX13323" y="connsiteY13323"/>
                </a:cxn>
                <a:cxn ang="0">
                  <a:pos x="connsiteX13324" y="connsiteY13324"/>
                </a:cxn>
                <a:cxn ang="0">
                  <a:pos x="connsiteX13325" y="connsiteY13325"/>
                </a:cxn>
                <a:cxn ang="0">
                  <a:pos x="connsiteX13326" y="connsiteY13326"/>
                </a:cxn>
                <a:cxn ang="0">
                  <a:pos x="connsiteX13327" y="connsiteY13327"/>
                </a:cxn>
                <a:cxn ang="0">
                  <a:pos x="connsiteX13328" y="connsiteY13328"/>
                </a:cxn>
                <a:cxn ang="0">
                  <a:pos x="connsiteX13329" y="connsiteY13329"/>
                </a:cxn>
                <a:cxn ang="0">
                  <a:pos x="connsiteX13330" y="connsiteY13330"/>
                </a:cxn>
                <a:cxn ang="0">
                  <a:pos x="connsiteX13331" y="connsiteY13331"/>
                </a:cxn>
                <a:cxn ang="0">
                  <a:pos x="connsiteX13332" y="connsiteY13332"/>
                </a:cxn>
                <a:cxn ang="0">
                  <a:pos x="connsiteX13333" y="connsiteY13333"/>
                </a:cxn>
                <a:cxn ang="0">
                  <a:pos x="connsiteX13334" y="connsiteY13334"/>
                </a:cxn>
                <a:cxn ang="0">
                  <a:pos x="connsiteX13335" y="connsiteY13335"/>
                </a:cxn>
                <a:cxn ang="0">
                  <a:pos x="connsiteX13336" y="connsiteY13336"/>
                </a:cxn>
                <a:cxn ang="0">
                  <a:pos x="connsiteX13337" y="connsiteY13337"/>
                </a:cxn>
                <a:cxn ang="0">
                  <a:pos x="connsiteX13338" y="connsiteY13338"/>
                </a:cxn>
                <a:cxn ang="0">
                  <a:pos x="connsiteX13339" y="connsiteY13339"/>
                </a:cxn>
                <a:cxn ang="0">
                  <a:pos x="connsiteX13340" y="connsiteY13340"/>
                </a:cxn>
                <a:cxn ang="0">
                  <a:pos x="connsiteX13341" y="connsiteY13341"/>
                </a:cxn>
                <a:cxn ang="0">
                  <a:pos x="connsiteX13342" y="connsiteY13342"/>
                </a:cxn>
                <a:cxn ang="0">
                  <a:pos x="connsiteX13343" y="connsiteY13343"/>
                </a:cxn>
                <a:cxn ang="0">
                  <a:pos x="connsiteX13344" y="connsiteY13344"/>
                </a:cxn>
                <a:cxn ang="0">
                  <a:pos x="connsiteX13345" y="connsiteY13345"/>
                </a:cxn>
                <a:cxn ang="0">
                  <a:pos x="connsiteX13346" y="connsiteY13346"/>
                </a:cxn>
                <a:cxn ang="0">
                  <a:pos x="connsiteX13347" y="connsiteY13347"/>
                </a:cxn>
                <a:cxn ang="0">
                  <a:pos x="connsiteX13348" y="connsiteY13348"/>
                </a:cxn>
                <a:cxn ang="0">
                  <a:pos x="connsiteX13349" y="connsiteY13349"/>
                </a:cxn>
                <a:cxn ang="0">
                  <a:pos x="connsiteX13350" y="connsiteY13350"/>
                </a:cxn>
                <a:cxn ang="0">
                  <a:pos x="connsiteX13351" y="connsiteY13351"/>
                </a:cxn>
                <a:cxn ang="0">
                  <a:pos x="connsiteX13352" y="connsiteY13352"/>
                </a:cxn>
                <a:cxn ang="0">
                  <a:pos x="connsiteX13353" y="connsiteY13353"/>
                </a:cxn>
                <a:cxn ang="0">
                  <a:pos x="connsiteX13354" y="connsiteY13354"/>
                </a:cxn>
                <a:cxn ang="0">
                  <a:pos x="connsiteX13355" y="connsiteY13355"/>
                </a:cxn>
                <a:cxn ang="0">
                  <a:pos x="connsiteX13356" y="connsiteY13356"/>
                </a:cxn>
                <a:cxn ang="0">
                  <a:pos x="connsiteX13357" y="connsiteY13357"/>
                </a:cxn>
                <a:cxn ang="0">
                  <a:pos x="connsiteX13358" y="connsiteY13358"/>
                </a:cxn>
                <a:cxn ang="0">
                  <a:pos x="connsiteX13359" y="connsiteY13359"/>
                </a:cxn>
                <a:cxn ang="0">
                  <a:pos x="connsiteX13360" y="connsiteY13360"/>
                </a:cxn>
                <a:cxn ang="0">
                  <a:pos x="connsiteX13361" y="connsiteY13361"/>
                </a:cxn>
                <a:cxn ang="0">
                  <a:pos x="connsiteX13362" y="connsiteY13362"/>
                </a:cxn>
                <a:cxn ang="0">
                  <a:pos x="connsiteX13363" y="connsiteY13363"/>
                </a:cxn>
                <a:cxn ang="0">
                  <a:pos x="connsiteX13364" y="connsiteY13364"/>
                </a:cxn>
                <a:cxn ang="0">
                  <a:pos x="connsiteX13365" y="connsiteY13365"/>
                </a:cxn>
                <a:cxn ang="0">
                  <a:pos x="connsiteX13366" y="connsiteY13366"/>
                </a:cxn>
                <a:cxn ang="0">
                  <a:pos x="connsiteX13367" y="connsiteY13367"/>
                </a:cxn>
                <a:cxn ang="0">
                  <a:pos x="connsiteX13368" y="connsiteY13368"/>
                </a:cxn>
                <a:cxn ang="0">
                  <a:pos x="connsiteX13369" y="connsiteY13369"/>
                </a:cxn>
                <a:cxn ang="0">
                  <a:pos x="connsiteX13370" y="connsiteY13370"/>
                </a:cxn>
                <a:cxn ang="0">
                  <a:pos x="connsiteX13371" y="connsiteY13371"/>
                </a:cxn>
                <a:cxn ang="0">
                  <a:pos x="connsiteX13372" y="connsiteY13372"/>
                </a:cxn>
                <a:cxn ang="0">
                  <a:pos x="connsiteX13373" y="connsiteY13373"/>
                </a:cxn>
                <a:cxn ang="0">
                  <a:pos x="connsiteX13374" y="connsiteY13374"/>
                </a:cxn>
                <a:cxn ang="0">
                  <a:pos x="connsiteX13375" y="connsiteY13375"/>
                </a:cxn>
                <a:cxn ang="0">
                  <a:pos x="connsiteX13376" y="connsiteY13376"/>
                </a:cxn>
                <a:cxn ang="0">
                  <a:pos x="connsiteX13377" y="connsiteY13377"/>
                </a:cxn>
                <a:cxn ang="0">
                  <a:pos x="connsiteX13378" y="connsiteY13378"/>
                </a:cxn>
                <a:cxn ang="0">
                  <a:pos x="connsiteX13379" y="connsiteY13379"/>
                </a:cxn>
                <a:cxn ang="0">
                  <a:pos x="connsiteX13380" y="connsiteY13380"/>
                </a:cxn>
                <a:cxn ang="0">
                  <a:pos x="connsiteX13381" y="connsiteY13381"/>
                </a:cxn>
                <a:cxn ang="0">
                  <a:pos x="connsiteX13382" y="connsiteY13382"/>
                </a:cxn>
                <a:cxn ang="0">
                  <a:pos x="connsiteX13383" y="connsiteY13383"/>
                </a:cxn>
                <a:cxn ang="0">
                  <a:pos x="connsiteX13384" y="connsiteY13384"/>
                </a:cxn>
                <a:cxn ang="0">
                  <a:pos x="connsiteX13385" y="connsiteY13385"/>
                </a:cxn>
                <a:cxn ang="0">
                  <a:pos x="connsiteX13386" y="connsiteY13386"/>
                </a:cxn>
                <a:cxn ang="0">
                  <a:pos x="connsiteX13387" y="connsiteY13387"/>
                </a:cxn>
                <a:cxn ang="0">
                  <a:pos x="connsiteX13388" y="connsiteY13388"/>
                </a:cxn>
                <a:cxn ang="0">
                  <a:pos x="connsiteX13389" y="connsiteY13389"/>
                </a:cxn>
                <a:cxn ang="0">
                  <a:pos x="connsiteX13390" y="connsiteY13390"/>
                </a:cxn>
                <a:cxn ang="0">
                  <a:pos x="connsiteX13391" y="connsiteY13391"/>
                </a:cxn>
                <a:cxn ang="0">
                  <a:pos x="connsiteX13392" y="connsiteY13392"/>
                </a:cxn>
                <a:cxn ang="0">
                  <a:pos x="connsiteX13393" y="connsiteY13393"/>
                </a:cxn>
                <a:cxn ang="0">
                  <a:pos x="connsiteX13394" y="connsiteY13394"/>
                </a:cxn>
                <a:cxn ang="0">
                  <a:pos x="connsiteX13395" y="connsiteY13395"/>
                </a:cxn>
                <a:cxn ang="0">
                  <a:pos x="connsiteX13396" y="connsiteY13396"/>
                </a:cxn>
                <a:cxn ang="0">
                  <a:pos x="connsiteX13397" y="connsiteY13397"/>
                </a:cxn>
                <a:cxn ang="0">
                  <a:pos x="connsiteX13398" y="connsiteY13398"/>
                </a:cxn>
                <a:cxn ang="0">
                  <a:pos x="connsiteX13399" y="connsiteY13399"/>
                </a:cxn>
                <a:cxn ang="0">
                  <a:pos x="connsiteX13400" y="connsiteY13400"/>
                </a:cxn>
                <a:cxn ang="0">
                  <a:pos x="connsiteX13401" y="connsiteY13401"/>
                </a:cxn>
                <a:cxn ang="0">
                  <a:pos x="connsiteX13402" y="connsiteY13402"/>
                </a:cxn>
                <a:cxn ang="0">
                  <a:pos x="connsiteX13403" y="connsiteY13403"/>
                </a:cxn>
                <a:cxn ang="0">
                  <a:pos x="connsiteX13404" y="connsiteY13404"/>
                </a:cxn>
                <a:cxn ang="0">
                  <a:pos x="connsiteX13405" y="connsiteY13405"/>
                </a:cxn>
                <a:cxn ang="0">
                  <a:pos x="connsiteX13406" y="connsiteY13406"/>
                </a:cxn>
                <a:cxn ang="0">
                  <a:pos x="connsiteX13407" y="connsiteY13407"/>
                </a:cxn>
                <a:cxn ang="0">
                  <a:pos x="connsiteX13408" y="connsiteY13408"/>
                </a:cxn>
                <a:cxn ang="0">
                  <a:pos x="connsiteX13409" y="connsiteY13409"/>
                </a:cxn>
                <a:cxn ang="0">
                  <a:pos x="connsiteX13410" y="connsiteY13410"/>
                </a:cxn>
                <a:cxn ang="0">
                  <a:pos x="connsiteX13411" y="connsiteY13411"/>
                </a:cxn>
                <a:cxn ang="0">
                  <a:pos x="connsiteX13412" y="connsiteY13412"/>
                </a:cxn>
                <a:cxn ang="0">
                  <a:pos x="connsiteX13413" y="connsiteY13413"/>
                </a:cxn>
                <a:cxn ang="0">
                  <a:pos x="connsiteX13414" y="connsiteY13414"/>
                </a:cxn>
                <a:cxn ang="0">
                  <a:pos x="connsiteX13415" y="connsiteY13415"/>
                </a:cxn>
                <a:cxn ang="0">
                  <a:pos x="connsiteX13416" y="connsiteY13416"/>
                </a:cxn>
                <a:cxn ang="0">
                  <a:pos x="connsiteX13417" y="connsiteY13417"/>
                </a:cxn>
                <a:cxn ang="0">
                  <a:pos x="connsiteX13418" y="connsiteY13418"/>
                </a:cxn>
                <a:cxn ang="0">
                  <a:pos x="connsiteX13419" y="connsiteY13419"/>
                </a:cxn>
                <a:cxn ang="0">
                  <a:pos x="connsiteX13420" y="connsiteY13420"/>
                </a:cxn>
                <a:cxn ang="0">
                  <a:pos x="connsiteX13421" y="connsiteY13421"/>
                </a:cxn>
                <a:cxn ang="0">
                  <a:pos x="connsiteX13422" y="connsiteY13422"/>
                </a:cxn>
                <a:cxn ang="0">
                  <a:pos x="connsiteX13423" y="connsiteY13423"/>
                </a:cxn>
                <a:cxn ang="0">
                  <a:pos x="connsiteX13424" y="connsiteY13424"/>
                </a:cxn>
                <a:cxn ang="0">
                  <a:pos x="connsiteX13425" y="connsiteY13425"/>
                </a:cxn>
                <a:cxn ang="0">
                  <a:pos x="connsiteX13426" y="connsiteY13426"/>
                </a:cxn>
                <a:cxn ang="0">
                  <a:pos x="connsiteX13427" y="connsiteY13427"/>
                </a:cxn>
                <a:cxn ang="0">
                  <a:pos x="connsiteX13428" y="connsiteY13428"/>
                </a:cxn>
                <a:cxn ang="0">
                  <a:pos x="connsiteX13429" y="connsiteY13429"/>
                </a:cxn>
                <a:cxn ang="0">
                  <a:pos x="connsiteX13430" y="connsiteY13430"/>
                </a:cxn>
                <a:cxn ang="0">
                  <a:pos x="connsiteX13431" y="connsiteY13431"/>
                </a:cxn>
                <a:cxn ang="0">
                  <a:pos x="connsiteX13432" y="connsiteY13432"/>
                </a:cxn>
                <a:cxn ang="0">
                  <a:pos x="connsiteX13433" y="connsiteY13433"/>
                </a:cxn>
                <a:cxn ang="0">
                  <a:pos x="connsiteX13434" y="connsiteY13434"/>
                </a:cxn>
                <a:cxn ang="0">
                  <a:pos x="connsiteX13435" y="connsiteY13435"/>
                </a:cxn>
                <a:cxn ang="0">
                  <a:pos x="connsiteX13436" y="connsiteY13436"/>
                </a:cxn>
                <a:cxn ang="0">
                  <a:pos x="connsiteX13437" y="connsiteY13437"/>
                </a:cxn>
                <a:cxn ang="0">
                  <a:pos x="connsiteX13438" y="connsiteY13438"/>
                </a:cxn>
                <a:cxn ang="0">
                  <a:pos x="connsiteX13439" y="connsiteY13439"/>
                </a:cxn>
                <a:cxn ang="0">
                  <a:pos x="connsiteX13440" y="connsiteY13440"/>
                </a:cxn>
                <a:cxn ang="0">
                  <a:pos x="connsiteX13441" y="connsiteY13441"/>
                </a:cxn>
                <a:cxn ang="0">
                  <a:pos x="connsiteX13442" y="connsiteY13442"/>
                </a:cxn>
                <a:cxn ang="0">
                  <a:pos x="connsiteX13443" y="connsiteY13443"/>
                </a:cxn>
                <a:cxn ang="0">
                  <a:pos x="connsiteX13444" y="connsiteY13444"/>
                </a:cxn>
                <a:cxn ang="0">
                  <a:pos x="connsiteX13445" y="connsiteY13445"/>
                </a:cxn>
                <a:cxn ang="0">
                  <a:pos x="connsiteX13446" y="connsiteY13446"/>
                </a:cxn>
                <a:cxn ang="0">
                  <a:pos x="connsiteX13447" y="connsiteY13447"/>
                </a:cxn>
                <a:cxn ang="0">
                  <a:pos x="connsiteX13448" y="connsiteY13448"/>
                </a:cxn>
                <a:cxn ang="0">
                  <a:pos x="connsiteX13449" y="connsiteY13449"/>
                </a:cxn>
                <a:cxn ang="0">
                  <a:pos x="connsiteX13450" y="connsiteY13450"/>
                </a:cxn>
                <a:cxn ang="0">
                  <a:pos x="connsiteX13451" y="connsiteY13451"/>
                </a:cxn>
                <a:cxn ang="0">
                  <a:pos x="connsiteX13452" y="connsiteY13452"/>
                </a:cxn>
                <a:cxn ang="0">
                  <a:pos x="connsiteX13453" y="connsiteY13453"/>
                </a:cxn>
                <a:cxn ang="0">
                  <a:pos x="connsiteX13454" y="connsiteY13454"/>
                </a:cxn>
                <a:cxn ang="0">
                  <a:pos x="connsiteX13455" y="connsiteY13455"/>
                </a:cxn>
                <a:cxn ang="0">
                  <a:pos x="connsiteX13456" y="connsiteY13456"/>
                </a:cxn>
                <a:cxn ang="0">
                  <a:pos x="connsiteX13457" y="connsiteY13457"/>
                </a:cxn>
                <a:cxn ang="0">
                  <a:pos x="connsiteX13458" y="connsiteY13458"/>
                </a:cxn>
                <a:cxn ang="0">
                  <a:pos x="connsiteX13459" y="connsiteY13459"/>
                </a:cxn>
                <a:cxn ang="0">
                  <a:pos x="connsiteX13460" y="connsiteY13460"/>
                </a:cxn>
                <a:cxn ang="0">
                  <a:pos x="connsiteX13461" y="connsiteY13461"/>
                </a:cxn>
                <a:cxn ang="0">
                  <a:pos x="connsiteX13462" y="connsiteY13462"/>
                </a:cxn>
                <a:cxn ang="0">
                  <a:pos x="connsiteX13463" y="connsiteY13463"/>
                </a:cxn>
                <a:cxn ang="0">
                  <a:pos x="connsiteX13464" y="connsiteY13464"/>
                </a:cxn>
                <a:cxn ang="0">
                  <a:pos x="connsiteX13465" y="connsiteY13465"/>
                </a:cxn>
                <a:cxn ang="0">
                  <a:pos x="connsiteX13466" y="connsiteY13466"/>
                </a:cxn>
                <a:cxn ang="0">
                  <a:pos x="connsiteX13467" y="connsiteY13467"/>
                </a:cxn>
                <a:cxn ang="0">
                  <a:pos x="connsiteX13468" y="connsiteY13468"/>
                </a:cxn>
                <a:cxn ang="0">
                  <a:pos x="connsiteX13469" y="connsiteY13469"/>
                </a:cxn>
                <a:cxn ang="0">
                  <a:pos x="connsiteX13470" y="connsiteY13470"/>
                </a:cxn>
                <a:cxn ang="0">
                  <a:pos x="connsiteX13471" y="connsiteY13471"/>
                </a:cxn>
                <a:cxn ang="0">
                  <a:pos x="connsiteX13472" y="connsiteY13472"/>
                </a:cxn>
                <a:cxn ang="0">
                  <a:pos x="connsiteX13473" y="connsiteY13473"/>
                </a:cxn>
                <a:cxn ang="0">
                  <a:pos x="connsiteX13474" y="connsiteY13474"/>
                </a:cxn>
                <a:cxn ang="0">
                  <a:pos x="connsiteX13475" y="connsiteY13475"/>
                </a:cxn>
                <a:cxn ang="0">
                  <a:pos x="connsiteX13476" y="connsiteY13476"/>
                </a:cxn>
                <a:cxn ang="0">
                  <a:pos x="connsiteX13477" y="connsiteY13477"/>
                </a:cxn>
                <a:cxn ang="0">
                  <a:pos x="connsiteX13478" y="connsiteY13478"/>
                </a:cxn>
                <a:cxn ang="0">
                  <a:pos x="connsiteX13479" y="connsiteY13479"/>
                </a:cxn>
                <a:cxn ang="0">
                  <a:pos x="connsiteX13480" y="connsiteY13480"/>
                </a:cxn>
                <a:cxn ang="0">
                  <a:pos x="connsiteX13481" y="connsiteY13481"/>
                </a:cxn>
                <a:cxn ang="0">
                  <a:pos x="connsiteX13482" y="connsiteY13482"/>
                </a:cxn>
                <a:cxn ang="0">
                  <a:pos x="connsiteX13483" y="connsiteY13483"/>
                </a:cxn>
                <a:cxn ang="0">
                  <a:pos x="connsiteX13484" y="connsiteY13484"/>
                </a:cxn>
                <a:cxn ang="0">
                  <a:pos x="connsiteX13485" y="connsiteY13485"/>
                </a:cxn>
                <a:cxn ang="0">
                  <a:pos x="connsiteX13486" y="connsiteY13486"/>
                </a:cxn>
                <a:cxn ang="0">
                  <a:pos x="connsiteX13487" y="connsiteY13487"/>
                </a:cxn>
                <a:cxn ang="0">
                  <a:pos x="connsiteX13488" y="connsiteY13488"/>
                </a:cxn>
                <a:cxn ang="0">
                  <a:pos x="connsiteX13489" y="connsiteY13489"/>
                </a:cxn>
                <a:cxn ang="0">
                  <a:pos x="connsiteX13490" y="connsiteY13490"/>
                </a:cxn>
                <a:cxn ang="0">
                  <a:pos x="connsiteX13491" y="connsiteY13491"/>
                </a:cxn>
                <a:cxn ang="0">
                  <a:pos x="connsiteX13492" y="connsiteY13492"/>
                </a:cxn>
                <a:cxn ang="0">
                  <a:pos x="connsiteX13493" y="connsiteY13493"/>
                </a:cxn>
                <a:cxn ang="0">
                  <a:pos x="connsiteX13494" y="connsiteY13494"/>
                </a:cxn>
                <a:cxn ang="0">
                  <a:pos x="connsiteX13495" y="connsiteY13495"/>
                </a:cxn>
                <a:cxn ang="0">
                  <a:pos x="connsiteX13496" y="connsiteY13496"/>
                </a:cxn>
                <a:cxn ang="0">
                  <a:pos x="connsiteX13497" y="connsiteY13497"/>
                </a:cxn>
                <a:cxn ang="0">
                  <a:pos x="connsiteX13498" y="connsiteY13498"/>
                </a:cxn>
                <a:cxn ang="0">
                  <a:pos x="connsiteX13499" y="connsiteY13499"/>
                </a:cxn>
                <a:cxn ang="0">
                  <a:pos x="connsiteX13500" y="connsiteY13500"/>
                </a:cxn>
                <a:cxn ang="0">
                  <a:pos x="connsiteX13501" y="connsiteY13501"/>
                </a:cxn>
                <a:cxn ang="0">
                  <a:pos x="connsiteX13502" y="connsiteY13502"/>
                </a:cxn>
                <a:cxn ang="0">
                  <a:pos x="connsiteX13503" y="connsiteY13503"/>
                </a:cxn>
                <a:cxn ang="0">
                  <a:pos x="connsiteX13504" y="connsiteY13504"/>
                </a:cxn>
                <a:cxn ang="0">
                  <a:pos x="connsiteX13505" y="connsiteY13505"/>
                </a:cxn>
                <a:cxn ang="0">
                  <a:pos x="connsiteX13506" y="connsiteY13506"/>
                </a:cxn>
                <a:cxn ang="0">
                  <a:pos x="connsiteX13507" y="connsiteY13507"/>
                </a:cxn>
                <a:cxn ang="0">
                  <a:pos x="connsiteX13508" y="connsiteY13508"/>
                </a:cxn>
                <a:cxn ang="0">
                  <a:pos x="connsiteX13509" y="connsiteY13509"/>
                </a:cxn>
                <a:cxn ang="0">
                  <a:pos x="connsiteX13510" y="connsiteY13510"/>
                </a:cxn>
                <a:cxn ang="0">
                  <a:pos x="connsiteX13511" y="connsiteY13511"/>
                </a:cxn>
                <a:cxn ang="0">
                  <a:pos x="connsiteX13512" y="connsiteY13512"/>
                </a:cxn>
                <a:cxn ang="0">
                  <a:pos x="connsiteX13513" y="connsiteY13513"/>
                </a:cxn>
                <a:cxn ang="0">
                  <a:pos x="connsiteX13514" y="connsiteY13514"/>
                </a:cxn>
                <a:cxn ang="0">
                  <a:pos x="connsiteX13515" y="connsiteY13515"/>
                </a:cxn>
                <a:cxn ang="0">
                  <a:pos x="connsiteX13516" y="connsiteY13516"/>
                </a:cxn>
                <a:cxn ang="0">
                  <a:pos x="connsiteX13517" y="connsiteY13517"/>
                </a:cxn>
                <a:cxn ang="0">
                  <a:pos x="connsiteX13518" y="connsiteY13518"/>
                </a:cxn>
                <a:cxn ang="0">
                  <a:pos x="connsiteX13519" y="connsiteY13519"/>
                </a:cxn>
                <a:cxn ang="0">
                  <a:pos x="connsiteX13520" y="connsiteY13520"/>
                </a:cxn>
                <a:cxn ang="0">
                  <a:pos x="connsiteX13521" y="connsiteY13521"/>
                </a:cxn>
                <a:cxn ang="0">
                  <a:pos x="connsiteX13522" y="connsiteY13522"/>
                </a:cxn>
                <a:cxn ang="0">
                  <a:pos x="connsiteX13523" y="connsiteY13523"/>
                </a:cxn>
                <a:cxn ang="0">
                  <a:pos x="connsiteX13524" y="connsiteY13524"/>
                </a:cxn>
                <a:cxn ang="0">
                  <a:pos x="connsiteX13525" y="connsiteY13525"/>
                </a:cxn>
                <a:cxn ang="0">
                  <a:pos x="connsiteX13526" y="connsiteY13526"/>
                </a:cxn>
                <a:cxn ang="0">
                  <a:pos x="connsiteX13527" y="connsiteY13527"/>
                </a:cxn>
                <a:cxn ang="0">
                  <a:pos x="connsiteX13528" y="connsiteY13528"/>
                </a:cxn>
                <a:cxn ang="0">
                  <a:pos x="connsiteX13529" y="connsiteY13529"/>
                </a:cxn>
                <a:cxn ang="0">
                  <a:pos x="connsiteX13530" y="connsiteY13530"/>
                </a:cxn>
                <a:cxn ang="0">
                  <a:pos x="connsiteX13531" y="connsiteY13531"/>
                </a:cxn>
                <a:cxn ang="0">
                  <a:pos x="connsiteX13532" y="connsiteY13532"/>
                </a:cxn>
                <a:cxn ang="0">
                  <a:pos x="connsiteX13533" y="connsiteY13533"/>
                </a:cxn>
                <a:cxn ang="0">
                  <a:pos x="connsiteX13534" y="connsiteY13534"/>
                </a:cxn>
                <a:cxn ang="0">
                  <a:pos x="connsiteX13535" y="connsiteY13535"/>
                </a:cxn>
                <a:cxn ang="0">
                  <a:pos x="connsiteX13536" y="connsiteY13536"/>
                </a:cxn>
                <a:cxn ang="0">
                  <a:pos x="connsiteX13537" y="connsiteY13537"/>
                </a:cxn>
                <a:cxn ang="0">
                  <a:pos x="connsiteX13538" y="connsiteY13538"/>
                </a:cxn>
                <a:cxn ang="0">
                  <a:pos x="connsiteX13539" y="connsiteY13539"/>
                </a:cxn>
                <a:cxn ang="0">
                  <a:pos x="connsiteX13540" y="connsiteY13540"/>
                </a:cxn>
                <a:cxn ang="0">
                  <a:pos x="connsiteX13541" y="connsiteY13541"/>
                </a:cxn>
                <a:cxn ang="0">
                  <a:pos x="connsiteX13542" y="connsiteY13542"/>
                </a:cxn>
                <a:cxn ang="0">
                  <a:pos x="connsiteX13543" y="connsiteY13543"/>
                </a:cxn>
                <a:cxn ang="0">
                  <a:pos x="connsiteX13544" y="connsiteY13544"/>
                </a:cxn>
                <a:cxn ang="0">
                  <a:pos x="connsiteX13545" y="connsiteY13545"/>
                </a:cxn>
                <a:cxn ang="0">
                  <a:pos x="connsiteX13546" y="connsiteY13546"/>
                </a:cxn>
                <a:cxn ang="0">
                  <a:pos x="connsiteX13547" y="connsiteY13547"/>
                </a:cxn>
                <a:cxn ang="0">
                  <a:pos x="connsiteX13548" y="connsiteY13548"/>
                </a:cxn>
                <a:cxn ang="0">
                  <a:pos x="connsiteX13549" y="connsiteY13549"/>
                </a:cxn>
                <a:cxn ang="0">
                  <a:pos x="connsiteX13550" y="connsiteY13550"/>
                </a:cxn>
                <a:cxn ang="0">
                  <a:pos x="connsiteX13551" y="connsiteY13551"/>
                </a:cxn>
                <a:cxn ang="0">
                  <a:pos x="connsiteX13552" y="connsiteY13552"/>
                </a:cxn>
                <a:cxn ang="0">
                  <a:pos x="connsiteX13553" y="connsiteY13553"/>
                </a:cxn>
                <a:cxn ang="0">
                  <a:pos x="connsiteX13554" y="connsiteY13554"/>
                </a:cxn>
                <a:cxn ang="0">
                  <a:pos x="connsiteX13555" y="connsiteY13555"/>
                </a:cxn>
                <a:cxn ang="0">
                  <a:pos x="connsiteX13556" y="connsiteY13556"/>
                </a:cxn>
                <a:cxn ang="0">
                  <a:pos x="connsiteX13557" y="connsiteY13557"/>
                </a:cxn>
                <a:cxn ang="0">
                  <a:pos x="connsiteX13558" y="connsiteY13558"/>
                </a:cxn>
                <a:cxn ang="0">
                  <a:pos x="connsiteX13559" y="connsiteY13559"/>
                </a:cxn>
                <a:cxn ang="0">
                  <a:pos x="connsiteX13560" y="connsiteY13560"/>
                </a:cxn>
                <a:cxn ang="0">
                  <a:pos x="connsiteX13561" y="connsiteY13561"/>
                </a:cxn>
                <a:cxn ang="0">
                  <a:pos x="connsiteX13562" y="connsiteY13562"/>
                </a:cxn>
                <a:cxn ang="0">
                  <a:pos x="connsiteX13563" y="connsiteY13563"/>
                </a:cxn>
                <a:cxn ang="0">
                  <a:pos x="connsiteX13564" y="connsiteY13564"/>
                </a:cxn>
                <a:cxn ang="0">
                  <a:pos x="connsiteX13565" y="connsiteY13565"/>
                </a:cxn>
                <a:cxn ang="0">
                  <a:pos x="connsiteX13566" y="connsiteY13566"/>
                </a:cxn>
                <a:cxn ang="0">
                  <a:pos x="connsiteX13567" y="connsiteY13567"/>
                </a:cxn>
                <a:cxn ang="0">
                  <a:pos x="connsiteX13568" y="connsiteY13568"/>
                </a:cxn>
                <a:cxn ang="0">
                  <a:pos x="connsiteX13569" y="connsiteY13569"/>
                </a:cxn>
                <a:cxn ang="0">
                  <a:pos x="connsiteX13570" y="connsiteY13570"/>
                </a:cxn>
                <a:cxn ang="0">
                  <a:pos x="connsiteX13571" y="connsiteY13571"/>
                </a:cxn>
                <a:cxn ang="0">
                  <a:pos x="connsiteX13572" y="connsiteY13572"/>
                </a:cxn>
                <a:cxn ang="0">
                  <a:pos x="connsiteX13573" y="connsiteY13573"/>
                </a:cxn>
                <a:cxn ang="0">
                  <a:pos x="connsiteX13574" y="connsiteY13574"/>
                </a:cxn>
                <a:cxn ang="0">
                  <a:pos x="connsiteX13575" y="connsiteY13575"/>
                </a:cxn>
                <a:cxn ang="0">
                  <a:pos x="connsiteX13576" y="connsiteY13576"/>
                </a:cxn>
                <a:cxn ang="0">
                  <a:pos x="connsiteX13577" y="connsiteY13577"/>
                </a:cxn>
                <a:cxn ang="0">
                  <a:pos x="connsiteX13578" y="connsiteY13578"/>
                </a:cxn>
                <a:cxn ang="0">
                  <a:pos x="connsiteX13579" y="connsiteY13579"/>
                </a:cxn>
                <a:cxn ang="0">
                  <a:pos x="connsiteX13580" y="connsiteY13580"/>
                </a:cxn>
                <a:cxn ang="0">
                  <a:pos x="connsiteX13581" y="connsiteY13581"/>
                </a:cxn>
                <a:cxn ang="0">
                  <a:pos x="connsiteX13582" y="connsiteY13582"/>
                </a:cxn>
                <a:cxn ang="0">
                  <a:pos x="connsiteX13583" y="connsiteY13583"/>
                </a:cxn>
                <a:cxn ang="0">
                  <a:pos x="connsiteX13584" y="connsiteY13584"/>
                </a:cxn>
                <a:cxn ang="0">
                  <a:pos x="connsiteX13585" y="connsiteY13585"/>
                </a:cxn>
                <a:cxn ang="0">
                  <a:pos x="connsiteX13586" y="connsiteY13586"/>
                </a:cxn>
                <a:cxn ang="0">
                  <a:pos x="connsiteX13587" y="connsiteY13587"/>
                </a:cxn>
                <a:cxn ang="0">
                  <a:pos x="connsiteX13588" y="connsiteY13588"/>
                </a:cxn>
                <a:cxn ang="0">
                  <a:pos x="connsiteX13589" y="connsiteY13589"/>
                </a:cxn>
                <a:cxn ang="0">
                  <a:pos x="connsiteX13590" y="connsiteY13590"/>
                </a:cxn>
                <a:cxn ang="0">
                  <a:pos x="connsiteX13591" y="connsiteY13591"/>
                </a:cxn>
                <a:cxn ang="0">
                  <a:pos x="connsiteX13592" y="connsiteY13592"/>
                </a:cxn>
                <a:cxn ang="0">
                  <a:pos x="connsiteX13593" y="connsiteY13593"/>
                </a:cxn>
                <a:cxn ang="0">
                  <a:pos x="connsiteX13594" y="connsiteY13594"/>
                </a:cxn>
                <a:cxn ang="0">
                  <a:pos x="connsiteX13595" y="connsiteY13595"/>
                </a:cxn>
                <a:cxn ang="0">
                  <a:pos x="connsiteX13596" y="connsiteY13596"/>
                </a:cxn>
                <a:cxn ang="0">
                  <a:pos x="connsiteX13597" y="connsiteY13597"/>
                </a:cxn>
                <a:cxn ang="0">
                  <a:pos x="connsiteX13598" y="connsiteY13598"/>
                </a:cxn>
                <a:cxn ang="0">
                  <a:pos x="connsiteX13599" y="connsiteY13599"/>
                </a:cxn>
                <a:cxn ang="0">
                  <a:pos x="connsiteX13600" y="connsiteY13600"/>
                </a:cxn>
                <a:cxn ang="0">
                  <a:pos x="connsiteX13601" y="connsiteY13601"/>
                </a:cxn>
                <a:cxn ang="0">
                  <a:pos x="connsiteX13602" y="connsiteY13602"/>
                </a:cxn>
                <a:cxn ang="0">
                  <a:pos x="connsiteX13603" y="connsiteY13603"/>
                </a:cxn>
                <a:cxn ang="0">
                  <a:pos x="connsiteX13604" y="connsiteY13604"/>
                </a:cxn>
                <a:cxn ang="0">
                  <a:pos x="connsiteX13605" y="connsiteY13605"/>
                </a:cxn>
                <a:cxn ang="0">
                  <a:pos x="connsiteX13606" y="connsiteY13606"/>
                </a:cxn>
                <a:cxn ang="0">
                  <a:pos x="connsiteX13607" y="connsiteY13607"/>
                </a:cxn>
                <a:cxn ang="0">
                  <a:pos x="connsiteX13608" y="connsiteY13608"/>
                </a:cxn>
                <a:cxn ang="0">
                  <a:pos x="connsiteX13609" y="connsiteY13609"/>
                </a:cxn>
                <a:cxn ang="0">
                  <a:pos x="connsiteX13610" y="connsiteY13610"/>
                </a:cxn>
                <a:cxn ang="0">
                  <a:pos x="connsiteX13611" y="connsiteY13611"/>
                </a:cxn>
                <a:cxn ang="0">
                  <a:pos x="connsiteX13612" y="connsiteY13612"/>
                </a:cxn>
                <a:cxn ang="0">
                  <a:pos x="connsiteX13613" y="connsiteY13613"/>
                </a:cxn>
                <a:cxn ang="0">
                  <a:pos x="connsiteX13614" y="connsiteY13614"/>
                </a:cxn>
                <a:cxn ang="0">
                  <a:pos x="connsiteX13615" y="connsiteY13615"/>
                </a:cxn>
                <a:cxn ang="0">
                  <a:pos x="connsiteX13616" y="connsiteY13616"/>
                </a:cxn>
                <a:cxn ang="0">
                  <a:pos x="connsiteX13617" y="connsiteY13617"/>
                </a:cxn>
                <a:cxn ang="0">
                  <a:pos x="connsiteX13618" y="connsiteY13618"/>
                </a:cxn>
                <a:cxn ang="0">
                  <a:pos x="connsiteX13619" y="connsiteY13619"/>
                </a:cxn>
                <a:cxn ang="0">
                  <a:pos x="connsiteX13620" y="connsiteY13620"/>
                </a:cxn>
                <a:cxn ang="0">
                  <a:pos x="connsiteX13621" y="connsiteY13621"/>
                </a:cxn>
                <a:cxn ang="0">
                  <a:pos x="connsiteX13622" y="connsiteY13622"/>
                </a:cxn>
                <a:cxn ang="0">
                  <a:pos x="connsiteX13623" y="connsiteY13623"/>
                </a:cxn>
                <a:cxn ang="0">
                  <a:pos x="connsiteX13624" y="connsiteY13624"/>
                </a:cxn>
                <a:cxn ang="0">
                  <a:pos x="connsiteX13625" y="connsiteY13625"/>
                </a:cxn>
                <a:cxn ang="0">
                  <a:pos x="connsiteX13626" y="connsiteY13626"/>
                </a:cxn>
                <a:cxn ang="0">
                  <a:pos x="connsiteX13627" y="connsiteY13627"/>
                </a:cxn>
                <a:cxn ang="0">
                  <a:pos x="connsiteX13628" y="connsiteY13628"/>
                </a:cxn>
                <a:cxn ang="0">
                  <a:pos x="connsiteX13629" y="connsiteY13629"/>
                </a:cxn>
                <a:cxn ang="0">
                  <a:pos x="connsiteX13630" y="connsiteY13630"/>
                </a:cxn>
                <a:cxn ang="0">
                  <a:pos x="connsiteX13631" y="connsiteY13631"/>
                </a:cxn>
                <a:cxn ang="0">
                  <a:pos x="connsiteX13632" y="connsiteY13632"/>
                </a:cxn>
                <a:cxn ang="0">
                  <a:pos x="connsiteX13633" y="connsiteY13633"/>
                </a:cxn>
                <a:cxn ang="0">
                  <a:pos x="connsiteX13634" y="connsiteY13634"/>
                </a:cxn>
                <a:cxn ang="0">
                  <a:pos x="connsiteX13635" y="connsiteY13635"/>
                </a:cxn>
                <a:cxn ang="0">
                  <a:pos x="connsiteX13636" y="connsiteY13636"/>
                </a:cxn>
                <a:cxn ang="0">
                  <a:pos x="connsiteX13637" y="connsiteY13637"/>
                </a:cxn>
                <a:cxn ang="0">
                  <a:pos x="connsiteX13638" y="connsiteY13638"/>
                </a:cxn>
                <a:cxn ang="0">
                  <a:pos x="connsiteX13639" y="connsiteY13639"/>
                </a:cxn>
                <a:cxn ang="0">
                  <a:pos x="connsiteX13640" y="connsiteY13640"/>
                </a:cxn>
                <a:cxn ang="0">
                  <a:pos x="connsiteX13641" y="connsiteY13641"/>
                </a:cxn>
                <a:cxn ang="0">
                  <a:pos x="connsiteX13642" y="connsiteY13642"/>
                </a:cxn>
                <a:cxn ang="0">
                  <a:pos x="connsiteX13643" y="connsiteY13643"/>
                </a:cxn>
                <a:cxn ang="0">
                  <a:pos x="connsiteX13644" y="connsiteY13644"/>
                </a:cxn>
                <a:cxn ang="0">
                  <a:pos x="connsiteX13645" y="connsiteY13645"/>
                </a:cxn>
                <a:cxn ang="0">
                  <a:pos x="connsiteX13646" y="connsiteY13646"/>
                </a:cxn>
                <a:cxn ang="0">
                  <a:pos x="connsiteX13647" y="connsiteY13647"/>
                </a:cxn>
                <a:cxn ang="0">
                  <a:pos x="connsiteX13648" y="connsiteY13648"/>
                </a:cxn>
                <a:cxn ang="0">
                  <a:pos x="connsiteX13649" y="connsiteY13649"/>
                </a:cxn>
                <a:cxn ang="0">
                  <a:pos x="connsiteX13650" y="connsiteY13650"/>
                </a:cxn>
                <a:cxn ang="0">
                  <a:pos x="connsiteX13651" y="connsiteY13651"/>
                </a:cxn>
                <a:cxn ang="0">
                  <a:pos x="connsiteX13652" y="connsiteY13652"/>
                </a:cxn>
                <a:cxn ang="0">
                  <a:pos x="connsiteX13653" y="connsiteY13653"/>
                </a:cxn>
                <a:cxn ang="0">
                  <a:pos x="connsiteX13654" y="connsiteY13654"/>
                </a:cxn>
                <a:cxn ang="0">
                  <a:pos x="connsiteX13655" y="connsiteY13655"/>
                </a:cxn>
                <a:cxn ang="0">
                  <a:pos x="connsiteX13656" y="connsiteY13656"/>
                </a:cxn>
                <a:cxn ang="0">
                  <a:pos x="connsiteX13657" y="connsiteY13657"/>
                </a:cxn>
                <a:cxn ang="0">
                  <a:pos x="connsiteX13658" y="connsiteY13658"/>
                </a:cxn>
                <a:cxn ang="0">
                  <a:pos x="connsiteX13659" y="connsiteY13659"/>
                </a:cxn>
                <a:cxn ang="0">
                  <a:pos x="connsiteX13660" y="connsiteY13660"/>
                </a:cxn>
                <a:cxn ang="0">
                  <a:pos x="connsiteX13661" y="connsiteY13661"/>
                </a:cxn>
                <a:cxn ang="0">
                  <a:pos x="connsiteX13662" y="connsiteY13662"/>
                </a:cxn>
                <a:cxn ang="0">
                  <a:pos x="connsiteX13663" y="connsiteY13663"/>
                </a:cxn>
                <a:cxn ang="0">
                  <a:pos x="connsiteX13664" y="connsiteY13664"/>
                </a:cxn>
                <a:cxn ang="0">
                  <a:pos x="connsiteX13665" y="connsiteY13665"/>
                </a:cxn>
                <a:cxn ang="0">
                  <a:pos x="connsiteX13666" y="connsiteY13666"/>
                </a:cxn>
                <a:cxn ang="0">
                  <a:pos x="connsiteX13667" y="connsiteY13667"/>
                </a:cxn>
                <a:cxn ang="0">
                  <a:pos x="connsiteX13668" y="connsiteY13668"/>
                </a:cxn>
                <a:cxn ang="0">
                  <a:pos x="connsiteX13669" y="connsiteY13669"/>
                </a:cxn>
                <a:cxn ang="0">
                  <a:pos x="connsiteX13670" y="connsiteY13670"/>
                </a:cxn>
                <a:cxn ang="0">
                  <a:pos x="connsiteX13671" y="connsiteY13671"/>
                </a:cxn>
                <a:cxn ang="0">
                  <a:pos x="connsiteX13672" y="connsiteY13672"/>
                </a:cxn>
                <a:cxn ang="0">
                  <a:pos x="connsiteX13673" y="connsiteY13673"/>
                </a:cxn>
                <a:cxn ang="0">
                  <a:pos x="connsiteX13674" y="connsiteY13674"/>
                </a:cxn>
                <a:cxn ang="0">
                  <a:pos x="connsiteX13675" y="connsiteY13675"/>
                </a:cxn>
                <a:cxn ang="0">
                  <a:pos x="connsiteX13676" y="connsiteY13676"/>
                </a:cxn>
                <a:cxn ang="0">
                  <a:pos x="connsiteX13677" y="connsiteY13677"/>
                </a:cxn>
                <a:cxn ang="0">
                  <a:pos x="connsiteX13678" y="connsiteY13678"/>
                </a:cxn>
                <a:cxn ang="0">
                  <a:pos x="connsiteX13679" y="connsiteY13679"/>
                </a:cxn>
                <a:cxn ang="0">
                  <a:pos x="connsiteX13680" y="connsiteY13680"/>
                </a:cxn>
                <a:cxn ang="0">
                  <a:pos x="connsiteX13681" y="connsiteY13681"/>
                </a:cxn>
                <a:cxn ang="0">
                  <a:pos x="connsiteX13682" y="connsiteY13682"/>
                </a:cxn>
                <a:cxn ang="0">
                  <a:pos x="connsiteX13683" y="connsiteY13683"/>
                </a:cxn>
                <a:cxn ang="0">
                  <a:pos x="connsiteX13684" y="connsiteY13684"/>
                </a:cxn>
                <a:cxn ang="0">
                  <a:pos x="connsiteX13685" y="connsiteY13685"/>
                </a:cxn>
                <a:cxn ang="0">
                  <a:pos x="connsiteX13686" y="connsiteY13686"/>
                </a:cxn>
                <a:cxn ang="0">
                  <a:pos x="connsiteX13687" y="connsiteY13687"/>
                </a:cxn>
                <a:cxn ang="0">
                  <a:pos x="connsiteX13688" y="connsiteY13688"/>
                </a:cxn>
                <a:cxn ang="0">
                  <a:pos x="connsiteX13689" y="connsiteY13689"/>
                </a:cxn>
                <a:cxn ang="0">
                  <a:pos x="connsiteX13690" y="connsiteY13690"/>
                </a:cxn>
                <a:cxn ang="0">
                  <a:pos x="connsiteX13691" y="connsiteY13691"/>
                </a:cxn>
                <a:cxn ang="0">
                  <a:pos x="connsiteX13692" y="connsiteY13692"/>
                </a:cxn>
                <a:cxn ang="0">
                  <a:pos x="connsiteX13693" y="connsiteY13693"/>
                </a:cxn>
                <a:cxn ang="0">
                  <a:pos x="connsiteX13694" y="connsiteY13694"/>
                </a:cxn>
                <a:cxn ang="0">
                  <a:pos x="connsiteX13695" y="connsiteY13695"/>
                </a:cxn>
                <a:cxn ang="0">
                  <a:pos x="connsiteX13696" y="connsiteY13696"/>
                </a:cxn>
                <a:cxn ang="0">
                  <a:pos x="connsiteX13697" y="connsiteY13697"/>
                </a:cxn>
                <a:cxn ang="0">
                  <a:pos x="connsiteX13698" y="connsiteY13698"/>
                </a:cxn>
                <a:cxn ang="0">
                  <a:pos x="connsiteX13699" y="connsiteY13699"/>
                </a:cxn>
                <a:cxn ang="0">
                  <a:pos x="connsiteX13700" y="connsiteY13700"/>
                </a:cxn>
                <a:cxn ang="0">
                  <a:pos x="connsiteX13701" y="connsiteY13701"/>
                </a:cxn>
                <a:cxn ang="0">
                  <a:pos x="connsiteX13702" y="connsiteY13702"/>
                </a:cxn>
                <a:cxn ang="0">
                  <a:pos x="connsiteX13703" y="connsiteY13703"/>
                </a:cxn>
                <a:cxn ang="0">
                  <a:pos x="connsiteX13704" y="connsiteY13704"/>
                </a:cxn>
                <a:cxn ang="0">
                  <a:pos x="connsiteX13705" y="connsiteY13705"/>
                </a:cxn>
                <a:cxn ang="0">
                  <a:pos x="connsiteX13706" y="connsiteY13706"/>
                </a:cxn>
                <a:cxn ang="0">
                  <a:pos x="connsiteX13707" y="connsiteY13707"/>
                </a:cxn>
                <a:cxn ang="0">
                  <a:pos x="connsiteX13708" y="connsiteY13708"/>
                </a:cxn>
                <a:cxn ang="0">
                  <a:pos x="connsiteX13709" y="connsiteY13709"/>
                </a:cxn>
                <a:cxn ang="0">
                  <a:pos x="connsiteX13710" y="connsiteY13710"/>
                </a:cxn>
                <a:cxn ang="0">
                  <a:pos x="connsiteX13711" y="connsiteY13711"/>
                </a:cxn>
                <a:cxn ang="0">
                  <a:pos x="connsiteX13712" y="connsiteY13712"/>
                </a:cxn>
                <a:cxn ang="0">
                  <a:pos x="connsiteX13713" y="connsiteY13713"/>
                </a:cxn>
                <a:cxn ang="0">
                  <a:pos x="connsiteX13714" y="connsiteY13714"/>
                </a:cxn>
                <a:cxn ang="0">
                  <a:pos x="connsiteX13715" y="connsiteY13715"/>
                </a:cxn>
                <a:cxn ang="0">
                  <a:pos x="connsiteX13716" y="connsiteY13716"/>
                </a:cxn>
                <a:cxn ang="0">
                  <a:pos x="connsiteX13717" y="connsiteY13717"/>
                </a:cxn>
                <a:cxn ang="0">
                  <a:pos x="connsiteX13718" y="connsiteY13718"/>
                </a:cxn>
                <a:cxn ang="0">
                  <a:pos x="connsiteX13719" y="connsiteY13719"/>
                </a:cxn>
                <a:cxn ang="0">
                  <a:pos x="connsiteX13720" y="connsiteY13720"/>
                </a:cxn>
                <a:cxn ang="0">
                  <a:pos x="connsiteX13721" y="connsiteY13721"/>
                </a:cxn>
                <a:cxn ang="0">
                  <a:pos x="connsiteX13722" y="connsiteY13722"/>
                </a:cxn>
                <a:cxn ang="0">
                  <a:pos x="connsiteX13723" y="connsiteY13723"/>
                </a:cxn>
                <a:cxn ang="0">
                  <a:pos x="connsiteX13724" y="connsiteY13724"/>
                </a:cxn>
                <a:cxn ang="0">
                  <a:pos x="connsiteX13725" y="connsiteY13725"/>
                </a:cxn>
                <a:cxn ang="0">
                  <a:pos x="connsiteX13726" y="connsiteY13726"/>
                </a:cxn>
                <a:cxn ang="0">
                  <a:pos x="connsiteX13727" y="connsiteY13727"/>
                </a:cxn>
                <a:cxn ang="0">
                  <a:pos x="connsiteX13728" y="connsiteY13728"/>
                </a:cxn>
                <a:cxn ang="0">
                  <a:pos x="connsiteX13729" y="connsiteY13729"/>
                </a:cxn>
                <a:cxn ang="0">
                  <a:pos x="connsiteX13730" y="connsiteY13730"/>
                </a:cxn>
                <a:cxn ang="0">
                  <a:pos x="connsiteX13731" y="connsiteY13731"/>
                </a:cxn>
                <a:cxn ang="0">
                  <a:pos x="connsiteX13732" y="connsiteY13732"/>
                </a:cxn>
                <a:cxn ang="0">
                  <a:pos x="connsiteX13733" y="connsiteY13733"/>
                </a:cxn>
                <a:cxn ang="0">
                  <a:pos x="connsiteX13734" y="connsiteY13734"/>
                </a:cxn>
                <a:cxn ang="0">
                  <a:pos x="connsiteX13735" y="connsiteY13735"/>
                </a:cxn>
                <a:cxn ang="0">
                  <a:pos x="connsiteX13736" y="connsiteY13736"/>
                </a:cxn>
                <a:cxn ang="0">
                  <a:pos x="connsiteX13737" y="connsiteY13737"/>
                </a:cxn>
                <a:cxn ang="0">
                  <a:pos x="connsiteX13738" y="connsiteY13738"/>
                </a:cxn>
                <a:cxn ang="0">
                  <a:pos x="connsiteX13739" y="connsiteY13739"/>
                </a:cxn>
                <a:cxn ang="0">
                  <a:pos x="connsiteX13740" y="connsiteY13740"/>
                </a:cxn>
                <a:cxn ang="0">
                  <a:pos x="connsiteX13741" y="connsiteY13741"/>
                </a:cxn>
                <a:cxn ang="0">
                  <a:pos x="connsiteX13742" y="connsiteY13742"/>
                </a:cxn>
                <a:cxn ang="0">
                  <a:pos x="connsiteX13743" y="connsiteY13743"/>
                </a:cxn>
                <a:cxn ang="0">
                  <a:pos x="connsiteX13744" y="connsiteY13744"/>
                </a:cxn>
                <a:cxn ang="0">
                  <a:pos x="connsiteX13745" y="connsiteY13745"/>
                </a:cxn>
                <a:cxn ang="0">
                  <a:pos x="connsiteX13746" y="connsiteY13746"/>
                </a:cxn>
                <a:cxn ang="0">
                  <a:pos x="connsiteX13747" y="connsiteY13747"/>
                </a:cxn>
                <a:cxn ang="0">
                  <a:pos x="connsiteX13748" y="connsiteY13748"/>
                </a:cxn>
                <a:cxn ang="0">
                  <a:pos x="connsiteX13749" y="connsiteY13749"/>
                </a:cxn>
                <a:cxn ang="0">
                  <a:pos x="connsiteX13750" y="connsiteY13750"/>
                </a:cxn>
                <a:cxn ang="0">
                  <a:pos x="connsiteX13751" y="connsiteY13751"/>
                </a:cxn>
                <a:cxn ang="0">
                  <a:pos x="connsiteX13752" y="connsiteY13752"/>
                </a:cxn>
                <a:cxn ang="0">
                  <a:pos x="connsiteX13753" y="connsiteY13753"/>
                </a:cxn>
                <a:cxn ang="0">
                  <a:pos x="connsiteX13754" y="connsiteY13754"/>
                </a:cxn>
                <a:cxn ang="0">
                  <a:pos x="connsiteX13755" y="connsiteY13755"/>
                </a:cxn>
                <a:cxn ang="0">
                  <a:pos x="connsiteX13756" y="connsiteY13756"/>
                </a:cxn>
                <a:cxn ang="0">
                  <a:pos x="connsiteX13757" y="connsiteY13757"/>
                </a:cxn>
                <a:cxn ang="0">
                  <a:pos x="connsiteX13758" y="connsiteY13758"/>
                </a:cxn>
                <a:cxn ang="0">
                  <a:pos x="connsiteX13759" y="connsiteY13759"/>
                </a:cxn>
                <a:cxn ang="0">
                  <a:pos x="connsiteX13760" y="connsiteY13760"/>
                </a:cxn>
                <a:cxn ang="0">
                  <a:pos x="connsiteX13761" y="connsiteY13761"/>
                </a:cxn>
                <a:cxn ang="0">
                  <a:pos x="connsiteX13762" y="connsiteY13762"/>
                </a:cxn>
                <a:cxn ang="0">
                  <a:pos x="connsiteX13763" y="connsiteY13763"/>
                </a:cxn>
                <a:cxn ang="0">
                  <a:pos x="connsiteX13764" y="connsiteY13764"/>
                </a:cxn>
                <a:cxn ang="0">
                  <a:pos x="connsiteX13765" y="connsiteY13765"/>
                </a:cxn>
                <a:cxn ang="0">
                  <a:pos x="connsiteX13766" y="connsiteY13766"/>
                </a:cxn>
                <a:cxn ang="0">
                  <a:pos x="connsiteX13767" y="connsiteY13767"/>
                </a:cxn>
                <a:cxn ang="0">
                  <a:pos x="connsiteX13768" y="connsiteY13768"/>
                </a:cxn>
                <a:cxn ang="0">
                  <a:pos x="connsiteX13769" y="connsiteY13769"/>
                </a:cxn>
                <a:cxn ang="0">
                  <a:pos x="connsiteX13770" y="connsiteY13770"/>
                </a:cxn>
                <a:cxn ang="0">
                  <a:pos x="connsiteX13771" y="connsiteY13771"/>
                </a:cxn>
                <a:cxn ang="0">
                  <a:pos x="connsiteX13772" y="connsiteY13772"/>
                </a:cxn>
                <a:cxn ang="0">
                  <a:pos x="connsiteX13773" y="connsiteY13773"/>
                </a:cxn>
                <a:cxn ang="0">
                  <a:pos x="connsiteX13774" y="connsiteY13774"/>
                </a:cxn>
                <a:cxn ang="0">
                  <a:pos x="connsiteX13775" y="connsiteY13775"/>
                </a:cxn>
                <a:cxn ang="0">
                  <a:pos x="connsiteX13776" y="connsiteY13776"/>
                </a:cxn>
                <a:cxn ang="0">
                  <a:pos x="connsiteX13777" y="connsiteY13777"/>
                </a:cxn>
                <a:cxn ang="0">
                  <a:pos x="connsiteX13778" y="connsiteY13778"/>
                </a:cxn>
                <a:cxn ang="0">
                  <a:pos x="connsiteX13779" y="connsiteY13779"/>
                </a:cxn>
                <a:cxn ang="0">
                  <a:pos x="connsiteX13780" y="connsiteY13780"/>
                </a:cxn>
                <a:cxn ang="0">
                  <a:pos x="connsiteX13781" y="connsiteY13781"/>
                </a:cxn>
                <a:cxn ang="0">
                  <a:pos x="connsiteX13782" y="connsiteY13782"/>
                </a:cxn>
                <a:cxn ang="0">
                  <a:pos x="connsiteX13783" y="connsiteY13783"/>
                </a:cxn>
                <a:cxn ang="0">
                  <a:pos x="connsiteX13784" y="connsiteY13784"/>
                </a:cxn>
                <a:cxn ang="0">
                  <a:pos x="connsiteX13785" y="connsiteY13785"/>
                </a:cxn>
                <a:cxn ang="0">
                  <a:pos x="connsiteX13786" y="connsiteY13786"/>
                </a:cxn>
                <a:cxn ang="0">
                  <a:pos x="connsiteX13787" y="connsiteY13787"/>
                </a:cxn>
                <a:cxn ang="0">
                  <a:pos x="connsiteX13788" y="connsiteY13788"/>
                </a:cxn>
                <a:cxn ang="0">
                  <a:pos x="connsiteX13789" y="connsiteY13789"/>
                </a:cxn>
                <a:cxn ang="0">
                  <a:pos x="connsiteX13790" y="connsiteY13790"/>
                </a:cxn>
                <a:cxn ang="0">
                  <a:pos x="connsiteX13791" y="connsiteY13791"/>
                </a:cxn>
                <a:cxn ang="0">
                  <a:pos x="connsiteX13792" y="connsiteY13792"/>
                </a:cxn>
                <a:cxn ang="0">
                  <a:pos x="connsiteX13793" y="connsiteY13793"/>
                </a:cxn>
                <a:cxn ang="0">
                  <a:pos x="connsiteX13794" y="connsiteY13794"/>
                </a:cxn>
                <a:cxn ang="0">
                  <a:pos x="connsiteX13795" y="connsiteY13795"/>
                </a:cxn>
                <a:cxn ang="0">
                  <a:pos x="connsiteX13796" y="connsiteY13796"/>
                </a:cxn>
                <a:cxn ang="0">
                  <a:pos x="connsiteX13797" y="connsiteY13797"/>
                </a:cxn>
                <a:cxn ang="0">
                  <a:pos x="connsiteX13798" y="connsiteY13798"/>
                </a:cxn>
                <a:cxn ang="0">
                  <a:pos x="connsiteX13799" y="connsiteY13799"/>
                </a:cxn>
                <a:cxn ang="0">
                  <a:pos x="connsiteX13800" y="connsiteY13800"/>
                </a:cxn>
                <a:cxn ang="0">
                  <a:pos x="connsiteX13801" y="connsiteY13801"/>
                </a:cxn>
                <a:cxn ang="0">
                  <a:pos x="connsiteX13802" y="connsiteY13802"/>
                </a:cxn>
                <a:cxn ang="0">
                  <a:pos x="connsiteX13803" y="connsiteY13803"/>
                </a:cxn>
                <a:cxn ang="0">
                  <a:pos x="connsiteX13804" y="connsiteY13804"/>
                </a:cxn>
                <a:cxn ang="0">
                  <a:pos x="connsiteX13805" y="connsiteY13805"/>
                </a:cxn>
                <a:cxn ang="0">
                  <a:pos x="connsiteX13806" y="connsiteY13806"/>
                </a:cxn>
                <a:cxn ang="0">
                  <a:pos x="connsiteX13807" y="connsiteY13807"/>
                </a:cxn>
                <a:cxn ang="0">
                  <a:pos x="connsiteX13808" y="connsiteY13808"/>
                </a:cxn>
                <a:cxn ang="0">
                  <a:pos x="connsiteX13809" y="connsiteY13809"/>
                </a:cxn>
                <a:cxn ang="0">
                  <a:pos x="connsiteX13810" y="connsiteY13810"/>
                </a:cxn>
                <a:cxn ang="0">
                  <a:pos x="connsiteX13811" y="connsiteY13811"/>
                </a:cxn>
                <a:cxn ang="0">
                  <a:pos x="connsiteX13812" y="connsiteY13812"/>
                </a:cxn>
                <a:cxn ang="0">
                  <a:pos x="connsiteX13813" y="connsiteY13813"/>
                </a:cxn>
                <a:cxn ang="0">
                  <a:pos x="connsiteX13814" y="connsiteY13814"/>
                </a:cxn>
                <a:cxn ang="0">
                  <a:pos x="connsiteX13815" y="connsiteY13815"/>
                </a:cxn>
                <a:cxn ang="0">
                  <a:pos x="connsiteX13816" y="connsiteY13816"/>
                </a:cxn>
                <a:cxn ang="0">
                  <a:pos x="connsiteX13817" y="connsiteY13817"/>
                </a:cxn>
                <a:cxn ang="0">
                  <a:pos x="connsiteX13818" y="connsiteY13818"/>
                </a:cxn>
                <a:cxn ang="0">
                  <a:pos x="connsiteX13819" y="connsiteY13819"/>
                </a:cxn>
                <a:cxn ang="0">
                  <a:pos x="connsiteX13820" y="connsiteY13820"/>
                </a:cxn>
                <a:cxn ang="0">
                  <a:pos x="connsiteX13821" y="connsiteY13821"/>
                </a:cxn>
                <a:cxn ang="0">
                  <a:pos x="connsiteX13822" y="connsiteY13822"/>
                </a:cxn>
                <a:cxn ang="0">
                  <a:pos x="connsiteX13823" y="connsiteY13823"/>
                </a:cxn>
                <a:cxn ang="0">
                  <a:pos x="connsiteX13824" y="connsiteY13824"/>
                </a:cxn>
                <a:cxn ang="0">
                  <a:pos x="connsiteX13825" y="connsiteY13825"/>
                </a:cxn>
                <a:cxn ang="0">
                  <a:pos x="connsiteX13826" y="connsiteY13826"/>
                </a:cxn>
                <a:cxn ang="0">
                  <a:pos x="connsiteX13827" y="connsiteY13827"/>
                </a:cxn>
                <a:cxn ang="0">
                  <a:pos x="connsiteX13828" y="connsiteY13828"/>
                </a:cxn>
                <a:cxn ang="0">
                  <a:pos x="connsiteX13829" y="connsiteY13829"/>
                </a:cxn>
                <a:cxn ang="0">
                  <a:pos x="connsiteX13830" y="connsiteY13830"/>
                </a:cxn>
                <a:cxn ang="0">
                  <a:pos x="connsiteX13831" y="connsiteY13831"/>
                </a:cxn>
                <a:cxn ang="0">
                  <a:pos x="connsiteX13832" y="connsiteY13832"/>
                </a:cxn>
                <a:cxn ang="0">
                  <a:pos x="connsiteX13833" y="connsiteY13833"/>
                </a:cxn>
                <a:cxn ang="0">
                  <a:pos x="connsiteX13834" y="connsiteY13834"/>
                </a:cxn>
                <a:cxn ang="0">
                  <a:pos x="connsiteX13835" y="connsiteY13835"/>
                </a:cxn>
                <a:cxn ang="0">
                  <a:pos x="connsiteX13836" y="connsiteY13836"/>
                </a:cxn>
                <a:cxn ang="0">
                  <a:pos x="connsiteX13837" y="connsiteY13837"/>
                </a:cxn>
                <a:cxn ang="0">
                  <a:pos x="connsiteX13838" y="connsiteY13838"/>
                </a:cxn>
                <a:cxn ang="0">
                  <a:pos x="connsiteX13839" y="connsiteY13839"/>
                </a:cxn>
                <a:cxn ang="0">
                  <a:pos x="connsiteX13840" y="connsiteY13840"/>
                </a:cxn>
                <a:cxn ang="0">
                  <a:pos x="connsiteX13841" y="connsiteY13841"/>
                </a:cxn>
                <a:cxn ang="0">
                  <a:pos x="connsiteX13842" y="connsiteY13842"/>
                </a:cxn>
                <a:cxn ang="0">
                  <a:pos x="connsiteX13843" y="connsiteY13843"/>
                </a:cxn>
                <a:cxn ang="0">
                  <a:pos x="connsiteX13844" y="connsiteY13844"/>
                </a:cxn>
                <a:cxn ang="0">
                  <a:pos x="connsiteX13845" y="connsiteY13845"/>
                </a:cxn>
                <a:cxn ang="0">
                  <a:pos x="connsiteX13846" y="connsiteY13846"/>
                </a:cxn>
                <a:cxn ang="0">
                  <a:pos x="connsiteX13847" y="connsiteY13847"/>
                </a:cxn>
                <a:cxn ang="0">
                  <a:pos x="connsiteX13848" y="connsiteY13848"/>
                </a:cxn>
                <a:cxn ang="0">
                  <a:pos x="connsiteX13849" y="connsiteY13849"/>
                </a:cxn>
                <a:cxn ang="0">
                  <a:pos x="connsiteX13850" y="connsiteY13850"/>
                </a:cxn>
                <a:cxn ang="0">
                  <a:pos x="connsiteX13851" y="connsiteY13851"/>
                </a:cxn>
                <a:cxn ang="0">
                  <a:pos x="connsiteX13852" y="connsiteY13852"/>
                </a:cxn>
                <a:cxn ang="0">
                  <a:pos x="connsiteX13853" y="connsiteY13853"/>
                </a:cxn>
                <a:cxn ang="0">
                  <a:pos x="connsiteX13854" y="connsiteY13854"/>
                </a:cxn>
                <a:cxn ang="0">
                  <a:pos x="connsiteX13855" y="connsiteY13855"/>
                </a:cxn>
                <a:cxn ang="0">
                  <a:pos x="connsiteX13856" y="connsiteY13856"/>
                </a:cxn>
                <a:cxn ang="0">
                  <a:pos x="connsiteX13857" y="connsiteY13857"/>
                </a:cxn>
                <a:cxn ang="0">
                  <a:pos x="connsiteX13858" y="connsiteY13858"/>
                </a:cxn>
                <a:cxn ang="0">
                  <a:pos x="connsiteX13859" y="connsiteY13859"/>
                </a:cxn>
                <a:cxn ang="0">
                  <a:pos x="connsiteX13860" y="connsiteY13860"/>
                </a:cxn>
                <a:cxn ang="0">
                  <a:pos x="connsiteX13861" y="connsiteY13861"/>
                </a:cxn>
                <a:cxn ang="0">
                  <a:pos x="connsiteX13862" y="connsiteY13862"/>
                </a:cxn>
                <a:cxn ang="0">
                  <a:pos x="connsiteX13863" y="connsiteY13863"/>
                </a:cxn>
                <a:cxn ang="0">
                  <a:pos x="connsiteX13864" y="connsiteY13864"/>
                </a:cxn>
                <a:cxn ang="0">
                  <a:pos x="connsiteX13865" y="connsiteY13865"/>
                </a:cxn>
                <a:cxn ang="0">
                  <a:pos x="connsiteX13866" y="connsiteY13866"/>
                </a:cxn>
                <a:cxn ang="0">
                  <a:pos x="connsiteX13867" y="connsiteY13867"/>
                </a:cxn>
                <a:cxn ang="0">
                  <a:pos x="connsiteX13868" y="connsiteY13868"/>
                </a:cxn>
                <a:cxn ang="0">
                  <a:pos x="connsiteX13869" y="connsiteY13869"/>
                </a:cxn>
                <a:cxn ang="0">
                  <a:pos x="connsiteX13870" y="connsiteY13870"/>
                </a:cxn>
                <a:cxn ang="0">
                  <a:pos x="connsiteX13871" y="connsiteY13871"/>
                </a:cxn>
                <a:cxn ang="0">
                  <a:pos x="connsiteX13872" y="connsiteY13872"/>
                </a:cxn>
                <a:cxn ang="0">
                  <a:pos x="connsiteX13873" y="connsiteY13873"/>
                </a:cxn>
                <a:cxn ang="0">
                  <a:pos x="connsiteX13874" y="connsiteY13874"/>
                </a:cxn>
                <a:cxn ang="0">
                  <a:pos x="connsiteX13875" y="connsiteY13875"/>
                </a:cxn>
                <a:cxn ang="0">
                  <a:pos x="connsiteX13876" y="connsiteY13876"/>
                </a:cxn>
                <a:cxn ang="0">
                  <a:pos x="connsiteX13877" y="connsiteY13877"/>
                </a:cxn>
                <a:cxn ang="0">
                  <a:pos x="connsiteX13878" y="connsiteY13878"/>
                </a:cxn>
                <a:cxn ang="0">
                  <a:pos x="connsiteX13879" y="connsiteY13879"/>
                </a:cxn>
                <a:cxn ang="0">
                  <a:pos x="connsiteX13880" y="connsiteY13880"/>
                </a:cxn>
                <a:cxn ang="0">
                  <a:pos x="connsiteX13881" y="connsiteY13881"/>
                </a:cxn>
                <a:cxn ang="0">
                  <a:pos x="connsiteX13882" y="connsiteY13882"/>
                </a:cxn>
                <a:cxn ang="0">
                  <a:pos x="connsiteX13883" y="connsiteY13883"/>
                </a:cxn>
                <a:cxn ang="0">
                  <a:pos x="connsiteX13884" y="connsiteY13884"/>
                </a:cxn>
                <a:cxn ang="0">
                  <a:pos x="connsiteX13885" y="connsiteY13885"/>
                </a:cxn>
                <a:cxn ang="0">
                  <a:pos x="connsiteX13886" y="connsiteY13886"/>
                </a:cxn>
                <a:cxn ang="0">
                  <a:pos x="connsiteX13887" y="connsiteY13887"/>
                </a:cxn>
                <a:cxn ang="0">
                  <a:pos x="connsiteX13888" y="connsiteY13888"/>
                </a:cxn>
                <a:cxn ang="0">
                  <a:pos x="connsiteX13889" y="connsiteY13889"/>
                </a:cxn>
                <a:cxn ang="0">
                  <a:pos x="connsiteX13890" y="connsiteY13890"/>
                </a:cxn>
                <a:cxn ang="0">
                  <a:pos x="connsiteX13891" y="connsiteY13891"/>
                </a:cxn>
                <a:cxn ang="0">
                  <a:pos x="connsiteX13892" y="connsiteY13892"/>
                </a:cxn>
                <a:cxn ang="0">
                  <a:pos x="connsiteX13893" y="connsiteY13893"/>
                </a:cxn>
                <a:cxn ang="0">
                  <a:pos x="connsiteX13894" y="connsiteY13894"/>
                </a:cxn>
                <a:cxn ang="0">
                  <a:pos x="connsiteX13895" y="connsiteY13895"/>
                </a:cxn>
                <a:cxn ang="0">
                  <a:pos x="connsiteX13896" y="connsiteY13896"/>
                </a:cxn>
                <a:cxn ang="0">
                  <a:pos x="connsiteX13897" y="connsiteY13897"/>
                </a:cxn>
                <a:cxn ang="0">
                  <a:pos x="connsiteX13898" y="connsiteY13898"/>
                </a:cxn>
                <a:cxn ang="0">
                  <a:pos x="connsiteX13899" y="connsiteY13899"/>
                </a:cxn>
                <a:cxn ang="0">
                  <a:pos x="connsiteX13900" y="connsiteY13900"/>
                </a:cxn>
                <a:cxn ang="0">
                  <a:pos x="connsiteX13901" y="connsiteY13901"/>
                </a:cxn>
                <a:cxn ang="0">
                  <a:pos x="connsiteX13902" y="connsiteY13902"/>
                </a:cxn>
                <a:cxn ang="0">
                  <a:pos x="connsiteX13903" y="connsiteY13903"/>
                </a:cxn>
                <a:cxn ang="0">
                  <a:pos x="connsiteX13904" y="connsiteY13904"/>
                </a:cxn>
                <a:cxn ang="0">
                  <a:pos x="connsiteX13905" y="connsiteY13905"/>
                </a:cxn>
                <a:cxn ang="0">
                  <a:pos x="connsiteX13906" y="connsiteY13906"/>
                </a:cxn>
                <a:cxn ang="0">
                  <a:pos x="connsiteX13907" y="connsiteY13907"/>
                </a:cxn>
                <a:cxn ang="0">
                  <a:pos x="connsiteX13908" y="connsiteY13908"/>
                </a:cxn>
                <a:cxn ang="0">
                  <a:pos x="connsiteX13909" y="connsiteY13909"/>
                </a:cxn>
                <a:cxn ang="0">
                  <a:pos x="connsiteX13910" y="connsiteY13910"/>
                </a:cxn>
                <a:cxn ang="0">
                  <a:pos x="connsiteX13911" y="connsiteY13911"/>
                </a:cxn>
                <a:cxn ang="0">
                  <a:pos x="connsiteX13912" y="connsiteY13912"/>
                </a:cxn>
                <a:cxn ang="0">
                  <a:pos x="connsiteX13913" y="connsiteY13913"/>
                </a:cxn>
                <a:cxn ang="0">
                  <a:pos x="connsiteX13914" y="connsiteY13914"/>
                </a:cxn>
                <a:cxn ang="0">
                  <a:pos x="connsiteX13915" y="connsiteY13915"/>
                </a:cxn>
                <a:cxn ang="0">
                  <a:pos x="connsiteX13916" y="connsiteY13916"/>
                </a:cxn>
                <a:cxn ang="0">
                  <a:pos x="connsiteX13917" y="connsiteY13917"/>
                </a:cxn>
                <a:cxn ang="0">
                  <a:pos x="connsiteX13918" y="connsiteY13918"/>
                </a:cxn>
                <a:cxn ang="0">
                  <a:pos x="connsiteX13919" y="connsiteY13919"/>
                </a:cxn>
                <a:cxn ang="0">
                  <a:pos x="connsiteX13920" y="connsiteY13920"/>
                </a:cxn>
                <a:cxn ang="0">
                  <a:pos x="connsiteX13921" y="connsiteY13921"/>
                </a:cxn>
                <a:cxn ang="0">
                  <a:pos x="connsiteX13922" y="connsiteY13922"/>
                </a:cxn>
                <a:cxn ang="0">
                  <a:pos x="connsiteX13923" y="connsiteY13923"/>
                </a:cxn>
                <a:cxn ang="0">
                  <a:pos x="connsiteX13924" y="connsiteY13924"/>
                </a:cxn>
                <a:cxn ang="0">
                  <a:pos x="connsiteX13925" y="connsiteY13925"/>
                </a:cxn>
                <a:cxn ang="0">
                  <a:pos x="connsiteX13926" y="connsiteY13926"/>
                </a:cxn>
                <a:cxn ang="0">
                  <a:pos x="connsiteX13927" y="connsiteY13927"/>
                </a:cxn>
                <a:cxn ang="0">
                  <a:pos x="connsiteX13928" y="connsiteY13928"/>
                </a:cxn>
                <a:cxn ang="0">
                  <a:pos x="connsiteX13929" y="connsiteY13929"/>
                </a:cxn>
                <a:cxn ang="0">
                  <a:pos x="connsiteX13930" y="connsiteY13930"/>
                </a:cxn>
                <a:cxn ang="0">
                  <a:pos x="connsiteX13931" y="connsiteY13931"/>
                </a:cxn>
                <a:cxn ang="0">
                  <a:pos x="connsiteX13932" y="connsiteY13932"/>
                </a:cxn>
                <a:cxn ang="0">
                  <a:pos x="connsiteX13933" y="connsiteY13933"/>
                </a:cxn>
                <a:cxn ang="0">
                  <a:pos x="connsiteX13934" y="connsiteY13934"/>
                </a:cxn>
                <a:cxn ang="0">
                  <a:pos x="connsiteX13935" y="connsiteY13935"/>
                </a:cxn>
                <a:cxn ang="0">
                  <a:pos x="connsiteX13936" y="connsiteY13936"/>
                </a:cxn>
                <a:cxn ang="0">
                  <a:pos x="connsiteX13937" y="connsiteY13937"/>
                </a:cxn>
                <a:cxn ang="0">
                  <a:pos x="connsiteX13938" y="connsiteY13938"/>
                </a:cxn>
                <a:cxn ang="0">
                  <a:pos x="connsiteX13939" y="connsiteY13939"/>
                </a:cxn>
                <a:cxn ang="0">
                  <a:pos x="connsiteX13940" y="connsiteY13940"/>
                </a:cxn>
                <a:cxn ang="0">
                  <a:pos x="connsiteX13941" y="connsiteY13941"/>
                </a:cxn>
                <a:cxn ang="0">
                  <a:pos x="connsiteX13942" y="connsiteY13942"/>
                </a:cxn>
                <a:cxn ang="0">
                  <a:pos x="connsiteX13943" y="connsiteY13943"/>
                </a:cxn>
                <a:cxn ang="0">
                  <a:pos x="connsiteX13944" y="connsiteY13944"/>
                </a:cxn>
                <a:cxn ang="0">
                  <a:pos x="connsiteX13945" y="connsiteY13945"/>
                </a:cxn>
                <a:cxn ang="0">
                  <a:pos x="connsiteX13946" y="connsiteY13946"/>
                </a:cxn>
                <a:cxn ang="0">
                  <a:pos x="connsiteX13947" y="connsiteY13947"/>
                </a:cxn>
                <a:cxn ang="0">
                  <a:pos x="connsiteX13948" y="connsiteY13948"/>
                </a:cxn>
                <a:cxn ang="0">
                  <a:pos x="connsiteX13949" y="connsiteY13949"/>
                </a:cxn>
                <a:cxn ang="0">
                  <a:pos x="connsiteX13950" y="connsiteY13950"/>
                </a:cxn>
                <a:cxn ang="0">
                  <a:pos x="connsiteX13951" y="connsiteY13951"/>
                </a:cxn>
                <a:cxn ang="0">
                  <a:pos x="connsiteX13952" y="connsiteY13952"/>
                </a:cxn>
                <a:cxn ang="0">
                  <a:pos x="connsiteX13953" y="connsiteY13953"/>
                </a:cxn>
                <a:cxn ang="0">
                  <a:pos x="connsiteX13954" y="connsiteY13954"/>
                </a:cxn>
                <a:cxn ang="0">
                  <a:pos x="connsiteX13955" y="connsiteY13955"/>
                </a:cxn>
                <a:cxn ang="0">
                  <a:pos x="connsiteX13956" y="connsiteY13956"/>
                </a:cxn>
                <a:cxn ang="0">
                  <a:pos x="connsiteX13957" y="connsiteY13957"/>
                </a:cxn>
                <a:cxn ang="0">
                  <a:pos x="connsiteX13958" y="connsiteY13958"/>
                </a:cxn>
                <a:cxn ang="0">
                  <a:pos x="connsiteX13959" y="connsiteY13959"/>
                </a:cxn>
                <a:cxn ang="0">
                  <a:pos x="connsiteX13960" y="connsiteY13960"/>
                </a:cxn>
                <a:cxn ang="0">
                  <a:pos x="connsiteX13961" y="connsiteY13961"/>
                </a:cxn>
                <a:cxn ang="0">
                  <a:pos x="connsiteX13962" y="connsiteY13962"/>
                </a:cxn>
                <a:cxn ang="0">
                  <a:pos x="connsiteX13963" y="connsiteY13963"/>
                </a:cxn>
                <a:cxn ang="0">
                  <a:pos x="connsiteX13964" y="connsiteY13964"/>
                </a:cxn>
                <a:cxn ang="0">
                  <a:pos x="connsiteX13965" y="connsiteY13965"/>
                </a:cxn>
                <a:cxn ang="0">
                  <a:pos x="connsiteX13966" y="connsiteY13966"/>
                </a:cxn>
                <a:cxn ang="0">
                  <a:pos x="connsiteX13967" y="connsiteY13967"/>
                </a:cxn>
                <a:cxn ang="0">
                  <a:pos x="connsiteX13968" y="connsiteY13968"/>
                </a:cxn>
                <a:cxn ang="0">
                  <a:pos x="connsiteX13969" y="connsiteY13969"/>
                </a:cxn>
                <a:cxn ang="0">
                  <a:pos x="connsiteX13970" y="connsiteY13970"/>
                </a:cxn>
                <a:cxn ang="0">
                  <a:pos x="connsiteX13971" y="connsiteY13971"/>
                </a:cxn>
                <a:cxn ang="0">
                  <a:pos x="connsiteX13972" y="connsiteY13972"/>
                </a:cxn>
                <a:cxn ang="0">
                  <a:pos x="connsiteX13973" y="connsiteY13973"/>
                </a:cxn>
                <a:cxn ang="0">
                  <a:pos x="connsiteX13974" y="connsiteY13974"/>
                </a:cxn>
                <a:cxn ang="0">
                  <a:pos x="connsiteX13975" y="connsiteY13975"/>
                </a:cxn>
                <a:cxn ang="0">
                  <a:pos x="connsiteX13976" y="connsiteY13976"/>
                </a:cxn>
                <a:cxn ang="0">
                  <a:pos x="connsiteX13977" y="connsiteY13977"/>
                </a:cxn>
                <a:cxn ang="0">
                  <a:pos x="connsiteX13978" y="connsiteY13978"/>
                </a:cxn>
                <a:cxn ang="0">
                  <a:pos x="connsiteX13979" y="connsiteY13979"/>
                </a:cxn>
                <a:cxn ang="0">
                  <a:pos x="connsiteX13980" y="connsiteY13980"/>
                </a:cxn>
                <a:cxn ang="0">
                  <a:pos x="connsiteX13981" y="connsiteY13981"/>
                </a:cxn>
                <a:cxn ang="0">
                  <a:pos x="connsiteX13982" y="connsiteY13982"/>
                </a:cxn>
                <a:cxn ang="0">
                  <a:pos x="connsiteX13983" y="connsiteY13983"/>
                </a:cxn>
                <a:cxn ang="0">
                  <a:pos x="connsiteX13984" y="connsiteY13984"/>
                </a:cxn>
                <a:cxn ang="0">
                  <a:pos x="connsiteX13985" y="connsiteY13985"/>
                </a:cxn>
                <a:cxn ang="0">
                  <a:pos x="connsiteX13986" y="connsiteY13986"/>
                </a:cxn>
                <a:cxn ang="0">
                  <a:pos x="connsiteX13987" y="connsiteY13987"/>
                </a:cxn>
                <a:cxn ang="0">
                  <a:pos x="connsiteX13988" y="connsiteY13988"/>
                </a:cxn>
                <a:cxn ang="0">
                  <a:pos x="connsiteX13989" y="connsiteY13989"/>
                </a:cxn>
                <a:cxn ang="0">
                  <a:pos x="connsiteX13990" y="connsiteY13990"/>
                </a:cxn>
                <a:cxn ang="0">
                  <a:pos x="connsiteX13991" y="connsiteY13991"/>
                </a:cxn>
                <a:cxn ang="0">
                  <a:pos x="connsiteX13992" y="connsiteY13992"/>
                </a:cxn>
                <a:cxn ang="0">
                  <a:pos x="connsiteX13993" y="connsiteY13993"/>
                </a:cxn>
                <a:cxn ang="0">
                  <a:pos x="connsiteX13994" y="connsiteY13994"/>
                </a:cxn>
                <a:cxn ang="0">
                  <a:pos x="connsiteX13995" y="connsiteY13995"/>
                </a:cxn>
                <a:cxn ang="0">
                  <a:pos x="connsiteX13996" y="connsiteY13996"/>
                </a:cxn>
                <a:cxn ang="0">
                  <a:pos x="connsiteX13997" y="connsiteY13997"/>
                </a:cxn>
                <a:cxn ang="0">
                  <a:pos x="connsiteX13998" y="connsiteY13998"/>
                </a:cxn>
                <a:cxn ang="0">
                  <a:pos x="connsiteX13999" y="connsiteY13999"/>
                </a:cxn>
                <a:cxn ang="0">
                  <a:pos x="connsiteX14000" y="connsiteY14000"/>
                </a:cxn>
                <a:cxn ang="0">
                  <a:pos x="connsiteX14001" y="connsiteY14001"/>
                </a:cxn>
                <a:cxn ang="0">
                  <a:pos x="connsiteX14002" y="connsiteY14002"/>
                </a:cxn>
                <a:cxn ang="0">
                  <a:pos x="connsiteX14003" y="connsiteY14003"/>
                </a:cxn>
                <a:cxn ang="0">
                  <a:pos x="connsiteX14004" y="connsiteY14004"/>
                </a:cxn>
                <a:cxn ang="0">
                  <a:pos x="connsiteX14005" y="connsiteY14005"/>
                </a:cxn>
                <a:cxn ang="0">
                  <a:pos x="connsiteX14006" y="connsiteY14006"/>
                </a:cxn>
                <a:cxn ang="0">
                  <a:pos x="connsiteX14007" y="connsiteY14007"/>
                </a:cxn>
                <a:cxn ang="0">
                  <a:pos x="connsiteX14008" y="connsiteY14008"/>
                </a:cxn>
                <a:cxn ang="0">
                  <a:pos x="connsiteX14009" y="connsiteY14009"/>
                </a:cxn>
                <a:cxn ang="0">
                  <a:pos x="connsiteX14010" y="connsiteY14010"/>
                </a:cxn>
                <a:cxn ang="0">
                  <a:pos x="connsiteX14011" y="connsiteY14011"/>
                </a:cxn>
                <a:cxn ang="0">
                  <a:pos x="connsiteX14012" y="connsiteY14012"/>
                </a:cxn>
                <a:cxn ang="0">
                  <a:pos x="connsiteX14013" y="connsiteY14013"/>
                </a:cxn>
                <a:cxn ang="0">
                  <a:pos x="connsiteX14014" y="connsiteY14014"/>
                </a:cxn>
                <a:cxn ang="0">
                  <a:pos x="connsiteX14015" y="connsiteY14015"/>
                </a:cxn>
                <a:cxn ang="0">
                  <a:pos x="connsiteX14016" y="connsiteY14016"/>
                </a:cxn>
                <a:cxn ang="0">
                  <a:pos x="connsiteX14017" y="connsiteY14017"/>
                </a:cxn>
                <a:cxn ang="0">
                  <a:pos x="connsiteX14018" y="connsiteY14018"/>
                </a:cxn>
                <a:cxn ang="0">
                  <a:pos x="connsiteX14019" y="connsiteY14019"/>
                </a:cxn>
                <a:cxn ang="0">
                  <a:pos x="connsiteX14020" y="connsiteY14020"/>
                </a:cxn>
                <a:cxn ang="0">
                  <a:pos x="connsiteX14021" y="connsiteY14021"/>
                </a:cxn>
                <a:cxn ang="0">
                  <a:pos x="connsiteX14022" y="connsiteY14022"/>
                </a:cxn>
                <a:cxn ang="0">
                  <a:pos x="connsiteX14023" y="connsiteY14023"/>
                </a:cxn>
                <a:cxn ang="0">
                  <a:pos x="connsiteX14024" y="connsiteY14024"/>
                </a:cxn>
                <a:cxn ang="0">
                  <a:pos x="connsiteX14025" y="connsiteY14025"/>
                </a:cxn>
                <a:cxn ang="0">
                  <a:pos x="connsiteX14026" y="connsiteY14026"/>
                </a:cxn>
                <a:cxn ang="0">
                  <a:pos x="connsiteX14027" y="connsiteY14027"/>
                </a:cxn>
                <a:cxn ang="0">
                  <a:pos x="connsiteX14028" y="connsiteY14028"/>
                </a:cxn>
                <a:cxn ang="0">
                  <a:pos x="connsiteX14029" y="connsiteY14029"/>
                </a:cxn>
                <a:cxn ang="0">
                  <a:pos x="connsiteX14030" y="connsiteY14030"/>
                </a:cxn>
                <a:cxn ang="0">
                  <a:pos x="connsiteX14031" y="connsiteY14031"/>
                </a:cxn>
                <a:cxn ang="0">
                  <a:pos x="connsiteX14032" y="connsiteY14032"/>
                </a:cxn>
                <a:cxn ang="0">
                  <a:pos x="connsiteX14033" y="connsiteY14033"/>
                </a:cxn>
                <a:cxn ang="0">
                  <a:pos x="connsiteX14034" y="connsiteY14034"/>
                </a:cxn>
                <a:cxn ang="0">
                  <a:pos x="connsiteX14035" y="connsiteY14035"/>
                </a:cxn>
                <a:cxn ang="0">
                  <a:pos x="connsiteX14036" y="connsiteY14036"/>
                </a:cxn>
                <a:cxn ang="0">
                  <a:pos x="connsiteX14037" y="connsiteY14037"/>
                </a:cxn>
                <a:cxn ang="0">
                  <a:pos x="connsiteX14038" y="connsiteY14038"/>
                </a:cxn>
                <a:cxn ang="0">
                  <a:pos x="connsiteX14039" y="connsiteY14039"/>
                </a:cxn>
                <a:cxn ang="0">
                  <a:pos x="connsiteX14040" y="connsiteY14040"/>
                </a:cxn>
                <a:cxn ang="0">
                  <a:pos x="connsiteX14041" y="connsiteY14041"/>
                </a:cxn>
                <a:cxn ang="0">
                  <a:pos x="connsiteX14042" y="connsiteY14042"/>
                </a:cxn>
                <a:cxn ang="0">
                  <a:pos x="connsiteX14043" y="connsiteY14043"/>
                </a:cxn>
                <a:cxn ang="0">
                  <a:pos x="connsiteX14044" y="connsiteY14044"/>
                </a:cxn>
                <a:cxn ang="0">
                  <a:pos x="connsiteX14045" y="connsiteY14045"/>
                </a:cxn>
                <a:cxn ang="0">
                  <a:pos x="connsiteX14046" y="connsiteY14046"/>
                </a:cxn>
                <a:cxn ang="0">
                  <a:pos x="connsiteX14047" y="connsiteY14047"/>
                </a:cxn>
                <a:cxn ang="0">
                  <a:pos x="connsiteX14048" y="connsiteY14048"/>
                </a:cxn>
                <a:cxn ang="0">
                  <a:pos x="connsiteX14049" y="connsiteY14049"/>
                </a:cxn>
                <a:cxn ang="0">
                  <a:pos x="connsiteX14050" y="connsiteY14050"/>
                </a:cxn>
                <a:cxn ang="0">
                  <a:pos x="connsiteX14051" y="connsiteY14051"/>
                </a:cxn>
                <a:cxn ang="0">
                  <a:pos x="connsiteX14052" y="connsiteY14052"/>
                </a:cxn>
                <a:cxn ang="0">
                  <a:pos x="connsiteX14053" y="connsiteY14053"/>
                </a:cxn>
                <a:cxn ang="0">
                  <a:pos x="connsiteX14054" y="connsiteY14054"/>
                </a:cxn>
                <a:cxn ang="0">
                  <a:pos x="connsiteX14055" y="connsiteY14055"/>
                </a:cxn>
                <a:cxn ang="0">
                  <a:pos x="connsiteX14056" y="connsiteY14056"/>
                </a:cxn>
                <a:cxn ang="0">
                  <a:pos x="connsiteX14057" y="connsiteY14057"/>
                </a:cxn>
                <a:cxn ang="0">
                  <a:pos x="connsiteX14058" y="connsiteY14058"/>
                </a:cxn>
                <a:cxn ang="0">
                  <a:pos x="connsiteX14059" y="connsiteY14059"/>
                </a:cxn>
                <a:cxn ang="0">
                  <a:pos x="connsiteX14060" y="connsiteY14060"/>
                </a:cxn>
                <a:cxn ang="0">
                  <a:pos x="connsiteX14061" y="connsiteY14061"/>
                </a:cxn>
                <a:cxn ang="0">
                  <a:pos x="connsiteX14062" y="connsiteY14062"/>
                </a:cxn>
                <a:cxn ang="0">
                  <a:pos x="connsiteX14063" y="connsiteY14063"/>
                </a:cxn>
                <a:cxn ang="0">
                  <a:pos x="connsiteX14064" y="connsiteY14064"/>
                </a:cxn>
                <a:cxn ang="0">
                  <a:pos x="connsiteX14065" y="connsiteY14065"/>
                </a:cxn>
                <a:cxn ang="0">
                  <a:pos x="connsiteX14066" y="connsiteY14066"/>
                </a:cxn>
                <a:cxn ang="0">
                  <a:pos x="connsiteX14067" y="connsiteY14067"/>
                </a:cxn>
                <a:cxn ang="0">
                  <a:pos x="connsiteX14068" y="connsiteY14068"/>
                </a:cxn>
                <a:cxn ang="0">
                  <a:pos x="connsiteX14069" y="connsiteY14069"/>
                </a:cxn>
                <a:cxn ang="0">
                  <a:pos x="connsiteX14070" y="connsiteY14070"/>
                </a:cxn>
                <a:cxn ang="0">
                  <a:pos x="connsiteX14071" y="connsiteY14071"/>
                </a:cxn>
                <a:cxn ang="0">
                  <a:pos x="connsiteX14072" y="connsiteY14072"/>
                </a:cxn>
                <a:cxn ang="0">
                  <a:pos x="connsiteX14073" y="connsiteY14073"/>
                </a:cxn>
                <a:cxn ang="0">
                  <a:pos x="connsiteX14074" y="connsiteY14074"/>
                </a:cxn>
                <a:cxn ang="0">
                  <a:pos x="connsiteX14075" y="connsiteY14075"/>
                </a:cxn>
                <a:cxn ang="0">
                  <a:pos x="connsiteX14076" y="connsiteY14076"/>
                </a:cxn>
                <a:cxn ang="0">
                  <a:pos x="connsiteX14077" y="connsiteY14077"/>
                </a:cxn>
                <a:cxn ang="0">
                  <a:pos x="connsiteX14078" y="connsiteY14078"/>
                </a:cxn>
                <a:cxn ang="0">
                  <a:pos x="connsiteX14079" y="connsiteY14079"/>
                </a:cxn>
                <a:cxn ang="0">
                  <a:pos x="connsiteX14080" y="connsiteY14080"/>
                </a:cxn>
                <a:cxn ang="0">
                  <a:pos x="connsiteX14081" y="connsiteY14081"/>
                </a:cxn>
                <a:cxn ang="0">
                  <a:pos x="connsiteX14082" y="connsiteY14082"/>
                </a:cxn>
                <a:cxn ang="0">
                  <a:pos x="connsiteX14083" y="connsiteY14083"/>
                </a:cxn>
                <a:cxn ang="0">
                  <a:pos x="connsiteX14084" y="connsiteY14084"/>
                </a:cxn>
                <a:cxn ang="0">
                  <a:pos x="connsiteX14085" y="connsiteY14085"/>
                </a:cxn>
                <a:cxn ang="0">
                  <a:pos x="connsiteX14086" y="connsiteY14086"/>
                </a:cxn>
                <a:cxn ang="0">
                  <a:pos x="connsiteX14087" y="connsiteY14087"/>
                </a:cxn>
                <a:cxn ang="0">
                  <a:pos x="connsiteX14088" y="connsiteY14088"/>
                </a:cxn>
                <a:cxn ang="0">
                  <a:pos x="connsiteX14089" y="connsiteY14089"/>
                </a:cxn>
                <a:cxn ang="0">
                  <a:pos x="connsiteX14090" y="connsiteY14090"/>
                </a:cxn>
                <a:cxn ang="0">
                  <a:pos x="connsiteX14091" y="connsiteY14091"/>
                </a:cxn>
                <a:cxn ang="0">
                  <a:pos x="connsiteX14092" y="connsiteY14092"/>
                </a:cxn>
                <a:cxn ang="0">
                  <a:pos x="connsiteX14093" y="connsiteY14093"/>
                </a:cxn>
                <a:cxn ang="0">
                  <a:pos x="connsiteX14094" y="connsiteY14094"/>
                </a:cxn>
                <a:cxn ang="0">
                  <a:pos x="connsiteX14095" y="connsiteY14095"/>
                </a:cxn>
                <a:cxn ang="0">
                  <a:pos x="connsiteX14096" y="connsiteY14096"/>
                </a:cxn>
                <a:cxn ang="0">
                  <a:pos x="connsiteX14097" y="connsiteY14097"/>
                </a:cxn>
                <a:cxn ang="0">
                  <a:pos x="connsiteX14098" y="connsiteY14098"/>
                </a:cxn>
                <a:cxn ang="0">
                  <a:pos x="connsiteX14099" y="connsiteY14099"/>
                </a:cxn>
                <a:cxn ang="0">
                  <a:pos x="connsiteX14100" y="connsiteY14100"/>
                </a:cxn>
                <a:cxn ang="0">
                  <a:pos x="connsiteX14101" y="connsiteY14101"/>
                </a:cxn>
                <a:cxn ang="0">
                  <a:pos x="connsiteX14102" y="connsiteY14102"/>
                </a:cxn>
                <a:cxn ang="0">
                  <a:pos x="connsiteX14103" y="connsiteY14103"/>
                </a:cxn>
                <a:cxn ang="0">
                  <a:pos x="connsiteX14104" y="connsiteY14104"/>
                </a:cxn>
                <a:cxn ang="0">
                  <a:pos x="connsiteX14105" y="connsiteY14105"/>
                </a:cxn>
                <a:cxn ang="0">
                  <a:pos x="connsiteX14106" y="connsiteY14106"/>
                </a:cxn>
                <a:cxn ang="0">
                  <a:pos x="connsiteX14107" y="connsiteY14107"/>
                </a:cxn>
                <a:cxn ang="0">
                  <a:pos x="connsiteX14108" y="connsiteY14108"/>
                </a:cxn>
                <a:cxn ang="0">
                  <a:pos x="connsiteX14109" y="connsiteY14109"/>
                </a:cxn>
                <a:cxn ang="0">
                  <a:pos x="connsiteX14110" y="connsiteY14110"/>
                </a:cxn>
                <a:cxn ang="0">
                  <a:pos x="connsiteX14111" y="connsiteY14111"/>
                </a:cxn>
                <a:cxn ang="0">
                  <a:pos x="connsiteX14112" y="connsiteY14112"/>
                </a:cxn>
                <a:cxn ang="0">
                  <a:pos x="connsiteX14113" y="connsiteY14113"/>
                </a:cxn>
                <a:cxn ang="0">
                  <a:pos x="connsiteX14114" y="connsiteY14114"/>
                </a:cxn>
                <a:cxn ang="0">
                  <a:pos x="connsiteX14115" y="connsiteY14115"/>
                </a:cxn>
                <a:cxn ang="0">
                  <a:pos x="connsiteX14116" y="connsiteY14116"/>
                </a:cxn>
                <a:cxn ang="0">
                  <a:pos x="connsiteX14117" y="connsiteY14117"/>
                </a:cxn>
                <a:cxn ang="0">
                  <a:pos x="connsiteX14118" y="connsiteY14118"/>
                </a:cxn>
                <a:cxn ang="0">
                  <a:pos x="connsiteX14119" y="connsiteY14119"/>
                </a:cxn>
                <a:cxn ang="0">
                  <a:pos x="connsiteX14120" y="connsiteY14120"/>
                </a:cxn>
                <a:cxn ang="0">
                  <a:pos x="connsiteX14121" y="connsiteY14121"/>
                </a:cxn>
                <a:cxn ang="0">
                  <a:pos x="connsiteX14122" y="connsiteY14122"/>
                </a:cxn>
                <a:cxn ang="0">
                  <a:pos x="connsiteX14123" y="connsiteY14123"/>
                </a:cxn>
                <a:cxn ang="0">
                  <a:pos x="connsiteX14124" y="connsiteY14124"/>
                </a:cxn>
                <a:cxn ang="0">
                  <a:pos x="connsiteX14125" y="connsiteY14125"/>
                </a:cxn>
                <a:cxn ang="0">
                  <a:pos x="connsiteX14126" y="connsiteY14126"/>
                </a:cxn>
                <a:cxn ang="0">
                  <a:pos x="connsiteX14127" y="connsiteY14127"/>
                </a:cxn>
                <a:cxn ang="0">
                  <a:pos x="connsiteX14128" y="connsiteY14128"/>
                </a:cxn>
                <a:cxn ang="0">
                  <a:pos x="connsiteX14129" y="connsiteY14129"/>
                </a:cxn>
                <a:cxn ang="0">
                  <a:pos x="connsiteX14130" y="connsiteY14130"/>
                </a:cxn>
                <a:cxn ang="0">
                  <a:pos x="connsiteX14131" y="connsiteY14131"/>
                </a:cxn>
                <a:cxn ang="0">
                  <a:pos x="connsiteX14132" y="connsiteY14132"/>
                </a:cxn>
                <a:cxn ang="0">
                  <a:pos x="connsiteX14133" y="connsiteY14133"/>
                </a:cxn>
                <a:cxn ang="0">
                  <a:pos x="connsiteX14134" y="connsiteY14134"/>
                </a:cxn>
                <a:cxn ang="0">
                  <a:pos x="connsiteX14135" y="connsiteY14135"/>
                </a:cxn>
                <a:cxn ang="0">
                  <a:pos x="connsiteX14136" y="connsiteY14136"/>
                </a:cxn>
                <a:cxn ang="0">
                  <a:pos x="connsiteX14137" y="connsiteY14137"/>
                </a:cxn>
                <a:cxn ang="0">
                  <a:pos x="connsiteX14138" y="connsiteY14138"/>
                </a:cxn>
                <a:cxn ang="0">
                  <a:pos x="connsiteX14139" y="connsiteY14139"/>
                </a:cxn>
                <a:cxn ang="0">
                  <a:pos x="connsiteX14140" y="connsiteY14140"/>
                </a:cxn>
                <a:cxn ang="0">
                  <a:pos x="connsiteX14141" y="connsiteY14141"/>
                </a:cxn>
                <a:cxn ang="0">
                  <a:pos x="connsiteX14142" y="connsiteY14142"/>
                </a:cxn>
                <a:cxn ang="0">
                  <a:pos x="connsiteX14143" y="connsiteY14143"/>
                </a:cxn>
                <a:cxn ang="0">
                  <a:pos x="connsiteX14144" y="connsiteY14144"/>
                </a:cxn>
                <a:cxn ang="0">
                  <a:pos x="connsiteX14145" y="connsiteY14145"/>
                </a:cxn>
                <a:cxn ang="0">
                  <a:pos x="connsiteX14146" y="connsiteY14146"/>
                </a:cxn>
                <a:cxn ang="0">
                  <a:pos x="connsiteX14147" y="connsiteY14147"/>
                </a:cxn>
                <a:cxn ang="0">
                  <a:pos x="connsiteX14148" y="connsiteY14148"/>
                </a:cxn>
                <a:cxn ang="0">
                  <a:pos x="connsiteX14149" y="connsiteY14149"/>
                </a:cxn>
                <a:cxn ang="0">
                  <a:pos x="connsiteX14150" y="connsiteY14150"/>
                </a:cxn>
                <a:cxn ang="0">
                  <a:pos x="connsiteX14151" y="connsiteY14151"/>
                </a:cxn>
                <a:cxn ang="0">
                  <a:pos x="connsiteX14152" y="connsiteY14152"/>
                </a:cxn>
                <a:cxn ang="0">
                  <a:pos x="connsiteX14153" y="connsiteY14153"/>
                </a:cxn>
                <a:cxn ang="0">
                  <a:pos x="connsiteX14154" y="connsiteY14154"/>
                </a:cxn>
                <a:cxn ang="0">
                  <a:pos x="connsiteX14155" y="connsiteY14155"/>
                </a:cxn>
                <a:cxn ang="0">
                  <a:pos x="connsiteX14156" y="connsiteY14156"/>
                </a:cxn>
                <a:cxn ang="0">
                  <a:pos x="connsiteX14157" y="connsiteY14157"/>
                </a:cxn>
                <a:cxn ang="0">
                  <a:pos x="connsiteX14158" y="connsiteY14158"/>
                </a:cxn>
                <a:cxn ang="0">
                  <a:pos x="connsiteX14159" y="connsiteY14159"/>
                </a:cxn>
                <a:cxn ang="0">
                  <a:pos x="connsiteX14160" y="connsiteY14160"/>
                </a:cxn>
                <a:cxn ang="0">
                  <a:pos x="connsiteX14161" y="connsiteY14161"/>
                </a:cxn>
                <a:cxn ang="0">
                  <a:pos x="connsiteX14162" y="connsiteY14162"/>
                </a:cxn>
                <a:cxn ang="0">
                  <a:pos x="connsiteX14163" y="connsiteY14163"/>
                </a:cxn>
                <a:cxn ang="0">
                  <a:pos x="connsiteX14164" y="connsiteY14164"/>
                </a:cxn>
                <a:cxn ang="0">
                  <a:pos x="connsiteX14165" y="connsiteY14165"/>
                </a:cxn>
                <a:cxn ang="0">
                  <a:pos x="connsiteX14166" y="connsiteY14166"/>
                </a:cxn>
                <a:cxn ang="0">
                  <a:pos x="connsiteX14167" y="connsiteY14167"/>
                </a:cxn>
                <a:cxn ang="0">
                  <a:pos x="connsiteX14168" y="connsiteY14168"/>
                </a:cxn>
                <a:cxn ang="0">
                  <a:pos x="connsiteX14169" y="connsiteY14169"/>
                </a:cxn>
                <a:cxn ang="0">
                  <a:pos x="connsiteX14170" y="connsiteY14170"/>
                </a:cxn>
                <a:cxn ang="0">
                  <a:pos x="connsiteX14171" y="connsiteY14171"/>
                </a:cxn>
                <a:cxn ang="0">
                  <a:pos x="connsiteX14172" y="connsiteY14172"/>
                </a:cxn>
                <a:cxn ang="0">
                  <a:pos x="connsiteX14173" y="connsiteY14173"/>
                </a:cxn>
                <a:cxn ang="0">
                  <a:pos x="connsiteX14174" y="connsiteY14174"/>
                </a:cxn>
                <a:cxn ang="0">
                  <a:pos x="connsiteX14175" y="connsiteY14175"/>
                </a:cxn>
                <a:cxn ang="0">
                  <a:pos x="connsiteX14176" y="connsiteY14176"/>
                </a:cxn>
                <a:cxn ang="0">
                  <a:pos x="connsiteX14177" y="connsiteY14177"/>
                </a:cxn>
                <a:cxn ang="0">
                  <a:pos x="connsiteX14178" y="connsiteY14178"/>
                </a:cxn>
                <a:cxn ang="0">
                  <a:pos x="connsiteX14179" y="connsiteY14179"/>
                </a:cxn>
                <a:cxn ang="0">
                  <a:pos x="connsiteX14180" y="connsiteY14180"/>
                </a:cxn>
                <a:cxn ang="0">
                  <a:pos x="connsiteX14181" y="connsiteY14181"/>
                </a:cxn>
                <a:cxn ang="0">
                  <a:pos x="connsiteX14182" y="connsiteY14182"/>
                </a:cxn>
                <a:cxn ang="0">
                  <a:pos x="connsiteX14183" y="connsiteY14183"/>
                </a:cxn>
                <a:cxn ang="0">
                  <a:pos x="connsiteX14184" y="connsiteY14184"/>
                </a:cxn>
                <a:cxn ang="0">
                  <a:pos x="connsiteX14185" y="connsiteY14185"/>
                </a:cxn>
                <a:cxn ang="0">
                  <a:pos x="connsiteX14186" y="connsiteY14186"/>
                </a:cxn>
                <a:cxn ang="0">
                  <a:pos x="connsiteX14187" y="connsiteY14187"/>
                </a:cxn>
                <a:cxn ang="0">
                  <a:pos x="connsiteX14188" y="connsiteY14188"/>
                </a:cxn>
                <a:cxn ang="0">
                  <a:pos x="connsiteX14189" y="connsiteY14189"/>
                </a:cxn>
                <a:cxn ang="0">
                  <a:pos x="connsiteX14190" y="connsiteY14190"/>
                </a:cxn>
                <a:cxn ang="0">
                  <a:pos x="connsiteX14191" y="connsiteY14191"/>
                </a:cxn>
                <a:cxn ang="0">
                  <a:pos x="connsiteX14192" y="connsiteY14192"/>
                </a:cxn>
                <a:cxn ang="0">
                  <a:pos x="connsiteX14193" y="connsiteY14193"/>
                </a:cxn>
                <a:cxn ang="0">
                  <a:pos x="connsiteX14194" y="connsiteY14194"/>
                </a:cxn>
                <a:cxn ang="0">
                  <a:pos x="connsiteX14195" y="connsiteY14195"/>
                </a:cxn>
                <a:cxn ang="0">
                  <a:pos x="connsiteX14196" y="connsiteY14196"/>
                </a:cxn>
                <a:cxn ang="0">
                  <a:pos x="connsiteX14197" y="connsiteY14197"/>
                </a:cxn>
                <a:cxn ang="0">
                  <a:pos x="connsiteX14198" y="connsiteY14198"/>
                </a:cxn>
                <a:cxn ang="0">
                  <a:pos x="connsiteX14199" y="connsiteY14199"/>
                </a:cxn>
                <a:cxn ang="0">
                  <a:pos x="connsiteX14200" y="connsiteY14200"/>
                </a:cxn>
                <a:cxn ang="0">
                  <a:pos x="connsiteX14201" y="connsiteY14201"/>
                </a:cxn>
                <a:cxn ang="0">
                  <a:pos x="connsiteX14202" y="connsiteY14202"/>
                </a:cxn>
                <a:cxn ang="0">
                  <a:pos x="connsiteX14203" y="connsiteY14203"/>
                </a:cxn>
                <a:cxn ang="0">
                  <a:pos x="connsiteX14204" y="connsiteY14204"/>
                </a:cxn>
                <a:cxn ang="0">
                  <a:pos x="connsiteX14205" y="connsiteY14205"/>
                </a:cxn>
                <a:cxn ang="0">
                  <a:pos x="connsiteX14206" y="connsiteY14206"/>
                </a:cxn>
                <a:cxn ang="0">
                  <a:pos x="connsiteX14207" y="connsiteY14207"/>
                </a:cxn>
                <a:cxn ang="0">
                  <a:pos x="connsiteX14208" y="connsiteY14208"/>
                </a:cxn>
                <a:cxn ang="0">
                  <a:pos x="connsiteX14209" y="connsiteY14209"/>
                </a:cxn>
                <a:cxn ang="0">
                  <a:pos x="connsiteX14210" y="connsiteY14210"/>
                </a:cxn>
                <a:cxn ang="0">
                  <a:pos x="connsiteX14211" y="connsiteY14211"/>
                </a:cxn>
                <a:cxn ang="0">
                  <a:pos x="connsiteX14212" y="connsiteY14212"/>
                </a:cxn>
                <a:cxn ang="0">
                  <a:pos x="connsiteX14213" y="connsiteY14213"/>
                </a:cxn>
                <a:cxn ang="0">
                  <a:pos x="connsiteX14214" y="connsiteY14214"/>
                </a:cxn>
                <a:cxn ang="0">
                  <a:pos x="connsiteX14215" y="connsiteY14215"/>
                </a:cxn>
                <a:cxn ang="0">
                  <a:pos x="connsiteX14216" y="connsiteY14216"/>
                </a:cxn>
                <a:cxn ang="0">
                  <a:pos x="connsiteX14217" y="connsiteY14217"/>
                </a:cxn>
                <a:cxn ang="0">
                  <a:pos x="connsiteX14218" y="connsiteY14218"/>
                </a:cxn>
                <a:cxn ang="0">
                  <a:pos x="connsiteX14219" y="connsiteY14219"/>
                </a:cxn>
                <a:cxn ang="0">
                  <a:pos x="connsiteX14220" y="connsiteY14220"/>
                </a:cxn>
                <a:cxn ang="0">
                  <a:pos x="connsiteX14221" y="connsiteY14221"/>
                </a:cxn>
                <a:cxn ang="0">
                  <a:pos x="connsiteX14222" y="connsiteY14222"/>
                </a:cxn>
                <a:cxn ang="0">
                  <a:pos x="connsiteX14223" y="connsiteY14223"/>
                </a:cxn>
                <a:cxn ang="0">
                  <a:pos x="connsiteX14224" y="connsiteY14224"/>
                </a:cxn>
                <a:cxn ang="0">
                  <a:pos x="connsiteX14225" y="connsiteY14225"/>
                </a:cxn>
                <a:cxn ang="0">
                  <a:pos x="connsiteX14226" y="connsiteY14226"/>
                </a:cxn>
                <a:cxn ang="0">
                  <a:pos x="connsiteX14227" y="connsiteY14227"/>
                </a:cxn>
                <a:cxn ang="0">
                  <a:pos x="connsiteX14228" y="connsiteY14228"/>
                </a:cxn>
                <a:cxn ang="0">
                  <a:pos x="connsiteX14229" y="connsiteY14229"/>
                </a:cxn>
                <a:cxn ang="0">
                  <a:pos x="connsiteX14230" y="connsiteY14230"/>
                </a:cxn>
                <a:cxn ang="0">
                  <a:pos x="connsiteX14231" y="connsiteY14231"/>
                </a:cxn>
                <a:cxn ang="0">
                  <a:pos x="connsiteX14232" y="connsiteY14232"/>
                </a:cxn>
                <a:cxn ang="0">
                  <a:pos x="connsiteX14233" y="connsiteY14233"/>
                </a:cxn>
                <a:cxn ang="0">
                  <a:pos x="connsiteX14234" y="connsiteY14234"/>
                </a:cxn>
                <a:cxn ang="0">
                  <a:pos x="connsiteX14235" y="connsiteY14235"/>
                </a:cxn>
                <a:cxn ang="0">
                  <a:pos x="connsiteX14236" y="connsiteY14236"/>
                </a:cxn>
                <a:cxn ang="0">
                  <a:pos x="connsiteX14237" y="connsiteY14237"/>
                </a:cxn>
                <a:cxn ang="0">
                  <a:pos x="connsiteX14238" y="connsiteY14238"/>
                </a:cxn>
                <a:cxn ang="0">
                  <a:pos x="connsiteX14239" y="connsiteY14239"/>
                </a:cxn>
                <a:cxn ang="0">
                  <a:pos x="connsiteX14240" y="connsiteY14240"/>
                </a:cxn>
                <a:cxn ang="0">
                  <a:pos x="connsiteX14241" y="connsiteY14241"/>
                </a:cxn>
                <a:cxn ang="0">
                  <a:pos x="connsiteX14242" y="connsiteY14242"/>
                </a:cxn>
                <a:cxn ang="0">
                  <a:pos x="connsiteX14243" y="connsiteY14243"/>
                </a:cxn>
                <a:cxn ang="0">
                  <a:pos x="connsiteX14244" y="connsiteY14244"/>
                </a:cxn>
                <a:cxn ang="0">
                  <a:pos x="connsiteX14245" y="connsiteY14245"/>
                </a:cxn>
                <a:cxn ang="0">
                  <a:pos x="connsiteX14246" y="connsiteY14246"/>
                </a:cxn>
                <a:cxn ang="0">
                  <a:pos x="connsiteX14247" y="connsiteY14247"/>
                </a:cxn>
                <a:cxn ang="0">
                  <a:pos x="connsiteX14248" y="connsiteY14248"/>
                </a:cxn>
                <a:cxn ang="0">
                  <a:pos x="connsiteX14249" y="connsiteY14249"/>
                </a:cxn>
                <a:cxn ang="0">
                  <a:pos x="connsiteX14250" y="connsiteY14250"/>
                </a:cxn>
                <a:cxn ang="0">
                  <a:pos x="connsiteX14251" y="connsiteY14251"/>
                </a:cxn>
                <a:cxn ang="0">
                  <a:pos x="connsiteX14252" y="connsiteY14252"/>
                </a:cxn>
                <a:cxn ang="0">
                  <a:pos x="connsiteX14253" y="connsiteY14253"/>
                </a:cxn>
                <a:cxn ang="0">
                  <a:pos x="connsiteX14254" y="connsiteY14254"/>
                </a:cxn>
                <a:cxn ang="0">
                  <a:pos x="connsiteX14255" y="connsiteY14255"/>
                </a:cxn>
                <a:cxn ang="0">
                  <a:pos x="connsiteX14256" y="connsiteY14256"/>
                </a:cxn>
                <a:cxn ang="0">
                  <a:pos x="connsiteX14257" y="connsiteY14257"/>
                </a:cxn>
                <a:cxn ang="0">
                  <a:pos x="connsiteX14258" y="connsiteY14258"/>
                </a:cxn>
                <a:cxn ang="0">
                  <a:pos x="connsiteX14259" y="connsiteY14259"/>
                </a:cxn>
                <a:cxn ang="0">
                  <a:pos x="connsiteX14260" y="connsiteY14260"/>
                </a:cxn>
                <a:cxn ang="0">
                  <a:pos x="connsiteX14261" y="connsiteY14261"/>
                </a:cxn>
                <a:cxn ang="0">
                  <a:pos x="connsiteX14262" y="connsiteY14262"/>
                </a:cxn>
                <a:cxn ang="0">
                  <a:pos x="connsiteX14263" y="connsiteY14263"/>
                </a:cxn>
                <a:cxn ang="0">
                  <a:pos x="connsiteX14264" y="connsiteY14264"/>
                </a:cxn>
                <a:cxn ang="0">
                  <a:pos x="connsiteX14265" y="connsiteY14265"/>
                </a:cxn>
                <a:cxn ang="0">
                  <a:pos x="connsiteX14266" y="connsiteY14266"/>
                </a:cxn>
                <a:cxn ang="0">
                  <a:pos x="connsiteX14267" y="connsiteY14267"/>
                </a:cxn>
                <a:cxn ang="0">
                  <a:pos x="connsiteX14268" y="connsiteY14268"/>
                </a:cxn>
                <a:cxn ang="0">
                  <a:pos x="connsiteX14269" y="connsiteY14269"/>
                </a:cxn>
                <a:cxn ang="0">
                  <a:pos x="connsiteX14270" y="connsiteY14270"/>
                </a:cxn>
                <a:cxn ang="0">
                  <a:pos x="connsiteX14271" y="connsiteY14271"/>
                </a:cxn>
                <a:cxn ang="0">
                  <a:pos x="connsiteX14272" y="connsiteY14272"/>
                </a:cxn>
                <a:cxn ang="0">
                  <a:pos x="connsiteX14273" y="connsiteY14273"/>
                </a:cxn>
                <a:cxn ang="0">
                  <a:pos x="connsiteX14274" y="connsiteY14274"/>
                </a:cxn>
                <a:cxn ang="0">
                  <a:pos x="connsiteX14275" y="connsiteY14275"/>
                </a:cxn>
                <a:cxn ang="0">
                  <a:pos x="connsiteX14276" y="connsiteY14276"/>
                </a:cxn>
                <a:cxn ang="0">
                  <a:pos x="connsiteX14277" y="connsiteY14277"/>
                </a:cxn>
                <a:cxn ang="0">
                  <a:pos x="connsiteX14278" y="connsiteY14278"/>
                </a:cxn>
                <a:cxn ang="0">
                  <a:pos x="connsiteX14279" y="connsiteY14279"/>
                </a:cxn>
                <a:cxn ang="0">
                  <a:pos x="connsiteX14280" y="connsiteY14280"/>
                </a:cxn>
                <a:cxn ang="0">
                  <a:pos x="connsiteX14281" y="connsiteY14281"/>
                </a:cxn>
                <a:cxn ang="0">
                  <a:pos x="connsiteX14282" y="connsiteY14282"/>
                </a:cxn>
                <a:cxn ang="0">
                  <a:pos x="connsiteX14283" y="connsiteY14283"/>
                </a:cxn>
                <a:cxn ang="0">
                  <a:pos x="connsiteX14284" y="connsiteY14284"/>
                </a:cxn>
                <a:cxn ang="0">
                  <a:pos x="connsiteX14285" y="connsiteY14285"/>
                </a:cxn>
                <a:cxn ang="0">
                  <a:pos x="connsiteX14286" y="connsiteY14286"/>
                </a:cxn>
                <a:cxn ang="0">
                  <a:pos x="connsiteX14287" y="connsiteY14287"/>
                </a:cxn>
                <a:cxn ang="0">
                  <a:pos x="connsiteX14288" y="connsiteY14288"/>
                </a:cxn>
                <a:cxn ang="0">
                  <a:pos x="connsiteX14289" y="connsiteY14289"/>
                </a:cxn>
                <a:cxn ang="0">
                  <a:pos x="connsiteX14290" y="connsiteY14290"/>
                </a:cxn>
                <a:cxn ang="0">
                  <a:pos x="connsiteX14291" y="connsiteY14291"/>
                </a:cxn>
                <a:cxn ang="0">
                  <a:pos x="connsiteX14292" y="connsiteY14292"/>
                </a:cxn>
                <a:cxn ang="0">
                  <a:pos x="connsiteX14293" y="connsiteY14293"/>
                </a:cxn>
                <a:cxn ang="0">
                  <a:pos x="connsiteX14294" y="connsiteY14294"/>
                </a:cxn>
                <a:cxn ang="0">
                  <a:pos x="connsiteX14295" y="connsiteY14295"/>
                </a:cxn>
                <a:cxn ang="0">
                  <a:pos x="connsiteX14296" y="connsiteY14296"/>
                </a:cxn>
                <a:cxn ang="0">
                  <a:pos x="connsiteX14297" y="connsiteY14297"/>
                </a:cxn>
                <a:cxn ang="0">
                  <a:pos x="connsiteX14298" y="connsiteY14298"/>
                </a:cxn>
                <a:cxn ang="0">
                  <a:pos x="connsiteX14299" y="connsiteY14299"/>
                </a:cxn>
                <a:cxn ang="0">
                  <a:pos x="connsiteX14300" y="connsiteY14300"/>
                </a:cxn>
                <a:cxn ang="0">
                  <a:pos x="connsiteX14301" y="connsiteY14301"/>
                </a:cxn>
                <a:cxn ang="0">
                  <a:pos x="connsiteX14302" y="connsiteY14302"/>
                </a:cxn>
                <a:cxn ang="0">
                  <a:pos x="connsiteX14303" y="connsiteY14303"/>
                </a:cxn>
                <a:cxn ang="0">
                  <a:pos x="connsiteX14304" y="connsiteY14304"/>
                </a:cxn>
                <a:cxn ang="0">
                  <a:pos x="connsiteX14305" y="connsiteY14305"/>
                </a:cxn>
                <a:cxn ang="0">
                  <a:pos x="connsiteX14306" y="connsiteY14306"/>
                </a:cxn>
                <a:cxn ang="0">
                  <a:pos x="connsiteX14307" y="connsiteY14307"/>
                </a:cxn>
                <a:cxn ang="0">
                  <a:pos x="connsiteX14308" y="connsiteY14308"/>
                </a:cxn>
                <a:cxn ang="0">
                  <a:pos x="connsiteX14309" y="connsiteY14309"/>
                </a:cxn>
                <a:cxn ang="0">
                  <a:pos x="connsiteX14310" y="connsiteY14310"/>
                </a:cxn>
                <a:cxn ang="0">
                  <a:pos x="connsiteX14311" y="connsiteY14311"/>
                </a:cxn>
                <a:cxn ang="0">
                  <a:pos x="connsiteX14312" y="connsiteY14312"/>
                </a:cxn>
                <a:cxn ang="0">
                  <a:pos x="connsiteX14313" y="connsiteY14313"/>
                </a:cxn>
                <a:cxn ang="0">
                  <a:pos x="connsiteX14314" y="connsiteY14314"/>
                </a:cxn>
                <a:cxn ang="0">
                  <a:pos x="connsiteX14315" y="connsiteY14315"/>
                </a:cxn>
                <a:cxn ang="0">
                  <a:pos x="connsiteX14316" y="connsiteY14316"/>
                </a:cxn>
                <a:cxn ang="0">
                  <a:pos x="connsiteX14317" y="connsiteY14317"/>
                </a:cxn>
                <a:cxn ang="0">
                  <a:pos x="connsiteX14318" y="connsiteY14318"/>
                </a:cxn>
                <a:cxn ang="0">
                  <a:pos x="connsiteX14319" y="connsiteY14319"/>
                </a:cxn>
                <a:cxn ang="0">
                  <a:pos x="connsiteX14320" y="connsiteY14320"/>
                </a:cxn>
                <a:cxn ang="0">
                  <a:pos x="connsiteX14321" y="connsiteY14321"/>
                </a:cxn>
                <a:cxn ang="0">
                  <a:pos x="connsiteX14322" y="connsiteY14322"/>
                </a:cxn>
                <a:cxn ang="0">
                  <a:pos x="connsiteX14323" y="connsiteY14323"/>
                </a:cxn>
                <a:cxn ang="0">
                  <a:pos x="connsiteX14324" y="connsiteY14324"/>
                </a:cxn>
                <a:cxn ang="0">
                  <a:pos x="connsiteX14325" y="connsiteY14325"/>
                </a:cxn>
                <a:cxn ang="0">
                  <a:pos x="connsiteX14326" y="connsiteY14326"/>
                </a:cxn>
                <a:cxn ang="0">
                  <a:pos x="connsiteX14327" y="connsiteY14327"/>
                </a:cxn>
                <a:cxn ang="0">
                  <a:pos x="connsiteX14328" y="connsiteY14328"/>
                </a:cxn>
                <a:cxn ang="0">
                  <a:pos x="connsiteX14329" y="connsiteY14329"/>
                </a:cxn>
                <a:cxn ang="0">
                  <a:pos x="connsiteX14330" y="connsiteY14330"/>
                </a:cxn>
                <a:cxn ang="0">
                  <a:pos x="connsiteX14331" y="connsiteY14331"/>
                </a:cxn>
                <a:cxn ang="0">
                  <a:pos x="connsiteX14332" y="connsiteY14332"/>
                </a:cxn>
                <a:cxn ang="0">
                  <a:pos x="connsiteX14333" y="connsiteY14333"/>
                </a:cxn>
                <a:cxn ang="0">
                  <a:pos x="connsiteX14334" y="connsiteY14334"/>
                </a:cxn>
                <a:cxn ang="0">
                  <a:pos x="connsiteX14335" y="connsiteY14335"/>
                </a:cxn>
                <a:cxn ang="0">
                  <a:pos x="connsiteX14336" y="connsiteY14336"/>
                </a:cxn>
                <a:cxn ang="0">
                  <a:pos x="connsiteX14337" y="connsiteY14337"/>
                </a:cxn>
                <a:cxn ang="0">
                  <a:pos x="connsiteX14338" y="connsiteY14338"/>
                </a:cxn>
                <a:cxn ang="0">
                  <a:pos x="connsiteX14339" y="connsiteY14339"/>
                </a:cxn>
                <a:cxn ang="0">
                  <a:pos x="connsiteX14340" y="connsiteY14340"/>
                </a:cxn>
                <a:cxn ang="0">
                  <a:pos x="connsiteX14341" y="connsiteY14341"/>
                </a:cxn>
                <a:cxn ang="0">
                  <a:pos x="connsiteX14342" y="connsiteY14342"/>
                </a:cxn>
                <a:cxn ang="0">
                  <a:pos x="connsiteX14343" y="connsiteY14343"/>
                </a:cxn>
                <a:cxn ang="0">
                  <a:pos x="connsiteX14344" y="connsiteY14344"/>
                </a:cxn>
                <a:cxn ang="0">
                  <a:pos x="connsiteX14345" y="connsiteY14345"/>
                </a:cxn>
                <a:cxn ang="0">
                  <a:pos x="connsiteX14346" y="connsiteY14346"/>
                </a:cxn>
                <a:cxn ang="0">
                  <a:pos x="connsiteX14347" y="connsiteY14347"/>
                </a:cxn>
                <a:cxn ang="0">
                  <a:pos x="connsiteX14348" y="connsiteY14348"/>
                </a:cxn>
                <a:cxn ang="0">
                  <a:pos x="connsiteX14349" y="connsiteY14349"/>
                </a:cxn>
                <a:cxn ang="0">
                  <a:pos x="connsiteX14350" y="connsiteY14350"/>
                </a:cxn>
                <a:cxn ang="0">
                  <a:pos x="connsiteX14351" y="connsiteY14351"/>
                </a:cxn>
                <a:cxn ang="0">
                  <a:pos x="connsiteX14352" y="connsiteY14352"/>
                </a:cxn>
                <a:cxn ang="0">
                  <a:pos x="connsiteX14353" y="connsiteY14353"/>
                </a:cxn>
                <a:cxn ang="0">
                  <a:pos x="connsiteX14354" y="connsiteY14354"/>
                </a:cxn>
                <a:cxn ang="0">
                  <a:pos x="connsiteX14355" y="connsiteY14355"/>
                </a:cxn>
                <a:cxn ang="0">
                  <a:pos x="connsiteX14356" y="connsiteY14356"/>
                </a:cxn>
                <a:cxn ang="0">
                  <a:pos x="connsiteX14357" y="connsiteY14357"/>
                </a:cxn>
                <a:cxn ang="0">
                  <a:pos x="connsiteX14358" y="connsiteY14358"/>
                </a:cxn>
                <a:cxn ang="0">
                  <a:pos x="connsiteX14359" y="connsiteY14359"/>
                </a:cxn>
                <a:cxn ang="0">
                  <a:pos x="connsiteX14360" y="connsiteY14360"/>
                </a:cxn>
                <a:cxn ang="0">
                  <a:pos x="connsiteX14361" y="connsiteY14361"/>
                </a:cxn>
                <a:cxn ang="0">
                  <a:pos x="connsiteX14362" y="connsiteY14362"/>
                </a:cxn>
                <a:cxn ang="0">
                  <a:pos x="connsiteX14363" y="connsiteY14363"/>
                </a:cxn>
                <a:cxn ang="0">
                  <a:pos x="connsiteX14364" y="connsiteY14364"/>
                </a:cxn>
                <a:cxn ang="0">
                  <a:pos x="connsiteX14365" y="connsiteY14365"/>
                </a:cxn>
                <a:cxn ang="0">
                  <a:pos x="connsiteX14366" y="connsiteY14366"/>
                </a:cxn>
                <a:cxn ang="0">
                  <a:pos x="connsiteX14367" y="connsiteY14367"/>
                </a:cxn>
                <a:cxn ang="0">
                  <a:pos x="connsiteX14368" y="connsiteY14368"/>
                </a:cxn>
                <a:cxn ang="0">
                  <a:pos x="connsiteX14369" y="connsiteY14369"/>
                </a:cxn>
                <a:cxn ang="0">
                  <a:pos x="connsiteX14370" y="connsiteY14370"/>
                </a:cxn>
                <a:cxn ang="0">
                  <a:pos x="connsiteX14371" y="connsiteY14371"/>
                </a:cxn>
                <a:cxn ang="0">
                  <a:pos x="connsiteX14372" y="connsiteY14372"/>
                </a:cxn>
                <a:cxn ang="0">
                  <a:pos x="connsiteX14373" y="connsiteY14373"/>
                </a:cxn>
                <a:cxn ang="0">
                  <a:pos x="connsiteX14374" y="connsiteY14374"/>
                </a:cxn>
                <a:cxn ang="0">
                  <a:pos x="connsiteX14375" y="connsiteY14375"/>
                </a:cxn>
                <a:cxn ang="0">
                  <a:pos x="connsiteX14376" y="connsiteY14376"/>
                </a:cxn>
                <a:cxn ang="0">
                  <a:pos x="connsiteX14377" y="connsiteY14377"/>
                </a:cxn>
                <a:cxn ang="0">
                  <a:pos x="connsiteX14378" y="connsiteY14378"/>
                </a:cxn>
                <a:cxn ang="0">
                  <a:pos x="connsiteX14379" y="connsiteY14379"/>
                </a:cxn>
                <a:cxn ang="0">
                  <a:pos x="connsiteX14380" y="connsiteY14380"/>
                </a:cxn>
                <a:cxn ang="0">
                  <a:pos x="connsiteX14381" y="connsiteY14381"/>
                </a:cxn>
                <a:cxn ang="0">
                  <a:pos x="connsiteX14382" y="connsiteY14382"/>
                </a:cxn>
                <a:cxn ang="0">
                  <a:pos x="connsiteX14383" y="connsiteY14383"/>
                </a:cxn>
                <a:cxn ang="0">
                  <a:pos x="connsiteX14384" y="connsiteY14384"/>
                </a:cxn>
                <a:cxn ang="0">
                  <a:pos x="connsiteX14385" y="connsiteY14385"/>
                </a:cxn>
                <a:cxn ang="0">
                  <a:pos x="connsiteX14386" y="connsiteY14386"/>
                </a:cxn>
                <a:cxn ang="0">
                  <a:pos x="connsiteX14387" y="connsiteY14387"/>
                </a:cxn>
                <a:cxn ang="0">
                  <a:pos x="connsiteX14388" y="connsiteY14388"/>
                </a:cxn>
                <a:cxn ang="0">
                  <a:pos x="connsiteX14389" y="connsiteY14389"/>
                </a:cxn>
                <a:cxn ang="0">
                  <a:pos x="connsiteX14390" y="connsiteY14390"/>
                </a:cxn>
                <a:cxn ang="0">
                  <a:pos x="connsiteX14391" y="connsiteY14391"/>
                </a:cxn>
                <a:cxn ang="0">
                  <a:pos x="connsiteX14392" y="connsiteY14392"/>
                </a:cxn>
                <a:cxn ang="0">
                  <a:pos x="connsiteX14393" y="connsiteY14393"/>
                </a:cxn>
                <a:cxn ang="0">
                  <a:pos x="connsiteX14394" y="connsiteY14394"/>
                </a:cxn>
                <a:cxn ang="0">
                  <a:pos x="connsiteX14395" y="connsiteY14395"/>
                </a:cxn>
                <a:cxn ang="0">
                  <a:pos x="connsiteX14396" y="connsiteY14396"/>
                </a:cxn>
                <a:cxn ang="0">
                  <a:pos x="connsiteX14397" y="connsiteY14397"/>
                </a:cxn>
                <a:cxn ang="0">
                  <a:pos x="connsiteX14398" y="connsiteY14398"/>
                </a:cxn>
                <a:cxn ang="0">
                  <a:pos x="connsiteX14399" y="connsiteY14399"/>
                </a:cxn>
                <a:cxn ang="0">
                  <a:pos x="connsiteX14400" y="connsiteY14400"/>
                </a:cxn>
                <a:cxn ang="0">
                  <a:pos x="connsiteX14401" y="connsiteY14401"/>
                </a:cxn>
                <a:cxn ang="0">
                  <a:pos x="connsiteX14402" y="connsiteY14402"/>
                </a:cxn>
                <a:cxn ang="0">
                  <a:pos x="connsiteX14403" y="connsiteY14403"/>
                </a:cxn>
                <a:cxn ang="0">
                  <a:pos x="connsiteX14404" y="connsiteY14404"/>
                </a:cxn>
                <a:cxn ang="0">
                  <a:pos x="connsiteX14405" y="connsiteY14405"/>
                </a:cxn>
                <a:cxn ang="0">
                  <a:pos x="connsiteX14406" y="connsiteY14406"/>
                </a:cxn>
                <a:cxn ang="0">
                  <a:pos x="connsiteX14407" y="connsiteY14407"/>
                </a:cxn>
                <a:cxn ang="0">
                  <a:pos x="connsiteX14408" y="connsiteY14408"/>
                </a:cxn>
                <a:cxn ang="0">
                  <a:pos x="connsiteX14409" y="connsiteY14409"/>
                </a:cxn>
                <a:cxn ang="0">
                  <a:pos x="connsiteX14410" y="connsiteY14410"/>
                </a:cxn>
                <a:cxn ang="0">
                  <a:pos x="connsiteX14411" y="connsiteY14411"/>
                </a:cxn>
                <a:cxn ang="0">
                  <a:pos x="connsiteX14412" y="connsiteY14412"/>
                </a:cxn>
                <a:cxn ang="0">
                  <a:pos x="connsiteX14413" y="connsiteY14413"/>
                </a:cxn>
                <a:cxn ang="0">
                  <a:pos x="connsiteX14414" y="connsiteY14414"/>
                </a:cxn>
                <a:cxn ang="0">
                  <a:pos x="connsiteX14415" y="connsiteY14415"/>
                </a:cxn>
                <a:cxn ang="0">
                  <a:pos x="connsiteX14416" y="connsiteY14416"/>
                </a:cxn>
                <a:cxn ang="0">
                  <a:pos x="connsiteX14417" y="connsiteY14417"/>
                </a:cxn>
                <a:cxn ang="0">
                  <a:pos x="connsiteX14418" y="connsiteY14418"/>
                </a:cxn>
                <a:cxn ang="0">
                  <a:pos x="connsiteX14419" y="connsiteY14419"/>
                </a:cxn>
                <a:cxn ang="0">
                  <a:pos x="connsiteX14420" y="connsiteY14420"/>
                </a:cxn>
                <a:cxn ang="0">
                  <a:pos x="connsiteX14421" y="connsiteY14421"/>
                </a:cxn>
                <a:cxn ang="0">
                  <a:pos x="connsiteX14422" y="connsiteY14422"/>
                </a:cxn>
                <a:cxn ang="0">
                  <a:pos x="connsiteX14423" y="connsiteY14423"/>
                </a:cxn>
                <a:cxn ang="0">
                  <a:pos x="connsiteX14424" y="connsiteY14424"/>
                </a:cxn>
                <a:cxn ang="0">
                  <a:pos x="connsiteX14425" y="connsiteY14425"/>
                </a:cxn>
                <a:cxn ang="0">
                  <a:pos x="connsiteX14426" y="connsiteY14426"/>
                </a:cxn>
                <a:cxn ang="0">
                  <a:pos x="connsiteX14427" y="connsiteY14427"/>
                </a:cxn>
                <a:cxn ang="0">
                  <a:pos x="connsiteX14428" y="connsiteY14428"/>
                </a:cxn>
                <a:cxn ang="0">
                  <a:pos x="connsiteX14429" y="connsiteY14429"/>
                </a:cxn>
                <a:cxn ang="0">
                  <a:pos x="connsiteX14430" y="connsiteY14430"/>
                </a:cxn>
                <a:cxn ang="0">
                  <a:pos x="connsiteX14431" y="connsiteY14431"/>
                </a:cxn>
                <a:cxn ang="0">
                  <a:pos x="connsiteX14432" y="connsiteY14432"/>
                </a:cxn>
                <a:cxn ang="0">
                  <a:pos x="connsiteX14433" y="connsiteY14433"/>
                </a:cxn>
                <a:cxn ang="0">
                  <a:pos x="connsiteX14434" y="connsiteY14434"/>
                </a:cxn>
                <a:cxn ang="0">
                  <a:pos x="connsiteX14435" y="connsiteY14435"/>
                </a:cxn>
                <a:cxn ang="0">
                  <a:pos x="connsiteX14436" y="connsiteY14436"/>
                </a:cxn>
                <a:cxn ang="0">
                  <a:pos x="connsiteX14437" y="connsiteY14437"/>
                </a:cxn>
                <a:cxn ang="0">
                  <a:pos x="connsiteX14438" y="connsiteY14438"/>
                </a:cxn>
                <a:cxn ang="0">
                  <a:pos x="connsiteX14439" y="connsiteY14439"/>
                </a:cxn>
                <a:cxn ang="0">
                  <a:pos x="connsiteX14440" y="connsiteY14440"/>
                </a:cxn>
                <a:cxn ang="0">
                  <a:pos x="connsiteX14441" y="connsiteY14441"/>
                </a:cxn>
                <a:cxn ang="0">
                  <a:pos x="connsiteX14442" y="connsiteY14442"/>
                </a:cxn>
                <a:cxn ang="0">
                  <a:pos x="connsiteX14443" y="connsiteY14443"/>
                </a:cxn>
                <a:cxn ang="0">
                  <a:pos x="connsiteX14444" y="connsiteY14444"/>
                </a:cxn>
                <a:cxn ang="0">
                  <a:pos x="connsiteX14445" y="connsiteY14445"/>
                </a:cxn>
                <a:cxn ang="0">
                  <a:pos x="connsiteX14446" y="connsiteY14446"/>
                </a:cxn>
                <a:cxn ang="0">
                  <a:pos x="connsiteX14447" y="connsiteY14447"/>
                </a:cxn>
                <a:cxn ang="0">
                  <a:pos x="connsiteX14448" y="connsiteY14448"/>
                </a:cxn>
                <a:cxn ang="0">
                  <a:pos x="connsiteX14449" y="connsiteY14449"/>
                </a:cxn>
                <a:cxn ang="0">
                  <a:pos x="connsiteX14450" y="connsiteY14450"/>
                </a:cxn>
                <a:cxn ang="0">
                  <a:pos x="connsiteX14451" y="connsiteY14451"/>
                </a:cxn>
                <a:cxn ang="0">
                  <a:pos x="connsiteX14452" y="connsiteY14452"/>
                </a:cxn>
                <a:cxn ang="0">
                  <a:pos x="connsiteX14453" y="connsiteY14453"/>
                </a:cxn>
                <a:cxn ang="0">
                  <a:pos x="connsiteX14454" y="connsiteY14454"/>
                </a:cxn>
                <a:cxn ang="0">
                  <a:pos x="connsiteX14455" y="connsiteY14455"/>
                </a:cxn>
                <a:cxn ang="0">
                  <a:pos x="connsiteX14456" y="connsiteY14456"/>
                </a:cxn>
                <a:cxn ang="0">
                  <a:pos x="connsiteX14457" y="connsiteY14457"/>
                </a:cxn>
                <a:cxn ang="0">
                  <a:pos x="connsiteX14458" y="connsiteY14458"/>
                </a:cxn>
                <a:cxn ang="0">
                  <a:pos x="connsiteX14459" y="connsiteY14459"/>
                </a:cxn>
                <a:cxn ang="0">
                  <a:pos x="connsiteX14460" y="connsiteY14460"/>
                </a:cxn>
                <a:cxn ang="0">
                  <a:pos x="connsiteX14461" y="connsiteY14461"/>
                </a:cxn>
                <a:cxn ang="0">
                  <a:pos x="connsiteX14462" y="connsiteY14462"/>
                </a:cxn>
                <a:cxn ang="0">
                  <a:pos x="connsiteX14463" y="connsiteY14463"/>
                </a:cxn>
                <a:cxn ang="0">
                  <a:pos x="connsiteX14464" y="connsiteY14464"/>
                </a:cxn>
                <a:cxn ang="0">
                  <a:pos x="connsiteX14465" y="connsiteY14465"/>
                </a:cxn>
                <a:cxn ang="0">
                  <a:pos x="connsiteX14466" y="connsiteY14466"/>
                </a:cxn>
                <a:cxn ang="0">
                  <a:pos x="connsiteX14467" y="connsiteY14467"/>
                </a:cxn>
                <a:cxn ang="0">
                  <a:pos x="connsiteX14468" y="connsiteY14468"/>
                </a:cxn>
                <a:cxn ang="0">
                  <a:pos x="connsiteX14469" y="connsiteY14469"/>
                </a:cxn>
                <a:cxn ang="0">
                  <a:pos x="connsiteX14470" y="connsiteY14470"/>
                </a:cxn>
                <a:cxn ang="0">
                  <a:pos x="connsiteX14471" y="connsiteY14471"/>
                </a:cxn>
                <a:cxn ang="0">
                  <a:pos x="connsiteX14472" y="connsiteY14472"/>
                </a:cxn>
                <a:cxn ang="0">
                  <a:pos x="connsiteX14473" y="connsiteY14473"/>
                </a:cxn>
                <a:cxn ang="0">
                  <a:pos x="connsiteX14474" y="connsiteY14474"/>
                </a:cxn>
                <a:cxn ang="0">
                  <a:pos x="connsiteX14475" y="connsiteY14475"/>
                </a:cxn>
                <a:cxn ang="0">
                  <a:pos x="connsiteX14476" y="connsiteY14476"/>
                </a:cxn>
                <a:cxn ang="0">
                  <a:pos x="connsiteX14477" y="connsiteY14477"/>
                </a:cxn>
                <a:cxn ang="0">
                  <a:pos x="connsiteX14478" y="connsiteY14478"/>
                </a:cxn>
                <a:cxn ang="0">
                  <a:pos x="connsiteX14479" y="connsiteY14479"/>
                </a:cxn>
                <a:cxn ang="0">
                  <a:pos x="connsiteX14480" y="connsiteY14480"/>
                </a:cxn>
                <a:cxn ang="0">
                  <a:pos x="connsiteX14481" y="connsiteY14481"/>
                </a:cxn>
                <a:cxn ang="0">
                  <a:pos x="connsiteX14482" y="connsiteY14482"/>
                </a:cxn>
                <a:cxn ang="0">
                  <a:pos x="connsiteX14483" y="connsiteY14483"/>
                </a:cxn>
                <a:cxn ang="0">
                  <a:pos x="connsiteX14484" y="connsiteY14484"/>
                </a:cxn>
                <a:cxn ang="0">
                  <a:pos x="connsiteX14485" y="connsiteY14485"/>
                </a:cxn>
                <a:cxn ang="0">
                  <a:pos x="connsiteX14486" y="connsiteY14486"/>
                </a:cxn>
                <a:cxn ang="0">
                  <a:pos x="connsiteX14487" y="connsiteY14487"/>
                </a:cxn>
                <a:cxn ang="0">
                  <a:pos x="connsiteX14488" y="connsiteY14488"/>
                </a:cxn>
                <a:cxn ang="0">
                  <a:pos x="connsiteX14489" y="connsiteY14489"/>
                </a:cxn>
                <a:cxn ang="0">
                  <a:pos x="connsiteX14490" y="connsiteY14490"/>
                </a:cxn>
                <a:cxn ang="0">
                  <a:pos x="connsiteX14491" y="connsiteY14491"/>
                </a:cxn>
                <a:cxn ang="0">
                  <a:pos x="connsiteX14492" y="connsiteY14492"/>
                </a:cxn>
                <a:cxn ang="0">
                  <a:pos x="connsiteX14493" y="connsiteY14493"/>
                </a:cxn>
                <a:cxn ang="0">
                  <a:pos x="connsiteX14494" y="connsiteY14494"/>
                </a:cxn>
                <a:cxn ang="0">
                  <a:pos x="connsiteX14495" y="connsiteY14495"/>
                </a:cxn>
                <a:cxn ang="0">
                  <a:pos x="connsiteX14496" y="connsiteY14496"/>
                </a:cxn>
                <a:cxn ang="0">
                  <a:pos x="connsiteX14497" y="connsiteY14497"/>
                </a:cxn>
                <a:cxn ang="0">
                  <a:pos x="connsiteX14498" y="connsiteY14498"/>
                </a:cxn>
                <a:cxn ang="0">
                  <a:pos x="connsiteX14499" y="connsiteY14499"/>
                </a:cxn>
                <a:cxn ang="0">
                  <a:pos x="connsiteX14500" y="connsiteY14500"/>
                </a:cxn>
                <a:cxn ang="0">
                  <a:pos x="connsiteX14501" y="connsiteY14501"/>
                </a:cxn>
              </a:cxnLst>
              <a:rect l="l" t="t" r="r" b="b"/>
              <a:pathLst>
                <a:path w="4878487" h="3690338">
                  <a:moveTo>
                    <a:pt x="3367337" y="1966738"/>
                  </a:moveTo>
                  <a:lnTo>
                    <a:pt x="3370091" y="1965951"/>
                  </a:lnTo>
                  <a:lnTo>
                    <a:pt x="3373239" y="1964378"/>
                  </a:lnTo>
                  <a:lnTo>
                    <a:pt x="3372452" y="1961624"/>
                  </a:lnTo>
                  <a:lnTo>
                    <a:pt x="3370485" y="1958870"/>
                  </a:lnTo>
                  <a:lnTo>
                    <a:pt x="3370091" y="1957689"/>
                  </a:lnTo>
                  <a:lnTo>
                    <a:pt x="3368518" y="1953755"/>
                  </a:lnTo>
                  <a:lnTo>
                    <a:pt x="3367730" y="1952182"/>
                  </a:lnTo>
                  <a:lnTo>
                    <a:pt x="3369304" y="1951788"/>
                  </a:lnTo>
                  <a:lnTo>
                    <a:pt x="3369698" y="1951001"/>
                  </a:lnTo>
                  <a:lnTo>
                    <a:pt x="3370878" y="1950608"/>
                  </a:lnTo>
                  <a:lnTo>
                    <a:pt x="3369304" y="1953755"/>
                  </a:lnTo>
                  <a:lnTo>
                    <a:pt x="3370485" y="1956116"/>
                  </a:lnTo>
                  <a:lnTo>
                    <a:pt x="3372058" y="1958870"/>
                  </a:lnTo>
                  <a:lnTo>
                    <a:pt x="3374812" y="1961230"/>
                  </a:lnTo>
                  <a:lnTo>
                    <a:pt x="3377566" y="1961230"/>
                  </a:lnTo>
                  <a:lnTo>
                    <a:pt x="3380714" y="1960443"/>
                  </a:lnTo>
                  <a:lnTo>
                    <a:pt x="3382288" y="1958870"/>
                  </a:lnTo>
                  <a:lnTo>
                    <a:pt x="3384255" y="1956116"/>
                  </a:lnTo>
                  <a:lnTo>
                    <a:pt x="3385828" y="1953362"/>
                  </a:lnTo>
                  <a:lnTo>
                    <a:pt x="3386615" y="1951788"/>
                  </a:lnTo>
                  <a:lnTo>
                    <a:pt x="3386222" y="1949034"/>
                  </a:lnTo>
                  <a:lnTo>
                    <a:pt x="3385828" y="1948641"/>
                  </a:lnTo>
                  <a:lnTo>
                    <a:pt x="3387795" y="1945887"/>
                  </a:lnTo>
                  <a:lnTo>
                    <a:pt x="3388189" y="1943133"/>
                  </a:lnTo>
                  <a:lnTo>
                    <a:pt x="3386615" y="1940772"/>
                  </a:lnTo>
                  <a:lnTo>
                    <a:pt x="3387008" y="1934871"/>
                  </a:lnTo>
                  <a:lnTo>
                    <a:pt x="3385435" y="1930149"/>
                  </a:lnTo>
                  <a:lnTo>
                    <a:pt x="3387008" y="1932904"/>
                  </a:lnTo>
                  <a:lnTo>
                    <a:pt x="3389369" y="1934871"/>
                  </a:lnTo>
                  <a:lnTo>
                    <a:pt x="3390943" y="1936444"/>
                  </a:lnTo>
                  <a:lnTo>
                    <a:pt x="3393697" y="1939198"/>
                  </a:lnTo>
                  <a:lnTo>
                    <a:pt x="3394090" y="1941952"/>
                  </a:lnTo>
                  <a:lnTo>
                    <a:pt x="3395664" y="1940772"/>
                  </a:lnTo>
                  <a:lnTo>
                    <a:pt x="3396057" y="1943526"/>
                  </a:lnTo>
                  <a:lnTo>
                    <a:pt x="3396844" y="1946280"/>
                  </a:lnTo>
                  <a:lnTo>
                    <a:pt x="3397631" y="1949427"/>
                  </a:lnTo>
                  <a:lnTo>
                    <a:pt x="3399205" y="1952182"/>
                  </a:lnTo>
                  <a:lnTo>
                    <a:pt x="3400385" y="1954936"/>
                  </a:lnTo>
                  <a:lnTo>
                    <a:pt x="3402746" y="1957689"/>
                  </a:lnTo>
                  <a:lnTo>
                    <a:pt x="3403532" y="1960443"/>
                  </a:lnTo>
                  <a:lnTo>
                    <a:pt x="3406680" y="1960837"/>
                  </a:lnTo>
                  <a:lnTo>
                    <a:pt x="3409434" y="1960443"/>
                  </a:lnTo>
                  <a:lnTo>
                    <a:pt x="3411795" y="1960837"/>
                  </a:lnTo>
                  <a:lnTo>
                    <a:pt x="3412975" y="1959656"/>
                  </a:lnTo>
                  <a:lnTo>
                    <a:pt x="3413762" y="1959263"/>
                  </a:lnTo>
                  <a:lnTo>
                    <a:pt x="3414942" y="1959656"/>
                  </a:lnTo>
                  <a:lnTo>
                    <a:pt x="3413368" y="1960050"/>
                  </a:lnTo>
                  <a:lnTo>
                    <a:pt x="3411795" y="1962804"/>
                  </a:lnTo>
                  <a:lnTo>
                    <a:pt x="3411795" y="1964771"/>
                  </a:lnTo>
                  <a:lnTo>
                    <a:pt x="3412188" y="1975394"/>
                  </a:lnTo>
                  <a:lnTo>
                    <a:pt x="3411795" y="1978541"/>
                  </a:lnTo>
                  <a:lnTo>
                    <a:pt x="3414548" y="1981295"/>
                  </a:lnTo>
                  <a:lnTo>
                    <a:pt x="3418483" y="1991524"/>
                  </a:lnTo>
                  <a:lnTo>
                    <a:pt x="3419663" y="1998606"/>
                  </a:lnTo>
                  <a:lnTo>
                    <a:pt x="3419663" y="2000180"/>
                  </a:lnTo>
                  <a:lnTo>
                    <a:pt x="3419269" y="2002933"/>
                  </a:lnTo>
                  <a:lnTo>
                    <a:pt x="3420843" y="2006081"/>
                  </a:lnTo>
                  <a:lnTo>
                    <a:pt x="3421236" y="2006868"/>
                  </a:lnTo>
                  <a:lnTo>
                    <a:pt x="3422417" y="2012769"/>
                  </a:lnTo>
                  <a:lnTo>
                    <a:pt x="3422417" y="2015523"/>
                  </a:lnTo>
                  <a:lnTo>
                    <a:pt x="3422810" y="2016703"/>
                  </a:lnTo>
                  <a:lnTo>
                    <a:pt x="3423991" y="2019457"/>
                  </a:lnTo>
                  <a:lnTo>
                    <a:pt x="3425171" y="2022211"/>
                  </a:lnTo>
                  <a:lnTo>
                    <a:pt x="3425171" y="2022211"/>
                  </a:lnTo>
                  <a:lnTo>
                    <a:pt x="3429499" y="2032047"/>
                  </a:lnTo>
                  <a:lnTo>
                    <a:pt x="3429892" y="2034407"/>
                  </a:lnTo>
                  <a:lnTo>
                    <a:pt x="3431466" y="2037162"/>
                  </a:lnTo>
                  <a:lnTo>
                    <a:pt x="3432253" y="2038342"/>
                  </a:lnTo>
                  <a:lnTo>
                    <a:pt x="3434220" y="2041096"/>
                  </a:lnTo>
                  <a:lnTo>
                    <a:pt x="3433826" y="2043850"/>
                  </a:lnTo>
                  <a:lnTo>
                    <a:pt x="3433433" y="2046604"/>
                  </a:lnTo>
                  <a:lnTo>
                    <a:pt x="3435006" y="2049358"/>
                  </a:lnTo>
                  <a:lnTo>
                    <a:pt x="3435400" y="2052505"/>
                  </a:lnTo>
                  <a:lnTo>
                    <a:pt x="3435400" y="2055259"/>
                  </a:lnTo>
                  <a:lnTo>
                    <a:pt x="3437761" y="2058013"/>
                  </a:lnTo>
                  <a:lnTo>
                    <a:pt x="3437367" y="2061161"/>
                  </a:lnTo>
                  <a:lnTo>
                    <a:pt x="3438941" y="2058407"/>
                  </a:lnTo>
                  <a:lnTo>
                    <a:pt x="3438154" y="2055259"/>
                  </a:lnTo>
                  <a:lnTo>
                    <a:pt x="3438154" y="2052505"/>
                  </a:lnTo>
                  <a:lnTo>
                    <a:pt x="3437761" y="2049751"/>
                  </a:lnTo>
                  <a:lnTo>
                    <a:pt x="3438154" y="2046997"/>
                  </a:lnTo>
                  <a:lnTo>
                    <a:pt x="3437367" y="2045424"/>
                  </a:lnTo>
                  <a:lnTo>
                    <a:pt x="3437367" y="2043850"/>
                  </a:lnTo>
                  <a:lnTo>
                    <a:pt x="3438154" y="2045030"/>
                  </a:lnTo>
                  <a:lnTo>
                    <a:pt x="3439334" y="2047784"/>
                  </a:lnTo>
                  <a:lnTo>
                    <a:pt x="3439728" y="2050538"/>
                  </a:lnTo>
                  <a:lnTo>
                    <a:pt x="3440121" y="2053292"/>
                  </a:lnTo>
                  <a:lnTo>
                    <a:pt x="3442088" y="2056439"/>
                  </a:lnTo>
                  <a:lnTo>
                    <a:pt x="3443662" y="2059194"/>
                  </a:lnTo>
                  <a:lnTo>
                    <a:pt x="3445629" y="2061947"/>
                  </a:lnTo>
                  <a:lnTo>
                    <a:pt x="3446416" y="2064701"/>
                  </a:lnTo>
                  <a:lnTo>
                    <a:pt x="3447990" y="2067455"/>
                  </a:lnTo>
                  <a:lnTo>
                    <a:pt x="3449170" y="2069423"/>
                  </a:lnTo>
                  <a:lnTo>
                    <a:pt x="3452317" y="2078078"/>
                  </a:lnTo>
                  <a:lnTo>
                    <a:pt x="3452317" y="2078471"/>
                  </a:lnTo>
                  <a:lnTo>
                    <a:pt x="3453498" y="2081225"/>
                  </a:lnTo>
                  <a:lnTo>
                    <a:pt x="3454284" y="2082799"/>
                  </a:lnTo>
                  <a:lnTo>
                    <a:pt x="3454678" y="2083979"/>
                  </a:lnTo>
                  <a:lnTo>
                    <a:pt x="3455071" y="2086733"/>
                  </a:lnTo>
                  <a:lnTo>
                    <a:pt x="3456645" y="2089094"/>
                  </a:lnTo>
                  <a:lnTo>
                    <a:pt x="3455858" y="2092635"/>
                  </a:lnTo>
                  <a:lnTo>
                    <a:pt x="3454678" y="2094602"/>
                  </a:lnTo>
                  <a:lnTo>
                    <a:pt x="3455071" y="2094995"/>
                  </a:lnTo>
                  <a:lnTo>
                    <a:pt x="3454678" y="2098143"/>
                  </a:lnTo>
                  <a:lnTo>
                    <a:pt x="3455071" y="2099716"/>
                  </a:lnTo>
                  <a:lnTo>
                    <a:pt x="3457825" y="2102077"/>
                  </a:lnTo>
                  <a:lnTo>
                    <a:pt x="3456251" y="2103257"/>
                  </a:lnTo>
                  <a:lnTo>
                    <a:pt x="3453498" y="2104044"/>
                  </a:lnTo>
                  <a:lnTo>
                    <a:pt x="3455465" y="2106798"/>
                  </a:lnTo>
                  <a:lnTo>
                    <a:pt x="3458612" y="2106798"/>
                  </a:lnTo>
                  <a:lnTo>
                    <a:pt x="3455858" y="2109159"/>
                  </a:lnTo>
                  <a:lnTo>
                    <a:pt x="3458612" y="2111913"/>
                  </a:lnTo>
                  <a:lnTo>
                    <a:pt x="3459006" y="2115060"/>
                  </a:lnTo>
                  <a:lnTo>
                    <a:pt x="3456251" y="2117421"/>
                  </a:lnTo>
                  <a:lnTo>
                    <a:pt x="3459006" y="2117027"/>
                  </a:lnTo>
                  <a:lnTo>
                    <a:pt x="3457039" y="2120175"/>
                  </a:lnTo>
                  <a:lnTo>
                    <a:pt x="3457039" y="2122928"/>
                  </a:lnTo>
                  <a:lnTo>
                    <a:pt x="3459792" y="2121748"/>
                  </a:lnTo>
                  <a:lnTo>
                    <a:pt x="3462546" y="2118994"/>
                  </a:lnTo>
                  <a:lnTo>
                    <a:pt x="3462153" y="2120568"/>
                  </a:lnTo>
                  <a:lnTo>
                    <a:pt x="3462546" y="2120961"/>
                  </a:lnTo>
                  <a:lnTo>
                    <a:pt x="3462153" y="2123715"/>
                  </a:lnTo>
                  <a:lnTo>
                    <a:pt x="3460973" y="2124109"/>
                  </a:lnTo>
                  <a:lnTo>
                    <a:pt x="3460973" y="2126863"/>
                  </a:lnTo>
                  <a:lnTo>
                    <a:pt x="3461366" y="2128830"/>
                  </a:lnTo>
                  <a:lnTo>
                    <a:pt x="3460973" y="2131191"/>
                  </a:lnTo>
                  <a:lnTo>
                    <a:pt x="3460186" y="2132764"/>
                  </a:lnTo>
                  <a:lnTo>
                    <a:pt x="3460579" y="2133551"/>
                  </a:lnTo>
                  <a:lnTo>
                    <a:pt x="3457825" y="2151255"/>
                  </a:lnTo>
                  <a:lnTo>
                    <a:pt x="3457039" y="2156370"/>
                  </a:lnTo>
                  <a:lnTo>
                    <a:pt x="3454678" y="2157157"/>
                  </a:lnTo>
                  <a:lnTo>
                    <a:pt x="3455071" y="2159911"/>
                  </a:lnTo>
                  <a:lnTo>
                    <a:pt x="3455858" y="2162665"/>
                  </a:lnTo>
                  <a:lnTo>
                    <a:pt x="3455858" y="2163058"/>
                  </a:lnTo>
                  <a:lnTo>
                    <a:pt x="3455858" y="2163845"/>
                  </a:lnTo>
                  <a:lnTo>
                    <a:pt x="3456645" y="2171713"/>
                  </a:lnTo>
                  <a:lnTo>
                    <a:pt x="3456251" y="2174861"/>
                  </a:lnTo>
                  <a:lnTo>
                    <a:pt x="3456645" y="2177615"/>
                  </a:lnTo>
                  <a:lnTo>
                    <a:pt x="3457432" y="2180762"/>
                  </a:lnTo>
                  <a:lnTo>
                    <a:pt x="3457825" y="2181156"/>
                  </a:lnTo>
                  <a:lnTo>
                    <a:pt x="3458612" y="2180762"/>
                  </a:lnTo>
                  <a:lnTo>
                    <a:pt x="3461366" y="2173287"/>
                  </a:lnTo>
                  <a:lnTo>
                    <a:pt x="3462153" y="2171713"/>
                  </a:lnTo>
                  <a:lnTo>
                    <a:pt x="3462940" y="2168959"/>
                  </a:lnTo>
                  <a:lnTo>
                    <a:pt x="3459399" y="2180762"/>
                  </a:lnTo>
                  <a:lnTo>
                    <a:pt x="3458612" y="2183910"/>
                  </a:lnTo>
                  <a:lnTo>
                    <a:pt x="3457039" y="2185483"/>
                  </a:lnTo>
                  <a:lnTo>
                    <a:pt x="3457039" y="2188237"/>
                  </a:lnTo>
                  <a:lnTo>
                    <a:pt x="3457039" y="2189811"/>
                  </a:lnTo>
                  <a:lnTo>
                    <a:pt x="3456251" y="2193745"/>
                  </a:lnTo>
                  <a:lnTo>
                    <a:pt x="3456251" y="2194139"/>
                  </a:lnTo>
                  <a:lnTo>
                    <a:pt x="3455465" y="2196893"/>
                  </a:lnTo>
                  <a:lnTo>
                    <a:pt x="3455465" y="2198466"/>
                  </a:lnTo>
                  <a:lnTo>
                    <a:pt x="3454678" y="2202794"/>
                  </a:lnTo>
                  <a:lnTo>
                    <a:pt x="3454284" y="2204368"/>
                  </a:lnTo>
                  <a:lnTo>
                    <a:pt x="3453891" y="2207122"/>
                  </a:lnTo>
                  <a:lnTo>
                    <a:pt x="3453891" y="2210269"/>
                  </a:lnTo>
                  <a:lnTo>
                    <a:pt x="3453498" y="2213023"/>
                  </a:lnTo>
                  <a:lnTo>
                    <a:pt x="3453498" y="2215777"/>
                  </a:lnTo>
                  <a:lnTo>
                    <a:pt x="3452317" y="2218531"/>
                  </a:lnTo>
                  <a:lnTo>
                    <a:pt x="3451924" y="2221285"/>
                  </a:lnTo>
                  <a:lnTo>
                    <a:pt x="3451531" y="2224433"/>
                  </a:lnTo>
                  <a:lnTo>
                    <a:pt x="3451531" y="2227186"/>
                  </a:lnTo>
                  <a:lnTo>
                    <a:pt x="3450743" y="2229940"/>
                  </a:lnTo>
                  <a:lnTo>
                    <a:pt x="3451531" y="2232694"/>
                  </a:lnTo>
                  <a:lnTo>
                    <a:pt x="3452711" y="2235842"/>
                  </a:lnTo>
                  <a:lnTo>
                    <a:pt x="3453498" y="2238596"/>
                  </a:lnTo>
                  <a:lnTo>
                    <a:pt x="3455858" y="2241743"/>
                  </a:lnTo>
                  <a:lnTo>
                    <a:pt x="3458612" y="2242923"/>
                  </a:lnTo>
                  <a:lnTo>
                    <a:pt x="3459399" y="2240170"/>
                  </a:lnTo>
                  <a:lnTo>
                    <a:pt x="3459006" y="2237416"/>
                  </a:lnTo>
                  <a:lnTo>
                    <a:pt x="3461760" y="2235842"/>
                  </a:lnTo>
                  <a:lnTo>
                    <a:pt x="3464513" y="2235449"/>
                  </a:lnTo>
                  <a:lnTo>
                    <a:pt x="3466087" y="2238203"/>
                  </a:lnTo>
                  <a:lnTo>
                    <a:pt x="3467661" y="2240956"/>
                  </a:lnTo>
                  <a:lnTo>
                    <a:pt x="3467661" y="2244104"/>
                  </a:lnTo>
                  <a:lnTo>
                    <a:pt x="3470415" y="2246858"/>
                  </a:lnTo>
                  <a:lnTo>
                    <a:pt x="3473169" y="2246071"/>
                  </a:lnTo>
                  <a:lnTo>
                    <a:pt x="3473562" y="2246464"/>
                  </a:lnTo>
                  <a:lnTo>
                    <a:pt x="3475136" y="2249612"/>
                  </a:lnTo>
                  <a:lnTo>
                    <a:pt x="3477890" y="2252366"/>
                  </a:lnTo>
                  <a:lnTo>
                    <a:pt x="3477103" y="2255120"/>
                  </a:lnTo>
                  <a:lnTo>
                    <a:pt x="3478677" y="2257874"/>
                  </a:lnTo>
                  <a:lnTo>
                    <a:pt x="3481431" y="2257087"/>
                  </a:lnTo>
                  <a:lnTo>
                    <a:pt x="3484185" y="2259447"/>
                  </a:lnTo>
                  <a:lnTo>
                    <a:pt x="3484578" y="2259841"/>
                  </a:lnTo>
                  <a:lnTo>
                    <a:pt x="3485758" y="2262595"/>
                  </a:lnTo>
                  <a:lnTo>
                    <a:pt x="3487332" y="2265742"/>
                  </a:lnTo>
                  <a:lnTo>
                    <a:pt x="3487726" y="2268496"/>
                  </a:lnTo>
                  <a:lnTo>
                    <a:pt x="3489299" y="2271250"/>
                  </a:lnTo>
                  <a:lnTo>
                    <a:pt x="3492053" y="2271644"/>
                  </a:lnTo>
                  <a:lnTo>
                    <a:pt x="3492447" y="2268496"/>
                  </a:lnTo>
                  <a:lnTo>
                    <a:pt x="3494414" y="2272037"/>
                  </a:lnTo>
                  <a:lnTo>
                    <a:pt x="3493627" y="2274004"/>
                  </a:lnTo>
                  <a:lnTo>
                    <a:pt x="3495201" y="2276758"/>
                  </a:lnTo>
                  <a:lnTo>
                    <a:pt x="3497955" y="2277939"/>
                  </a:lnTo>
                  <a:lnTo>
                    <a:pt x="3499528" y="2277545"/>
                  </a:lnTo>
                  <a:lnTo>
                    <a:pt x="3499528" y="2277545"/>
                  </a:lnTo>
                  <a:lnTo>
                    <a:pt x="3497955" y="2280299"/>
                  </a:lnTo>
                  <a:lnTo>
                    <a:pt x="3498742" y="2283053"/>
                  </a:lnTo>
                  <a:lnTo>
                    <a:pt x="3498348" y="2285807"/>
                  </a:lnTo>
                  <a:lnTo>
                    <a:pt x="3501495" y="2287381"/>
                  </a:lnTo>
                  <a:lnTo>
                    <a:pt x="3504250" y="2290135"/>
                  </a:lnTo>
                  <a:lnTo>
                    <a:pt x="3506610" y="2292889"/>
                  </a:lnTo>
                  <a:lnTo>
                    <a:pt x="3508184" y="2296036"/>
                  </a:lnTo>
                  <a:lnTo>
                    <a:pt x="3508577" y="2296430"/>
                  </a:lnTo>
                  <a:lnTo>
                    <a:pt x="3508971" y="2296430"/>
                  </a:lnTo>
                  <a:lnTo>
                    <a:pt x="3512512" y="2300364"/>
                  </a:lnTo>
                  <a:lnTo>
                    <a:pt x="3514872" y="2306265"/>
                  </a:lnTo>
                  <a:lnTo>
                    <a:pt x="3520380" y="2329477"/>
                  </a:lnTo>
                  <a:lnTo>
                    <a:pt x="3522741" y="2344821"/>
                  </a:lnTo>
                  <a:lnTo>
                    <a:pt x="3521560" y="2346001"/>
                  </a:lnTo>
                  <a:lnTo>
                    <a:pt x="3522741" y="2348755"/>
                  </a:lnTo>
                  <a:lnTo>
                    <a:pt x="3525494" y="2351509"/>
                  </a:lnTo>
                  <a:lnTo>
                    <a:pt x="3529035" y="2360558"/>
                  </a:lnTo>
                  <a:lnTo>
                    <a:pt x="3529035" y="2362919"/>
                  </a:lnTo>
                  <a:lnTo>
                    <a:pt x="3530216" y="2365673"/>
                  </a:lnTo>
                  <a:lnTo>
                    <a:pt x="3529429" y="2368820"/>
                  </a:lnTo>
                  <a:lnTo>
                    <a:pt x="3528642" y="2371574"/>
                  </a:lnTo>
                  <a:lnTo>
                    <a:pt x="3530216" y="2374328"/>
                  </a:lnTo>
                  <a:lnTo>
                    <a:pt x="3531396" y="2377082"/>
                  </a:lnTo>
                  <a:lnTo>
                    <a:pt x="3534543" y="2379049"/>
                  </a:lnTo>
                  <a:lnTo>
                    <a:pt x="3535330" y="2381803"/>
                  </a:lnTo>
                  <a:lnTo>
                    <a:pt x="3538084" y="2382196"/>
                  </a:lnTo>
                  <a:lnTo>
                    <a:pt x="3535724" y="2382983"/>
                  </a:lnTo>
                  <a:lnTo>
                    <a:pt x="3532970" y="2384951"/>
                  </a:lnTo>
                  <a:lnTo>
                    <a:pt x="3534543" y="2387705"/>
                  </a:lnTo>
                  <a:lnTo>
                    <a:pt x="3537297" y="2388098"/>
                  </a:lnTo>
                  <a:lnTo>
                    <a:pt x="3538478" y="2390852"/>
                  </a:lnTo>
                  <a:lnTo>
                    <a:pt x="3539658" y="2392032"/>
                  </a:lnTo>
                  <a:lnTo>
                    <a:pt x="3553428" y="2417605"/>
                  </a:lnTo>
                  <a:lnTo>
                    <a:pt x="3551854" y="2419572"/>
                  </a:lnTo>
                  <a:lnTo>
                    <a:pt x="3553821" y="2422326"/>
                  </a:lnTo>
                  <a:lnTo>
                    <a:pt x="3556575" y="2424293"/>
                  </a:lnTo>
                  <a:lnTo>
                    <a:pt x="3558542" y="2427047"/>
                  </a:lnTo>
                  <a:lnTo>
                    <a:pt x="3561297" y="2428621"/>
                  </a:lnTo>
                  <a:lnTo>
                    <a:pt x="3564444" y="2430195"/>
                  </a:lnTo>
                  <a:lnTo>
                    <a:pt x="3564837" y="2430195"/>
                  </a:lnTo>
                  <a:lnTo>
                    <a:pt x="3567591" y="2432555"/>
                  </a:lnTo>
                  <a:lnTo>
                    <a:pt x="3567985" y="2433735"/>
                  </a:lnTo>
                  <a:lnTo>
                    <a:pt x="3569558" y="2436489"/>
                  </a:lnTo>
                  <a:lnTo>
                    <a:pt x="3572706" y="2436883"/>
                  </a:lnTo>
                  <a:lnTo>
                    <a:pt x="3575460" y="2440030"/>
                  </a:lnTo>
                  <a:lnTo>
                    <a:pt x="3577820" y="2443178"/>
                  </a:lnTo>
                  <a:lnTo>
                    <a:pt x="3581361" y="2444358"/>
                  </a:lnTo>
                  <a:lnTo>
                    <a:pt x="3584508" y="2445932"/>
                  </a:lnTo>
                  <a:lnTo>
                    <a:pt x="3587263" y="2447112"/>
                  </a:lnTo>
                  <a:lnTo>
                    <a:pt x="3587656" y="2447505"/>
                  </a:lnTo>
                  <a:lnTo>
                    <a:pt x="3589623" y="2449079"/>
                  </a:lnTo>
                  <a:lnTo>
                    <a:pt x="3591984" y="2452226"/>
                  </a:lnTo>
                  <a:lnTo>
                    <a:pt x="3593557" y="2455374"/>
                  </a:lnTo>
                  <a:lnTo>
                    <a:pt x="3596311" y="2455767"/>
                  </a:lnTo>
                  <a:lnTo>
                    <a:pt x="3599459" y="2457734"/>
                  </a:lnTo>
                  <a:lnTo>
                    <a:pt x="3602606" y="2459702"/>
                  </a:lnTo>
                  <a:lnTo>
                    <a:pt x="3605753" y="2461669"/>
                  </a:lnTo>
                  <a:lnTo>
                    <a:pt x="3608901" y="2464029"/>
                  </a:lnTo>
                  <a:lnTo>
                    <a:pt x="3612048" y="2465209"/>
                  </a:lnTo>
                  <a:lnTo>
                    <a:pt x="3614802" y="2467570"/>
                  </a:lnTo>
                  <a:lnTo>
                    <a:pt x="3615982" y="2470324"/>
                  </a:lnTo>
                  <a:lnTo>
                    <a:pt x="3617163" y="2473865"/>
                  </a:lnTo>
                  <a:lnTo>
                    <a:pt x="3619917" y="2472291"/>
                  </a:lnTo>
                  <a:lnTo>
                    <a:pt x="3623064" y="2470717"/>
                  </a:lnTo>
                  <a:lnTo>
                    <a:pt x="3625425" y="2469537"/>
                  </a:lnTo>
                  <a:lnTo>
                    <a:pt x="3625818" y="2469537"/>
                  </a:lnTo>
                  <a:lnTo>
                    <a:pt x="3626999" y="2469144"/>
                  </a:lnTo>
                  <a:lnTo>
                    <a:pt x="3625818" y="2469931"/>
                  </a:lnTo>
                  <a:lnTo>
                    <a:pt x="3623064" y="2471111"/>
                  </a:lnTo>
                  <a:lnTo>
                    <a:pt x="3621884" y="2474258"/>
                  </a:lnTo>
                  <a:lnTo>
                    <a:pt x="3621491" y="2475439"/>
                  </a:lnTo>
                  <a:lnTo>
                    <a:pt x="3625425" y="2475045"/>
                  </a:lnTo>
                  <a:lnTo>
                    <a:pt x="3627392" y="2475832"/>
                  </a:lnTo>
                  <a:lnTo>
                    <a:pt x="3630146" y="2474652"/>
                  </a:lnTo>
                  <a:lnTo>
                    <a:pt x="3636441" y="2474258"/>
                  </a:lnTo>
                  <a:lnTo>
                    <a:pt x="3636048" y="2471504"/>
                  </a:lnTo>
                  <a:lnTo>
                    <a:pt x="3633293" y="2471111"/>
                  </a:lnTo>
                  <a:lnTo>
                    <a:pt x="3630540" y="2470717"/>
                  </a:lnTo>
                  <a:lnTo>
                    <a:pt x="3627392" y="2469144"/>
                  </a:lnTo>
                  <a:lnTo>
                    <a:pt x="3628966" y="2468750"/>
                  </a:lnTo>
                  <a:lnTo>
                    <a:pt x="3632113" y="2470324"/>
                  </a:lnTo>
                  <a:lnTo>
                    <a:pt x="3633687" y="2467176"/>
                  </a:lnTo>
                  <a:lnTo>
                    <a:pt x="3632113" y="2464029"/>
                  </a:lnTo>
                  <a:lnTo>
                    <a:pt x="3631720" y="2462849"/>
                  </a:lnTo>
                  <a:lnTo>
                    <a:pt x="3634080" y="2465603"/>
                  </a:lnTo>
                  <a:lnTo>
                    <a:pt x="3637228" y="2466390"/>
                  </a:lnTo>
                  <a:lnTo>
                    <a:pt x="3634867" y="2469144"/>
                  </a:lnTo>
                  <a:lnTo>
                    <a:pt x="3636441" y="2471898"/>
                  </a:lnTo>
                  <a:lnTo>
                    <a:pt x="3639588" y="2473078"/>
                  </a:lnTo>
                  <a:lnTo>
                    <a:pt x="3641949" y="2469931"/>
                  </a:lnTo>
                  <a:lnTo>
                    <a:pt x="3641949" y="2467176"/>
                  </a:lnTo>
                  <a:lnTo>
                    <a:pt x="3641162" y="2464423"/>
                  </a:lnTo>
                  <a:lnTo>
                    <a:pt x="3639982" y="2460882"/>
                  </a:lnTo>
                  <a:lnTo>
                    <a:pt x="3639195" y="2457734"/>
                  </a:lnTo>
                  <a:lnTo>
                    <a:pt x="3636834" y="2454587"/>
                  </a:lnTo>
                  <a:lnTo>
                    <a:pt x="3636441" y="2451046"/>
                  </a:lnTo>
                  <a:lnTo>
                    <a:pt x="3634867" y="2448292"/>
                  </a:lnTo>
                  <a:lnTo>
                    <a:pt x="3633293" y="2445145"/>
                  </a:lnTo>
                  <a:lnTo>
                    <a:pt x="3632507" y="2442391"/>
                  </a:lnTo>
                  <a:lnTo>
                    <a:pt x="3631720" y="2439243"/>
                  </a:lnTo>
                  <a:lnTo>
                    <a:pt x="3628966" y="2436096"/>
                  </a:lnTo>
                  <a:lnTo>
                    <a:pt x="3628179" y="2432949"/>
                  </a:lnTo>
                  <a:lnTo>
                    <a:pt x="3626605" y="2430195"/>
                  </a:lnTo>
                  <a:lnTo>
                    <a:pt x="3623851" y="2428227"/>
                  </a:lnTo>
                  <a:lnTo>
                    <a:pt x="3622278" y="2427834"/>
                  </a:lnTo>
                  <a:lnTo>
                    <a:pt x="3615982" y="2399114"/>
                  </a:lnTo>
                  <a:lnTo>
                    <a:pt x="3615196" y="2376688"/>
                  </a:lnTo>
                  <a:lnTo>
                    <a:pt x="3615589" y="2374328"/>
                  </a:lnTo>
                  <a:lnTo>
                    <a:pt x="3615982" y="2371574"/>
                  </a:lnTo>
                  <a:lnTo>
                    <a:pt x="3614802" y="2368427"/>
                  </a:lnTo>
                  <a:lnTo>
                    <a:pt x="3614409" y="2365673"/>
                  </a:lnTo>
                  <a:lnTo>
                    <a:pt x="3614409" y="2366459"/>
                  </a:lnTo>
                  <a:lnTo>
                    <a:pt x="3614015" y="2363705"/>
                  </a:lnTo>
                  <a:lnTo>
                    <a:pt x="3613622" y="2360558"/>
                  </a:lnTo>
                  <a:lnTo>
                    <a:pt x="3612835" y="2357804"/>
                  </a:lnTo>
                  <a:lnTo>
                    <a:pt x="3611262" y="2354657"/>
                  </a:lnTo>
                  <a:lnTo>
                    <a:pt x="3609688" y="2351903"/>
                  </a:lnTo>
                  <a:lnTo>
                    <a:pt x="3608114" y="2349149"/>
                  </a:lnTo>
                  <a:lnTo>
                    <a:pt x="3606934" y="2346001"/>
                  </a:lnTo>
                  <a:lnTo>
                    <a:pt x="3605360" y="2343247"/>
                  </a:lnTo>
                  <a:lnTo>
                    <a:pt x="3603786" y="2340493"/>
                  </a:lnTo>
                  <a:lnTo>
                    <a:pt x="3601819" y="2337739"/>
                  </a:lnTo>
                  <a:lnTo>
                    <a:pt x="3599065" y="2334985"/>
                  </a:lnTo>
                  <a:lnTo>
                    <a:pt x="3596311" y="2333412"/>
                  </a:lnTo>
                  <a:lnTo>
                    <a:pt x="3595525" y="2333018"/>
                  </a:lnTo>
                  <a:lnTo>
                    <a:pt x="3588836" y="2327117"/>
                  </a:lnTo>
                  <a:lnTo>
                    <a:pt x="3588049" y="2325937"/>
                  </a:lnTo>
                  <a:lnTo>
                    <a:pt x="3585296" y="2323576"/>
                  </a:lnTo>
                  <a:lnTo>
                    <a:pt x="3583328" y="2321215"/>
                  </a:lnTo>
                  <a:lnTo>
                    <a:pt x="3581755" y="2318461"/>
                  </a:lnTo>
                  <a:lnTo>
                    <a:pt x="3580574" y="2315707"/>
                  </a:lnTo>
                  <a:lnTo>
                    <a:pt x="3578214" y="2312954"/>
                  </a:lnTo>
                  <a:lnTo>
                    <a:pt x="3575460" y="2311773"/>
                  </a:lnTo>
                  <a:lnTo>
                    <a:pt x="3571132" y="2310986"/>
                  </a:lnTo>
                  <a:lnTo>
                    <a:pt x="3559329" y="2299577"/>
                  </a:lnTo>
                  <a:lnTo>
                    <a:pt x="3555789" y="2292889"/>
                  </a:lnTo>
                  <a:lnTo>
                    <a:pt x="3553821" y="2290135"/>
                  </a:lnTo>
                  <a:lnTo>
                    <a:pt x="3550674" y="2288954"/>
                  </a:lnTo>
                  <a:lnTo>
                    <a:pt x="3547920" y="2287381"/>
                  </a:lnTo>
                  <a:lnTo>
                    <a:pt x="3545953" y="2288561"/>
                  </a:lnTo>
                  <a:lnTo>
                    <a:pt x="3539658" y="2289741"/>
                  </a:lnTo>
                  <a:lnTo>
                    <a:pt x="3526675" y="2280693"/>
                  </a:lnTo>
                  <a:lnTo>
                    <a:pt x="3526675" y="2280299"/>
                  </a:lnTo>
                  <a:lnTo>
                    <a:pt x="3526282" y="2280299"/>
                  </a:lnTo>
                  <a:lnTo>
                    <a:pt x="3521167" y="2276758"/>
                  </a:lnTo>
                  <a:lnTo>
                    <a:pt x="3521954" y="2277152"/>
                  </a:lnTo>
                  <a:lnTo>
                    <a:pt x="3521560" y="2274398"/>
                  </a:lnTo>
                  <a:lnTo>
                    <a:pt x="3519987" y="2271644"/>
                  </a:lnTo>
                  <a:lnTo>
                    <a:pt x="3518806" y="2268890"/>
                  </a:lnTo>
                  <a:lnTo>
                    <a:pt x="3518020" y="2266136"/>
                  </a:lnTo>
                  <a:lnTo>
                    <a:pt x="3517626" y="2262988"/>
                  </a:lnTo>
                  <a:lnTo>
                    <a:pt x="3517233" y="2260234"/>
                  </a:lnTo>
                  <a:lnTo>
                    <a:pt x="3516839" y="2257480"/>
                  </a:lnTo>
                  <a:lnTo>
                    <a:pt x="3516053" y="2254333"/>
                  </a:lnTo>
                  <a:lnTo>
                    <a:pt x="3515659" y="2253546"/>
                  </a:lnTo>
                  <a:lnTo>
                    <a:pt x="3514872" y="2250399"/>
                  </a:lnTo>
                  <a:lnTo>
                    <a:pt x="3514085" y="2247645"/>
                  </a:lnTo>
                  <a:lnTo>
                    <a:pt x="3513692" y="2244891"/>
                  </a:lnTo>
                  <a:lnTo>
                    <a:pt x="3512905" y="2242137"/>
                  </a:lnTo>
                  <a:lnTo>
                    <a:pt x="3512118" y="2238989"/>
                  </a:lnTo>
                  <a:lnTo>
                    <a:pt x="3510938" y="2236235"/>
                  </a:lnTo>
                  <a:lnTo>
                    <a:pt x="3509364" y="2238596"/>
                  </a:lnTo>
                  <a:lnTo>
                    <a:pt x="3505036" y="2233481"/>
                  </a:lnTo>
                  <a:lnTo>
                    <a:pt x="3504643" y="2233088"/>
                  </a:lnTo>
                  <a:lnTo>
                    <a:pt x="3503856" y="2232301"/>
                  </a:lnTo>
                  <a:lnTo>
                    <a:pt x="3501495" y="2225219"/>
                  </a:lnTo>
                  <a:lnTo>
                    <a:pt x="3501102" y="2223646"/>
                  </a:lnTo>
                  <a:lnTo>
                    <a:pt x="3500709" y="2220892"/>
                  </a:lnTo>
                  <a:lnTo>
                    <a:pt x="3500315" y="2217744"/>
                  </a:lnTo>
                  <a:lnTo>
                    <a:pt x="3499922" y="2214990"/>
                  </a:lnTo>
                  <a:lnTo>
                    <a:pt x="3498348" y="2212236"/>
                  </a:lnTo>
                  <a:lnTo>
                    <a:pt x="3497955" y="2209089"/>
                  </a:lnTo>
                  <a:lnTo>
                    <a:pt x="3495201" y="2206728"/>
                  </a:lnTo>
                  <a:lnTo>
                    <a:pt x="3492053" y="2207122"/>
                  </a:lnTo>
                  <a:lnTo>
                    <a:pt x="3489299" y="2208302"/>
                  </a:lnTo>
                  <a:lnTo>
                    <a:pt x="3488119" y="2209089"/>
                  </a:lnTo>
                  <a:lnTo>
                    <a:pt x="3483791" y="2210663"/>
                  </a:lnTo>
                  <a:lnTo>
                    <a:pt x="3475529" y="2190204"/>
                  </a:lnTo>
                  <a:lnTo>
                    <a:pt x="3475923" y="2187057"/>
                  </a:lnTo>
                  <a:lnTo>
                    <a:pt x="3475529" y="2184303"/>
                  </a:lnTo>
                  <a:lnTo>
                    <a:pt x="3475136" y="2183123"/>
                  </a:lnTo>
                  <a:lnTo>
                    <a:pt x="3483005" y="2150862"/>
                  </a:lnTo>
                  <a:lnTo>
                    <a:pt x="3483005" y="2150468"/>
                  </a:lnTo>
                  <a:lnTo>
                    <a:pt x="3483398" y="2148895"/>
                  </a:lnTo>
                  <a:lnTo>
                    <a:pt x="3494414" y="2111126"/>
                  </a:lnTo>
                  <a:lnTo>
                    <a:pt x="3494414" y="2111126"/>
                  </a:lnTo>
                  <a:lnTo>
                    <a:pt x="3494807" y="2109159"/>
                  </a:lnTo>
                  <a:lnTo>
                    <a:pt x="3494414" y="2106798"/>
                  </a:lnTo>
                  <a:lnTo>
                    <a:pt x="3494020" y="2104044"/>
                  </a:lnTo>
                  <a:lnTo>
                    <a:pt x="3493627" y="2101684"/>
                  </a:lnTo>
                  <a:lnTo>
                    <a:pt x="3492053" y="2093421"/>
                  </a:lnTo>
                  <a:lnTo>
                    <a:pt x="3492447" y="2087520"/>
                  </a:lnTo>
                  <a:lnTo>
                    <a:pt x="3492447" y="2087520"/>
                  </a:lnTo>
                  <a:lnTo>
                    <a:pt x="3492447" y="2087127"/>
                  </a:lnTo>
                  <a:lnTo>
                    <a:pt x="3493234" y="2084373"/>
                  </a:lnTo>
                  <a:lnTo>
                    <a:pt x="3493627" y="2081619"/>
                  </a:lnTo>
                  <a:lnTo>
                    <a:pt x="3494020" y="2078471"/>
                  </a:lnTo>
                  <a:lnTo>
                    <a:pt x="3493234" y="2075717"/>
                  </a:lnTo>
                  <a:lnTo>
                    <a:pt x="3491266" y="2074144"/>
                  </a:lnTo>
                  <a:lnTo>
                    <a:pt x="3489693" y="2071390"/>
                  </a:lnTo>
                  <a:lnTo>
                    <a:pt x="3490873" y="2070209"/>
                  </a:lnTo>
                  <a:lnTo>
                    <a:pt x="3491266" y="2068636"/>
                  </a:lnTo>
                  <a:lnTo>
                    <a:pt x="3493234" y="2066668"/>
                  </a:lnTo>
                  <a:lnTo>
                    <a:pt x="3495987" y="2065488"/>
                  </a:lnTo>
                  <a:lnTo>
                    <a:pt x="3498348" y="2063914"/>
                  </a:lnTo>
                  <a:lnTo>
                    <a:pt x="3501102" y="2064701"/>
                  </a:lnTo>
                  <a:lnTo>
                    <a:pt x="3502283" y="2064701"/>
                  </a:lnTo>
                  <a:lnTo>
                    <a:pt x="3504250" y="2064308"/>
                  </a:lnTo>
                  <a:lnTo>
                    <a:pt x="3515265" y="2064701"/>
                  </a:lnTo>
                  <a:lnTo>
                    <a:pt x="3518020" y="2065095"/>
                  </a:lnTo>
                  <a:lnTo>
                    <a:pt x="3519593" y="2063914"/>
                  </a:lnTo>
                  <a:lnTo>
                    <a:pt x="3519200" y="2065095"/>
                  </a:lnTo>
                  <a:lnTo>
                    <a:pt x="3518806" y="2069029"/>
                  </a:lnTo>
                  <a:lnTo>
                    <a:pt x="3517626" y="2070603"/>
                  </a:lnTo>
                  <a:lnTo>
                    <a:pt x="3518413" y="2072570"/>
                  </a:lnTo>
                  <a:lnTo>
                    <a:pt x="3518020" y="2075324"/>
                  </a:lnTo>
                  <a:lnTo>
                    <a:pt x="3518020" y="2078078"/>
                  </a:lnTo>
                  <a:lnTo>
                    <a:pt x="3518413" y="2081225"/>
                  </a:lnTo>
                  <a:lnTo>
                    <a:pt x="3517233" y="2083979"/>
                  </a:lnTo>
                  <a:lnTo>
                    <a:pt x="3518806" y="2086733"/>
                  </a:lnTo>
                  <a:lnTo>
                    <a:pt x="3516446" y="2089881"/>
                  </a:lnTo>
                  <a:lnTo>
                    <a:pt x="3519593" y="2092241"/>
                  </a:lnTo>
                  <a:lnTo>
                    <a:pt x="3521167" y="2092635"/>
                  </a:lnTo>
                  <a:lnTo>
                    <a:pt x="3529035" y="2092241"/>
                  </a:lnTo>
                  <a:lnTo>
                    <a:pt x="3531790" y="2093028"/>
                  </a:lnTo>
                  <a:lnTo>
                    <a:pt x="3534543" y="2093815"/>
                  </a:lnTo>
                  <a:lnTo>
                    <a:pt x="3537297" y="2093028"/>
                  </a:lnTo>
                  <a:lnTo>
                    <a:pt x="3540051" y="2092635"/>
                  </a:lnTo>
                  <a:lnTo>
                    <a:pt x="3541625" y="2091061"/>
                  </a:lnTo>
                  <a:lnTo>
                    <a:pt x="3544772" y="2090668"/>
                  </a:lnTo>
                  <a:lnTo>
                    <a:pt x="3547133" y="2093421"/>
                  </a:lnTo>
                  <a:lnTo>
                    <a:pt x="3549494" y="2096175"/>
                  </a:lnTo>
                  <a:lnTo>
                    <a:pt x="3549494" y="2093815"/>
                  </a:lnTo>
                  <a:lnTo>
                    <a:pt x="3551854" y="2096569"/>
                  </a:lnTo>
                  <a:lnTo>
                    <a:pt x="3552248" y="2096962"/>
                  </a:lnTo>
                  <a:lnTo>
                    <a:pt x="3552641" y="2096962"/>
                  </a:lnTo>
                  <a:lnTo>
                    <a:pt x="3553034" y="2096962"/>
                  </a:lnTo>
                  <a:lnTo>
                    <a:pt x="3554608" y="2100110"/>
                  </a:lnTo>
                  <a:lnTo>
                    <a:pt x="3557362" y="2102470"/>
                  </a:lnTo>
                  <a:lnTo>
                    <a:pt x="3557362" y="2099716"/>
                  </a:lnTo>
                  <a:lnTo>
                    <a:pt x="3559723" y="2102470"/>
                  </a:lnTo>
                  <a:lnTo>
                    <a:pt x="3561690" y="2101684"/>
                  </a:lnTo>
                  <a:lnTo>
                    <a:pt x="3559329" y="2104831"/>
                  </a:lnTo>
                  <a:lnTo>
                    <a:pt x="3560509" y="2107585"/>
                  </a:lnTo>
                  <a:lnTo>
                    <a:pt x="3563264" y="2107978"/>
                  </a:lnTo>
                  <a:lnTo>
                    <a:pt x="3563657" y="2107978"/>
                  </a:lnTo>
                  <a:lnTo>
                    <a:pt x="3566804" y="2109159"/>
                  </a:lnTo>
                  <a:lnTo>
                    <a:pt x="3568771" y="2111913"/>
                  </a:lnTo>
                  <a:lnTo>
                    <a:pt x="3568771" y="2109159"/>
                  </a:lnTo>
                  <a:lnTo>
                    <a:pt x="3568378" y="2106798"/>
                  </a:lnTo>
                  <a:lnTo>
                    <a:pt x="3575067" y="2113486"/>
                  </a:lnTo>
                  <a:lnTo>
                    <a:pt x="3575460" y="2116634"/>
                  </a:lnTo>
                  <a:lnTo>
                    <a:pt x="3577427" y="2118994"/>
                  </a:lnTo>
                  <a:lnTo>
                    <a:pt x="3580574" y="2126076"/>
                  </a:lnTo>
                  <a:lnTo>
                    <a:pt x="3582148" y="2123322"/>
                  </a:lnTo>
                  <a:lnTo>
                    <a:pt x="3582541" y="2123715"/>
                  </a:lnTo>
                  <a:lnTo>
                    <a:pt x="3582935" y="2123322"/>
                  </a:lnTo>
                  <a:lnTo>
                    <a:pt x="3584902" y="2123715"/>
                  </a:lnTo>
                  <a:lnTo>
                    <a:pt x="3582148" y="2124896"/>
                  </a:lnTo>
                  <a:lnTo>
                    <a:pt x="3582935" y="2127650"/>
                  </a:lnTo>
                  <a:lnTo>
                    <a:pt x="3585296" y="2130404"/>
                  </a:lnTo>
                  <a:lnTo>
                    <a:pt x="3588049" y="2132371"/>
                  </a:lnTo>
                  <a:lnTo>
                    <a:pt x="3586476" y="2135125"/>
                  </a:lnTo>
                  <a:lnTo>
                    <a:pt x="3586082" y="2137879"/>
                  </a:lnTo>
                  <a:lnTo>
                    <a:pt x="3586869" y="2140633"/>
                  </a:lnTo>
                  <a:lnTo>
                    <a:pt x="3587656" y="2143387"/>
                  </a:lnTo>
                  <a:lnTo>
                    <a:pt x="3587263" y="2146141"/>
                  </a:lnTo>
                  <a:lnTo>
                    <a:pt x="3587263" y="2149288"/>
                  </a:lnTo>
                  <a:lnTo>
                    <a:pt x="3590016" y="2152042"/>
                  </a:lnTo>
                  <a:lnTo>
                    <a:pt x="3592771" y="2150075"/>
                  </a:lnTo>
                  <a:lnTo>
                    <a:pt x="3595918" y="2151649"/>
                  </a:lnTo>
                  <a:lnTo>
                    <a:pt x="3596705" y="2148895"/>
                  </a:lnTo>
                  <a:lnTo>
                    <a:pt x="3597492" y="2144567"/>
                  </a:lnTo>
                  <a:lnTo>
                    <a:pt x="3605360" y="2156370"/>
                  </a:lnTo>
                  <a:lnTo>
                    <a:pt x="3602606" y="2156763"/>
                  </a:lnTo>
                  <a:lnTo>
                    <a:pt x="3601033" y="2159517"/>
                  </a:lnTo>
                  <a:lnTo>
                    <a:pt x="3602606" y="2162271"/>
                  </a:lnTo>
                  <a:lnTo>
                    <a:pt x="3605360" y="2165025"/>
                  </a:lnTo>
                  <a:lnTo>
                    <a:pt x="3608114" y="2163452"/>
                  </a:lnTo>
                  <a:lnTo>
                    <a:pt x="3610868" y="2161484"/>
                  </a:lnTo>
                  <a:lnTo>
                    <a:pt x="3610868" y="2158730"/>
                  </a:lnTo>
                  <a:lnTo>
                    <a:pt x="3611262" y="2158730"/>
                  </a:lnTo>
                  <a:lnTo>
                    <a:pt x="3613229" y="2161091"/>
                  </a:lnTo>
                  <a:lnTo>
                    <a:pt x="3616376" y="2161878"/>
                  </a:lnTo>
                  <a:lnTo>
                    <a:pt x="3619130" y="2162271"/>
                  </a:lnTo>
                  <a:lnTo>
                    <a:pt x="3619130" y="2162271"/>
                  </a:lnTo>
                  <a:lnTo>
                    <a:pt x="3624245" y="2164632"/>
                  </a:lnTo>
                  <a:lnTo>
                    <a:pt x="3624638" y="2165025"/>
                  </a:lnTo>
                  <a:lnTo>
                    <a:pt x="3626212" y="2165419"/>
                  </a:lnTo>
                  <a:lnTo>
                    <a:pt x="3628966" y="2166599"/>
                  </a:lnTo>
                  <a:lnTo>
                    <a:pt x="3630540" y="2168172"/>
                  </a:lnTo>
                  <a:lnTo>
                    <a:pt x="3631326" y="2166992"/>
                  </a:lnTo>
                  <a:lnTo>
                    <a:pt x="3630933" y="2168566"/>
                  </a:lnTo>
                  <a:lnTo>
                    <a:pt x="3632113" y="2171320"/>
                  </a:lnTo>
                  <a:lnTo>
                    <a:pt x="3634080" y="2174074"/>
                  </a:lnTo>
                  <a:lnTo>
                    <a:pt x="3636834" y="2174074"/>
                  </a:lnTo>
                  <a:lnTo>
                    <a:pt x="3639588" y="2173681"/>
                  </a:lnTo>
                  <a:lnTo>
                    <a:pt x="3639588" y="2173681"/>
                  </a:lnTo>
                  <a:lnTo>
                    <a:pt x="3641949" y="2176435"/>
                  </a:lnTo>
                  <a:lnTo>
                    <a:pt x="3644703" y="2177221"/>
                  </a:lnTo>
                  <a:lnTo>
                    <a:pt x="3646277" y="2177615"/>
                  </a:lnTo>
                  <a:lnTo>
                    <a:pt x="3648637" y="2180762"/>
                  </a:lnTo>
                  <a:lnTo>
                    <a:pt x="3649818" y="2182729"/>
                  </a:lnTo>
                  <a:lnTo>
                    <a:pt x="3650211" y="2185483"/>
                  </a:lnTo>
                  <a:lnTo>
                    <a:pt x="3649030" y="2182729"/>
                  </a:lnTo>
                  <a:lnTo>
                    <a:pt x="3646277" y="2185090"/>
                  </a:lnTo>
                  <a:lnTo>
                    <a:pt x="3643916" y="2188237"/>
                  </a:lnTo>
                  <a:lnTo>
                    <a:pt x="3643129" y="2190991"/>
                  </a:lnTo>
                  <a:lnTo>
                    <a:pt x="3642736" y="2196499"/>
                  </a:lnTo>
                  <a:lnTo>
                    <a:pt x="3643129" y="2205155"/>
                  </a:lnTo>
                  <a:lnTo>
                    <a:pt x="3643129" y="2211056"/>
                  </a:lnTo>
                  <a:lnTo>
                    <a:pt x="3643522" y="2213417"/>
                  </a:lnTo>
                  <a:lnTo>
                    <a:pt x="3643522" y="2216171"/>
                  </a:lnTo>
                  <a:lnTo>
                    <a:pt x="3643916" y="2219318"/>
                  </a:lnTo>
                  <a:lnTo>
                    <a:pt x="3643916" y="2222072"/>
                  </a:lnTo>
                  <a:lnTo>
                    <a:pt x="3646670" y="2221285"/>
                  </a:lnTo>
                  <a:lnTo>
                    <a:pt x="3647457" y="2220892"/>
                  </a:lnTo>
                  <a:lnTo>
                    <a:pt x="3647063" y="2223646"/>
                  </a:lnTo>
                  <a:lnTo>
                    <a:pt x="3648637" y="2224433"/>
                  </a:lnTo>
                  <a:lnTo>
                    <a:pt x="3645883" y="2225219"/>
                  </a:lnTo>
                  <a:lnTo>
                    <a:pt x="3643129" y="2227973"/>
                  </a:lnTo>
                  <a:lnTo>
                    <a:pt x="3645883" y="2229547"/>
                  </a:lnTo>
                  <a:lnTo>
                    <a:pt x="3648637" y="2229154"/>
                  </a:lnTo>
                  <a:lnTo>
                    <a:pt x="3651391" y="2227973"/>
                  </a:lnTo>
                  <a:lnTo>
                    <a:pt x="3654145" y="2226400"/>
                  </a:lnTo>
                  <a:lnTo>
                    <a:pt x="3656506" y="2223646"/>
                  </a:lnTo>
                  <a:lnTo>
                    <a:pt x="3659259" y="2221285"/>
                  </a:lnTo>
                  <a:lnTo>
                    <a:pt x="3660046" y="2218531"/>
                  </a:lnTo>
                  <a:lnTo>
                    <a:pt x="3661227" y="2215777"/>
                  </a:lnTo>
                  <a:lnTo>
                    <a:pt x="3661620" y="2214990"/>
                  </a:lnTo>
                  <a:lnTo>
                    <a:pt x="3673816" y="2206728"/>
                  </a:lnTo>
                  <a:lnTo>
                    <a:pt x="3676571" y="2205155"/>
                  </a:lnTo>
                  <a:lnTo>
                    <a:pt x="3679325" y="2203974"/>
                  </a:lnTo>
                  <a:lnTo>
                    <a:pt x="3682078" y="2202794"/>
                  </a:lnTo>
                  <a:lnTo>
                    <a:pt x="3682865" y="2200433"/>
                  </a:lnTo>
                  <a:lnTo>
                    <a:pt x="3684045" y="2197679"/>
                  </a:lnTo>
                  <a:lnTo>
                    <a:pt x="3682472" y="2194926"/>
                  </a:lnTo>
                  <a:lnTo>
                    <a:pt x="3680505" y="2192172"/>
                  </a:lnTo>
                  <a:lnTo>
                    <a:pt x="3678931" y="2189418"/>
                  </a:lnTo>
                  <a:lnTo>
                    <a:pt x="3676571" y="2186664"/>
                  </a:lnTo>
                  <a:lnTo>
                    <a:pt x="3673816" y="2183516"/>
                  </a:lnTo>
                  <a:lnTo>
                    <a:pt x="3673423" y="2183123"/>
                  </a:lnTo>
                  <a:lnTo>
                    <a:pt x="3671062" y="2180762"/>
                  </a:lnTo>
                  <a:lnTo>
                    <a:pt x="3671456" y="2180369"/>
                  </a:lnTo>
                  <a:lnTo>
                    <a:pt x="3671849" y="2180369"/>
                  </a:lnTo>
                  <a:lnTo>
                    <a:pt x="3671849" y="2180762"/>
                  </a:lnTo>
                  <a:lnTo>
                    <a:pt x="3673029" y="2181156"/>
                  </a:lnTo>
                  <a:lnTo>
                    <a:pt x="3676571" y="2183910"/>
                  </a:lnTo>
                  <a:lnTo>
                    <a:pt x="3678538" y="2186664"/>
                  </a:lnTo>
                  <a:lnTo>
                    <a:pt x="3684045" y="2192172"/>
                  </a:lnTo>
                  <a:lnTo>
                    <a:pt x="3686799" y="2194139"/>
                  </a:lnTo>
                  <a:lnTo>
                    <a:pt x="3689553" y="2196106"/>
                  </a:lnTo>
                  <a:lnTo>
                    <a:pt x="3692308" y="2195319"/>
                  </a:lnTo>
                  <a:lnTo>
                    <a:pt x="3694275" y="2192565"/>
                  </a:lnTo>
                  <a:lnTo>
                    <a:pt x="3694275" y="2189418"/>
                  </a:lnTo>
                  <a:lnTo>
                    <a:pt x="3691914" y="2186664"/>
                  </a:lnTo>
                  <a:lnTo>
                    <a:pt x="3689553" y="2183910"/>
                  </a:lnTo>
                  <a:lnTo>
                    <a:pt x="3686013" y="2180369"/>
                  </a:lnTo>
                  <a:lnTo>
                    <a:pt x="3686013" y="2180369"/>
                  </a:lnTo>
                  <a:lnTo>
                    <a:pt x="3683259" y="2177615"/>
                  </a:lnTo>
                  <a:lnTo>
                    <a:pt x="3678931" y="2172107"/>
                  </a:lnTo>
                  <a:lnTo>
                    <a:pt x="3679325" y="2171713"/>
                  </a:lnTo>
                  <a:lnTo>
                    <a:pt x="3683259" y="2175648"/>
                  </a:lnTo>
                  <a:lnTo>
                    <a:pt x="3684439" y="2177221"/>
                  </a:lnTo>
                  <a:lnTo>
                    <a:pt x="3687193" y="2179975"/>
                  </a:lnTo>
                  <a:lnTo>
                    <a:pt x="3689947" y="2182336"/>
                  </a:lnTo>
                  <a:lnTo>
                    <a:pt x="3692701" y="2184696"/>
                  </a:lnTo>
                  <a:lnTo>
                    <a:pt x="3695454" y="2186270"/>
                  </a:lnTo>
                  <a:lnTo>
                    <a:pt x="3696242" y="2183516"/>
                  </a:lnTo>
                  <a:lnTo>
                    <a:pt x="3693487" y="2181549"/>
                  </a:lnTo>
                  <a:lnTo>
                    <a:pt x="3690734" y="2180369"/>
                  </a:lnTo>
                  <a:lnTo>
                    <a:pt x="3684045" y="2171713"/>
                  </a:lnTo>
                  <a:lnTo>
                    <a:pt x="3684439" y="2171320"/>
                  </a:lnTo>
                  <a:lnTo>
                    <a:pt x="3686013" y="2172107"/>
                  </a:lnTo>
                  <a:lnTo>
                    <a:pt x="3687586" y="2174861"/>
                  </a:lnTo>
                  <a:lnTo>
                    <a:pt x="3689947" y="2177615"/>
                  </a:lnTo>
                  <a:lnTo>
                    <a:pt x="3692701" y="2179582"/>
                  </a:lnTo>
                  <a:lnTo>
                    <a:pt x="3693094" y="2179975"/>
                  </a:lnTo>
                  <a:lnTo>
                    <a:pt x="3695848" y="2179975"/>
                  </a:lnTo>
                  <a:lnTo>
                    <a:pt x="3696635" y="2177221"/>
                  </a:lnTo>
                  <a:lnTo>
                    <a:pt x="3699389" y="2176041"/>
                  </a:lnTo>
                  <a:lnTo>
                    <a:pt x="3697029" y="2173287"/>
                  </a:lnTo>
                  <a:lnTo>
                    <a:pt x="3693881" y="2172107"/>
                  </a:lnTo>
                  <a:lnTo>
                    <a:pt x="3691127" y="2171320"/>
                  </a:lnTo>
                  <a:lnTo>
                    <a:pt x="3688374" y="2169746"/>
                  </a:lnTo>
                  <a:lnTo>
                    <a:pt x="3687980" y="2169353"/>
                  </a:lnTo>
                  <a:lnTo>
                    <a:pt x="3687586" y="2168959"/>
                  </a:lnTo>
                  <a:lnTo>
                    <a:pt x="3687980" y="2168959"/>
                  </a:lnTo>
                  <a:lnTo>
                    <a:pt x="3691127" y="2169353"/>
                  </a:lnTo>
                  <a:lnTo>
                    <a:pt x="3693881" y="2169746"/>
                  </a:lnTo>
                  <a:lnTo>
                    <a:pt x="3696635" y="2170140"/>
                  </a:lnTo>
                  <a:lnTo>
                    <a:pt x="3698602" y="2166992"/>
                  </a:lnTo>
                  <a:lnTo>
                    <a:pt x="3697029" y="2164238"/>
                  </a:lnTo>
                  <a:lnTo>
                    <a:pt x="3694275" y="2163452"/>
                  </a:lnTo>
                  <a:lnTo>
                    <a:pt x="3693881" y="2163845"/>
                  </a:lnTo>
                  <a:lnTo>
                    <a:pt x="3692308" y="2165025"/>
                  </a:lnTo>
                  <a:lnTo>
                    <a:pt x="3691520" y="2163452"/>
                  </a:lnTo>
                  <a:lnTo>
                    <a:pt x="3693094" y="2163845"/>
                  </a:lnTo>
                  <a:lnTo>
                    <a:pt x="3695848" y="2162271"/>
                  </a:lnTo>
                  <a:lnTo>
                    <a:pt x="3696635" y="2159517"/>
                  </a:lnTo>
                  <a:lnTo>
                    <a:pt x="3696242" y="2157943"/>
                  </a:lnTo>
                  <a:lnTo>
                    <a:pt x="3696242" y="2156370"/>
                  </a:lnTo>
                  <a:lnTo>
                    <a:pt x="3696635" y="2156370"/>
                  </a:lnTo>
                  <a:lnTo>
                    <a:pt x="3697029" y="2156370"/>
                  </a:lnTo>
                  <a:lnTo>
                    <a:pt x="3699783" y="2157943"/>
                  </a:lnTo>
                  <a:lnTo>
                    <a:pt x="3700176" y="2158337"/>
                  </a:lnTo>
                  <a:lnTo>
                    <a:pt x="3699389" y="2158337"/>
                  </a:lnTo>
                  <a:lnTo>
                    <a:pt x="3701750" y="2161091"/>
                  </a:lnTo>
                  <a:lnTo>
                    <a:pt x="3700963" y="2158730"/>
                  </a:lnTo>
                  <a:lnTo>
                    <a:pt x="3702536" y="2160304"/>
                  </a:lnTo>
                  <a:lnTo>
                    <a:pt x="3702930" y="2163452"/>
                  </a:lnTo>
                  <a:lnTo>
                    <a:pt x="3703323" y="2160304"/>
                  </a:lnTo>
                  <a:lnTo>
                    <a:pt x="3703717" y="2157157"/>
                  </a:lnTo>
                  <a:lnTo>
                    <a:pt x="3704111" y="2158337"/>
                  </a:lnTo>
                  <a:lnTo>
                    <a:pt x="3704503" y="2161484"/>
                  </a:lnTo>
                  <a:lnTo>
                    <a:pt x="3707257" y="2163058"/>
                  </a:lnTo>
                  <a:lnTo>
                    <a:pt x="3708832" y="2163452"/>
                  </a:lnTo>
                  <a:lnTo>
                    <a:pt x="3711191" y="2166205"/>
                  </a:lnTo>
                  <a:lnTo>
                    <a:pt x="3713552" y="2164238"/>
                  </a:lnTo>
                  <a:lnTo>
                    <a:pt x="3716700" y="2163845"/>
                  </a:lnTo>
                  <a:lnTo>
                    <a:pt x="3719454" y="2162271"/>
                  </a:lnTo>
                  <a:lnTo>
                    <a:pt x="3721027" y="2159911"/>
                  </a:lnTo>
                  <a:lnTo>
                    <a:pt x="3723782" y="2158337"/>
                  </a:lnTo>
                  <a:lnTo>
                    <a:pt x="3726536" y="2157157"/>
                  </a:lnTo>
                  <a:lnTo>
                    <a:pt x="3729289" y="2155189"/>
                  </a:lnTo>
                  <a:lnTo>
                    <a:pt x="3732437" y="2155583"/>
                  </a:lnTo>
                  <a:lnTo>
                    <a:pt x="3733618" y="2152829"/>
                  </a:lnTo>
                  <a:lnTo>
                    <a:pt x="3734404" y="2150075"/>
                  </a:lnTo>
                  <a:lnTo>
                    <a:pt x="3734404" y="2149682"/>
                  </a:lnTo>
                  <a:lnTo>
                    <a:pt x="3737158" y="2148108"/>
                  </a:lnTo>
                  <a:lnTo>
                    <a:pt x="3739912" y="2147715"/>
                  </a:lnTo>
                  <a:lnTo>
                    <a:pt x="3743059" y="2144960"/>
                  </a:lnTo>
                  <a:lnTo>
                    <a:pt x="3745813" y="2144174"/>
                  </a:lnTo>
                  <a:lnTo>
                    <a:pt x="3746600" y="2141420"/>
                  </a:lnTo>
                  <a:lnTo>
                    <a:pt x="3748174" y="2139846"/>
                  </a:lnTo>
                  <a:lnTo>
                    <a:pt x="3750928" y="2139452"/>
                  </a:lnTo>
                  <a:lnTo>
                    <a:pt x="3752501" y="2137485"/>
                  </a:lnTo>
                  <a:lnTo>
                    <a:pt x="3757223" y="2134731"/>
                  </a:lnTo>
                  <a:lnTo>
                    <a:pt x="3759977" y="2133945"/>
                  </a:lnTo>
                  <a:lnTo>
                    <a:pt x="3760370" y="2131191"/>
                  </a:lnTo>
                  <a:lnTo>
                    <a:pt x="3759977" y="2128437"/>
                  </a:lnTo>
                  <a:lnTo>
                    <a:pt x="3759583" y="2127256"/>
                  </a:lnTo>
                  <a:lnTo>
                    <a:pt x="3759977" y="2126076"/>
                  </a:lnTo>
                  <a:lnTo>
                    <a:pt x="3763125" y="2126076"/>
                  </a:lnTo>
                  <a:lnTo>
                    <a:pt x="3764304" y="2123322"/>
                  </a:lnTo>
                  <a:lnTo>
                    <a:pt x="3765878" y="2120175"/>
                  </a:lnTo>
                  <a:lnTo>
                    <a:pt x="3764304" y="2117421"/>
                  </a:lnTo>
                  <a:lnTo>
                    <a:pt x="3762337" y="2117421"/>
                  </a:lnTo>
                  <a:lnTo>
                    <a:pt x="3763125" y="2114667"/>
                  </a:lnTo>
                  <a:lnTo>
                    <a:pt x="3763911" y="2111913"/>
                  </a:lnTo>
                  <a:lnTo>
                    <a:pt x="3762731" y="2109159"/>
                  </a:lnTo>
                  <a:lnTo>
                    <a:pt x="3764304" y="2111913"/>
                  </a:lnTo>
                  <a:lnTo>
                    <a:pt x="3764698" y="2114667"/>
                  </a:lnTo>
                  <a:lnTo>
                    <a:pt x="3765092" y="2111913"/>
                  </a:lnTo>
                  <a:lnTo>
                    <a:pt x="3763517" y="2108765"/>
                  </a:lnTo>
                  <a:lnTo>
                    <a:pt x="3763517" y="2106011"/>
                  </a:lnTo>
                  <a:lnTo>
                    <a:pt x="3763125" y="2103257"/>
                  </a:lnTo>
                  <a:lnTo>
                    <a:pt x="3762731" y="2103257"/>
                  </a:lnTo>
                  <a:lnTo>
                    <a:pt x="3761944" y="2102864"/>
                  </a:lnTo>
                  <a:lnTo>
                    <a:pt x="3762731" y="2103257"/>
                  </a:lnTo>
                  <a:lnTo>
                    <a:pt x="3763517" y="2098143"/>
                  </a:lnTo>
                  <a:lnTo>
                    <a:pt x="3763517" y="2098143"/>
                  </a:lnTo>
                  <a:lnTo>
                    <a:pt x="3766271" y="2099716"/>
                  </a:lnTo>
                  <a:lnTo>
                    <a:pt x="3765092" y="2096962"/>
                  </a:lnTo>
                  <a:lnTo>
                    <a:pt x="3763517" y="2095389"/>
                  </a:lnTo>
                  <a:lnTo>
                    <a:pt x="3762731" y="2092635"/>
                  </a:lnTo>
                  <a:lnTo>
                    <a:pt x="3762337" y="2092241"/>
                  </a:lnTo>
                  <a:lnTo>
                    <a:pt x="3761550" y="2089487"/>
                  </a:lnTo>
                  <a:lnTo>
                    <a:pt x="3763911" y="2086733"/>
                  </a:lnTo>
                  <a:lnTo>
                    <a:pt x="3765092" y="2089487"/>
                  </a:lnTo>
                  <a:lnTo>
                    <a:pt x="3767452" y="2092241"/>
                  </a:lnTo>
                  <a:lnTo>
                    <a:pt x="3767452" y="2091061"/>
                  </a:lnTo>
                  <a:lnTo>
                    <a:pt x="3765878" y="2088307"/>
                  </a:lnTo>
                  <a:lnTo>
                    <a:pt x="3766271" y="2085553"/>
                  </a:lnTo>
                  <a:lnTo>
                    <a:pt x="3767845" y="2084373"/>
                  </a:lnTo>
                  <a:lnTo>
                    <a:pt x="3766271" y="2081619"/>
                  </a:lnTo>
                  <a:lnTo>
                    <a:pt x="3764304" y="2078865"/>
                  </a:lnTo>
                  <a:lnTo>
                    <a:pt x="3763125" y="2077684"/>
                  </a:lnTo>
                  <a:lnTo>
                    <a:pt x="3761944" y="2072963"/>
                  </a:lnTo>
                  <a:lnTo>
                    <a:pt x="3761944" y="2071783"/>
                  </a:lnTo>
                  <a:lnTo>
                    <a:pt x="3761157" y="2068636"/>
                  </a:lnTo>
                  <a:lnTo>
                    <a:pt x="3760764" y="2068242"/>
                  </a:lnTo>
                  <a:lnTo>
                    <a:pt x="3759977" y="2065488"/>
                  </a:lnTo>
                  <a:lnTo>
                    <a:pt x="3761944" y="2064701"/>
                  </a:lnTo>
                  <a:lnTo>
                    <a:pt x="3759190" y="2061947"/>
                  </a:lnTo>
                  <a:lnTo>
                    <a:pt x="3759190" y="2061554"/>
                  </a:lnTo>
                  <a:lnTo>
                    <a:pt x="3758796" y="2060374"/>
                  </a:lnTo>
                  <a:lnTo>
                    <a:pt x="3759977" y="2061947"/>
                  </a:lnTo>
                  <a:lnTo>
                    <a:pt x="3758403" y="2058800"/>
                  </a:lnTo>
                  <a:lnTo>
                    <a:pt x="3758010" y="2056439"/>
                  </a:lnTo>
                  <a:lnTo>
                    <a:pt x="3757616" y="2053292"/>
                  </a:lnTo>
                  <a:lnTo>
                    <a:pt x="3757616" y="2050538"/>
                  </a:lnTo>
                  <a:lnTo>
                    <a:pt x="3758796" y="2053292"/>
                  </a:lnTo>
                  <a:lnTo>
                    <a:pt x="3759583" y="2050538"/>
                  </a:lnTo>
                  <a:lnTo>
                    <a:pt x="3758010" y="2047784"/>
                  </a:lnTo>
                  <a:lnTo>
                    <a:pt x="3757616" y="2045030"/>
                  </a:lnTo>
                  <a:lnTo>
                    <a:pt x="3756043" y="2042276"/>
                  </a:lnTo>
                  <a:lnTo>
                    <a:pt x="3755256" y="2039129"/>
                  </a:lnTo>
                  <a:lnTo>
                    <a:pt x="3754862" y="2036375"/>
                  </a:lnTo>
                  <a:lnTo>
                    <a:pt x="3752895" y="2033621"/>
                  </a:lnTo>
                  <a:lnTo>
                    <a:pt x="3752501" y="2030867"/>
                  </a:lnTo>
                  <a:lnTo>
                    <a:pt x="3751715" y="2029293"/>
                  </a:lnTo>
                  <a:lnTo>
                    <a:pt x="3750534" y="2025359"/>
                  </a:lnTo>
                  <a:lnTo>
                    <a:pt x="3750141" y="2023785"/>
                  </a:lnTo>
                  <a:lnTo>
                    <a:pt x="3749355" y="2021031"/>
                  </a:lnTo>
                  <a:lnTo>
                    <a:pt x="3747387" y="2019064"/>
                  </a:lnTo>
                  <a:lnTo>
                    <a:pt x="3745813" y="2015917"/>
                  </a:lnTo>
                  <a:lnTo>
                    <a:pt x="3745813" y="2015523"/>
                  </a:lnTo>
                  <a:lnTo>
                    <a:pt x="3744240" y="2012769"/>
                  </a:lnTo>
                  <a:lnTo>
                    <a:pt x="3743453" y="2010015"/>
                  </a:lnTo>
                  <a:lnTo>
                    <a:pt x="3741879" y="2008048"/>
                  </a:lnTo>
                  <a:lnTo>
                    <a:pt x="3743453" y="2005294"/>
                  </a:lnTo>
                  <a:lnTo>
                    <a:pt x="3741092" y="2002147"/>
                  </a:lnTo>
                  <a:lnTo>
                    <a:pt x="3739519" y="1999393"/>
                  </a:lnTo>
                  <a:lnTo>
                    <a:pt x="3737945" y="2002147"/>
                  </a:lnTo>
                  <a:lnTo>
                    <a:pt x="3737552" y="1999393"/>
                  </a:lnTo>
                  <a:lnTo>
                    <a:pt x="3735191" y="1996639"/>
                  </a:lnTo>
                  <a:lnTo>
                    <a:pt x="3733224" y="1997032"/>
                  </a:lnTo>
                  <a:lnTo>
                    <a:pt x="3731650" y="1994278"/>
                  </a:lnTo>
                  <a:lnTo>
                    <a:pt x="3729289" y="1991131"/>
                  </a:lnTo>
                  <a:lnTo>
                    <a:pt x="3727322" y="1988377"/>
                  </a:lnTo>
                  <a:lnTo>
                    <a:pt x="3725749" y="1985623"/>
                  </a:lnTo>
                  <a:lnTo>
                    <a:pt x="3724175" y="1984049"/>
                  </a:lnTo>
                  <a:lnTo>
                    <a:pt x="3723782" y="1983656"/>
                  </a:lnTo>
                  <a:lnTo>
                    <a:pt x="3723782" y="1983262"/>
                  </a:lnTo>
                  <a:lnTo>
                    <a:pt x="3720240" y="1977361"/>
                  </a:lnTo>
                  <a:lnTo>
                    <a:pt x="3721815" y="1974607"/>
                  </a:lnTo>
                  <a:lnTo>
                    <a:pt x="3719060" y="1973820"/>
                  </a:lnTo>
                  <a:lnTo>
                    <a:pt x="3718667" y="1974607"/>
                  </a:lnTo>
                  <a:lnTo>
                    <a:pt x="3719454" y="1977361"/>
                  </a:lnTo>
                  <a:lnTo>
                    <a:pt x="3719848" y="1977754"/>
                  </a:lnTo>
                  <a:lnTo>
                    <a:pt x="3718667" y="1979328"/>
                  </a:lnTo>
                  <a:lnTo>
                    <a:pt x="3718273" y="1979328"/>
                  </a:lnTo>
                  <a:lnTo>
                    <a:pt x="3718667" y="1978934"/>
                  </a:lnTo>
                  <a:lnTo>
                    <a:pt x="3719454" y="1977754"/>
                  </a:lnTo>
                  <a:lnTo>
                    <a:pt x="3719060" y="1977361"/>
                  </a:lnTo>
                  <a:lnTo>
                    <a:pt x="3716700" y="1972640"/>
                  </a:lnTo>
                  <a:lnTo>
                    <a:pt x="3713946" y="1971066"/>
                  </a:lnTo>
                  <a:lnTo>
                    <a:pt x="3713946" y="1970673"/>
                  </a:lnTo>
                  <a:lnTo>
                    <a:pt x="3712372" y="1967919"/>
                  </a:lnTo>
                  <a:lnTo>
                    <a:pt x="3709224" y="1967132"/>
                  </a:lnTo>
                  <a:lnTo>
                    <a:pt x="3708438" y="1967525"/>
                  </a:lnTo>
                  <a:lnTo>
                    <a:pt x="3703323" y="1964378"/>
                  </a:lnTo>
                  <a:lnTo>
                    <a:pt x="3702536" y="1963197"/>
                  </a:lnTo>
                  <a:lnTo>
                    <a:pt x="3700176" y="1962411"/>
                  </a:lnTo>
                  <a:lnTo>
                    <a:pt x="3698209" y="1960837"/>
                  </a:lnTo>
                  <a:lnTo>
                    <a:pt x="3693487" y="1957296"/>
                  </a:lnTo>
                  <a:lnTo>
                    <a:pt x="3693094" y="1956903"/>
                  </a:lnTo>
                  <a:lnTo>
                    <a:pt x="3693487" y="1956509"/>
                  </a:lnTo>
                  <a:lnTo>
                    <a:pt x="3696635" y="1958083"/>
                  </a:lnTo>
                  <a:lnTo>
                    <a:pt x="3693881" y="1955722"/>
                  </a:lnTo>
                  <a:lnTo>
                    <a:pt x="3688374" y="1951001"/>
                  </a:lnTo>
                  <a:lnTo>
                    <a:pt x="3685619" y="1948641"/>
                  </a:lnTo>
                  <a:lnTo>
                    <a:pt x="3683652" y="1949427"/>
                  </a:lnTo>
                  <a:lnTo>
                    <a:pt x="3683259" y="1949427"/>
                  </a:lnTo>
                  <a:lnTo>
                    <a:pt x="3683652" y="1946280"/>
                  </a:lnTo>
                  <a:lnTo>
                    <a:pt x="3682472" y="1944706"/>
                  </a:lnTo>
                  <a:lnTo>
                    <a:pt x="3682078" y="1944313"/>
                  </a:lnTo>
                  <a:lnTo>
                    <a:pt x="3682078" y="1942739"/>
                  </a:lnTo>
                  <a:lnTo>
                    <a:pt x="3681685" y="1942346"/>
                  </a:lnTo>
                  <a:lnTo>
                    <a:pt x="3678931" y="1939985"/>
                  </a:lnTo>
                  <a:lnTo>
                    <a:pt x="3677750" y="1939198"/>
                  </a:lnTo>
                  <a:lnTo>
                    <a:pt x="3665161" y="1928576"/>
                  </a:lnTo>
                  <a:lnTo>
                    <a:pt x="3663587" y="1925822"/>
                  </a:lnTo>
                  <a:lnTo>
                    <a:pt x="3661620" y="1923068"/>
                  </a:lnTo>
                  <a:lnTo>
                    <a:pt x="3660046" y="1921101"/>
                  </a:lnTo>
                  <a:lnTo>
                    <a:pt x="3657686" y="1921494"/>
                  </a:lnTo>
                  <a:lnTo>
                    <a:pt x="3656899" y="1921101"/>
                  </a:lnTo>
                  <a:lnTo>
                    <a:pt x="3656506" y="1920707"/>
                  </a:lnTo>
                  <a:lnTo>
                    <a:pt x="3656899" y="1919527"/>
                  </a:lnTo>
                  <a:lnTo>
                    <a:pt x="3653358" y="1918347"/>
                  </a:lnTo>
                  <a:lnTo>
                    <a:pt x="3656899" y="1919134"/>
                  </a:lnTo>
                  <a:lnTo>
                    <a:pt x="3658079" y="1919527"/>
                  </a:lnTo>
                  <a:lnTo>
                    <a:pt x="3659653" y="1920707"/>
                  </a:lnTo>
                  <a:lnTo>
                    <a:pt x="3659653" y="1912052"/>
                  </a:lnTo>
                  <a:lnTo>
                    <a:pt x="3656899" y="1908905"/>
                  </a:lnTo>
                  <a:lnTo>
                    <a:pt x="3654538" y="1907724"/>
                  </a:lnTo>
                  <a:lnTo>
                    <a:pt x="3653752" y="1906937"/>
                  </a:lnTo>
                  <a:lnTo>
                    <a:pt x="3651785" y="1904577"/>
                  </a:lnTo>
                  <a:lnTo>
                    <a:pt x="3649030" y="1902216"/>
                  </a:lnTo>
                  <a:lnTo>
                    <a:pt x="3648244" y="1902216"/>
                  </a:lnTo>
                  <a:lnTo>
                    <a:pt x="3639588" y="1894741"/>
                  </a:lnTo>
                  <a:lnTo>
                    <a:pt x="3639195" y="1894348"/>
                  </a:lnTo>
                  <a:lnTo>
                    <a:pt x="3636834" y="1891594"/>
                  </a:lnTo>
                  <a:lnTo>
                    <a:pt x="3635260" y="1888840"/>
                  </a:lnTo>
                  <a:lnTo>
                    <a:pt x="3634080" y="1885692"/>
                  </a:lnTo>
                  <a:lnTo>
                    <a:pt x="3633293" y="1888053"/>
                  </a:lnTo>
                  <a:lnTo>
                    <a:pt x="3632113" y="1867201"/>
                  </a:lnTo>
                  <a:lnTo>
                    <a:pt x="3631326" y="1861693"/>
                  </a:lnTo>
                  <a:lnTo>
                    <a:pt x="3631326" y="1861693"/>
                  </a:lnTo>
                  <a:lnTo>
                    <a:pt x="3630933" y="1858939"/>
                  </a:lnTo>
                  <a:lnTo>
                    <a:pt x="3630540" y="1856579"/>
                  </a:lnTo>
                  <a:lnTo>
                    <a:pt x="3630540" y="1855005"/>
                  </a:lnTo>
                  <a:lnTo>
                    <a:pt x="3631326" y="1852251"/>
                  </a:lnTo>
                  <a:lnTo>
                    <a:pt x="3631720" y="1849891"/>
                  </a:lnTo>
                  <a:lnTo>
                    <a:pt x="3633293" y="1847137"/>
                  </a:lnTo>
                  <a:lnTo>
                    <a:pt x="3633293" y="1847137"/>
                  </a:lnTo>
                  <a:lnTo>
                    <a:pt x="3635654" y="1842415"/>
                  </a:lnTo>
                  <a:lnTo>
                    <a:pt x="3637228" y="1842022"/>
                  </a:lnTo>
                  <a:lnTo>
                    <a:pt x="3637621" y="1841235"/>
                  </a:lnTo>
                  <a:lnTo>
                    <a:pt x="3637621" y="1842022"/>
                  </a:lnTo>
                  <a:lnTo>
                    <a:pt x="3639982" y="1842022"/>
                  </a:lnTo>
                  <a:lnTo>
                    <a:pt x="3640375" y="1840448"/>
                  </a:lnTo>
                  <a:lnTo>
                    <a:pt x="3643129" y="1838088"/>
                  </a:lnTo>
                  <a:lnTo>
                    <a:pt x="3643916" y="1836514"/>
                  </a:lnTo>
                  <a:lnTo>
                    <a:pt x="3645096" y="1835334"/>
                  </a:lnTo>
                  <a:lnTo>
                    <a:pt x="3647457" y="1834940"/>
                  </a:lnTo>
                  <a:lnTo>
                    <a:pt x="3648637" y="1832186"/>
                  </a:lnTo>
                  <a:lnTo>
                    <a:pt x="3647850" y="1832580"/>
                  </a:lnTo>
                  <a:lnTo>
                    <a:pt x="3647457" y="1832186"/>
                  </a:lnTo>
                  <a:lnTo>
                    <a:pt x="3649818" y="1829432"/>
                  </a:lnTo>
                  <a:lnTo>
                    <a:pt x="3648244" y="1826678"/>
                  </a:lnTo>
                  <a:lnTo>
                    <a:pt x="3648244" y="1824318"/>
                  </a:lnTo>
                  <a:lnTo>
                    <a:pt x="3649030" y="1821564"/>
                  </a:lnTo>
                  <a:lnTo>
                    <a:pt x="3648637" y="1821170"/>
                  </a:lnTo>
                  <a:lnTo>
                    <a:pt x="3648244" y="1820384"/>
                  </a:lnTo>
                  <a:lnTo>
                    <a:pt x="3650998" y="1821170"/>
                  </a:lnTo>
                  <a:lnTo>
                    <a:pt x="3653752" y="1819203"/>
                  </a:lnTo>
                  <a:lnTo>
                    <a:pt x="3652178" y="1816449"/>
                  </a:lnTo>
                  <a:lnTo>
                    <a:pt x="3651391" y="1813695"/>
                  </a:lnTo>
                  <a:lnTo>
                    <a:pt x="3650604" y="1813302"/>
                  </a:lnTo>
                  <a:lnTo>
                    <a:pt x="3652178" y="1811335"/>
                  </a:lnTo>
                  <a:lnTo>
                    <a:pt x="3648244" y="1808581"/>
                  </a:lnTo>
                  <a:lnTo>
                    <a:pt x="3651391" y="1808974"/>
                  </a:lnTo>
                  <a:lnTo>
                    <a:pt x="3652571" y="1810941"/>
                  </a:lnTo>
                  <a:lnTo>
                    <a:pt x="3655325" y="1813302"/>
                  </a:lnTo>
                  <a:lnTo>
                    <a:pt x="3655719" y="1810548"/>
                  </a:lnTo>
                  <a:lnTo>
                    <a:pt x="3658473" y="1810941"/>
                  </a:lnTo>
                  <a:lnTo>
                    <a:pt x="3658473" y="1810548"/>
                  </a:lnTo>
                  <a:lnTo>
                    <a:pt x="3660834" y="1810941"/>
                  </a:lnTo>
                  <a:lnTo>
                    <a:pt x="3663980" y="1811335"/>
                  </a:lnTo>
                  <a:lnTo>
                    <a:pt x="3666735" y="1808974"/>
                  </a:lnTo>
                  <a:lnTo>
                    <a:pt x="3669095" y="1806220"/>
                  </a:lnTo>
                  <a:lnTo>
                    <a:pt x="3669095" y="1803860"/>
                  </a:lnTo>
                  <a:lnTo>
                    <a:pt x="3669882" y="1803466"/>
                  </a:lnTo>
                  <a:lnTo>
                    <a:pt x="3669882" y="1803466"/>
                  </a:lnTo>
                  <a:lnTo>
                    <a:pt x="3669489" y="1806220"/>
                  </a:lnTo>
                  <a:lnTo>
                    <a:pt x="3672243" y="1803860"/>
                  </a:lnTo>
                  <a:lnTo>
                    <a:pt x="3673816" y="1801106"/>
                  </a:lnTo>
                  <a:lnTo>
                    <a:pt x="3673423" y="1800712"/>
                  </a:lnTo>
                  <a:lnTo>
                    <a:pt x="3686799" y="1791270"/>
                  </a:lnTo>
                  <a:lnTo>
                    <a:pt x="3686799" y="1790877"/>
                  </a:lnTo>
                  <a:lnTo>
                    <a:pt x="3684439" y="1789303"/>
                  </a:lnTo>
                  <a:lnTo>
                    <a:pt x="3690341" y="1788910"/>
                  </a:lnTo>
                  <a:lnTo>
                    <a:pt x="3690734" y="1790877"/>
                  </a:lnTo>
                  <a:lnTo>
                    <a:pt x="3692701" y="1788910"/>
                  </a:lnTo>
                  <a:lnTo>
                    <a:pt x="3698602" y="1788516"/>
                  </a:lnTo>
                  <a:lnTo>
                    <a:pt x="3700176" y="1785369"/>
                  </a:lnTo>
                  <a:lnTo>
                    <a:pt x="3698209" y="1782615"/>
                  </a:lnTo>
                  <a:lnTo>
                    <a:pt x="3696635" y="1779861"/>
                  </a:lnTo>
                  <a:lnTo>
                    <a:pt x="3696242" y="1779467"/>
                  </a:lnTo>
                  <a:lnTo>
                    <a:pt x="3695848" y="1777500"/>
                  </a:lnTo>
                  <a:lnTo>
                    <a:pt x="3696242" y="1777107"/>
                  </a:lnTo>
                  <a:lnTo>
                    <a:pt x="3696635" y="1779467"/>
                  </a:lnTo>
                  <a:lnTo>
                    <a:pt x="3700963" y="1778287"/>
                  </a:lnTo>
                  <a:lnTo>
                    <a:pt x="3699783" y="1781041"/>
                  </a:lnTo>
                  <a:lnTo>
                    <a:pt x="3702143" y="1781041"/>
                  </a:lnTo>
                  <a:lnTo>
                    <a:pt x="3702536" y="1781434"/>
                  </a:lnTo>
                  <a:lnTo>
                    <a:pt x="3702536" y="1783795"/>
                  </a:lnTo>
                  <a:lnTo>
                    <a:pt x="3704111" y="1784582"/>
                  </a:lnTo>
                  <a:lnTo>
                    <a:pt x="3704897" y="1786549"/>
                  </a:lnTo>
                  <a:lnTo>
                    <a:pt x="3708045" y="1786942"/>
                  </a:lnTo>
                  <a:lnTo>
                    <a:pt x="3706864" y="1784582"/>
                  </a:lnTo>
                  <a:lnTo>
                    <a:pt x="3709224" y="1782221"/>
                  </a:lnTo>
                  <a:lnTo>
                    <a:pt x="3709224" y="1782221"/>
                  </a:lnTo>
                  <a:lnTo>
                    <a:pt x="3709618" y="1781828"/>
                  </a:lnTo>
                  <a:lnTo>
                    <a:pt x="3708438" y="1784975"/>
                  </a:lnTo>
                  <a:lnTo>
                    <a:pt x="3711191" y="1787336"/>
                  </a:lnTo>
                  <a:lnTo>
                    <a:pt x="3714339" y="1786549"/>
                  </a:lnTo>
                  <a:lnTo>
                    <a:pt x="3714733" y="1786156"/>
                  </a:lnTo>
                  <a:lnTo>
                    <a:pt x="3717487" y="1788910"/>
                  </a:lnTo>
                  <a:lnTo>
                    <a:pt x="3715520" y="1791664"/>
                  </a:lnTo>
                  <a:lnTo>
                    <a:pt x="3718273" y="1794024"/>
                  </a:lnTo>
                  <a:lnTo>
                    <a:pt x="3720240" y="1791664"/>
                  </a:lnTo>
                  <a:lnTo>
                    <a:pt x="3721421" y="1792844"/>
                  </a:lnTo>
                  <a:lnTo>
                    <a:pt x="3724175" y="1792450"/>
                  </a:lnTo>
                  <a:lnTo>
                    <a:pt x="3724175" y="1792450"/>
                  </a:lnTo>
                  <a:lnTo>
                    <a:pt x="3734404" y="1791270"/>
                  </a:lnTo>
                  <a:lnTo>
                    <a:pt x="3734404" y="1791270"/>
                  </a:lnTo>
                  <a:lnTo>
                    <a:pt x="3736371" y="1790877"/>
                  </a:lnTo>
                  <a:lnTo>
                    <a:pt x="3734797" y="1787729"/>
                  </a:lnTo>
                  <a:lnTo>
                    <a:pt x="3736371" y="1788516"/>
                  </a:lnTo>
                  <a:lnTo>
                    <a:pt x="3738338" y="1790877"/>
                  </a:lnTo>
                  <a:lnTo>
                    <a:pt x="3741092" y="1790877"/>
                  </a:lnTo>
                  <a:lnTo>
                    <a:pt x="3741486" y="1792057"/>
                  </a:lnTo>
                  <a:lnTo>
                    <a:pt x="3739519" y="1795598"/>
                  </a:lnTo>
                  <a:lnTo>
                    <a:pt x="3737158" y="1796778"/>
                  </a:lnTo>
                  <a:lnTo>
                    <a:pt x="3737552" y="1799532"/>
                  </a:lnTo>
                  <a:lnTo>
                    <a:pt x="3737158" y="1801499"/>
                  </a:lnTo>
                  <a:lnTo>
                    <a:pt x="3735191" y="1803860"/>
                  </a:lnTo>
                  <a:lnTo>
                    <a:pt x="3736371" y="1806614"/>
                  </a:lnTo>
                  <a:lnTo>
                    <a:pt x="3736764" y="1808974"/>
                  </a:lnTo>
                  <a:lnTo>
                    <a:pt x="3736371" y="1811728"/>
                  </a:lnTo>
                  <a:lnTo>
                    <a:pt x="3738731" y="1812515"/>
                  </a:lnTo>
                  <a:lnTo>
                    <a:pt x="3739912" y="1815663"/>
                  </a:lnTo>
                  <a:lnTo>
                    <a:pt x="3741092" y="1818023"/>
                  </a:lnTo>
                  <a:lnTo>
                    <a:pt x="3742273" y="1819597"/>
                  </a:lnTo>
                  <a:lnTo>
                    <a:pt x="3741879" y="1821170"/>
                  </a:lnTo>
                  <a:lnTo>
                    <a:pt x="3743059" y="1823925"/>
                  </a:lnTo>
                  <a:lnTo>
                    <a:pt x="3745813" y="1825892"/>
                  </a:lnTo>
                  <a:lnTo>
                    <a:pt x="3748567" y="1826678"/>
                  </a:lnTo>
                  <a:lnTo>
                    <a:pt x="3748961" y="1828252"/>
                  </a:lnTo>
                  <a:lnTo>
                    <a:pt x="3746207" y="1827465"/>
                  </a:lnTo>
                  <a:lnTo>
                    <a:pt x="3746994" y="1830219"/>
                  </a:lnTo>
                  <a:lnTo>
                    <a:pt x="3746994" y="1832973"/>
                  </a:lnTo>
                  <a:lnTo>
                    <a:pt x="3749355" y="1832186"/>
                  </a:lnTo>
                  <a:lnTo>
                    <a:pt x="3752108" y="1832580"/>
                  </a:lnTo>
                  <a:lnTo>
                    <a:pt x="3754862" y="1832186"/>
                  </a:lnTo>
                  <a:lnTo>
                    <a:pt x="3755649" y="1832186"/>
                  </a:lnTo>
                  <a:lnTo>
                    <a:pt x="3758403" y="1832580"/>
                  </a:lnTo>
                  <a:lnTo>
                    <a:pt x="3761157" y="1830219"/>
                  </a:lnTo>
                  <a:lnTo>
                    <a:pt x="3762731" y="1827465"/>
                  </a:lnTo>
                  <a:lnTo>
                    <a:pt x="3763517" y="1824711"/>
                  </a:lnTo>
                  <a:lnTo>
                    <a:pt x="3760764" y="1821957"/>
                  </a:lnTo>
                  <a:lnTo>
                    <a:pt x="3758403" y="1816449"/>
                  </a:lnTo>
                  <a:lnTo>
                    <a:pt x="3757616" y="1813695"/>
                  </a:lnTo>
                  <a:lnTo>
                    <a:pt x="3757223" y="1813302"/>
                  </a:lnTo>
                  <a:lnTo>
                    <a:pt x="3755256" y="1808187"/>
                  </a:lnTo>
                  <a:lnTo>
                    <a:pt x="3758010" y="1807794"/>
                  </a:lnTo>
                  <a:lnTo>
                    <a:pt x="3760764" y="1810155"/>
                  </a:lnTo>
                  <a:lnTo>
                    <a:pt x="3761157" y="1807007"/>
                  </a:lnTo>
                  <a:lnTo>
                    <a:pt x="3758796" y="1805433"/>
                  </a:lnTo>
                  <a:lnTo>
                    <a:pt x="3756043" y="1804647"/>
                  </a:lnTo>
                  <a:lnTo>
                    <a:pt x="3754468" y="1805040"/>
                  </a:lnTo>
                  <a:lnTo>
                    <a:pt x="3754468" y="1805433"/>
                  </a:lnTo>
                  <a:lnTo>
                    <a:pt x="3754076" y="1804253"/>
                  </a:lnTo>
                  <a:lnTo>
                    <a:pt x="3756436" y="1801106"/>
                  </a:lnTo>
                  <a:lnTo>
                    <a:pt x="3756436" y="1800712"/>
                  </a:lnTo>
                  <a:lnTo>
                    <a:pt x="3755256" y="1794418"/>
                  </a:lnTo>
                  <a:lnTo>
                    <a:pt x="3757223" y="1799925"/>
                  </a:lnTo>
                  <a:lnTo>
                    <a:pt x="3759977" y="1800319"/>
                  </a:lnTo>
                  <a:lnTo>
                    <a:pt x="3762731" y="1799925"/>
                  </a:lnTo>
                  <a:lnTo>
                    <a:pt x="3761944" y="1797171"/>
                  </a:lnTo>
                  <a:lnTo>
                    <a:pt x="3763517" y="1794418"/>
                  </a:lnTo>
                  <a:lnTo>
                    <a:pt x="3765485" y="1792844"/>
                  </a:lnTo>
                  <a:lnTo>
                    <a:pt x="3763911" y="1794418"/>
                  </a:lnTo>
                  <a:lnTo>
                    <a:pt x="3762731" y="1797171"/>
                  </a:lnTo>
                  <a:lnTo>
                    <a:pt x="3765485" y="1794811"/>
                  </a:lnTo>
                  <a:lnTo>
                    <a:pt x="3768238" y="1794811"/>
                  </a:lnTo>
                  <a:lnTo>
                    <a:pt x="3770993" y="1793237"/>
                  </a:lnTo>
                  <a:lnTo>
                    <a:pt x="3775714" y="1791664"/>
                  </a:lnTo>
                  <a:lnTo>
                    <a:pt x="3776501" y="1791664"/>
                  </a:lnTo>
                  <a:lnTo>
                    <a:pt x="3777681" y="1791270"/>
                  </a:lnTo>
                  <a:lnTo>
                    <a:pt x="3779254" y="1793237"/>
                  </a:lnTo>
                  <a:lnTo>
                    <a:pt x="3782402" y="1790877"/>
                  </a:lnTo>
                  <a:lnTo>
                    <a:pt x="3782796" y="1789696"/>
                  </a:lnTo>
                  <a:lnTo>
                    <a:pt x="3782796" y="1789303"/>
                  </a:lnTo>
                  <a:lnTo>
                    <a:pt x="3783189" y="1788516"/>
                  </a:lnTo>
                  <a:lnTo>
                    <a:pt x="3783583" y="1788123"/>
                  </a:lnTo>
                  <a:lnTo>
                    <a:pt x="3786336" y="1790483"/>
                  </a:lnTo>
                  <a:lnTo>
                    <a:pt x="3789090" y="1789696"/>
                  </a:lnTo>
                  <a:lnTo>
                    <a:pt x="3792238" y="1787336"/>
                  </a:lnTo>
                  <a:lnTo>
                    <a:pt x="3793024" y="1785369"/>
                  </a:lnTo>
                  <a:lnTo>
                    <a:pt x="3796959" y="1784188"/>
                  </a:lnTo>
                  <a:lnTo>
                    <a:pt x="3797352" y="1781828"/>
                  </a:lnTo>
                  <a:lnTo>
                    <a:pt x="3795778" y="1779074"/>
                  </a:lnTo>
                  <a:lnTo>
                    <a:pt x="3797352" y="1779467"/>
                  </a:lnTo>
                  <a:lnTo>
                    <a:pt x="3797745" y="1779861"/>
                  </a:lnTo>
                  <a:lnTo>
                    <a:pt x="3799320" y="1780254"/>
                  </a:lnTo>
                  <a:lnTo>
                    <a:pt x="3799712" y="1780254"/>
                  </a:lnTo>
                  <a:lnTo>
                    <a:pt x="3805221" y="1783795"/>
                  </a:lnTo>
                  <a:lnTo>
                    <a:pt x="3807975" y="1784975"/>
                  </a:lnTo>
                  <a:lnTo>
                    <a:pt x="3810336" y="1782221"/>
                  </a:lnTo>
                  <a:lnTo>
                    <a:pt x="3809942" y="1779467"/>
                  </a:lnTo>
                  <a:lnTo>
                    <a:pt x="3809155" y="1777500"/>
                  </a:lnTo>
                  <a:lnTo>
                    <a:pt x="3809155" y="1776320"/>
                  </a:lnTo>
                  <a:lnTo>
                    <a:pt x="3810729" y="1778680"/>
                  </a:lnTo>
                  <a:lnTo>
                    <a:pt x="3813482" y="1781434"/>
                  </a:lnTo>
                  <a:lnTo>
                    <a:pt x="3816237" y="1782615"/>
                  </a:lnTo>
                  <a:lnTo>
                    <a:pt x="3818597" y="1779467"/>
                  </a:lnTo>
                  <a:lnTo>
                    <a:pt x="3820171" y="1776713"/>
                  </a:lnTo>
                  <a:lnTo>
                    <a:pt x="3822925" y="1776713"/>
                  </a:lnTo>
                  <a:lnTo>
                    <a:pt x="3826073" y="1779074"/>
                  </a:lnTo>
                  <a:lnTo>
                    <a:pt x="3827646" y="1775926"/>
                  </a:lnTo>
                  <a:lnTo>
                    <a:pt x="3826466" y="1773173"/>
                  </a:lnTo>
                  <a:lnTo>
                    <a:pt x="3826466" y="1770419"/>
                  </a:lnTo>
                  <a:lnTo>
                    <a:pt x="3828040" y="1768058"/>
                  </a:lnTo>
                  <a:lnTo>
                    <a:pt x="3829219" y="1767271"/>
                  </a:lnTo>
                  <a:lnTo>
                    <a:pt x="3829613" y="1770025"/>
                  </a:lnTo>
                  <a:lnTo>
                    <a:pt x="3832761" y="1772386"/>
                  </a:lnTo>
                  <a:lnTo>
                    <a:pt x="3833941" y="1769632"/>
                  </a:lnTo>
                  <a:lnTo>
                    <a:pt x="3836695" y="1768058"/>
                  </a:lnTo>
                  <a:lnTo>
                    <a:pt x="3833154" y="1762550"/>
                  </a:lnTo>
                  <a:lnTo>
                    <a:pt x="3830794" y="1759796"/>
                  </a:lnTo>
                  <a:lnTo>
                    <a:pt x="3828040" y="1755075"/>
                  </a:lnTo>
                  <a:lnTo>
                    <a:pt x="3828040" y="1754681"/>
                  </a:lnTo>
                  <a:lnTo>
                    <a:pt x="3828433" y="1755075"/>
                  </a:lnTo>
                  <a:lnTo>
                    <a:pt x="3831187" y="1759796"/>
                  </a:lnTo>
                  <a:lnTo>
                    <a:pt x="3833154" y="1762550"/>
                  </a:lnTo>
                  <a:lnTo>
                    <a:pt x="3835908" y="1765304"/>
                  </a:lnTo>
                  <a:lnTo>
                    <a:pt x="3837876" y="1767664"/>
                  </a:lnTo>
                  <a:lnTo>
                    <a:pt x="3840629" y="1768058"/>
                  </a:lnTo>
                  <a:lnTo>
                    <a:pt x="3841022" y="1767664"/>
                  </a:lnTo>
                  <a:lnTo>
                    <a:pt x="3841810" y="1770419"/>
                  </a:lnTo>
                  <a:lnTo>
                    <a:pt x="3842597" y="1767664"/>
                  </a:lnTo>
                  <a:lnTo>
                    <a:pt x="3841810" y="1767271"/>
                  </a:lnTo>
                  <a:lnTo>
                    <a:pt x="3841810" y="1764517"/>
                  </a:lnTo>
                  <a:lnTo>
                    <a:pt x="3840236" y="1761763"/>
                  </a:lnTo>
                  <a:lnTo>
                    <a:pt x="3839843" y="1760976"/>
                  </a:lnTo>
                  <a:lnTo>
                    <a:pt x="3840236" y="1757829"/>
                  </a:lnTo>
                  <a:lnTo>
                    <a:pt x="3839449" y="1755468"/>
                  </a:lnTo>
                  <a:lnTo>
                    <a:pt x="3837876" y="1752321"/>
                  </a:lnTo>
                  <a:lnTo>
                    <a:pt x="3834728" y="1749960"/>
                  </a:lnTo>
                  <a:lnTo>
                    <a:pt x="3833154" y="1748780"/>
                  </a:lnTo>
                  <a:lnTo>
                    <a:pt x="3834728" y="1749567"/>
                  </a:lnTo>
                  <a:lnTo>
                    <a:pt x="3835515" y="1747993"/>
                  </a:lnTo>
                  <a:lnTo>
                    <a:pt x="3832761" y="1745633"/>
                  </a:lnTo>
                  <a:lnTo>
                    <a:pt x="3830007" y="1744846"/>
                  </a:lnTo>
                  <a:lnTo>
                    <a:pt x="3829613" y="1744846"/>
                  </a:lnTo>
                  <a:lnTo>
                    <a:pt x="3827646" y="1744059"/>
                  </a:lnTo>
                  <a:lnTo>
                    <a:pt x="3830007" y="1744452"/>
                  </a:lnTo>
                  <a:lnTo>
                    <a:pt x="3830400" y="1744846"/>
                  </a:lnTo>
                  <a:lnTo>
                    <a:pt x="3833154" y="1743666"/>
                  </a:lnTo>
                  <a:lnTo>
                    <a:pt x="3833548" y="1743272"/>
                  </a:lnTo>
                  <a:lnTo>
                    <a:pt x="3835515" y="1740518"/>
                  </a:lnTo>
                  <a:lnTo>
                    <a:pt x="3833154" y="1738944"/>
                  </a:lnTo>
                  <a:lnTo>
                    <a:pt x="3832367" y="1738551"/>
                  </a:lnTo>
                  <a:lnTo>
                    <a:pt x="3835121" y="1738944"/>
                  </a:lnTo>
                  <a:lnTo>
                    <a:pt x="3838662" y="1737371"/>
                  </a:lnTo>
                  <a:lnTo>
                    <a:pt x="3839449" y="1737371"/>
                  </a:lnTo>
                  <a:lnTo>
                    <a:pt x="3839055" y="1737764"/>
                  </a:lnTo>
                  <a:lnTo>
                    <a:pt x="3836301" y="1740518"/>
                  </a:lnTo>
                  <a:lnTo>
                    <a:pt x="3837876" y="1740912"/>
                  </a:lnTo>
                  <a:lnTo>
                    <a:pt x="3838662" y="1743666"/>
                  </a:lnTo>
                  <a:lnTo>
                    <a:pt x="3839055" y="1740912"/>
                  </a:lnTo>
                  <a:lnTo>
                    <a:pt x="3839449" y="1740518"/>
                  </a:lnTo>
                  <a:lnTo>
                    <a:pt x="3839055" y="1743272"/>
                  </a:lnTo>
                  <a:lnTo>
                    <a:pt x="3839055" y="1746026"/>
                  </a:lnTo>
                  <a:lnTo>
                    <a:pt x="3841416" y="1748387"/>
                  </a:lnTo>
                  <a:lnTo>
                    <a:pt x="3841810" y="1749960"/>
                  </a:lnTo>
                  <a:lnTo>
                    <a:pt x="3844170" y="1749567"/>
                  </a:lnTo>
                  <a:lnTo>
                    <a:pt x="3848891" y="1759403"/>
                  </a:lnTo>
                  <a:lnTo>
                    <a:pt x="3849285" y="1762550"/>
                  </a:lnTo>
                  <a:lnTo>
                    <a:pt x="3849285" y="1763337"/>
                  </a:lnTo>
                  <a:lnTo>
                    <a:pt x="3849678" y="1766484"/>
                  </a:lnTo>
                  <a:lnTo>
                    <a:pt x="3849285" y="1766878"/>
                  </a:lnTo>
                  <a:lnTo>
                    <a:pt x="3849285" y="1768451"/>
                  </a:lnTo>
                  <a:lnTo>
                    <a:pt x="3852038" y="1770025"/>
                  </a:lnTo>
                  <a:lnTo>
                    <a:pt x="3866202" y="1770025"/>
                  </a:lnTo>
                  <a:lnTo>
                    <a:pt x="3869350" y="1768451"/>
                  </a:lnTo>
                  <a:lnTo>
                    <a:pt x="3868956" y="1765304"/>
                  </a:lnTo>
                  <a:lnTo>
                    <a:pt x="3867775" y="1759796"/>
                  </a:lnTo>
                  <a:lnTo>
                    <a:pt x="3870529" y="1758222"/>
                  </a:lnTo>
                  <a:lnTo>
                    <a:pt x="3867775" y="1756649"/>
                  </a:lnTo>
                  <a:lnTo>
                    <a:pt x="3868956" y="1753501"/>
                  </a:lnTo>
                  <a:lnTo>
                    <a:pt x="3866595" y="1752714"/>
                  </a:lnTo>
                  <a:lnTo>
                    <a:pt x="3874857" y="1755468"/>
                  </a:lnTo>
                  <a:lnTo>
                    <a:pt x="3878005" y="1755468"/>
                  </a:lnTo>
                  <a:lnTo>
                    <a:pt x="3879972" y="1752714"/>
                  </a:lnTo>
                  <a:lnTo>
                    <a:pt x="3879578" y="1752321"/>
                  </a:lnTo>
                  <a:lnTo>
                    <a:pt x="3881152" y="1751534"/>
                  </a:lnTo>
                  <a:lnTo>
                    <a:pt x="3888233" y="1748780"/>
                  </a:lnTo>
                  <a:lnTo>
                    <a:pt x="3890988" y="1749174"/>
                  </a:lnTo>
                  <a:lnTo>
                    <a:pt x="3891381" y="1749174"/>
                  </a:lnTo>
                  <a:lnTo>
                    <a:pt x="3894135" y="1751534"/>
                  </a:lnTo>
                  <a:lnTo>
                    <a:pt x="3896890" y="1752714"/>
                  </a:lnTo>
                  <a:lnTo>
                    <a:pt x="3897676" y="1752321"/>
                  </a:lnTo>
                  <a:lnTo>
                    <a:pt x="3903970" y="1747600"/>
                  </a:lnTo>
                  <a:lnTo>
                    <a:pt x="3907118" y="1747600"/>
                  </a:lnTo>
                  <a:lnTo>
                    <a:pt x="3909872" y="1746026"/>
                  </a:lnTo>
                  <a:lnTo>
                    <a:pt x="3911052" y="1744846"/>
                  </a:lnTo>
                  <a:lnTo>
                    <a:pt x="3909479" y="1743272"/>
                  </a:lnTo>
                  <a:lnTo>
                    <a:pt x="3911446" y="1744059"/>
                  </a:lnTo>
                  <a:lnTo>
                    <a:pt x="3911839" y="1744059"/>
                  </a:lnTo>
                  <a:lnTo>
                    <a:pt x="3914594" y="1743666"/>
                  </a:lnTo>
                  <a:lnTo>
                    <a:pt x="3918134" y="1742879"/>
                  </a:lnTo>
                  <a:lnTo>
                    <a:pt x="3920495" y="1743272"/>
                  </a:lnTo>
                  <a:lnTo>
                    <a:pt x="3922855" y="1741698"/>
                  </a:lnTo>
                  <a:lnTo>
                    <a:pt x="3922855" y="1740912"/>
                  </a:lnTo>
                  <a:lnTo>
                    <a:pt x="3923642" y="1733830"/>
                  </a:lnTo>
                  <a:lnTo>
                    <a:pt x="3924036" y="1733830"/>
                  </a:lnTo>
                  <a:lnTo>
                    <a:pt x="3924429" y="1735010"/>
                  </a:lnTo>
                  <a:lnTo>
                    <a:pt x="3926397" y="1732256"/>
                  </a:lnTo>
                  <a:lnTo>
                    <a:pt x="3929150" y="1734223"/>
                  </a:lnTo>
                  <a:lnTo>
                    <a:pt x="3927576" y="1731076"/>
                  </a:lnTo>
                  <a:lnTo>
                    <a:pt x="3924822" y="1729502"/>
                  </a:lnTo>
                  <a:lnTo>
                    <a:pt x="3923642" y="1729896"/>
                  </a:lnTo>
                  <a:lnTo>
                    <a:pt x="3925216" y="1728715"/>
                  </a:lnTo>
                  <a:lnTo>
                    <a:pt x="3927970" y="1727929"/>
                  </a:lnTo>
                  <a:lnTo>
                    <a:pt x="3928364" y="1727535"/>
                  </a:lnTo>
                  <a:lnTo>
                    <a:pt x="3929150" y="1725174"/>
                  </a:lnTo>
                  <a:lnTo>
                    <a:pt x="3934658" y="1721634"/>
                  </a:lnTo>
                  <a:lnTo>
                    <a:pt x="3935052" y="1722027"/>
                  </a:lnTo>
                  <a:lnTo>
                    <a:pt x="3937806" y="1719667"/>
                  </a:lnTo>
                  <a:lnTo>
                    <a:pt x="3942920" y="1714159"/>
                  </a:lnTo>
                  <a:lnTo>
                    <a:pt x="3945280" y="1711405"/>
                  </a:lnTo>
                  <a:lnTo>
                    <a:pt x="3948428" y="1711011"/>
                  </a:lnTo>
                  <a:lnTo>
                    <a:pt x="3949214" y="1713765"/>
                  </a:lnTo>
                  <a:lnTo>
                    <a:pt x="3949608" y="1711011"/>
                  </a:lnTo>
                  <a:lnTo>
                    <a:pt x="3950789" y="1708257"/>
                  </a:lnTo>
                  <a:lnTo>
                    <a:pt x="3950395" y="1705897"/>
                  </a:lnTo>
                  <a:lnTo>
                    <a:pt x="3950395" y="1705503"/>
                  </a:lnTo>
                  <a:lnTo>
                    <a:pt x="3953149" y="1705897"/>
                  </a:lnTo>
                  <a:lnTo>
                    <a:pt x="3952756" y="1708651"/>
                  </a:lnTo>
                  <a:lnTo>
                    <a:pt x="3955510" y="1706290"/>
                  </a:lnTo>
                  <a:lnTo>
                    <a:pt x="3956690" y="1703536"/>
                  </a:lnTo>
                  <a:lnTo>
                    <a:pt x="3956296" y="1700782"/>
                  </a:lnTo>
                  <a:lnTo>
                    <a:pt x="3959050" y="1700389"/>
                  </a:lnTo>
                  <a:lnTo>
                    <a:pt x="3961017" y="1697635"/>
                  </a:lnTo>
                  <a:lnTo>
                    <a:pt x="3958263" y="1696848"/>
                  </a:lnTo>
                  <a:lnTo>
                    <a:pt x="3958263" y="1694094"/>
                  </a:lnTo>
                  <a:lnTo>
                    <a:pt x="3955510" y="1694487"/>
                  </a:lnTo>
                  <a:lnTo>
                    <a:pt x="3952756" y="1693700"/>
                  </a:lnTo>
                  <a:lnTo>
                    <a:pt x="3950789" y="1692127"/>
                  </a:lnTo>
                  <a:lnTo>
                    <a:pt x="3955510" y="1692520"/>
                  </a:lnTo>
                  <a:lnTo>
                    <a:pt x="3957083" y="1692520"/>
                  </a:lnTo>
                  <a:lnTo>
                    <a:pt x="3956690" y="1691340"/>
                  </a:lnTo>
                  <a:lnTo>
                    <a:pt x="3959050" y="1688979"/>
                  </a:lnTo>
                  <a:lnTo>
                    <a:pt x="3959444" y="1688979"/>
                  </a:lnTo>
                  <a:lnTo>
                    <a:pt x="3963378" y="1688586"/>
                  </a:lnTo>
                  <a:lnTo>
                    <a:pt x="3964165" y="1689373"/>
                  </a:lnTo>
                  <a:lnTo>
                    <a:pt x="3967312" y="1688192"/>
                  </a:lnTo>
                  <a:lnTo>
                    <a:pt x="3972427" y="1687799"/>
                  </a:lnTo>
                  <a:lnTo>
                    <a:pt x="3974394" y="1689766"/>
                  </a:lnTo>
                  <a:lnTo>
                    <a:pt x="3975968" y="1687012"/>
                  </a:lnTo>
                  <a:lnTo>
                    <a:pt x="3977148" y="1683865"/>
                  </a:lnTo>
                  <a:lnTo>
                    <a:pt x="3975968" y="1681111"/>
                  </a:lnTo>
                  <a:lnTo>
                    <a:pt x="3973214" y="1680717"/>
                  </a:lnTo>
                  <a:lnTo>
                    <a:pt x="3977148" y="1677963"/>
                  </a:lnTo>
                  <a:lnTo>
                    <a:pt x="3978329" y="1677570"/>
                  </a:lnTo>
                  <a:lnTo>
                    <a:pt x="3981476" y="1676390"/>
                  </a:lnTo>
                  <a:lnTo>
                    <a:pt x="3983050" y="1673636"/>
                  </a:lnTo>
                  <a:lnTo>
                    <a:pt x="3980689" y="1670095"/>
                  </a:lnTo>
                  <a:lnTo>
                    <a:pt x="3980296" y="1667341"/>
                  </a:lnTo>
                  <a:lnTo>
                    <a:pt x="3978329" y="1666554"/>
                  </a:lnTo>
                  <a:lnTo>
                    <a:pt x="3981082" y="1664193"/>
                  </a:lnTo>
                  <a:lnTo>
                    <a:pt x="3983443" y="1666947"/>
                  </a:lnTo>
                  <a:lnTo>
                    <a:pt x="3984623" y="1670095"/>
                  </a:lnTo>
                  <a:lnTo>
                    <a:pt x="3984623" y="1667341"/>
                  </a:lnTo>
                  <a:lnTo>
                    <a:pt x="3987378" y="1667734"/>
                  </a:lnTo>
                  <a:lnTo>
                    <a:pt x="3990524" y="1665767"/>
                  </a:lnTo>
                  <a:lnTo>
                    <a:pt x="3988951" y="1663013"/>
                  </a:lnTo>
                  <a:lnTo>
                    <a:pt x="3986197" y="1661833"/>
                  </a:lnTo>
                  <a:lnTo>
                    <a:pt x="3983443" y="1660653"/>
                  </a:lnTo>
                  <a:lnTo>
                    <a:pt x="3984623" y="1659472"/>
                  </a:lnTo>
                  <a:lnTo>
                    <a:pt x="3986197" y="1657899"/>
                  </a:lnTo>
                  <a:lnTo>
                    <a:pt x="3986197" y="1657505"/>
                  </a:lnTo>
                  <a:lnTo>
                    <a:pt x="3994459" y="1661046"/>
                  </a:lnTo>
                  <a:lnTo>
                    <a:pt x="3996033" y="1658292"/>
                  </a:lnTo>
                  <a:lnTo>
                    <a:pt x="3997606" y="1661046"/>
                  </a:lnTo>
                  <a:lnTo>
                    <a:pt x="3998000" y="1658292"/>
                  </a:lnTo>
                  <a:lnTo>
                    <a:pt x="3995639" y="1655538"/>
                  </a:lnTo>
                  <a:lnTo>
                    <a:pt x="3992885" y="1654358"/>
                  </a:lnTo>
                  <a:lnTo>
                    <a:pt x="3992491" y="1652784"/>
                  </a:lnTo>
                  <a:lnTo>
                    <a:pt x="3993672" y="1650030"/>
                  </a:lnTo>
                  <a:lnTo>
                    <a:pt x="3995246" y="1646883"/>
                  </a:lnTo>
                  <a:lnTo>
                    <a:pt x="3993279" y="1644129"/>
                  </a:lnTo>
                  <a:lnTo>
                    <a:pt x="3996033" y="1641768"/>
                  </a:lnTo>
                  <a:lnTo>
                    <a:pt x="3993279" y="1639014"/>
                  </a:lnTo>
                  <a:lnTo>
                    <a:pt x="3990524" y="1638621"/>
                  </a:lnTo>
                  <a:lnTo>
                    <a:pt x="3989345" y="1640981"/>
                  </a:lnTo>
                  <a:lnTo>
                    <a:pt x="3986984" y="1642161"/>
                  </a:lnTo>
                  <a:lnTo>
                    <a:pt x="3984230" y="1641375"/>
                  </a:lnTo>
                  <a:lnTo>
                    <a:pt x="3983050" y="1640981"/>
                  </a:lnTo>
                  <a:lnTo>
                    <a:pt x="3981476" y="1638227"/>
                  </a:lnTo>
                  <a:lnTo>
                    <a:pt x="3978721" y="1635867"/>
                  </a:lnTo>
                  <a:lnTo>
                    <a:pt x="3977542" y="1635080"/>
                  </a:lnTo>
                  <a:lnTo>
                    <a:pt x="3981082" y="1636654"/>
                  </a:lnTo>
                  <a:lnTo>
                    <a:pt x="3983050" y="1637834"/>
                  </a:lnTo>
                  <a:lnTo>
                    <a:pt x="3981476" y="1637047"/>
                  </a:lnTo>
                  <a:lnTo>
                    <a:pt x="3983443" y="1639408"/>
                  </a:lnTo>
                  <a:lnTo>
                    <a:pt x="3986197" y="1640194"/>
                  </a:lnTo>
                  <a:lnTo>
                    <a:pt x="3987378" y="1639408"/>
                  </a:lnTo>
                  <a:lnTo>
                    <a:pt x="3984623" y="1638227"/>
                  </a:lnTo>
                  <a:lnTo>
                    <a:pt x="3983443" y="1637834"/>
                  </a:lnTo>
                  <a:lnTo>
                    <a:pt x="3984230" y="1637834"/>
                  </a:lnTo>
                  <a:lnTo>
                    <a:pt x="3988951" y="1640194"/>
                  </a:lnTo>
                  <a:lnTo>
                    <a:pt x="3990918" y="1635473"/>
                  </a:lnTo>
                  <a:lnTo>
                    <a:pt x="3992491" y="1632719"/>
                  </a:lnTo>
                  <a:lnTo>
                    <a:pt x="3995246" y="1630359"/>
                  </a:lnTo>
                  <a:lnTo>
                    <a:pt x="3998393" y="1628785"/>
                  </a:lnTo>
                  <a:lnTo>
                    <a:pt x="3996819" y="1625638"/>
                  </a:lnTo>
                  <a:lnTo>
                    <a:pt x="3995246" y="1628392"/>
                  </a:lnTo>
                  <a:lnTo>
                    <a:pt x="3992491" y="1627605"/>
                  </a:lnTo>
                  <a:lnTo>
                    <a:pt x="3992885" y="1624457"/>
                  </a:lnTo>
                  <a:lnTo>
                    <a:pt x="3993672" y="1624457"/>
                  </a:lnTo>
                  <a:lnTo>
                    <a:pt x="3994066" y="1621703"/>
                  </a:lnTo>
                  <a:lnTo>
                    <a:pt x="3993672" y="1620523"/>
                  </a:lnTo>
                  <a:lnTo>
                    <a:pt x="3998787" y="1612655"/>
                  </a:lnTo>
                  <a:lnTo>
                    <a:pt x="3999180" y="1615015"/>
                  </a:lnTo>
                  <a:lnTo>
                    <a:pt x="3998787" y="1617769"/>
                  </a:lnTo>
                  <a:lnTo>
                    <a:pt x="3995639" y="1620130"/>
                  </a:lnTo>
                  <a:lnTo>
                    <a:pt x="3998787" y="1620523"/>
                  </a:lnTo>
                  <a:lnTo>
                    <a:pt x="4000360" y="1618949"/>
                  </a:lnTo>
                  <a:lnTo>
                    <a:pt x="4003508" y="1618162"/>
                  </a:lnTo>
                  <a:lnTo>
                    <a:pt x="4003901" y="1615409"/>
                  </a:lnTo>
                  <a:lnTo>
                    <a:pt x="4001934" y="1612261"/>
                  </a:lnTo>
                  <a:lnTo>
                    <a:pt x="4001934" y="1612261"/>
                  </a:lnTo>
                  <a:lnTo>
                    <a:pt x="4002721" y="1607933"/>
                  </a:lnTo>
                  <a:lnTo>
                    <a:pt x="4008228" y="1600852"/>
                  </a:lnTo>
                  <a:lnTo>
                    <a:pt x="4007836" y="1599278"/>
                  </a:lnTo>
                  <a:lnTo>
                    <a:pt x="4008228" y="1599672"/>
                  </a:lnTo>
                  <a:lnTo>
                    <a:pt x="4007836" y="1598098"/>
                  </a:lnTo>
                  <a:lnTo>
                    <a:pt x="4010983" y="1598491"/>
                  </a:lnTo>
                  <a:lnTo>
                    <a:pt x="4010983" y="1595737"/>
                  </a:lnTo>
                  <a:lnTo>
                    <a:pt x="4010196" y="1592983"/>
                  </a:lnTo>
                  <a:lnTo>
                    <a:pt x="4013343" y="1590229"/>
                  </a:lnTo>
                  <a:lnTo>
                    <a:pt x="4010589" y="1587475"/>
                  </a:lnTo>
                  <a:lnTo>
                    <a:pt x="4011376" y="1584328"/>
                  </a:lnTo>
                  <a:lnTo>
                    <a:pt x="4012950" y="1577640"/>
                  </a:lnTo>
                  <a:lnTo>
                    <a:pt x="4014524" y="1574492"/>
                  </a:lnTo>
                  <a:lnTo>
                    <a:pt x="4011770" y="1572132"/>
                  </a:lnTo>
                  <a:lnTo>
                    <a:pt x="4008622" y="1570558"/>
                  </a:lnTo>
                  <a:lnTo>
                    <a:pt x="4006655" y="1570165"/>
                  </a:lnTo>
                  <a:lnTo>
                    <a:pt x="4004294" y="1567410"/>
                  </a:lnTo>
                  <a:lnTo>
                    <a:pt x="4007049" y="1569771"/>
                  </a:lnTo>
                  <a:lnTo>
                    <a:pt x="4010196" y="1570165"/>
                  </a:lnTo>
                  <a:lnTo>
                    <a:pt x="4012950" y="1571738"/>
                  </a:lnTo>
                  <a:lnTo>
                    <a:pt x="4014917" y="1571738"/>
                  </a:lnTo>
                  <a:lnTo>
                    <a:pt x="4016491" y="1568591"/>
                  </a:lnTo>
                  <a:lnTo>
                    <a:pt x="4018064" y="1565837"/>
                  </a:lnTo>
                  <a:lnTo>
                    <a:pt x="4018852" y="1563083"/>
                  </a:lnTo>
                  <a:lnTo>
                    <a:pt x="4017277" y="1562296"/>
                  </a:lnTo>
                  <a:lnTo>
                    <a:pt x="4017277" y="1561509"/>
                  </a:lnTo>
                  <a:lnTo>
                    <a:pt x="4020425" y="1559149"/>
                  </a:lnTo>
                  <a:lnTo>
                    <a:pt x="4023573" y="1564657"/>
                  </a:lnTo>
                  <a:lnTo>
                    <a:pt x="4026326" y="1566624"/>
                  </a:lnTo>
                  <a:lnTo>
                    <a:pt x="4025933" y="1563870"/>
                  </a:lnTo>
                  <a:lnTo>
                    <a:pt x="4027507" y="1560722"/>
                  </a:lnTo>
                  <a:lnTo>
                    <a:pt x="4030655" y="1560722"/>
                  </a:lnTo>
                  <a:lnTo>
                    <a:pt x="4031047" y="1557968"/>
                  </a:lnTo>
                  <a:lnTo>
                    <a:pt x="4029474" y="1555214"/>
                  </a:lnTo>
                  <a:lnTo>
                    <a:pt x="4027113" y="1552067"/>
                  </a:lnTo>
                  <a:lnTo>
                    <a:pt x="4025540" y="1549313"/>
                  </a:lnTo>
                  <a:lnTo>
                    <a:pt x="4024753" y="1548526"/>
                  </a:lnTo>
                  <a:lnTo>
                    <a:pt x="4023179" y="1547739"/>
                  </a:lnTo>
                  <a:lnTo>
                    <a:pt x="4026720" y="1547739"/>
                  </a:lnTo>
                  <a:lnTo>
                    <a:pt x="4029474" y="1544985"/>
                  </a:lnTo>
                  <a:lnTo>
                    <a:pt x="4027900" y="1541838"/>
                  </a:lnTo>
                  <a:lnTo>
                    <a:pt x="4024753" y="1541444"/>
                  </a:lnTo>
                  <a:lnTo>
                    <a:pt x="4025933" y="1539477"/>
                  </a:lnTo>
                  <a:lnTo>
                    <a:pt x="4028687" y="1541051"/>
                  </a:lnTo>
                  <a:lnTo>
                    <a:pt x="4027507" y="1538297"/>
                  </a:lnTo>
                  <a:lnTo>
                    <a:pt x="4025146" y="1537117"/>
                  </a:lnTo>
                  <a:lnTo>
                    <a:pt x="4025146" y="1536723"/>
                  </a:lnTo>
                  <a:lnTo>
                    <a:pt x="4022392" y="1534756"/>
                  </a:lnTo>
                  <a:lnTo>
                    <a:pt x="4020819" y="1534756"/>
                  </a:lnTo>
                  <a:lnTo>
                    <a:pt x="4019638" y="1534363"/>
                  </a:lnTo>
                  <a:lnTo>
                    <a:pt x="4031441" y="1532789"/>
                  </a:lnTo>
                  <a:lnTo>
                    <a:pt x="4033801" y="1530035"/>
                  </a:lnTo>
                  <a:lnTo>
                    <a:pt x="4032622" y="1527281"/>
                  </a:lnTo>
                  <a:lnTo>
                    <a:pt x="4031047" y="1524527"/>
                  </a:lnTo>
                  <a:lnTo>
                    <a:pt x="4031047" y="1521380"/>
                  </a:lnTo>
                  <a:lnTo>
                    <a:pt x="4031441" y="1518626"/>
                  </a:lnTo>
                  <a:lnTo>
                    <a:pt x="4028294" y="1517052"/>
                  </a:lnTo>
                  <a:lnTo>
                    <a:pt x="4025540" y="1518626"/>
                  </a:lnTo>
                  <a:lnTo>
                    <a:pt x="4027113" y="1521773"/>
                  </a:lnTo>
                  <a:lnTo>
                    <a:pt x="4024359" y="1520199"/>
                  </a:lnTo>
                  <a:lnTo>
                    <a:pt x="4021606" y="1521773"/>
                  </a:lnTo>
                  <a:lnTo>
                    <a:pt x="4019638" y="1523740"/>
                  </a:lnTo>
                  <a:lnTo>
                    <a:pt x="4016885" y="1521773"/>
                  </a:lnTo>
                  <a:lnTo>
                    <a:pt x="4021212" y="1519806"/>
                  </a:lnTo>
                  <a:lnTo>
                    <a:pt x="4022392" y="1519806"/>
                  </a:lnTo>
                  <a:lnTo>
                    <a:pt x="4023966" y="1518626"/>
                  </a:lnTo>
                  <a:lnTo>
                    <a:pt x="4029474" y="1510364"/>
                  </a:lnTo>
                  <a:lnTo>
                    <a:pt x="4032228" y="1508790"/>
                  </a:lnTo>
                  <a:lnTo>
                    <a:pt x="4029474" y="1508397"/>
                  </a:lnTo>
                  <a:lnTo>
                    <a:pt x="4026326" y="1508003"/>
                  </a:lnTo>
                  <a:lnTo>
                    <a:pt x="4023573" y="1506823"/>
                  </a:lnTo>
                  <a:lnTo>
                    <a:pt x="4020819" y="1505643"/>
                  </a:lnTo>
                  <a:lnTo>
                    <a:pt x="4018852" y="1505249"/>
                  </a:lnTo>
                  <a:lnTo>
                    <a:pt x="4017277" y="1504069"/>
                  </a:lnTo>
                  <a:lnTo>
                    <a:pt x="4016885" y="1503282"/>
                  </a:lnTo>
                  <a:lnTo>
                    <a:pt x="4011376" y="1497774"/>
                  </a:lnTo>
                  <a:lnTo>
                    <a:pt x="4008622" y="1495807"/>
                  </a:lnTo>
                  <a:lnTo>
                    <a:pt x="4005475" y="1494233"/>
                  </a:lnTo>
                  <a:lnTo>
                    <a:pt x="4002721" y="1493840"/>
                  </a:lnTo>
                  <a:lnTo>
                    <a:pt x="3999967" y="1495020"/>
                  </a:lnTo>
                  <a:lnTo>
                    <a:pt x="3997213" y="1496987"/>
                  </a:lnTo>
                  <a:lnTo>
                    <a:pt x="3995639" y="1498561"/>
                  </a:lnTo>
                  <a:lnTo>
                    <a:pt x="3992491" y="1500135"/>
                  </a:lnTo>
                  <a:lnTo>
                    <a:pt x="3989345" y="1500135"/>
                  </a:lnTo>
                  <a:lnTo>
                    <a:pt x="3992491" y="1501315"/>
                  </a:lnTo>
                  <a:lnTo>
                    <a:pt x="3993279" y="1502102"/>
                  </a:lnTo>
                  <a:lnTo>
                    <a:pt x="3988557" y="1499741"/>
                  </a:lnTo>
                  <a:lnTo>
                    <a:pt x="3987770" y="1496987"/>
                  </a:lnTo>
                  <a:lnTo>
                    <a:pt x="3986197" y="1493840"/>
                  </a:lnTo>
                  <a:lnTo>
                    <a:pt x="3983836" y="1492266"/>
                  </a:lnTo>
                  <a:lnTo>
                    <a:pt x="3989345" y="1492266"/>
                  </a:lnTo>
                  <a:lnTo>
                    <a:pt x="3990131" y="1492659"/>
                  </a:lnTo>
                  <a:lnTo>
                    <a:pt x="3991705" y="1492266"/>
                  </a:lnTo>
                  <a:lnTo>
                    <a:pt x="4000754" y="1480857"/>
                  </a:lnTo>
                  <a:lnTo>
                    <a:pt x="4003508" y="1478103"/>
                  </a:lnTo>
                  <a:lnTo>
                    <a:pt x="4006261" y="1476136"/>
                  </a:lnTo>
                  <a:lnTo>
                    <a:pt x="4009016" y="1475349"/>
                  </a:lnTo>
                  <a:lnTo>
                    <a:pt x="4012163" y="1474955"/>
                  </a:lnTo>
                  <a:lnTo>
                    <a:pt x="4015310" y="1475349"/>
                  </a:lnTo>
                  <a:lnTo>
                    <a:pt x="4015704" y="1472595"/>
                  </a:lnTo>
                  <a:lnTo>
                    <a:pt x="4014130" y="1469841"/>
                  </a:lnTo>
                  <a:lnTo>
                    <a:pt x="4011770" y="1466693"/>
                  </a:lnTo>
                  <a:lnTo>
                    <a:pt x="4009409" y="1463939"/>
                  </a:lnTo>
                  <a:lnTo>
                    <a:pt x="4007049" y="1461185"/>
                  </a:lnTo>
                  <a:lnTo>
                    <a:pt x="4004294" y="1459218"/>
                  </a:lnTo>
                  <a:lnTo>
                    <a:pt x="4001148" y="1458431"/>
                  </a:lnTo>
                  <a:lnTo>
                    <a:pt x="4000360" y="1458038"/>
                  </a:lnTo>
                  <a:lnTo>
                    <a:pt x="3997213" y="1455677"/>
                  </a:lnTo>
                  <a:lnTo>
                    <a:pt x="3994459" y="1454104"/>
                  </a:lnTo>
                  <a:lnTo>
                    <a:pt x="3994066" y="1453710"/>
                  </a:lnTo>
                  <a:lnTo>
                    <a:pt x="3991312" y="1450956"/>
                  </a:lnTo>
                  <a:lnTo>
                    <a:pt x="3988557" y="1448596"/>
                  </a:lnTo>
                  <a:lnTo>
                    <a:pt x="3985803" y="1447022"/>
                  </a:lnTo>
                  <a:lnTo>
                    <a:pt x="3985017" y="1446629"/>
                  </a:lnTo>
                  <a:lnTo>
                    <a:pt x="3982263" y="1445448"/>
                  </a:lnTo>
                  <a:lnTo>
                    <a:pt x="3981869" y="1445448"/>
                  </a:lnTo>
                  <a:lnTo>
                    <a:pt x="3974394" y="1442694"/>
                  </a:lnTo>
                  <a:lnTo>
                    <a:pt x="3974394" y="1440334"/>
                  </a:lnTo>
                  <a:lnTo>
                    <a:pt x="3972033" y="1437580"/>
                  </a:lnTo>
                  <a:lnTo>
                    <a:pt x="3969280" y="1437186"/>
                  </a:lnTo>
                  <a:lnTo>
                    <a:pt x="3966132" y="1436793"/>
                  </a:lnTo>
                  <a:lnTo>
                    <a:pt x="3963378" y="1436400"/>
                  </a:lnTo>
                  <a:lnTo>
                    <a:pt x="3962198" y="1438760"/>
                  </a:lnTo>
                  <a:lnTo>
                    <a:pt x="3959050" y="1440334"/>
                  </a:lnTo>
                  <a:lnTo>
                    <a:pt x="3958263" y="1440727"/>
                  </a:lnTo>
                  <a:lnTo>
                    <a:pt x="3951575" y="1439153"/>
                  </a:lnTo>
                  <a:lnTo>
                    <a:pt x="3951575" y="1439547"/>
                  </a:lnTo>
                  <a:lnTo>
                    <a:pt x="3946461" y="1435613"/>
                  </a:lnTo>
                  <a:lnTo>
                    <a:pt x="3943707" y="1434039"/>
                  </a:lnTo>
                  <a:lnTo>
                    <a:pt x="3943707" y="1433646"/>
                  </a:lnTo>
                  <a:lnTo>
                    <a:pt x="3946855" y="1434432"/>
                  </a:lnTo>
                  <a:lnTo>
                    <a:pt x="3946855" y="1434432"/>
                  </a:lnTo>
                  <a:lnTo>
                    <a:pt x="3951182" y="1437973"/>
                  </a:lnTo>
                  <a:lnTo>
                    <a:pt x="3954329" y="1439547"/>
                  </a:lnTo>
                  <a:lnTo>
                    <a:pt x="3957083" y="1439940"/>
                  </a:lnTo>
                  <a:lnTo>
                    <a:pt x="3958657" y="1439940"/>
                  </a:lnTo>
                  <a:lnTo>
                    <a:pt x="3964165" y="1434432"/>
                  </a:lnTo>
                  <a:lnTo>
                    <a:pt x="3972427" y="1436006"/>
                  </a:lnTo>
                  <a:lnTo>
                    <a:pt x="3975181" y="1437580"/>
                  </a:lnTo>
                  <a:lnTo>
                    <a:pt x="3977935" y="1440334"/>
                  </a:lnTo>
                  <a:lnTo>
                    <a:pt x="3979902" y="1443088"/>
                  </a:lnTo>
                  <a:lnTo>
                    <a:pt x="3982656" y="1443088"/>
                  </a:lnTo>
                  <a:lnTo>
                    <a:pt x="3986197" y="1443481"/>
                  </a:lnTo>
                  <a:lnTo>
                    <a:pt x="3989345" y="1441908"/>
                  </a:lnTo>
                  <a:lnTo>
                    <a:pt x="3992099" y="1442301"/>
                  </a:lnTo>
                  <a:lnTo>
                    <a:pt x="3995246" y="1443088"/>
                  </a:lnTo>
                  <a:lnTo>
                    <a:pt x="3998000" y="1444662"/>
                  </a:lnTo>
                  <a:lnTo>
                    <a:pt x="4001148" y="1446235"/>
                  </a:lnTo>
                  <a:lnTo>
                    <a:pt x="4004294" y="1447415"/>
                  </a:lnTo>
                  <a:lnTo>
                    <a:pt x="4007049" y="1448202"/>
                  </a:lnTo>
                  <a:lnTo>
                    <a:pt x="4007836" y="1445448"/>
                  </a:lnTo>
                  <a:lnTo>
                    <a:pt x="4006261" y="1442694"/>
                  </a:lnTo>
                  <a:lnTo>
                    <a:pt x="4003508" y="1439547"/>
                  </a:lnTo>
                  <a:lnTo>
                    <a:pt x="4000754" y="1437186"/>
                  </a:lnTo>
                  <a:lnTo>
                    <a:pt x="3999573" y="1436793"/>
                  </a:lnTo>
                  <a:lnTo>
                    <a:pt x="3997213" y="1435613"/>
                  </a:lnTo>
                  <a:lnTo>
                    <a:pt x="3988557" y="1429318"/>
                  </a:lnTo>
                  <a:lnTo>
                    <a:pt x="3988164" y="1428138"/>
                  </a:lnTo>
                  <a:lnTo>
                    <a:pt x="3987378" y="1424990"/>
                  </a:lnTo>
                  <a:lnTo>
                    <a:pt x="3984230" y="1423023"/>
                  </a:lnTo>
                  <a:lnTo>
                    <a:pt x="3981476" y="1421843"/>
                  </a:lnTo>
                  <a:lnTo>
                    <a:pt x="3978721" y="1420663"/>
                  </a:lnTo>
                  <a:lnTo>
                    <a:pt x="3975968" y="1419089"/>
                  </a:lnTo>
                  <a:lnTo>
                    <a:pt x="3974394" y="1418695"/>
                  </a:lnTo>
                  <a:lnTo>
                    <a:pt x="3969673" y="1416728"/>
                  </a:lnTo>
                  <a:lnTo>
                    <a:pt x="3966919" y="1408466"/>
                  </a:lnTo>
                  <a:lnTo>
                    <a:pt x="3966919" y="1407679"/>
                  </a:lnTo>
                  <a:lnTo>
                    <a:pt x="3965739" y="1404925"/>
                  </a:lnTo>
                  <a:lnTo>
                    <a:pt x="3965345" y="1404532"/>
                  </a:lnTo>
                  <a:lnTo>
                    <a:pt x="3957871" y="1394696"/>
                  </a:lnTo>
                  <a:lnTo>
                    <a:pt x="3957871" y="1393909"/>
                  </a:lnTo>
                  <a:lnTo>
                    <a:pt x="3957083" y="1393516"/>
                  </a:lnTo>
                  <a:lnTo>
                    <a:pt x="3938199" y="1369517"/>
                  </a:lnTo>
                  <a:lnTo>
                    <a:pt x="3935838" y="1365583"/>
                  </a:lnTo>
                  <a:lnTo>
                    <a:pt x="3933477" y="1362829"/>
                  </a:lnTo>
                  <a:lnTo>
                    <a:pt x="3931510" y="1359681"/>
                  </a:lnTo>
                  <a:lnTo>
                    <a:pt x="3928364" y="1358108"/>
                  </a:lnTo>
                  <a:lnTo>
                    <a:pt x="3925609" y="1356534"/>
                  </a:lnTo>
                  <a:lnTo>
                    <a:pt x="3922855" y="1354960"/>
                  </a:lnTo>
                  <a:lnTo>
                    <a:pt x="3922462" y="1354567"/>
                  </a:lnTo>
                  <a:lnTo>
                    <a:pt x="3919708" y="1353387"/>
                  </a:lnTo>
                  <a:lnTo>
                    <a:pt x="3917740" y="1353387"/>
                  </a:lnTo>
                  <a:lnTo>
                    <a:pt x="3915380" y="1352600"/>
                  </a:lnTo>
                  <a:lnTo>
                    <a:pt x="3912627" y="1351026"/>
                  </a:lnTo>
                  <a:lnTo>
                    <a:pt x="3909479" y="1349846"/>
                  </a:lnTo>
                  <a:lnTo>
                    <a:pt x="3906331" y="1347879"/>
                  </a:lnTo>
                  <a:lnTo>
                    <a:pt x="3903970" y="1345125"/>
                  </a:lnTo>
                  <a:lnTo>
                    <a:pt x="3901217" y="1343551"/>
                  </a:lnTo>
                  <a:lnTo>
                    <a:pt x="3898069" y="1343551"/>
                  </a:lnTo>
                  <a:lnTo>
                    <a:pt x="3896102" y="1345125"/>
                  </a:lnTo>
                  <a:lnTo>
                    <a:pt x="3894922" y="1341977"/>
                  </a:lnTo>
                  <a:lnTo>
                    <a:pt x="3894922" y="1341977"/>
                  </a:lnTo>
                  <a:lnTo>
                    <a:pt x="3892955" y="1336863"/>
                  </a:lnTo>
                  <a:lnTo>
                    <a:pt x="3892955" y="1336469"/>
                  </a:lnTo>
                  <a:lnTo>
                    <a:pt x="3892561" y="1335289"/>
                  </a:lnTo>
                  <a:lnTo>
                    <a:pt x="3894135" y="1332928"/>
                  </a:lnTo>
                  <a:lnTo>
                    <a:pt x="3895709" y="1330174"/>
                  </a:lnTo>
                  <a:lnTo>
                    <a:pt x="3895315" y="1327814"/>
                  </a:lnTo>
                  <a:lnTo>
                    <a:pt x="3895709" y="1326240"/>
                  </a:lnTo>
                  <a:lnTo>
                    <a:pt x="3896496" y="1324667"/>
                  </a:lnTo>
                  <a:lnTo>
                    <a:pt x="3898069" y="1321912"/>
                  </a:lnTo>
                  <a:lnTo>
                    <a:pt x="3898463" y="1319158"/>
                  </a:lnTo>
                  <a:lnTo>
                    <a:pt x="3898463" y="1316011"/>
                  </a:lnTo>
                  <a:lnTo>
                    <a:pt x="3901217" y="1316405"/>
                  </a:lnTo>
                  <a:lnTo>
                    <a:pt x="3903970" y="1315224"/>
                  </a:lnTo>
                  <a:lnTo>
                    <a:pt x="3904364" y="1312470"/>
                  </a:lnTo>
                  <a:lnTo>
                    <a:pt x="3906725" y="1311290"/>
                  </a:lnTo>
                  <a:lnTo>
                    <a:pt x="3908299" y="1304208"/>
                  </a:lnTo>
                  <a:lnTo>
                    <a:pt x="3911446" y="1303028"/>
                  </a:lnTo>
                  <a:lnTo>
                    <a:pt x="3908692" y="1302635"/>
                  </a:lnTo>
                  <a:lnTo>
                    <a:pt x="3907118" y="1300274"/>
                  </a:lnTo>
                  <a:lnTo>
                    <a:pt x="3903578" y="1296733"/>
                  </a:lnTo>
                  <a:lnTo>
                    <a:pt x="3903184" y="1294373"/>
                  </a:lnTo>
                  <a:lnTo>
                    <a:pt x="3906331" y="1294373"/>
                  </a:lnTo>
                  <a:lnTo>
                    <a:pt x="3909085" y="1295946"/>
                  </a:lnTo>
                  <a:lnTo>
                    <a:pt x="3907905" y="1293192"/>
                  </a:lnTo>
                  <a:lnTo>
                    <a:pt x="3907905" y="1293192"/>
                  </a:lnTo>
                  <a:lnTo>
                    <a:pt x="3910659" y="1295553"/>
                  </a:lnTo>
                  <a:lnTo>
                    <a:pt x="3910266" y="1298307"/>
                  </a:lnTo>
                  <a:lnTo>
                    <a:pt x="3913413" y="1300274"/>
                  </a:lnTo>
                  <a:lnTo>
                    <a:pt x="3916167" y="1299094"/>
                  </a:lnTo>
                  <a:lnTo>
                    <a:pt x="3918921" y="1297913"/>
                  </a:lnTo>
                  <a:lnTo>
                    <a:pt x="3919315" y="1294766"/>
                  </a:lnTo>
                  <a:lnTo>
                    <a:pt x="3917348" y="1292012"/>
                  </a:lnTo>
                  <a:lnTo>
                    <a:pt x="3916561" y="1290832"/>
                  </a:lnTo>
                  <a:lnTo>
                    <a:pt x="3916954" y="1288078"/>
                  </a:lnTo>
                  <a:lnTo>
                    <a:pt x="3919708" y="1286504"/>
                  </a:lnTo>
                  <a:lnTo>
                    <a:pt x="3922068" y="1289258"/>
                  </a:lnTo>
                  <a:lnTo>
                    <a:pt x="3923249" y="1286111"/>
                  </a:lnTo>
                  <a:lnTo>
                    <a:pt x="3922462" y="1283357"/>
                  </a:lnTo>
                  <a:lnTo>
                    <a:pt x="3919708" y="1282176"/>
                  </a:lnTo>
                  <a:lnTo>
                    <a:pt x="3916954" y="1283750"/>
                  </a:lnTo>
                  <a:lnTo>
                    <a:pt x="3916561" y="1282176"/>
                  </a:lnTo>
                  <a:lnTo>
                    <a:pt x="3917740" y="1280209"/>
                  </a:lnTo>
                  <a:lnTo>
                    <a:pt x="3922068" y="1282570"/>
                  </a:lnTo>
                  <a:lnTo>
                    <a:pt x="3925216" y="1281783"/>
                  </a:lnTo>
                  <a:lnTo>
                    <a:pt x="3927576" y="1279423"/>
                  </a:lnTo>
                  <a:lnTo>
                    <a:pt x="3929150" y="1278636"/>
                  </a:lnTo>
                  <a:lnTo>
                    <a:pt x="3931117" y="1278242"/>
                  </a:lnTo>
                  <a:lnTo>
                    <a:pt x="3933871" y="1276668"/>
                  </a:lnTo>
                  <a:lnTo>
                    <a:pt x="3934265" y="1275488"/>
                  </a:lnTo>
                  <a:lnTo>
                    <a:pt x="3936625" y="1274308"/>
                  </a:lnTo>
                  <a:lnTo>
                    <a:pt x="3935838" y="1275882"/>
                  </a:lnTo>
                  <a:lnTo>
                    <a:pt x="3938592" y="1276275"/>
                  </a:lnTo>
                  <a:lnTo>
                    <a:pt x="3939379" y="1273521"/>
                  </a:lnTo>
                  <a:lnTo>
                    <a:pt x="3940953" y="1272341"/>
                  </a:lnTo>
                  <a:lnTo>
                    <a:pt x="3943707" y="1271161"/>
                  </a:lnTo>
                  <a:lnTo>
                    <a:pt x="3948428" y="1271554"/>
                  </a:lnTo>
                  <a:lnTo>
                    <a:pt x="3950395" y="1268406"/>
                  </a:lnTo>
                  <a:lnTo>
                    <a:pt x="3950789" y="1267226"/>
                  </a:lnTo>
                  <a:lnTo>
                    <a:pt x="3952362" y="1269980"/>
                  </a:lnTo>
                  <a:lnTo>
                    <a:pt x="3953543" y="1273128"/>
                  </a:lnTo>
                  <a:lnTo>
                    <a:pt x="3956690" y="1273521"/>
                  </a:lnTo>
                  <a:lnTo>
                    <a:pt x="3959838" y="1272734"/>
                  </a:lnTo>
                  <a:lnTo>
                    <a:pt x="3961411" y="1269980"/>
                  </a:lnTo>
                  <a:lnTo>
                    <a:pt x="3961017" y="1268013"/>
                  </a:lnTo>
                  <a:lnTo>
                    <a:pt x="3957477" y="1263685"/>
                  </a:lnTo>
                  <a:lnTo>
                    <a:pt x="3959838" y="1262899"/>
                  </a:lnTo>
                  <a:lnTo>
                    <a:pt x="3959444" y="1260145"/>
                  </a:lnTo>
                  <a:lnTo>
                    <a:pt x="3956690" y="1256997"/>
                  </a:lnTo>
                  <a:lnTo>
                    <a:pt x="3959838" y="1255423"/>
                  </a:lnTo>
                  <a:lnTo>
                    <a:pt x="3957083" y="1253850"/>
                  </a:lnTo>
                  <a:lnTo>
                    <a:pt x="3954329" y="1254243"/>
                  </a:lnTo>
                  <a:lnTo>
                    <a:pt x="3951182" y="1253850"/>
                  </a:lnTo>
                  <a:lnTo>
                    <a:pt x="3948822" y="1253850"/>
                  </a:lnTo>
                  <a:lnTo>
                    <a:pt x="3946068" y="1252669"/>
                  </a:lnTo>
                  <a:lnTo>
                    <a:pt x="3942920" y="1251489"/>
                  </a:lnTo>
                  <a:lnTo>
                    <a:pt x="3940166" y="1249916"/>
                  </a:lnTo>
                  <a:lnTo>
                    <a:pt x="3939773" y="1252669"/>
                  </a:lnTo>
                  <a:lnTo>
                    <a:pt x="3939379" y="1253456"/>
                  </a:lnTo>
                  <a:lnTo>
                    <a:pt x="3938199" y="1252276"/>
                  </a:lnTo>
                  <a:lnTo>
                    <a:pt x="3921675" y="1248342"/>
                  </a:lnTo>
                  <a:lnTo>
                    <a:pt x="3920888" y="1247161"/>
                  </a:lnTo>
                  <a:lnTo>
                    <a:pt x="3919315" y="1247555"/>
                  </a:lnTo>
                  <a:lnTo>
                    <a:pt x="3913413" y="1245981"/>
                  </a:lnTo>
                  <a:lnTo>
                    <a:pt x="3912627" y="1245194"/>
                  </a:lnTo>
                  <a:lnTo>
                    <a:pt x="3909872" y="1243621"/>
                  </a:lnTo>
                  <a:lnTo>
                    <a:pt x="3907118" y="1242047"/>
                  </a:lnTo>
                  <a:lnTo>
                    <a:pt x="3903970" y="1239686"/>
                  </a:lnTo>
                  <a:lnTo>
                    <a:pt x="3901217" y="1239686"/>
                  </a:lnTo>
                  <a:lnTo>
                    <a:pt x="3898463" y="1240473"/>
                  </a:lnTo>
                  <a:lnTo>
                    <a:pt x="3896102" y="1241654"/>
                  </a:lnTo>
                  <a:lnTo>
                    <a:pt x="3893348" y="1242440"/>
                  </a:lnTo>
                  <a:lnTo>
                    <a:pt x="3890201" y="1244407"/>
                  </a:lnTo>
                  <a:lnTo>
                    <a:pt x="3887054" y="1244407"/>
                  </a:lnTo>
                  <a:lnTo>
                    <a:pt x="3890201" y="1245194"/>
                  </a:lnTo>
                  <a:lnTo>
                    <a:pt x="3889808" y="1247948"/>
                  </a:lnTo>
                  <a:lnTo>
                    <a:pt x="3889414" y="1248342"/>
                  </a:lnTo>
                  <a:lnTo>
                    <a:pt x="3887841" y="1251096"/>
                  </a:lnTo>
                  <a:lnTo>
                    <a:pt x="3884693" y="1253063"/>
                  </a:lnTo>
                  <a:lnTo>
                    <a:pt x="3881545" y="1255030"/>
                  </a:lnTo>
                  <a:lnTo>
                    <a:pt x="3882332" y="1255817"/>
                  </a:lnTo>
                  <a:lnTo>
                    <a:pt x="3876431" y="1262505"/>
                  </a:lnTo>
                  <a:lnTo>
                    <a:pt x="3856759" y="1256997"/>
                  </a:lnTo>
                  <a:lnTo>
                    <a:pt x="3854005" y="1250309"/>
                  </a:lnTo>
                  <a:lnTo>
                    <a:pt x="3853613" y="1242440"/>
                  </a:lnTo>
                  <a:lnTo>
                    <a:pt x="3854005" y="1241260"/>
                  </a:lnTo>
                  <a:lnTo>
                    <a:pt x="3853613" y="1238506"/>
                  </a:lnTo>
                  <a:lnTo>
                    <a:pt x="3850071" y="1236146"/>
                  </a:lnTo>
                  <a:lnTo>
                    <a:pt x="3846924" y="1232605"/>
                  </a:lnTo>
                  <a:lnTo>
                    <a:pt x="3845350" y="1229851"/>
                  </a:lnTo>
                  <a:lnTo>
                    <a:pt x="3842203" y="1228277"/>
                  </a:lnTo>
                  <a:lnTo>
                    <a:pt x="3836695" y="1228277"/>
                  </a:lnTo>
                  <a:lnTo>
                    <a:pt x="3823318" y="1228670"/>
                  </a:lnTo>
                  <a:lnTo>
                    <a:pt x="3819384" y="1229064"/>
                  </a:lnTo>
                  <a:lnTo>
                    <a:pt x="3816630" y="1227097"/>
                  </a:lnTo>
                  <a:lnTo>
                    <a:pt x="3813876" y="1225523"/>
                  </a:lnTo>
                  <a:lnTo>
                    <a:pt x="3811909" y="1224736"/>
                  </a:lnTo>
                  <a:lnTo>
                    <a:pt x="3799320" y="1212933"/>
                  </a:lnTo>
                  <a:lnTo>
                    <a:pt x="3797745" y="1207819"/>
                  </a:lnTo>
                  <a:lnTo>
                    <a:pt x="3797745" y="1204278"/>
                  </a:lnTo>
                  <a:lnTo>
                    <a:pt x="3798139" y="1202311"/>
                  </a:lnTo>
                  <a:lnTo>
                    <a:pt x="3797745" y="1200737"/>
                  </a:lnTo>
                  <a:lnTo>
                    <a:pt x="3803254" y="1192869"/>
                  </a:lnTo>
                  <a:lnTo>
                    <a:pt x="3806008" y="1193262"/>
                  </a:lnTo>
                  <a:lnTo>
                    <a:pt x="3809155" y="1194836"/>
                  </a:lnTo>
                  <a:lnTo>
                    <a:pt x="3811515" y="1197983"/>
                  </a:lnTo>
                  <a:lnTo>
                    <a:pt x="3814270" y="1199163"/>
                  </a:lnTo>
                  <a:lnTo>
                    <a:pt x="3817417" y="1196803"/>
                  </a:lnTo>
                  <a:lnTo>
                    <a:pt x="3820171" y="1194049"/>
                  </a:lnTo>
                  <a:lnTo>
                    <a:pt x="3825679" y="1195229"/>
                  </a:lnTo>
                  <a:lnTo>
                    <a:pt x="3828433" y="1194442"/>
                  </a:lnTo>
                  <a:lnTo>
                    <a:pt x="3831187" y="1194049"/>
                  </a:lnTo>
                  <a:lnTo>
                    <a:pt x="3831974" y="1190902"/>
                  </a:lnTo>
                  <a:lnTo>
                    <a:pt x="3833548" y="1188148"/>
                  </a:lnTo>
                  <a:lnTo>
                    <a:pt x="3834728" y="1186967"/>
                  </a:lnTo>
                  <a:lnTo>
                    <a:pt x="3842203" y="1167296"/>
                  </a:lnTo>
                  <a:lnTo>
                    <a:pt x="3842597" y="1167296"/>
                  </a:lnTo>
                  <a:lnTo>
                    <a:pt x="3843777" y="1166903"/>
                  </a:lnTo>
                  <a:lnTo>
                    <a:pt x="3845744" y="1164935"/>
                  </a:lnTo>
                  <a:lnTo>
                    <a:pt x="3847317" y="1164149"/>
                  </a:lnTo>
                  <a:lnTo>
                    <a:pt x="3850071" y="1162575"/>
                  </a:lnTo>
                  <a:lnTo>
                    <a:pt x="3852825" y="1160608"/>
                  </a:lnTo>
                  <a:lnTo>
                    <a:pt x="3855580" y="1160214"/>
                  </a:lnTo>
                  <a:lnTo>
                    <a:pt x="3855186" y="1157067"/>
                  </a:lnTo>
                  <a:lnTo>
                    <a:pt x="3855973" y="1155887"/>
                  </a:lnTo>
                  <a:lnTo>
                    <a:pt x="3856366" y="1153526"/>
                  </a:lnTo>
                  <a:lnTo>
                    <a:pt x="3857940" y="1148411"/>
                  </a:lnTo>
                  <a:lnTo>
                    <a:pt x="3858726" y="1147231"/>
                  </a:lnTo>
                  <a:lnTo>
                    <a:pt x="3859120" y="1144084"/>
                  </a:lnTo>
                  <a:lnTo>
                    <a:pt x="3860694" y="1144084"/>
                  </a:lnTo>
                  <a:lnTo>
                    <a:pt x="3863841" y="1142904"/>
                  </a:lnTo>
                  <a:lnTo>
                    <a:pt x="3861087" y="1140543"/>
                  </a:lnTo>
                  <a:lnTo>
                    <a:pt x="3862661" y="1137396"/>
                  </a:lnTo>
                  <a:lnTo>
                    <a:pt x="3876431" y="1138576"/>
                  </a:lnTo>
                  <a:lnTo>
                    <a:pt x="3878792" y="1138576"/>
                  </a:lnTo>
                  <a:lnTo>
                    <a:pt x="3881939" y="1136215"/>
                  </a:lnTo>
                  <a:lnTo>
                    <a:pt x="3882332" y="1133461"/>
                  </a:lnTo>
                  <a:lnTo>
                    <a:pt x="3882726" y="1134248"/>
                  </a:lnTo>
                  <a:lnTo>
                    <a:pt x="3883512" y="1137002"/>
                  </a:lnTo>
                  <a:lnTo>
                    <a:pt x="3886266" y="1139363"/>
                  </a:lnTo>
                  <a:lnTo>
                    <a:pt x="3889414" y="1140543"/>
                  </a:lnTo>
                  <a:lnTo>
                    <a:pt x="3892168" y="1141723"/>
                  </a:lnTo>
                  <a:lnTo>
                    <a:pt x="3895709" y="1143297"/>
                  </a:lnTo>
                  <a:lnTo>
                    <a:pt x="3899250" y="1162575"/>
                  </a:lnTo>
                  <a:lnTo>
                    <a:pt x="3898857" y="1163362"/>
                  </a:lnTo>
                  <a:lnTo>
                    <a:pt x="3899250" y="1166509"/>
                  </a:lnTo>
                  <a:lnTo>
                    <a:pt x="3896496" y="1169263"/>
                  </a:lnTo>
                  <a:lnTo>
                    <a:pt x="3893742" y="1170837"/>
                  </a:lnTo>
                  <a:lnTo>
                    <a:pt x="3890988" y="1173197"/>
                  </a:lnTo>
                  <a:lnTo>
                    <a:pt x="3892561" y="1175951"/>
                  </a:lnTo>
                  <a:lnTo>
                    <a:pt x="3894529" y="1179099"/>
                  </a:lnTo>
                  <a:lnTo>
                    <a:pt x="3891381" y="1180279"/>
                  </a:lnTo>
                  <a:lnTo>
                    <a:pt x="3888627" y="1183033"/>
                  </a:lnTo>
                  <a:lnTo>
                    <a:pt x="3891381" y="1183426"/>
                  </a:lnTo>
                  <a:lnTo>
                    <a:pt x="3894135" y="1183033"/>
                  </a:lnTo>
                  <a:lnTo>
                    <a:pt x="3895709" y="1184607"/>
                  </a:lnTo>
                  <a:lnTo>
                    <a:pt x="3898069" y="1187361"/>
                  </a:lnTo>
                  <a:lnTo>
                    <a:pt x="3900824" y="1187754"/>
                  </a:lnTo>
                  <a:lnTo>
                    <a:pt x="3903578" y="1186180"/>
                  </a:lnTo>
                  <a:lnTo>
                    <a:pt x="3906331" y="1186574"/>
                  </a:lnTo>
                  <a:lnTo>
                    <a:pt x="3909479" y="1185787"/>
                  </a:lnTo>
                  <a:lnTo>
                    <a:pt x="3907905" y="1187361"/>
                  </a:lnTo>
                  <a:lnTo>
                    <a:pt x="3905151" y="1188934"/>
                  </a:lnTo>
                  <a:lnTo>
                    <a:pt x="3903578" y="1191688"/>
                  </a:lnTo>
                  <a:lnTo>
                    <a:pt x="3905545" y="1194836"/>
                  </a:lnTo>
                  <a:lnTo>
                    <a:pt x="3905151" y="1197590"/>
                  </a:lnTo>
                  <a:lnTo>
                    <a:pt x="3902397" y="1199163"/>
                  </a:lnTo>
                  <a:lnTo>
                    <a:pt x="3899643" y="1197983"/>
                  </a:lnTo>
                  <a:lnTo>
                    <a:pt x="3898463" y="1200737"/>
                  </a:lnTo>
                  <a:lnTo>
                    <a:pt x="3895315" y="1203098"/>
                  </a:lnTo>
                  <a:lnTo>
                    <a:pt x="3896102" y="1205852"/>
                  </a:lnTo>
                  <a:lnTo>
                    <a:pt x="3898069" y="1208999"/>
                  </a:lnTo>
                  <a:lnTo>
                    <a:pt x="3901217" y="1207032"/>
                  </a:lnTo>
                  <a:lnTo>
                    <a:pt x="3903970" y="1206245"/>
                  </a:lnTo>
                  <a:lnTo>
                    <a:pt x="3906725" y="1205065"/>
                  </a:lnTo>
                  <a:lnTo>
                    <a:pt x="3909479" y="1202311"/>
                  </a:lnTo>
                  <a:lnTo>
                    <a:pt x="3908299" y="1199557"/>
                  </a:lnTo>
                  <a:lnTo>
                    <a:pt x="3911446" y="1199557"/>
                  </a:lnTo>
                  <a:lnTo>
                    <a:pt x="3911839" y="1199950"/>
                  </a:lnTo>
                  <a:lnTo>
                    <a:pt x="3914594" y="1201131"/>
                  </a:lnTo>
                  <a:lnTo>
                    <a:pt x="3914594" y="1194049"/>
                  </a:lnTo>
                  <a:lnTo>
                    <a:pt x="3917740" y="1193262"/>
                  </a:lnTo>
                  <a:lnTo>
                    <a:pt x="3918134" y="1190508"/>
                  </a:lnTo>
                  <a:lnTo>
                    <a:pt x="3947641" y="1168476"/>
                  </a:lnTo>
                  <a:lnTo>
                    <a:pt x="3948035" y="1168476"/>
                  </a:lnTo>
                  <a:lnTo>
                    <a:pt x="3959838" y="1167689"/>
                  </a:lnTo>
                  <a:lnTo>
                    <a:pt x="3961017" y="1168083"/>
                  </a:lnTo>
                  <a:lnTo>
                    <a:pt x="3964165" y="1167689"/>
                  </a:lnTo>
                  <a:lnTo>
                    <a:pt x="3967706" y="1162181"/>
                  </a:lnTo>
                  <a:lnTo>
                    <a:pt x="3968886" y="1160608"/>
                  </a:lnTo>
                  <a:lnTo>
                    <a:pt x="3969673" y="1161001"/>
                  </a:lnTo>
                  <a:lnTo>
                    <a:pt x="3970460" y="1161395"/>
                  </a:lnTo>
                  <a:lnTo>
                    <a:pt x="3970066" y="1161395"/>
                  </a:lnTo>
                  <a:lnTo>
                    <a:pt x="3968099" y="1161788"/>
                  </a:lnTo>
                  <a:lnTo>
                    <a:pt x="3968493" y="1162181"/>
                  </a:lnTo>
                  <a:lnTo>
                    <a:pt x="3968886" y="1165329"/>
                  </a:lnTo>
                  <a:lnTo>
                    <a:pt x="3972033" y="1167689"/>
                  </a:lnTo>
                  <a:lnTo>
                    <a:pt x="3974787" y="1168083"/>
                  </a:lnTo>
                  <a:lnTo>
                    <a:pt x="3977935" y="1170050"/>
                  </a:lnTo>
                  <a:lnTo>
                    <a:pt x="3980689" y="1172410"/>
                  </a:lnTo>
                  <a:lnTo>
                    <a:pt x="3981869" y="1175165"/>
                  </a:lnTo>
                  <a:lnTo>
                    <a:pt x="3983443" y="1172410"/>
                  </a:lnTo>
                  <a:lnTo>
                    <a:pt x="3982263" y="1169656"/>
                  </a:lnTo>
                  <a:lnTo>
                    <a:pt x="3985017" y="1171230"/>
                  </a:lnTo>
                  <a:lnTo>
                    <a:pt x="3987770" y="1173591"/>
                  </a:lnTo>
                  <a:lnTo>
                    <a:pt x="3990524" y="1173984"/>
                  </a:lnTo>
                  <a:lnTo>
                    <a:pt x="3992491" y="1175165"/>
                  </a:lnTo>
                  <a:lnTo>
                    <a:pt x="3995246" y="1176738"/>
                  </a:lnTo>
                  <a:lnTo>
                    <a:pt x="3998393" y="1176738"/>
                  </a:lnTo>
                  <a:lnTo>
                    <a:pt x="4001148" y="1177525"/>
                  </a:lnTo>
                  <a:lnTo>
                    <a:pt x="4003901" y="1176345"/>
                  </a:lnTo>
                  <a:lnTo>
                    <a:pt x="4003508" y="1179099"/>
                  </a:lnTo>
                  <a:lnTo>
                    <a:pt x="4003901" y="1181853"/>
                  </a:lnTo>
                  <a:lnTo>
                    <a:pt x="4005475" y="1182246"/>
                  </a:lnTo>
                  <a:lnTo>
                    <a:pt x="4007049" y="1188148"/>
                  </a:lnTo>
                  <a:lnTo>
                    <a:pt x="4007049" y="1188541"/>
                  </a:lnTo>
                  <a:lnTo>
                    <a:pt x="4006655" y="1191295"/>
                  </a:lnTo>
                  <a:lnTo>
                    <a:pt x="4007049" y="1194049"/>
                  </a:lnTo>
                  <a:lnTo>
                    <a:pt x="4007049" y="1196803"/>
                  </a:lnTo>
                  <a:lnTo>
                    <a:pt x="4006655" y="1199950"/>
                  </a:lnTo>
                  <a:lnTo>
                    <a:pt x="4008228" y="1202704"/>
                  </a:lnTo>
                  <a:lnTo>
                    <a:pt x="4011376" y="1203098"/>
                  </a:lnTo>
                  <a:lnTo>
                    <a:pt x="4011770" y="1204672"/>
                  </a:lnTo>
                  <a:lnTo>
                    <a:pt x="4014524" y="1204278"/>
                  </a:lnTo>
                  <a:lnTo>
                    <a:pt x="4014917" y="1204278"/>
                  </a:lnTo>
                  <a:lnTo>
                    <a:pt x="4023179" y="1207032"/>
                  </a:lnTo>
                  <a:lnTo>
                    <a:pt x="4024359" y="1208212"/>
                  </a:lnTo>
                  <a:lnTo>
                    <a:pt x="4023573" y="1208212"/>
                  </a:lnTo>
                  <a:lnTo>
                    <a:pt x="4020819" y="1206639"/>
                  </a:lnTo>
                  <a:lnTo>
                    <a:pt x="4018064" y="1205458"/>
                  </a:lnTo>
                  <a:lnTo>
                    <a:pt x="4015310" y="1206639"/>
                  </a:lnTo>
                  <a:lnTo>
                    <a:pt x="4012557" y="1207032"/>
                  </a:lnTo>
                  <a:lnTo>
                    <a:pt x="4009409" y="1207819"/>
                  </a:lnTo>
                  <a:lnTo>
                    <a:pt x="4009409" y="1208999"/>
                  </a:lnTo>
                  <a:lnTo>
                    <a:pt x="4006261" y="1208999"/>
                  </a:lnTo>
                  <a:lnTo>
                    <a:pt x="4007442" y="1210966"/>
                  </a:lnTo>
                  <a:lnTo>
                    <a:pt x="4008228" y="1212933"/>
                  </a:lnTo>
                  <a:lnTo>
                    <a:pt x="4007442" y="1214507"/>
                  </a:lnTo>
                  <a:lnTo>
                    <a:pt x="4007049" y="1217261"/>
                  </a:lnTo>
                  <a:lnTo>
                    <a:pt x="4007836" y="1220015"/>
                  </a:lnTo>
                  <a:lnTo>
                    <a:pt x="4010589" y="1222769"/>
                  </a:lnTo>
                  <a:lnTo>
                    <a:pt x="4007442" y="1222376"/>
                  </a:lnTo>
                  <a:lnTo>
                    <a:pt x="4005868" y="1225130"/>
                  </a:lnTo>
                  <a:lnTo>
                    <a:pt x="4008622" y="1225523"/>
                  </a:lnTo>
                  <a:lnTo>
                    <a:pt x="4011376" y="1225130"/>
                  </a:lnTo>
                  <a:lnTo>
                    <a:pt x="4014130" y="1226703"/>
                  </a:lnTo>
                  <a:lnTo>
                    <a:pt x="4015704" y="1230244"/>
                  </a:lnTo>
                  <a:lnTo>
                    <a:pt x="4016097" y="1231031"/>
                  </a:lnTo>
                  <a:lnTo>
                    <a:pt x="4018852" y="1232605"/>
                  </a:lnTo>
                  <a:lnTo>
                    <a:pt x="4021606" y="1232998"/>
                  </a:lnTo>
                  <a:lnTo>
                    <a:pt x="4024359" y="1231818"/>
                  </a:lnTo>
                  <a:lnTo>
                    <a:pt x="4026720" y="1234572"/>
                  </a:lnTo>
                  <a:lnTo>
                    <a:pt x="4027507" y="1231818"/>
                  </a:lnTo>
                  <a:lnTo>
                    <a:pt x="4030261" y="1231818"/>
                  </a:lnTo>
                  <a:lnTo>
                    <a:pt x="4031441" y="1234965"/>
                  </a:lnTo>
                  <a:lnTo>
                    <a:pt x="4028687" y="1236539"/>
                  </a:lnTo>
                  <a:lnTo>
                    <a:pt x="4029474" y="1239293"/>
                  </a:lnTo>
                  <a:lnTo>
                    <a:pt x="4032228" y="1236932"/>
                  </a:lnTo>
                  <a:lnTo>
                    <a:pt x="4034589" y="1234178"/>
                  </a:lnTo>
                  <a:lnTo>
                    <a:pt x="4033408" y="1231424"/>
                  </a:lnTo>
                  <a:lnTo>
                    <a:pt x="4040096" y="1231818"/>
                  </a:lnTo>
                  <a:lnTo>
                    <a:pt x="4042064" y="1233785"/>
                  </a:lnTo>
                  <a:lnTo>
                    <a:pt x="4044817" y="1233392"/>
                  </a:lnTo>
                  <a:lnTo>
                    <a:pt x="4047571" y="1235359"/>
                  </a:lnTo>
                  <a:lnTo>
                    <a:pt x="4050719" y="1237326"/>
                  </a:lnTo>
                  <a:lnTo>
                    <a:pt x="4049538" y="1234572"/>
                  </a:lnTo>
                  <a:lnTo>
                    <a:pt x="4052293" y="1234178"/>
                  </a:lnTo>
                  <a:lnTo>
                    <a:pt x="4055047" y="1232605"/>
                  </a:lnTo>
                  <a:lnTo>
                    <a:pt x="4057801" y="1234572"/>
                  </a:lnTo>
                  <a:lnTo>
                    <a:pt x="4060948" y="1235752"/>
                  </a:lnTo>
                  <a:lnTo>
                    <a:pt x="4063702" y="1234178"/>
                  </a:lnTo>
                  <a:lnTo>
                    <a:pt x="4064096" y="1234178"/>
                  </a:lnTo>
                  <a:lnTo>
                    <a:pt x="4065275" y="1236932"/>
                  </a:lnTo>
                  <a:lnTo>
                    <a:pt x="4066850" y="1239686"/>
                  </a:lnTo>
                  <a:lnTo>
                    <a:pt x="4068817" y="1240867"/>
                  </a:lnTo>
                  <a:lnTo>
                    <a:pt x="4066063" y="1239686"/>
                  </a:lnTo>
                  <a:lnTo>
                    <a:pt x="4064882" y="1236932"/>
                  </a:lnTo>
                  <a:lnTo>
                    <a:pt x="4062129" y="1236539"/>
                  </a:lnTo>
                  <a:lnTo>
                    <a:pt x="4061735" y="1237719"/>
                  </a:lnTo>
                  <a:lnTo>
                    <a:pt x="4063702" y="1240867"/>
                  </a:lnTo>
                  <a:lnTo>
                    <a:pt x="4066456" y="1242047"/>
                  </a:lnTo>
                  <a:lnTo>
                    <a:pt x="4067242" y="1242834"/>
                  </a:lnTo>
                  <a:lnTo>
                    <a:pt x="4067636" y="1245588"/>
                  </a:lnTo>
                  <a:lnTo>
                    <a:pt x="4070390" y="1248342"/>
                  </a:lnTo>
                  <a:lnTo>
                    <a:pt x="4072357" y="1248735"/>
                  </a:lnTo>
                  <a:lnTo>
                    <a:pt x="4074324" y="1254637"/>
                  </a:lnTo>
                  <a:lnTo>
                    <a:pt x="4073538" y="1256604"/>
                  </a:lnTo>
                  <a:lnTo>
                    <a:pt x="4075111" y="1257784"/>
                  </a:lnTo>
                  <a:lnTo>
                    <a:pt x="4077866" y="1259358"/>
                  </a:lnTo>
                  <a:lnTo>
                    <a:pt x="4077866" y="1260538"/>
                  </a:lnTo>
                  <a:lnTo>
                    <a:pt x="4079045" y="1260145"/>
                  </a:lnTo>
                  <a:lnTo>
                    <a:pt x="4080620" y="1260931"/>
                  </a:lnTo>
                  <a:lnTo>
                    <a:pt x="4080620" y="1262112"/>
                  </a:lnTo>
                  <a:lnTo>
                    <a:pt x="4083373" y="1264079"/>
                  </a:lnTo>
                  <a:lnTo>
                    <a:pt x="4086127" y="1264079"/>
                  </a:lnTo>
                  <a:lnTo>
                    <a:pt x="4081800" y="1266046"/>
                  </a:lnTo>
                  <a:lnTo>
                    <a:pt x="4080226" y="1264079"/>
                  </a:lnTo>
                  <a:lnTo>
                    <a:pt x="4077472" y="1262899"/>
                  </a:lnTo>
                  <a:lnTo>
                    <a:pt x="4074718" y="1262505"/>
                  </a:lnTo>
                  <a:lnTo>
                    <a:pt x="4071571" y="1260931"/>
                  </a:lnTo>
                  <a:lnTo>
                    <a:pt x="4073538" y="1263685"/>
                  </a:lnTo>
                  <a:lnTo>
                    <a:pt x="4071964" y="1266439"/>
                  </a:lnTo>
                  <a:lnTo>
                    <a:pt x="4070390" y="1263685"/>
                  </a:lnTo>
                  <a:lnTo>
                    <a:pt x="4067242" y="1263292"/>
                  </a:lnTo>
                  <a:lnTo>
                    <a:pt x="4067636" y="1266439"/>
                  </a:lnTo>
                  <a:lnTo>
                    <a:pt x="4065669" y="1263292"/>
                  </a:lnTo>
                  <a:lnTo>
                    <a:pt x="4066850" y="1266439"/>
                  </a:lnTo>
                  <a:lnTo>
                    <a:pt x="4063702" y="1267226"/>
                  </a:lnTo>
                  <a:lnTo>
                    <a:pt x="4065275" y="1270374"/>
                  </a:lnTo>
                  <a:lnTo>
                    <a:pt x="4068030" y="1271947"/>
                  </a:lnTo>
                  <a:lnTo>
                    <a:pt x="4068423" y="1271947"/>
                  </a:lnTo>
                  <a:lnTo>
                    <a:pt x="4068817" y="1272341"/>
                  </a:lnTo>
                  <a:lnTo>
                    <a:pt x="4071177" y="1274701"/>
                  </a:lnTo>
                  <a:lnTo>
                    <a:pt x="4071177" y="1273914"/>
                  </a:lnTo>
                  <a:lnTo>
                    <a:pt x="4076685" y="1277455"/>
                  </a:lnTo>
                  <a:lnTo>
                    <a:pt x="4076685" y="1277849"/>
                  </a:lnTo>
                  <a:lnTo>
                    <a:pt x="4078259" y="1280603"/>
                  </a:lnTo>
                  <a:lnTo>
                    <a:pt x="4081012" y="1280209"/>
                  </a:lnTo>
                  <a:lnTo>
                    <a:pt x="4081012" y="1280603"/>
                  </a:lnTo>
                  <a:lnTo>
                    <a:pt x="4080620" y="1280603"/>
                  </a:lnTo>
                  <a:lnTo>
                    <a:pt x="4080226" y="1283750"/>
                  </a:lnTo>
                  <a:lnTo>
                    <a:pt x="4082979" y="1286111"/>
                  </a:lnTo>
                  <a:lnTo>
                    <a:pt x="4082979" y="1292012"/>
                  </a:lnTo>
                  <a:lnTo>
                    <a:pt x="4085734" y="1292012"/>
                  </a:lnTo>
                  <a:lnTo>
                    <a:pt x="4088488" y="1294766"/>
                  </a:lnTo>
                  <a:lnTo>
                    <a:pt x="4091636" y="1295553"/>
                  </a:lnTo>
                  <a:lnTo>
                    <a:pt x="4094389" y="1293979"/>
                  </a:lnTo>
                  <a:lnTo>
                    <a:pt x="4091242" y="1296340"/>
                  </a:lnTo>
                  <a:lnTo>
                    <a:pt x="4089669" y="1299094"/>
                  </a:lnTo>
                  <a:lnTo>
                    <a:pt x="4092422" y="1299487"/>
                  </a:lnTo>
                  <a:lnTo>
                    <a:pt x="4093603" y="1299487"/>
                  </a:lnTo>
                  <a:lnTo>
                    <a:pt x="4092815" y="1305389"/>
                  </a:lnTo>
                  <a:lnTo>
                    <a:pt x="4091242" y="1306175"/>
                  </a:lnTo>
                  <a:lnTo>
                    <a:pt x="4089669" y="1308929"/>
                  </a:lnTo>
                  <a:lnTo>
                    <a:pt x="4092028" y="1309323"/>
                  </a:lnTo>
                  <a:lnTo>
                    <a:pt x="4091242" y="1314437"/>
                  </a:lnTo>
                  <a:lnTo>
                    <a:pt x="4091242" y="1314437"/>
                  </a:lnTo>
                  <a:lnTo>
                    <a:pt x="4091242" y="1314831"/>
                  </a:lnTo>
                  <a:lnTo>
                    <a:pt x="4091636" y="1319945"/>
                  </a:lnTo>
                  <a:lnTo>
                    <a:pt x="4091242" y="1321126"/>
                  </a:lnTo>
                  <a:lnTo>
                    <a:pt x="4092028" y="1322306"/>
                  </a:lnTo>
                  <a:lnTo>
                    <a:pt x="4092422" y="1325847"/>
                  </a:lnTo>
                  <a:lnTo>
                    <a:pt x="4090061" y="1325060"/>
                  </a:lnTo>
                  <a:lnTo>
                    <a:pt x="4092422" y="1327420"/>
                  </a:lnTo>
                  <a:lnTo>
                    <a:pt x="4094782" y="1330174"/>
                  </a:lnTo>
                  <a:lnTo>
                    <a:pt x="4097537" y="1332928"/>
                  </a:lnTo>
                  <a:lnTo>
                    <a:pt x="4097930" y="1336076"/>
                  </a:lnTo>
                  <a:lnTo>
                    <a:pt x="4100291" y="1336076"/>
                  </a:lnTo>
                  <a:lnTo>
                    <a:pt x="4101864" y="1337650"/>
                  </a:lnTo>
                  <a:lnTo>
                    <a:pt x="4099110" y="1337650"/>
                  </a:lnTo>
                  <a:lnTo>
                    <a:pt x="4101864" y="1338830"/>
                  </a:lnTo>
                  <a:lnTo>
                    <a:pt x="4103045" y="1339617"/>
                  </a:lnTo>
                  <a:lnTo>
                    <a:pt x="4103438" y="1340404"/>
                  </a:lnTo>
                  <a:lnTo>
                    <a:pt x="4101471" y="1340010"/>
                  </a:lnTo>
                  <a:lnTo>
                    <a:pt x="4102651" y="1342764"/>
                  </a:lnTo>
                  <a:lnTo>
                    <a:pt x="4099897" y="1341977"/>
                  </a:lnTo>
                  <a:lnTo>
                    <a:pt x="4098324" y="1339223"/>
                  </a:lnTo>
                  <a:lnTo>
                    <a:pt x="4097537" y="1341977"/>
                  </a:lnTo>
                  <a:lnTo>
                    <a:pt x="4100291" y="1343551"/>
                  </a:lnTo>
                  <a:lnTo>
                    <a:pt x="4103438" y="1345125"/>
                  </a:lnTo>
                  <a:lnTo>
                    <a:pt x="4106585" y="1345518"/>
                  </a:lnTo>
                  <a:lnTo>
                    <a:pt x="4105798" y="1348665"/>
                  </a:lnTo>
                  <a:lnTo>
                    <a:pt x="4107373" y="1351419"/>
                  </a:lnTo>
                  <a:lnTo>
                    <a:pt x="4110126" y="1352993"/>
                  </a:lnTo>
                  <a:lnTo>
                    <a:pt x="4110913" y="1350633"/>
                  </a:lnTo>
                  <a:lnTo>
                    <a:pt x="4115634" y="1347879"/>
                  </a:lnTo>
                  <a:lnTo>
                    <a:pt x="4117995" y="1349059"/>
                  </a:lnTo>
                  <a:lnTo>
                    <a:pt x="4118388" y="1346305"/>
                  </a:lnTo>
                  <a:lnTo>
                    <a:pt x="4118388" y="1346305"/>
                  </a:lnTo>
                  <a:lnTo>
                    <a:pt x="4123896" y="1343157"/>
                  </a:lnTo>
                  <a:lnTo>
                    <a:pt x="4127044" y="1345518"/>
                  </a:lnTo>
                  <a:lnTo>
                    <a:pt x="4129798" y="1347879"/>
                  </a:lnTo>
                  <a:lnTo>
                    <a:pt x="4131765" y="1345518"/>
                  </a:lnTo>
                  <a:lnTo>
                    <a:pt x="4133338" y="1343551"/>
                  </a:lnTo>
                  <a:lnTo>
                    <a:pt x="4132552" y="1341977"/>
                  </a:lnTo>
                  <a:lnTo>
                    <a:pt x="4129011" y="1333322"/>
                  </a:lnTo>
                  <a:lnTo>
                    <a:pt x="4131765" y="1336076"/>
                  </a:lnTo>
                  <a:lnTo>
                    <a:pt x="4132945" y="1338830"/>
                  </a:lnTo>
                  <a:lnTo>
                    <a:pt x="4135699" y="1341584"/>
                  </a:lnTo>
                  <a:lnTo>
                    <a:pt x="4134913" y="1338436"/>
                  </a:lnTo>
                  <a:lnTo>
                    <a:pt x="4137273" y="1338043"/>
                  </a:lnTo>
                  <a:lnTo>
                    <a:pt x="4137273" y="1335289"/>
                  </a:lnTo>
                  <a:lnTo>
                    <a:pt x="4136486" y="1335289"/>
                  </a:lnTo>
                  <a:lnTo>
                    <a:pt x="4135305" y="1329781"/>
                  </a:lnTo>
                  <a:lnTo>
                    <a:pt x="4137666" y="1330568"/>
                  </a:lnTo>
                  <a:lnTo>
                    <a:pt x="4154977" y="1334109"/>
                  </a:lnTo>
                  <a:lnTo>
                    <a:pt x="4155763" y="1332928"/>
                  </a:lnTo>
                  <a:lnTo>
                    <a:pt x="4165206" y="1324273"/>
                  </a:lnTo>
                  <a:lnTo>
                    <a:pt x="4166780" y="1323880"/>
                  </a:lnTo>
                  <a:lnTo>
                    <a:pt x="4167173" y="1323880"/>
                  </a:lnTo>
                  <a:lnTo>
                    <a:pt x="4168354" y="1327027"/>
                  </a:lnTo>
                  <a:lnTo>
                    <a:pt x="4171500" y="1325060"/>
                  </a:lnTo>
                  <a:lnTo>
                    <a:pt x="4173861" y="1322306"/>
                  </a:lnTo>
                  <a:lnTo>
                    <a:pt x="4173861" y="1319158"/>
                  </a:lnTo>
                  <a:lnTo>
                    <a:pt x="4175042" y="1316405"/>
                  </a:lnTo>
                  <a:lnTo>
                    <a:pt x="4173861" y="1314044"/>
                  </a:lnTo>
                  <a:lnTo>
                    <a:pt x="4173861" y="1311683"/>
                  </a:lnTo>
                  <a:lnTo>
                    <a:pt x="4175042" y="1312864"/>
                  </a:lnTo>
                  <a:lnTo>
                    <a:pt x="4175435" y="1310110"/>
                  </a:lnTo>
                  <a:lnTo>
                    <a:pt x="4173861" y="1306962"/>
                  </a:lnTo>
                  <a:lnTo>
                    <a:pt x="4173468" y="1304208"/>
                  </a:lnTo>
                  <a:lnTo>
                    <a:pt x="4173075" y="1301061"/>
                  </a:lnTo>
                  <a:lnTo>
                    <a:pt x="4172288" y="1298307"/>
                  </a:lnTo>
                  <a:lnTo>
                    <a:pt x="4172288" y="1295553"/>
                  </a:lnTo>
                  <a:lnTo>
                    <a:pt x="4170714" y="1292799"/>
                  </a:lnTo>
                  <a:lnTo>
                    <a:pt x="4169140" y="1295160"/>
                  </a:lnTo>
                  <a:lnTo>
                    <a:pt x="4162452" y="1281783"/>
                  </a:lnTo>
                  <a:lnTo>
                    <a:pt x="4161665" y="1279423"/>
                  </a:lnTo>
                  <a:lnTo>
                    <a:pt x="4160091" y="1276668"/>
                  </a:lnTo>
                  <a:lnTo>
                    <a:pt x="4158518" y="1273914"/>
                  </a:lnTo>
                  <a:lnTo>
                    <a:pt x="4158911" y="1270767"/>
                  </a:lnTo>
                  <a:lnTo>
                    <a:pt x="4157338" y="1268013"/>
                  </a:lnTo>
                  <a:lnTo>
                    <a:pt x="4154977" y="1264866"/>
                  </a:lnTo>
                  <a:lnTo>
                    <a:pt x="4153403" y="1262112"/>
                  </a:lnTo>
                  <a:lnTo>
                    <a:pt x="4152617" y="1259358"/>
                  </a:lnTo>
                  <a:lnTo>
                    <a:pt x="4149862" y="1256604"/>
                  </a:lnTo>
                  <a:lnTo>
                    <a:pt x="4149469" y="1256604"/>
                  </a:lnTo>
                  <a:lnTo>
                    <a:pt x="4147895" y="1253850"/>
                  </a:lnTo>
                  <a:lnTo>
                    <a:pt x="4145141" y="1251096"/>
                  </a:lnTo>
                  <a:lnTo>
                    <a:pt x="4141993" y="1248342"/>
                  </a:lnTo>
                  <a:lnTo>
                    <a:pt x="4140420" y="1247161"/>
                  </a:lnTo>
                  <a:lnTo>
                    <a:pt x="4136880" y="1243621"/>
                  </a:lnTo>
                  <a:lnTo>
                    <a:pt x="4135305" y="1241654"/>
                  </a:lnTo>
                  <a:lnTo>
                    <a:pt x="4132945" y="1238900"/>
                  </a:lnTo>
                  <a:lnTo>
                    <a:pt x="4130191" y="1236539"/>
                  </a:lnTo>
                  <a:lnTo>
                    <a:pt x="4127437" y="1234572"/>
                  </a:lnTo>
                  <a:lnTo>
                    <a:pt x="4108946" y="1217261"/>
                  </a:lnTo>
                  <a:lnTo>
                    <a:pt x="4102258" y="1210573"/>
                  </a:lnTo>
                  <a:lnTo>
                    <a:pt x="4100684" y="1208606"/>
                  </a:lnTo>
                  <a:lnTo>
                    <a:pt x="4098717" y="1207032"/>
                  </a:lnTo>
                  <a:lnTo>
                    <a:pt x="4096357" y="1204278"/>
                  </a:lnTo>
                  <a:lnTo>
                    <a:pt x="4093603" y="1203098"/>
                  </a:lnTo>
                  <a:lnTo>
                    <a:pt x="4090848" y="1201524"/>
                  </a:lnTo>
                  <a:lnTo>
                    <a:pt x="4088094" y="1199557"/>
                  </a:lnTo>
                  <a:lnTo>
                    <a:pt x="4084947" y="1198770"/>
                  </a:lnTo>
                  <a:lnTo>
                    <a:pt x="4082193" y="1196410"/>
                  </a:lnTo>
                  <a:lnTo>
                    <a:pt x="4079045" y="1194442"/>
                  </a:lnTo>
                  <a:lnTo>
                    <a:pt x="4076291" y="1191688"/>
                  </a:lnTo>
                  <a:lnTo>
                    <a:pt x="4073144" y="1190115"/>
                  </a:lnTo>
                  <a:lnTo>
                    <a:pt x="4070390" y="1189328"/>
                  </a:lnTo>
                  <a:lnTo>
                    <a:pt x="4068030" y="1189328"/>
                  </a:lnTo>
                  <a:lnTo>
                    <a:pt x="4066063" y="1188148"/>
                  </a:lnTo>
                  <a:lnTo>
                    <a:pt x="4060554" y="1180672"/>
                  </a:lnTo>
                  <a:lnTo>
                    <a:pt x="4062129" y="1179886"/>
                  </a:lnTo>
                  <a:lnTo>
                    <a:pt x="4064096" y="1183033"/>
                  </a:lnTo>
                  <a:lnTo>
                    <a:pt x="4063308" y="1179886"/>
                  </a:lnTo>
                  <a:lnTo>
                    <a:pt x="4062521" y="1178312"/>
                  </a:lnTo>
                  <a:lnTo>
                    <a:pt x="4066063" y="1160608"/>
                  </a:lnTo>
                  <a:lnTo>
                    <a:pt x="4068817" y="1159427"/>
                  </a:lnTo>
                  <a:lnTo>
                    <a:pt x="4071964" y="1159821"/>
                  </a:lnTo>
                  <a:lnTo>
                    <a:pt x="4074718" y="1159427"/>
                  </a:lnTo>
                  <a:lnTo>
                    <a:pt x="4077472" y="1157067"/>
                  </a:lnTo>
                  <a:lnTo>
                    <a:pt x="4080226" y="1154706"/>
                  </a:lnTo>
                  <a:lnTo>
                    <a:pt x="4080226" y="1151952"/>
                  </a:lnTo>
                  <a:lnTo>
                    <a:pt x="4082979" y="1149592"/>
                  </a:lnTo>
                  <a:lnTo>
                    <a:pt x="4085340" y="1146444"/>
                  </a:lnTo>
                  <a:lnTo>
                    <a:pt x="4088488" y="1145264"/>
                  </a:lnTo>
                  <a:lnTo>
                    <a:pt x="4089669" y="1142117"/>
                  </a:lnTo>
                  <a:lnTo>
                    <a:pt x="4089669" y="1141723"/>
                  </a:lnTo>
                  <a:lnTo>
                    <a:pt x="4090455" y="1137789"/>
                  </a:lnTo>
                  <a:lnTo>
                    <a:pt x="4092028" y="1135822"/>
                  </a:lnTo>
                  <a:lnTo>
                    <a:pt x="4094782" y="1134248"/>
                  </a:lnTo>
                  <a:lnTo>
                    <a:pt x="4097537" y="1132674"/>
                  </a:lnTo>
                  <a:lnTo>
                    <a:pt x="4099110" y="1129921"/>
                  </a:lnTo>
                  <a:lnTo>
                    <a:pt x="4097143" y="1126773"/>
                  </a:lnTo>
                  <a:lnTo>
                    <a:pt x="4095570" y="1124019"/>
                  </a:lnTo>
                  <a:lnTo>
                    <a:pt x="4093996" y="1121265"/>
                  </a:lnTo>
                  <a:lnTo>
                    <a:pt x="4093603" y="1118511"/>
                  </a:lnTo>
                  <a:lnTo>
                    <a:pt x="4093209" y="1116151"/>
                  </a:lnTo>
                  <a:lnTo>
                    <a:pt x="4092422" y="1114183"/>
                  </a:lnTo>
                  <a:lnTo>
                    <a:pt x="4088094" y="1094512"/>
                  </a:lnTo>
                  <a:lnTo>
                    <a:pt x="4087701" y="1093725"/>
                  </a:lnTo>
                  <a:lnTo>
                    <a:pt x="4088488" y="1093332"/>
                  </a:lnTo>
                  <a:lnTo>
                    <a:pt x="4101077" y="1083890"/>
                  </a:lnTo>
                  <a:lnTo>
                    <a:pt x="4105012" y="1072480"/>
                  </a:lnTo>
                  <a:lnTo>
                    <a:pt x="4106192" y="1072874"/>
                  </a:lnTo>
                  <a:lnTo>
                    <a:pt x="4108946" y="1074054"/>
                  </a:lnTo>
                  <a:lnTo>
                    <a:pt x="4109340" y="1071300"/>
                  </a:lnTo>
                  <a:lnTo>
                    <a:pt x="4108159" y="1068546"/>
                  </a:lnTo>
                  <a:lnTo>
                    <a:pt x="4110519" y="1065398"/>
                  </a:lnTo>
                  <a:lnTo>
                    <a:pt x="4108159" y="1063038"/>
                  </a:lnTo>
                  <a:lnTo>
                    <a:pt x="4108159" y="1062645"/>
                  </a:lnTo>
                  <a:lnTo>
                    <a:pt x="4110913" y="1062251"/>
                  </a:lnTo>
                  <a:lnTo>
                    <a:pt x="4110913" y="1059497"/>
                  </a:lnTo>
                  <a:lnTo>
                    <a:pt x="4111700" y="1056743"/>
                  </a:lnTo>
                  <a:lnTo>
                    <a:pt x="4111307" y="1053989"/>
                  </a:lnTo>
                  <a:lnTo>
                    <a:pt x="4111700" y="1051235"/>
                  </a:lnTo>
                  <a:lnTo>
                    <a:pt x="4111700" y="1050842"/>
                  </a:lnTo>
                  <a:lnTo>
                    <a:pt x="4117601" y="1053202"/>
                  </a:lnTo>
                  <a:lnTo>
                    <a:pt x="4117601" y="1053989"/>
                  </a:lnTo>
                  <a:lnTo>
                    <a:pt x="4117995" y="1056743"/>
                  </a:lnTo>
                  <a:lnTo>
                    <a:pt x="4120749" y="1058317"/>
                  </a:lnTo>
                  <a:lnTo>
                    <a:pt x="4122716" y="1055563"/>
                  </a:lnTo>
                  <a:lnTo>
                    <a:pt x="4123110" y="1055170"/>
                  </a:lnTo>
                  <a:lnTo>
                    <a:pt x="4130978" y="1058317"/>
                  </a:lnTo>
                  <a:lnTo>
                    <a:pt x="4130978" y="1058317"/>
                  </a:lnTo>
                  <a:lnTo>
                    <a:pt x="4132158" y="1061071"/>
                  </a:lnTo>
                  <a:lnTo>
                    <a:pt x="4133732" y="1063825"/>
                  </a:lnTo>
                  <a:lnTo>
                    <a:pt x="4136880" y="1062251"/>
                  </a:lnTo>
                  <a:lnTo>
                    <a:pt x="4139633" y="1063431"/>
                  </a:lnTo>
                  <a:lnTo>
                    <a:pt x="4142387" y="1065398"/>
                  </a:lnTo>
                  <a:lnTo>
                    <a:pt x="4145535" y="1065005"/>
                  </a:lnTo>
                  <a:lnTo>
                    <a:pt x="4147502" y="1065005"/>
                  </a:lnTo>
                  <a:lnTo>
                    <a:pt x="4149862" y="1067759"/>
                  </a:lnTo>
                  <a:lnTo>
                    <a:pt x="4153010" y="1066185"/>
                  </a:lnTo>
                  <a:lnTo>
                    <a:pt x="4155763" y="1067366"/>
                  </a:lnTo>
                  <a:lnTo>
                    <a:pt x="4157338" y="1070120"/>
                  </a:lnTo>
                  <a:lnTo>
                    <a:pt x="4160091" y="1070513"/>
                  </a:lnTo>
                  <a:lnTo>
                    <a:pt x="4163239" y="1068546"/>
                  </a:lnTo>
                  <a:lnTo>
                    <a:pt x="4165993" y="1068153"/>
                  </a:lnTo>
                  <a:lnTo>
                    <a:pt x="4168747" y="1066185"/>
                  </a:lnTo>
                  <a:lnTo>
                    <a:pt x="4171500" y="1065005"/>
                  </a:lnTo>
                  <a:lnTo>
                    <a:pt x="4174255" y="1065005"/>
                  </a:lnTo>
                  <a:lnTo>
                    <a:pt x="4177009" y="1063825"/>
                  </a:lnTo>
                  <a:lnTo>
                    <a:pt x="4179763" y="1061071"/>
                  </a:lnTo>
                  <a:lnTo>
                    <a:pt x="4181730" y="1058317"/>
                  </a:lnTo>
                  <a:lnTo>
                    <a:pt x="4184878" y="1055956"/>
                  </a:lnTo>
                  <a:lnTo>
                    <a:pt x="4187631" y="1053989"/>
                  </a:lnTo>
                  <a:lnTo>
                    <a:pt x="4190385" y="1051629"/>
                  </a:lnTo>
                  <a:lnTo>
                    <a:pt x="4193139" y="1048875"/>
                  </a:lnTo>
                  <a:lnTo>
                    <a:pt x="4195500" y="1046121"/>
                  </a:lnTo>
                  <a:lnTo>
                    <a:pt x="4198254" y="1043760"/>
                  </a:lnTo>
                  <a:lnTo>
                    <a:pt x="4198648" y="1041006"/>
                  </a:lnTo>
                  <a:lnTo>
                    <a:pt x="4198254" y="1037859"/>
                  </a:lnTo>
                  <a:lnTo>
                    <a:pt x="4201008" y="1036285"/>
                  </a:lnTo>
                  <a:lnTo>
                    <a:pt x="4201401" y="1034318"/>
                  </a:lnTo>
                  <a:lnTo>
                    <a:pt x="4201795" y="1031564"/>
                  </a:lnTo>
                  <a:lnTo>
                    <a:pt x="4201795" y="1031564"/>
                  </a:lnTo>
                  <a:lnTo>
                    <a:pt x="4205336" y="1011499"/>
                  </a:lnTo>
                  <a:lnTo>
                    <a:pt x="4206122" y="1011499"/>
                  </a:lnTo>
                  <a:lnTo>
                    <a:pt x="4206516" y="1008352"/>
                  </a:lnTo>
                  <a:lnTo>
                    <a:pt x="4206122" y="1007565"/>
                  </a:lnTo>
                  <a:lnTo>
                    <a:pt x="4207303" y="1002057"/>
                  </a:lnTo>
                  <a:lnTo>
                    <a:pt x="4208876" y="1001663"/>
                  </a:lnTo>
                  <a:lnTo>
                    <a:pt x="4208483" y="998516"/>
                  </a:lnTo>
                  <a:lnTo>
                    <a:pt x="4208483" y="996549"/>
                  </a:lnTo>
                  <a:lnTo>
                    <a:pt x="4208876" y="993795"/>
                  </a:lnTo>
                  <a:lnTo>
                    <a:pt x="4210843" y="990647"/>
                  </a:lnTo>
                  <a:lnTo>
                    <a:pt x="4210057" y="987894"/>
                  </a:lnTo>
                  <a:lnTo>
                    <a:pt x="4212024" y="985140"/>
                  </a:lnTo>
                  <a:lnTo>
                    <a:pt x="4213991" y="982386"/>
                  </a:lnTo>
                  <a:lnTo>
                    <a:pt x="4215565" y="979238"/>
                  </a:lnTo>
                  <a:lnTo>
                    <a:pt x="4215958" y="976484"/>
                  </a:lnTo>
                  <a:lnTo>
                    <a:pt x="4216745" y="973730"/>
                  </a:lnTo>
                  <a:lnTo>
                    <a:pt x="4219106" y="970976"/>
                  </a:lnTo>
                  <a:lnTo>
                    <a:pt x="4220679" y="968222"/>
                  </a:lnTo>
                  <a:lnTo>
                    <a:pt x="4220679" y="965075"/>
                  </a:lnTo>
                  <a:lnTo>
                    <a:pt x="4221073" y="962321"/>
                  </a:lnTo>
                  <a:lnTo>
                    <a:pt x="4222253" y="959567"/>
                  </a:lnTo>
                  <a:lnTo>
                    <a:pt x="4222646" y="956813"/>
                  </a:lnTo>
                  <a:lnTo>
                    <a:pt x="4223826" y="954059"/>
                  </a:lnTo>
                  <a:lnTo>
                    <a:pt x="4222646" y="951305"/>
                  </a:lnTo>
                  <a:lnTo>
                    <a:pt x="4221859" y="948551"/>
                  </a:lnTo>
                  <a:lnTo>
                    <a:pt x="4221859" y="945403"/>
                  </a:lnTo>
                  <a:lnTo>
                    <a:pt x="4223434" y="942650"/>
                  </a:lnTo>
                  <a:lnTo>
                    <a:pt x="4221466" y="939895"/>
                  </a:lnTo>
                  <a:lnTo>
                    <a:pt x="4220679" y="936748"/>
                  </a:lnTo>
                  <a:lnTo>
                    <a:pt x="4220286" y="933994"/>
                  </a:lnTo>
                  <a:lnTo>
                    <a:pt x="4220286" y="933601"/>
                  </a:lnTo>
                  <a:lnTo>
                    <a:pt x="4223434" y="915110"/>
                  </a:lnTo>
                  <a:lnTo>
                    <a:pt x="4228547" y="884422"/>
                  </a:lnTo>
                  <a:lnTo>
                    <a:pt x="4228941" y="881668"/>
                  </a:lnTo>
                  <a:lnTo>
                    <a:pt x="4229728" y="878521"/>
                  </a:lnTo>
                  <a:lnTo>
                    <a:pt x="4227368" y="876160"/>
                  </a:lnTo>
                  <a:lnTo>
                    <a:pt x="4223434" y="866718"/>
                  </a:lnTo>
                  <a:lnTo>
                    <a:pt x="4224220" y="864358"/>
                  </a:lnTo>
                  <a:lnTo>
                    <a:pt x="4222253" y="861210"/>
                  </a:lnTo>
                  <a:lnTo>
                    <a:pt x="4221073" y="861210"/>
                  </a:lnTo>
                  <a:lnTo>
                    <a:pt x="4221073" y="860817"/>
                  </a:lnTo>
                  <a:lnTo>
                    <a:pt x="4219892" y="858063"/>
                  </a:lnTo>
                  <a:lnTo>
                    <a:pt x="4218319" y="854915"/>
                  </a:lnTo>
                  <a:lnTo>
                    <a:pt x="4217138" y="852555"/>
                  </a:lnTo>
                  <a:lnTo>
                    <a:pt x="4215565" y="852555"/>
                  </a:lnTo>
                  <a:lnTo>
                    <a:pt x="4215958" y="849801"/>
                  </a:lnTo>
                  <a:lnTo>
                    <a:pt x="4214777" y="847047"/>
                  </a:lnTo>
                  <a:lnTo>
                    <a:pt x="4214777" y="843899"/>
                  </a:lnTo>
                  <a:lnTo>
                    <a:pt x="4212417" y="841146"/>
                  </a:lnTo>
                  <a:lnTo>
                    <a:pt x="4210057" y="837998"/>
                  </a:lnTo>
                  <a:lnTo>
                    <a:pt x="4207697" y="836424"/>
                  </a:lnTo>
                  <a:lnTo>
                    <a:pt x="4204155" y="828949"/>
                  </a:lnTo>
                  <a:lnTo>
                    <a:pt x="4205729" y="826195"/>
                  </a:lnTo>
                  <a:lnTo>
                    <a:pt x="4203368" y="826589"/>
                  </a:lnTo>
                  <a:lnTo>
                    <a:pt x="4178582" y="766395"/>
                  </a:lnTo>
                  <a:lnTo>
                    <a:pt x="4178976" y="766001"/>
                  </a:lnTo>
                  <a:lnTo>
                    <a:pt x="4178189" y="765608"/>
                  </a:lnTo>
                  <a:lnTo>
                    <a:pt x="4174648" y="756952"/>
                  </a:lnTo>
                  <a:lnTo>
                    <a:pt x="4158518" y="746330"/>
                  </a:lnTo>
                  <a:lnTo>
                    <a:pt x="4158911" y="745149"/>
                  </a:lnTo>
                  <a:lnTo>
                    <a:pt x="4156944" y="742395"/>
                  </a:lnTo>
                  <a:lnTo>
                    <a:pt x="4154190" y="740035"/>
                  </a:lnTo>
                  <a:lnTo>
                    <a:pt x="4151829" y="737281"/>
                  </a:lnTo>
                  <a:lnTo>
                    <a:pt x="4149075" y="736101"/>
                  </a:lnTo>
                  <a:lnTo>
                    <a:pt x="4145928" y="735314"/>
                  </a:lnTo>
                  <a:lnTo>
                    <a:pt x="4142781" y="734134"/>
                  </a:lnTo>
                  <a:lnTo>
                    <a:pt x="4140026" y="732166"/>
                  </a:lnTo>
                  <a:lnTo>
                    <a:pt x="4137273" y="730593"/>
                  </a:lnTo>
                  <a:lnTo>
                    <a:pt x="4134125" y="729412"/>
                  </a:lnTo>
                  <a:lnTo>
                    <a:pt x="4130978" y="728232"/>
                  </a:lnTo>
                  <a:lnTo>
                    <a:pt x="4130978" y="727839"/>
                  </a:lnTo>
                  <a:lnTo>
                    <a:pt x="4130584" y="727445"/>
                  </a:lnTo>
                  <a:lnTo>
                    <a:pt x="4133732" y="727445"/>
                  </a:lnTo>
                  <a:lnTo>
                    <a:pt x="4136486" y="729019"/>
                  </a:lnTo>
                  <a:lnTo>
                    <a:pt x="4139240" y="729412"/>
                  </a:lnTo>
                  <a:lnTo>
                    <a:pt x="4142387" y="730593"/>
                  </a:lnTo>
                  <a:lnTo>
                    <a:pt x="4145141" y="731773"/>
                  </a:lnTo>
                  <a:lnTo>
                    <a:pt x="4144748" y="729019"/>
                  </a:lnTo>
                  <a:lnTo>
                    <a:pt x="4147502" y="729019"/>
                  </a:lnTo>
                  <a:lnTo>
                    <a:pt x="4147502" y="726265"/>
                  </a:lnTo>
                  <a:lnTo>
                    <a:pt x="4144748" y="724691"/>
                  </a:lnTo>
                  <a:lnTo>
                    <a:pt x="4143174" y="721544"/>
                  </a:lnTo>
                  <a:lnTo>
                    <a:pt x="4140026" y="721150"/>
                  </a:lnTo>
                  <a:lnTo>
                    <a:pt x="4136880" y="720757"/>
                  </a:lnTo>
                  <a:lnTo>
                    <a:pt x="4133732" y="719577"/>
                  </a:lnTo>
                  <a:lnTo>
                    <a:pt x="4130978" y="718397"/>
                  </a:lnTo>
                  <a:lnTo>
                    <a:pt x="4128224" y="717610"/>
                  </a:lnTo>
                  <a:lnTo>
                    <a:pt x="4125077" y="714856"/>
                  </a:lnTo>
                  <a:lnTo>
                    <a:pt x="4122322" y="714069"/>
                  </a:lnTo>
                  <a:lnTo>
                    <a:pt x="4119175" y="713282"/>
                  </a:lnTo>
                  <a:lnTo>
                    <a:pt x="4116421" y="711708"/>
                  </a:lnTo>
                  <a:lnTo>
                    <a:pt x="4113274" y="710921"/>
                  </a:lnTo>
                  <a:lnTo>
                    <a:pt x="4110519" y="708954"/>
                  </a:lnTo>
                  <a:lnTo>
                    <a:pt x="4107373" y="707381"/>
                  </a:lnTo>
                  <a:lnTo>
                    <a:pt x="4104225" y="706594"/>
                  </a:lnTo>
                  <a:lnTo>
                    <a:pt x="4101077" y="705020"/>
                  </a:lnTo>
                  <a:lnTo>
                    <a:pt x="4098324" y="703053"/>
                  </a:lnTo>
                  <a:lnTo>
                    <a:pt x="4095963" y="699905"/>
                  </a:lnTo>
                  <a:lnTo>
                    <a:pt x="4092815" y="697545"/>
                  </a:lnTo>
                  <a:lnTo>
                    <a:pt x="4090061" y="696365"/>
                  </a:lnTo>
                  <a:lnTo>
                    <a:pt x="4086914" y="695971"/>
                  </a:lnTo>
                  <a:lnTo>
                    <a:pt x="4085734" y="695578"/>
                  </a:lnTo>
                  <a:lnTo>
                    <a:pt x="4082587" y="694004"/>
                  </a:lnTo>
                  <a:lnTo>
                    <a:pt x="4079439" y="692824"/>
                  </a:lnTo>
                  <a:lnTo>
                    <a:pt x="4076685" y="690463"/>
                  </a:lnTo>
                  <a:lnTo>
                    <a:pt x="4073538" y="689676"/>
                  </a:lnTo>
                  <a:lnTo>
                    <a:pt x="4070390" y="692037"/>
                  </a:lnTo>
                  <a:lnTo>
                    <a:pt x="4067636" y="693217"/>
                  </a:lnTo>
                  <a:lnTo>
                    <a:pt x="4064882" y="693611"/>
                  </a:lnTo>
                  <a:lnTo>
                    <a:pt x="4061735" y="693217"/>
                  </a:lnTo>
                  <a:lnTo>
                    <a:pt x="4058981" y="692824"/>
                  </a:lnTo>
                  <a:lnTo>
                    <a:pt x="4056227" y="692430"/>
                  </a:lnTo>
                  <a:lnTo>
                    <a:pt x="4053080" y="691644"/>
                  </a:lnTo>
                  <a:lnTo>
                    <a:pt x="4049932" y="690463"/>
                  </a:lnTo>
                  <a:lnTo>
                    <a:pt x="4047178" y="690857"/>
                  </a:lnTo>
                  <a:lnTo>
                    <a:pt x="4050326" y="692037"/>
                  </a:lnTo>
                  <a:lnTo>
                    <a:pt x="4052686" y="694791"/>
                  </a:lnTo>
                  <a:lnTo>
                    <a:pt x="4053472" y="697938"/>
                  </a:lnTo>
                  <a:lnTo>
                    <a:pt x="4056227" y="698332"/>
                  </a:lnTo>
                  <a:lnTo>
                    <a:pt x="4058194" y="701086"/>
                  </a:lnTo>
                  <a:lnTo>
                    <a:pt x="4033801" y="705020"/>
                  </a:lnTo>
                  <a:lnTo>
                    <a:pt x="4035375" y="702659"/>
                  </a:lnTo>
                  <a:lnTo>
                    <a:pt x="4032228" y="702266"/>
                  </a:lnTo>
                  <a:lnTo>
                    <a:pt x="4029474" y="702266"/>
                  </a:lnTo>
                  <a:lnTo>
                    <a:pt x="4026326" y="701086"/>
                  </a:lnTo>
                  <a:lnTo>
                    <a:pt x="4023573" y="699512"/>
                  </a:lnTo>
                  <a:lnTo>
                    <a:pt x="4020819" y="699119"/>
                  </a:lnTo>
                  <a:lnTo>
                    <a:pt x="4018064" y="696758"/>
                  </a:lnTo>
                  <a:lnTo>
                    <a:pt x="4021212" y="696365"/>
                  </a:lnTo>
                  <a:lnTo>
                    <a:pt x="4022786" y="693217"/>
                  </a:lnTo>
                  <a:lnTo>
                    <a:pt x="4023573" y="690070"/>
                  </a:lnTo>
                  <a:lnTo>
                    <a:pt x="4020425" y="690463"/>
                  </a:lnTo>
                  <a:lnTo>
                    <a:pt x="4017277" y="690070"/>
                  </a:lnTo>
                  <a:lnTo>
                    <a:pt x="4014524" y="691250"/>
                  </a:lnTo>
                  <a:lnTo>
                    <a:pt x="4012163" y="694004"/>
                  </a:lnTo>
                  <a:lnTo>
                    <a:pt x="4013343" y="696758"/>
                  </a:lnTo>
                  <a:lnTo>
                    <a:pt x="4016491" y="698725"/>
                  </a:lnTo>
                  <a:lnTo>
                    <a:pt x="4019638" y="699119"/>
                  </a:lnTo>
                  <a:lnTo>
                    <a:pt x="4020819" y="701873"/>
                  </a:lnTo>
                  <a:lnTo>
                    <a:pt x="4021606" y="705020"/>
                  </a:lnTo>
                  <a:lnTo>
                    <a:pt x="4018852" y="705413"/>
                  </a:lnTo>
                  <a:lnTo>
                    <a:pt x="4016097" y="705020"/>
                  </a:lnTo>
                  <a:lnTo>
                    <a:pt x="4014130" y="707774"/>
                  </a:lnTo>
                  <a:lnTo>
                    <a:pt x="4009409" y="705413"/>
                  </a:lnTo>
                  <a:lnTo>
                    <a:pt x="4008228" y="704233"/>
                  </a:lnTo>
                  <a:lnTo>
                    <a:pt x="4006261" y="701086"/>
                  </a:lnTo>
                  <a:lnTo>
                    <a:pt x="4006261" y="698332"/>
                  </a:lnTo>
                  <a:lnTo>
                    <a:pt x="4004688" y="695578"/>
                  </a:lnTo>
                  <a:lnTo>
                    <a:pt x="4001540" y="693611"/>
                  </a:lnTo>
                  <a:lnTo>
                    <a:pt x="4000754" y="690463"/>
                  </a:lnTo>
                  <a:lnTo>
                    <a:pt x="3997606" y="688890"/>
                  </a:lnTo>
                  <a:lnTo>
                    <a:pt x="3997213" y="686136"/>
                  </a:lnTo>
                  <a:lnTo>
                    <a:pt x="3994852" y="682988"/>
                  </a:lnTo>
                  <a:lnTo>
                    <a:pt x="3991705" y="680234"/>
                  </a:lnTo>
                  <a:lnTo>
                    <a:pt x="3988951" y="680628"/>
                  </a:lnTo>
                  <a:lnTo>
                    <a:pt x="3986197" y="681021"/>
                  </a:lnTo>
                  <a:lnTo>
                    <a:pt x="3983050" y="680628"/>
                  </a:lnTo>
                  <a:lnTo>
                    <a:pt x="3979902" y="680234"/>
                  </a:lnTo>
                  <a:lnTo>
                    <a:pt x="3976754" y="679841"/>
                  </a:lnTo>
                  <a:lnTo>
                    <a:pt x="3974001" y="680234"/>
                  </a:lnTo>
                  <a:lnTo>
                    <a:pt x="3971247" y="681021"/>
                  </a:lnTo>
                  <a:lnTo>
                    <a:pt x="3968493" y="681021"/>
                  </a:lnTo>
                  <a:lnTo>
                    <a:pt x="3965345" y="680628"/>
                  </a:lnTo>
                  <a:lnTo>
                    <a:pt x="3962198" y="678267"/>
                  </a:lnTo>
                  <a:lnTo>
                    <a:pt x="3959050" y="677874"/>
                  </a:lnTo>
                  <a:lnTo>
                    <a:pt x="3956296" y="677480"/>
                  </a:lnTo>
                  <a:lnTo>
                    <a:pt x="3953543" y="676693"/>
                  </a:lnTo>
                  <a:lnTo>
                    <a:pt x="3950395" y="677087"/>
                  </a:lnTo>
                  <a:lnTo>
                    <a:pt x="3944887" y="667644"/>
                  </a:lnTo>
                  <a:lnTo>
                    <a:pt x="3946461" y="664497"/>
                  </a:lnTo>
                  <a:lnTo>
                    <a:pt x="3949608" y="662923"/>
                  </a:lnTo>
                  <a:lnTo>
                    <a:pt x="3952362" y="660956"/>
                  </a:lnTo>
                  <a:lnTo>
                    <a:pt x="3954723" y="658202"/>
                  </a:lnTo>
                  <a:lnTo>
                    <a:pt x="3957083" y="655448"/>
                  </a:lnTo>
                  <a:lnTo>
                    <a:pt x="3956296" y="652301"/>
                  </a:lnTo>
                  <a:lnTo>
                    <a:pt x="3956690" y="649547"/>
                  </a:lnTo>
                  <a:lnTo>
                    <a:pt x="3959444" y="647580"/>
                  </a:lnTo>
                  <a:lnTo>
                    <a:pt x="3962592" y="646793"/>
                  </a:lnTo>
                  <a:lnTo>
                    <a:pt x="3963772" y="644039"/>
                  </a:lnTo>
                  <a:lnTo>
                    <a:pt x="3966526" y="642465"/>
                  </a:lnTo>
                  <a:lnTo>
                    <a:pt x="3966919" y="639711"/>
                  </a:lnTo>
                  <a:lnTo>
                    <a:pt x="3969673" y="637351"/>
                  </a:lnTo>
                  <a:lnTo>
                    <a:pt x="3969673" y="634597"/>
                  </a:lnTo>
                  <a:lnTo>
                    <a:pt x="3972820" y="631843"/>
                  </a:lnTo>
                  <a:lnTo>
                    <a:pt x="3972427" y="629089"/>
                  </a:lnTo>
                  <a:lnTo>
                    <a:pt x="3973214" y="626335"/>
                  </a:lnTo>
                  <a:lnTo>
                    <a:pt x="3974787" y="623187"/>
                  </a:lnTo>
                  <a:lnTo>
                    <a:pt x="3977542" y="622400"/>
                  </a:lnTo>
                  <a:lnTo>
                    <a:pt x="3974394" y="620827"/>
                  </a:lnTo>
                  <a:lnTo>
                    <a:pt x="3971641" y="618466"/>
                  </a:lnTo>
                  <a:lnTo>
                    <a:pt x="3973214" y="615319"/>
                  </a:lnTo>
                  <a:lnTo>
                    <a:pt x="3974001" y="612565"/>
                  </a:lnTo>
                  <a:lnTo>
                    <a:pt x="3973214" y="610204"/>
                  </a:lnTo>
                  <a:lnTo>
                    <a:pt x="3975968" y="604696"/>
                  </a:lnTo>
                  <a:lnTo>
                    <a:pt x="3976754" y="603909"/>
                  </a:lnTo>
                  <a:lnTo>
                    <a:pt x="3977148" y="602729"/>
                  </a:lnTo>
                  <a:lnTo>
                    <a:pt x="3979902" y="597221"/>
                  </a:lnTo>
                  <a:lnTo>
                    <a:pt x="3981476" y="595647"/>
                  </a:lnTo>
                  <a:lnTo>
                    <a:pt x="3984623" y="594467"/>
                  </a:lnTo>
                  <a:lnTo>
                    <a:pt x="3984623" y="591713"/>
                  </a:lnTo>
                  <a:lnTo>
                    <a:pt x="3987378" y="588959"/>
                  </a:lnTo>
                  <a:lnTo>
                    <a:pt x="3986984" y="583451"/>
                  </a:lnTo>
                  <a:lnTo>
                    <a:pt x="3986984" y="583058"/>
                  </a:lnTo>
                  <a:lnTo>
                    <a:pt x="3989738" y="581484"/>
                  </a:lnTo>
                  <a:lnTo>
                    <a:pt x="3993279" y="581091"/>
                  </a:lnTo>
                  <a:lnTo>
                    <a:pt x="3995246" y="578337"/>
                  </a:lnTo>
                  <a:lnTo>
                    <a:pt x="3992885" y="575189"/>
                  </a:lnTo>
                  <a:lnTo>
                    <a:pt x="3992099" y="574009"/>
                  </a:lnTo>
                  <a:lnTo>
                    <a:pt x="4015704" y="529945"/>
                  </a:lnTo>
                  <a:lnTo>
                    <a:pt x="4018458" y="530339"/>
                  </a:lnTo>
                  <a:lnTo>
                    <a:pt x="4021606" y="531126"/>
                  </a:lnTo>
                  <a:lnTo>
                    <a:pt x="4024753" y="531126"/>
                  </a:lnTo>
                  <a:lnTo>
                    <a:pt x="4027507" y="529945"/>
                  </a:lnTo>
                  <a:lnTo>
                    <a:pt x="4047571" y="529945"/>
                  </a:lnTo>
                  <a:lnTo>
                    <a:pt x="4048359" y="529945"/>
                  </a:lnTo>
                  <a:lnTo>
                    <a:pt x="4051505" y="529945"/>
                  </a:lnTo>
                  <a:lnTo>
                    <a:pt x="4051899" y="529945"/>
                  </a:lnTo>
                  <a:lnTo>
                    <a:pt x="4081406" y="529945"/>
                  </a:lnTo>
                  <a:lnTo>
                    <a:pt x="4081800" y="532699"/>
                  </a:lnTo>
                  <a:lnTo>
                    <a:pt x="4084947" y="534666"/>
                  </a:lnTo>
                  <a:lnTo>
                    <a:pt x="4087701" y="535060"/>
                  </a:lnTo>
                  <a:lnTo>
                    <a:pt x="4090455" y="536634"/>
                  </a:lnTo>
                  <a:lnTo>
                    <a:pt x="4093209" y="535060"/>
                  </a:lnTo>
                  <a:lnTo>
                    <a:pt x="4096357" y="535453"/>
                  </a:lnTo>
                  <a:lnTo>
                    <a:pt x="4091242" y="529945"/>
                  </a:lnTo>
                  <a:lnTo>
                    <a:pt x="4091242" y="529945"/>
                  </a:lnTo>
                  <a:lnTo>
                    <a:pt x="4104618" y="529945"/>
                  </a:lnTo>
                  <a:lnTo>
                    <a:pt x="4104618" y="529945"/>
                  </a:lnTo>
                  <a:lnTo>
                    <a:pt x="4105012" y="529945"/>
                  </a:lnTo>
                  <a:lnTo>
                    <a:pt x="4108159" y="529552"/>
                  </a:lnTo>
                  <a:lnTo>
                    <a:pt x="4110913" y="530339"/>
                  </a:lnTo>
                  <a:lnTo>
                    <a:pt x="4114061" y="530732"/>
                  </a:lnTo>
                  <a:lnTo>
                    <a:pt x="4117208" y="531126"/>
                  </a:lnTo>
                  <a:lnTo>
                    <a:pt x="4119962" y="531912"/>
                  </a:lnTo>
                  <a:lnTo>
                    <a:pt x="4122716" y="533486"/>
                  </a:lnTo>
                  <a:lnTo>
                    <a:pt x="4125864" y="531912"/>
                  </a:lnTo>
                  <a:lnTo>
                    <a:pt x="4129011" y="533093"/>
                  </a:lnTo>
                  <a:lnTo>
                    <a:pt x="4127044" y="529945"/>
                  </a:lnTo>
                  <a:lnTo>
                    <a:pt x="4129798" y="529158"/>
                  </a:lnTo>
                  <a:lnTo>
                    <a:pt x="4132552" y="528765"/>
                  </a:lnTo>
                  <a:lnTo>
                    <a:pt x="4135699" y="528372"/>
                  </a:lnTo>
                  <a:lnTo>
                    <a:pt x="4138847" y="528765"/>
                  </a:lnTo>
                  <a:lnTo>
                    <a:pt x="4141601" y="529945"/>
                  </a:lnTo>
                  <a:lnTo>
                    <a:pt x="4144748" y="533093"/>
                  </a:lnTo>
                  <a:lnTo>
                    <a:pt x="4147895" y="533486"/>
                  </a:lnTo>
                  <a:lnTo>
                    <a:pt x="4150650" y="533093"/>
                  </a:lnTo>
                  <a:lnTo>
                    <a:pt x="4153796" y="532699"/>
                  </a:lnTo>
                  <a:lnTo>
                    <a:pt x="4156944" y="533880"/>
                  </a:lnTo>
                  <a:lnTo>
                    <a:pt x="4154977" y="530732"/>
                  </a:lnTo>
                  <a:lnTo>
                    <a:pt x="4152223" y="529552"/>
                  </a:lnTo>
                  <a:lnTo>
                    <a:pt x="4149469" y="529945"/>
                  </a:lnTo>
                  <a:lnTo>
                    <a:pt x="4146322" y="527978"/>
                  </a:lnTo>
                  <a:lnTo>
                    <a:pt x="4145928" y="525224"/>
                  </a:lnTo>
                  <a:lnTo>
                    <a:pt x="4149075" y="526798"/>
                  </a:lnTo>
                  <a:lnTo>
                    <a:pt x="4151829" y="527191"/>
                  </a:lnTo>
                  <a:lnTo>
                    <a:pt x="4154977" y="526011"/>
                  </a:lnTo>
                  <a:lnTo>
                    <a:pt x="4157731" y="527191"/>
                  </a:lnTo>
                  <a:lnTo>
                    <a:pt x="4154584" y="524831"/>
                  </a:lnTo>
                  <a:lnTo>
                    <a:pt x="4151829" y="524437"/>
                  </a:lnTo>
                  <a:lnTo>
                    <a:pt x="4149862" y="523257"/>
                  </a:lnTo>
                  <a:lnTo>
                    <a:pt x="4169533" y="520110"/>
                  </a:lnTo>
                  <a:lnTo>
                    <a:pt x="4171108" y="520503"/>
                  </a:lnTo>
                  <a:lnTo>
                    <a:pt x="4174255" y="521683"/>
                  </a:lnTo>
                  <a:lnTo>
                    <a:pt x="4177009" y="521683"/>
                  </a:lnTo>
                  <a:lnTo>
                    <a:pt x="4180157" y="522470"/>
                  </a:lnTo>
                  <a:lnTo>
                    <a:pt x="4182910" y="522864"/>
                  </a:lnTo>
                  <a:lnTo>
                    <a:pt x="4186058" y="524437"/>
                  </a:lnTo>
                  <a:lnTo>
                    <a:pt x="4189205" y="526011"/>
                  </a:lnTo>
                  <a:lnTo>
                    <a:pt x="4192352" y="526011"/>
                  </a:lnTo>
                  <a:lnTo>
                    <a:pt x="4195106" y="527978"/>
                  </a:lnTo>
                  <a:lnTo>
                    <a:pt x="4197861" y="526404"/>
                  </a:lnTo>
                  <a:lnTo>
                    <a:pt x="4197467" y="523650"/>
                  </a:lnTo>
                  <a:lnTo>
                    <a:pt x="4200221" y="523257"/>
                  </a:lnTo>
                  <a:lnTo>
                    <a:pt x="4203368" y="523650"/>
                  </a:lnTo>
                  <a:lnTo>
                    <a:pt x="4206516" y="523257"/>
                  </a:lnTo>
                  <a:lnTo>
                    <a:pt x="4209270" y="524831"/>
                  </a:lnTo>
                  <a:lnTo>
                    <a:pt x="4212024" y="526011"/>
                  </a:lnTo>
                  <a:lnTo>
                    <a:pt x="4214777" y="526798"/>
                  </a:lnTo>
                  <a:lnTo>
                    <a:pt x="4217925" y="528372"/>
                  </a:lnTo>
                  <a:lnTo>
                    <a:pt x="4220679" y="529945"/>
                  </a:lnTo>
                  <a:lnTo>
                    <a:pt x="4223434" y="532306"/>
                  </a:lnTo>
                  <a:lnTo>
                    <a:pt x="4226187" y="531912"/>
                  </a:lnTo>
                  <a:lnTo>
                    <a:pt x="4229728" y="533093"/>
                  </a:lnTo>
                  <a:lnTo>
                    <a:pt x="4232875" y="532306"/>
                  </a:lnTo>
                  <a:lnTo>
                    <a:pt x="4235629" y="533093"/>
                  </a:lnTo>
                  <a:lnTo>
                    <a:pt x="4238777" y="535060"/>
                  </a:lnTo>
                  <a:lnTo>
                    <a:pt x="4235629" y="536634"/>
                  </a:lnTo>
                  <a:lnTo>
                    <a:pt x="4226580" y="536634"/>
                  </a:lnTo>
                  <a:lnTo>
                    <a:pt x="4223826" y="536240"/>
                  </a:lnTo>
                  <a:lnTo>
                    <a:pt x="4221073" y="536240"/>
                  </a:lnTo>
                  <a:lnTo>
                    <a:pt x="4217925" y="537814"/>
                  </a:lnTo>
                  <a:lnTo>
                    <a:pt x="4214777" y="538207"/>
                  </a:lnTo>
                  <a:lnTo>
                    <a:pt x="4217925" y="540174"/>
                  </a:lnTo>
                  <a:lnTo>
                    <a:pt x="4220679" y="541748"/>
                  </a:lnTo>
                  <a:lnTo>
                    <a:pt x="4223826" y="543322"/>
                  </a:lnTo>
                  <a:lnTo>
                    <a:pt x="4226580" y="544895"/>
                  </a:lnTo>
                  <a:lnTo>
                    <a:pt x="4229728" y="545289"/>
                  </a:lnTo>
                  <a:lnTo>
                    <a:pt x="4232482" y="545682"/>
                  </a:lnTo>
                  <a:lnTo>
                    <a:pt x="4236023" y="546076"/>
                  </a:lnTo>
                  <a:lnTo>
                    <a:pt x="4239171" y="545289"/>
                  </a:lnTo>
                  <a:lnTo>
                    <a:pt x="4241924" y="544895"/>
                  </a:lnTo>
                  <a:lnTo>
                    <a:pt x="4245072" y="544502"/>
                  </a:lnTo>
                  <a:lnTo>
                    <a:pt x="4243105" y="541748"/>
                  </a:lnTo>
                  <a:lnTo>
                    <a:pt x="4246252" y="540961"/>
                  </a:lnTo>
                  <a:lnTo>
                    <a:pt x="4249006" y="540961"/>
                  </a:lnTo>
                  <a:lnTo>
                    <a:pt x="4252153" y="541748"/>
                  </a:lnTo>
                  <a:lnTo>
                    <a:pt x="4255301" y="542928"/>
                  </a:lnTo>
                  <a:lnTo>
                    <a:pt x="4258448" y="543715"/>
                  </a:lnTo>
                  <a:lnTo>
                    <a:pt x="4261989" y="543322"/>
                  </a:lnTo>
                  <a:lnTo>
                    <a:pt x="4265136" y="544502"/>
                  </a:lnTo>
                  <a:lnTo>
                    <a:pt x="4262382" y="541748"/>
                  </a:lnTo>
                  <a:lnTo>
                    <a:pt x="4263169" y="538601"/>
                  </a:lnTo>
                  <a:lnTo>
                    <a:pt x="4266317" y="537027"/>
                  </a:lnTo>
                  <a:lnTo>
                    <a:pt x="4267890" y="534273"/>
                  </a:lnTo>
                  <a:lnTo>
                    <a:pt x="4271038" y="535060"/>
                  </a:lnTo>
                  <a:lnTo>
                    <a:pt x="4274579" y="535453"/>
                  </a:lnTo>
                  <a:lnTo>
                    <a:pt x="4277726" y="535847"/>
                  </a:lnTo>
                  <a:lnTo>
                    <a:pt x="4280480" y="537027"/>
                  </a:lnTo>
                  <a:lnTo>
                    <a:pt x="4283234" y="538601"/>
                  </a:lnTo>
                  <a:lnTo>
                    <a:pt x="4286382" y="539388"/>
                  </a:lnTo>
                  <a:lnTo>
                    <a:pt x="4289922" y="538207"/>
                  </a:lnTo>
                  <a:lnTo>
                    <a:pt x="4292676" y="537814"/>
                  </a:lnTo>
                  <a:lnTo>
                    <a:pt x="4291103" y="535060"/>
                  </a:lnTo>
                  <a:lnTo>
                    <a:pt x="4294250" y="534666"/>
                  </a:lnTo>
                  <a:lnTo>
                    <a:pt x="4297397" y="535847"/>
                  </a:lnTo>
                  <a:lnTo>
                    <a:pt x="4300545" y="537027"/>
                  </a:lnTo>
                  <a:lnTo>
                    <a:pt x="4303692" y="535453"/>
                  </a:lnTo>
                  <a:lnTo>
                    <a:pt x="4306446" y="535453"/>
                  </a:lnTo>
                  <a:lnTo>
                    <a:pt x="4309594" y="533880"/>
                  </a:lnTo>
                  <a:lnTo>
                    <a:pt x="4306446" y="532306"/>
                  </a:lnTo>
                  <a:lnTo>
                    <a:pt x="4304086" y="529158"/>
                  </a:lnTo>
                  <a:lnTo>
                    <a:pt x="4301331" y="528765"/>
                  </a:lnTo>
                  <a:lnTo>
                    <a:pt x="4298577" y="527191"/>
                  </a:lnTo>
                  <a:lnTo>
                    <a:pt x="4295430" y="525618"/>
                  </a:lnTo>
                  <a:lnTo>
                    <a:pt x="4292676" y="526011"/>
                  </a:lnTo>
                  <a:lnTo>
                    <a:pt x="4289922" y="525224"/>
                  </a:lnTo>
                  <a:lnTo>
                    <a:pt x="4286775" y="523650"/>
                  </a:lnTo>
                  <a:lnTo>
                    <a:pt x="4283627" y="525618"/>
                  </a:lnTo>
                  <a:lnTo>
                    <a:pt x="4286775" y="527585"/>
                  </a:lnTo>
                  <a:lnTo>
                    <a:pt x="4284021" y="526798"/>
                  </a:lnTo>
                  <a:lnTo>
                    <a:pt x="4280873" y="527191"/>
                  </a:lnTo>
                  <a:lnTo>
                    <a:pt x="4277726" y="526798"/>
                  </a:lnTo>
                  <a:lnTo>
                    <a:pt x="4274972" y="524437"/>
                  </a:lnTo>
                  <a:lnTo>
                    <a:pt x="4274972" y="517356"/>
                  </a:lnTo>
                  <a:lnTo>
                    <a:pt x="4277726" y="518142"/>
                  </a:lnTo>
                  <a:lnTo>
                    <a:pt x="4274972" y="516569"/>
                  </a:lnTo>
                  <a:lnTo>
                    <a:pt x="4271824" y="514602"/>
                  </a:lnTo>
                  <a:lnTo>
                    <a:pt x="4268678" y="512241"/>
                  </a:lnTo>
                  <a:lnTo>
                    <a:pt x="4267890" y="509094"/>
                  </a:lnTo>
                  <a:lnTo>
                    <a:pt x="4271038" y="508700"/>
                  </a:lnTo>
                  <a:lnTo>
                    <a:pt x="4268678" y="505553"/>
                  </a:lnTo>
                  <a:lnTo>
                    <a:pt x="4331626" y="453621"/>
                  </a:lnTo>
                  <a:lnTo>
                    <a:pt x="4332413" y="454014"/>
                  </a:lnTo>
                  <a:lnTo>
                    <a:pt x="4335560" y="452834"/>
                  </a:lnTo>
                  <a:lnTo>
                    <a:pt x="4337133" y="450080"/>
                  </a:lnTo>
                  <a:lnTo>
                    <a:pt x="4337920" y="448899"/>
                  </a:lnTo>
                  <a:lnTo>
                    <a:pt x="4353264" y="462669"/>
                  </a:lnTo>
                  <a:lnTo>
                    <a:pt x="4355624" y="465423"/>
                  </a:lnTo>
                  <a:lnTo>
                    <a:pt x="4352477" y="465030"/>
                  </a:lnTo>
                  <a:lnTo>
                    <a:pt x="4355231" y="466604"/>
                  </a:lnTo>
                  <a:lnTo>
                    <a:pt x="4358378" y="468571"/>
                  </a:lnTo>
                  <a:lnTo>
                    <a:pt x="4361526" y="470538"/>
                  </a:lnTo>
                  <a:lnTo>
                    <a:pt x="4364280" y="476046"/>
                  </a:lnTo>
                  <a:lnTo>
                    <a:pt x="4366640" y="474472"/>
                  </a:lnTo>
                  <a:lnTo>
                    <a:pt x="4370181" y="472505"/>
                  </a:lnTo>
                  <a:lnTo>
                    <a:pt x="4372542" y="472505"/>
                  </a:lnTo>
                  <a:lnTo>
                    <a:pt x="4376082" y="474079"/>
                  </a:lnTo>
                  <a:lnTo>
                    <a:pt x="4377657" y="476833"/>
                  </a:lnTo>
                  <a:lnTo>
                    <a:pt x="4377263" y="479980"/>
                  </a:lnTo>
                  <a:lnTo>
                    <a:pt x="4380017" y="481554"/>
                  </a:lnTo>
                  <a:lnTo>
                    <a:pt x="4380804" y="484308"/>
                  </a:lnTo>
                  <a:lnTo>
                    <a:pt x="4383951" y="486668"/>
                  </a:lnTo>
                  <a:lnTo>
                    <a:pt x="4385525" y="483914"/>
                  </a:lnTo>
                  <a:lnTo>
                    <a:pt x="4388673" y="481554"/>
                  </a:lnTo>
                  <a:lnTo>
                    <a:pt x="4391427" y="481160"/>
                  </a:lnTo>
                  <a:lnTo>
                    <a:pt x="4394180" y="481947"/>
                  </a:lnTo>
                  <a:lnTo>
                    <a:pt x="4392213" y="478800"/>
                  </a:lnTo>
                  <a:lnTo>
                    <a:pt x="4392213" y="476046"/>
                  </a:lnTo>
                  <a:lnTo>
                    <a:pt x="4393786" y="472898"/>
                  </a:lnTo>
                  <a:lnTo>
                    <a:pt x="4394967" y="470144"/>
                  </a:lnTo>
                  <a:lnTo>
                    <a:pt x="4396541" y="466997"/>
                  </a:lnTo>
                  <a:lnTo>
                    <a:pt x="4396934" y="464243"/>
                  </a:lnTo>
                  <a:lnTo>
                    <a:pt x="4396934" y="461489"/>
                  </a:lnTo>
                  <a:lnTo>
                    <a:pt x="4399688" y="458735"/>
                  </a:lnTo>
                  <a:lnTo>
                    <a:pt x="4400082" y="455588"/>
                  </a:lnTo>
                  <a:lnTo>
                    <a:pt x="4402443" y="453227"/>
                  </a:lnTo>
                  <a:lnTo>
                    <a:pt x="4405589" y="454014"/>
                  </a:lnTo>
                  <a:lnTo>
                    <a:pt x="4408737" y="454801"/>
                  </a:lnTo>
                  <a:lnTo>
                    <a:pt x="4405589" y="453227"/>
                  </a:lnTo>
                  <a:lnTo>
                    <a:pt x="4408344" y="451653"/>
                  </a:lnTo>
                  <a:lnTo>
                    <a:pt x="4411491" y="452834"/>
                  </a:lnTo>
                  <a:lnTo>
                    <a:pt x="4413852" y="455588"/>
                  </a:lnTo>
                  <a:lnTo>
                    <a:pt x="4416605" y="456768"/>
                  </a:lnTo>
                  <a:lnTo>
                    <a:pt x="4419753" y="457948"/>
                  </a:lnTo>
                  <a:lnTo>
                    <a:pt x="4418180" y="455194"/>
                  </a:lnTo>
                  <a:lnTo>
                    <a:pt x="4420934" y="453621"/>
                  </a:lnTo>
                  <a:lnTo>
                    <a:pt x="4417786" y="451260"/>
                  </a:lnTo>
                  <a:lnTo>
                    <a:pt x="4414638" y="450867"/>
                  </a:lnTo>
                  <a:lnTo>
                    <a:pt x="4411884" y="450473"/>
                  </a:lnTo>
                  <a:lnTo>
                    <a:pt x="4409131" y="450080"/>
                  </a:lnTo>
                  <a:lnTo>
                    <a:pt x="4425261" y="441424"/>
                  </a:lnTo>
                  <a:lnTo>
                    <a:pt x="4428802" y="444965"/>
                  </a:lnTo>
                  <a:lnTo>
                    <a:pt x="4431950" y="447326"/>
                  </a:lnTo>
                  <a:lnTo>
                    <a:pt x="4434703" y="449686"/>
                  </a:lnTo>
                  <a:lnTo>
                    <a:pt x="4437063" y="452834"/>
                  </a:lnTo>
                  <a:lnTo>
                    <a:pt x="4436277" y="455981"/>
                  </a:lnTo>
                  <a:lnTo>
                    <a:pt x="4438244" y="458735"/>
                  </a:lnTo>
                  <a:lnTo>
                    <a:pt x="4441391" y="461096"/>
                  </a:lnTo>
                  <a:lnTo>
                    <a:pt x="4442572" y="460702"/>
                  </a:lnTo>
                  <a:lnTo>
                    <a:pt x="4437457" y="488242"/>
                  </a:lnTo>
                  <a:lnTo>
                    <a:pt x="4434703" y="489816"/>
                  </a:lnTo>
                  <a:lnTo>
                    <a:pt x="4431556" y="491783"/>
                  </a:lnTo>
                  <a:lnTo>
                    <a:pt x="4433917" y="494537"/>
                  </a:lnTo>
                  <a:lnTo>
                    <a:pt x="4435884" y="495324"/>
                  </a:lnTo>
                  <a:lnTo>
                    <a:pt x="4434310" y="503979"/>
                  </a:lnTo>
                  <a:lnTo>
                    <a:pt x="4433917" y="504766"/>
                  </a:lnTo>
                  <a:lnTo>
                    <a:pt x="4434310" y="504766"/>
                  </a:lnTo>
                  <a:lnTo>
                    <a:pt x="4430769" y="517749"/>
                  </a:lnTo>
                  <a:lnTo>
                    <a:pt x="4428015" y="518929"/>
                  </a:lnTo>
                  <a:lnTo>
                    <a:pt x="4429195" y="521683"/>
                  </a:lnTo>
                  <a:lnTo>
                    <a:pt x="4429195" y="522077"/>
                  </a:lnTo>
                  <a:lnTo>
                    <a:pt x="4426835" y="529945"/>
                  </a:lnTo>
                  <a:lnTo>
                    <a:pt x="4426048" y="533093"/>
                  </a:lnTo>
                  <a:lnTo>
                    <a:pt x="4426835" y="535847"/>
                  </a:lnTo>
                  <a:lnTo>
                    <a:pt x="4426835" y="535847"/>
                  </a:lnTo>
                  <a:lnTo>
                    <a:pt x="4427622" y="557485"/>
                  </a:lnTo>
                  <a:lnTo>
                    <a:pt x="4425261" y="560239"/>
                  </a:lnTo>
                  <a:lnTo>
                    <a:pt x="4423687" y="562993"/>
                  </a:lnTo>
                  <a:lnTo>
                    <a:pt x="4422901" y="565747"/>
                  </a:lnTo>
                  <a:lnTo>
                    <a:pt x="4426048" y="567714"/>
                  </a:lnTo>
                  <a:lnTo>
                    <a:pt x="4422901" y="566927"/>
                  </a:lnTo>
                  <a:lnTo>
                    <a:pt x="4419753" y="567714"/>
                  </a:lnTo>
                  <a:lnTo>
                    <a:pt x="4416999" y="568108"/>
                  </a:lnTo>
                  <a:lnTo>
                    <a:pt x="4414245" y="568108"/>
                  </a:lnTo>
                  <a:lnTo>
                    <a:pt x="4411098" y="566927"/>
                  </a:lnTo>
                  <a:lnTo>
                    <a:pt x="4410311" y="569681"/>
                  </a:lnTo>
                  <a:lnTo>
                    <a:pt x="4411884" y="572829"/>
                  </a:lnTo>
                  <a:lnTo>
                    <a:pt x="4408737" y="574796"/>
                  </a:lnTo>
                  <a:lnTo>
                    <a:pt x="4405589" y="574402"/>
                  </a:lnTo>
                  <a:lnTo>
                    <a:pt x="4402835" y="574009"/>
                  </a:lnTo>
                  <a:lnTo>
                    <a:pt x="4400082" y="573222"/>
                  </a:lnTo>
                  <a:lnTo>
                    <a:pt x="4396934" y="573616"/>
                  </a:lnTo>
                  <a:lnTo>
                    <a:pt x="4399688" y="576763"/>
                  </a:lnTo>
                  <a:lnTo>
                    <a:pt x="4402443" y="578337"/>
                  </a:lnTo>
                  <a:lnTo>
                    <a:pt x="4405589" y="580304"/>
                  </a:lnTo>
                  <a:lnTo>
                    <a:pt x="4408344" y="582664"/>
                  </a:lnTo>
                  <a:lnTo>
                    <a:pt x="4411098" y="585025"/>
                  </a:lnTo>
                  <a:lnTo>
                    <a:pt x="4412671" y="588172"/>
                  </a:lnTo>
                  <a:lnTo>
                    <a:pt x="4413852" y="590926"/>
                  </a:lnTo>
                  <a:lnTo>
                    <a:pt x="4414638" y="593680"/>
                  </a:lnTo>
                  <a:lnTo>
                    <a:pt x="4416605" y="596828"/>
                  </a:lnTo>
                  <a:lnTo>
                    <a:pt x="4413458" y="596434"/>
                  </a:lnTo>
                  <a:lnTo>
                    <a:pt x="4413852" y="599582"/>
                  </a:lnTo>
                  <a:lnTo>
                    <a:pt x="4412671" y="602336"/>
                  </a:lnTo>
                  <a:lnTo>
                    <a:pt x="4412278" y="605483"/>
                  </a:lnTo>
                  <a:lnTo>
                    <a:pt x="4412278" y="608237"/>
                  </a:lnTo>
                  <a:lnTo>
                    <a:pt x="4411098" y="605483"/>
                  </a:lnTo>
                  <a:lnTo>
                    <a:pt x="4410311" y="608237"/>
                  </a:lnTo>
                  <a:lnTo>
                    <a:pt x="4412278" y="611385"/>
                  </a:lnTo>
                  <a:lnTo>
                    <a:pt x="4414245" y="614139"/>
                  </a:lnTo>
                  <a:lnTo>
                    <a:pt x="4416213" y="617286"/>
                  </a:lnTo>
                  <a:lnTo>
                    <a:pt x="4418180" y="620040"/>
                  </a:lnTo>
                  <a:lnTo>
                    <a:pt x="4419753" y="622794"/>
                  </a:lnTo>
                  <a:lnTo>
                    <a:pt x="4421720" y="625548"/>
                  </a:lnTo>
                  <a:lnTo>
                    <a:pt x="4423293" y="628302"/>
                  </a:lnTo>
                  <a:lnTo>
                    <a:pt x="4425654" y="631449"/>
                  </a:lnTo>
                  <a:lnTo>
                    <a:pt x="4427622" y="634203"/>
                  </a:lnTo>
                  <a:lnTo>
                    <a:pt x="4430375" y="636957"/>
                  </a:lnTo>
                  <a:lnTo>
                    <a:pt x="4432736" y="639711"/>
                  </a:lnTo>
                  <a:lnTo>
                    <a:pt x="4435490" y="642465"/>
                  </a:lnTo>
                  <a:lnTo>
                    <a:pt x="4437457" y="645219"/>
                  </a:lnTo>
                  <a:lnTo>
                    <a:pt x="4439818" y="648367"/>
                  </a:lnTo>
                  <a:lnTo>
                    <a:pt x="4442178" y="651121"/>
                  </a:lnTo>
                  <a:lnTo>
                    <a:pt x="4445326" y="654268"/>
                  </a:lnTo>
                  <a:lnTo>
                    <a:pt x="4448080" y="657022"/>
                  </a:lnTo>
                  <a:lnTo>
                    <a:pt x="4451227" y="659776"/>
                  </a:lnTo>
                  <a:lnTo>
                    <a:pt x="4453981" y="662137"/>
                  </a:lnTo>
                  <a:lnTo>
                    <a:pt x="4456735" y="664891"/>
                  </a:lnTo>
                  <a:lnTo>
                    <a:pt x="4459882" y="667251"/>
                  </a:lnTo>
                  <a:lnTo>
                    <a:pt x="4462636" y="670005"/>
                  </a:lnTo>
                  <a:lnTo>
                    <a:pt x="4465784" y="672366"/>
                  </a:lnTo>
                  <a:lnTo>
                    <a:pt x="4468538" y="674726"/>
                  </a:lnTo>
                  <a:lnTo>
                    <a:pt x="4471685" y="677480"/>
                  </a:lnTo>
                  <a:lnTo>
                    <a:pt x="4474439" y="679841"/>
                  </a:lnTo>
                  <a:lnTo>
                    <a:pt x="4477194" y="682201"/>
                  </a:lnTo>
                  <a:lnTo>
                    <a:pt x="4483488" y="687316"/>
                  </a:lnTo>
                  <a:lnTo>
                    <a:pt x="4486242" y="689283"/>
                  </a:lnTo>
                  <a:lnTo>
                    <a:pt x="4489389" y="691644"/>
                  </a:lnTo>
                  <a:lnTo>
                    <a:pt x="4492143" y="694397"/>
                  </a:lnTo>
                  <a:lnTo>
                    <a:pt x="4494898" y="696758"/>
                  </a:lnTo>
                  <a:lnTo>
                    <a:pt x="4498045" y="699512"/>
                  </a:lnTo>
                  <a:lnTo>
                    <a:pt x="4501192" y="702266"/>
                  </a:lnTo>
                  <a:lnTo>
                    <a:pt x="4503946" y="704627"/>
                  </a:lnTo>
                  <a:lnTo>
                    <a:pt x="4506701" y="707381"/>
                  </a:lnTo>
                  <a:lnTo>
                    <a:pt x="4509454" y="709741"/>
                  </a:lnTo>
                  <a:lnTo>
                    <a:pt x="4512602" y="712495"/>
                  </a:lnTo>
                  <a:lnTo>
                    <a:pt x="4515356" y="714856"/>
                  </a:lnTo>
                  <a:lnTo>
                    <a:pt x="4515749" y="715249"/>
                  </a:lnTo>
                  <a:lnTo>
                    <a:pt x="4520077" y="719183"/>
                  </a:lnTo>
                  <a:lnTo>
                    <a:pt x="4521650" y="720757"/>
                  </a:lnTo>
                  <a:lnTo>
                    <a:pt x="4524011" y="722724"/>
                  </a:lnTo>
                  <a:lnTo>
                    <a:pt x="4524798" y="723511"/>
                  </a:lnTo>
                  <a:lnTo>
                    <a:pt x="4527551" y="726265"/>
                  </a:lnTo>
                  <a:lnTo>
                    <a:pt x="4530306" y="729019"/>
                  </a:lnTo>
                  <a:lnTo>
                    <a:pt x="4533060" y="731380"/>
                  </a:lnTo>
                  <a:lnTo>
                    <a:pt x="4534633" y="732166"/>
                  </a:lnTo>
                  <a:lnTo>
                    <a:pt x="4537387" y="734527"/>
                  </a:lnTo>
                  <a:lnTo>
                    <a:pt x="4540535" y="736494"/>
                  </a:lnTo>
                  <a:lnTo>
                    <a:pt x="4543289" y="738855"/>
                  </a:lnTo>
                  <a:lnTo>
                    <a:pt x="4544469" y="739248"/>
                  </a:lnTo>
                  <a:lnTo>
                    <a:pt x="4546830" y="740822"/>
                  </a:lnTo>
                  <a:lnTo>
                    <a:pt x="4549190" y="743182"/>
                  </a:lnTo>
                  <a:lnTo>
                    <a:pt x="4552338" y="745543"/>
                  </a:lnTo>
                  <a:lnTo>
                    <a:pt x="4555091" y="747903"/>
                  </a:lnTo>
                  <a:lnTo>
                    <a:pt x="4558239" y="750264"/>
                  </a:lnTo>
                  <a:lnTo>
                    <a:pt x="4560993" y="752625"/>
                  </a:lnTo>
                  <a:lnTo>
                    <a:pt x="4563747" y="755772"/>
                  </a:lnTo>
                  <a:lnTo>
                    <a:pt x="4566501" y="758133"/>
                  </a:lnTo>
                  <a:lnTo>
                    <a:pt x="4569255" y="761280"/>
                  </a:lnTo>
                  <a:lnTo>
                    <a:pt x="4572009" y="764034"/>
                  </a:lnTo>
                  <a:lnTo>
                    <a:pt x="4574370" y="766788"/>
                  </a:lnTo>
                  <a:lnTo>
                    <a:pt x="4576730" y="769935"/>
                  </a:lnTo>
                  <a:lnTo>
                    <a:pt x="4579091" y="773083"/>
                  </a:lnTo>
                  <a:lnTo>
                    <a:pt x="4582238" y="775443"/>
                  </a:lnTo>
                  <a:lnTo>
                    <a:pt x="4584598" y="778197"/>
                  </a:lnTo>
                  <a:lnTo>
                    <a:pt x="4587746" y="780558"/>
                  </a:lnTo>
                  <a:lnTo>
                    <a:pt x="4590500" y="781345"/>
                  </a:lnTo>
                  <a:lnTo>
                    <a:pt x="4593647" y="782918"/>
                  </a:lnTo>
                  <a:lnTo>
                    <a:pt x="4596008" y="786066"/>
                  </a:lnTo>
                  <a:lnTo>
                    <a:pt x="4598762" y="788426"/>
                  </a:lnTo>
                  <a:lnTo>
                    <a:pt x="4600335" y="791180"/>
                  </a:lnTo>
                  <a:lnTo>
                    <a:pt x="4602696" y="788426"/>
                  </a:lnTo>
                  <a:lnTo>
                    <a:pt x="4604270" y="785279"/>
                  </a:lnTo>
                  <a:lnTo>
                    <a:pt x="4605844" y="782918"/>
                  </a:lnTo>
                  <a:lnTo>
                    <a:pt x="4606631" y="779771"/>
                  </a:lnTo>
                  <a:lnTo>
                    <a:pt x="4608598" y="776624"/>
                  </a:lnTo>
                  <a:lnTo>
                    <a:pt x="4607811" y="775050"/>
                  </a:lnTo>
                  <a:lnTo>
                    <a:pt x="4608598" y="771902"/>
                  </a:lnTo>
                  <a:lnTo>
                    <a:pt x="4609778" y="770722"/>
                  </a:lnTo>
                  <a:lnTo>
                    <a:pt x="4612532" y="768362"/>
                  </a:lnTo>
                  <a:lnTo>
                    <a:pt x="4612138" y="765608"/>
                  </a:lnTo>
                  <a:lnTo>
                    <a:pt x="4612532" y="762854"/>
                  </a:lnTo>
                  <a:lnTo>
                    <a:pt x="4612138" y="759706"/>
                  </a:lnTo>
                  <a:lnTo>
                    <a:pt x="4622761" y="719970"/>
                  </a:lnTo>
                  <a:lnTo>
                    <a:pt x="4620794" y="717216"/>
                  </a:lnTo>
                  <a:lnTo>
                    <a:pt x="4618040" y="714856"/>
                  </a:lnTo>
                  <a:lnTo>
                    <a:pt x="4591287" y="686922"/>
                  </a:lnTo>
                  <a:lnTo>
                    <a:pt x="4592074" y="684168"/>
                  </a:lnTo>
                  <a:lnTo>
                    <a:pt x="4594434" y="681414"/>
                  </a:lnTo>
                  <a:lnTo>
                    <a:pt x="4595222" y="678660"/>
                  </a:lnTo>
                  <a:lnTo>
                    <a:pt x="4596795" y="675513"/>
                  </a:lnTo>
                  <a:lnTo>
                    <a:pt x="4599943" y="673546"/>
                  </a:lnTo>
                  <a:lnTo>
                    <a:pt x="4602696" y="672759"/>
                  </a:lnTo>
                  <a:lnTo>
                    <a:pt x="4605450" y="672366"/>
                  </a:lnTo>
                  <a:lnTo>
                    <a:pt x="4608598" y="673152"/>
                  </a:lnTo>
                  <a:lnTo>
                    <a:pt x="4611745" y="675120"/>
                  </a:lnTo>
                  <a:lnTo>
                    <a:pt x="4614499" y="675513"/>
                  </a:lnTo>
                  <a:lnTo>
                    <a:pt x="4617647" y="675120"/>
                  </a:lnTo>
                  <a:lnTo>
                    <a:pt x="4620401" y="674726"/>
                  </a:lnTo>
                  <a:lnTo>
                    <a:pt x="4623548" y="675120"/>
                  </a:lnTo>
                  <a:lnTo>
                    <a:pt x="4623154" y="672366"/>
                  </a:lnTo>
                  <a:lnTo>
                    <a:pt x="4624335" y="669612"/>
                  </a:lnTo>
                  <a:lnTo>
                    <a:pt x="4624729" y="666464"/>
                  </a:lnTo>
                  <a:lnTo>
                    <a:pt x="4622368" y="663710"/>
                  </a:lnTo>
                  <a:lnTo>
                    <a:pt x="4619614" y="662530"/>
                  </a:lnTo>
                  <a:lnTo>
                    <a:pt x="4616072" y="660563"/>
                  </a:lnTo>
                  <a:lnTo>
                    <a:pt x="4612926" y="658596"/>
                  </a:lnTo>
                  <a:lnTo>
                    <a:pt x="4609778" y="657415"/>
                  </a:lnTo>
                  <a:lnTo>
                    <a:pt x="4607024" y="655842"/>
                  </a:lnTo>
                  <a:lnTo>
                    <a:pt x="4603877" y="653875"/>
                  </a:lnTo>
                  <a:lnTo>
                    <a:pt x="4597582" y="649153"/>
                  </a:lnTo>
                  <a:lnTo>
                    <a:pt x="4594828" y="646793"/>
                  </a:lnTo>
                  <a:lnTo>
                    <a:pt x="4591680" y="644039"/>
                  </a:lnTo>
                  <a:lnTo>
                    <a:pt x="4589320" y="640891"/>
                  </a:lnTo>
                  <a:lnTo>
                    <a:pt x="4587353" y="638138"/>
                  </a:lnTo>
                  <a:lnTo>
                    <a:pt x="4586173" y="619646"/>
                  </a:lnTo>
                  <a:lnTo>
                    <a:pt x="4581452" y="613745"/>
                  </a:lnTo>
                  <a:lnTo>
                    <a:pt x="4582238" y="612565"/>
                  </a:lnTo>
                  <a:lnTo>
                    <a:pt x="4585386" y="611778"/>
                  </a:lnTo>
                  <a:lnTo>
                    <a:pt x="4588533" y="612958"/>
                  </a:lnTo>
                  <a:lnTo>
                    <a:pt x="4588533" y="610204"/>
                  </a:lnTo>
                  <a:lnTo>
                    <a:pt x="4591287" y="610204"/>
                  </a:lnTo>
                  <a:lnTo>
                    <a:pt x="4592074" y="612958"/>
                  </a:lnTo>
                  <a:lnTo>
                    <a:pt x="4588926" y="615712"/>
                  </a:lnTo>
                  <a:lnTo>
                    <a:pt x="4590107" y="618466"/>
                  </a:lnTo>
                  <a:lnTo>
                    <a:pt x="4592467" y="621614"/>
                  </a:lnTo>
                  <a:lnTo>
                    <a:pt x="4595614" y="622794"/>
                  </a:lnTo>
                  <a:lnTo>
                    <a:pt x="4598762" y="624368"/>
                  </a:lnTo>
                  <a:lnTo>
                    <a:pt x="4601910" y="625548"/>
                  </a:lnTo>
                  <a:lnTo>
                    <a:pt x="4605057" y="625941"/>
                  </a:lnTo>
                  <a:lnTo>
                    <a:pt x="4606631" y="623187"/>
                  </a:lnTo>
                  <a:lnTo>
                    <a:pt x="4608598" y="620433"/>
                  </a:lnTo>
                  <a:lnTo>
                    <a:pt x="4605844" y="618073"/>
                  </a:lnTo>
                  <a:lnTo>
                    <a:pt x="4603090" y="615319"/>
                  </a:lnTo>
                  <a:lnTo>
                    <a:pt x="4599943" y="613352"/>
                  </a:lnTo>
                  <a:lnTo>
                    <a:pt x="4596795" y="610991"/>
                  </a:lnTo>
                  <a:lnTo>
                    <a:pt x="4594041" y="608631"/>
                  </a:lnTo>
                  <a:lnTo>
                    <a:pt x="4591287" y="606663"/>
                  </a:lnTo>
                  <a:lnTo>
                    <a:pt x="4588533" y="604303"/>
                  </a:lnTo>
                  <a:lnTo>
                    <a:pt x="4585386" y="603909"/>
                  </a:lnTo>
                  <a:lnTo>
                    <a:pt x="4582238" y="605090"/>
                  </a:lnTo>
                  <a:lnTo>
                    <a:pt x="4579091" y="604303"/>
                  </a:lnTo>
                  <a:lnTo>
                    <a:pt x="4575943" y="602336"/>
                  </a:lnTo>
                  <a:lnTo>
                    <a:pt x="4572796" y="599975"/>
                  </a:lnTo>
                  <a:lnTo>
                    <a:pt x="4570436" y="597221"/>
                  </a:lnTo>
                  <a:lnTo>
                    <a:pt x="4567682" y="594074"/>
                  </a:lnTo>
                  <a:lnTo>
                    <a:pt x="4564927" y="592107"/>
                  </a:lnTo>
                  <a:lnTo>
                    <a:pt x="4562173" y="590140"/>
                  </a:lnTo>
                  <a:lnTo>
                    <a:pt x="4561780" y="589746"/>
                  </a:lnTo>
                  <a:lnTo>
                    <a:pt x="4556666" y="585025"/>
                  </a:lnTo>
                  <a:lnTo>
                    <a:pt x="4557058" y="582271"/>
                  </a:lnTo>
                  <a:lnTo>
                    <a:pt x="4558633" y="579517"/>
                  </a:lnTo>
                  <a:lnTo>
                    <a:pt x="4557846" y="576370"/>
                  </a:lnTo>
                  <a:lnTo>
                    <a:pt x="4555879" y="573222"/>
                  </a:lnTo>
                  <a:lnTo>
                    <a:pt x="4552731" y="570862"/>
                  </a:lnTo>
                  <a:lnTo>
                    <a:pt x="4549584" y="569288"/>
                  </a:lnTo>
                  <a:lnTo>
                    <a:pt x="4546830" y="569288"/>
                  </a:lnTo>
                  <a:lnTo>
                    <a:pt x="4543682" y="568501"/>
                  </a:lnTo>
                  <a:lnTo>
                    <a:pt x="4542109" y="567714"/>
                  </a:lnTo>
                  <a:lnTo>
                    <a:pt x="4489389" y="504766"/>
                  </a:lnTo>
                  <a:lnTo>
                    <a:pt x="4489783" y="504766"/>
                  </a:lnTo>
                  <a:lnTo>
                    <a:pt x="4490570" y="502012"/>
                  </a:lnTo>
                  <a:lnTo>
                    <a:pt x="4487422" y="502012"/>
                  </a:lnTo>
                  <a:lnTo>
                    <a:pt x="4486242" y="501619"/>
                  </a:lnTo>
                  <a:lnTo>
                    <a:pt x="4496865" y="501619"/>
                  </a:lnTo>
                  <a:lnTo>
                    <a:pt x="4500012" y="502012"/>
                  </a:lnTo>
                  <a:lnTo>
                    <a:pt x="4499619" y="503192"/>
                  </a:lnTo>
                  <a:lnTo>
                    <a:pt x="4499225" y="505159"/>
                  </a:lnTo>
                  <a:lnTo>
                    <a:pt x="4502373" y="505946"/>
                  </a:lnTo>
                  <a:lnTo>
                    <a:pt x="4499619" y="503192"/>
                  </a:lnTo>
                  <a:lnTo>
                    <a:pt x="4499619" y="503192"/>
                  </a:lnTo>
                  <a:lnTo>
                    <a:pt x="4502766" y="502405"/>
                  </a:lnTo>
                  <a:lnTo>
                    <a:pt x="4503159" y="502012"/>
                  </a:lnTo>
                  <a:lnTo>
                    <a:pt x="4510635" y="502012"/>
                  </a:lnTo>
                  <a:lnTo>
                    <a:pt x="4514175" y="503586"/>
                  </a:lnTo>
                  <a:lnTo>
                    <a:pt x="4516929" y="505553"/>
                  </a:lnTo>
                  <a:lnTo>
                    <a:pt x="4520077" y="507913"/>
                  </a:lnTo>
                  <a:lnTo>
                    <a:pt x="4522831" y="508307"/>
                  </a:lnTo>
                  <a:lnTo>
                    <a:pt x="4524405" y="505159"/>
                  </a:lnTo>
                  <a:lnTo>
                    <a:pt x="4524011" y="502405"/>
                  </a:lnTo>
                  <a:lnTo>
                    <a:pt x="4523617" y="502012"/>
                  </a:lnTo>
                  <a:lnTo>
                    <a:pt x="4546436" y="502012"/>
                  </a:lnTo>
                  <a:lnTo>
                    <a:pt x="4548797" y="505159"/>
                  </a:lnTo>
                  <a:lnTo>
                    <a:pt x="4551551" y="507520"/>
                  </a:lnTo>
                  <a:lnTo>
                    <a:pt x="4554305" y="507127"/>
                  </a:lnTo>
                  <a:lnTo>
                    <a:pt x="4555485" y="504373"/>
                  </a:lnTo>
                  <a:lnTo>
                    <a:pt x="4555879" y="502012"/>
                  </a:lnTo>
                  <a:lnTo>
                    <a:pt x="4612138" y="487455"/>
                  </a:lnTo>
                  <a:lnTo>
                    <a:pt x="4620401" y="491783"/>
                  </a:lnTo>
                  <a:lnTo>
                    <a:pt x="4621187" y="492176"/>
                  </a:lnTo>
                  <a:lnTo>
                    <a:pt x="4623941" y="493750"/>
                  </a:lnTo>
                  <a:lnTo>
                    <a:pt x="4624335" y="493750"/>
                  </a:lnTo>
                  <a:lnTo>
                    <a:pt x="4631417" y="497291"/>
                  </a:lnTo>
                  <a:lnTo>
                    <a:pt x="4631809" y="497684"/>
                  </a:lnTo>
                  <a:lnTo>
                    <a:pt x="4634957" y="499258"/>
                  </a:lnTo>
                  <a:lnTo>
                    <a:pt x="4637318" y="500045"/>
                  </a:lnTo>
                  <a:lnTo>
                    <a:pt x="4642039" y="501619"/>
                  </a:lnTo>
                  <a:lnTo>
                    <a:pt x="4644793" y="503192"/>
                  </a:lnTo>
                  <a:lnTo>
                    <a:pt x="4647940" y="504766"/>
                  </a:lnTo>
                  <a:lnTo>
                    <a:pt x="4649121" y="502012"/>
                  </a:lnTo>
                  <a:lnTo>
                    <a:pt x="4656596" y="474079"/>
                  </a:lnTo>
                  <a:lnTo>
                    <a:pt x="4678234" y="446145"/>
                  </a:lnTo>
                  <a:lnTo>
                    <a:pt x="4681382" y="444572"/>
                  </a:lnTo>
                  <a:lnTo>
                    <a:pt x="4678234" y="442211"/>
                  </a:lnTo>
                  <a:lnTo>
                    <a:pt x="4675480" y="441424"/>
                  </a:lnTo>
                  <a:lnTo>
                    <a:pt x="4678628" y="441818"/>
                  </a:lnTo>
                  <a:lnTo>
                    <a:pt x="4681382" y="442211"/>
                  </a:lnTo>
                  <a:lnTo>
                    <a:pt x="4684135" y="441031"/>
                  </a:lnTo>
                  <a:lnTo>
                    <a:pt x="4686889" y="439457"/>
                  </a:lnTo>
                  <a:lnTo>
                    <a:pt x="4684922" y="436310"/>
                  </a:lnTo>
                  <a:lnTo>
                    <a:pt x="4688070" y="436703"/>
                  </a:lnTo>
                  <a:lnTo>
                    <a:pt x="4690823" y="435130"/>
                  </a:lnTo>
                  <a:lnTo>
                    <a:pt x="4693578" y="433162"/>
                  </a:lnTo>
                  <a:lnTo>
                    <a:pt x="4696725" y="431982"/>
                  </a:lnTo>
                  <a:lnTo>
                    <a:pt x="4699480" y="431195"/>
                  </a:lnTo>
                  <a:lnTo>
                    <a:pt x="4701053" y="428441"/>
                  </a:lnTo>
                  <a:lnTo>
                    <a:pt x="4702233" y="425687"/>
                  </a:lnTo>
                  <a:lnTo>
                    <a:pt x="4704987" y="424900"/>
                  </a:lnTo>
                  <a:lnTo>
                    <a:pt x="4708135" y="424114"/>
                  </a:lnTo>
                  <a:lnTo>
                    <a:pt x="4710889" y="423720"/>
                  </a:lnTo>
                  <a:lnTo>
                    <a:pt x="4714036" y="423327"/>
                  </a:lnTo>
                  <a:lnTo>
                    <a:pt x="4710889" y="422933"/>
                  </a:lnTo>
                  <a:lnTo>
                    <a:pt x="4707741" y="422540"/>
                  </a:lnTo>
                  <a:lnTo>
                    <a:pt x="4704987" y="421360"/>
                  </a:lnTo>
                  <a:lnTo>
                    <a:pt x="4702233" y="419786"/>
                  </a:lnTo>
                  <a:lnTo>
                    <a:pt x="4700659" y="417032"/>
                  </a:lnTo>
                  <a:lnTo>
                    <a:pt x="4697905" y="415458"/>
                  </a:lnTo>
                  <a:lnTo>
                    <a:pt x="4696332" y="414671"/>
                  </a:lnTo>
                  <a:lnTo>
                    <a:pt x="4699480" y="415458"/>
                  </a:lnTo>
                  <a:lnTo>
                    <a:pt x="4702626" y="416638"/>
                  </a:lnTo>
                  <a:lnTo>
                    <a:pt x="4705774" y="418999"/>
                  </a:lnTo>
                  <a:lnTo>
                    <a:pt x="4708921" y="419392"/>
                  </a:lnTo>
                  <a:lnTo>
                    <a:pt x="4707348" y="416638"/>
                  </a:lnTo>
                  <a:lnTo>
                    <a:pt x="4710495" y="417032"/>
                  </a:lnTo>
                  <a:lnTo>
                    <a:pt x="4712069" y="419786"/>
                  </a:lnTo>
                  <a:lnTo>
                    <a:pt x="4714823" y="422146"/>
                  </a:lnTo>
                  <a:lnTo>
                    <a:pt x="4717577" y="422933"/>
                  </a:lnTo>
                  <a:lnTo>
                    <a:pt x="4723872" y="422933"/>
                  </a:lnTo>
                  <a:lnTo>
                    <a:pt x="4727019" y="423327"/>
                  </a:lnTo>
                  <a:lnTo>
                    <a:pt x="4733314" y="423720"/>
                  </a:lnTo>
                  <a:lnTo>
                    <a:pt x="4736068" y="424114"/>
                  </a:lnTo>
                  <a:lnTo>
                    <a:pt x="4739215" y="424900"/>
                  </a:lnTo>
                  <a:lnTo>
                    <a:pt x="4741969" y="425294"/>
                  </a:lnTo>
                  <a:lnTo>
                    <a:pt x="4745117" y="425687"/>
                  </a:lnTo>
                  <a:lnTo>
                    <a:pt x="4747870" y="426081"/>
                  </a:lnTo>
                  <a:lnTo>
                    <a:pt x="4750625" y="426474"/>
                  </a:lnTo>
                  <a:lnTo>
                    <a:pt x="4754166" y="426868"/>
                  </a:lnTo>
                  <a:lnTo>
                    <a:pt x="4757313" y="427261"/>
                  </a:lnTo>
                  <a:lnTo>
                    <a:pt x="4760067" y="427654"/>
                  </a:lnTo>
                  <a:lnTo>
                    <a:pt x="4763215" y="428048"/>
                  </a:lnTo>
                  <a:lnTo>
                    <a:pt x="4766362" y="429228"/>
                  </a:lnTo>
                  <a:lnTo>
                    <a:pt x="4764788" y="426081"/>
                  </a:lnTo>
                  <a:lnTo>
                    <a:pt x="4762034" y="424507"/>
                  </a:lnTo>
                  <a:lnTo>
                    <a:pt x="4765182" y="423327"/>
                  </a:lnTo>
                  <a:lnTo>
                    <a:pt x="4764395" y="420573"/>
                  </a:lnTo>
                  <a:lnTo>
                    <a:pt x="4764788" y="417425"/>
                  </a:lnTo>
                  <a:lnTo>
                    <a:pt x="4762034" y="415458"/>
                  </a:lnTo>
                  <a:lnTo>
                    <a:pt x="4758886" y="413884"/>
                  </a:lnTo>
                  <a:lnTo>
                    <a:pt x="4755739" y="412311"/>
                  </a:lnTo>
                  <a:lnTo>
                    <a:pt x="4752985" y="411917"/>
                  </a:lnTo>
                  <a:lnTo>
                    <a:pt x="4749837" y="411524"/>
                  </a:lnTo>
                  <a:lnTo>
                    <a:pt x="4746297" y="409950"/>
                  </a:lnTo>
                  <a:lnTo>
                    <a:pt x="4743543" y="408377"/>
                  </a:lnTo>
                  <a:lnTo>
                    <a:pt x="4743936" y="405623"/>
                  </a:lnTo>
                  <a:lnTo>
                    <a:pt x="4741182" y="404049"/>
                  </a:lnTo>
                  <a:lnTo>
                    <a:pt x="4738035" y="402869"/>
                  </a:lnTo>
                  <a:lnTo>
                    <a:pt x="4735281" y="401688"/>
                  </a:lnTo>
                  <a:lnTo>
                    <a:pt x="4732133" y="401688"/>
                  </a:lnTo>
                  <a:lnTo>
                    <a:pt x="4728987" y="400508"/>
                  </a:lnTo>
                  <a:lnTo>
                    <a:pt x="4726232" y="400115"/>
                  </a:lnTo>
                  <a:lnTo>
                    <a:pt x="4722691" y="398541"/>
                  </a:lnTo>
                  <a:lnTo>
                    <a:pt x="4719938" y="398147"/>
                  </a:lnTo>
                  <a:lnTo>
                    <a:pt x="4719938" y="398147"/>
                  </a:lnTo>
                  <a:lnTo>
                    <a:pt x="4722691" y="398147"/>
                  </a:lnTo>
                  <a:lnTo>
                    <a:pt x="4725445" y="399328"/>
                  </a:lnTo>
                  <a:lnTo>
                    <a:pt x="4722691" y="397754"/>
                  </a:lnTo>
                  <a:lnTo>
                    <a:pt x="4721118" y="397361"/>
                  </a:lnTo>
                  <a:lnTo>
                    <a:pt x="4717970" y="395787"/>
                  </a:lnTo>
                  <a:lnTo>
                    <a:pt x="4714823" y="394213"/>
                  </a:lnTo>
                  <a:lnTo>
                    <a:pt x="4711675" y="392639"/>
                  </a:lnTo>
                  <a:lnTo>
                    <a:pt x="4708528" y="390672"/>
                  </a:lnTo>
                  <a:lnTo>
                    <a:pt x="4711675" y="393033"/>
                  </a:lnTo>
                  <a:lnTo>
                    <a:pt x="4714036" y="394607"/>
                  </a:lnTo>
                  <a:lnTo>
                    <a:pt x="4709708" y="392639"/>
                  </a:lnTo>
                  <a:lnTo>
                    <a:pt x="4709315" y="392246"/>
                  </a:lnTo>
                  <a:lnTo>
                    <a:pt x="4708528" y="392246"/>
                  </a:lnTo>
                  <a:lnTo>
                    <a:pt x="4703414" y="389886"/>
                  </a:lnTo>
                  <a:lnTo>
                    <a:pt x="4704201" y="389886"/>
                  </a:lnTo>
                  <a:lnTo>
                    <a:pt x="4707348" y="391066"/>
                  </a:lnTo>
                  <a:lnTo>
                    <a:pt x="4704201" y="389492"/>
                  </a:lnTo>
                  <a:lnTo>
                    <a:pt x="4707348" y="389886"/>
                  </a:lnTo>
                  <a:lnTo>
                    <a:pt x="4704201" y="387525"/>
                  </a:lnTo>
                  <a:lnTo>
                    <a:pt x="4701053" y="385558"/>
                  </a:lnTo>
                  <a:lnTo>
                    <a:pt x="4698299" y="383591"/>
                  </a:lnTo>
                  <a:lnTo>
                    <a:pt x="4695152" y="381624"/>
                  </a:lnTo>
                  <a:lnTo>
                    <a:pt x="4691611" y="379656"/>
                  </a:lnTo>
                  <a:lnTo>
                    <a:pt x="4688463" y="379263"/>
                  </a:lnTo>
                  <a:lnTo>
                    <a:pt x="4685710" y="379656"/>
                  </a:lnTo>
                  <a:lnTo>
                    <a:pt x="4683349" y="376509"/>
                  </a:lnTo>
                  <a:lnTo>
                    <a:pt x="4686103" y="377296"/>
                  </a:lnTo>
                  <a:lnTo>
                    <a:pt x="4683349" y="375722"/>
                  </a:lnTo>
                  <a:lnTo>
                    <a:pt x="4680201" y="374148"/>
                  </a:lnTo>
                  <a:lnTo>
                    <a:pt x="4677447" y="372575"/>
                  </a:lnTo>
                  <a:lnTo>
                    <a:pt x="4673907" y="370608"/>
                  </a:lnTo>
                  <a:lnTo>
                    <a:pt x="4670759" y="369034"/>
                  </a:lnTo>
                  <a:lnTo>
                    <a:pt x="4667218" y="367460"/>
                  </a:lnTo>
                  <a:lnTo>
                    <a:pt x="4666431" y="370214"/>
                  </a:lnTo>
                  <a:lnTo>
                    <a:pt x="4669185" y="371788"/>
                  </a:lnTo>
                  <a:lnTo>
                    <a:pt x="4666038" y="371788"/>
                  </a:lnTo>
                  <a:lnTo>
                    <a:pt x="4662891" y="371394"/>
                  </a:lnTo>
                  <a:lnTo>
                    <a:pt x="4660137" y="371001"/>
                  </a:lnTo>
                  <a:lnTo>
                    <a:pt x="4656989" y="370214"/>
                  </a:lnTo>
                  <a:lnTo>
                    <a:pt x="4654236" y="369034"/>
                  </a:lnTo>
                  <a:lnTo>
                    <a:pt x="4651088" y="367854"/>
                  </a:lnTo>
                  <a:lnTo>
                    <a:pt x="4649121" y="367067"/>
                  </a:lnTo>
                  <a:lnTo>
                    <a:pt x="4647547" y="366280"/>
                  </a:lnTo>
                  <a:lnTo>
                    <a:pt x="4644400" y="365493"/>
                  </a:lnTo>
                  <a:lnTo>
                    <a:pt x="4641645" y="363919"/>
                  </a:lnTo>
                  <a:lnTo>
                    <a:pt x="4638499" y="362346"/>
                  </a:lnTo>
                  <a:lnTo>
                    <a:pt x="4636531" y="359592"/>
                  </a:lnTo>
                  <a:lnTo>
                    <a:pt x="4633777" y="356838"/>
                  </a:lnTo>
                  <a:lnTo>
                    <a:pt x="4630630" y="355657"/>
                  </a:lnTo>
                  <a:lnTo>
                    <a:pt x="4627875" y="356051"/>
                  </a:lnTo>
                  <a:lnTo>
                    <a:pt x="4625121" y="357231"/>
                  </a:lnTo>
                  <a:lnTo>
                    <a:pt x="4623548" y="359985"/>
                  </a:lnTo>
                  <a:lnTo>
                    <a:pt x="4623154" y="359985"/>
                  </a:lnTo>
                  <a:lnTo>
                    <a:pt x="4602696" y="354477"/>
                  </a:lnTo>
                  <a:lnTo>
                    <a:pt x="4601516" y="353690"/>
                  </a:lnTo>
                  <a:lnTo>
                    <a:pt x="4598368" y="352117"/>
                  </a:lnTo>
                  <a:lnTo>
                    <a:pt x="4595614" y="351723"/>
                  </a:lnTo>
                  <a:lnTo>
                    <a:pt x="4592074" y="351330"/>
                  </a:lnTo>
                  <a:lnTo>
                    <a:pt x="4603090" y="352903"/>
                  </a:lnTo>
                  <a:lnTo>
                    <a:pt x="4606237" y="354477"/>
                  </a:lnTo>
                  <a:lnTo>
                    <a:pt x="4609384" y="352903"/>
                  </a:lnTo>
                  <a:lnTo>
                    <a:pt x="4612138" y="353297"/>
                  </a:lnTo>
                  <a:lnTo>
                    <a:pt x="4615286" y="353690"/>
                  </a:lnTo>
                  <a:lnTo>
                    <a:pt x="4618827" y="355264"/>
                  </a:lnTo>
                  <a:lnTo>
                    <a:pt x="4621581" y="356051"/>
                  </a:lnTo>
                  <a:lnTo>
                    <a:pt x="4624335" y="355657"/>
                  </a:lnTo>
                  <a:lnTo>
                    <a:pt x="4621974" y="352903"/>
                  </a:lnTo>
                  <a:lnTo>
                    <a:pt x="4619614" y="352117"/>
                  </a:lnTo>
                  <a:lnTo>
                    <a:pt x="4623941" y="351723"/>
                  </a:lnTo>
                  <a:lnTo>
                    <a:pt x="4624729" y="351723"/>
                  </a:lnTo>
                  <a:lnTo>
                    <a:pt x="4627875" y="353297"/>
                  </a:lnTo>
                  <a:lnTo>
                    <a:pt x="4630630" y="354871"/>
                  </a:lnTo>
                  <a:lnTo>
                    <a:pt x="4634170" y="356051"/>
                  </a:lnTo>
                  <a:lnTo>
                    <a:pt x="4637318" y="357625"/>
                  </a:lnTo>
                  <a:lnTo>
                    <a:pt x="4640072" y="358018"/>
                  </a:lnTo>
                  <a:lnTo>
                    <a:pt x="4642826" y="358018"/>
                  </a:lnTo>
                  <a:lnTo>
                    <a:pt x="4645973" y="358411"/>
                  </a:lnTo>
                  <a:lnTo>
                    <a:pt x="4649121" y="358805"/>
                  </a:lnTo>
                  <a:lnTo>
                    <a:pt x="4651875" y="359198"/>
                  </a:lnTo>
                  <a:lnTo>
                    <a:pt x="4654628" y="359592"/>
                  </a:lnTo>
                  <a:lnTo>
                    <a:pt x="4657776" y="359198"/>
                  </a:lnTo>
                  <a:lnTo>
                    <a:pt x="4660924" y="358805"/>
                  </a:lnTo>
                  <a:lnTo>
                    <a:pt x="4664071" y="358411"/>
                  </a:lnTo>
                  <a:lnTo>
                    <a:pt x="4662104" y="361165"/>
                  </a:lnTo>
                  <a:lnTo>
                    <a:pt x="4664858" y="360772"/>
                  </a:lnTo>
                  <a:lnTo>
                    <a:pt x="4667612" y="358018"/>
                  </a:lnTo>
                  <a:lnTo>
                    <a:pt x="4670365" y="355264"/>
                  </a:lnTo>
                  <a:lnTo>
                    <a:pt x="4673513" y="354871"/>
                  </a:lnTo>
                  <a:lnTo>
                    <a:pt x="4675874" y="351723"/>
                  </a:lnTo>
                  <a:lnTo>
                    <a:pt x="4675086" y="348969"/>
                  </a:lnTo>
                  <a:lnTo>
                    <a:pt x="4677447" y="347395"/>
                  </a:lnTo>
                  <a:lnTo>
                    <a:pt x="4680595" y="347002"/>
                  </a:lnTo>
                  <a:lnTo>
                    <a:pt x="4681382" y="343855"/>
                  </a:lnTo>
                  <a:lnTo>
                    <a:pt x="4679021" y="341101"/>
                  </a:lnTo>
                  <a:lnTo>
                    <a:pt x="4676267" y="338347"/>
                  </a:lnTo>
                  <a:lnTo>
                    <a:pt x="4673119" y="337953"/>
                  </a:lnTo>
                  <a:lnTo>
                    <a:pt x="4669579" y="337953"/>
                  </a:lnTo>
                  <a:lnTo>
                    <a:pt x="4666825" y="338740"/>
                  </a:lnTo>
                  <a:lnTo>
                    <a:pt x="4669579" y="340707"/>
                  </a:lnTo>
                  <a:lnTo>
                    <a:pt x="4666825" y="339920"/>
                  </a:lnTo>
                  <a:lnTo>
                    <a:pt x="4663677" y="337953"/>
                  </a:lnTo>
                  <a:lnTo>
                    <a:pt x="4664858" y="337560"/>
                  </a:lnTo>
                  <a:lnTo>
                    <a:pt x="4668005" y="336773"/>
                  </a:lnTo>
                  <a:lnTo>
                    <a:pt x="4670759" y="336773"/>
                  </a:lnTo>
                  <a:lnTo>
                    <a:pt x="4673907" y="336380"/>
                  </a:lnTo>
                  <a:lnTo>
                    <a:pt x="4673513" y="333232"/>
                  </a:lnTo>
                  <a:lnTo>
                    <a:pt x="4670365" y="331658"/>
                  </a:lnTo>
                  <a:lnTo>
                    <a:pt x="4667612" y="329691"/>
                  </a:lnTo>
                  <a:lnTo>
                    <a:pt x="4664464" y="329298"/>
                  </a:lnTo>
                  <a:lnTo>
                    <a:pt x="4661316" y="328511"/>
                  </a:lnTo>
                  <a:lnTo>
                    <a:pt x="4658170" y="327331"/>
                  </a:lnTo>
                  <a:lnTo>
                    <a:pt x="4655809" y="326544"/>
                  </a:lnTo>
                  <a:lnTo>
                    <a:pt x="4647154" y="314348"/>
                  </a:lnTo>
                  <a:lnTo>
                    <a:pt x="4647547" y="313954"/>
                  </a:lnTo>
                  <a:lnTo>
                    <a:pt x="4646367" y="313561"/>
                  </a:lnTo>
                  <a:lnTo>
                    <a:pt x="4644400" y="310413"/>
                  </a:lnTo>
                  <a:lnTo>
                    <a:pt x="4662891" y="319462"/>
                  </a:lnTo>
                  <a:lnTo>
                    <a:pt x="4662497" y="319462"/>
                  </a:lnTo>
                  <a:lnTo>
                    <a:pt x="4665645" y="321036"/>
                  </a:lnTo>
                  <a:lnTo>
                    <a:pt x="4668792" y="323003"/>
                  </a:lnTo>
                  <a:lnTo>
                    <a:pt x="4671940" y="323790"/>
                  </a:lnTo>
                  <a:lnTo>
                    <a:pt x="4675086" y="325364"/>
                  </a:lnTo>
                  <a:lnTo>
                    <a:pt x="4678234" y="326544"/>
                  </a:lnTo>
                  <a:lnTo>
                    <a:pt x="4684529" y="327724"/>
                  </a:lnTo>
                  <a:lnTo>
                    <a:pt x="4687283" y="330085"/>
                  </a:lnTo>
                  <a:lnTo>
                    <a:pt x="4690037" y="332839"/>
                  </a:lnTo>
                  <a:lnTo>
                    <a:pt x="4693184" y="334412"/>
                  </a:lnTo>
                  <a:lnTo>
                    <a:pt x="4696332" y="334806"/>
                  </a:lnTo>
                  <a:lnTo>
                    <a:pt x="4702233" y="334806"/>
                  </a:lnTo>
                  <a:lnTo>
                    <a:pt x="4705381" y="335199"/>
                  </a:lnTo>
                  <a:lnTo>
                    <a:pt x="4708528" y="334806"/>
                  </a:lnTo>
                  <a:lnTo>
                    <a:pt x="4711675" y="335199"/>
                  </a:lnTo>
                  <a:lnTo>
                    <a:pt x="4714823" y="334806"/>
                  </a:lnTo>
                  <a:lnTo>
                    <a:pt x="4717970" y="334019"/>
                  </a:lnTo>
                  <a:lnTo>
                    <a:pt x="4718363" y="333626"/>
                  </a:lnTo>
                  <a:lnTo>
                    <a:pt x="4771870" y="346609"/>
                  </a:lnTo>
                  <a:lnTo>
                    <a:pt x="4772264" y="347002"/>
                  </a:lnTo>
                  <a:lnTo>
                    <a:pt x="4775410" y="349363"/>
                  </a:lnTo>
                  <a:lnTo>
                    <a:pt x="4778165" y="350543"/>
                  </a:lnTo>
                  <a:lnTo>
                    <a:pt x="4781312" y="350936"/>
                  </a:lnTo>
                  <a:lnTo>
                    <a:pt x="4784459" y="351723"/>
                  </a:lnTo>
                  <a:lnTo>
                    <a:pt x="4787607" y="352903"/>
                  </a:lnTo>
                  <a:lnTo>
                    <a:pt x="4790361" y="353297"/>
                  </a:lnTo>
                  <a:lnTo>
                    <a:pt x="4793508" y="355264"/>
                  </a:lnTo>
                  <a:lnTo>
                    <a:pt x="4796656" y="355264"/>
                  </a:lnTo>
                  <a:lnTo>
                    <a:pt x="4799410" y="355657"/>
                  </a:lnTo>
                  <a:lnTo>
                    <a:pt x="4802163" y="355657"/>
                  </a:lnTo>
                  <a:lnTo>
                    <a:pt x="4799410" y="353297"/>
                  </a:lnTo>
                  <a:lnTo>
                    <a:pt x="4802557" y="354871"/>
                  </a:lnTo>
                  <a:lnTo>
                    <a:pt x="4805311" y="355264"/>
                  </a:lnTo>
                  <a:lnTo>
                    <a:pt x="4808459" y="356051"/>
                  </a:lnTo>
                  <a:lnTo>
                    <a:pt x="4811606" y="356444"/>
                  </a:lnTo>
                  <a:lnTo>
                    <a:pt x="4814753" y="357231"/>
                  </a:lnTo>
                  <a:lnTo>
                    <a:pt x="4817900" y="358018"/>
                  </a:lnTo>
                  <a:lnTo>
                    <a:pt x="4820654" y="358411"/>
                  </a:lnTo>
                  <a:lnTo>
                    <a:pt x="4823409" y="358411"/>
                  </a:lnTo>
                  <a:lnTo>
                    <a:pt x="4824588" y="358805"/>
                  </a:lnTo>
                  <a:lnTo>
                    <a:pt x="4828130" y="360379"/>
                  </a:lnTo>
                  <a:lnTo>
                    <a:pt x="4831277" y="361165"/>
                  </a:lnTo>
                  <a:lnTo>
                    <a:pt x="4831670" y="361165"/>
                  </a:lnTo>
                  <a:lnTo>
                    <a:pt x="4834818" y="362739"/>
                  </a:lnTo>
                  <a:lnTo>
                    <a:pt x="4837572" y="364313"/>
                  </a:lnTo>
                  <a:lnTo>
                    <a:pt x="4840326" y="365886"/>
                  </a:lnTo>
                  <a:lnTo>
                    <a:pt x="4843473" y="366280"/>
                  </a:lnTo>
                  <a:lnTo>
                    <a:pt x="4846621" y="366673"/>
                  </a:lnTo>
                  <a:lnTo>
                    <a:pt x="4849768" y="367460"/>
                  </a:lnTo>
                  <a:lnTo>
                    <a:pt x="4852522" y="367854"/>
                  </a:lnTo>
                  <a:lnTo>
                    <a:pt x="4854095" y="365100"/>
                  </a:lnTo>
                  <a:lnTo>
                    <a:pt x="4850949" y="362346"/>
                  </a:lnTo>
                  <a:lnTo>
                    <a:pt x="4847801" y="360772"/>
                  </a:lnTo>
                  <a:lnTo>
                    <a:pt x="4846621" y="359985"/>
                  </a:lnTo>
                  <a:lnTo>
                    <a:pt x="4855670" y="364706"/>
                  </a:lnTo>
                  <a:lnTo>
                    <a:pt x="4857243" y="367067"/>
                  </a:lnTo>
                  <a:lnTo>
                    <a:pt x="4860391" y="369034"/>
                  </a:lnTo>
                  <a:lnTo>
                    <a:pt x="4863538" y="369427"/>
                  </a:lnTo>
                  <a:lnTo>
                    <a:pt x="4866292" y="370214"/>
                  </a:lnTo>
                  <a:lnTo>
                    <a:pt x="4867079" y="370608"/>
                  </a:lnTo>
                  <a:lnTo>
                    <a:pt x="4870226" y="369821"/>
                  </a:lnTo>
                  <a:lnTo>
                    <a:pt x="4868653" y="367067"/>
                  </a:lnTo>
                  <a:lnTo>
                    <a:pt x="4865898" y="364706"/>
                  </a:lnTo>
                  <a:lnTo>
                    <a:pt x="4863144" y="364313"/>
                  </a:lnTo>
                  <a:lnTo>
                    <a:pt x="4863144" y="364313"/>
                  </a:lnTo>
                  <a:lnTo>
                    <a:pt x="4866292" y="363526"/>
                  </a:lnTo>
                  <a:lnTo>
                    <a:pt x="4869440" y="365493"/>
                  </a:lnTo>
                  <a:lnTo>
                    <a:pt x="4872193" y="366280"/>
                  </a:lnTo>
                  <a:lnTo>
                    <a:pt x="4875341" y="366673"/>
                  </a:lnTo>
                  <a:lnTo>
                    <a:pt x="4878489" y="365886"/>
                  </a:lnTo>
                  <a:lnTo>
                    <a:pt x="4875341" y="363526"/>
                  </a:lnTo>
                  <a:lnTo>
                    <a:pt x="4872193" y="361952"/>
                  </a:lnTo>
                  <a:lnTo>
                    <a:pt x="4869046" y="361559"/>
                  </a:lnTo>
                  <a:lnTo>
                    <a:pt x="4865898" y="360772"/>
                  </a:lnTo>
                  <a:lnTo>
                    <a:pt x="4862752" y="360379"/>
                  </a:lnTo>
                  <a:lnTo>
                    <a:pt x="4859997" y="359592"/>
                  </a:lnTo>
                  <a:lnTo>
                    <a:pt x="4854489" y="351330"/>
                  </a:lnTo>
                  <a:lnTo>
                    <a:pt x="4855670" y="350936"/>
                  </a:lnTo>
                  <a:lnTo>
                    <a:pt x="4856850" y="347789"/>
                  </a:lnTo>
                  <a:lnTo>
                    <a:pt x="4853703" y="345428"/>
                  </a:lnTo>
                  <a:lnTo>
                    <a:pt x="4850949" y="343461"/>
                  </a:lnTo>
                  <a:lnTo>
                    <a:pt x="4848588" y="342674"/>
                  </a:lnTo>
                  <a:lnTo>
                    <a:pt x="4847801" y="341494"/>
                  </a:lnTo>
                  <a:lnTo>
                    <a:pt x="4858030" y="333232"/>
                  </a:lnTo>
                  <a:lnTo>
                    <a:pt x="4859604" y="333626"/>
                  </a:lnTo>
                  <a:lnTo>
                    <a:pt x="4862752" y="334019"/>
                  </a:lnTo>
                  <a:lnTo>
                    <a:pt x="4860784" y="331265"/>
                  </a:lnTo>
                  <a:lnTo>
                    <a:pt x="4862752" y="329691"/>
                  </a:lnTo>
                  <a:lnTo>
                    <a:pt x="4863931" y="330085"/>
                  </a:lnTo>
                  <a:lnTo>
                    <a:pt x="4867079" y="330478"/>
                  </a:lnTo>
                  <a:lnTo>
                    <a:pt x="4865898" y="327331"/>
                  </a:lnTo>
                  <a:lnTo>
                    <a:pt x="4862752" y="317888"/>
                  </a:lnTo>
                  <a:lnTo>
                    <a:pt x="4863144" y="317495"/>
                  </a:lnTo>
                  <a:lnTo>
                    <a:pt x="4858424" y="314348"/>
                  </a:lnTo>
                  <a:lnTo>
                    <a:pt x="4850949" y="312381"/>
                  </a:lnTo>
                  <a:lnTo>
                    <a:pt x="4849375" y="311200"/>
                  </a:lnTo>
                  <a:lnTo>
                    <a:pt x="4845834" y="310413"/>
                  </a:lnTo>
                  <a:lnTo>
                    <a:pt x="4843080" y="310020"/>
                  </a:lnTo>
                  <a:lnTo>
                    <a:pt x="4842293" y="310413"/>
                  </a:lnTo>
                  <a:lnTo>
                    <a:pt x="4839539" y="309627"/>
                  </a:lnTo>
                  <a:lnTo>
                    <a:pt x="4839539" y="308840"/>
                  </a:lnTo>
                  <a:lnTo>
                    <a:pt x="4836391" y="308446"/>
                  </a:lnTo>
                  <a:lnTo>
                    <a:pt x="4833245" y="307266"/>
                  </a:lnTo>
                  <a:lnTo>
                    <a:pt x="4829703" y="306086"/>
                  </a:lnTo>
                  <a:lnTo>
                    <a:pt x="4826556" y="304905"/>
                  </a:lnTo>
                  <a:lnTo>
                    <a:pt x="4823409" y="303725"/>
                  </a:lnTo>
                  <a:lnTo>
                    <a:pt x="4820261" y="302938"/>
                  </a:lnTo>
                  <a:lnTo>
                    <a:pt x="4817114" y="302545"/>
                  </a:lnTo>
                  <a:lnTo>
                    <a:pt x="4813573" y="302151"/>
                  </a:lnTo>
                  <a:lnTo>
                    <a:pt x="4810426" y="301365"/>
                  </a:lnTo>
                  <a:lnTo>
                    <a:pt x="4807278" y="300578"/>
                  </a:lnTo>
                  <a:lnTo>
                    <a:pt x="4804130" y="299397"/>
                  </a:lnTo>
                  <a:lnTo>
                    <a:pt x="4800590" y="298217"/>
                  </a:lnTo>
                  <a:lnTo>
                    <a:pt x="4797442" y="296250"/>
                  </a:lnTo>
                  <a:lnTo>
                    <a:pt x="4794295" y="295857"/>
                  </a:lnTo>
                  <a:lnTo>
                    <a:pt x="4791147" y="295070"/>
                  </a:lnTo>
                  <a:lnTo>
                    <a:pt x="4788001" y="293889"/>
                  </a:lnTo>
                  <a:lnTo>
                    <a:pt x="4785246" y="291529"/>
                  </a:lnTo>
                  <a:lnTo>
                    <a:pt x="4781705" y="291135"/>
                  </a:lnTo>
                  <a:lnTo>
                    <a:pt x="4775410" y="291135"/>
                  </a:lnTo>
                  <a:lnTo>
                    <a:pt x="4771870" y="290742"/>
                  </a:lnTo>
                  <a:lnTo>
                    <a:pt x="4768722" y="290742"/>
                  </a:lnTo>
                  <a:lnTo>
                    <a:pt x="4765574" y="290349"/>
                  </a:lnTo>
                  <a:lnTo>
                    <a:pt x="4762034" y="289955"/>
                  </a:lnTo>
                  <a:lnTo>
                    <a:pt x="4758886" y="289562"/>
                  </a:lnTo>
                  <a:lnTo>
                    <a:pt x="4761640" y="289562"/>
                  </a:lnTo>
                  <a:lnTo>
                    <a:pt x="4758886" y="289168"/>
                  </a:lnTo>
                  <a:lnTo>
                    <a:pt x="4755346" y="288775"/>
                  </a:lnTo>
                  <a:lnTo>
                    <a:pt x="4754166" y="288775"/>
                  </a:lnTo>
                  <a:lnTo>
                    <a:pt x="4750625" y="288775"/>
                  </a:lnTo>
                  <a:lnTo>
                    <a:pt x="4753379" y="289562"/>
                  </a:lnTo>
                  <a:lnTo>
                    <a:pt x="4753379" y="289562"/>
                  </a:lnTo>
                  <a:lnTo>
                    <a:pt x="4752592" y="291529"/>
                  </a:lnTo>
                  <a:lnTo>
                    <a:pt x="4750231" y="290349"/>
                  </a:lnTo>
                  <a:lnTo>
                    <a:pt x="4751805" y="292709"/>
                  </a:lnTo>
                  <a:lnTo>
                    <a:pt x="4751412" y="293496"/>
                  </a:lnTo>
                  <a:lnTo>
                    <a:pt x="4749445" y="293496"/>
                  </a:lnTo>
                  <a:lnTo>
                    <a:pt x="4746297" y="291135"/>
                  </a:lnTo>
                  <a:lnTo>
                    <a:pt x="4743543" y="288775"/>
                  </a:lnTo>
                  <a:lnTo>
                    <a:pt x="4746691" y="288382"/>
                  </a:lnTo>
                  <a:lnTo>
                    <a:pt x="4743936" y="287988"/>
                  </a:lnTo>
                  <a:lnTo>
                    <a:pt x="4740789" y="287595"/>
                  </a:lnTo>
                  <a:lnTo>
                    <a:pt x="4738035" y="288382"/>
                  </a:lnTo>
                  <a:lnTo>
                    <a:pt x="4734494" y="286808"/>
                  </a:lnTo>
                  <a:lnTo>
                    <a:pt x="4731347" y="286414"/>
                  </a:lnTo>
                  <a:lnTo>
                    <a:pt x="4728199" y="287595"/>
                  </a:lnTo>
                  <a:lnTo>
                    <a:pt x="4725052" y="287595"/>
                  </a:lnTo>
                  <a:lnTo>
                    <a:pt x="4721905" y="287201"/>
                  </a:lnTo>
                  <a:lnTo>
                    <a:pt x="4715217" y="287201"/>
                  </a:lnTo>
                  <a:lnTo>
                    <a:pt x="4712069" y="287595"/>
                  </a:lnTo>
                  <a:lnTo>
                    <a:pt x="4715217" y="287988"/>
                  </a:lnTo>
                  <a:lnTo>
                    <a:pt x="4717970" y="288775"/>
                  </a:lnTo>
                  <a:lnTo>
                    <a:pt x="4721118" y="288775"/>
                  </a:lnTo>
                  <a:lnTo>
                    <a:pt x="4724265" y="290349"/>
                  </a:lnTo>
                  <a:lnTo>
                    <a:pt x="4727412" y="290349"/>
                  </a:lnTo>
                  <a:lnTo>
                    <a:pt x="4730560" y="291922"/>
                  </a:lnTo>
                  <a:lnTo>
                    <a:pt x="4733708" y="293889"/>
                  </a:lnTo>
                  <a:lnTo>
                    <a:pt x="4736855" y="295463"/>
                  </a:lnTo>
                  <a:lnTo>
                    <a:pt x="4740002" y="297037"/>
                  </a:lnTo>
                  <a:lnTo>
                    <a:pt x="4742757" y="299004"/>
                  </a:lnTo>
                  <a:lnTo>
                    <a:pt x="4740789" y="301758"/>
                  </a:lnTo>
                  <a:lnTo>
                    <a:pt x="4743543" y="303332"/>
                  </a:lnTo>
                  <a:lnTo>
                    <a:pt x="4745903" y="303725"/>
                  </a:lnTo>
                  <a:lnTo>
                    <a:pt x="4749445" y="305692"/>
                  </a:lnTo>
                  <a:lnTo>
                    <a:pt x="4748264" y="306086"/>
                  </a:lnTo>
                  <a:lnTo>
                    <a:pt x="4748264" y="306873"/>
                  </a:lnTo>
                  <a:lnTo>
                    <a:pt x="4700659" y="284447"/>
                  </a:lnTo>
                  <a:lnTo>
                    <a:pt x="4700266" y="284054"/>
                  </a:lnTo>
                  <a:lnTo>
                    <a:pt x="4697119" y="281693"/>
                  </a:lnTo>
                  <a:lnTo>
                    <a:pt x="4693971" y="278939"/>
                  </a:lnTo>
                  <a:lnTo>
                    <a:pt x="4691217" y="278546"/>
                  </a:lnTo>
                  <a:lnTo>
                    <a:pt x="4688463" y="276972"/>
                  </a:lnTo>
                  <a:lnTo>
                    <a:pt x="4685710" y="276579"/>
                  </a:lnTo>
                  <a:lnTo>
                    <a:pt x="4688463" y="278939"/>
                  </a:lnTo>
                  <a:lnTo>
                    <a:pt x="4671940" y="271464"/>
                  </a:lnTo>
                  <a:lnTo>
                    <a:pt x="4671546" y="271071"/>
                  </a:lnTo>
                  <a:lnTo>
                    <a:pt x="4668005" y="270677"/>
                  </a:lnTo>
                  <a:lnTo>
                    <a:pt x="4664858" y="269890"/>
                  </a:lnTo>
                  <a:lnTo>
                    <a:pt x="4661316" y="269104"/>
                  </a:lnTo>
                  <a:lnTo>
                    <a:pt x="4658170" y="268317"/>
                  </a:lnTo>
                  <a:lnTo>
                    <a:pt x="4655022" y="267923"/>
                  </a:lnTo>
                  <a:lnTo>
                    <a:pt x="4651481" y="267136"/>
                  </a:lnTo>
                  <a:lnTo>
                    <a:pt x="4648334" y="266350"/>
                  </a:lnTo>
                  <a:lnTo>
                    <a:pt x="4644793" y="265563"/>
                  </a:lnTo>
                  <a:lnTo>
                    <a:pt x="4641645" y="265169"/>
                  </a:lnTo>
                  <a:lnTo>
                    <a:pt x="4638499" y="264776"/>
                  </a:lnTo>
                  <a:lnTo>
                    <a:pt x="4634957" y="263989"/>
                  </a:lnTo>
                  <a:lnTo>
                    <a:pt x="4631809" y="263202"/>
                  </a:lnTo>
                  <a:lnTo>
                    <a:pt x="4628269" y="262415"/>
                  </a:lnTo>
                  <a:lnTo>
                    <a:pt x="4625121" y="262022"/>
                  </a:lnTo>
                  <a:lnTo>
                    <a:pt x="4621581" y="261235"/>
                  </a:lnTo>
                  <a:lnTo>
                    <a:pt x="4618433" y="260448"/>
                  </a:lnTo>
                  <a:lnTo>
                    <a:pt x="4615286" y="259661"/>
                  </a:lnTo>
                  <a:lnTo>
                    <a:pt x="4611745" y="258875"/>
                  </a:lnTo>
                  <a:lnTo>
                    <a:pt x="4608598" y="259268"/>
                  </a:lnTo>
                  <a:lnTo>
                    <a:pt x="4605844" y="257301"/>
                  </a:lnTo>
                  <a:lnTo>
                    <a:pt x="4602696" y="256514"/>
                  </a:lnTo>
                  <a:lnTo>
                    <a:pt x="4599549" y="256121"/>
                  </a:lnTo>
                  <a:lnTo>
                    <a:pt x="4596401" y="257694"/>
                  </a:lnTo>
                  <a:lnTo>
                    <a:pt x="4594828" y="254940"/>
                  </a:lnTo>
                  <a:lnTo>
                    <a:pt x="4591680" y="254153"/>
                  </a:lnTo>
                  <a:lnTo>
                    <a:pt x="4588533" y="253367"/>
                  </a:lnTo>
                  <a:lnTo>
                    <a:pt x="4584992" y="252580"/>
                  </a:lnTo>
                  <a:lnTo>
                    <a:pt x="4581845" y="251793"/>
                  </a:lnTo>
                  <a:lnTo>
                    <a:pt x="4578304" y="251006"/>
                  </a:lnTo>
                  <a:lnTo>
                    <a:pt x="4575156" y="250219"/>
                  </a:lnTo>
                  <a:lnTo>
                    <a:pt x="4571616" y="249432"/>
                  </a:lnTo>
                  <a:lnTo>
                    <a:pt x="4568468" y="249039"/>
                  </a:lnTo>
                  <a:lnTo>
                    <a:pt x="4564927" y="248252"/>
                  </a:lnTo>
                  <a:lnTo>
                    <a:pt x="4568075" y="249039"/>
                  </a:lnTo>
                  <a:lnTo>
                    <a:pt x="4571616" y="249826"/>
                  </a:lnTo>
                  <a:lnTo>
                    <a:pt x="4573583" y="250219"/>
                  </a:lnTo>
                  <a:lnTo>
                    <a:pt x="4559026" y="246678"/>
                  </a:lnTo>
                  <a:lnTo>
                    <a:pt x="4555879" y="245498"/>
                  </a:lnTo>
                  <a:lnTo>
                    <a:pt x="4552338" y="244318"/>
                  </a:lnTo>
                  <a:lnTo>
                    <a:pt x="4548797" y="243531"/>
                  </a:lnTo>
                  <a:lnTo>
                    <a:pt x="4545649" y="242351"/>
                  </a:lnTo>
                  <a:lnTo>
                    <a:pt x="4542109" y="241564"/>
                  </a:lnTo>
                  <a:lnTo>
                    <a:pt x="4538961" y="241170"/>
                  </a:lnTo>
                  <a:lnTo>
                    <a:pt x="4535814" y="240777"/>
                  </a:lnTo>
                  <a:lnTo>
                    <a:pt x="4532666" y="240383"/>
                  </a:lnTo>
                  <a:lnTo>
                    <a:pt x="4529912" y="239990"/>
                  </a:lnTo>
                  <a:lnTo>
                    <a:pt x="4526765" y="238416"/>
                  </a:lnTo>
                  <a:lnTo>
                    <a:pt x="4524011" y="237236"/>
                  </a:lnTo>
                  <a:lnTo>
                    <a:pt x="4521257" y="236056"/>
                  </a:lnTo>
                  <a:lnTo>
                    <a:pt x="4518503" y="237630"/>
                  </a:lnTo>
                  <a:lnTo>
                    <a:pt x="4514962" y="236843"/>
                  </a:lnTo>
                  <a:lnTo>
                    <a:pt x="4512208" y="236449"/>
                  </a:lnTo>
                  <a:lnTo>
                    <a:pt x="4509847" y="236056"/>
                  </a:lnTo>
                  <a:lnTo>
                    <a:pt x="4506307" y="235662"/>
                  </a:lnTo>
                  <a:lnTo>
                    <a:pt x="4503553" y="234482"/>
                  </a:lnTo>
                  <a:lnTo>
                    <a:pt x="4494898" y="232122"/>
                  </a:lnTo>
                  <a:lnTo>
                    <a:pt x="4491356" y="231335"/>
                  </a:lnTo>
                  <a:lnTo>
                    <a:pt x="4488603" y="230548"/>
                  </a:lnTo>
                  <a:lnTo>
                    <a:pt x="4485849" y="229761"/>
                  </a:lnTo>
                  <a:lnTo>
                    <a:pt x="4482701" y="228581"/>
                  </a:lnTo>
                  <a:lnTo>
                    <a:pt x="4479554" y="228187"/>
                  </a:lnTo>
                  <a:lnTo>
                    <a:pt x="4476013" y="227794"/>
                  </a:lnTo>
                  <a:lnTo>
                    <a:pt x="4472866" y="227794"/>
                  </a:lnTo>
                  <a:lnTo>
                    <a:pt x="4469718" y="228187"/>
                  </a:lnTo>
                  <a:lnTo>
                    <a:pt x="4466178" y="227794"/>
                  </a:lnTo>
                  <a:lnTo>
                    <a:pt x="4463030" y="225433"/>
                  </a:lnTo>
                  <a:lnTo>
                    <a:pt x="4465784" y="225827"/>
                  </a:lnTo>
                  <a:lnTo>
                    <a:pt x="4469325" y="226614"/>
                  </a:lnTo>
                  <a:lnTo>
                    <a:pt x="4472472" y="227007"/>
                  </a:lnTo>
                  <a:lnTo>
                    <a:pt x="4469325" y="225433"/>
                  </a:lnTo>
                  <a:lnTo>
                    <a:pt x="4466570" y="225040"/>
                  </a:lnTo>
                  <a:lnTo>
                    <a:pt x="4463817" y="224253"/>
                  </a:lnTo>
                  <a:lnTo>
                    <a:pt x="4460669" y="223860"/>
                  </a:lnTo>
                  <a:lnTo>
                    <a:pt x="4457129" y="223466"/>
                  </a:lnTo>
                  <a:lnTo>
                    <a:pt x="4453981" y="223073"/>
                  </a:lnTo>
                  <a:lnTo>
                    <a:pt x="4450440" y="223073"/>
                  </a:lnTo>
                  <a:lnTo>
                    <a:pt x="4447293" y="223466"/>
                  </a:lnTo>
                  <a:lnTo>
                    <a:pt x="4444145" y="223073"/>
                  </a:lnTo>
                  <a:lnTo>
                    <a:pt x="4440605" y="222679"/>
                  </a:lnTo>
                  <a:lnTo>
                    <a:pt x="4437851" y="221892"/>
                  </a:lnTo>
                  <a:lnTo>
                    <a:pt x="4434703" y="221892"/>
                  </a:lnTo>
                  <a:lnTo>
                    <a:pt x="4431950" y="220319"/>
                  </a:lnTo>
                  <a:lnTo>
                    <a:pt x="4428408" y="219925"/>
                  </a:lnTo>
                  <a:lnTo>
                    <a:pt x="4425261" y="219532"/>
                  </a:lnTo>
                  <a:lnTo>
                    <a:pt x="4422114" y="219138"/>
                  </a:lnTo>
                  <a:lnTo>
                    <a:pt x="4418966" y="219138"/>
                  </a:lnTo>
                  <a:lnTo>
                    <a:pt x="4415819" y="218745"/>
                  </a:lnTo>
                  <a:lnTo>
                    <a:pt x="4412671" y="218352"/>
                  </a:lnTo>
                  <a:lnTo>
                    <a:pt x="4409524" y="217958"/>
                  </a:lnTo>
                  <a:lnTo>
                    <a:pt x="4406770" y="217565"/>
                  </a:lnTo>
                  <a:lnTo>
                    <a:pt x="4403622" y="216778"/>
                  </a:lnTo>
                  <a:lnTo>
                    <a:pt x="4400868" y="215991"/>
                  </a:lnTo>
                  <a:lnTo>
                    <a:pt x="4397721" y="215598"/>
                  </a:lnTo>
                  <a:lnTo>
                    <a:pt x="4394180" y="215204"/>
                  </a:lnTo>
                  <a:lnTo>
                    <a:pt x="4391427" y="213631"/>
                  </a:lnTo>
                  <a:lnTo>
                    <a:pt x="4388673" y="212844"/>
                  </a:lnTo>
                  <a:lnTo>
                    <a:pt x="4385525" y="211663"/>
                  </a:lnTo>
                  <a:lnTo>
                    <a:pt x="4379624" y="211663"/>
                  </a:lnTo>
                  <a:lnTo>
                    <a:pt x="4376476" y="211270"/>
                  </a:lnTo>
                  <a:lnTo>
                    <a:pt x="4373722" y="211663"/>
                  </a:lnTo>
                  <a:lnTo>
                    <a:pt x="4370969" y="212844"/>
                  </a:lnTo>
                  <a:lnTo>
                    <a:pt x="4357985" y="212844"/>
                  </a:lnTo>
                  <a:lnTo>
                    <a:pt x="4354444" y="212450"/>
                  </a:lnTo>
                  <a:lnTo>
                    <a:pt x="4351297" y="212450"/>
                  </a:lnTo>
                  <a:lnTo>
                    <a:pt x="4348150" y="212057"/>
                  </a:lnTo>
                  <a:lnTo>
                    <a:pt x="4342248" y="212057"/>
                  </a:lnTo>
                  <a:lnTo>
                    <a:pt x="4339494" y="212844"/>
                  </a:lnTo>
                  <a:lnTo>
                    <a:pt x="4336347" y="212450"/>
                  </a:lnTo>
                  <a:lnTo>
                    <a:pt x="4333199" y="212057"/>
                  </a:lnTo>
                  <a:lnTo>
                    <a:pt x="4330445" y="211663"/>
                  </a:lnTo>
                  <a:lnTo>
                    <a:pt x="4327692" y="210877"/>
                  </a:lnTo>
                  <a:lnTo>
                    <a:pt x="4324544" y="210877"/>
                  </a:lnTo>
                  <a:lnTo>
                    <a:pt x="4321396" y="211270"/>
                  </a:lnTo>
                  <a:lnTo>
                    <a:pt x="4324544" y="212057"/>
                  </a:lnTo>
                  <a:lnTo>
                    <a:pt x="4327692" y="212844"/>
                  </a:lnTo>
                  <a:lnTo>
                    <a:pt x="4330445" y="213631"/>
                  </a:lnTo>
                  <a:lnTo>
                    <a:pt x="4328084" y="215204"/>
                  </a:lnTo>
                  <a:lnTo>
                    <a:pt x="4324937" y="213631"/>
                  </a:lnTo>
                  <a:lnTo>
                    <a:pt x="4322183" y="213237"/>
                  </a:lnTo>
                  <a:lnTo>
                    <a:pt x="4319429" y="212844"/>
                  </a:lnTo>
                  <a:lnTo>
                    <a:pt x="4315889" y="212450"/>
                  </a:lnTo>
                  <a:lnTo>
                    <a:pt x="4313134" y="212057"/>
                  </a:lnTo>
                  <a:lnTo>
                    <a:pt x="4309987" y="210483"/>
                  </a:lnTo>
                  <a:lnTo>
                    <a:pt x="4306840" y="210877"/>
                  </a:lnTo>
                  <a:lnTo>
                    <a:pt x="4303692" y="210877"/>
                  </a:lnTo>
                  <a:lnTo>
                    <a:pt x="4300938" y="210483"/>
                  </a:lnTo>
                  <a:lnTo>
                    <a:pt x="4297791" y="210090"/>
                  </a:lnTo>
                  <a:lnTo>
                    <a:pt x="4294250" y="209696"/>
                  </a:lnTo>
                  <a:lnTo>
                    <a:pt x="4291496" y="209303"/>
                  </a:lnTo>
                  <a:lnTo>
                    <a:pt x="4289922" y="209303"/>
                  </a:lnTo>
                  <a:lnTo>
                    <a:pt x="4287169" y="208909"/>
                  </a:lnTo>
                  <a:lnTo>
                    <a:pt x="4284021" y="208516"/>
                  </a:lnTo>
                  <a:lnTo>
                    <a:pt x="4280480" y="208123"/>
                  </a:lnTo>
                  <a:lnTo>
                    <a:pt x="4277333" y="207729"/>
                  </a:lnTo>
                  <a:lnTo>
                    <a:pt x="4273791" y="207336"/>
                  </a:lnTo>
                  <a:lnTo>
                    <a:pt x="4267497" y="206942"/>
                  </a:lnTo>
                  <a:lnTo>
                    <a:pt x="4264350" y="206942"/>
                  </a:lnTo>
                  <a:lnTo>
                    <a:pt x="4258054" y="206549"/>
                  </a:lnTo>
                  <a:lnTo>
                    <a:pt x="4255301" y="206155"/>
                  </a:lnTo>
                  <a:lnTo>
                    <a:pt x="4252153" y="206155"/>
                  </a:lnTo>
                  <a:lnTo>
                    <a:pt x="4254908" y="206942"/>
                  </a:lnTo>
                  <a:lnTo>
                    <a:pt x="4258054" y="208516"/>
                  </a:lnTo>
                  <a:lnTo>
                    <a:pt x="4260022" y="210090"/>
                  </a:lnTo>
                  <a:lnTo>
                    <a:pt x="4262776" y="212450"/>
                  </a:lnTo>
                  <a:lnTo>
                    <a:pt x="4265923" y="214024"/>
                  </a:lnTo>
                  <a:lnTo>
                    <a:pt x="4269464" y="216384"/>
                  </a:lnTo>
                  <a:lnTo>
                    <a:pt x="4266317" y="217565"/>
                  </a:lnTo>
                  <a:lnTo>
                    <a:pt x="4265923" y="220712"/>
                  </a:lnTo>
                  <a:lnTo>
                    <a:pt x="4269071" y="221892"/>
                  </a:lnTo>
                  <a:lnTo>
                    <a:pt x="4271824" y="221892"/>
                  </a:lnTo>
                  <a:lnTo>
                    <a:pt x="4275366" y="221499"/>
                  </a:lnTo>
                  <a:lnTo>
                    <a:pt x="4277726" y="221892"/>
                  </a:lnTo>
                  <a:lnTo>
                    <a:pt x="4311561" y="244318"/>
                  </a:lnTo>
                  <a:lnTo>
                    <a:pt x="4308807" y="242744"/>
                  </a:lnTo>
                  <a:lnTo>
                    <a:pt x="4306053" y="241170"/>
                  </a:lnTo>
                  <a:lnTo>
                    <a:pt x="4308413" y="244318"/>
                  </a:lnTo>
                  <a:lnTo>
                    <a:pt x="4311561" y="245498"/>
                  </a:lnTo>
                  <a:lnTo>
                    <a:pt x="4311955" y="245891"/>
                  </a:lnTo>
                  <a:lnTo>
                    <a:pt x="4308807" y="245105"/>
                  </a:lnTo>
                  <a:lnTo>
                    <a:pt x="4305266" y="244711"/>
                  </a:lnTo>
                  <a:lnTo>
                    <a:pt x="4302119" y="244318"/>
                  </a:lnTo>
                  <a:lnTo>
                    <a:pt x="4299364" y="244711"/>
                  </a:lnTo>
                  <a:lnTo>
                    <a:pt x="4297004" y="244711"/>
                  </a:lnTo>
                  <a:lnTo>
                    <a:pt x="4288742" y="245105"/>
                  </a:lnTo>
                  <a:lnTo>
                    <a:pt x="4285988" y="244318"/>
                  </a:lnTo>
                  <a:lnTo>
                    <a:pt x="4282448" y="243137"/>
                  </a:lnTo>
                  <a:lnTo>
                    <a:pt x="4279693" y="241564"/>
                  </a:lnTo>
                  <a:lnTo>
                    <a:pt x="4276939" y="239203"/>
                  </a:lnTo>
                  <a:lnTo>
                    <a:pt x="4291889" y="234089"/>
                  </a:lnTo>
                  <a:lnTo>
                    <a:pt x="4288742" y="232908"/>
                  </a:lnTo>
                  <a:lnTo>
                    <a:pt x="4285594" y="232515"/>
                  </a:lnTo>
                  <a:lnTo>
                    <a:pt x="4282448" y="232122"/>
                  </a:lnTo>
                  <a:lnTo>
                    <a:pt x="4279693" y="231728"/>
                  </a:lnTo>
                  <a:lnTo>
                    <a:pt x="4276152" y="230941"/>
                  </a:lnTo>
                  <a:lnTo>
                    <a:pt x="4273005" y="230548"/>
                  </a:lnTo>
                  <a:lnTo>
                    <a:pt x="4269464" y="230154"/>
                  </a:lnTo>
                  <a:lnTo>
                    <a:pt x="4263956" y="230154"/>
                  </a:lnTo>
                  <a:lnTo>
                    <a:pt x="4260415" y="229761"/>
                  </a:lnTo>
                  <a:lnTo>
                    <a:pt x="4257268" y="228581"/>
                  </a:lnTo>
                  <a:lnTo>
                    <a:pt x="4254514" y="226614"/>
                  </a:lnTo>
                  <a:lnTo>
                    <a:pt x="4251366" y="225040"/>
                  </a:lnTo>
                  <a:lnTo>
                    <a:pt x="4248613" y="222286"/>
                  </a:lnTo>
                  <a:lnTo>
                    <a:pt x="4245465" y="220319"/>
                  </a:lnTo>
                  <a:lnTo>
                    <a:pt x="4242711" y="219925"/>
                  </a:lnTo>
                  <a:lnTo>
                    <a:pt x="4239957" y="219138"/>
                  </a:lnTo>
                  <a:lnTo>
                    <a:pt x="4237204" y="218745"/>
                  </a:lnTo>
                  <a:lnTo>
                    <a:pt x="4234449" y="216384"/>
                  </a:lnTo>
                  <a:lnTo>
                    <a:pt x="4231695" y="215991"/>
                  </a:lnTo>
                  <a:lnTo>
                    <a:pt x="4228155" y="214811"/>
                  </a:lnTo>
                  <a:lnTo>
                    <a:pt x="4225401" y="215204"/>
                  </a:lnTo>
                  <a:lnTo>
                    <a:pt x="4224613" y="218352"/>
                  </a:lnTo>
                  <a:lnTo>
                    <a:pt x="4222646" y="221106"/>
                  </a:lnTo>
                  <a:lnTo>
                    <a:pt x="4219499" y="222679"/>
                  </a:lnTo>
                  <a:lnTo>
                    <a:pt x="4216352" y="222679"/>
                  </a:lnTo>
                  <a:lnTo>
                    <a:pt x="4213598" y="221892"/>
                  </a:lnTo>
                  <a:lnTo>
                    <a:pt x="4210843" y="221892"/>
                  </a:lnTo>
                  <a:lnTo>
                    <a:pt x="4207697" y="222286"/>
                  </a:lnTo>
                  <a:lnTo>
                    <a:pt x="4201401" y="222286"/>
                  </a:lnTo>
                  <a:lnTo>
                    <a:pt x="4198648" y="221892"/>
                  </a:lnTo>
                  <a:lnTo>
                    <a:pt x="4195500" y="221106"/>
                  </a:lnTo>
                  <a:lnTo>
                    <a:pt x="4191959" y="220712"/>
                  </a:lnTo>
                  <a:lnTo>
                    <a:pt x="4188812" y="220319"/>
                  </a:lnTo>
                  <a:lnTo>
                    <a:pt x="4186058" y="220712"/>
                  </a:lnTo>
                  <a:lnTo>
                    <a:pt x="4183697" y="220712"/>
                  </a:lnTo>
                  <a:lnTo>
                    <a:pt x="4182124" y="220319"/>
                  </a:lnTo>
                  <a:lnTo>
                    <a:pt x="4161272" y="219532"/>
                  </a:lnTo>
                  <a:lnTo>
                    <a:pt x="4160485" y="219532"/>
                  </a:lnTo>
                  <a:lnTo>
                    <a:pt x="4157338" y="218745"/>
                  </a:lnTo>
                  <a:lnTo>
                    <a:pt x="4154584" y="217958"/>
                  </a:lnTo>
                  <a:lnTo>
                    <a:pt x="4151436" y="217171"/>
                  </a:lnTo>
                  <a:lnTo>
                    <a:pt x="4147895" y="215598"/>
                  </a:lnTo>
                  <a:lnTo>
                    <a:pt x="4145141" y="216384"/>
                  </a:lnTo>
                  <a:lnTo>
                    <a:pt x="4142387" y="217565"/>
                  </a:lnTo>
                  <a:lnTo>
                    <a:pt x="4138847" y="217958"/>
                  </a:lnTo>
                  <a:lnTo>
                    <a:pt x="4135699" y="217565"/>
                  </a:lnTo>
                  <a:lnTo>
                    <a:pt x="4132552" y="217171"/>
                  </a:lnTo>
                  <a:lnTo>
                    <a:pt x="4129404" y="217171"/>
                  </a:lnTo>
                  <a:lnTo>
                    <a:pt x="4126650" y="218352"/>
                  </a:lnTo>
                  <a:lnTo>
                    <a:pt x="4125077" y="218745"/>
                  </a:lnTo>
                  <a:lnTo>
                    <a:pt x="4121929" y="218745"/>
                  </a:lnTo>
                  <a:lnTo>
                    <a:pt x="4120749" y="218352"/>
                  </a:lnTo>
                  <a:lnTo>
                    <a:pt x="4117601" y="217958"/>
                  </a:lnTo>
                  <a:lnTo>
                    <a:pt x="4115634" y="218352"/>
                  </a:lnTo>
                  <a:lnTo>
                    <a:pt x="4112880" y="217958"/>
                  </a:lnTo>
                  <a:lnTo>
                    <a:pt x="4111700" y="219138"/>
                  </a:lnTo>
                  <a:lnTo>
                    <a:pt x="4107373" y="219925"/>
                  </a:lnTo>
                  <a:lnTo>
                    <a:pt x="4106979" y="219925"/>
                  </a:lnTo>
                  <a:lnTo>
                    <a:pt x="4103831" y="218745"/>
                  </a:lnTo>
                  <a:lnTo>
                    <a:pt x="4100684" y="219138"/>
                  </a:lnTo>
                  <a:lnTo>
                    <a:pt x="4097930" y="219532"/>
                  </a:lnTo>
                  <a:lnTo>
                    <a:pt x="4097537" y="219532"/>
                  </a:lnTo>
                  <a:lnTo>
                    <a:pt x="4097143" y="219532"/>
                  </a:lnTo>
                  <a:lnTo>
                    <a:pt x="4097143" y="219532"/>
                  </a:lnTo>
                  <a:lnTo>
                    <a:pt x="4094782" y="220319"/>
                  </a:lnTo>
                  <a:lnTo>
                    <a:pt x="4092815" y="221892"/>
                  </a:lnTo>
                  <a:lnTo>
                    <a:pt x="4088094" y="221106"/>
                  </a:lnTo>
                  <a:lnTo>
                    <a:pt x="4084947" y="219532"/>
                  </a:lnTo>
                  <a:lnTo>
                    <a:pt x="4082193" y="219138"/>
                  </a:lnTo>
                  <a:lnTo>
                    <a:pt x="4079439" y="218745"/>
                  </a:lnTo>
                  <a:lnTo>
                    <a:pt x="4075899" y="218352"/>
                  </a:lnTo>
                  <a:lnTo>
                    <a:pt x="4072751" y="217958"/>
                  </a:lnTo>
                  <a:lnTo>
                    <a:pt x="4070390" y="218745"/>
                  </a:lnTo>
                  <a:lnTo>
                    <a:pt x="4067242" y="217171"/>
                  </a:lnTo>
                  <a:lnTo>
                    <a:pt x="4064489" y="216778"/>
                  </a:lnTo>
                  <a:lnTo>
                    <a:pt x="4061735" y="216778"/>
                  </a:lnTo>
                  <a:lnTo>
                    <a:pt x="4059768" y="216384"/>
                  </a:lnTo>
                  <a:lnTo>
                    <a:pt x="4047571" y="209303"/>
                  </a:lnTo>
                  <a:lnTo>
                    <a:pt x="4047571" y="206549"/>
                  </a:lnTo>
                  <a:lnTo>
                    <a:pt x="4045211" y="204188"/>
                  </a:lnTo>
                  <a:lnTo>
                    <a:pt x="4048359" y="206942"/>
                  </a:lnTo>
                  <a:lnTo>
                    <a:pt x="4044817" y="203401"/>
                  </a:lnTo>
                  <a:lnTo>
                    <a:pt x="4045604" y="203401"/>
                  </a:lnTo>
                  <a:lnTo>
                    <a:pt x="4042850" y="201434"/>
                  </a:lnTo>
                  <a:lnTo>
                    <a:pt x="4040883" y="198287"/>
                  </a:lnTo>
                  <a:lnTo>
                    <a:pt x="4037735" y="196713"/>
                  </a:lnTo>
                  <a:lnTo>
                    <a:pt x="4034195" y="195139"/>
                  </a:lnTo>
                  <a:lnTo>
                    <a:pt x="4033408" y="194746"/>
                  </a:lnTo>
                  <a:lnTo>
                    <a:pt x="4030261" y="193172"/>
                  </a:lnTo>
                  <a:lnTo>
                    <a:pt x="4026720" y="191599"/>
                  </a:lnTo>
                  <a:lnTo>
                    <a:pt x="4023966" y="190025"/>
                  </a:lnTo>
                  <a:lnTo>
                    <a:pt x="4020425" y="188845"/>
                  </a:lnTo>
                  <a:lnTo>
                    <a:pt x="4017277" y="187664"/>
                  </a:lnTo>
                  <a:lnTo>
                    <a:pt x="4014130" y="186878"/>
                  </a:lnTo>
                  <a:lnTo>
                    <a:pt x="4010589" y="185697"/>
                  </a:lnTo>
                  <a:lnTo>
                    <a:pt x="4007442" y="185304"/>
                  </a:lnTo>
                  <a:lnTo>
                    <a:pt x="4004294" y="184124"/>
                  </a:lnTo>
                  <a:lnTo>
                    <a:pt x="4001148" y="183730"/>
                  </a:lnTo>
                  <a:lnTo>
                    <a:pt x="3998000" y="182943"/>
                  </a:lnTo>
                  <a:lnTo>
                    <a:pt x="3994852" y="182550"/>
                  </a:lnTo>
                  <a:lnTo>
                    <a:pt x="3992099" y="182156"/>
                  </a:lnTo>
                  <a:lnTo>
                    <a:pt x="3989345" y="181763"/>
                  </a:lnTo>
                  <a:lnTo>
                    <a:pt x="3986197" y="181370"/>
                  </a:lnTo>
                  <a:lnTo>
                    <a:pt x="3983050" y="180976"/>
                  </a:lnTo>
                  <a:lnTo>
                    <a:pt x="3980296" y="180583"/>
                  </a:lnTo>
                  <a:lnTo>
                    <a:pt x="3977148" y="180189"/>
                  </a:lnTo>
                  <a:lnTo>
                    <a:pt x="3974394" y="179796"/>
                  </a:lnTo>
                  <a:lnTo>
                    <a:pt x="3971641" y="179402"/>
                  </a:lnTo>
                  <a:lnTo>
                    <a:pt x="3968493" y="179009"/>
                  </a:lnTo>
                  <a:lnTo>
                    <a:pt x="3965739" y="178616"/>
                  </a:lnTo>
                  <a:lnTo>
                    <a:pt x="3962592" y="178616"/>
                  </a:lnTo>
                  <a:lnTo>
                    <a:pt x="3959838" y="178222"/>
                  </a:lnTo>
                  <a:lnTo>
                    <a:pt x="3957083" y="177829"/>
                  </a:lnTo>
                  <a:lnTo>
                    <a:pt x="3953936" y="177829"/>
                  </a:lnTo>
                  <a:lnTo>
                    <a:pt x="3950789" y="177435"/>
                  </a:lnTo>
                  <a:lnTo>
                    <a:pt x="3947641" y="177435"/>
                  </a:lnTo>
                  <a:lnTo>
                    <a:pt x="3944494" y="177042"/>
                  </a:lnTo>
                  <a:lnTo>
                    <a:pt x="3941346" y="177042"/>
                  </a:lnTo>
                  <a:lnTo>
                    <a:pt x="3938592" y="176648"/>
                  </a:lnTo>
                  <a:lnTo>
                    <a:pt x="3935838" y="177042"/>
                  </a:lnTo>
                  <a:lnTo>
                    <a:pt x="3929937" y="177042"/>
                  </a:lnTo>
                  <a:lnTo>
                    <a:pt x="3927183" y="176648"/>
                  </a:lnTo>
                  <a:lnTo>
                    <a:pt x="3921282" y="176648"/>
                  </a:lnTo>
                  <a:lnTo>
                    <a:pt x="3918134" y="177042"/>
                  </a:lnTo>
                  <a:lnTo>
                    <a:pt x="3914987" y="177829"/>
                  </a:lnTo>
                  <a:lnTo>
                    <a:pt x="3911839" y="177829"/>
                  </a:lnTo>
                  <a:lnTo>
                    <a:pt x="3908692" y="178222"/>
                  </a:lnTo>
                  <a:lnTo>
                    <a:pt x="3905545" y="178616"/>
                  </a:lnTo>
                  <a:lnTo>
                    <a:pt x="3902003" y="179009"/>
                  </a:lnTo>
                  <a:lnTo>
                    <a:pt x="3899250" y="179402"/>
                  </a:lnTo>
                  <a:lnTo>
                    <a:pt x="3896496" y="179796"/>
                  </a:lnTo>
                  <a:lnTo>
                    <a:pt x="3893348" y="180583"/>
                  </a:lnTo>
                  <a:lnTo>
                    <a:pt x="3890594" y="180583"/>
                  </a:lnTo>
                  <a:lnTo>
                    <a:pt x="3887447" y="181763"/>
                  </a:lnTo>
                  <a:lnTo>
                    <a:pt x="3884299" y="182550"/>
                  </a:lnTo>
                  <a:lnTo>
                    <a:pt x="3881545" y="183337"/>
                  </a:lnTo>
                  <a:lnTo>
                    <a:pt x="3881152" y="183730"/>
                  </a:lnTo>
                  <a:lnTo>
                    <a:pt x="3878005" y="183337"/>
                  </a:lnTo>
                  <a:lnTo>
                    <a:pt x="3874857" y="183337"/>
                  </a:lnTo>
                  <a:lnTo>
                    <a:pt x="3874463" y="183337"/>
                  </a:lnTo>
                  <a:lnTo>
                    <a:pt x="3839843" y="180583"/>
                  </a:lnTo>
                  <a:lnTo>
                    <a:pt x="3842203" y="180189"/>
                  </a:lnTo>
                  <a:lnTo>
                    <a:pt x="3839449" y="178222"/>
                  </a:lnTo>
                  <a:lnTo>
                    <a:pt x="3836695" y="177435"/>
                  </a:lnTo>
                  <a:lnTo>
                    <a:pt x="3833548" y="176255"/>
                  </a:lnTo>
                  <a:lnTo>
                    <a:pt x="3830007" y="175075"/>
                  </a:lnTo>
                  <a:lnTo>
                    <a:pt x="3827252" y="174288"/>
                  </a:lnTo>
                  <a:lnTo>
                    <a:pt x="3824106" y="172714"/>
                  </a:lnTo>
                  <a:lnTo>
                    <a:pt x="3820564" y="171140"/>
                  </a:lnTo>
                  <a:lnTo>
                    <a:pt x="3817417" y="170747"/>
                  </a:lnTo>
                  <a:lnTo>
                    <a:pt x="3814270" y="170354"/>
                  </a:lnTo>
                  <a:lnTo>
                    <a:pt x="3811515" y="169960"/>
                  </a:lnTo>
                  <a:lnTo>
                    <a:pt x="3807975" y="169567"/>
                  </a:lnTo>
                  <a:lnTo>
                    <a:pt x="3804434" y="168780"/>
                  </a:lnTo>
                  <a:lnTo>
                    <a:pt x="3801287" y="169173"/>
                  </a:lnTo>
                  <a:lnTo>
                    <a:pt x="3798533" y="170747"/>
                  </a:lnTo>
                  <a:lnTo>
                    <a:pt x="3795385" y="170747"/>
                  </a:lnTo>
                  <a:lnTo>
                    <a:pt x="3792238" y="172321"/>
                  </a:lnTo>
                  <a:lnTo>
                    <a:pt x="3789877" y="173894"/>
                  </a:lnTo>
                  <a:lnTo>
                    <a:pt x="3789484" y="173501"/>
                  </a:lnTo>
                  <a:lnTo>
                    <a:pt x="3792238" y="171927"/>
                  </a:lnTo>
                  <a:lnTo>
                    <a:pt x="3794992" y="170354"/>
                  </a:lnTo>
                  <a:lnTo>
                    <a:pt x="3794205" y="167600"/>
                  </a:lnTo>
                  <a:lnTo>
                    <a:pt x="3791057" y="165632"/>
                  </a:lnTo>
                  <a:lnTo>
                    <a:pt x="3787910" y="166026"/>
                  </a:lnTo>
                  <a:lnTo>
                    <a:pt x="3785156" y="166419"/>
                  </a:lnTo>
                  <a:lnTo>
                    <a:pt x="3782402" y="166026"/>
                  </a:lnTo>
                  <a:lnTo>
                    <a:pt x="3779254" y="166419"/>
                  </a:lnTo>
                  <a:lnTo>
                    <a:pt x="3776501" y="167600"/>
                  </a:lnTo>
                  <a:lnTo>
                    <a:pt x="3774140" y="164846"/>
                  </a:lnTo>
                  <a:lnTo>
                    <a:pt x="3770993" y="162092"/>
                  </a:lnTo>
                  <a:lnTo>
                    <a:pt x="3768238" y="162485"/>
                  </a:lnTo>
                  <a:lnTo>
                    <a:pt x="3765878" y="162879"/>
                  </a:lnTo>
                  <a:lnTo>
                    <a:pt x="3754862" y="157371"/>
                  </a:lnTo>
                  <a:lnTo>
                    <a:pt x="3757616" y="158551"/>
                  </a:lnTo>
                  <a:lnTo>
                    <a:pt x="3760764" y="159338"/>
                  </a:lnTo>
                  <a:lnTo>
                    <a:pt x="3763911" y="157764"/>
                  </a:lnTo>
                  <a:lnTo>
                    <a:pt x="3763517" y="155010"/>
                  </a:lnTo>
                  <a:lnTo>
                    <a:pt x="3760764" y="153830"/>
                  </a:lnTo>
                  <a:lnTo>
                    <a:pt x="3757223" y="152256"/>
                  </a:lnTo>
                  <a:lnTo>
                    <a:pt x="3754468" y="151469"/>
                  </a:lnTo>
                  <a:lnTo>
                    <a:pt x="3750928" y="150289"/>
                  </a:lnTo>
                  <a:lnTo>
                    <a:pt x="3747780" y="149109"/>
                  </a:lnTo>
                  <a:lnTo>
                    <a:pt x="3744240" y="148715"/>
                  </a:lnTo>
                  <a:lnTo>
                    <a:pt x="3737945" y="147535"/>
                  </a:lnTo>
                  <a:lnTo>
                    <a:pt x="3734797" y="147141"/>
                  </a:lnTo>
                  <a:lnTo>
                    <a:pt x="3731650" y="146748"/>
                  </a:lnTo>
                  <a:lnTo>
                    <a:pt x="3726142" y="146355"/>
                  </a:lnTo>
                  <a:lnTo>
                    <a:pt x="3722601" y="145961"/>
                  </a:lnTo>
                  <a:lnTo>
                    <a:pt x="3719848" y="145568"/>
                  </a:lnTo>
                  <a:lnTo>
                    <a:pt x="3716700" y="145174"/>
                  </a:lnTo>
                  <a:lnTo>
                    <a:pt x="3713552" y="144781"/>
                  </a:lnTo>
                  <a:lnTo>
                    <a:pt x="3710799" y="144387"/>
                  </a:lnTo>
                  <a:lnTo>
                    <a:pt x="3707651" y="144387"/>
                  </a:lnTo>
                  <a:lnTo>
                    <a:pt x="3704503" y="143994"/>
                  </a:lnTo>
                  <a:lnTo>
                    <a:pt x="3692308" y="143994"/>
                  </a:lnTo>
                  <a:lnTo>
                    <a:pt x="3689160" y="144387"/>
                  </a:lnTo>
                  <a:lnTo>
                    <a:pt x="3686406" y="144781"/>
                  </a:lnTo>
                  <a:lnTo>
                    <a:pt x="3685226" y="150289"/>
                  </a:lnTo>
                  <a:lnTo>
                    <a:pt x="3685619" y="152649"/>
                  </a:lnTo>
                  <a:lnTo>
                    <a:pt x="3681685" y="152649"/>
                  </a:lnTo>
                  <a:lnTo>
                    <a:pt x="3682078" y="149895"/>
                  </a:lnTo>
                  <a:lnTo>
                    <a:pt x="3682472" y="147141"/>
                  </a:lnTo>
                  <a:lnTo>
                    <a:pt x="3679717" y="144781"/>
                  </a:lnTo>
                  <a:lnTo>
                    <a:pt x="3676571" y="144781"/>
                  </a:lnTo>
                  <a:lnTo>
                    <a:pt x="3673423" y="144387"/>
                  </a:lnTo>
                  <a:lnTo>
                    <a:pt x="3670669" y="144387"/>
                  </a:lnTo>
                  <a:lnTo>
                    <a:pt x="3667522" y="144781"/>
                  </a:lnTo>
                  <a:lnTo>
                    <a:pt x="3664768" y="144781"/>
                  </a:lnTo>
                  <a:lnTo>
                    <a:pt x="3661620" y="145174"/>
                  </a:lnTo>
                  <a:lnTo>
                    <a:pt x="3658473" y="145174"/>
                  </a:lnTo>
                  <a:lnTo>
                    <a:pt x="3655719" y="145568"/>
                  </a:lnTo>
                  <a:lnTo>
                    <a:pt x="3652571" y="145961"/>
                  </a:lnTo>
                  <a:lnTo>
                    <a:pt x="3649424" y="146355"/>
                  </a:lnTo>
                  <a:lnTo>
                    <a:pt x="3646277" y="146355"/>
                  </a:lnTo>
                  <a:lnTo>
                    <a:pt x="3643129" y="146748"/>
                  </a:lnTo>
                  <a:lnTo>
                    <a:pt x="3640375" y="146748"/>
                  </a:lnTo>
                  <a:lnTo>
                    <a:pt x="3638801" y="147928"/>
                  </a:lnTo>
                  <a:lnTo>
                    <a:pt x="3627392" y="146355"/>
                  </a:lnTo>
                  <a:lnTo>
                    <a:pt x="3626999" y="145961"/>
                  </a:lnTo>
                  <a:lnTo>
                    <a:pt x="3630146" y="145568"/>
                  </a:lnTo>
                  <a:lnTo>
                    <a:pt x="3633687" y="146748"/>
                  </a:lnTo>
                  <a:lnTo>
                    <a:pt x="3634080" y="143994"/>
                  </a:lnTo>
                  <a:lnTo>
                    <a:pt x="3633687" y="142420"/>
                  </a:lnTo>
                  <a:lnTo>
                    <a:pt x="3636834" y="141240"/>
                  </a:lnTo>
                  <a:lnTo>
                    <a:pt x="3639982" y="141633"/>
                  </a:lnTo>
                  <a:lnTo>
                    <a:pt x="3643129" y="142027"/>
                  </a:lnTo>
                  <a:lnTo>
                    <a:pt x="3646277" y="142420"/>
                  </a:lnTo>
                  <a:lnTo>
                    <a:pt x="3649030" y="143601"/>
                  </a:lnTo>
                  <a:lnTo>
                    <a:pt x="3652571" y="143207"/>
                  </a:lnTo>
                  <a:lnTo>
                    <a:pt x="3658473" y="143207"/>
                  </a:lnTo>
                  <a:lnTo>
                    <a:pt x="3662013" y="143601"/>
                  </a:lnTo>
                  <a:lnTo>
                    <a:pt x="3664768" y="143207"/>
                  </a:lnTo>
                  <a:lnTo>
                    <a:pt x="3667915" y="143601"/>
                  </a:lnTo>
                  <a:lnTo>
                    <a:pt x="3673816" y="143601"/>
                  </a:lnTo>
                  <a:lnTo>
                    <a:pt x="3676571" y="143994"/>
                  </a:lnTo>
                  <a:lnTo>
                    <a:pt x="3679717" y="143994"/>
                  </a:lnTo>
                  <a:lnTo>
                    <a:pt x="3676177" y="142814"/>
                  </a:lnTo>
                  <a:lnTo>
                    <a:pt x="3673423" y="142420"/>
                  </a:lnTo>
                  <a:lnTo>
                    <a:pt x="3669882" y="142027"/>
                  </a:lnTo>
                  <a:lnTo>
                    <a:pt x="3666735" y="141633"/>
                  </a:lnTo>
                  <a:lnTo>
                    <a:pt x="3660440" y="140453"/>
                  </a:lnTo>
                  <a:lnTo>
                    <a:pt x="3657292" y="140060"/>
                  </a:lnTo>
                  <a:lnTo>
                    <a:pt x="3654145" y="139666"/>
                  </a:lnTo>
                  <a:lnTo>
                    <a:pt x="3650998" y="139273"/>
                  </a:lnTo>
                  <a:lnTo>
                    <a:pt x="3647850" y="138880"/>
                  </a:lnTo>
                  <a:lnTo>
                    <a:pt x="3644703" y="138486"/>
                  </a:lnTo>
                  <a:lnTo>
                    <a:pt x="3642736" y="135732"/>
                  </a:lnTo>
                  <a:lnTo>
                    <a:pt x="3639982" y="135339"/>
                  </a:lnTo>
                  <a:lnTo>
                    <a:pt x="3636834" y="135339"/>
                  </a:lnTo>
                  <a:lnTo>
                    <a:pt x="3634080" y="134945"/>
                  </a:lnTo>
                  <a:lnTo>
                    <a:pt x="3632507" y="134552"/>
                  </a:lnTo>
                  <a:lnTo>
                    <a:pt x="3629752" y="134552"/>
                  </a:lnTo>
                  <a:lnTo>
                    <a:pt x="3626212" y="134158"/>
                  </a:lnTo>
                  <a:lnTo>
                    <a:pt x="3623458" y="133765"/>
                  </a:lnTo>
                  <a:lnTo>
                    <a:pt x="3620311" y="133372"/>
                  </a:lnTo>
                  <a:lnTo>
                    <a:pt x="3617163" y="132978"/>
                  </a:lnTo>
                  <a:lnTo>
                    <a:pt x="3614015" y="132978"/>
                  </a:lnTo>
                  <a:lnTo>
                    <a:pt x="3611262" y="132585"/>
                  </a:lnTo>
                  <a:lnTo>
                    <a:pt x="3608114" y="132191"/>
                  </a:lnTo>
                  <a:lnTo>
                    <a:pt x="3604574" y="132191"/>
                  </a:lnTo>
                  <a:lnTo>
                    <a:pt x="3601426" y="131798"/>
                  </a:lnTo>
                  <a:lnTo>
                    <a:pt x="3598278" y="131404"/>
                  </a:lnTo>
                  <a:lnTo>
                    <a:pt x="3586082" y="131404"/>
                  </a:lnTo>
                  <a:lnTo>
                    <a:pt x="3582935" y="131011"/>
                  </a:lnTo>
                  <a:lnTo>
                    <a:pt x="3573886" y="131011"/>
                  </a:lnTo>
                  <a:lnTo>
                    <a:pt x="3570345" y="130618"/>
                  </a:lnTo>
                  <a:lnTo>
                    <a:pt x="3567591" y="130224"/>
                  </a:lnTo>
                  <a:lnTo>
                    <a:pt x="3564444" y="130224"/>
                  </a:lnTo>
                  <a:lnTo>
                    <a:pt x="3560903" y="129831"/>
                  </a:lnTo>
                  <a:lnTo>
                    <a:pt x="3557362" y="129437"/>
                  </a:lnTo>
                  <a:lnTo>
                    <a:pt x="3554215" y="129044"/>
                  </a:lnTo>
                  <a:lnTo>
                    <a:pt x="3551461" y="128257"/>
                  </a:lnTo>
                  <a:lnTo>
                    <a:pt x="3548707" y="127470"/>
                  </a:lnTo>
                  <a:lnTo>
                    <a:pt x="3545560" y="126683"/>
                  </a:lnTo>
                  <a:lnTo>
                    <a:pt x="3542412" y="126683"/>
                  </a:lnTo>
                  <a:lnTo>
                    <a:pt x="3539264" y="126290"/>
                  </a:lnTo>
                  <a:lnTo>
                    <a:pt x="3536511" y="126290"/>
                  </a:lnTo>
                  <a:lnTo>
                    <a:pt x="3532970" y="125896"/>
                  </a:lnTo>
                  <a:lnTo>
                    <a:pt x="3530216" y="125503"/>
                  </a:lnTo>
                  <a:lnTo>
                    <a:pt x="3532970" y="127470"/>
                  </a:lnTo>
                  <a:lnTo>
                    <a:pt x="3536511" y="128650"/>
                  </a:lnTo>
                  <a:lnTo>
                    <a:pt x="3539658" y="129437"/>
                  </a:lnTo>
                  <a:lnTo>
                    <a:pt x="3542412" y="130224"/>
                  </a:lnTo>
                  <a:lnTo>
                    <a:pt x="3545560" y="131011"/>
                  </a:lnTo>
                  <a:lnTo>
                    <a:pt x="3548313" y="133765"/>
                  </a:lnTo>
                  <a:lnTo>
                    <a:pt x="3551067" y="134158"/>
                  </a:lnTo>
                  <a:lnTo>
                    <a:pt x="3548313" y="134552"/>
                  </a:lnTo>
                  <a:lnTo>
                    <a:pt x="3545166" y="136126"/>
                  </a:lnTo>
                  <a:lnTo>
                    <a:pt x="3542019" y="136519"/>
                  </a:lnTo>
                  <a:lnTo>
                    <a:pt x="3531396" y="136912"/>
                  </a:lnTo>
                  <a:lnTo>
                    <a:pt x="3527855" y="136519"/>
                  </a:lnTo>
                  <a:lnTo>
                    <a:pt x="3524708" y="136126"/>
                  </a:lnTo>
                  <a:lnTo>
                    <a:pt x="3521560" y="136519"/>
                  </a:lnTo>
                  <a:lnTo>
                    <a:pt x="3519200" y="139273"/>
                  </a:lnTo>
                  <a:lnTo>
                    <a:pt x="3519987" y="142420"/>
                  </a:lnTo>
                  <a:lnTo>
                    <a:pt x="3523134" y="144781"/>
                  </a:lnTo>
                  <a:lnTo>
                    <a:pt x="3526282" y="145961"/>
                  </a:lnTo>
                  <a:lnTo>
                    <a:pt x="3529822" y="146748"/>
                  </a:lnTo>
                  <a:lnTo>
                    <a:pt x="3526675" y="145568"/>
                  </a:lnTo>
                  <a:lnTo>
                    <a:pt x="3529822" y="145961"/>
                  </a:lnTo>
                  <a:lnTo>
                    <a:pt x="3532970" y="145961"/>
                  </a:lnTo>
                  <a:lnTo>
                    <a:pt x="3535724" y="143994"/>
                  </a:lnTo>
                  <a:lnTo>
                    <a:pt x="3538871" y="143994"/>
                  </a:lnTo>
                  <a:lnTo>
                    <a:pt x="3540051" y="143601"/>
                  </a:lnTo>
                  <a:lnTo>
                    <a:pt x="3542805" y="145961"/>
                  </a:lnTo>
                  <a:lnTo>
                    <a:pt x="3540051" y="145568"/>
                  </a:lnTo>
                  <a:lnTo>
                    <a:pt x="3539658" y="148322"/>
                  </a:lnTo>
                  <a:lnTo>
                    <a:pt x="3542412" y="151469"/>
                  </a:lnTo>
                  <a:lnTo>
                    <a:pt x="3539264" y="151863"/>
                  </a:lnTo>
                  <a:lnTo>
                    <a:pt x="3536511" y="151863"/>
                  </a:lnTo>
                  <a:lnTo>
                    <a:pt x="3539658" y="152256"/>
                  </a:lnTo>
                  <a:lnTo>
                    <a:pt x="3543199" y="152649"/>
                  </a:lnTo>
                  <a:lnTo>
                    <a:pt x="3545953" y="153830"/>
                  </a:lnTo>
                  <a:lnTo>
                    <a:pt x="3549100" y="154223"/>
                  </a:lnTo>
                  <a:lnTo>
                    <a:pt x="3550674" y="156977"/>
                  </a:lnTo>
                  <a:lnTo>
                    <a:pt x="3553821" y="158551"/>
                  </a:lnTo>
                  <a:lnTo>
                    <a:pt x="3556969" y="160125"/>
                  </a:lnTo>
                  <a:lnTo>
                    <a:pt x="3560116" y="161698"/>
                  </a:lnTo>
                  <a:lnTo>
                    <a:pt x="3562870" y="162485"/>
                  </a:lnTo>
                  <a:lnTo>
                    <a:pt x="3566018" y="164059"/>
                  </a:lnTo>
                  <a:lnTo>
                    <a:pt x="3566411" y="164059"/>
                  </a:lnTo>
                  <a:lnTo>
                    <a:pt x="3566804" y="164452"/>
                  </a:lnTo>
                  <a:lnTo>
                    <a:pt x="3566411" y="164452"/>
                  </a:lnTo>
                  <a:lnTo>
                    <a:pt x="3562870" y="164059"/>
                  </a:lnTo>
                  <a:lnTo>
                    <a:pt x="3560903" y="164452"/>
                  </a:lnTo>
                  <a:lnTo>
                    <a:pt x="3558149" y="164452"/>
                  </a:lnTo>
                  <a:lnTo>
                    <a:pt x="3556575" y="164059"/>
                  </a:lnTo>
                  <a:lnTo>
                    <a:pt x="3556182" y="164452"/>
                  </a:lnTo>
                  <a:lnTo>
                    <a:pt x="3546740" y="164452"/>
                  </a:lnTo>
                  <a:lnTo>
                    <a:pt x="3544772" y="163272"/>
                  </a:lnTo>
                  <a:lnTo>
                    <a:pt x="3542019" y="161698"/>
                  </a:lnTo>
                  <a:lnTo>
                    <a:pt x="3538871" y="161305"/>
                  </a:lnTo>
                  <a:lnTo>
                    <a:pt x="3535724" y="160518"/>
                  </a:lnTo>
                  <a:lnTo>
                    <a:pt x="3532970" y="160125"/>
                  </a:lnTo>
                  <a:lnTo>
                    <a:pt x="3532183" y="162879"/>
                  </a:lnTo>
                  <a:lnTo>
                    <a:pt x="3529035" y="160518"/>
                  </a:lnTo>
                  <a:lnTo>
                    <a:pt x="3525888" y="160911"/>
                  </a:lnTo>
                  <a:lnTo>
                    <a:pt x="3522741" y="161305"/>
                  </a:lnTo>
                  <a:lnTo>
                    <a:pt x="3523921" y="163665"/>
                  </a:lnTo>
                  <a:lnTo>
                    <a:pt x="3521954" y="163665"/>
                  </a:lnTo>
                  <a:lnTo>
                    <a:pt x="3522347" y="163272"/>
                  </a:lnTo>
                  <a:lnTo>
                    <a:pt x="3519593" y="161698"/>
                  </a:lnTo>
                  <a:lnTo>
                    <a:pt x="3516446" y="161305"/>
                  </a:lnTo>
                  <a:lnTo>
                    <a:pt x="3513298" y="160911"/>
                  </a:lnTo>
                  <a:lnTo>
                    <a:pt x="3509757" y="161305"/>
                  </a:lnTo>
                  <a:lnTo>
                    <a:pt x="3506610" y="161305"/>
                  </a:lnTo>
                  <a:lnTo>
                    <a:pt x="3503856" y="161698"/>
                  </a:lnTo>
                  <a:lnTo>
                    <a:pt x="3505823" y="163272"/>
                  </a:lnTo>
                  <a:lnTo>
                    <a:pt x="3497561" y="163272"/>
                  </a:lnTo>
                  <a:lnTo>
                    <a:pt x="3497168" y="163272"/>
                  </a:lnTo>
                  <a:lnTo>
                    <a:pt x="3494020" y="162879"/>
                  </a:lnTo>
                  <a:lnTo>
                    <a:pt x="3491266" y="163272"/>
                  </a:lnTo>
                  <a:lnTo>
                    <a:pt x="3488513" y="161698"/>
                  </a:lnTo>
                  <a:lnTo>
                    <a:pt x="3485365" y="161698"/>
                  </a:lnTo>
                  <a:lnTo>
                    <a:pt x="3482611" y="161305"/>
                  </a:lnTo>
                  <a:lnTo>
                    <a:pt x="3479464" y="160518"/>
                  </a:lnTo>
                  <a:lnTo>
                    <a:pt x="3476316" y="160125"/>
                  </a:lnTo>
                  <a:lnTo>
                    <a:pt x="3473562" y="159731"/>
                  </a:lnTo>
                  <a:lnTo>
                    <a:pt x="3470809" y="160125"/>
                  </a:lnTo>
                  <a:lnTo>
                    <a:pt x="3467661" y="160518"/>
                  </a:lnTo>
                  <a:lnTo>
                    <a:pt x="3464907" y="162485"/>
                  </a:lnTo>
                  <a:lnTo>
                    <a:pt x="3461760" y="163272"/>
                  </a:lnTo>
                  <a:lnTo>
                    <a:pt x="3459006" y="162879"/>
                  </a:lnTo>
                  <a:lnTo>
                    <a:pt x="3457432" y="165632"/>
                  </a:lnTo>
                  <a:lnTo>
                    <a:pt x="3446022" y="166813"/>
                  </a:lnTo>
                  <a:lnTo>
                    <a:pt x="3441695" y="166419"/>
                  </a:lnTo>
                  <a:lnTo>
                    <a:pt x="3438547" y="166026"/>
                  </a:lnTo>
                  <a:lnTo>
                    <a:pt x="3435006" y="165632"/>
                  </a:lnTo>
                  <a:lnTo>
                    <a:pt x="3431859" y="165239"/>
                  </a:lnTo>
                  <a:lnTo>
                    <a:pt x="3429105" y="164846"/>
                  </a:lnTo>
                  <a:lnTo>
                    <a:pt x="3425958" y="164059"/>
                  </a:lnTo>
                  <a:lnTo>
                    <a:pt x="3422417" y="163272"/>
                  </a:lnTo>
                  <a:lnTo>
                    <a:pt x="3419269" y="162092"/>
                  </a:lnTo>
                  <a:lnTo>
                    <a:pt x="3416122" y="161305"/>
                  </a:lnTo>
                  <a:lnTo>
                    <a:pt x="3413368" y="159731"/>
                  </a:lnTo>
                  <a:lnTo>
                    <a:pt x="3410221" y="158944"/>
                  </a:lnTo>
                  <a:lnTo>
                    <a:pt x="3407073" y="157371"/>
                  </a:lnTo>
                  <a:lnTo>
                    <a:pt x="3403926" y="156977"/>
                  </a:lnTo>
                  <a:lnTo>
                    <a:pt x="3400385" y="154617"/>
                  </a:lnTo>
                  <a:lnTo>
                    <a:pt x="3397237" y="152256"/>
                  </a:lnTo>
                  <a:lnTo>
                    <a:pt x="3394484" y="154617"/>
                  </a:lnTo>
                  <a:lnTo>
                    <a:pt x="3395270" y="157371"/>
                  </a:lnTo>
                  <a:lnTo>
                    <a:pt x="3395664" y="160125"/>
                  </a:lnTo>
                  <a:lnTo>
                    <a:pt x="3397237" y="162879"/>
                  </a:lnTo>
                  <a:lnTo>
                    <a:pt x="3398811" y="165632"/>
                  </a:lnTo>
                  <a:lnTo>
                    <a:pt x="3400778" y="168386"/>
                  </a:lnTo>
                  <a:lnTo>
                    <a:pt x="3403532" y="170747"/>
                  </a:lnTo>
                  <a:lnTo>
                    <a:pt x="3405893" y="171534"/>
                  </a:lnTo>
                  <a:lnTo>
                    <a:pt x="3366551" y="175862"/>
                  </a:lnTo>
                  <a:lnTo>
                    <a:pt x="3329962" y="156977"/>
                  </a:lnTo>
                  <a:lnTo>
                    <a:pt x="3330355" y="156977"/>
                  </a:lnTo>
                  <a:lnTo>
                    <a:pt x="3333896" y="157764"/>
                  </a:lnTo>
                  <a:lnTo>
                    <a:pt x="3330748" y="156190"/>
                  </a:lnTo>
                  <a:lnTo>
                    <a:pt x="3327601" y="155010"/>
                  </a:lnTo>
                  <a:lnTo>
                    <a:pt x="3324454" y="153043"/>
                  </a:lnTo>
                  <a:lnTo>
                    <a:pt x="3321306" y="151863"/>
                  </a:lnTo>
                  <a:lnTo>
                    <a:pt x="3318552" y="150682"/>
                  </a:lnTo>
                  <a:lnTo>
                    <a:pt x="3316192" y="150289"/>
                  </a:lnTo>
                  <a:lnTo>
                    <a:pt x="3296520" y="147141"/>
                  </a:lnTo>
                  <a:lnTo>
                    <a:pt x="3296127" y="146748"/>
                  </a:lnTo>
                  <a:lnTo>
                    <a:pt x="3292586" y="145174"/>
                  </a:lnTo>
                  <a:lnTo>
                    <a:pt x="3291406" y="143601"/>
                  </a:lnTo>
                  <a:lnTo>
                    <a:pt x="3300848" y="145174"/>
                  </a:lnTo>
                  <a:lnTo>
                    <a:pt x="3302028" y="146748"/>
                  </a:lnTo>
                  <a:lnTo>
                    <a:pt x="3304782" y="147141"/>
                  </a:lnTo>
                  <a:lnTo>
                    <a:pt x="3308323" y="147928"/>
                  </a:lnTo>
                  <a:lnTo>
                    <a:pt x="3314618" y="147928"/>
                  </a:lnTo>
                  <a:lnTo>
                    <a:pt x="3317766" y="147535"/>
                  </a:lnTo>
                  <a:lnTo>
                    <a:pt x="3320913" y="145961"/>
                  </a:lnTo>
                  <a:lnTo>
                    <a:pt x="3317766" y="145568"/>
                  </a:lnTo>
                  <a:lnTo>
                    <a:pt x="3320519" y="143207"/>
                  </a:lnTo>
                  <a:lnTo>
                    <a:pt x="3317766" y="142814"/>
                  </a:lnTo>
                  <a:lnTo>
                    <a:pt x="3314618" y="142027"/>
                  </a:lnTo>
                  <a:lnTo>
                    <a:pt x="3315011" y="140453"/>
                  </a:lnTo>
                  <a:lnTo>
                    <a:pt x="3313438" y="139666"/>
                  </a:lnTo>
                  <a:lnTo>
                    <a:pt x="3310684" y="139273"/>
                  </a:lnTo>
                  <a:lnTo>
                    <a:pt x="3307930" y="138880"/>
                  </a:lnTo>
                  <a:lnTo>
                    <a:pt x="3307143" y="137699"/>
                  </a:lnTo>
                  <a:lnTo>
                    <a:pt x="3303996" y="137306"/>
                  </a:lnTo>
                  <a:lnTo>
                    <a:pt x="3300848" y="137306"/>
                  </a:lnTo>
                  <a:lnTo>
                    <a:pt x="3298488" y="137699"/>
                  </a:lnTo>
                  <a:lnTo>
                    <a:pt x="3285898" y="135732"/>
                  </a:lnTo>
                  <a:lnTo>
                    <a:pt x="3285111" y="135339"/>
                  </a:lnTo>
                  <a:lnTo>
                    <a:pt x="3285111" y="135732"/>
                  </a:lnTo>
                  <a:lnTo>
                    <a:pt x="3287078" y="135732"/>
                  </a:lnTo>
                  <a:lnTo>
                    <a:pt x="3289832" y="136126"/>
                  </a:lnTo>
                  <a:lnTo>
                    <a:pt x="3292979" y="136126"/>
                  </a:lnTo>
                  <a:lnTo>
                    <a:pt x="3296127" y="134552"/>
                  </a:lnTo>
                  <a:lnTo>
                    <a:pt x="3292979" y="133372"/>
                  </a:lnTo>
                  <a:lnTo>
                    <a:pt x="3292586" y="132585"/>
                  </a:lnTo>
                  <a:lnTo>
                    <a:pt x="3294947" y="132978"/>
                  </a:lnTo>
                  <a:lnTo>
                    <a:pt x="3298094" y="132585"/>
                  </a:lnTo>
                  <a:lnTo>
                    <a:pt x="3298488" y="131798"/>
                  </a:lnTo>
                  <a:lnTo>
                    <a:pt x="3295734" y="131404"/>
                  </a:lnTo>
                  <a:lnTo>
                    <a:pt x="3292586" y="131011"/>
                  </a:lnTo>
                  <a:lnTo>
                    <a:pt x="3289045" y="130618"/>
                  </a:lnTo>
                  <a:lnTo>
                    <a:pt x="3285898" y="130224"/>
                  </a:lnTo>
                  <a:lnTo>
                    <a:pt x="3287865" y="129437"/>
                  </a:lnTo>
                  <a:lnTo>
                    <a:pt x="3291012" y="129831"/>
                  </a:lnTo>
                  <a:lnTo>
                    <a:pt x="3293767" y="128650"/>
                  </a:lnTo>
                  <a:lnTo>
                    <a:pt x="3292586" y="127864"/>
                  </a:lnTo>
                  <a:lnTo>
                    <a:pt x="3289045" y="127470"/>
                  </a:lnTo>
                  <a:lnTo>
                    <a:pt x="3285898" y="127077"/>
                  </a:lnTo>
                  <a:lnTo>
                    <a:pt x="3282750" y="126683"/>
                  </a:lnTo>
                  <a:lnTo>
                    <a:pt x="3279603" y="126290"/>
                  </a:lnTo>
                  <a:lnTo>
                    <a:pt x="3276456" y="126290"/>
                  </a:lnTo>
                  <a:lnTo>
                    <a:pt x="3276062" y="125896"/>
                  </a:lnTo>
                  <a:lnTo>
                    <a:pt x="3275669" y="125503"/>
                  </a:lnTo>
                  <a:lnTo>
                    <a:pt x="3276062" y="125503"/>
                  </a:lnTo>
                  <a:lnTo>
                    <a:pt x="3279210" y="125110"/>
                  </a:lnTo>
                  <a:lnTo>
                    <a:pt x="3281964" y="123929"/>
                  </a:lnTo>
                  <a:lnTo>
                    <a:pt x="3283931" y="121175"/>
                  </a:lnTo>
                  <a:lnTo>
                    <a:pt x="3281177" y="119995"/>
                  </a:lnTo>
                  <a:lnTo>
                    <a:pt x="3277636" y="121569"/>
                  </a:lnTo>
                  <a:lnTo>
                    <a:pt x="3277242" y="121175"/>
                  </a:lnTo>
                  <a:lnTo>
                    <a:pt x="3275669" y="118028"/>
                  </a:lnTo>
                  <a:lnTo>
                    <a:pt x="3272521" y="117241"/>
                  </a:lnTo>
                  <a:lnTo>
                    <a:pt x="3269374" y="116454"/>
                  </a:lnTo>
                  <a:lnTo>
                    <a:pt x="3265833" y="116061"/>
                  </a:lnTo>
                  <a:lnTo>
                    <a:pt x="3262686" y="116454"/>
                  </a:lnTo>
                  <a:lnTo>
                    <a:pt x="3259538" y="116061"/>
                  </a:lnTo>
                  <a:lnTo>
                    <a:pt x="3259538" y="114880"/>
                  </a:lnTo>
                  <a:lnTo>
                    <a:pt x="3256391" y="113307"/>
                  </a:lnTo>
                  <a:lnTo>
                    <a:pt x="3253243" y="113307"/>
                  </a:lnTo>
                  <a:lnTo>
                    <a:pt x="3250490" y="111733"/>
                  </a:lnTo>
                  <a:lnTo>
                    <a:pt x="3246949" y="111340"/>
                  </a:lnTo>
                  <a:lnTo>
                    <a:pt x="3247735" y="110553"/>
                  </a:lnTo>
                  <a:lnTo>
                    <a:pt x="3244982" y="110159"/>
                  </a:lnTo>
                  <a:lnTo>
                    <a:pt x="3241834" y="109766"/>
                  </a:lnTo>
                  <a:lnTo>
                    <a:pt x="3235933" y="109766"/>
                  </a:lnTo>
                  <a:lnTo>
                    <a:pt x="3233179" y="109373"/>
                  </a:lnTo>
                  <a:lnTo>
                    <a:pt x="3229638" y="108586"/>
                  </a:lnTo>
                  <a:lnTo>
                    <a:pt x="3226097" y="108192"/>
                  </a:lnTo>
                  <a:lnTo>
                    <a:pt x="3223343" y="108979"/>
                  </a:lnTo>
                  <a:lnTo>
                    <a:pt x="3226490" y="111340"/>
                  </a:lnTo>
                  <a:lnTo>
                    <a:pt x="3223737" y="111733"/>
                  </a:lnTo>
                  <a:lnTo>
                    <a:pt x="3220589" y="112913"/>
                  </a:lnTo>
                  <a:lnTo>
                    <a:pt x="3219802" y="112913"/>
                  </a:lnTo>
                  <a:lnTo>
                    <a:pt x="3219016" y="113307"/>
                  </a:lnTo>
                  <a:lnTo>
                    <a:pt x="3218228" y="113700"/>
                  </a:lnTo>
                  <a:lnTo>
                    <a:pt x="3216261" y="112127"/>
                  </a:lnTo>
                  <a:lnTo>
                    <a:pt x="3213508" y="112127"/>
                  </a:lnTo>
                  <a:lnTo>
                    <a:pt x="3210360" y="110553"/>
                  </a:lnTo>
                  <a:lnTo>
                    <a:pt x="3213508" y="108979"/>
                  </a:lnTo>
                  <a:lnTo>
                    <a:pt x="3210360" y="108192"/>
                  </a:lnTo>
                  <a:lnTo>
                    <a:pt x="3207606" y="108586"/>
                  </a:lnTo>
                  <a:lnTo>
                    <a:pt x="3204459" y="108979"/>
                  </a:lnTo>
                  <a:lnTo>
                    <a:pt x="3202885" y="109766"/>
                  </a:lnTo>
                  <a:lnTo>
                    <a:pt x="3185181" y="105832"/>
                  </a:lnTo>
                  <a:lnTo>
                    <a:pt x="3184787" y="105438"/>
                  </a:lnTo>
                  <a:lnTo>
                    <a:pt x="3181640" y="104651"/>
                  </a:lnTo>
                  <a:lnTo>
                    <a:pt x="3178492" y="104258"/>
                  </a:lnTo>
                  <a:lnTo>
                    <a:pt x="3175739" y="103865"/>
                  </a:lnTo>
                  <a:lnTo>
                    <a:pt x="3172591" y="103471"/>
                  </a:lnTo>
                  <a:lnTo>
                    <a:pt x="3169443" y="103078"/>
                  </a:lnTo>
                  <a:lnTo>
                    <a:pt x="3166296" y="102291"/>
                  </a:lnTo>
                  <a:lnTo>
                    <a:pt x="3163542" y="101897"/>
                  </a:lnTo>
                  <a:lnTo>
                    <a:pt x="3160395" y="103471"/>
                  </a:lnTo>
                  <a:lnTo>
                    <a:pt x="3157641" y="103078"/>
                  </a:lnTo>
                  <a:lnTo>
                    <a:pt x="3154100" y="101897"/>
                  </a:lnTo>
                  <a:lnTo>
                    <a:pt x="3157641" y="104651"/>
                  </a:lnTo>
                  <a:lnTo>
                    <a:pt x="3154494" y="106225"/>
                  </a:lnTo>
                  <a:lnTo>
                    <a:pt x="3151739" y="105045"/>
                  </a:lnTo>
                  <a:lnTo>
                    <a:pt x="3148985" y="103471"/>
                  </a:lnTo>
                  <a:lnTo>
                    <a:pt x="3148985" y="106225"/>
                  </a:lnTo>
                  <a:lnTo>
                    <a:pt x="3150559" y="109373"/>
                  </a:lnTo>
                  <a:lnTo>
                    <a:pt x="3153313" y="110159"/>
                  </a:lnTo>
                  <a:lnTo>
                    <a:pt x="3156067" y="112520"/>
                  </a:lnTo>
                  <a:lnTo>
                    <a:pt x="3159214" y="114880"/>
                  </a:lnTo>
                  <a:lnTo>
                    <a:pt x="3161969" y="116454"/>
                  </a:lnTo>
                  <a:lnTo>
                    <a:pt x="3164329" y="117241"/>
                  </a:lnTo>
                  <a:lnTo>
                    <a:pt x="3163149" y="118421"/>
                  </a:lnTo>
                  <a:lnTo>
                    <a:pt x="3162362" y="118815"/>
                  </a:lnTo>
                  <a:lnTo>
                    <a:pt x="3162362" y="119208"/>
                  </a:lnTo>
                  <a:lnTo>
                    <a:pt x="3162755" y="119602"/>
                  </a:lnTo>
                  <a:lnTo>
                    <a:pt x="3163149" y="119602"/>
                  </a:lnTo>
                  <a:lnTo>
                    <a:pt x="3152133" y="123142"/>
                  </a:lnTo>
                  <a:lnTo>
                    <a:pt x="3151346" y="123142"/>
                  </a:lnTo>
                  <a:lnTo>
                    <a:pt x="3148592" y="123536"/>
                  </a:lnTo>
                  <a:lnTo>
                    <a:pt x="3148985" y="124323"/>
                  </a:lnTo>
                  <a:lnTo>
                    <a:pt x="3145445" y="124716"/>
                  </a:lnTo>
                  <a:lnTo>
                    <a:pt x="3141904" y="124323"/>
                  </a:lnTo>
                  <a:lnTo>
                    <a:pt x="3139936" y="124716"/>
                  </a:lnTo>
                  <a:lnTo>
                    <a:pt x="3136789" y="124323"/>
                  </a:lnTo>
                  <a:lnTo>
                    <a:pt x="3131281" y="124323"/>
                  </a:lnTo>
                  <a:lnTo>
                    <a:pt x="3097447" y="123142"/>
                  </a:lnTo>
                  <a:lnTo>
                    <a:pt x="3093906" y="123142"/>
                  </a:lnTo>
                  <a:lnTo>
                    <a:pt x="3092332" y="123536"/>
                  </a:lnTo>
                  <a:lnTo>
                    <a:pt x="3091939" y="123536"/>
                  </a:lnTo>
                  <a:lnTo>
                    <a:pt x="3091152" y="123929"/>
                  </a:lnTo>
                  <a:lnTo>
                    <a:pt x="3088398" y="123536"/>
                  </a:lnTo>
                  <a:lnTo>
                    <a:pt x="3084857" y="121962"/>
                  </a:lnTo>
                  <a:lnTo>
                    <a:pt x="3082103" y="121962"/>
                  </a:lnTo>
                  <a:lnTo>
                    <a:pt x="3078562" y="121569"/>
                  </a:lnTo>
                  <a:lnTo>
                    <a:pt x="3075415" y="121175"/>
                  </a:lnTo>
                  <a:lnTo>
                    <a:pt x="3069907" y="119995"/>
                  </a:lnTo>
                  <a:lnTo>
                    <a:pt x="3066759" y="119602"/>
                  </a:lnTo>
                  <a:lnTo>
                    <a:pt x="3063612" y="119208"/>
                  </a:lnTo>
                  <a:lnTo>
                    <a:pt x="3060465" y="118815"/>
                  </a:lnTo>
                  <a:lnTo>
                    <a:pt x="3057711" y="118028"/>
                  </a:lnTo>
                  <a:lnTo>
                    <a:pt x="3054956" y="116454"/>
                  </a:lnTo>
                  <a:lnTo>
                    <a:pt x="3051809" y="113700"/>
                  </a:lnTo>
                  <a:lnTo>
                    <a:pt x="3054563" y="111733"/>
                  </a:lnTo>
                  <a:lnTo>
                    <a:pt x="3057317" y="112127"/>
                  </a:lnTo>
                  <a:lnTo>
                    <a:pt x="3060465" y="112127"/>
                  </a:lnTo>
                  <a:lnTo>
                    <a:pt x="3057317" y="109766"/>
                  </a:lnTo>
                  <a:lnTo>
                    <a:pt x="3054563" y="109373"/>
                  </a:lnTo>
                  <a:lnTo>
                    <a:pt x="3051809" y="108979"/>
                  </a:lnTo>
                  <a:lnTo>
                    <a:pt x="3048268" y="108586"/>
                  </a:lnTo>
                  <a:lnTo>
                    <a:pt x="3045514" y="108979"/>
                  </a:lnTo>
                  <a:lnTo>
                    <a:pt x="3042367" y="108586"/>
                  </a:lnTo>
                  <a:lnTo>
                    <a:pt x="3024269" y="108586"/>
                  </a:lnTo>
                  <a:lnTo>
                    <a:pt x="3020729" y="108192"/>
                  </a:lnTo>
                  <a:lnTo>
                    <a:pt x="3017581" y="107799"/>
                  </a:lnTo>
                  <a:lnTo>
                    <a:pt x="3014040" y="107405"/>
                  </a:lnTo>
                  <a:lnTo>
                    <a:pt x="3010500" y="107012"/>
                  </a:lnTo>
                  <a:lnTo>
                    <a:pt x="3007745" y="106619"/>
                  </a:lnTo>
                  <a:lnTo>
                    <a:pt x="3004992" y="106225"/>
                  </a:lnTo>
                  <a:lnTo>
                    <a:pt x="3001844" y="106619"/>
                  </a:lnTo>
                  <a:lnTo>
                    <a:pt x="2998697" y="106619"/>
                  </a:lnTo>
                  <a:lnTo>
                    <a:pt x="2995549" y="106225"/>
                  </a:lnTo>
                  <a:lnTo>
                    <a:pt x="2992402" y="105832"/>
                  </a:lnTo>
                  <a:lnTo>
                    <a:pt x="2989648" y="104258"/>
                  </a:lnTo>
                  <a:lnTo>
                    <a:pt x="2980599" y="104258"/>
                  </a:lnTo>
                  <a:lnTo>
                    <a:pt x="2977845" y="104651"/>
                  </a:lnTo>
                  <a:lnTo>
                    <a:pt x="2975091" y="105438"/>
                  </a:lnTo>
                  <a:lnTo>
                    <a:pt x="2971944" y="106619"/>
                  </a:lnTo>
                  <a:lnTo>
                    <a:pt x="2968796" y="107012"/>
                  </a:lnTo>
                  <a:lnTo>
                    <a:pt x="2965649" y="107405"/>
                  </a:lnTo>
                  <a:lnTo>
                    <a:pt x="2962501" y="107012"/>
                  </a:lnTo>
                  <a:lnTo>
                    <a:pt x="2959747" y="107012"/>
                  </a:lnTo>
                  <a:lnTo>
                    <a:pt x="2956600" y="107405"/>
                  </a:lnTo>
                  <a:lnTo>
                    <a:pt x="2953059" y="108586"/>
                  </a:lnTo>
                  <a:lnTo>
                    <a:pt x="2950305" y="108979"/>
                  </a:lnTo>
                  <a:lnTo>
                    <a:pt x="2947551" y="109373"/>
                  </a:lnTo>
                  <a:lnTo>
                    <a:pt x="2950305" y="110946"/>
                  </a:lnTo>
                  <a:lnTo>
                    <a:pt x="2953059" y="111733"/>
                  </a:lnTo>
                  <a:lnTo>
                    <a:pt x="2956207" y="112520"/>
                  </a:lnTo>
                  <a:lnTo>
                    <a:pt x="2958960" y="113307"/>
                  </a:lnTo>
                  <a:lnTo>
                    <a:pt x="2961715" y="112913"/>
                  </a:lnTo>
                  <a:lnTo>
                    <a:pt x="2958960" y="114094"/>
                  </a:lnTo>
                  <a:lnTo>
                    <a:pt x="2956207" y="115667"/>
                  </a:lnTo>
                  <a:lnTo>
                    <a:pt x="2955026" y="115667"/>
                  </a:lnTo>
                  <a:lnTo>
                    <a:pt x="2951486" y="112913"/>
                  </a:lnTo>
                  <a:lnTo>
                    <a:pt x="2948338" y="112520"/>
                  </a:lnTo>
                  <a:lnTo>
                    <a:pt x="2945584" y="111340"/>
                  </a:lnTo>
                  <a:lnTo>
                    <a:pt x="2942043" y="108979"/>
                  </a:lnTo>
                  <a:lnTo>
                    <a:pt x="2943617" y="106225"/>
                  </a:lnTo>
                  <a:lnTo>
                    <a:pt x="2940469" y="104258"/>
                  </a:lnTo>
                  <a:lnTo>
                    <a:pt x="2937716" y="103078"/>
                  </a:lnTo>
                  <a:lnTo>
                    <a:pt x="2934961" y="101504"/>
                  </a:lnTo>
                  <a:lnTo>
                    <a:pt x="2931420" y="99930"/>
                  </a:lnTo>
                  <a:lnTo>
                    <a:pt x="2927880" y="98357"/>
                  </a:lnTo>
                  <a:lnTo>
                    <a:pt x="2925126" y="97570"/>
                  </a:lnTo>
                  <a:lnTo>
                    <a:pt x="2921585" y="96389"/>
                  </a:lnTo>
                  <a:lnTo>
                    <a:pt x="2924732" y="99143"/>
                  </a:lnTo>
                  <a:lnTo>
                    <a:pt x="2927880" y="101111"/>
                  </a:lnTo>
                  <a:lnTo>
                    <a:pt x="2925126" y="103471"/>
                  </a:lnTo>
                  <a:lnTo>
                    <a:pt x="2921585" y="103471"/>
                  </a:lnTo>
                  <a:lnTo>
                    <a:pt x="2918438" y="103865"/>
                  </a:lnTo>
                  <a:lnTo>
                    <a:pt x="2911749" y="103865"/>
                  </a:lnTo>
                  <a:lnTo>
                    <a:pt x="2908209" y="103471"/>
                  </a:lnTo>
                  <a:lnTo>
                    <a:pt x="2904668" y="103078"/>
                  </a:lnTo>
                  <a:lnTo>
                    <a:pt x="2902701" y="103078"/>
                  </a:lnTo>
                  <a:lnTo>
                    <a:pt x="2892472" y="100324"/>
                  </a:lnTo>
                  <a:lnTo>
                    <a:pt x="2891684" y="99930"/>
                  </a:lnTo>
                  <a:lnTo>
                    <a:pt x="2891291" y="99930"/>
                  </a:lnTo>
                  <a:lnTo>
                    <a:pt x="2888537" y="96783"/>
                  </a:lnTo>
                  <a:lnTo>
                    <a:pt x="2892078" y="95603"/>
                  </a:lnTo>
                  <a:lnTo>
                    <a:pt x="2889324" y="94422"/>
                  </a:lnTo>
                  <a:lnTo>
                    <a:pt x="2886176" y="94422"/>
                  </a:lnTo>
                  <a:lnTo>
                    <a:pt x="2885390" y="97570"/>
                  </a:lnTo>
                  <a:lnTo>
                    <a:pt x="2881849" y="97963"/>
                  </a:lnTo>
                  <a:lnTo>
                    <a:pt x="2878308" y="97176"/>
                  </a:lnTo>
                  <a:lnTo>
                    <a:pt x="2875554" y="96389"/>
                  </a:lnTo>
                  <a:lnTo>
                    <a:pt x="2872013" y="95996"/>
                  </a:lnTo>
                  <a:lnTo>
                    <a:pt x="2865325" y="95996"/>
                  </a:lnTo>
                  <a:lnTo>
                    <a:pt x="2861784" y="96389"/>
                  </a:lnTo>
                  <a:lnTo>
                    <a:pt x="2861391" y="96389"/>
                  </a:lnTo>
                  <a:lnTo>
                    <a:pt x="2861391" y="99143"/>
                  </a:lnTo>
                  <a:lnTo>
                    <a:pt x="2858243" y="100717"/>
                  </a:lnTo>
                  <a:lnTo>
                    <a:pt x="2860604" y="103865"/>
                  </a:lnTo>
                  <a:lnTo>
                    <a:pt x="2863751" y="105045"/>
                  </a:lnTo>
                  <a:lnTo>
                    <a:pt x="2866505" y="104651"/>
                  </a:lnTo>
                  <a:lnTo>
                    <a:pt x="2869653" y="104651"/>
                  </a:lnTo>
                  <a:lnTo>
                    <a:pt x="2872800" y="104651"/>
                  </a:lnTo>
                  <a:lnTo>
                    <a:pt x="2875554" y="104258"/>
                  </a:lnTo>
                  <a:lnTo>
                    <a:pt x="2876735" y="103865"/>
                  </a:lnTo>
                  <a:lnTo>
                    <a:pt x="2886176" y="103078"/>
                  </a:lnTo>
                  <a:lnTo>
                    <a:pt x="2888537" y="104651"/>
                  </a:lnTo>
                  <a:lnTo>
                    <a:pt x="2885783" y="105438"/>
                  </a:lnTo>
                  <a:lnTo>
                    <a:pt x="2882636" y="105832"/>
                  </a:lnTo>
                  <a:lnTo>
                    <a:pt x="2879882" y="106225"/>
                  </a:lnTo>
                  <a:lnTo>
                    <a:pt x="2876341" y="107405"/>
                  </a:lnTo>
                  <a:lnTo>
                    <a:pt x="2874767" y="109766"/>
                  </a:lnTo>
                  <a:lnTo>
                    <a:pt x="2868472" y="111340"/>
                  </a:lnTo>
                  <a:lnTo>
                    <a:pt x="2868079" y="111340"/>
                  </a:lnTo>
                  <a:lnTo>
                    <a:pt x="2864932" y="110946"/>
                  </a:lnTo>
                  <a:lnTo>
                    <a:pt x="2861784" y="110159"/>
                  </a:lnTo>
                  <a:lnTo>
                    <a:pt x="2858243" y="109373"/>
                  </a:lnTo>
                  <a:lnTo>
                    <a:pt x="2861391" y="110946"/>
                  </a:lnTo>
                  <a:lnTo>
                    <a:pt x="2864145" y="111733"/>
                  </a:lnTo>
                  <a:lnTo>
                    <a:pt x="2861391" y="111340"/>
                  </a:lnTo>
                  <a:lnTo>
                    <a:pt x="2858637" y="113307"/>
                  </a:lnTo>
                  <a:lnTo>
                    <a:pt x="2855883" y="113700"/>
                  </a:lnTo>
                  <a:lnTo>
                    <a:pt x="2854702" y="113700"/>
                  </a:lnTo>
                  <a:lnTo>
                    <a:pt x="2851555" y="114094"/>
                  </a:lnTo>
                  <a:lnTo>
                    <a:pt x="2848408" y="114487"/>
                  </a:lnTo>
                  <a:lnTo>
                    <a:pt x="2845654" y="114880"/>
                  </a:lnTo>
                  <a:lnTo>
                    <a:pt x="2842506" y="115274"/>
                  </a:lnTo>
                  <a:lnTo>
                    <a:pt x="2845260" y="115667"/>
                  </a:lnTo>
                  <a:lnTo>
                    <a:pt x="2842113" y="116454"/>
                  </a:lnTo>
                  <a:lnTo>
                    <a:pt x="2839359" y="116848"/>
                  </a:lnTo>
                  <a:lnTo>
                    <a:pt x="2838179" y="117634"/>
                  </a:lnTo>
                  <a:lnTo>
                    <a:pt x="2833458" y="118815"/>
                  </a:lnTo>
                  <a:lnTo>
                    <a:pt x="2830310" y="118815"/>
                  </a:lnTo>
                  <a:lnTo>
                    <a:pt x="2827556" y="119208"/>
                  </a:lnTo>
                  <a:lnTo>
                    <a:pt x="2824409" y="118815"/>
                  </a:lnTo>
                  <a:lnTo>
                    <a:pt x="2821261" y="118421"/>
                  </a:lnTo>
                  <a:lnTo>
                    <a:pt x="2818507" y="119208"/>
                  </a:lnTo>
                  <a:lnTo>
                    <a:pt x="2815360" y="119602"/>
                  </a:lnTo>
                  <a:lnTo>
                    <a:pt x="2812606" y="119208"/>
                  </a:lnTo>
                  <a:lnTo>
                    <a:pt x="2809458" y="118815"/>
                  </a:lnTo>
                  <a:lnTo>
                    <a:pt x="2806704" y="118421"/>
                  </a:lnTo>
                  <a:lnTo>
                    <a:pt x="2805131" y="121569"/>
                  </a:lnTo>
                  <a:lnTo>
                    <a:pt x="2808278" y="123929"/>
                  </a:lnTo>
                  <a:lnTo>
                    <a:pt x="2807098" y="125110"/>
                  </a:lnTo>
                  <a:lnTo>
                    <a:pt x="2793328" y="129044"/>
                  </a:lnTo>
                  <a:lnTo>
                    <a:pt x="2795295" y="128257"/>
                  </a:lnTo>
                  <a:lnTo>
                    <a:pt x="2798049" y="126683"/>
                  </a:lnTo>
                  <a:lnTo>
                    <a:pt x="2800016" y="123536"/>
                  </a:lnTo>
                  <a:lnTo>
                    <a:pt x="2799229" y="122749"/>
                  </a:lnTo>
                  <a:lnTo>
                    <a:pt x="2810245" y="114880"/>
                  </a:lnTo>
                  <a:lnTo>
                    <a:pt x="2810639" y="114880"/>
                  </a:lnTo>
                  <a:lnTo>
                    <a:pt x="2810639" y="114880"/>
                  </a:lnTo>
                  <a:lnTo>
                    <a:pt x="2821655" y="107012"/>
                  </a:lnTo>
                  <a:lnTo>
                    <a:pt x="2823228" y="107012"/>
                  </a:lnTo>
                  <a:lnTo>
                    <a:pt x="2825982" y="106619"/>
                  </a:lnTo>
                  <a:lnTo>
                    <a:pt x="2829130" y="105832"/>
                  </a:lnTo>
                  <a:lnTo>
                    <a:pt x="2832277" y="105438"/>
                  </a:lnTo>
                  <a:lnTo>
                    <a:pt x="2835425" y="103078"/>
                  </a:lnTo>
                  <a:lnTo>
                    <a:pt x="2835818" y="99930"/>
                  </a:lnTo>
                  <a:lnTo>
                    <a:pt x="2838965" y="97570"/>
                  </a:lnTo>
                  <a:lnTo>
                    <a:pt x="2842113" y="95209"/>
                  </a:lnTo>
                  <a:lnTo>
                    <a:pt x="2844867" y="94816"/>
                  </a:lnTo>
                  <a:lnTo>
                    <a:pt x="2848014" y="94422"/>
                  </a:lnTo>
                  <a:lnTo>
                    <a:pt x="2851162" y="92849"/>
                  </a:lnTo>
                  <a:lnTo>
                    <a:pt x="2852735" y="89701"/>
                  </a:lnTo>
                  <a:lnTo>
                    <a:pt x="2849981" y="88521"/>
                  </a:lnTo>
                  <a:lnTo>
                    <a:pt x="2847621" y="88914"/>
                  </a:lnTo>
                  <a:lnTo>
                    <a:pt x="2848801" y="88128"/>
                  </a:lnTo>
                  <a:lnTo>
                    <a:pt x="2849981" y="88128"/>
                  </a:lnTo>
                  <a:lnTo>
                    <a:pt x="2850375" y="86554"/>
                  </a:lnTo>
                  <a:lnTo>
                    <a:pt x="2853129" y="86947"/>
                  </a:lnTo>
                  <a:lnTo>
                    <a:pt x="2856276" y="85767"/>
                  </a:lnTo>
                  <a:lnTo>
                    <a:pt x="2853129" y="83800"/>
                  </a:lnTo>
                  <a:lnTo>
                    <a:pt x="2853129" y="83800"/>
                  </a:lnTo>
                  <a:lnTo>
                    <a:pt x="2855489" y="83406"/>
                  </a:lnTo>
                  <a:lnTo>
                    <a:pt x="2858243" y="83800"/>
                  </a:lnTo>
                  <a:lnTo>
                    <a:pt x="2860998" y="82620"/>
                  </a:lnTo>
                  <a:lnTo>
                    <a:pt x="2864145" y="82226"/>
                  </a:lnTo>
                  <a:lnTo>
                    <a:pt x="2867292" y="79866"/>
                  </a:lnTo>
                  <a:lnTo>
                    <a:pt x="2870046" y="77898"/>
                  </a:lnTo>
                  <a:lnTo>
                    <a:pt x="2873587" y="78292"/>
                  </a:lnTo>
                  <a:lnTo>
                    <a:pt x="2877128" y="78685"/>
                  </a:lnTo>
                  <a:lnTo>
                    <a:pt x="2878702" y="75931"/>
                  </a:lnTo>
                  <a:lnTo>
                    <a:pt x="2879095" y="73177"/>
                  </a:lnTo>
                  <a:lnTo>
                    <a:pt x="2882242" y="72784"/>
                  </a:lnTo>
                  <a:lnTo>
                    <a:pt x="2884996" y="72390"/>
                  </a:lnTo>
                  <a:lnTo>
                    <a:pt x="2887750" y="71604"/>
                  </a:lnTo>
                  <a:lnTo>
                    <a:pt x="2890898" y="70423"/>
                  </a:lnTo>
                  <a:lnTo>
                    <a:pt x="2892472" y="67669"/>
                  </a:lnTo>
                  <a:lnTo>
                    <a:pt x="2895225" y="64915"/>
                  </a:lnTo>
                  <a:lnTo>
                    <a:pt x="2896012" y="62161"/>
                  </a:lnTo>
                  <a:lnTo>
                    <a:pt x="2892865" y="60194"/>
                  </a:lnTo>
                  <a:lnTo>
                    <a:pt x="2892078" y="57440"/>
                  </a:lnTo>
                  <a:lnTo>
                    <a:pt x="2888931" y="57047"/>
                  </a:lnTo>
                  <a:lnTo>
                    <a:pt x="2886176" y="56653"/>
                  </a:lnTo>
                  <a:lnTo>
                    <a:pt x="2883816" y="55867"/>
                  </a:lnTo>
                  <a:lnTo>
                    <a:pt x="2885783" y="53899"/>
                  </a:lnTo>
                  <a:lnTo>
                    <a:pt x="2879095" y="51932"/>
                  </a:lnTo>
                  <a:lnTo>
                    <a:pt x="2880669" y="51932"/>
                  </a:lnTo>
                  <a:lnTo>
                    <a:pt x="2884209" y="52326"/>
                  </a:lnTo>
                  <a:lnTo>
                    <a:pt x="2885783" y="53899"/>
                  </a:lnTo>
                  <a:lnTo>
                    <a:pt x="2888931" y="54293"/>
                  </a:lnTo>
                  <a:lnTo>
                    <a:pt x="2886570" y="51145"/>
                  </a:lnTo>
                  <a:lnTo>
                    <a:pt x="2885390" y="48391"/>
                  </a:lnTo>
                  <a:lnTo>
                    <a:pt x="2882242" y="46818"/>
                  </a:lnTo>
                  <a:lnTo>
                    <a:pt x="2879488" y="46031"/>
                  </a:lnTo>
                  <a:lnTo>
                    <a:pt x="2876341" y="47605"/>
                  </a:lnTo>
                  <a:lnTo>
                    <a:pt x="2873194" y="45244"/>
                  </a:lnTo>
                  <a:lnTo>
                    <a:pt x="2870439" y="42883"/>
                  </a:lnTo>
                  <a:lnTo>
                    <a:pt x="2867686" y="40523"/>
                  </a:lnTo>
                  <a:lnTo>
                    <a:pt x="2864932" y="38949"/>
                  </a:lnTo>
                  <a:lnTo>
                    <a:pt x="2862178" y="38556"/>
                  </a:lnTo>
                  <a:lnTo>
                    <a:pt x="2858637" y="36982"/>
                  </a:lnTo>
                  <a:lnTo>
                    <a:pt x="2855096" y="37376"/>
                  </a:lnTo>
                  <a:lnTo>
                    <a:pt x="2857850" y="38949"/>
                  </a:lnTo>
                  <a:lnTo>
                    <a:pt x="2860998" y="39736"/>
                  </a:lnTo>
                  <a:lnTo>
                    <a:pt x="2863751" y="40916"/>
                  </a:lnTo>
                  <a:lnTo>
                    <a:pt x="2860604" y="40523"/>
                  </a:lnTo>
                  <a:lnTo>
                    <a:pt x="2857850" y="40129"/>
                  </a:lnTo>
                  <a:lnTo>
                    <a:pt x="2855096" y="42883"/>
                  </a:lnTo>
                  <a:lnTo>
                    <a:pt x="2853522" y="40129"/>
                  </a:lnTo>
                  <a:lnTo>
                    <a:pt x="2850768" y="39343"/>
                  </a:lnTo>
                  <a:lnTo>
                    <a:pt x="2848014" y="38949"/>
                  </a:lnTo>
                  <a:lnTo>
                    <a:pt x="2846047" y="36195"/>
                  </a:lnTo>
                  <a:lnTo>
                    <a:pt x="2842900" y="34622"/>
                  </a:lnTo>
                  <a:lnTo>
                    <a:pt x="2840146" y="34228"/>
                  </a:lnTo>
                  <a:lnTo>
                    <a:pt x="2837392" y="33835"/>
                  </a:lnTo>
                  <a:lnTo>
                    <a:pt x="2833851" y="33048"/>
                  </a:lnTo>
                  <a:lnTo>
                    <a:pt x="2831097" y="35015"/>
                  </a:lnTo>
                  <a:lnTo>
                    <a:pt x="2830310" y="32261"/>
                  </a:lnTo>
                  <a:lnTo>
                    <a:pt x="2826769" y="31474"/>
                  </a:lnTo>
                  <a:lnTo>
                    <a:pt x="2824015" y="30687"/>
                  </a:lnTo>
                  <a:lnTo>
                    <a:pt x="2820868" y="29900"/>
                  </a:lnTo>
                  <a:lnTo>
                    <a:pt x="2817327" y="29507"/>
                  </a:lnTo>
                  <a:lnTo>
                    <a:pt x="2814180" y="29507"/>
                  </a:lnTo>
                  <a:lnTo>
                    <a:pt x="2811425" y="27540"/>
                  </a:lnTo>
                  <a:lnTo>
                    <a:pt x="2808672" y="25573"/>
                  </a:lnTo>
                  <a:lnTo>
                    <a:pt x="2805524" y="25179"/>
                  </a:lnTo>
                  <a:lnTo>
                    <a:pt x="2802377" y="24786"/>
                  </a:lnTo>
                  <a:lnTo>
                    <a:pt x="2798836" y="23999"/>
                  </a:lnTo>
                  <a:lnTo>
                    <a:pt x="2796082" y="24786"/>
                  </a:lnTo>
                  <a:lnTo>
                    <a:pt x="2792935" y="24392"/>
                  </a:lnTo>
                  <a:lnTo>
                    <a:pt x="2790181" y="23999"/>
                  </a:lnTo>
                  <a:lnTo>
                    <a:pt x="2787426" y="24392"/>
                  </a:lnTo>
                  <a:lnTo>
                    <a:pt x="2784279" y="25179"/>
                  </a:lnTo>
                  <a:lnTo>
                    <a:pt x="2781525" y="25573"/>
                  </a:lnTo>
                  <a:lnTo>
                    <a:pt x="2778378" y="25179"/>
                  </a:lnTo>
                  <a:lnTo>
                    <a:pt x="2775624" y="25179"/>
                  </a:lnTo>
                  <a:lnTo>
                    <a:pt x="2772477" y="24786"/>
                  </a:lnTo>
                  <a:lnTo>
                    <a:pt x="2769722" y="24786"/>
                  </a:lnTo>
                  <a:lnTo>
                    <a:pt x="2766575" y="24392"/>
                  </a:lnTo>
                  <a:lnTo>
                    <a:pt x="2763428" y="25179"/>
                  </a:lnTo>
                  <a:lnTo>
                    <a:pt x="2757526" y="25179"/>
                  </a:lnTo>
                  <a:lnTo>
                    <a:pt x="2754379" y="25573"/>
                  </a:lnTo>
                  <a:lnTo>
                    <a:pt x="2750838" y="25179"/>
                  </a:lnTo>
                  <a:lnTo>
                    <a:pt x="2747297" y="25573"/>
                  </a:lnTo>
                  <a:lnTo>
                    <a:pt x="2744150" y="24786"/>
                  </a:lnTo>
                  <a:lnTo>
                    <a:pt x="2741002" y="24786"/>
                  </a:lnTo>
                  <a:lnTo>
                    <a:pt x="2743363" y="27540"/>
                  </a:lnTo>
                  <a:lnTo>
                    <a:pt x="2742970" y="28327"/>
                  </a:lnTo>
                  <a:lnTo>
                    <a:pt x="2714249" y="30294"/>
                  </a:lnTo>
                  <a:lnTo>
                    <a:pt x="2717397" y="29900"/>
                  </a:lnTo>
                  <a:lnTo>
                    <a:pt x="2718184" y="27146"/>
                  </a:lnTo>
                  <a:lnTo>
                    <a:pt x="2720151" y="23999"/>
                  </a:lnTo>
                  <a:lnTo>
                    <a:pt x="2722904" y="22819"/>
                  </a:lnTo>
                  <a:lnTo>
                    <a:pt x="2722118" y="19671"/>
                  </a:lnTo>
                  <a:lnTo>
                    <a:pt x="2715823" y="18098"/>
                  </a:lnTo>
                  <a:lnTo>
                    <a:pt x="2712675" y="18491"/>
                  </a:lnTo>
                  <a:lnTo>
                    <a:pt x="2709528" y="17704"/>
                  </a:lnTo>
                  <a:lnTo>
                    <a:pt x="2706381" y="17311"/>
                  </a:lnTo>
                  <a:lnTo>
                    <a:pt x="2703627" y="18098"/>
                  </a:lnTo>
                  <a:lnTo>
                    <a:pt x="2700479" y="17704"/>
                  </a:lnTo>
                  <a:lnTo>
                    <a:pt x="2696938" y="17311"/>
                  </a:lnTo>
                  <a:lnTo>
                    <a:pt x="2693791" y="16917"/>
                  </a:lnTo>
                  <a:lnTo>
                    <a:pt x="2690644" y="18491"/>
                  </a:lnTo>
                  <a:lnTo>
                    <a:pt x="2687496" y="18491"/>
                  </a:lnTo>
                  <a:lnTo>
                    <a:pt x="2684742" y="18884"/>
                  </a:lnTo>
                  <a:lnTo>
                    <a:pt x="2683168" y="18884"/>
                  </a:lnTo>
                  <a:lnTo>
                    <a:pt x="2682382" y="18491"/>
                  </a:lnTo>
                  <a:lnTo>
                    <a:pt x="2684742" y="17311"/>
                  </a:lnTo>
                  <a:lnTo>
                    <a:pt x="2685529" y="14557"/>
                  </a:lnTo>
                  <a:lnTo>
                    <a:pt x="2681988" y="14950"/>
                  </a:lnTo>
                  <a:lnTo>
                    <a:pt x="2678841" y="15344"/>
                  </a:lnTo>
                  <a:lnTo>
                    <a:pt x="2675693" y="15737"/>
                  </a:lnTo>
                  <a:lnTo>
                    <a:pt x="2672939" y="15344"/>
                  </a:lnTo>
                  <a:lnTo>
                    <a:pt x="2670972" y="15737"/>
                  </a:lnTo>
                  <a:lnTo>
                    <a:pt x="2665071" y="15344"/>
                  </a:lnTo>
                  <a:lnTo>
                    <a:pt x="2663890" y="14950"/>
                  </a:lnTo>
                  <a:lnTo>
                    <a:pt x="2661137" y="15344"/>
                  </a:lnTo>
                  <a:lnTo>
                    <a:pt x="2653661" y="14950"/>
                  </a:lnTo>
                  <a:lnTo>
                    <a:pt x="2654449" y="14557"/>
                  </a:lnTo>
                  <a:lnTo>
                    <a:pt x="2657202" y="14557"/>
                  </a:lnTo>
                  <a:lnTo>
                    <a:pt x="2659956" y="13377"/>
                  </a:lnTo>
                  <a:lnTo>
                    <a:pt x="2663104" y="13770"/>
                  </a:lnTo>
                  <a:lnTo>
                    <a:pt x="2665858" y="13377"/>
                  </a:lnTo>
                  <a:lnTo>
                    <a:pt x="2669005" y="12983"/>
                  </a:lnTo>
                  <a:lnTo>
                    <a:pt x="2672153" y="12196"/>
                  </a:lnTo>
                  <a:lnTo>
                    <a:pt x="2674907" y="10623"/>
                  </a:lnTo>
                  <a:lnTo>
                    <a:pt x="2678448" y="9049"/>
                  </a:lnTo>
                  <a:lnTo>
                    <a:pt x="2681595" y="9049"/>
                  </a:lnTo>
                  <a:lnTo>
                    <a:pt x="2684349" y="9442"/>
                  </a:lnTo>
                  <a:lnTo>
                    <a:pt x="2681595" y="7869"/>
                  </a:lnTo>
                  <a:lnTo>
                    <a:pt x="2678841" y="7475"/>
                  </a:lnTo>
                  <a:lnTo>
                    <a:pt x="2675693" y="5901"/>
                  </a:lnTo>
                  <a:lnTo>
                    <a:pt x="2672939" y="4721"/>
                  </a:lnTo>
                  <a:lnTo>
                    <a:pt x="2670186" y="4328"/>
                  </a:lnTo>
                  <a:lnTo>
                    <a:pt x="2667038" y="3934"/>
                  </a:lnTo>
                  <a:lnTo>
                    <a:pt x="2663890" y="4328"/>
                  </a:lnTo>
                  <a:lnTo>
                    <a:pt x="2660743" y="3934"/>
                  </a:lnTo>
                  <a:lnTo>
                    <a:pt x="2657202" y="3541"/>
                  </a:lnTo>
                  <a:lnTo>
                    <a:pt x="2654449" y="3147"/>
                  </a:lnTo>
                  <a:lnTo>
                    <a:pt x="2651301" y="2754"/>
                  </a:lnTo>
                  <a:lnTo>
                    <a:pt x="2648153" y="1967"/>
                  </a:lnTo>
                  <a:lnTo>
                    <a:pt x="2645006" y="393"/>
                  </a:lnTo>
                  <a:lnTo>
                    <a:pt x="2642252" y="787"/>
                  </a:lnTo>
                  <a:lnTo>
                    <a:pt x="2639105" y="1180"/>
                  </a:lnTo>
                  <a:lnTo>
                    <a:pt x="2636351" y="787"/>
                  </a:lnTo>
                  <a:lnTo>
                    <a:pt x="2633204" y="0"/>
                  </a:lnTo>
                  <a:lnTo>
                    <a:pt x="2630449" y="0"/>
                  </a:lnTo>
                  <a:lnTo>
                    <a:pt x="2627695" y="1180"/>
                  </a:lnTo>
                  <a:lnTo>
                    <a:pt x="2624548" y="2361"/>
                  </a:lnTo>
                  <a:lnTo>
                    <a:pt x="2621007" y="2754"/>
                  </a:lnTo>
                  <a:lnTo>
                    <a:pt x="2617860" y="2361"/>
                  </a:lnTo>
                  <a:lnTo>
                    <a:pt x="2615106" y="2361"/>
                  </a:lnTo>
                  <a:lnTo>
                    <a:pt x="2612352" y="3541"/>
                  </a:lnTo>
                  <a:lnTo>
                    <a:pt x="2609205" y="5508"/>
                  </a:lnTo>
                  <a:lnTo>
                    <a:pt x="2606450" y="7082"/>
                  </a:lnTo>
                  <a:lnTo>
                    <a:pt x="2603303" y="8655"/>
                  </a:lnTo>
                  <a:lnTo>
                    <a:pt x="2600156" y="8655"/>
                  </a:lnTo>
                  <a:lnTo>
                    <a:pt x="2605270" y="9836"/>
                  </a:lnTo>
                  <a:lnTo>
                    <a:pt x="2602123" y="12196"/>
                  </a:lnTo>
                  <a:lnTo>
                    <a:pt x="2600549" y="13377"/>
                  </a:lnTo>
                  <a:lnTo>
                    <a:pt x="2597402" y="15737"/>
                  </a:lnTo>
                  <a:lnTo>
                    <a:pt x="2598582" y="16917"/>
                  </a:lnTo>
                  <a:lnTo>
                    <a:pt x="2597795" y="18491"/>
                  </a:lnTo>
                  <a:lnTo>
                    <a:pt x="2597402" y="18491"/>
                  </a:lnTo>
                  <a:lnTo>
                    <a:pt x="2596615" y="20852"/>
                  </a:lnTo>
                  <a:lnTo>
                    <a:pt x="2590320" y="31868"/>
                  </a:lnTo>
                  <a:lnTo>
                    <a:pt x="2584812" y="32261"/>
                  </a:lnTo>
                  <a:lnTo>
                    <a:pt x="2581665" y="32261"/>
                  </a:lnTo>
                  <a:lnTo>
                    <a:pt x="2578517" y="31868"/>
                  </a:lnTo>
                  <a:lnTo>
                    <a:pt x="2574976" y="31474"/>
                  </a:lnTo>
                  <a:lnTo>
                    <a:pt x="2572222" y="31081"/>
                  </a:lnTo>
                  <a:lnTo>
                    <a:pt x="2569468" y="30687"/>
                  </a:lnTo>
                  <a:lnTo>
                    <a:pt x="2572616" y="33048"/>
                  </a:lnTo>
                  <a:lnTo>
                    <a:pt x="2575370" y="34622"/>
                  </a:lnTo>
                  <a:lnTo>
                    <a:pt x="2578517" y="34228"/>
                  </a:lnTo>
                  <a:lnTo>
                    <a:pt x="2581665" y="35015"/>
                  </a:lnTo>
                  <a:lnTo>
                    <a:pt x="2584419" y="36195"/>
                  </a:lnTo>
                  <a:lnTo>
                    <a:pt x="2587172" y="36195"/>
                  </a:lnTo>
                  <a:lnTo>
                    <a:pt x="2590320" y="37769"/>
                  </a:lnTo>
                  <a:lnTo>
                    <a:pt x="2593468" y="38949"/>
                  </a:lnTo>
                  <a:lnTo>
                    <a:pt x="2596615" y="40129"/>
                  </a:lnTo>
                  <a:lnTo>
                    <a:pt x="2598975" y="42097"/>
                  </a:lnTo>
                  <a:lnTo>
                    <a:pt x="2597402" y="42097"/>
                  </a:lnTo>
                  <a:lnTo>
                    <a:pt x="2594254" y="41310"/>
                  </a:lnTo>
                  <a:lnTo>
                    <a:pt x="2591107" y="40916"/>
                  </a:lnTo>
                  <a:lnTo>
                    <a:pt x="2587566" y="39343"/>
                  </a:lnTo>
                  <a:lnTo>
                    <a:pt x="2584419" y="39736"/>
                  </a:lnTo>
                  <a:lnTo>
                    <a:pt x="2581271" y="39343"/>
                  </a:lnTo>
                  <a:lnTo>
                    <a:pt x="2577730" y="37376"/>
                  </a:lnTo>
                  <a:lnTo>
                    <a:pt x="2574583" y="38162"/>
                  </a:lnTo>
                  <a:lnTo>
                    <a:pt x="2571042" y="36195"/>
                  </a:lnTo>
                  <a:lnTo>
                    <a:pt x="2568288" y="37376"/>
                  </a:lnTo>
                  <a:lnTo>
                    <a:pt x="2565141" y="38949"/>
                  </a:lnTo>
                  <a:lnTo>
                    <a:pt x="2561993" y="38949"/>
                  </a:lnTo>
                  <a:lnTo>
                    <a:pt x="2559239" y="39343"/>
                  </a:lnTo>
                  <a:lnTo>
                    <a:pt x="2562780" y="40523"/>
                  </a:lnTo>
                  <a:lnTo>
                    <a:pt x="2559632" y="41703"/>
                  </a:lnTo>
                  <a:lnTo>
                    <a:pt x="2556092" y="40916"/>
                  </a:lnTo>
                  <a:lnTo>
                    <a:pt x="2553338" y="41310"/>
                  </a:lnTo>
                  <a:lnTo>
                    <a:pt x="2556485" y="41703"/>
                  </a:lnTo>
                  <a:lnTo>
                    <a:pt x="2559239" y="42490"/>
                  </a:lnTo>
                  <a:lnTo>
                    <a:pt x="2556092" y="43277"/>
                  </a:lnTo>
                  <a:lnTo>
                    <a:pt x="2552944" y="43277"/>
                  </a:lnTo>
                  <a:lnTo>
                    <a:pt x="2550191" y="43670"/>
                  </a:lnTo>
                  <a:lnTo>
                    <a:pt x="2547436" y="43277"/>
                  </a:lnTo>
                  <a:lnTo>
                    <a:pt x="2544683" y="43277"/>
                  </a:lnTo>
                  <a:lnTo>
                    <a:pt x="2541535" y="45637"/>
                  </a:lnTo>
                  <a:lnTo>
                    <a:pt x="2541142" y="45637"/>
                  </a:lnTo>
                  <a:lnTo>
                    <a:pt x="2538388" y="45637"/>
                  </a:lnTo>
                  <a:lnTo>
                    <a:pt x="2536814" y="46031"/>
                  </a:lnTo>
                  <a:lnTo>
                    <a:pt x="2533273" y="43670"/>
                  </a:lnTo>
                  <a:lnTo>
                    <a:pt x="2530519" y="43277"/>
                  </a:lnTo>
                  <a:lnTo>
                    <a:pt x="2527372" y="44457"/>
                  </a:lnTo>
                  <a:lnTo>
                    <a:pt x="2524618" y="44457"/>
                  </a:lnTo>
                  <a:lnTo>
                    <a:pt x="2521470" y="45637"/>
                  </a:lnTo>
                  <a:lnTo>
                    <a:pt x="2519110" y="45637"/>
                  </a:lnTo>
                  <a:lnTo>
                    <a:pt x="2521077" y="43670"/>
                  </a:lnTo>
                  <a:lnTo>
                    <a:pt x="2524224" y="41310"/>
                  </a:lnTo>
                  <a:lnTo>
                    <a:pt x="2521077" y="40523"/>
                  </a:lnTo>
                  <a:lnTo>
                    <a:pt x="2517929" y="40129"/>
                  </a:lnTo>
                  <a:lnTo>
                    <a:pt x="2514388" y="39736"/>
                  </a:lnTo>
                  <a:lnTo>
                    <a:pt x="2511241" y="40129"/>
                  </a:lnTo>
                  <a:lnTo>
                    <a:pt x="2508094" y="39736"/>
                  </a:lnTo>
                  <a:lnTo>
                    <a:pt x="2505340" y="39736"/>
                  </a:lnTo>
                  <a:lnTo>
                    <a:pt x="2501799" y="40129"/>
                  </a:lnTo>
                  <a:lnTo>
                    <a:pt x="2498258" y="40523"/>
                  </a:lnTo>
                  <a:lnTo>
                    <a:pt x="2495111" y="39736"/>
                  </a:lnTo>
                  <a:lnTo>
                    <a:pt x="2491963" y="39343"/>
                  </a:lnTo>
                  <a:lnTo>
                    <a:pt x="2488816" y="41310"/>
                  </a:lnTo>
                  <a:lnTo>
                    <a:pt x="2486062" y="40129"/>
                  </a:lnTo>
                  <a:lnTo>
                    <a:pt x="2482914" y="40523"/>
                  </a:lnTo>
                  <a:lnTo>
                    <a:pt x="2480161" y="40129"/>
                  </a:lnTo>
                  <a:lnTo>
                    <a:pt x="2476620" y="40129"/>
                  </a:lnTo>
                  <a:lnTo>
                    <a:pt x="2473472" y="39736"/>
                  </a:lnTo>
                  <a:lnTo>
                    <a:pt x="2476620" y="40916"/>
                  </a:lnTo>
                  <a:lnTo>
                    <a:pt x="2479767" y="41310"/>
                  </a:lnTo>
                  <a:lnTo>
                    <a:pt x="2477013" y="42097"/>
                  </a:lnTo>
                  <a:lnTo>
                    <a:pt x="2473866" y="42097"/>
                  </a:lnTo>
                  <a:lnTo>
                    <a:pt x="2470718" y="42490"/>
                  </a:lnTo>
                  <a:lnTo>
                    <a:pt x="2467571" y="41310"/>
                  </a:lnTo>
                  <a:lnTo>
                    <a:pt x="2464423" y="40523"/>
                  </a:lnTo>
                  <a:lnTo>
                    <a:pt x="2461670" y="40916"/>
                  </a:lnTo>
                  <a:lnTo>
                    <a:pt x="2460489" y="44064"/>
                  </a:lnTo>
                  <a:lnTo>
                    <a:pt x="2463637" y="45637"/>
                  </a:lnTo>
                  <a:lnTo>
                    <a:pt x="2466391" y="45637"/>
                  </a:lnTo>
                  <a:lnTo>
                    <a:pt x="2412491" y="53899"/>
                  </a:lnTo>
                  <a:lnTo>
                    <a:pt x="2413278" y="54686"/>
                  </a:lnTo>
                  <a:lnTo>
                    <a:pt x="2413671" y="55473"/>
                  </a:lnTo>
                  <a:lnTo>
                    <a:pt x="2410130" y="55473"/>
                  </a:lnTo>
                  <a:lnTo>
                    <a:pt x="2406983" y="55867"/>
                  </a:lnTo>
                  <a:lnTo>
                    <a:pt x="2405803" y="56653"/>
                  </a:lnTo>
                  <a:lnTo>
                    <a:pt x="2401475" y="57047"/>
                  </a:lnTo>
                  <a:lnTo>
                    <a:pt x="2400689" y="56653"/>
                  </a:lnTo>
                  <a:lnTo>
                    <a:pt x="2397934" y="57047"/>
                  </a:lnTo>
                  <a:lnTo>
                    <a:pt x="2395181" y="57440"/>
                  </a:lnTo>
                  <a:lnTo>
                    <a:pt x="2394393" y="57834"/>
                  </a:lnTo>
                  <a:lnTo>
                    <a:pt x="2368821" y="64915"/>
                  </a:lnTo>
                  <a:lnTo>
                    <a:pt x="2367247" y="64915"/>
                  </a:lnTo>
                  <a:lnTo>
                    <a:pt x="2364100" y="64522"/>
                  </a:lnTo>
                  <a:lnTo>
                    <a:pt x="2361346" y="64915"/>
                  </a:lnTo>
                  <a:lnTo>
                    <a:pt x="2363313" y="66489"/>
                  </a:lnTo>
                  <a:lnTo>
                    <a:pt x="2364886" y="69243"/>
                  </a:lnTo>
                  <a:lnTo>
                    <a:pt x="2362919" y="69243"/>
                  </a:lnTo>
                  <a:lnTo>
                    <a:pt x="2359772" y="69636"/>
                  </a:lnTo>
                  <a:lnTo>
                    <a:pt x="2356625" y="69243"/>
                  </a:lnTo>
                  <a:lnTo>
                    <a:pt x="2353084" y="71210"/>
                  </a:lnTo>
                  <a:lnTo>
                    <a:pt x="2356231" y="72784"/>
                  </a:lnTo>
                  <a:lnTo>
                    <a:pt x="2359379" y="73177"/>
                  </a:lnTo>
                  <a:lnTo>
                    <a:pt x="2362526" y="73177"/>
                  </a:lnTo>
                  <a:lnTo>
                    <a:pt x="2365674" y="73571"/>
                  </a:lnTo>
                  <a:lnTo>
                    <a:pt x="2362526" y="72390"/>
                  </a:lnTo>
                  <a:lnTo>
                    <a:pt x="2365280" y="71997"/>
                  </a:lnTo>
                  <a:lnTo>
                    <a:pt x="2365674" y="71997"/>
                  </a:lnTo>
                  <a:lnTo>
                    <a:pt x="2368821" y="79079"/>
                  </a:lnTo>
                  <a:lnTo>
                    <a:pt x="2367641" y="79472"/>
                  </a:lnTo>
                  <a:lnTo>
                    <a:pt x="2364493" y="78292"/>
                  </a:lnTo>
                  <a:lnTo>
                    <a:pt x="2361346" y="76718"/>
                  </a:lnTo>
                  <a:lnTo>
                    <a:pt x="2358592" y="76325"/>
                  </a:lnTo>
                  <a:lnTo>
                    <a:pt x="2355838" y="75931"/>
                  </a:lnTo>
                  <a:lnTo>
                    <a:pt x="2352690" y="73964"/>
                  </a:lnTo>
                  <a:lnTo>
                    <a:pt x="2349543" y="73964"/>
                  </a:lnTo>
                  <a:lnTo>
                    <a:pt x="2352297" y="75538"/>
                  </a:lnTo>
                  <a:lnTo>
                    <a:pt x="2349149" y="76718"/>
                  </a:lnTo>
                  <a:lnTo>
                    <a:pt x="2351510" y="79472"/>
                  </a:lnTo>
                  <a:lnTo>
                    <a:pt x="2354264" y="79079"/>
                  </a:lnTo>
                  <a:lnTo>
                    <a:pt x="2357412" y="79472"/>
                  </a:lnTo>
                  <a:lnTo>
                    <a:pt x="2360559" y="79866"/>
                  </a:lnTo>
                  <a:lnTo>
                    <a:pt x="2363706" y="80259"/>
                  </a:lnTo>
                  <a:lnTo>
                    <a:pt x="2366854" y="80652"/>
                  </a:lnTo>
                  <a:lnTo>
                    <a:pt x="2370001" y="81046"/>
                  </a:lnTo>
                  <a:lnTo>
                    <a:pt x="2370001" y="81046"/>
                  </a:lnTo>
                  <a:lnTo>
                    <a:pt x="2367247" y="81439"/>
                  </a:lnTo>
                  <a:lnTo>
                    <a:pt x="2370001" y="83013"/>
                  </a:lnTo>
                  <a:lnTo>
                    <a:pt x="2371182" y="83406"/>
                  </a:lnTo>
                  <a:lnTo>
                    <a:pt x="2371968" y="85374"/>
                  </a:lnTo>
                  <a:lnTo>
                    <a:pt x="2368821" y="84193"/>
                  </a:lnTo>
                  <a:lnTo>
                    <a:pt x="2365674" y="83800"/>
                  </a:lnTo>
                  <a:lnTo>
                    <a:pt x="2362919" y="84587"/>
                  </a:lnTo>
                  <a:lnTo>
                    <a:pt x="2359379" y="84587"/>
                  </a:lnTo>
                  <a:lnTo>
                    <a:pt x="2362919" y="85374"/>
                  </a:lnTo>
                  <a:lnTo>
                    <a:pt x="2365674" y="87341"/>
                  </a:lnTo>
                  <a:lnTo>
                    <a:pt x="2362133" y="86554"/>
                  </a:lnTo>
                  <a:lnTo>
                    <a:pt x="2358985" y="86160"/>
                  </a:lnTo>
                  <a:lnTo>
                    <a:pt x="2362526" y="88521"/>
                  </a:lnTo>
                  <a:lnTo>
                    <a:pt x="2365674" y="88914"/>
                  </a:lnTo>
                  <a:lnTo>
                    <a:pt x="2371968" y="88914"/>
                  </a:lnTo>
                  <a:lnTo>
                    <a:pt x="2375509" y="89308"/>
                  </a:lnTo>
                  <a:lnTo>
                    <a:pt x="2378263" y="90488"/>
                  </a:lnTo>
                  <a:lnTo>
                    <a:pt x="2381411" y="92849"/>
                  </a:lnTo>
                  <a:lnTo>
                    <a:pt x="2384164" y="94029"/>
                  </a:lnTo>
                  <a:lnTo>
                    <a:pt x="2385345" y="94029"/>
                  </a:lnTo>
                  <a:lnTo>
                    <a:pt x="2390066" y="97176"/>
                  </a:lnTo>
                  <a:lnTo>
                    <a:pt x="2390459" y="97570"/>
                  </a:lnTo>
                  <a:lnTo>
                    <a:pt x="2392426" y="98750"/>
                  </a:lnTo>
                  <a:lnTo>
                    <a:pt x="2392033" y="99143"/>
                  </a:lnTo>
                  <a:lnTo>
                    <a:pt x="2390459" y="99537"/>
                  </a:lnTo>
                  <a:lnTo>
                    <a:pt x="2386919" y="99143"/>
                  </a:lnTo>
                  <a:lnTo>
                    <a:pt x="2383378" y="98750"/>
                  </a:lnTo>
                  <a:lnTo>
                    <a:pt x="2380230" y="99143"/>
                  </a:lnTo>
                  <a:lnTo>
                    <a:pt x="2377083" y="99143"/>
                  </a:lnTo>
                  <a:lnTo>
                    <a:pt x="2374329" y="99537"/>
                  </a:lnTo>
                  <a:lnTo>
                    <a:pt x="2371575" y="99143"/>
                  </a:lnTo>
                  <a:lnTo>
                    <a:pt x="2368427" y="99537"/>
                  </a:lnTo>
                  <a:lnTo>
                    <a:pt x="2365674" y="100324"/>
                  </a:lnTo>
                  <a:lnTo>
                    <a:pt x="2362133" y="100717"/>
                  </a:lnTo>
                  <a:lnTo>
                    <a:pt x="2360952" y="102291"/>
                  </a:lnTo>
                  <a:lnTo>
                    <a:pt x="2351116" y="103471"/>
                  </a:lnTo>
                  <a:lnTo>
                    <a:pt x="2349936" y="103078"/>
                  </a:lnTo>
                  <a:lnTo>
                    <a:pt x="2346789" y="102684"/>
                  </a:lnTo>
                  <a:lnTo>
                    <a:pt x="2343642" y="102684"/>
                  </a:lnTo>
                  <a:lnTo>
                    <a:pt x="2340494" y="103078"/>
                  </a:lnTo>
                  <a:lnTo>
                    <a:pt x="2337347" y="103865"/>
                  </a:lnTo>
                  <a:lnTo>
                    <a:pt x="2333806" y="104258"/>
                  </a:lnTo>
                  <a:lnTo>
                    <a:pt x="2327118" y="104258"/>
                  </a:lnTo>
                  <a:lnTo>
                    <a:pt x="2324364" y="104651"/>
                  </a:lnTo>
                  <a:lnTo>
                    <a:pt x="2321609" y="105045"/>
                  </a:lnTo>
                  <a:lnTo>
                    <a:pt x="2318462" y="105438"/>
                  </a:lnTo>
                  <a:lnTo>
                    <a:pt x="2307053" y="105438"/>
                  </a:lnTo>
                  <a:lnTo>
                    <a:pt x="2303512" y="105045"/>
                  </a:lnTo>
                  <a:lnTo>
                    <a:pt x="2300758" y="105045"/>
                  </a:lnTo>
                  <a:lnTo>
                    <a:pt x="2297217" y="105438"/>
                  </a:lnTo>
                  <a:lnTo>
                    <a:pt x="2290923" y="105438"/>
                  </a:lnTo>
                  <a:lnTo>
                    <a:pt x="2287382" y="105832"/>
                  </a:lnTo>
                  <a:lnTo>
                    <a:pt x="2280694" y="105832"/>
                  </a:lnTo>
                  <a:lnTo>
                    <a:pt x="2277546" y="106225"/>
                  </a:lnTo>
                  <a:lnTo>
                    <a:pt x="2274792" y="107012"/>
                  </a:lnTo>
                  <a:lnTo>
                    <a:pt x="2272038" y="107012"/>
                  </a:lnTo>
                  <a:lnTo>
                    <a:pt x="2268891" y="107405"/>
                  </a:lnTo>
                  <a:lnTo>
                    <a:pt x="2266136" y="107799"/>
                  </a:lnTo>
                  <a:lnTo>
                    <a:pt x="2262989" y="110159"/>
                  </a:lnTo>
                  <a:lnTo>
                    <a:pt x="2265743" y="109766"/>
                  </a:lnTo>
                  <a:lnTo>
                    <a:pt x="2263383" y="112520"/>
                  </a:lnTo>
                  <a:lnTo>
                    <a:pt x="2260235" y="114880"/>
                  </a:lnTo>
                  <a:lnTo>
                    <a:pt x="2263383" y="115274"/>
                  </a:lnTo>
                  <a:lnTo>
                    <a:pt x="2266530" y="117634"/>
                  </a:lnTo>
                  <a:lnTo>
                    <a:pt x="2263383" y="118028"/>
                  </a:lnTo>
                  <a:lnTo>
                    <a:pt x="2266136" y="118421"/>
                  </a:lnTo>
                  <a:lnTo>
                    <a:pt x="2269284" y="120782"/>
                  </a:lnTo>
                  <a:lnTo>
                    <a:pt x="2272431" y="121175"/>
                  </a:lnTo>
                  <a:lnTo>
                    <a:pt x="2275579" y="121569"/>
                  </a:lnTo>
                  <a:lnTo>
                    <a:pt x="2278726" y="123536"/>
                  </a:lnTo>
                  <a:lnTo>
                    <a:pt x="2281087" y="126290"/>
                  </a:lnTo>
                  <a:lnTo>
                    <a:pt x="2280694" y="129044"/>
                  </a:lnTo>
                  <a:lnTo>
                    <a:pt x="2282267" y="132191"/>
                  </a:lnTo>
                  <a:lnTo>
                    <a:pt x="2285021" y="134945"/>
                  </a:lnTo>
                  <a:lnTo>
                    <a:pt x="2287775" y="136519"/>
                  </a:lnTo>
                  <a:lnTo>
                    <a:pt x="2294070" y="138880"/>
                  </a:lnTo>
                  <a:lnTo>
                    <a:pt x="2297611" y="140453"/>
                  </a:lnTo>
                  <a:lnTo>
                    <a:pt x="2300365" y="140453"/>
                  </a:lnTo>
                  <a:lnTo>
                    <a:pt x="2303119" y="140847"/>
                  </a:lnTo>
                  <a:lnTo>
                    <a:pt x="2329085" y="149109"/>
                  </a:lnTo>
                  <a:lnTo>
                    <a:pt x="2330265" y="149502"/>
                  </a:lnTo>
                  <a:lnTo>
                    <a:pt x="2333019" y="150289"/>
                  </a:lnTo>
                  <a:lnTo>
                    <a:pt x="2339314" y="153830"/>
                  </a:lnTo>
                  <a:lnTo>
                    <a:pt x="2340887" y="155403"/>
                  </a:lnTo>
                  <a:lnTo>
                    <a:pt x="2341675" y="156977"/>
                  </a:lnTo>
                  <a:lnTo>
                    <a:pt x="2296431" y="150289"/>
                  </a:lnTo>
                  <a:lnTo>
                    <a:pt x="2293676" y="149502"/>
                  </a:lnTo>
                  <a:lnTo>
                    <a:pt x="2296431" y="149895"/>
                  </a:lnTo>
                  <a:lnTo>
                    <a:pt x="2293283" y="147535"/>
                  </a:lnTo>
                  <a:lnTo>
                    <a:pt x="2290529" y="147141"/>
                  </a:lnTo>
                  <a:lnTo>
                    <a:pt x="2287775" y="146748"/>
                  </a:lnTo>
                  <a:lnTo>
                    <a:pt x="2284234" y="146355"/>
                  </a:lnTo>
                  <a:lnTo>
                    <a:pt x="2281087" y="145961"/>
                  </a:lnTo>
                  <a:lnTo>
                    <a:pt x="2278333" y="145174"/>
                  </a:lnTo>
                  <a:lnTo>
                    <a:pt x="2275972" y="144781"/>
                  </a:lnTo>
                  <a:lnTo>
                    <a:pt x="2273218" y="144387"/>
                  </a:lnTo>
                  <a:lnTo>
                    <a:pt x="2270071" y="143601"/>
                  </a:lnTo>
                  <a:lnTo>
                    <a:pt x="2266924" y="142420"/>
                  </a:lnTo>
                  <a:lnTo>
                    <a:pt x="2263776" y="141240"/>
                  </a:lnTo>
                  <a:lnTo>
                    <a:pt x="2260628" y="140847"/>
                  </a:lnTo>
                  <a:lnTo>
                    <a:pt x="2257481" y="140453"/>
                  </a:lnTo>
                  <a:lnTo>
                    <a:pt x="2254727" y="140453"/>
                  </a:lnTo>
                  <a:lnTo>
                    <a:pt x="2251580" y="140847"/>
                  </a:lnTo>
                  <a:lnTo>
                    <a:pt x="2248826" y="140847"/>
                  </a:lnTo>
                  <a:lnTo>
                    <a:pt x="2245285" y="140453"/>
                  </a:lnTo>
                  <a:lnTo>
                    <a:pt x="2242531" y="140060"/>
                  </a:lnTo>
                  <a:lnTo>
                    <a:pt x="2240957" y="140060"/>
                  </a:lnTo>
                  <a:lnTo>
                    <a:pt x="2241744" y="140453"/>
                  </a:lnTo>
                  <a:lnTo>
                    <a:pt x="2238597" y="140060"/>
                  </a:lnTo>
                  <a:lnTo>
                    <a:pt x="2235449" y="140847"/>
                  </a:lnTo>
                  <a:lnTo>
                    <a:pt x="2232302" y="141633"/>
                  </a:lnTo>
                  <a:lnTo>
                    <a:pt x="2229548" y="143207"/>
                  </a:lnTo>
                  <a:lnTo>
                    <a:pt x="2226400" y="145568"/>
                  </a:lnTo>
                  <a:lnTo>
                    <a:pt x="2223253" y="144781"/>
                  </a:lnTo>
                  <a:lnTo>
                    <a:pt x="2222860" y="147535"/>
                  </a:lnTo>
                  <a:lnTo>
                    <a:pt x="2224040" y="147928"/>
                  </a:lnTo>
                  <a:lnTo>
                    <a:pt x="2218139" y="150682"/>
                  </a:lnTo>
                  <a:lnTo>
                    <a:pt x="2215384" y="149895"/>
                  </a:lnTo>
                  <a:lnTo>
                    <a:pt x="2212631" y="149502"/>
                  </a:lnTo>
                  <a:lnTo>
                    <a:pt x="2209483" y="149895"/>
                  </a:lnTo>
                  <a:lnTo>
                    <a:pt x="2206729" y="150289"/>
                  </a:lnTo>
                  <a:lnTo>
                    <a:pt x="2203582" y="150682"/>
                  </a:lnTo>
                  <a:lnTo>
                    <a:pt x="2200828" y="152256"/>
                  </a:lnTo>
                  <a:lnTo>
                    <a:pt x="2197680" y="153043"/>
                  </a:lnTo>
                  <a:lnTo>
                    <a:pt x="2200434" y="155403"/>
                  </a:lnTo>
                  <a:lnTo>
                    <a:pt x="2203582" y="157764"/>
                  </a:lnTo>
                  <a:lnTo>
                    <a:pt x="2205549" y="158944"/>
                  </a:lnTo>
                  <a:lnTo>
                    <a:pt x="2184304" y="150682"/>
                  </a:lnTo>
                  <a:lnTo>
                    <a:pt x="2183910" y="147928"/>
                  </a:lnTo>
                  <a:lnTo>
                    <a:pt x="2183517" y="144781"/>
                  </a:lnTo>
                  <a:lnTo>
                    <a:pt x="2183124" y="142027"/>
                  </a:lnTo>
                  <a:lnTo>
                    <a:pt x="2180370" y="139666"/>
                  </a:lnTo>
                  <a:lnTo>
                    <a:pt x="2177222" y="136912"/>
                  </a:lnTo>
                  <a:lnTo>
                    <a:pt x="2175255" y="134158"/>
                  </a:lnTo>
                  <a:lnTo>
                    <a:pt x="2172107" y="132585"/>
                  </a:lnTo>
                  <a:lnTo>
                    <a:pt x="2170140" y="129831"/>
                  </a:lnTo>
                  <a:lnTo>
                    <a:pt x="2167387" y="128650"/>
                  </a:lnTo>
                  <a:lnTo>
                    <a:pt x="2164633" y="128257"/>
                  </a:lnTo>
                  <a:lnTo>
                    <a:pt x="2161092" y="126683"/>
                  </a:lnTo>
                  <a:lnTo>
                    <a:pt x="2158338" y="127077"/>
                  </a:lnTo>
                  <a:lnTo>
                    <a:pt x="2155584" y="128257"/>
                  </a:lnTo>
                  <a:lnTo>
                    <a:pt x="2158731" y="130224"/>
                  </a:lnTo>
                  <a:lnTo>
                    <a:pt x="2161485" y="131798"/>
                  </a:lnTo>
                  <a:lnTo>
                    <a:pt x="2164239" y="133765"/>
                  </a:lnTo>
                  <a:lnTo>
                    <a:pt x="2169354" y="139273"/>
                  </a:lnTo>
                  <a:lnTo>
                    <a:pt x="2171321" y="142027"/>
                  </a:lnTo>
                  <a:lnTo>
                    <a:pt x="2172501" y="145174"/>
                  </a:lnTo>
                  <a:lnTo>
                    <a:pt x="2171714" y="147928"/>
                  </a:lnTo>
                  <a:lnTo>
                    <a:pt x="2168567" y="149502"/>
                  </a:lnTo>
                  <a:lnTo>
                    <a:pt x="2165419" y="150289"/>
                  </a:lnTo>
                  <a:lnTo>
                    <a:pt x="2164239" y="150682"/>
                  </a:lnTo>
                  <a:lnTo>
                    <a:pt x="2163059" y="151076"/>
                  </a:lnTo>
                  <a:lnTo>
                    <a:pt x="2160305" y="151469"/>
                  </a:lnTo>
                  <a:lnTo>
                    <a:pt x="2157551" y="152649"/>
                  </a:lnTo>
                  <a:lnTo>
                    <a:pt x="2154797" y="153043"/>
                  </a:lnTo>
                  <a:lnTo>
                    <a:pt x="2151256" y="153436"/>
                  </a:lnTo>
                  <a:lnTo>
                    <a:pt x="2148109" y="155010"/>
                  </a:lnTo>
                  <a:lnTo>
                    <a:pt x="2147322" y="157764"/>
                  </a:lnTo>
                  <a:lnTo>
                    <a:pt x="2147715" y="160518"/>
                  </a:lnTo>
                  <a:lnTo>
                    <a:pt x="2145355" y="163665"/>
                  </a:lnTo>
                  <a:lnTo>
                    <a:pt x="2142207" y="166813"/>
                  </a:lnTo>
                  <a:lnTo>
                    <a:pt x="2145355" y="167600"/>
                  </a:lnTo>
                  <a:lnTo>
                    <a:pt x="2151649" y="169173"/>
                  </a:lnTo>
                  <a:lnTo>
                    <a:pt x="2154797" y="170354"/>
                  </a:lnTo>
                  <a:lnTo>
                    <a:pt x="2157551" y="171927"/>
                  </a:lnTo>
                  <a:lnTo>
                    <a:pt x="2160305" y="174288"/>
                  </a:lnTo>
                  <a:lnTo>
                    <a:pt x="2163059" y="176648"/>
                  </a:lnTo>
                  <a:lnTo>
                    <a:pt x="2165813" y="178222"/>
                  </a:lnTo>
                  <a:lnTo>
                    <a:pt x="2168960" y="179796"/>
                  </a:lnTo>
                  <a:lnTo>
                    <a:pt x="2171714" y="182550"/>
                  </a:lnTo>
                  <a:lnTo>
                    <a:pt x="2174075" y="183730"/>
                  </a:lnTo>
                  <a:lnTo>
                    <a:pt x="2180763" y="206549"/>
                  </a:lnTo>
                  <a:lnTo>
                    <a:pt x="2180763" y="206942"/>
                  </a:lnTo>
                  <a:lnTo>
                    <a:pt x="2181550" y="209696"/>
                  </a:lnTo>
                  <a:lnTo>
                    <a:pt x="2180763" y="212450"/>
                  </a:lnTo>
                  <a:lnTo>
                    <a:pt x="2182337" y="215204"/>
                  </a:lnTo>
                  <a:lnTo>
                    <a:pt x="2185091" y="217171"/>
                  </a:lnTo>
                  <a:lnTo>
                    <a:pt x="2187844" y="218745"/>
                  </a:lnTo>
                  <a:lnTo>
                    <a:pt x="2190599" y="220319"/>
                  </a:lnTo>
                  <a:lnTo>
                    <a:pt x="2193353" y="222679"/>
                  </a:lnTo>
                  <a:lnTo>
                    <a:pt x="2194140" y="225433"/>
                  </a:lnTo>
                  <a:lnTo>
                    <a:pt x="2194140" y="228581"/>
                  </a:lnTo>
                  <a:lnTo>
                    <a:pt x="2196893" y="231335"/>
                  </a:lnTo>
                  <a:lnTo>
                    <a:pt x="2200041" y="232908"/>
                  </a:lnTo>
                  <a:lnTo>
                    <a:pt x="2202795" y="232122"/>
                  </a:lnTo>
                  <a:lnTo>
                    <a:pt x="2205942" y="230941"/>
                  </a:lnTo>
                  <a:lnTo>
                    <a:pt x="2208696" y="230941"/>
                  </a:lnTo>
                  <a:lnTo>
                    <a:pt x="2211844" y="231335"/>
                  </a:lnTo>
                  <a:lnTo>
                    <a:pt x="2214991" y="232122"/>
                  </a:lnTo>
                  <a:lnTo>
                    <a:pt x="2218139" y="232515"/>
                  </a:lnTo>
                  <a:lnTo>
                    <a:pt x="2221286" y="232122"/>
                  </a:lnTo>
                  <a:lnTo>
                    <a:pt x="2224433" y="230941"/>
                  </a:lnTo>
                  <a:lnTo>
                    <a:pt x="2226794" y="229761"/>
                  </a:lnTo>
                  <a:lnTo>
                    <a:pt x="2241351" y="237236"/>
                  </a:lnTo>
                  <a:lnTo>
                    <a:pt x="2238990" y="237630"/>
                  </a:lnTo>
                  <a:lnTo>
                    <a:pt x="2235843" y="238023"/>
                  </a:lnTo>
                  <a:lnTo>
                    <a:pt x="2233089" y="238416"/>
                  </a:lnTo>
                  <a:lnTo>
                    <a:pt x="2229941" y="239203"/>
                  </a:lnTo>
                  <a:lnTo>
                    <a:pt x="2226794" y="239990"/>
                  </a:lnTo>
                  <a:lnTo>
                    <a:pt x="2224040" y="240383"/>
                  </a:lnTo>
                  <a:lnTo>
                    <a:pt x="2220892" y="240777"/>
                  </a:lnTo>
                  <a:lnTo>
                    <a:pt x="2218139" y="242351"/>
                  </a:lnTo>
                  <a:lnTo>
                    <a:pt x="2218532" y="245498"/>
                  </a:lnTo>
                  <a:lnTo>
                    <a:pt x="2206729" y="316708"/>
                  </a:lnTo>
                  <a:lnTo>
                    <a:pt x="2203975" y="316315"/>
                  </a:lnTo>
                  <a:lnTo>
                    <a:pt x="2201221" y="315134"/>
                  </a:lnTo>
                  <a:lnTo>
                    <a:pt x="2198074" y="313561"/>
                  </a:lnTo>
                  <a:lnTo>
                    <a:pt x="2194926" y="313167"/>
                  </a:lnTo>
                  <a:lnTo>
                    <a:pt x="2191779" y="312774"/>
                  </a:lnTo>
                  <a:lnTo>
                    <a:pt x="2188632" y="312381"/>
                  </a:lnTo>
                  <a:lnTo>
                    <a:pt x="2185877" y="312381"/>
                  </a:lnTo>
                  <a:lnTo>
                    <a:pt x="2182730" y="311987"/>
                  </a:lnTo>
                  <a:lnTo>
                    <a:pt x="2179583" y="312381"/>
                  </a:lnTo>
                  <a:lnTo>
                    <a:pt x="2176829" y="312774"/>
                  </a:lnTo>
                  <a:lnTo>
                    <a:pt x="2174075" y="313167"/>
                  </a:lnTo>
                  <a:lnTo>
                    <a:pt x="2159125" y="311594"/>
                  </a:lnTo>
                  <a:lnTo>
                    <a:pt x="2134732" y="301365"/>
                  </a:lnTo>
                  <a:lnTo>
                    <a:pt x="2134732" y="301365"/>
                  </a:lnTo>
                  <a:lnTo>
                    <a:pt x="2131585" y="300184"/>
                  </a:lnTo>
                  <a:lnTo>
                    <a:pt x="2130798" y="300184"/>
                  </a:lnTo>
                  <a:lnTo>
                    <a:pt x="2130404" y="299791"/>
                  </a:lnTo>
                  <a:lnTo>
                    <a:pt x="2139060" y="299791"/>
                  </a:lnTo>
                  <a:lnTo>
                    <a:pt x="2136306" y="300971"/>
                  </a:lnTo>
                  <a:lnTo>
                    <a:pt x="2139060" y="300578"/>
                  </a:lnTo>
                  <a:lnTo>
                    <a:pt x="2142207" y="301365"/>
                  </a:lnTo>
                  <a:lnTo>
                    <a:pt x="2144961" y="303725"/>
                  </a:lnTo>
                  <a:lnTo>
                    <a:pt x="2147715" y="306479"/>
                  </a:lnTo>
                  <a:lnTo>
                    <a:pt x="2151256" y="307266"/>
                  </a:lnTo>
                  <a:lnTo>
                    <a:pt x="2154797" y="308840"/>
                  </a:lnTo>
                  <a:lnTo>
                    <a:pt x="2157944" y="308053"/>
                  </a:lnTo>
                  <a:lnTo>
                    <a:pt x="2159518" y="306873"/>
                  </a:lnTo>
                  <a:lnTo>
                    <a:pt x="2157944" y="304119"/>
                  </a:lnTo>
                  <a:lnTo>
                    <a:pt x="2154797" y="302151"/>
                  </a:lnTo>
                  <a:lnTo>
                    <a:pt x="2152043" y="301758"/>
                  </a:lnTo>
                  <a:lnTo>
                    <a:pt x="2148502" y="300971"/>
                  </a:lnTo>
                  <a:lnTo>
                    <a:pt x="2145355" y="302545"/>
                  </a:lnTo>
                  <a:lnTo>
                    <a:pt x="2142207" y="300184"/>
                  </a:lnTo>
                  <a:lnTo>
                    <a:pt x="2139847" y="299791"/>
                  </a:lnTo>
                  <a:lnTo>
                    <a:pt x="2153617" y="299791"/>
                  </a:lnTo>
                  <a:lnTo>
                    <a:pt x="2156370" y="301365"/>
                  </a:lnTo>
                  <a:lnTo>
                    <a:pt x="2159518" y="302938"/>
                  </a:lnTo>
                  <a:lnTo>
                    <a:pt x="2162272" y="303332"/>
                  </a:lnTo>
                  <a:lnTo>
                    <a:pt x="2165419" y="302938"/>
                  </a:lnTo>
                  <a:lnTo>
                    <a:pt x="2168173" y="301365"/>
                  </a:lnTo>
                  <a:lnTo>
                    <a:pt x="2170927" y="300971"/>
                  </a:lnTo>
                  <a:lnTo>
                    <a:pt x="2171321" y="300971"/>
                  </a:lnTo>
                  <a:lnTo>
                    <a:pt x="2170534" y="301365"/>
                  </a:lnTo>
                  <a:lnTo>
                    <a:pt x="2172107" y="304119"/>
                  </a:lnTo>
                  <a:lnTo>
                    <a:pt x="2175255" y="305692"/>
                  </a:lnTo>
                  <a:lnTo>
                    <a:pt x="2178009" y="306086"/>
                  </a:lnTo>
                  <a:lnTo>
                    <a:pt x="2181156" y="306479"/>
                  </a:lnTo>
                  <a:lnTo>
                    <a:pt x="2183910" y="304512"/>
                  </a:lnTo>
                  <a:lnTo>
                    <a:pt x="2186664" y="304512"/>
                  </a:lnTo>
                  <a:lnTo>
                    <a:pt x="2190205" y="304119"/>
                  </a:lnTo>
                  <a:lnTo>
                    <a:pt x="2189025" y="301365"/>
                  </a:lnTo>
                  <a:lnTo>
                    <a:pt x="2186271" y="299004"/>
                  </a:lnTo>
                  <a:lnTo>
                    <a:pt x="2183517" y="297037"/>
                  </a:lnTo>
                  <a:lnTo>
                    <a:pt x="2186271" y="296643"/>
                  </a:lnTo>
                  <a:lnTo>
                    <a:pt x="2189025" y="295857"/>
                  </a:lnTo>
                  <a:lnTo>
                    <a:pt x="2192173" y="294283"/>
                  </a:lnTo>
                  <a:lnTo>
                    <a:pt x="2194140" y="291529"/>
                  </a:lnTo>
                  <a:lnTo>
                    <a:pt x="2191385" y="289955"/>
                  </a:lnTo>
                  <a:lnTo>
                    <a:pt x="2194533" y="289168"/>
                  </a:lnTo>
                  <a:lnTo>
                    <a:pt x="2197287" y="289562"/>
                  </a:lnTo>
                  <a:lnTo>
                    <a:pt x="2194140" y="286808"/>
                  </a:lnTo>
                  <a:lnTo>
                    <a:pt x="2197287" y="284841"/>
                  </a:lnTo>
                  <a:lnTo>
                    <a:pt x="2198861" y="282087"/>
                  </a:lnTo>
                  <a:lnTo>
                    <a:pt x="2199254" y="279333"/>
                  </a:lnTo>
                  <a:lnTo>
                    <a:pt x="2199254" y="278546"/>
                  </a:lnTo>
                  <a:lnTo>
                    <a:pt x="2202402" y="276185"/>
                  </a:lnTo>
                  <a:lnTo>
                    <a:pt x="2205155" y="274218"/>
                  </a:lnTo>
                  <a:lnTo>
                    <a:pt x="2208303" y="273431"/>
                  </a:lnTo>
                  <a:lnTo>
                    <a:pt x="2206729" y="270677"/>
                  </a:lnTo>
                  <a:lnTo>
                    <a:pt x="2207910" y="267530"/>
                  </a:lnTo>
                  <a:lnTo>
                    <a:pt x="2205155" y="264776"/>
                  </a:lnTo>
                  <a:lnTo>
                    <a:pt x="2202402" y="262809"/>
                  </a:lnTo>
                  <a:lnTo>
                    <a:pt x="2201614" y="260055"/>
                  </a:lnTo>
                  <a:lnTo>
                    <a:pt x="2203188" y="256907"/>
                  </a:lnTo>
                  <a:lnTo>
                    <a:pt x="2205155" y="254153"/>
                  </a:lnTo>
                  <a:lnTo>
                    <a:pt x="2207122" y="251399"/>
                  </a:lnTo>
                  <a:lnTo>
                    <a:pt x="2203975" y="248645"/>
                  </a:lnTo>
                  <a:lnTo>
                    <a:pt x="2200828" y="247859"/>
                  </a:lnTo>
                  <a:lnTo>
                    <a:pt x="2197680" y="246678"/>
                  </a:lnTo>
                  <a:lnTo>
                    <a:pt x="2194533" y="245105"/>
                  </a:lnTo>
                  <a:lnTo>
                    <a:pt x="2191385" y="243924"/>
                  </a:lnTo>
                  <a:lnTo>
                    <a:pt x="2188238" y="243137"/>
                  </a:lnTo>
                  <a:lnTo>
                    <a:pt x="2184697" y="242351"/>
                  </a:lnTo>
                  <a:lnTo>
                    <a:pt x="2181943" y="240777"/>
                  </a:lnTo>
                  <a:lnTo>
                    <a:pt x="2179189" y="238023"/>
                  </a:lnTo>
                  <a:lnTo>
                    <a:pt x="2176436" y="235662"/>
                  </a:lnTo>
                  <a:lnTo>
                    <a:pt x="2175255" y="234482"/>
                  </a:lnTo>
                  <a:lnTo>
                    <a:pt x="2172501" y="229368"/>
                  </a:lnTo>
                  <a:lnTo>
                    <a:pt x="2173681" y="227007"/>
                  </a:lnTo>
                  <a:lnTo>
                    <a:pt x="2170534" y="224646"/>
                  </a:lnTo>
                  <a:lnTo>
                    <a:pt x="2170927" y="221892"/>
                  </a:lnTo>
                  <a:lnTo>
                    <a:pt x="2167780" y="219138"/>
                  </a:lnTo>
                  <a:lnTo>
                    <a:pt x="2166206" y="216384"/>
                  </a:lnTo>
                  <a:lnTo>
                    <a:pt x="2166993" y="213631"/>
                  </a:lnTo>
                  <a:lnTo>
                    <a:pt x="2165419" y="210483"/>
                  </a:lnTo>
                  <a:lnTo>
                    <a:pt x="2162272" y="208909"/>
                  </a:lnTo>
                  <a:lnTo>
                    <a:pt x="2160698" y="207336"/>
                  </a:lnTo>
                  <a:lnTo>
                    <a:pt x="2160305" y="204582"/>
                  </a:lnTo>
                  <a:lnTo>
                    <a:pt x="2157944" y="201434"/>
                  </a:lnTo>
                  <a:lnTo>
                    <a:pt x="2157158" y="201041"/>
                  </a:lnTo>
                  <a:lnTo>
                    <a:pt x="2155190" y="197893"/>
                  </a:lnTo>
                  <a:lnTo>
                    <a:pt x="2155190" y="197500"/>
                  </a:lnTo>
                  <a:lnTo>
                    <a:pt x="2157944" y="195926"/>
                  </a:lnTo>
                  <a:lnTo>
                    <a:pt x="2157551" y="192779"/>
                  </a:lnTo>
                  <a:lnTo>
                    <a:pt x="2154797" y="190812"/>
                  </a:lnTo>
                  <a:lnTo>
                    <a:pt x="2154797" y="188058"/>
                  </a:lnTo>
                  <a:lnTo>
                    <a:pt x="2153617" y="185304"/>
                  </a:lnTo>
                  <a:lnTo>
                    <a:pt x="2152043" y="182156"/>
                  </a:lnTo>
                  <a:lnTo>
                    <a:pt x="2149289" y="180583"/>
                  </a:lnTo>
                  <a:lnTo>
                    <a:pt x="2146535" y="179009"/>
                  </a:lnTo>
                  <a:lnTo>
                    <a:pt x="2145355" y="176255"/>
                  </a:lnTo>
                  <a:lnTo>
                    <a:pt x="2142207" y="174681"/>
                  </a:lnTo>
                  <a:lnTo>
                    <a:pt x="2141814" y="174681"/>
                  </a:lnTo>
                  <a:lnTo>
                    <a:pt x="2128437" y="151863"/>
                  </a:lnTo>
                  <a:lnTo>
                    <a:pt x="2129224" y="148715"/>
                  </a:lnTo>
                  <a:lnTo>
                    <a:pt x="2128437" y="145961"/>
                  </a:lnTo>
                  <a:lnTo>
                    <a:pt x="2129224" y="143207"/>
                  </a:lnTo>
                  <a:lnTo>
                    <a:pt x="2126470" y="140847"/>
                  </a:lnTo>
                  <a:lnTo>
                    <a:pt x="2126077" y="138093"/>
                  </a:lnTo>
                  <a:lnTo>
                    <a:pt x="2122929" y="136519"/>
                  </a:lnTo>
                  <a:lnTo>
                    <a:pt x="2120962" y="133765"/>
                  </a:lnTo>
                  <a:lnTo>
                    <a:pt x="2117815" y="131798"/>
                  </a:lnTo>
                  <a:lnTo>
                    <a:pt x="2114667" y="131404"/>
                  </a:lnTo>
                  <a:lnTo>
                    <a:pt x="2111520" y="131011"/>
                  </a:lnTo>
                  <a:lnTo>
                    <a:pt x="2108373" y="130618"/>
                  </a:lnTo>
                  <a:lnTo>
                    <a:pt x="2104832" y="130224"/>
                  </a:lnTo>
                  <a:lnTo>
                    <a:pt x="2101684" y="131011"/>
                  </a:lnTo>
                  <a:lnTo>
                    <a:pt x="2098144" y="129437"/>
                  </a:lnTo>
                  <a:lnTo>
                    <a:pt x="2094996" y="129044"/>
                  </a:lnTo>
                  <a:lnTo>
                    <a:pt x="2092242" y="128257"/>
                  </a:lnTo>
                  <a:lnTo>
                    <a:pt x="2089094" y="128257"/>
                  </a:lnTo>
                  <a:lnTo>
                    <a:pt x="2085947" y="128650"/>
                  </a:lnTo>
                  <a:lnTo>
                    <a:pt x="2082406" y="128257"/>
                  </a:lnTo>
                  <a:lnTo>
                    <a:pt x="2079259" y="128257"/>
                  </a:lnTo>
                  <a:lnTo>
                    <a:pt x="2076505" y="128650"/>
                  </a:lnTo>
                  <a:lnTo>
                    <a:pt x="2073357" y="128650"/>
                  </a:lnTo>
                  <a:lnTo>
                    <a:pt x="2070210" y="128257"/>
                  </a:lnTo>
                  <a:lnTo>
                    <a:pt x="2063915" y="128257"/>
                  </a:lnTo>
                  <a:lnTo>
                    <a:pt x="2060375" y="128650"/>
                  </a:lnTo>
                  <a:lnTo>
                    <a:pt x="2059194" y="128650"/>
                  </a:lnTo>
                  <a:lnTo>
                    <a:pt x="2056047" y="128650"/>
                  </a:lnTo>
                  <a:lnTo>
                    <a:pt x="2052899" y="129044"/>
                  </a:lnTo>
                  <a:lnTo>
                    <a:pt x="2049752" y="128650"/>
                  </a:lnTo>
                  <a:lnTo>
                    <a:pt x="2052506" y="127470"/>
                  </a:lnTo>
                  <a:lnTo>
                    <a:pt x="2049752" y="126290"/>
                  </a:lnTo>
                  <a:lnTo>
                    <a:pt x="2046605" y="126290"/>
                  </a:lnTo>
                  <a:lnTo>
                    <a:pt x="2045031" y="129437"/>
                  </a:lnTo>
                  <a:lnTo>
                    <a:pt x="2043457" y="132191"/>
                  </a:lnTo>
                  <a:lnTo>
                    <a:pt x="2043064" y="134945"/>
                  </a:lnTo>
                  <a:lnTo>
                    <a:pt x="2041490" y="137699"/>
                  </a:lnTo>
                  <a:lnTo>
                    <a:pt x="2042277" y="140847"/>
                  </a:lnTo>
                  <a:lnTo>
                    <a:pt x="2043457" y="143601"/>
                  </a:lnTo>
                  <a:lnTo>
                    <a:pt x="2043457" y="146355"/>
                  </a:lnTo>
                  <a:lnTo>
                    <a:pt x="2043850" y="149109"/>
                  </a:lnTo>
                  <a:lnTo>
                    <a:pt x="2044244" y="151863"/>
                  </a:lnTo>
                  <a:lnTo>
                    <a:pt x="2043850" y="152649"/>
                  </a:lnTo>
                  <a:lnTo>
                    <a:pt x="2043850" y="158944"/>
                  </a:lnTo>
                  <a:lnTo>
                    <a:pt x="2043457" y="161305"/>
                  </a:lnTo>
                  <a:lnTo>
                    <a:pt x="2040310" y="162879"/>
                  </a:lnTo>
                  <a:lnTo>
                    <a:pt x="2037949" y="165632"/>
                  </a:lnTo>
                  <a:lnTo>
                    <a:pt x="2034802" y="167206"/>
                  </a:lnTo>
                  <a:lnTo>
                    <a:pt x="2032048" y="168780"/>
                  </a:lnTo>
                  <a:lnTo>
                    <a:pt x="2028507" y="170354"/>
                  </a:lnTo>
                  <a:lnTo>
                    <a:pt x="2025753" y="170747"/>
                  </a:lnTo>
                  <a:lnTo>
                    <a:pt x="2022212" y="171927"/>
                  </a:lnTo>
                  <a:lnTo>
                    <a:pt x="2019065" y="174288"/>
                  </a:lnTo>
                  <a:lnTo>
                    <a:pt x="2017884" y="177042"/>
                  </a:lnTo>
                  <a:lnTo>
                    <a:pt x="2019458" y="179796"/>
                  </a:lnTo>
                  <a:lnTo>
                    <a:pt x="2022212" y="179796"/>
                  </a:lnTo>
                  <a:lnTo>
                    <a:pt x="2019458" y="182550"/>
                  </a:lnTo>
                  <a:lnTo>
                    <a:pt x="2021819" y="185697"/>
                  </a:lnTo>
                  <a:lnTo>
                    <a:pt x="2024572" y="185697"/>
                  </a:lnTo>
                  <a:lnTo>
                    <a:pt x="2027720" y="185304"/>
                  </a:lnTo>
                  <a:lnTo>
                    <a:pt x="2030868" y="184517"/>
                  </a:lnTo>
                  <a:lnTo>
                    <a:pt x="2034015" y="184910"/>
                  </a:lnTo>
                  <a:lnTo>
                    <a:pt x="2037162" y="187271"/>
                  </a:lnTo>
                  <a:lnTo>
                    <a:pt x="2036769" y="190418"/>
                  </a:lnTo>
                  <a:lnTo>
                    <a:pt x="2037556" y="193172"/>
                  </a:lnTo>
                  <a:lnTo>
                    <a:pt x="2039130" y="196320"/>
                  </a:lnTo>
                  <a:lnTo>
                    <a:pt x="2039523" y="199074"/>
                  </a:lnTo>
                  <a:lnTo>
                    <a:pt x="2039916" y="201828"/>
                  </a:lnTo>
                  <a:lnTo>
                    <a:pt x="2042670" y="202221"/>
                  </a:lnTo>
                  <a:lnTo>
                    <a:pt x="2045031" y="203795"/>
                  </a:lnTo>
                  <a:lnTo>
                    <a:pt x="2045031" y="207336"/>
                  </a:lnTo>
                  <a:lnTo>
                    <a:pt x="2039523" y="207336"/>
                  </a:lnTo>
                  <a:lnTo>
                    <a:pt x="2037556" y="207336"/>
                  </a:lnTo>
                  <a:lnTo>
                    <a:pt x="2037949" y="208516"/>
                  </a:lnTo>
                  <a:lnTo>
                    <a:pt x="2038342" y="211663"/>
                  </a:lnTo>
                  <a:lnTo>
                    <a:pt x="2039130" y="214811"/>
                  </a:lnTo>
                  <a:lnTo>
                    <a:pt x="2040703" y="217565"/>
                  </a:lnTo>
                  <a:lnTo>
                    <a:pt x="2043850" y="219138"/>
                  </a:lnTo>
                  <a:lnTo>
                    <a:pt x="2044244" y="216384"/>
                  </a:lnTo>
                  <a:lnTo>
                    <a:pt x="2046998" y="216778"/>
                  </a:lnTo>
                  <a:lnTo>
                    <a:pt x="2050145" y="217565"/>
                  </a:lnTo>
                  <a:lnTo>
                    <a:pt x="2050932" y="217958"/>
                  </a:lnTo>
                  <a:lnTo>
                    <a:pt x="2053686" y="219925"/>
                  </a:lnTo>
                  <a:lnTo>
                    <a:pt x="2051326" y="219925"/>
                  </a:lnTo>
                  <a:lnTo>
                    <a:pt x="2048572" y="222286"/>
                  </a:lnTo>
                  <a:lnTo>
                    <a:pt x="2048572" y="222679"/>
                  </a:lnTo>
                  <a:lnTo>
                    <a:pt x="2051719" y="223073"/>
                  </a:lnTo>
                  <a:lnTo>
                    <a:pt x="2054867" y="222679"/>
                  </a:lnTo>
                  <a:lnTo>
                    <a:pt x="2054473" y="220319"/>
                  </a:lnTo>
                  <a:lnTo>
                    <a:pt x="2101291" y="256121"/>
                  </a:lnTo>
                  <a:lnTo>
                    <a:pt x="2072964" y="247465"/>
                  </a:lnTo>
                  <a:lnTo>
                    <a:pt x="2071390" y="246678"/>
                  </a:lnTo>
                  <a:lnTo>
                    <a:pt x="2068243" y="245498"/>
                  </a:lnTo>
                  <a:lnTo>
                    <a:pt x="2065096" y="244711"/>
                  </a:lnTo>
                  <a:lnTo>
                    <a:pt x="2062342" y="243531"/>
                  </a:lnTo>
                  <a:lnTo>
                    <a:pt x="2059981" y="240383"/>
                  </a:lnTo>
                  <a:lnTo>
                    <a:pt x="2057227" y="239990"/>
                  </a:lnTo>
                  <a:lnTo>
                    <a:pt x="2053686" y="239597"/>
                  </a:lnTo>
                  <a:lnTo>
                    <a:pt x="2050932" y="239203"/>
                  </a:lnTo>
                  <a:lnTo>
                    <a:pt x="2047785" y="238810"/>
                  </a:lnTo>
                  <a:lnTo>
                    <a:pt x="2045031" y="238023"/>
                  </a:lnTo>
                  <a:lnTo>
                    <a:pt x="2041490" y="237630"/>
                  </a:lnTo>
                  <a:lnTo>
                    <a:pt x="2038736" y="236056"/>
                  </a:lnTo>
                  <a:lnTo>
                    <a:pt x="2035982" y="235662"/>
                  </a:lnTo>
                  <a:lnTo>
                    <a:pt x="2032835" y="235269"/>
                  </a:lnTo>
                  <a:lnTo>
                    <a:pt x="2029687" y="234089"/>
                  </a:lnTo>
                  <a:lnTo>
                    <a:pt x="2028507" y="233695"/>
                  </a:lnTo>
                  <a:lnTo>
                    <a:pt x="2024966" y="232515"/>
                  </a:lnTo>
                  <a:lnTo>
                    <a:pt x="2023392" y="231728"/>
                  </a:lnTo>
                  <a:lnTo>
                    <a:pt x="2026540" y="231335"/>
                  </a:lnTo>
                  <a:lnTo>
                    <a:pt x="2023786" y="230941"/>
                  </a:lnTo>
                  <a:lnTo>
                    <a:pt x="2020245" y="230548"/>
                  </a:lnTo>
                  <a:lnTo>
                    <a:pt x="2018671" y="230154"/>
                  </a:lnTo>
                  <a:lnTo>
                    <a:pt x="2008442" y="227007"/>
                  </a:lnTo>
                  <a:lnTo>
                    <a:pt x="2006868" y="229368"/>
                  </a:lnTo>
                  <a:lnTo>
                    <a:pt x="2005688" y="230548"/>
                  </a:lnTo>
                  <a:lnTo>
                    <a:pt x="2004114" y="230154"/>
                  </a:lnTo>
                  <a:lnTo>
                    <a:pt x="2003721" y="227400"/>
                  </a:lnTo>
                  <a:lnTo>
                    <a:pt x="2006868" y="225827"/>
                  </a:lnTo>
                  <a:lnTo>
                    <a:pt x="2003328" y="225040"/>
                  </a:lnTo>
                  <a:lnTo>
                    <a:pt x="2000180" y="223860"/>
                  </a:lnTo>
                  <a:lnTo>
                    <a:pt x="1996639" y="222679"/>
                  </a:lnTo>
                  <a:lnTo>
                    <a:pt x="1993492" y="221499"/>
                  </a:lnTo>
                  <a:lnTo>
                    <a:pt x="1990345" y="220712"/>
                  </a:lnTo>
                  <a:lnTo>
                    <a:pt x="1987591" y="219925"/>
                  </a:lnTo>
                  <a:lnTo>
                    <a:pt x="1984443" y="219532"/>
                  </a:lnTo>
                  <a:lnTo>
                    <a:pt x="1981296" y="219138"/>
                  </a:lnTo>
                  <a:lnTo>
                    <a:pt x="1978542" y="218352"/>
                  </a:lnTo>
                  <a:lnTo>
                    <a:pt x="1975394" y="217958"/>
                  </a:lnTo>
                  <a:lnTo>
                    <a:pt x="1972247" y="217565"/>
                  </a:lnTo>
                  <a:lnTo>
                    <a:pt x="1969099" y="217171"/>
                  </a:lnTo>
                  <a:lnTo>
                    <a:pt x="1966346" y="216778"/>
                  </a:lnTo>
                  <a:lnTo>
                    <a:pt x="1963591" y="216384"/>
                  </a:lnTo>
                  <a:lnTo>
                    <a:pt x="1960051" y="215991"/>
                  </a:lnTo>
                  <a:lnTo>
                    <a:pt x="1956903" y="215598"/>
                  </a:lnTo>
                  <a:lnTo>
                    <a:pt x="1954150" y="215598"/>
                  </a:lnTo>
                  <a:lnTo>
                    <a:pt x="1950609" y="215204"/>
                  </a:lnTo>
                  <a:lnTo>
                    <a:pt x="1947461" y="214811"/>
                  </a:lnTo>
                  <a:lnTo>
                    <a:pt x="1938019" y="214811"/>
                  </a:lnTo>
                  <a:lnTo>
                    <a:pt x="1934872" y="214417"/>
                  </a:lnTo>
                  <a:lnTo>
                    <a:pt x="1931724" y="214024"/>
                  </a:lnTo>
                  <a:lnTo>
                    <a:pt x="1928183" y="213631"/>
                  </a:lnTo>
                  <a:lnTo>
                    <a:pt x="1925429" y="213237"/>
                  </a:lnTo>
                  <a:lnTo>
                    <a:pt x="1921888" y="212844"/>
                  </a:lnTo>
                  <a:lnTo>
                    <a:pt x="1918741" y="211663"/>
                  </a:lnTo>
                  <a:lnTo>
                    <a:pt x="1915987" y="211270"/>
                  </a:lnTo>
                  <a:lnTo>
                    <a:pt x="1912840" y="210877"/>
                  </a:lnTo>
                  <a:lnTo>
                    <a:pt x="1910085" y="210483"/>
                  </a:lnTo>
                  <a:lnTo>
                    <a:pt x="1906938" y="212844"/>
                  </a:lnTo>
                  <a:lnTo>
                    <a:pt x="1906545" y="215598"/>
                  </a:lnTo>
                  <a:lnTo>
                    <a:pt x="1903397" y="215991"/>
                  </a:lnTo>
                  <a:lnTo>
                    <a:pt x="1900250" y="215598"/>
                  </a:lnTo>
                  <a:lnTo>
                    <a:pt x="1897496" y="218352"/>
                  </a:lnTo>
                  <a:lnTo>
                    <a:pt x="1900250" y="219925"/>
                  </a:lnTo>
                  <a:lnTo>
                    <a:pt x="1903791" y="222286"/>
                  </a:lnTo>
                  <a:lnTo>
                    <a:pt x="1906938" y="224253"/>
                  </a:lnTo>
                  <a:lnTo>
                    <a:pt x="1909692" y="225827"/>
                  </a:lnTo>
                  <a:lnTo>
                    <a:pt x="1912446" y="228581"/>
                  </a:lnTo>
                  <a:lnTo>
                    <a:pt x="1914413" y="231335"/>
                  </a:lnTo>
                  <a:lnTo>
                    <a:pt x="1917954" y="229761"/>
                  </a:lnTo>
                  <a:lnTo>
                    <a:pt x="1920708" y="231335"/>
                  </a:lnTo>
                  <a:lnTo>
                    <a:pt x="1921888" y="233302"/>
                  </a:lnTo>
                  <a:lnTo>
                    <a:pt x="1905758" y="243137"/>
                  </a:lnTo>
                  <a:lnTo>
                    <a:pt x="1904577" y="242744"/>
                  </a:lnTo>
                  <a:lnTo>
                    <a:pt x="1903791" y="243531"/>
                  </a:lnTo>
                  <a:lnTo>
                    <a:pt x="1887267" y="244711"/>
                  </a:lnTo>
                  <a:lnTo>
                    <a:pt x="1889627" y="243137"/>
                  </a:lnTo>
                  <a:lnTo>
                    <a:pt x="1892775" y="241957"/>
                  </a:lnTo>
                  <a:lnTo>
                    <a:pt x="1890021" y="240383"/>
                  </a:lnTo>
                  <a:lnTo>
                    <a:pt x="1886873" y="238810"/>
                  </a:lnTo>
                  <a:lnTo>
                    <a:pt x="1884119" y="237236"/>
                  </a:lnTo>
                  <a:lnTo>
                    <a:pt x="1881366" y="235269"/>
                  </a:lnTo>
                  <a:lnTo>
                    <a:pt x="1884513" y="234482"/>
                  </a:lnTo>
                  <a:lnTo>
                    <a:pt x="1881366" y="234876"/>
                  </a:lnTo>
                  <a:lnTo>
                    <a:pt x="1878218" y="234482"/>
                  </a:lnTo>
                  <a:lnTo>
                    <a:pt x="1875070" y="234876"/>
                  </a:lnTo>
                  <a:lnTo>
                    <a:pt x="1872317" y="235269"/>
                  </a:lnTo>
                  <a:lnTo>
                    <a:pt x="1869169" y="236056"/>
                  </a:lnTo>
                  <a:lnTo>
                    <a:pt x="1866415" y="238023"/>
                  </a:lnTo>
                  <a:lnTo>
                    <a:pt x="1868776" y="240777"/>
                  </a:lnTo>
                  <a:lnTo>
                    <a:pt x="1865629" y="239203"/>
                  </a:lnTo>
                  <a:lnTo>
                    <a:pt x="1862874" y="237630"/>
                  </a:lnTo>
                  <a:lnTo>
                    <a:pt x="1860120" y="238416"/>
                  </a:lnTo>
                  <a:lnTo>
                    <a:pt x="1859727" y="241170"/>
                  </a:lnTo>
                  <a:lnTo>
                    <a:pt x="1856580" y="241564"/>
                  </a:lnTo>
                  <a:lnTo>
                    <a:pt x="1853826" y="241170"/>
                  </a:lnTo>
                  <a:lnTo>
                    <a:pt x="1851071" y="243531"/>
                  </a:lnTo>
                  <a:lnTo>
                    <a:pt x="1848711" y="246285"/>
                  </a:lnTo>
                  <a:lnTo>
                    <a:pt x="1846744" y="246678"/>
                  </a:lnTo>
                  <a:lnTo>
                    <a:pt x="1844777" y="246678"/>
                  </a:lnTo>
                  <a:lnTo>
                    <a:pt x="1842810" y="246285"/>
                  </a:lnTo>
                  <a:lnTo>
                    <a:pt x="1839269" y="245891"/>
                  </a:lnTo>
                  <a:lnTo>
                    <a:pt x="1836122" y="244711"/>
                  </a:lnTo>
                  <a:lnTo>
                    <a:pt x="1832974" y="243924"/>
                  </a:lnTo>
                  <a:lnTo>
                    <a:pt x="1830220" y="244318"/>
                  </a:lnTo>
                  <a:lnTo>
                    <a:pt x="1827466" y="244711"/>
                  </a:lnTo>
                  <a:lnTo>
                    <a:pt x="1824319" y="244318"/>
                  </a:lnTo>
                  <a:lnTo>
                    <a:pt x="1821171" y="243531"/>
                  </a:lnTo>
                  <a:lnTo>
                    <a:pt x="1817237" y="245891"/>
                  </a:lnTo>
                  <a:lnTo>
                    <a:pt x="1814483" y="247465"/>
                  </a:lnTo>
                  <a:lnTo>
                    <a:pt x="1811729" y="247859"/>
                  </a:lnTo>
                  <a:lnTo>
                    <a:pt x="1808582" y="247859"/>
                  </a:lnTo>
                  <a:lnTo>
                    <a:pt x="1805827" y="248252"/>
                  </a:lnTo>
                  <a:lnTo>
                    <a:pt x="1802680" y="249826"/>
                  </a:lnTo>
                  <a:lnTo>
                    <a:pt x="1799533" y="251399"/>
                  </a:lnTo>
                  <a:lnTo>
                    <a:pt x="1790878" y="255334"/>
                  </a:lnTo>
                  <a:lnTo>
                    <a:pt x="1790878" y="255334"/>
                  </a:lnTo>
                  <a:lnTo>
                    <a:pt x="1788123" y="256907"/>
                  </a:lnTo>
                  <a:lnTo>
                    <a:pt x="1784976" y="258481"/>
                  </a:lnTo>
                  <a:lnTo>
                    <a:pt x="1784582" y="258481"/>
                  </a:lnTo>
                  <a:lnTo>
                    <a:pt x="1784189" y="255334"/>
                  </a:lnTo>
                  <a:lnTo>
                    <a:pt x="1781042" y="257694"/>
                  </a:lnTo>
                  <a:lnTo>
                    <a:pt x="1778288" y="258088"/>
                  </a:lnTo>
                  <a:lnTo>
                    <a:pt x="1775534" y="257301"/>
                  </a:lnTo>
                  <a:lnTo>
                    <a:pt x="1772386" y="256907"/>
                  </a:lnTo>
                  <a:lnTo>
                    <a:pt x="1769239" y="256907"/>
                  </a:lnTo>
                  <a:lnTo>
                    <a:pt x="1766091" y="257694"/>
                  </a:lnTo>
                  <a:lnTo>
                    <a:pt x="1762157" y="257301"/>
                  </a:lnTo>
                  <a:lnTo>
                    <a:pt x="1762944" y="254547"/>
                  </a:lnTo>
                  <a:lnTo>
                    <a:pt x="1766091" y="254153"/>
                  </a:lnTo>
                  <a:lnTo>
                    <a:pt x="1769239" y="252973"/>
                  </a:lnTo>
                  <a:lnTo>
                    <a:pt x="1772386" y="254153"/>
                  </a:lnTo>
                  <a:lnTo>
                    <a:pt x="1775534" y="252186"/>
                  </a:lnTo>
                  <a:lnTo>
                    <a:pt x="1773173" y="249432"/>
                  </a:lnTo>
                  <a:lnTo>
                    <a:pt x="1770026" y="247465"/>
                  </a:lnTo>
                  <a:lnTo>
                    <a:pt x="1770419" y="244711"/>
                  </a:lnTo>
                  <a:lnTo>
                    <a:pt x="1770026" y="241564"/>
                  </a:lnTo>
                  <a:lnTo>
                    <a:pt x="1772780" y="240383"/>
                  </a:lnTo>
                  <a:lnTo>
                    <a:pt x="1769632" y="239597"/>
                  </a:lnTo>
                  <a:lnTo>
                    <a:pt x="1766485" y="239203"/>
                  </a:lnTo>
                  <a:lnTo>
                    <a:pt x="1763338" y="238416"/>
                  </a:lnTo>
                  <a:lnTo>
                    <a:pt x="1766485" y="238023"/>
                  </a:lnTo>
                  <a:lnTo>
                    <a:pt x="1769632" y="238416"/>
                  </a:lnTo>
                  <a:lnTo>
                    <a:pt x="1772386" y="238023"/>
                  </a:lnTo>
                  <a:lnTo>
                    <a:pt x="1775534" y="238023"/>
                  </a:lnTo>
                  <a:lnTo>
                    <a:pt x="1778288" y="237630"/>
                  </a:lnTo>
                  <a:lnTo>
                    <a:pt x="1781042" y="236056"/>
                  </a:lnTo>
                  <a:lnTo>
                    <a:pt x="1777894" y="236056"/>
                  </a:lnTo>
                  <a:lnTo>
                    <a:pt x="1774747" y="236449"/>
                  </a:lnTo>
                  <a:lnTo>
                    <a:pt x="1771600" y="236449"/>
                  </a:lnTo>
                  <a:lnTo>
                    <a:pt x="1768845" y="236843"/>
                  </a:lnTo>
                  <a:lnTo>
                    <a:pt x="1766091" y="237236"/>
                  </a:lnTo>
                  <a:lnTo>
                    <a:pt x="1762944" y="238023"/>
                  </a:lnTo>
                  <a:lnTo>
                    <a:pt x="1759797" y="238416"/>
                  </a:lnTo>
                  <a:lnTo>
                    <a:pt x="1757042" y="239203"/>
                  </a:lnTo>
                  <a:lnTo>
                    <a:pt x="1747994" y="242744"/>
                  </a:lnTo>
                  <a:lnTo>
                    <a:pt x="1747994" y="242744"/>
                  </a:lnTo>
                  <a:lnTo>
                    <a:pt x="1747601" y="242744"/>
                  </a:lnTo>
                  <a:lnTo>
                    <a:pt x="1726355" y="250613"/>
                  </a:lnTo>
                  <a:lnTo>
                    <a:pt x="1725175" y="250613"/>
                  </a:lnTo>
                  <a:lnTo>
                    <a:pt x="1723995" y="251399"/>
                  </a:lnTo>
                  <a:lnTo>
                    <a:pt x="1719667" y="252973"/>
                  </a:lnTo>
                  <a:lnTo>
                    <a:pt x="1719274" y="252973"/>
                  </a:lnTo>
                  <a:lnTo>
                    <a:pt x="1716127" y="253367"/>
                  </a:lnTo>
                  <a:lnTo>
                    <a:pt x="1712979" y="254153"/>
                  </a:lnTo>
                  <a:lnTo>
                    <a:pt x="1710225" y="254547"/>
                  </a:lnTo>
                  <a:lnTo>
                    <a:pt x="1707078" y="254153"/>
                  </a:lnTo>
                  <a:lnTo>
                    <a:pt x="1703930" y="256121"/>
                  </a:lnTo>
                  <a:lnTo>
                    <a:pt x="1701176" y="257694"/>
                  </a:lnTo>
                  <a:lnTo>
                    <a:pt x="1698029" y="258875"/>
                  </a:lnTo>
                  <a:lnTo>
                    <a:pt x="1695275" y="260448"/>
                  </a:lnTo>
                  <a:lnTo>
                    <a:pt x="1692521" y="263202"/>
                  </a:lnTo>
                  <a:lnTo>
                    <a:pt x="1692127" y="262809"/>
                  </a:lnTo>
                  <a:lnTo>
                    <a:pt x="1692127" y="262415"/>
                  </a:lnTo>
                  <a:lnTo>
                    <a:pt x="1691734" y="262415"/>
                  </a:lnTo>
                  <a:lnTo>
                    <a:pt x="1688587" y="263989"/>
                  </a:lnTo>
                  <a:lnTo>
                    <a:pt x="1686620" y="265169"/>
                  </a:lnTo>
                  <a:lnTo>
                    <a:pt x="1685046" y="265956"/>
                  </a:lnTo>
                  <a:lnTo>
                    <a:pt x="1682685" y="266743"/>
                  </a:lnTo>
                  <a:lnTo>
                    <a:pt x="1679931" y="267530"/>
                  </a:lnTo>
                  <a:lnTo>
                    <a:pt x="1677177" y="268710"/>
                  </a:lnTo>
                  <a:lnTo>
                    <a:pt x="1674030" y="269104"/>
                  </a:lnTo>
                  <a:lnTo>
                    <a:pt x="1670882" y="269497"/>
                  </a:lnTo>
                  <a:lnTo>
                    <a:pt x="1667735" y="269104"/>
                  </a:lnTo>
                  <a:lnTo>
                    <a:pt x="1664981" y="268710"/>
                  </a:lnTo>
                  <a:lnTo>
                    <a:pt x="1668128" y="270284"/>
                  </a:lnTo>
                  <a:lnTo>
                    <a:pt x="1670489" y="273038"/>
                  </a:lnTo>
                  <a:lnTo>
                    <a:pt x="1670489" y="273038"/>
                  </a:lnTo>
                  <a:lnTo>
                    <a:pt x="1668915" y="273825"/>
                  </a:lnTo>
                  <a:lnTo>
                    <a:pt x="1666948" y="273431"/>
                  </a:lnTo>
                  <a:lnTo>
                    <a:pt x="1663801" y="275005"/>
                  </a:lnTo>
                  <a:lnTo>
                    <a:pt x="1660653" y="274612"/>
                  </a:lnTo>
                  <a:lnTo>
                    <a:pt x="1657899" y="274218"/>
                  </a:lnTo>
                  <a:lnTo>
                    <a:pt x="1654752" y="276972"/>
                  </a:lnTo>
                  <a:lnTo>
                    <a:pt x="1651604" y="275398"/>
                  </a:lnTo>
                  <a:lnTo>
                    <a:pt x="1648457" y="276972"/>
                  </a:lnTo>
                  <a:lnTo>
                    <a:pt x="1651211" y="279333"/>
                  </a:lnTo>
                  <a:lnTo>
                    <a:pt x="1651998" y="281693"/>
                  </a:lnTo>
                  <a:lnTo>
                    <a:pt x="1615803" y="299397"/>
                  </a:lnTo>
                  <a:lnTo>
                    <a:pt x="1614622" y="298611"/>
                  </a:lnTo>
                  <a:lnTo>
                    <a:pt x="1613836" y="298217"/>
                  </a:lnTo>
                  <a:lnTo>
                    <a:pt x="1609901" y="296250"/>
                  </a:lnTo>
                  <a:lnTo>
                    <a:pt x="1605967" y="292709"/>
                  </a:lnTo>
                  <a:lnTo>
                    <a:pt x="1604000" y="289955"/>
                  </a:lnTo>
                  <a:lnTo>
                    <a:pt x="1601246" y="288382"/>
                  </a:lnTo>
                  <a:lnTo>
                    <a:pt x="1598099" y="287595"/>
                  </a:lnTo>
                  <a:lnTo>
                    <a:pt x="1594558" y="287201"/>
                  </a:lnTo>
                  <a:lnTo>
                    <a:pt x="1588263" y="284841"/>
                  </a:lnTo>
                  <a:lnTo>
                    <a:pt x="1586689" y="279333"/>
                  </a:lnTo>
                  <a:lnTo>
                    <a:pt x="1587476" y="278546"/>
                  </a:lnTo>
                  <a:lnTo>
                    <a:pt x="1590623" y="276972"/>
                  </a:lnTo>
                  <a:lnTo>
                    <a:pt x="1593377" y="276185"/>
                  </a:lnTo>
                  <a:lnTo>
                    <a:pt x="1592197" y="273038"/>
                  </a:lnTo>
                  <a:lnTo>
                    <a:pt x="1594951" y="272251"/>
                  </a:lnTo>
                  <a:lnTo>
                    <a:pt x="1598099" y="271858"/>
                  </a:lnTo>
                  <a:lnTo>
                    <a:pt x="1600852" y="271858"/>
                  </a:lnTo>
                  <a:lnTo>
                    <a:pt x="1604000" y="271464"/>
                  </a:lnTo>
                  <a:lnTo>
                    <a:pt x="1606754" y="271071"/>
                  </a:lnTo>
                  <a:lnTo>
                    <a:pt x="1609508" y="270677"/>
                  </a:lnTo>
                  <a:lnTo>
                    <a:pt x="1613048" y="269890"/>
                  </a:lnTo>
                  <a:lnTo>
                    <a:pt x="1615803" y="270284"/>
                  </a:lnTo>
                  <a:lnTo>
                    <a:pt x="1618950" y="270677"/>
                  </a:lnTo>
                  <a:lnTo>
                    <a:pt x="1621704" y="270284"/>
                  </a:lnTo>
                  <a:lnTo>
                    <a:pt x="1619737" y="267136"/>
                  </a:lnTo>
                  <a:lnTo>
                    <a:pt x="1616589" y="265169"/>
                  </a:lnTo>
                  <a:lnTo>
                    <a:pt x="1615016" y="262415"/>
                  </a:lnTo>
                  <a:lnTo>
                    <a:pt x="1612262" y="260055"/>
                  </a:lnTo>
                  <a:lnTo>
                    <a:pt x="1609114" y="259661"/>
                  </a:lnTo>
                  <a:lnTo>
                    <a:pt x="1606360" y="258088"/>
                  </a:lnTo>
                  <a:lnTo>
                    <a:pt x="1603213" y="256121"/>
                  </a:lnTo>
                  <a:lnTo>
                    <a:pt x="1600459" y="254153"/>
                  </a:lnTo>
                  <a:lnTo>
                    <a:pt x="1598885" y="251399"/>
                  </a:lnTo>
                  <a:lnTo>
                    <a:pt x="1596131" y="251006"/>
                  </a:lnTo>
                  <a:lnTo>
                    <a:pt x="1592984" y="250219"/>
                  </a:lnTo>
                  <a:lnTo>
                    <a:pt x="1589836" y="249826"/>
                  </a:lnTo>
                  <a:lnTo>
                    <a:pt x="1586689" y="249039"/>
                  </a:lnTo>
                  <a:lnTo>
                    <a:pt x="1583542" y="248645"/>
                  </a:lnTo>
                  <a:lnTo>
                    <a:pt x="1580001" y="248252"/>
                  </a:lnTo>
                  <a:lnTo>
                    <a:pt x="1577247" y="248252"/>
                  </a:lnTo>
                  <a:lnTo>
                    <a:pt x="1573706" y="248252"/>
                  </a:lnTo>
                  <a:lnTo>
                    <a:pt x="1572132" y="248645"/>
                  </a:lnTo>
                  <a:lnTo>
                    <a:pt x="1567804" y="249039"/>
                  </a:lnTo>
                  <a:lnTo>
                    <a:pt x="1565051" y="249432"/>
                  </a:lnTo>
                  <a:lnTo>
                    <a:pt x="1561903" y="249826"/>
                  </a:lnTo>
                  <a:lnTo>
                    <a:pt x="1558362" y="250219"/>
                  </a:lnTo>
                  <a:lnTo>
                    <a:pt x="1555215" y="249826"/>
                  </a:lnTo>
                  <a:lnTo>
                    <a:pt x="1552461" y="249039"/>
                  </a:lnTo>
                  <a:lnTo>
                    <a:pt x="1549314" y="247465"/>
                  </a:lnTo>
                  <a:lnTo>
                    <a:pt x="1545773" y="247072"/>
                  </a:lnTo>
                  <a:lnTo>
                    <a:pt x="1543019" y="245891"/>
                  </a:lnTo>
                  <a:lnTo>
                    <a:pt x="1539871" y="247859"/>
                  </a:lnTo>
                  <a:lnTo>
                    <a:pt x="1543019" y="249039"/>
                  </a:lnTo>
                  <a:lnTo>
                    <a:pt x="1545773" y="250613"/>
                  </a:lnTo>
                  <a:lnTo>
                    <a:pt x="1548526" y="251793"/>
                  </a:lnTo>
                  <a:lnTo>
                    <a:pt x="1551674" y="252973"/>
                  </a:lnTo>
                  <a:lnTo>
                    <a:pt x="1554428" y="253760"/>
                  </a:lnTo>
                  <a:lnTo>
                    <a:pt x="1557575" y="254940"/>
                  </a:lnTo>
                  <a:lnTo>
                    <a:pt x="1560329" y="256514"/>
                  </a:lnTo>
                  <a:lnTo>
                    <a:pt x="1563477" y="265563"/>
                  </a:lnTo>
                  <a:lnTo>
                    <a:pt x="1562690" y="265956"/>
                  </a:lnTo>
                  <a:lnTo>
                    <a:pt x="1563870" y="267530"/>
                  </a:lnTo>
                  <a:lnTo>
                    <a:pt x="1564264" y="269104"/>
                  </a:lnTo>
                  <a:lnTo>
                    <a:pt x="1562296" y="269890"/>
                  </a:lnTo>
                  <a:lnTo>
                    <a:pt x="1563870" y="272644"/>
                  </a:lnTo>
                  <a:lnTo>
                    <a:pt x="1562690" y="275792"/>
                  </a:lnTo>
                  <a:lnTo>
                    <a:pt x="1561510" y="278546"/>
                  </a:lnTo>
                  <a:lnTo>
                    <a:pt x="1560329" y="281300"/>
                  </a:lnTo>
                  <a:lnTo>
                    <a:pt x="1559543" y="284447"/>
                  </a:lnTo>
                  <a:lnTo>
                    <a:pt x="1559543" y="287201"/>
                  </a:lnTo>
                  <a:lnTo>
                    <a:pt x="1562296" y="289955"/>
                  </a:lnTo>
                  <a:lnTo>
                    <a:pt x="1568198" y="289955"/>
                  </a:lnTo>
                  <a:lnTo>
                    <a:pt x="1570952" y="291529"/>
                  </a:lnTo>
                  <a:lnTo>
                    <a:pt x="1572526" y="292709"/>
                  </a:lnTo>
                  <a:lnTo>
                    <a:pt x="1578821" y="310020"/>
                  </a:lnTo>
                  <a:lnTo>
                    <a:pt x="1577247" y="312381"/>
                  </a:lnTo>
                  <a:lnTo>
                    <a:pt x="1576460" y="313561"/>
                  </a:lnTo>
                  <a:lnTo>
                    <a:pt x="1576066" y="316708"/>
                  </a:lnTo>
                  <a:lnTo>
                    <a:pt x="1576460" y="319462"/>
                  </a:lnTo>
                  <a:lnTo>
                    <a:pt x="1579214" y="322610"/>
                  </a:lnTo>
                  <a:lnTo>
                    <a:pt x="1579607" y="325757"/>
                  </a:lnTo>
                  <a:lnTo>
                    <a:pt x="1581181" y="328511"/>
                  </a:lnTo>
                  <a:lnTo>
                    <a:pt x="1579607" y="327331"/>
                  </a:lnTo>
                  <a:lnTo>
                    <a:pt x="1576853" y="324577"/>
                  </a:lnTo>
                  <a:lnTo>
                    <a:pt x="1575280" y="321823"/>
                  </a:lnTo>
                  <a:lnTo>
                    <a:pt x="1572132" y="320249"/>
                  </a:lnTo>
                  <a:lnTo>
                    <a:pt x="1569378" y="319462"/>
                  </a:lnTo>
                  <a:lnTo>
                    <a:pt x="1566231" y="320249"/>
                  </a:lnTo>
                  <a:lnTo>
                    <a:pt x="1563477" y="320642"/>
                  </a:lnTo>
                  <a:lnTo>
                    <a:pt x="1563084" y="323790"/>
                  </a:lnTo>
                  <a:lnTo>
                    <a:pt x="1559936" y="321823"/>
                  </a:lnTo>
                  <a:lnTo>
                    <a:pt x="1563084" y="319462"/>
                  </a:lnTo>
                  <a:lnTo>
                    <a:pt x="1565837" y="318675"/>
                  </a:lnTo>
                  <a:lnTo>
                    <a:pt x="1564264" y="315921"/>
                  </a:lnTo>
                  <a:lnTo>
                    <a:pt x="1561510" y="315134"/>
                  </a:lnTo>
                  <a:lnTo>
                    <a:pt x="1558756" y="314741"/>
                  </a:lnTo>
                  <a:lnTo>
                    <a:pt x="1555608" y="312381"/>
                  </a:lnTo>
                  <a:lnTo>
                    <a:pt x="1552855" y="312381"/>
                  </a:lnTo>
                  <a:lnTo>
                    <a:pt x="1549707" y="312774"/>
                  </a:lnTo>
                  <a:lnTo>
                    <a:pt x="1546559" y="313167"/>
                  </a:lnTo>
                  <a:lnTo>
                    <a:pt x="1543412" y="313561"/>
                  </a:lnTo>
                  <a:lnTo>
                    <a:pt x="1540658" y="311987"/>
                  </a:lnTo>
                  <a:lnTo>
                    <a:pt x="1537904" y="311200"/>
                  </a:lnTo>
                  <a:lnTo>
                    <a:pt x="1534363" y="310413"/>
                  </a:lnTo>
                  <a:lnTo>
                    <a:pt x="1531216" y="310020"/>
                  </a:lnTo>
                  <a:lnTo>
                    <a:pt x="1528462" y="312774"/>
                  </a:lnTo>
                  <a:lnTo>
                    <a:pt x="1526101" y="315528"/>
                  </a:lnTo>
                  <a:lnTo>
                    <a:pt x="1523348" y="318675"/>
                  </a:lnTo>
                  <a:lnTo>
                    <a:pt x="1520200" y="321036"/>
                  </a:lnTo>
                  <a:lnTo>
                    <a:pt x="1517446" y="322610"/>
                  </a:lnTo>
                  <a:lnTo>
                    <a:pt x="1514299" y="324183"/>
                  </a:lnTo>
                  <a:lnTo>
                    <a:pt x="1511545" y="324577"/>
                  </a:lnTo>
                  <a:lnTo>
                    <a:pt x="1508790" y="325364"/>
                  </a:lnTo>
                  <a:lnTo>
                    <a:pt x="1505643" y="325757"/>
                  </a:lnTo>
                  <a:lnTo>
                    <a:pt x="1502496" y="326150"/>
                  </a:lnTo>
                  <a:lnTo>
                    <a:pt x="1499742" y="328511"/>
                  </a:lnTo>
                  <a:lnTo>
                    <a:pt x="1496988" y="331658"/>
                  </a:lnTo>
                  <a:lnTo>
                    <a:pt x="1494234" y="333232"/>
                  </a:lnTo>
                  <a:lnTo>
                    <a:pt x="1491086" y="334806"/>
                  </a:lnTo>
                  <a:lnTo>
                    <a:pt x="1488332" y="335593"/>
                  </a:lnTo>
                  <a:lnTo>
                    <a:pt x="1485578" y="336773"/>
                  </a:lnTo>
                  <a:lnTo>
                    <a:pt x="1482824" y="339527"/>
                  </a:lnTo>
                  <a:lnTo>
                    <a:pt x="1482824" y="342281"/>
                  </a:lnTo>
                  <a:lnTo>
                    <a:pt x="1485578" y="345428"/>
                  </a:lnTo>
                  <a:lnTo>
                    <a:pt x="1488726" y="347395"/>
                  </a:lnTo>
                  <a:lnTo>
                    <a:pt x="1491480" y="349756"/>
                  </a:lnTo>
                  <a:lnTo>
                    <a:pt x="1493053" y="351330"/>
                  </a:lnTo>
                  <a:lnTo>
                    <a:pt x="1496201" y="353690"/>
                  </a:lnTo>
                  <a:lnTo>
                    <a:pt x="1499348" y="355264"/>
                  </a:lnTo>
                  <a:lnTo>
                    <a:pt x="1504856" y="363526"/>
                  </a:lnTo>
                  <a:lnTo>
                    <a:pt x="1505643" y="365493"/>
                  </a:lnTo>
                  <a:lnTo>
                    <a:pt x="1508397" y="368247"/>
                  </a:lnTo>
                  <a:lnTo>
                    <a:pt x="1508397" y="369034"/>
                  </a:lnTo>
                  <a:lnTo>
                    <a:pt x="1501315" y="367460"/>
                  </a:lnTo>
                  <a:lnTo>
                    <a:pt x="1503676" y="367460"/>
                  </a:lnTo>
                  <a:lnTo>
                    <a:pt x="1506823" y="368247"/>
                  </a:lnTo>
                  <a:lnTo>
                    <a:pt x="1504856" y="365493"/>
                  </a:lnTo>
                  <a:lnTo>
                    <a:pt x="1502496" y="362346"/>
                  </a:lnTo>
                  <a:lnTo>
                    <a:pt x="1499348" y="363133"/>
                  </a:lnTo>
                  <a:lnTo>
                    <a:pt x="1500922" y="365886"/>
                  </a:lnTo>
                  <a:lnTo>
                    <a:pt x="1498168" y="364706"/>
                  </a:lnTo>
                  <a:lnTo>
                    <a:pt x="1495021" y="364313"/>
                  </a:lnTo>
                  <a:lnTo>
                    <a:pt x="1495021" y="365100"/>
                  </a:lnTo>
                  <a:lnTo>
                    <a:pt x="1497775" y="365886"/>
                  </a:lnTo>
                  <a:lnTo>
                    <a:pt x="1500135" y="367067"/>
                  </a:lnTo>
                  <a:lnTo>
                    <a:pt x="1495021" y="365886"/>
                  </a:lnTo>
                  <a:lnTo>
                    <a:pt x="1493841" y="365493"/>
                  </a:lnTo>
                  <a:lnTo>
                    <a:pt x="1493841" y="365493"/>
                  </a:lnTo>
                  <a:lnTo>
                    <a:pt x="1441121" y="354871"/>
                  </a:lnTo>
                  <a:lnTo>
                    <a:pt x="1439941" y="353297"/>
                  </a:lnTo>
                  <a:lnTo>
                    <a:pt x="1437187" y="352117"/>
                  </a:lnTo>
                  <a:lnTo>
                    <a:pt x="1434039" y="350543"/>
                  </a:lnTo>
                  <a:lnTo>
                    <a:pt x="1431286" y="350149"/>
                  </a:lnTo>
                  <a:lnTo>
                    <a:pt x="1428138" y="349756"/>
                  </a:lnTo>
                  <a:lnTo>
                    <a:pt x="1424991" y="348969"/>
                  </a:lnTo>
                  <a:lnTo>
                    <a:pt x="1421843" y="348969"/>
                  </a:lnTo>
                  <a:lnTo>
                    <a:pt x="1420270" y="351723"/>
                  </a:lnTo>
                  <a:lnTo>
                    <a:pt x="1420270" y="354871"/>
                  </a:lnTo>
                  <a:lnTo>
                    <a:pt x="1417516" y="356444"/>
                  </a:lnTo>
                  <a:lnTo>
                    <a:pt x="1414368" y="356838"/>
                  </a:lnTo>
                  <a:lnTo>
                    <a:pt x="1411614" y="356838"/>
                  </a:lnTo>
                  <a:lnTo>
                    <a:pt x="1413975" y="359592"/>
                  </a:lnTo>
                  <a:lnTo>
                    <a:pt x="1416729" y="362346"/>
                  </a:lnTo>
                  <a:lnTo>
                    <a:pt x="1419876" y="363133"/>
                  </a:lnTo>
                  <a:lnTo>
                    <a:pt x="1423024" y="365493"/>
                  </a:lnTo>
                  <a:lnTo>
                    <a:pt x="1425778" y="367854"/>
                  </a:lnTo>
                  <a:lnTo>
                    <a:pt x="1428531" y="369821"/>
                  </a:lnTo>
                  <a:lnTo>
                    <a:pt x="1431286" y="372181"/>
                  </a:lnTo>
                  <a:lnTo>
                    <a:pt x="1434433" y="372968"/>
                  </a:lnTo>
                  <a:lnTo>
                    <a:pt x="1437187" y="373362"/>
                  </a:lnTo>
                  <a:lnTo>
                    <a:pt x="1439941" y="372575"/>
                  </a:lnTo>
                  <a:lnTo>
                    <a:pt x="1453711" y="385558"/>
                  </a:lnTo>
                  <a:lnTo>
                    <a:pt x="1419876" y="384771"/>
                  </a:lnTo>
                  <a:lnTo>
                    <a:pt x="1415549" y="383197"/>
                  </a:lnTo>
                  <a:lnTo>
                    <a:pt x="1413975" y="382017"/>
                  </a:lnTo>
                  <a:lnTo>
                    <a:pt x="1411614" y="379263"/>
                  </a:lnTo>
                  <a:lnTo>
                    <a:pt x="1408860" y="376902"/>
                  </a:lnTo>
                  <a:lnTo>
                    <a:pt x="1406106" y="377689"/>
                  </a:lnTo>
                  <a:lnTo>
                    <a:pt x="1403352" y="374935"/>
                  </a:lnTo>
                  <a:lnTo>
                    <a:pt x="1400598" y="373362"/>
                  </a:lnTo>
                  <a:lnTo>
                    <a:pt x="1397451" y="371788"/>
                  </a:lnTo>
                  <a:lnTo>
                    <a:pt x="1394303" y="373362"/>
                  </a:lnTo>
                  <a:lnTo>
                    <a:pt x="1391550" y="373755"/>
                  </a:lnTo>
                  <a:lnTo>
                    <a:pt x="1391156" y="373362"/>
                  </a:lnTo>
                  <a:lnTo>
                    <a:pt x="1388402" y="372181"/>
                  </a:lnTo>
                  <a:lnTo>
                    <a:pt x="1385648" y="371001"/>
                  </a:lnTo>
                  <a:lnTo>
                    <a:pt x="1382894" y="370214"/>
                  </a:lnTo>
                  <a:lnTo>
                    <a:pt x="1379747" y="367854"/>
                  </a:lnTo>
                  <a:lnTo>
                    <a:pt x="1378566" y="367460"/>
                  </a:lnTo>
                  <a:lnTo>
                    <a:pt x="1377780" y="367067"/>
                  </a:lnTo>
                  <a:lnTo>
                    <a:pt x="1380534" y="364313"/>
                  </a:lnTo>
                  <a:lnTo>
                    <a:pt x="1379353" y="363526"/>
                  </a:lnTo>
                  <a:lnTo>
                    <a:pt x="1380534" y="360379"/>
                  </a:lnTo>
                  <a:lnTo>
                    <a:pt x="1380140" y="359985"/>
                  </a:lnTo>
                  <a:lnTo>
                    <a:pt x="1376993" y="357625"/>
                  </a:lnTo>
                  <a:lnTo>
                    <a:pt x="1376993" y="356838"/>
                  </a:lnTo>
                  <a:lnTo>
                    <a:pt x="1374239" y="354477"/>
                  </a:lnTo>
                  <a:lnTo>
                    <a:pt x="1372665" y="354084"/>
                  </a:lnTo>
                  <a:lnTo>
                    <a:pt x="1373452" y="353690"/>
                  </a:lnTo>
                  <a:lnTo>
                    <a:pt x="1373845" y="350543"/>
                  </a:lnTo>
                  <a:lnTo>
                    <a:pt x="1370698" y="348969"/>
                  </a:lnTo>
                  <a:lnTo>
                    <a:pt x="1369124" y="346215"/>
                  </a:lnTo>
                  <a:lnTo>
                    <a:pt x="1365977" y="345822"/>
                  </a:lnTo>
                  <a:lnTo>
                    <a:pt x="1363616" y="342674"/>
                  </a:lnTo>
                  <a:lnTo>
                    <a:pt x="1366764" y="340314"/>
                  </a:lnTo>
                  <a:lnTo>
                    <a:pt x="1369517" y="338347"/>
                  </a:lnTo>
                  <a:lnTo>
                    <a:pt x="1370698" y="335593"/>
                  </a:lnTo>
                  <a:lnTo>
                    <a:pt x="1369517" y="332839"/>
                  </a:lnTo>
                  <a:lnTo>
                    <a:pt x="1372665" y="332839"/>
                  </a:lnTo>
                  <a:lnTo>
                    <a:pt x="1371878" y="330085"/>
                  </a:lnTo>
                  <a:lnTo>
                    <a:pt x="1370305" y="327331"/>
                  </a:lnTo>
                  <a:lnTo>
                    <a:pt x="1367157" y="327331"/>
                  </a:lnTo>
                  <a:lnTo>
                    <a:pt x="1366370" y="324577"/>
                  </a:lnTo>
                  <a:lnTo>
                    <a:pt x="1363223" y="322610"/>
                  </a:lnTo>
                  <a:lnTo>
                    <a:pt x="1360469" y="321036"/>
                  </a:lnTo>
                  <a:lnTo>
                    <a:pt x="1357321" y="319856"/>
                  </a:lnTo>
                  <a:lnTo>
                    <a:pt x="1354174" y="319462"/>
                  </a:lnTo>
                  <a:lnTo>
                    <a:pt x="1351027" y="317102"/>
                  </a:lnTo>
                  <a:lnTo>
                    <a:pt x="1348273" y="317495"/>
                  </a:lnTo>
                  <a:lnTo>
                    <a:pt x="1345519" y="316708"/>
                  </a:lnTo>
                  <a:lnTo>
                    <a:pt x="1342371" y="316315"/>
                  </a:lnTo>
                  <a:lnTo>
                    <a:pt x="1339224" y="315134"/>
                  </a:lnTo>
                  <a:lnTo>
                    <a:pt x="1336076" y="315528"/>
                  </a:lnTo>
                  <a:lnTo>
                    <a:pt x="1333322" y="315528"/>
                  </a:lnTo>
                  <a:lnTo>
                    <a:pt x="1336470" y="314741"/>
                  </a:lnTo>
                  <a:lnTo>
                    <a:pt x="1339617" y="314348"/>
                  </a:lnTo>
                  <a:lnTo>
                    <a:pt x="1340010" y="313561"/>
                  </a:lnTo>
                  <a:lnTo>
                    <a:pt x="1340010" y="310807"/>
                  </a:lnTo>
                  <a:lnTo>
                    <a:pt x="1336863" y="311200"/>
                  </a:lnTo>
                  <a:lnTo>
                    <a:pt x="1333716" y="310807"/>
                  </a:lnTo>
                  <a:lnTo>
                    <a:pt x="1330569" y="309233"/>
                  </a:lnTo>
                  <a:lnTo>
                    <a:pt x="1329781" y="309627"/>
                  </a:lnTo>
                  <a:lnTo>
                    <a:pt x="1327814" y="308840"/>
                  </a:lnTo>
                  <a:lnTo>
                    <a:pt x="1332536" y="308840"/>
                  </a:lnTo>
                  <a:lnTo>
                    <a:pt x="1335290" y="309233"/>
                  </a:lnTo>
                  <a:lnTo>
                    <a:pt x="1332142" y="307266"/>
                  </a:lnTo>
                  <a:lnTo>
                    <a:pt x="1328995" y="307659"/>
                  </a:lnTo>
                  <a:lnTo>
                    <a:pt x="1326241" y="308053"/>
                  </a:lnTo>
                  <a:lnTo>
                    <a:pt x="1321520" y="307659"/>
                  </a:lnTo>
                  <a:lnTo>
                    <a:pt x="1324667" y="307659"/>
                  </a:lnTo>
                  <a:lnTo>
                    <a:pt x="1327814" y="306086"/>
                  </a:lnTo>
                  <a:lnTo>
                    <a:pt x="1330962" y="306479"/>
                  </a:lnTo>
                  <a:lnTo>
                    <a:pt x="1327814" y="304905"/>
                  </a:lnTo>
                  <a:lnTo>
                    <a:pt x="1324273" y="304905"/>
                  </a:lnTo>
                  <a:lnTo>
                    <a:pt x="1321520" y="304512"/>
                  </a:lnTo>
                  <a:lnTo>
                    <a:pt x="1318766" y="303725"/>
                  </a:lnTo>
                  <a:lnTo>
                    <a:pt x="1321913" y="303725"/>
                  </a:lnTo>
                  <a:lnTo>
                    <a:pt x="1318766" y="302151"/>
                  </a:lnTo>
                  <a:lnTo>
                    <a:pt x="1316012" y="300971"/>
                  </a:lnTo>
                  <a:lnTo>
                    <a:pt x="1313258" y="299397"/>
                  </a:lnTo>
                  <a:lnTo>
                    <a:pt x="1312471" y="299397"/>
                  </a:lnTo>
                  <a:lnTo>
                    <a:pt x="1311291" y="298217"/>
                  </a:lnTo>
                  <a:lnTo>
                    <a:pt x="1313258" y="296250"/>
                  </a:lnTo>
                  <a:lnTo>
                    <a:pt x="1310110" y="294676"/>
                  </a:lnTo>
                  <a:lnTo>
                    <a:pt x="1307356" y="294283"/>
                  </a:lnTo>
                  <a:lnTo>
                    <a:pt x="1304602" y="292316"/>
                  </a:lnTo>
                  <a:lnTo>
                    <a:pt x="1303029" y="292316"/>
                  </a:lnTo>
                  <a:lnTo>
                    <a:pt x="1304602" y="291922"/>
                  </a:lnTo>
                  <a:lnTo>
                    <a:pt x="1309323" y="292316"/>
                  </a:lnTo>
                  <a:lnTo>
                    <a:pt x="1318766" y="295070"/>
                  </a:lnTo>
                  <a:lnTo>
                    <a:pt x="1319946" y="297430"/>
                  </a:lnTo>
                  <a:lnTo>
                    <a:pt x="1322700" y="299004"/>
                  </a:lnTo>
                  <a:lnTo>
                    <a:pt x="1325847" y="300971"/>
                  </a:lnTo>
                  <a:lnTo>
                    <a:pt x="1328995" y="302545"/>
                  </a:lnTo>
                  <a:lnTo>
                    <a:pt x="1331749" y="303725"/>
                  </a:lnTo>
                  <a:lnTo>
                    <a:pt x="1334896" y="304905"/>
                  </a:lnTo>
                  <a:lnTo>
                    <a:pt x="1338043" y="304512"/>
                  </a:lnTo>
                  <a:lnTo>
                    <a:pt x="1340798" y="303725"/>
                  </a:lnTo>
                  <a:lnTo>
                    <a:pt x="1343551" y="306086"/>
                  </a:lnTo>
                  <a:lnTo>
                    <a:pt x="1346699" y="306479"/>
                  </a:lnTo>
                  <a:lnTo>
                    <a:pt x="1349059" y="304512"/>
                  </a:lnTo>
                  <a:lnTo>
                    <a:pt x="1349453" y="304512"/>
                  </a:lnTo>
                  <a:lnTo>
                    <a:pt x="1349059" y="306479"/>
                  </a:lnTo>
                  <a:lnTo>
                    <a:pt x="1351813" y="306873"/>
                  </a:lnTo>
                  <a:lnTo>
                    <a:pt x="1354961" y="307266"/>
                  </a:lnTo>
                  <a:lnTo>
                    <a:pt x="1357715" y="307659"/>
                  </a:lnTo>
                  <a:lnTo>
                    <a:pt x="1357715" y="310807"/>
                  </a:lnTo>
                  <a:lnTo>
                    <a:pt x="1360469" y="310807"/>
                  </a:lnTo>
                  <a:lnTo>
                    <a:pt x="1363223" y="309233"/>
                  </a:lnTo>
                  <a:lnTo>
                    <a:pt x="1365190" y="309233"/>
                  </a:lnTo>
                  <a:lnTo>
                    <a:pt x="1369911" y="310413"/>
                  </a:lnTo>
                  <a:lnTo>
                    <a:pt x="1373058" y="311987"/>
                  </a:lnTo>
                  <a:lnTo>
                    <a:pt x="1376206" y="313167"/>
                  </a:lnTo>
                  <a:lnTo>
                    <a:pt x="1378960" y="314741"/>
                  </a:lnTo>
                  <a:lnTo>
                    <a:pt x="1382501" y="315528"/>
                  </a:lnTo>
                  <a:lnTo>
                    <a:pt x="1385648" y="315921"/>
                  </a:lnTo>
                  <a:lnTo>
                    <a:pt x="1389189" y="316315"/>
                  </a:lnTo>
                  <a:lnTo>
                    <a:pt x="1391943" y="316708"/>
                  </a:lnTo>
                  <a:lnTo>
                    <a:pt x="1395090" y="317102"/>
                  </a:lnTo>
                  <a:lnTo>
                    <a:pt x="1398238" y="317495"/>
                  </a:lnTo>
                  <a:lnTo>
                    <a:pt x="1400992" y="317888"/>
                  </a:lnTo>
                  <a:lnTo>
                    <a:pt x="1403746" y="318282"/>
                  </a:lnTo>
                  <a:lnTo>
                    <a:pt x="1410041" y="318282"/>
                  </a:lnTo>
                  <a:lnTo>
                    <a:pt x="1412794" y="318675"/>
                  </a:lnTo>
                  <a:lnTo>
                    <a:pt x="1414761" y="319069"/>
                  </a:lnTo>
                  <a:lnTo>
                    <a:pt x="1417516" y="319462"/>
                  </a:lnTo>
                  <a:lnTo>
                    <a:pt x="1420663" y="319856"/>
                  </a:lnTo>
                  <a:lnTo>
                    <a:pt x="1423810" y="320249"/>
                  </a:lnTo>
                  <a:lnTo>
                    <a:pt x="1426958" y="321429"/>
                  </a:lnTo>
                  <a:lnTo>
                    <a:pt x="1429712" y="323003"/>
                  </a:lnTo>
                  <a:lnTo>
                    <a:pt x="1432466" y="323396"/>
                  </a:lnTo>
                  <a:lnTo>
                    <a:pt x="1435220" y="323790"/>
                  </a:lnTo>
                  <a:lnTo>
                    <a:pt x="1438367" y="324183"/>
                  </a:lnTo>
                  <a:lnTo>
                    <a:pt x="1441908" y="324577"/>
                  </a:lnTo>
                  <a:lnTo>
                    <a:pt x="1444662" y="324970"/>
                  </a:lnTo>
                  <a:lnTo>
                    <a:pt x="1447416" y="325364"/>
                  </a:lnTo>
                  <a:lnTo>
                    <a:pt x="1450170" y="325757"/>
                  </a:lnTo>
                  <a:lnTo>
                    <a:pt x="1453317" y="325757"/>
                  </a:lnTo>
                  <a:lnTo>
                    <a:pt x="1456071" y="325364"/>
                  </a:lnTo>
                  <a:lnTo>
                    <a:pt x="1458826" y="324970"/>
                  </a:lnTo>
                  <a:lnTo>
                    <a:pt x="1461973" y="324183"/>
                  </a:lnTo>
                  <a:lnTo>
                    <a:pt x="1464727" y="324183"/>
                  </a:lnTo>
                  <a:lnTo>
                    <a:pt x="1467874" y="323790"/>
                  </a:lnTo>
                  <a:lnTo>
                    <a:pt x="1470628" y="323003"/>
                  </a:lnTo>
                  <a:lnTo>
                    <a:pt x="1473382" y="321823"/>
                  </a:lnTo>
                  <a:lnTo>
                    <a:pt x="1476136" y="321429"/>
                  </a:lnTo>
                  <a:lnTo>
                    <a:pt x="1479283" y="321036"/>
                  </a:lnTo>
                  <a:lnTo>
                    <a:pt x="1482038" y="319856"/>
                  </a:lnTo>
                  <a:lnTo>
                    <a:pt x="1483611" y="319462"/>
                  </a:lnTo>
                  <a:lnTo>
                    <a:pt x="1486759" y="317888"/>
                  </a:lnTo>
                  <a:lnTo>
                    <a:pt x="1489512" y="316315"/>
                  </a:lnTo>
                  <a:lnTo>
                    <a:pt x="1492660" y="315921"/>
                  </a:lnTo>
                  <a:lnTo>
                    <a:pt x="1498168" y="310413"/>
                  </a:lnTo>
                  <a:lnTo>
                    <a:pt x="1503676" y="305692"/>
                  </a:lnTo>
                  <a:lnTo>
                    <a:pt x="1506430" y="302938"/>
                  </a:lnTo>
                  <a:lnTo>
                    <a:pt x="1507217" y="300184"/>
                  </a:lnTo>
                  <a:lnTo>
                    <a:pt x="1506823" y="298611"/>
                  </a:lnTo>
                  <a:lnTo>
                    <a:pt x="1507217" y="298611"/>
                  </a:lnTo>
                  <a:lnTo>
                    <a:pt x="1508004" y="295857"/>
                  </a:lnTo>
                  <a:lnTo>
                    <a:pt x="1506823" y="292709"/>
                  </a:lnTo>
                  <a:lnTo>
                    <a:pt x="1503676" y="292316"/>
                  </a:lnTo>
                  <a:lnTo>
                    <a:pt x="1500922" y="291135"/>
                  </a:lnTo>
                  <a:lnTo>
                    <a:pt x="1500922" y="288382"/>
                  </a:lnTo>
                  <a:lnTo>
                    <a:pt x="1499348" y="285628"/>
                  </a:lnTo>
                  <a:lnTo>
                    <a:pt x="1496594" y="283267"/>
                  </a:lnTo>
                  <a:lnTo>
                    <a:pt x="1496594" y="280120"/>
                  </a:lnTo>
                  <a:lnTo>
                    <a:pt x="1493841" y="277759"/>
                  </a:lnTo>
                  <a:lnTo>
                    <a:pt x="1490693" y="278152"/>
                  </a:lnTo>
                  <a:lnTo>
                    <a:pt x="1487939" y="276579"/>
                  </a:lnTo>
                  <a:lnTo>
                    <a:pt x="1485185" y="275398"/>
                  </a:lnTo>
                  <a:lnTo>
                    <a:pt x="1482038" y="276579"/>
                  </a:lnTo>
                  <a:lnTo>
                    <a:pt x="1479283" y="274612"/>
                  </a:lnTo>
                  <a:lnTo>
                    <a:pt x="1476136" y="271858"/>
                  </a:lnTo>
                  <a:lnTo>
                    <a:pt x="1472989" y="270284"/>
                  </a:lnTo>
                  <a:lnTo>
                    <a:pt x="1470628" y="269104"/>
                  </a:lnTo>
                  <a:lnTo>
                    <a:pt x="1467481" y="266350"/>
                  </a:lnTo>
                  <a:lnTo>
                    <a:pt x="1464334" y="264776"/>
                  </a:lnTo>
                  <a:lnTo>
                    <a:pt x="1466694" y="267923"/>
                  </a:lnTo>
                  <a:lnTo>
                    <a:pt x="1464334" y="268317"/>
                  </a:lnTo>
                  <a:lnTo>
                    <a:pt x="1462366" y="267923"/>
                  </a:lnTo>
                  <a:lnTo>
                    <a:pt x="1447809" y="262809"/>
                  </a:lnTo>
                  <a:lnTo>
                    <a:pt x="1447023" y="262415"/>
                  </a:lnTo>
                  <a:lnTo>
                    <a:pt x="1443875" y="260842"/>
                  </a:lnTo>
                  <a:lnTo>
                    <a:pt x="1441121" y="260448"/>
                  </a:lnTo>
                  <a:lnTo>
                    <a:pt x="1437974" y="258875"/>
                  </a:lnTo>
                  <a:lnTo>
                    <a:pt x="1439154" y="259661"/>
                  </a:lnTo>
                  <a:lnTo>
                    <a:pt x="1424597" y="254547"/>
                  </a:lnTo>
                  <a:lnTo>
                    <a:pt x="1423417" y="254153"/>
                  </a:lnTo>
                  <a:lnTo>
                    <a:pt x="1417122" y="250613"/>
                  </a:lnTo>
                  <a:lnTo>
                    <a:pt x="1413975" y="249432"/>
                  </a:lnTo>
                  <a:lnTo>
                    <a:pt x="1411221" y="248645"/>
                  </a:lnTo>
                  <a:lnTo>
                    <a:pt x="1408467" y="248252"/>
                  </a:lnTo>
                  <a:lnTo>
                    <a:pt x="1404926" y="246678"/>
                  </a:lnTo>
                  <a:lnTo>
                    <a:pt x="1402172" y="245498"/>
                  </a:lnTo>
                  <a:lnTo>
                    <a:pt x="1399024" y="244318"/>
                  </a:lnTo>
                  <a:lnTo>
                    <a:pt x="1396271" y="243137"/>
                  </a:lnTo>
                  <a:lnTo>
                    <a:pt x="1392730" y="242351"/>
                  </a:lnTo>
                  <a:lnTo>
                    <a:pt x="1389976" y="240777"/>
                  </a:lnTo>
                  <a:lnTo>
                    <a:pt x="1386828" y="239990"/>
                  </a:lnTo>
                  <a:lnTo>
                    <a:pt x="1384074" y="239597"/>
                  </a:lnTo>
                  <a:lnTo>
                    <a:pt x="1381320" y="238810"/>
                  </a:lnTo>
                  <a:lnTo>
                    <a:pt x="1378173" y="237236"/>
                  </a:lnTo>
                  <a:lnTo>
                    <a:pt x="1375025" y="236449"/>
                  </a:lnTo>
                  <a:lnTo>
                    <a:pt x="1372272" y="235269"/>
                  </a:lnTo>
                  <a:lnTo>
                    <a:pt x="1370698" y="234876"/>
                  </a:lnTo>
                  <a:lnTo>
                    <a:pt x="1367550" y="234482"/>
                  </a:lnTo>
                  <a:lnTo>
                    <a:pt x="1364796" y="234089"/>
                  </a:lnTo>
                  <a:lnTo>
                    <a:pt x="1361649" y="233695"/>
                  </a:lnTo>
                  <a:lnTo>
                    <a:pt x="1358108" y="233302"/>
                  </a:lnTo>
                  <a:lnTo>
                    <a:pt x="1355354" y="234876"/>
                  </a:lnTo>
                  <a:lnTo>
                    <a:pt x="1352600" y="235269"/>
                  </a:lnTo>
                  <a:lnTo>
                    <a:pt x="1349059" y="234876"/>
                  </a:lnTo>
                  <a:lnTo>
                    <a:pt x="1345912" y="234482"/>
                  </a:lnTo>
                  <a:lnTo>
                    <a:pt x="1342765" y="234089"/>
                  </a:lnTo>
                  <a:lnTo>
                    <a:pt x="1339224" y="233695"/>
                  </a:lnTo>
                  <a:lnTo>
                    <a:pt x="1336076" y="232908"/>
                  </a:lnTo>
                  <a:lnTo>
                    <a:pt x="1333322" y="232908"/>
                  </a:lnTo>
                  <a:lnTo>
                    <a:pt x="1330175" y="232515"/>
                  </a:lnTo>
                  <a:lnTo>
                    <a:pt x="1327421" y="232122"/>
                  </a:lnTo>
                  <a:lnTo>
                    <a:pt x="1324667" y="232908"/>
                  </a:lnTo>
                  <a:lnTo>
                    <a:pt x="1321913" y="232515"/>
                  </a:lnTo>
                  <a:lnTo>
                    <a:pt x="1321520" y="235662"/>
                  </a:lnTo>
                  <a:lnTo>
                    <a:pt x="1319552" y="238810"/>
                  </a:lnTo>
                  <a:lnTo>
                    <a:pt x="1316405" y="239203"/>
                  </a:lnTo>
                  <a:lnTo>
                    <a:pt x="1313651" y="239597"/>
                  </a:lnTo>
                  <a:lnTo>
                    <a:pt x="1311291" y="242744"/>
                  </a:lnTo>
                  <a:lnTo>
                    <a:pt x="1310897" y="243137"/>
                  </a:lnTo>
                  <a:lnTo>
                    <a:pt x="1310110" y="239990"/>
                  </a:lnTo>
                  <a:lnTo>
                    <a:pt x="1312864" y="239203"/>
                  </a:lnTo>
                  <a:lnTo>
                    <a:pt x="1315618" y="238810"/>
                  </a:lnTo>
                  <a:lnTo>
                    <a:pt x="1318766" y="237236"/>
                  </a:lnTo>
                  <a:lnTo>
                    <a:pt x="1315225" y="235662"/>
                  </a:lnTo>
                  <a:lnTo>
                    <a:pt x="1317979" y="234876"/>
                  </a:lnTo>
                  <a:lnTo>
                    <a:pt x="1315225" y="234482"/>
                  </a:lnTo>
                  <a:lnTo>
                    <a:pt x="1317979" y="232122"/>
                  </a:lnTo>
                  <a:lnTo>
                    <a:pt x="1314832" y="229761"/>
                  </a:lnTo>
                  <a:lnTo>
                    <a:pt x="1311684" y="230154"/>
                  </a:lnTo>
                  <a:lnTo>
                    <a:pt x="1308930" y="230941"/>
                  </a:lnTo>
                  <a:lnTo>
                    <a:pt x="1305783" y="232515"/>
                  </a:lnTo>
                  <a:lnTo>
                    <a:pt x="1307750" y="229368"/>
                  </a:lnTo>
                  <a:lnTo>
                    <a:pt x="1304602" y="228974"/>
                  </a:lnTo>
                  <a:lnTo>
                    <a:pt x="1301455" y="228187"/>
                  </a:lnTo>
                  <a:lnTo>
                    <a:pt x="1298701" y="228187"/>
                  </a:lnTo>
                  <a:lnTo>
                    <a:pt x="1295554" y="227794"/>
                  </a:lnTo>
                  <a:lnTo>
                    <a:pt x="1293193" y="226614"/>
                  </a:lnTo>
                  <a:lnTo>
                    <a:pt x="1290439" y="225433"/>
                  </a:lnTo>
                  <a:lnTo>
                    <a:pt x="1287292" y="224646"/>
                  </a:lnTo>
                  <a:lnTo>
                    <a:pt x="1284144" y="223466"/>
                  </a:lnTo>
                  <a:lnTo>
                    <a:pt x="1285718" y="220712"/>
                  </a:lnTo>
                  <a:lnTo>
                    <a:pt x="1288865" y="223073"/>
                  </a:lnTo>
                  <a:lnTo>
                    <a:pt x="1292013" y="223466"/>
                  </a:lnTo>
                  <a:lnTo>
                    <a:pt x="1294766" y="223860"/>
                  </a:lnTo>
                  <a:lnTo>
                    <a:pt x="1297914" y="224253"/>
                  </a:lnTo>
                  <a:lnTo>
                    <a:pt x="1301455" y="224646"/>
                  </a:lnTo>
                  <a:lnTo>
                    <a:pt x="1304209" y="225040"/>
                  </a:lnTo>
                  <a:lnTo>
                    <a:pt x="1306963" y="223860"/>
                  </a:lnTo>
                  <a:lnTo>
                    <a:pt x="1308143" y="221106"/>
                  </a:lnTo>
                  <a:lnTo>
                    <a:pt x="1304996" y="219925"/>
                  </a:lnTo>
                  <a:lnTo>
                    <a:pt x="1302242" y="219532"/>
                  </a:lnTo>
                  <a:lnTo>
                    <a:pt x="1299094" y="219138"/>
                  </a:lnTo>
                  <a:lnTo>
                    <a:pt x="1295947" y="219532"/>
                  </a:lnTo>
                  <a:lnTo>
                    <a:pt x="1292406" y="217565"/>
                  </a:lnTo>
                  <a:lnTo>
                    <a:pt x="1286111" y="215991"/>
                  </a:lnTo>
                  <a:lnTo>
                    <a:pt x="1283357" y="214417"/>
                  </a:lnTo>
                  <a:lnTo>
                    <a:pt x="1280603" y="214811"/>
                  </a:lnTo>
                  <a:lnTo>
                    <a:pt x="1283357" y="217171"/>
                  </a:lnTo>
                  <a:lnTo>
                    <a:pt x="1280210" y="217565"/>
                  </a:lnTo>
                  <a:lnTo>
                    <a:pt x="1277062" y="217565"/>
                  </a:lnTo>
                  <a:lnTo>
                    <a:pt x="1276669" y="220319"/>
                  </a:lnTo>
                  <a:lnTo>
                    <a:pt x="1273522" y="221499"/>
                  </a:lnTo>
                  <a:lnTo>
                    <a:pt x="1272735" y="221892"/>
                  </a:lnTo>
                  <a:lnTo>
                    <a:pt x="1269194" y="221106"/>
                  </a:lnTo>
                  <a:lnTo>
                    <a:pt x="1268407" y="220319"/>
                  </a:lnTo>
                  <a:lnTo>
                    <a:pt x="1265259" y="219925"/>
                  </a:lnTo>
                  <a:lnTo>
                    <a:pt x="1259752" y="219532"/>
                  </a:lnTo>
                  <a:lnTo>
                    <a:pt x="1258178" y="219138"/>
                  </a:lnTo>
                  <a:lnTo>
                    <a:pt x="1255424" y="218745"/>
                  </a:lnTo>
                  <a:lnTo>
                    <a:pt x="1252670" y="218745"/>
                  </a:lnTo>
                  <a:lnTo>
                    <a:pt x="1251489" y="220712"/>
                  </a:lnTo>
                  <a:lnTo>
                    <a:pt x="1250703" y="220712"/>
                  </a:lnTo>
                  <a:lnTo>
                    <a:pt x="1249522" y="218352"/>
                  </a:lnTo>
                  <a:lnTo>
                    <a:pt x="1246375" y="217565"/>
                  </a:lnTo>
                  <a:lnTo>
                    <a:pt x="1243621" y="217171"/>
                  </a:lnTo>
                  <a:lnTo>
                    <a:pt x="1243621" y="219925"/>
                  </a:lnTo>
                  <a:lnTo>
                    <a:pt x="1244408" y="221892"/>
                  </a:lnTo>
                  <a:lnTo>
                    <a:pt x="1241654" y="221106"/>
                  </a:lnTo>
                  <a:lnTo>
                    <a:pt x="1240867" y="221499"/>
                  </a:lnTo>
                  <a:lnTo>
                    <a:pt x="1240867" y="221106"/>
                  </a:lnTo>
                  <a:lnTo>
                    <a:pt x="1240474" y="219532"/>
                  </a:lnTo>
                  <a:lnTo>
                    <a:pt x="1239687" y="219138"/>
                  </a:lnTo>
                  <a:lnTo>
                    <a:pt x="1240474" y="218745"/>
                  </a:lnTo>
                  <a:lnTo>
                    <a:pt x="1243228" y="217171"/>
                  </a:lnTo>
                  <a:lnTo>
                    <a:pt x="1240081" y="217565"/>
                  </a:lnTo>
                  <a:lnTo>
                    <a:pt x="1239687" y="215204"/>
                  </a:lnTo>
                  <a:lnTo>
                    <a:pt x="1236933" y="215204"/>
                  </a:lnTo>
                  <a:lnTo>
                    <a:pt x="1236540" y="216778"/>
                  </a:lnTo>
                  <a:lnTo>
                    <a:pt x="1235359" y="215991"/>
                  </a:lnTo>
                  <a:lnTo>
                    <a:pt x="1234966" y="214811"/>
                  </a:lnTo>
                  <a:lnTo>
                    <a:pt x="1233392" y="214811"/>
                  </a:lnTo>
                  <a:lnTo>
                    <a:pt x="1231032" y="213631"/>
                  </a:lnTo>
                  <a:lnTo>
                    <a:pt x="1232212" y="212844"/>
                  </a:lnTo>
                  <a:lnTo>
                    <a:pt x="1229064" y="212450"/>
                  </a:lnTo>
                  <a:lnTo>
                    <a:pt x="1238900" y="210877"/>
                  </a:lnTo>
                  <a:lnTo>
                    <a:pt x="1242048" y="210483"/>
                  </a:lnTo>
                  <a:lnTo>
                    <a:pt x="1244801" y="208909"/>
                  </a:lnTo>
                  <a:lnTo>
                    <a:pt x="1247555" y="206549"/>
                  </a:lnTo>
                  <a:lnTo>
                    <a:pt x="1250703" y="205369"/>
                  </a:lnTo>
                  <a:lnTo>
                    <a:pt x="1253850" y="204975"/>
                  </a:lnTo>
                  <a:lnTo>
                    <a:pt x="1256604" y="204582"/>
                  </a:lnTo>
                  <a:lnTo>
                    <a:pt x="1259752" y="204188"/>
                  </a:lnTo>
                  <a:lnTo>
                    <a:pt x="1260145" y="201041"/>
                  </a:lnTo>
                  <a:lnTo>
                    <a:pt x="1256998" y="199074"/>
                  </a:lnTo>
                  <a:lnTo>
                    <a:pt x="1254244" y="199467"/>
                  </a:lnTo>
                  <a:lnTo>
                    <a:pt x="1250703" y="197500"/>
                  </a:lnTo>
                  <a:lnTo>
                    <a:pt x="1247949" y="195926"/>
                  </a:lnTo>
                  <a:lnTo>
                    <a:pt x="1245195" y="195926"/>
                  </a:lnTo>
                  <a:lnTo>
                    <a:pt x="1242048" y="196320"/>
                  </a:lnTo>
                  <a:lnTo>
                    <a:pt x="1239293" y="196713"/>
                  </a:lnTo>
                  <a:lnTo>
                    <a:pt x="1242441" y="195139"/>
                  </a:lnTo>
                  <a:lnTo>
                    <a:pt x="1239687" y="192779"/>
                  </a:lnTo>
                  <a:lnTo>
                    <a:pt x="1236146" y="191205"/>
                  </a:lnTo>
                  <a:lnTo>
                    <a:pt x="1235359" y="191599"/>
                  </a:lnTo>
                  <a:lnTo>
                    <a:pt x="1231425" y="192779"/>
                  </a:lnTo>
                  <a:lnTo>
                    <a:pt x="1230245" y="190812"/>
                  </a:lnTo>
                  <a:lnTo>
                    <a:pt x="1227491" y="191205"/>
                  </a:lnTo>
                  <a:lnTo>
                    <a:pt x="1224737" y="191599"/>
                  </a:lnTo>
                  <a:lnTo>
                    <a:pt x="1221589" y="192385"/>
                  </a:lnTo>
                  <a:lnTo>
                    <a:pt x="1222376" y="189631"/>
                  </a:lnTo>
                  <a:lnTo>
                    <a:pt x="1219229" y="187271"/>
                  </a:lnTo>
                  <a:lnTo>
                    <a:pt x="1216475" y="187271"/>
                  </a:lnTo>
                  <a:lnTo>
                    <a:pt x="1213327" y="186484"/>
                  </a:lnTo>
                  <a:lnTo>
                    <a:pt x="1210574" y="186878"/>
                  </a:lnTo>
                  <a:lnTo>
                    <a:pt x="1207819" y="188451"/>
                  </a:lnTo>
                  <a:lnTo>
                    <a:pt x="1204672" y="190418"/>
                  </a:lnTo>
                  <a:lnTo>
                    <a:pt x="1204278" y="193172"/>
                  </a:lnTo>
                  <a:lnTo>
                    <a:pt x="1203492" y="196320"/>
                  </a:lnTo>
                  <a:lnTo>
                    <a:pt x="1206639" y="197107"/>
                  </a:lnTo>
                  <a:lnTo>
                    <a:pt x="1203098" y="197500"/>
                  </a:lnTo>
                  <a:lnTo>
                    <a:pt x="1199951" y="199861"/>
                  </a:lnTo>
                  <a:lnTo>
                    <a:pt x="1199164" y="203008"/>
                  </a:lnTo>
                  <a:lnTo>
                    <a:pt x="1199164" y="198680"/>
                  </a:lnTo>
                  <a:lnTo>
                    <a:pt x="1198771" y="195926"/>
                  </a:lnTo>
                  <a:lnTo>
                    <a:pt x="1201525" y="193172"/>
                  </a:lnTo>
                  <a:lnTo>
                    <a:pt x="1198771" y="192779"/>
                  </a:lnTo>
                  <a:lnTo>
                    <a:pt x="1197590" y="193172"/>
                  </a:lnTo>
                  <a:lnTo>
                    <a:pt x="1196804" y="190418"/>
                  </a:lnTo>
                  <a:lnTo>
                    <a:pt x="1199557" y="188845"/>
                  </a:lnTo>
                  <a:lnTo>
                    <a:pt x="1196410" y="187271"/>
                  </a:lnTo>
                  <a:lnTo>
                    <a:pt x="1196016" y="187271"/>
                  </a:lnTo>
                  <a:lnTo>
                    <a:pt x="1195230" y="184124"/>
                  </a:lnTo>
                  <a:lnTo>
                    <a:pt x="1196016" y="184124"/>
                  </a:lnTo>
                  <a:lnTo>
                    <a:pt x="1199164" y="182943"/>
                  </a:lnTo>
                  <a:lnTo>
                    <a:pt x="1202311" y="181370"/>
                  </a:lnTo>
                  <a:lnTo>
                    <a:pt x="1201131" y="178222"/>
                  </a:lnTo>
                  <a:lnTo>
                    <a:pt x="1198377" y="178222"/>
                  </a:lnTo>
                  <a:lnTo>
                    <a:pt x="1195623" y="178616"/>
                  </a:lnTo>
                  <a:lnTo>
                    <a:pt x="1194836" y="175862"/>
                  </a:lnTo>
                  <a:lnTo>
                    <a:pt x="1192082" y="175862"/>
                  </a:lnTo>
                  <a:lnTo>
                    <a:pt x="1188935" y="177435"/>
                  </a:lnTo>
                  <a:lnTo>
                    <a:pt x="1186181" y="177042"/>
                  </a:lnTo>
                  <a:lnTo>
                    <a:pt x="1183034" y="175468"/>
                  </a:lnTo>
                  <a:lnTo>
                    <a:pt x="1180279" y="177829"/>
                  </a:lnTo>
                  <a:lnTo>
                    <a:pt x="1177132" y="179796"/>
                  </a:lnTo>
                  <a:lnTo>
                    <a:pt x="1173985" y="180583"/>
                  </a:lnTo>
                  <a:lnTo>
                    <a:pt x="1177132" y="180976"/>
                  </a:lnTo>
                  <a:lnTo>
                    <a:pt x="1180279" y="181370"/>
                  </a:lnTo>
                  <a:lnTo>
                    <a:pt x="1183034" y="183730"/>
                  </a:lnTo>
                  <a:lnTo>
                    <a:pt x="1179886" y="183337"/>
                  </a:lnTo>
                  <a:lnTo>
                    <a:pt x="1176738" y="185304"/>
                  </a:lnTo>
                  <a:lnTo>
                    <a:pt x="1173591" y="185697"/>
                  </a:lnTo>
                  <a:lnTo>
                    <a:pt x="1174378" y="188845"/>
                  </a:lnTo>
                  <a:lnTo>
                    <a:pt x="1175952" y="189631"/>
                  </a:lnTo>
                  <a:lnTo>
                    <a:pt x="1175165" y="190025"/>
                  </a:lnTo>
                  <a:lnTo>
                    <a:pt x="1173985" y="189631"/>
                  </a:lnTo>
                  <a:lnTo>
                    <a:pt x="1170837" y="190025"/>
                  </a:lnTo>
                  <a:lnTo>
                    <a:pt x="1171624" y="190812"/>
                  </a:lnTo>
                  <a:lnTo>
                    <a:pt x="1162575" y="193172"/>
                  </a:lnTo>
                  <a:lnTo>
                    <a:pt x="1162969" y="190418"/>
                  </a:lnTo>
                  <a:lnTo>
                    <a:pt x="1161395" y="187664"/>
                  </a:lnTo>
                  <a:lnTo>
                    <a:pt x="1158248" y="187271"/>
                  </a:lnTo>
                  <a:lnTo>
                    <a:pt x="1161395" y="186878"/>
                  </a:lnTo>
                  <a:lnTo>
                    <a:pt x="1164149" y="185304"/>
                  </a:lnTo>
                  <a:lnTo>
                    <a:pt x="1163362" y="182550"/>
                  </a:lnTo>
                  <a:lnTo>
                    <a:pt x="1162575" y="179402"/>
                  </a:lnTo>
                  <a:lnTo>
                    <a:pt x="1159428" y="180583"/>
                  </a:lnTo>
                  <a:lnTo>
                    <a:pt x="1155887" y="182943"/>
                  </a:lnTo>
                  <a:lnTo>
                    <a:pt x="1152740" y="184910"/>
                  </a:lnTo>
                  <a:lnTo>
                    <a:pt x="1149986" y="187271"/>
                  </a:lnTo>
                  <a:lnTo>
                    <a:pt x="1147625" y="190025"/>
                  </a:lnTo>
                  <a:lnTo>
                    <a:pt x="1144871" y="191599"/>
                  </a:lnTo>
                  <a:lnTo>
                    <a:pt x="1143691" y="192779"/>
                  </a:lnTo>
                  <a:lnTo>
                    <a:pt x="1133855" y="192779"/>
                  </a:lnTo>
                  <a:lnTo>
                    <a:pt x="1133855" y="192779"/>
                  </a:lnTo>
                  <a:lnTo>
                    <a:pt x="1131101" y="192779"/>
                  </a:lnTo>
                  <a:lnTo>
                    <a:pt x="1132675" y="191205"/>
                  </a:lnTo>
                  <a:lnTo>
                    <a:pt x="1135429" y="189631"/>
                  </a:lnTo>
                  <a:lnTo>
                    <a:pt x="1138183" y="187664"/>
                  </a:lnTo>
                  <a:lnTo>
                    <a:pt x="1141330" y="185304"/>
                  </a:lnTo>
                  <a:lnTo>
                    <a:pt x="1144478" y="184517"/>
                  </a:lnTo>
                  <a:lnTo>
                    <a:pt x="1146445" y="181763"/>
                  </a:lnTo>
                  <a:lnTo>
                    <a:pt x="1143297" y="182550"/>
                  </a:lnTo>
                  <a:lnTo>
                    <a:pt x="1140543" y="181370"/>
                  </a:lnTo>
                  <a:lnTo>
                    <a:pt x="1137396" y="180189"/>
                  </a:lnTo>
                  <a:lnTo>
                    <a:pt x="1134642" y="180189"/>
                  </a:lnTo>
                  <a:lnTo>
                    <a:pt x="1135822" y="182943"/>
                  </a:lnTo>
                  <a:lnTo>
                    <a:pt x="1133068" y="184124"/>
                  </a:lnTo>
                  <a:lnTo>
                    <a:pt x="1130708" y="180976"/>
                  </a:lnTo>
                  <a:lnTo>
                    <a:pt x="1127954" y="179402"/>
                  </a:lnTo>
                  <a:lnTo>
                    <a:pt x="1125200" y="180583"/>
                  </a:lnTo>
                  <a:lnTo>
                    <a:pt x="1122053" y="179009"/>
                  </a:lnTo>
                  <a:lnTo>
                    <a:pt x="1119298" y="178616"/>
                  </a:lnTo>
                  <a:lnTo>
                    <a:pt x="1118905" y="181370"/>
                  </a:lnTo>
                  <a:lnTo>
                    <a:pt x="1121659" y="181763"/>
                  </a:lnTo>
                  <a:lnTo>
                    <a:pt x="1118512" y="183730"/>
                  </a:lnTo>
                  <a:lnTo>
                    <a:pt x="1115364" y="182156"/>
                  </a:lnTo>
                  <a:lnTo>
                    <a:pt x="1112217" y="183730"/>
                  </a:lnTo>
                  <a:lnTo>
                    <a:pt x="1107889" y="192385"/>
                  </a:lnTo>
                  <a:lnTo>
                    <a:pt x="1104348" y="192779"/>
                  </a:lnTo>
                  <a:lnTo>
                    <a:pt x="1101594" y="194353"/>
                  </a:lnTo>
                  <a:lnTo>
                    <a:pt x="1098840" y="195926"/>
                  </a:lnTo>
                  <a:lnTo>
                    <a:pt x="1098053" y="198680"/>
                  </a:lnTo>
                  <a:lnTo>
                    <a:pt x="1094906" y="199074"/>
                  </a:lnTo>
                  <a:lnTo>
                    <a:pt x="1098053" y="199467"/>
                  </a:lnTo>
                  <a:lnTo>
                    <a:pt x="1094906" y="200254"/>
                  </a:lnTo>
                  <a:lnTo>
                    <a:pt x="1092152" y="200254"/>
                  </a:lnTo>
                  <a:lnTo>
                    <a:pt x="1095693" y="201434"/>
                  </a:lnTo>
                  <a:lnTo>
                    <a:pt x="1092546" y="203795"/>
                  </a:lnTo>
                  <a:lnTo>
                    <a:pt x="1095693" y="205762"/>
                  </a:lnTo>
                  <a:lnTo>
                    <a:pt x="1098840" y="205762"/>
                  </a:lnTo>
                  <a:lnTo>
                    <a:pt x="1099234" y="206549"/>
                  </a:lnTo>
                  <a:lnTo>
                    <a:pt x="1096480" y="206942"/>
                  </a:lnTo>
                  <a:lnTo>
                    <a:pt x="1090972" y="206549"/>
                  </a:lnTo>
                  <a:lnTo>
                    <a:pt x="1090578" y="206155"/>
                  </a:lnTo>
                  <a:lnTo>
                    <a:pt x="1087824" y="204975"/>
                  </a:lnTo>
                  <a:lnTo>
                    <a:pt x="1089398" y="202615"/>
                  </a:lnTo>
                  <a:lnTo>
                    <a:pt x="1086644" y="204188"/>
                  </a:lnTo>
                  <a:lnTo>
                    <a:pt x="1083497" y="204582"/>
                  </a:lnTo>
                  <a:lnTo>
                    <a:pt x="1080349" y="204975"/>
                  </a:lnTo>
                  <a:lnTo>
                    <a:pt x="1079169" y="204975"/>
                  </a:lnTo>
                  <a:lnTo>
                    <a:pt x="1079956" y="204975"/>
                  </a:lnTo>
                  <a:lnTo>
                    <a:pt x="1083497" y="204582"/>
                  </a:lnTo>
                  <a:lnTo>
                    <a:pt x="1086250" y="204188"/>
                  </a:lnTo>
                  <a:lnTo>
                    <a:pt x="1087824" y="201434"/>
                  </a:lnTo>
                  <a:lnTo>
                    <a:pt x="1085070" y="201041"/>
                  </a:lnTo>
                  <a:lnTo>
                    <a:pt x="1081923" y="201434"/>
                  </a:lnTo>
                  <a:lnTo>
                    <a:pt x="1079169" y="199861"/>
                  </a:lnTo>
                  <a:lnTo>
                    <a:pt x="1076021" y="199861"/>
                  </a:lnTo>
                  <a:lnTo>
                    <a:pt x="1077202" y="202615"/>
                  </a:lnTo>
                  <a:lnTo>
                    <a:pt x="1079956" y="203401"/>
                  </a:lnTo>
                  <a:lnTo>
                    <a:pt x="1077202" y="203008"/>
                  </a:lnTo>
                  <a:lnTo>
                    <a:pt x="1074448" y="201828"/>
                  </a:lnTo>
                  <a:lnTo>
                    <a:pt x="1074448" y="198680"/>
                  </a:lnTo>
                  <a:lnTo>
                    <a:pt x="1071300" y="200254"/>
                  </a:lnTo>
                  <a:lnTo>
                    <a:pt x="1068546" y="197893"/>
                  </a:lnTo>
                  <a:lnTo>
                    <a:pt x="1065792" y="199074"/>
                  </a:lnTo>
                  <a:lnTo>
                    <a:pt x="1064612" y="201828"/>
                  </a:lnTo>
                  <a:lnTo>
                    <a:pt x="1061465" y="199861"/>
                  </a:lnTo>
                  <a:lnTo>
                    <a:pt x="1058317" y="198287"/>
                  </a:lnTo>
                  <a:lnTo>
                    <a:pt x="1057531" y="201434"/>
                  </a:lnTo>
                  <a:lnTo>
                    <a:pt x="1054383" y="200254"/>
                  </a:lnTo>
                  <a:lnTo>
                    <a:pt x="1051629" y="200647"/>
                  </a:lnTo>
                  <a:lnTo>
                    <a:pt x="1054383" y="202615"/>
                  </a:lnTo>
                  <a:lnTo>
                    <a:pt x="1056743" y="202221"/>
                  </a:lnTo>
                  <a:lnTo>
                    <a:pt x="1058317" y="202615"/>
                  </a:lnTo>
                  <a:lnTo>
                    <a:pt x="1060284" y="203795"/>
                  </a:lnTo>
                  <a:lnTo>
                    <a:pt x="1063432" y="205369"/>
                  </a:lnTo>
                  <a:lnTo>
                    <a:pt x="1065006" y="204975"/>
                  </a:lnTo>
                  <a:lnTo>
                    <a:pt x="1068940" y="206549"/>
                  </a:lnTo>
                  <a:lnTo>
                    <a:pt x="1068940" y="206549"/>
                  </a:lnTo>
                  <a:lnTo>
                    <a:pt x="1070513" y="206942"/>
                  </a:lnTo>
                  <a:lnTo>
                    <a:pt x="1069727" y="208123"/>
                  </a:lnTo>
                  <a:lnTo>
                    <a:pt x="1067760" y="207336"/>
                  </a:lnTo>
                  <a:lnTo>
                    <a:pt x="1067366" y="210090"/>
                  </a:lnTo>
                  <a:lnTo>
                    <a:pt x="1068153" y="210483"/>
                  </a:lnTo>
                  <a:lnTo>
                    <a:pt x="1067366" y="211663"/>
                  </a:lnTo>
                  <a:lnTo>
                    <a:pt x="1066973" y="211663"/>
                  </a:lnTo>
                  <a:lnTo>
                    <a:pt x="1064612" y="210090"/>
                  </a:lnTo>
                  <a:lnTo>
                    <a:pt x="1064219" y="210090"/>
                  </a:lnTo>
                  <a:lnTo>
                    <a:pt x="1058711" y="206942"/>
                  </a:lnTo>
                  <a:lnTo>
                    <a:pt x="1056743" y="206155"/>
                  </a:lnTo>
                  <a:lnTo>
                    <a:pt x="1053203" y="206942"/>
                  </a:lnTo>
                  <a:lnTo>
                    <a:pt x="1050842" y="210483"/>
                  </a:lnTo>
                  <a:lnTo>
                    <a:pt x="1050449" y="210483"/>
                  </a:lnTo>
                  <a:lnTo>
                    <a:pt x="1048875" y="213237"/>
                  </a:lnTo>
                  <a:lnTo>
                    <a:pt x="1048482" y="213237"/>
                  </a:lnTo>
                  <a:lnTo>
                    <a:pt x="1045334" y="210877"/>
                  </a:lnTo>
                  <a:lnTo>
                    <a:pt x="1048088" y="208516"/>
                  </a:lnTo>
                  <a:lnTo>
                    <a:pt x="1044547" y="210090"/>
                  </a:lnTo>
                  <a:lnTo>
                    <a:pt x="1041793" y="213237"/>
                  </a:lnTo>
                  <a:lnTo>
                    <a:pt x="1038646" y="215598"/>
                  </a:lnTo>
                  <a:lnTo>
                    <a:pt x="1039433" y="218745"/>
                  </a:lnTo>
                  <a:lnTo>
                    <a:pt x="1040220" y="219138"/>
                  </a:lnTo>
                  <a:lnTo>
                    <a:pt x="1039433" y="219925"/>
                  </a:lnTo>
                  <a:lnTo>
                    <a:pt x="1036285" y="219138"/>
                  </a:lnTo>
                  <a:lnTo>
                    <a:pt x="1035105" y="221892"/>
                  </a:lnTo>
                  <a:lnTo>
                    <a:pt x="1034318" y="223073"/>
                  </a:lnTo>
                  <a:lnTo>
                    <a:pt x="1030777" y="225433"/>
                  </a:lnTo>
                  <a:lnTo>
                    <a:pt x="1030384" y="225433"/>
                  </a:lnTo>
                  <a:lnTo>
                    <a:pt x="1027236" y="227794"/>
                  </a:lnTo>
                  <a:lnTo>
                    <a:pt x="1026843" y="227794"/>
                  </a:lnTo>
                  <a:lnTo>
                    <a:pt x="1027236" y="227400"/>
                  </a:lnTo>
                  <a:lnTo>
                    <a:pt x="1030777" y="225040"/>
                  </a:lnTo>
                  <a:lnTo>
                    <a:pt x="1033532" y="222679"/>
                  </a:lnTo>
                  <a:lnTo>
                    <a:pt x="1033138" y="219532"/>
                  </a:lnTo>
                  <a:lnTo>
                    <a:pt x="1033138" y="216778"/>
                  </a:lnTo>
                  <a:lnTo>
                    <a:pt x="1034318" y="214024"/>
                  </a:lnTo>
                  <a:lnTo>
                    <a:pt x="1035499" y="210483"/>
                  </a:lnTo>
                  <a:lnTo>
                    <a:pt x="1032744" y="208123"/>
                  </a:lnTo>
                  <a:lnTo>
                    <a:pt x="1031564" y="211270"/>
                  </a:lnTo>
                  <a:lnTo>
                    <a:pt x="1028810" y="211270"/>
                  </a:lnTo>
                  <a:lnTo>
                    <a:pt x="1026843" y="214024"/>
                  </a:lnTo>
                  <a:lnTo>
                    <a:pt x="1026450" y="212057"/>
                  </a:lnTo>
                  <a:lnTo>
                    <a:pt x="1024089" y="214811"/>
                  </a:lnTo>
                  <a:lnTo>
                    <a:pt x="1023696" y="217958"/>
                  </a:lnTo>
                  <a:lnTo>
                    <a:pt x="1026843" y="218745"/>
                  </a:lnTo>
                  <a:lnTo>
                    <a:pt x="1026843" y="219138"/>
                  </a:lnTo>
                  <a:lnTo>
                    <a:pt x="1023302" y="218745"/>
                  </a:lnTo>
                  <a:lnTo>
                    <a:pt x="1023302" y="219138"/>
                  </a:lnTo>
                  <a:lnTo>
                    <a:pt x="1021729" y="219138"/>
                  </a:lnTo>
                  <a:lnTo>
                    <a:pt x="1021729" y="218745"/>
                  </a:lnTo>
                  <a:lnTo>
                    <a:pt x="1020548" y="215991"/>
                  </a:lnTo>
                  <a:lnTo>
                    <a:pt x="1020548" y="213237"/>
                  </a:lnTo>
                  <a:lnTo>
                    <a:pt x="1017795" y="213631"/>
                  </a:lnTo>
                  <a:lnTo>
                    <a:pt x="1014647" y="214024"/>
                  </a:lnTo>
                  <a:lnTo>
                    <a:pt x="1011893" y="214024"/>
                  </a:lnTo>
                  <a:lnTo>
                    <a:pt x="1008746" y="214811"/>
                  </a:lnTo>
                  <a:lnTo>
                    <a:pt x="1005992" y="217171"/>
                  </a:lnTo>
                  <a:lnTo>
                    <a:pt x="1005598" y="217565"/>
                  </a:lnTo>
                  <a:lnTo>
                    <a:pt x="1002451" y="221499"/>
                  </a:lnTo>
                  <a:lnTo>
                    <a:pt x="1000877" y="220712"/>
                  </a:lnTo>
                  <a:lnTo>
                    <a:pt x="997729" y="221106"/>
                  </a:lnTo>
                  <a:lnTo>
                    <a:pt x="994976" y="221499"/>
                  </a:lnTo>
                  <a:lnTo>
                    <a:pt x="997336" y="224253"/>
                  </a:lnTo>
                  <a:lnTo>
                    <a:pt x="999303" y="225433"/>
                  </a:lnTo>
                  <a:lnTo>
                    <a:pt x="998517" y="226614"/>
                  </a:lnTo>
                  <a:lnTo>
                    <a:pt x="996943" y="226220"/>
                  </a:lnTo>
                  <a:lnTo>
                    <a:pt x="996549" y="228974"/>
                  </a:lnTo>
                  <a:lnTo>
                    <a:pt x="995762" y="230154"/>
                  </a:lnTo>
                  <a:lnTo>
                    <a:pt x="995762" y="227794"/>
                  </a:lnTo>
                  <a:lnTo>
                    <a:pt x="993795" y="225040"/>
                  </a:lnTo>
                  <a:lnTo>
                    <a:pt x="991041" y="222679"/>
                  </a:lnTo>
                  <a:lnTo>
                    <a:pt x="987894" y="223073"/>
                  </a:lnTo>
                  <a:lnTo>
                    <a:pt x="987107" y="226220"/>
                  </a:lnTo>
                  <a:lnTo>
                    <a:pt x="985140" y="228974"/>
                  </a:lnTo>
                  <a:lnTo>
                    <a:pt x="983959" y="230154"/>
                  </a:lnTo>
                  <a:lnTo>
                    <a:pt x="982386" y="229368"/>
                  </a:lnTo>
                  <a:lnTo>
                    <a:pt x="984353" y="228974"/>
                  </a:lnTo>
                  <a:lnTo>
                    <a:pt x="985927" y="226220"/>
                  </a:lnTo>
                  <a:lnTo>
                    <a:pt x="985927" y="223466"/>
                  </a:lnTo>
                  <a:lnTo>
                    <a:pt x="982779" y="224253"/>
                  </a:lnTo>
                  <a:lnTo>
                    <a:pt x="985927" y="222679"/>
                  </a:lnTo>
                  <a:lnTo>
                    <a:pt x="982779" y="221892"/>
                  </a:lnTo>
                  <a:lnTo>
                    <a:pt x="980025" y="220319"/>
                  </a:lnTo>
                  <a:lnTo>
                    <a:pt x="977271" y="218745"/>
                  </a:lnTo>
                  <a:lnTo>
                    <a:pt x="978058" y="221499"/>
                  </a:lnTo>
                  <a:lnTo>
                    <a:pt x="975304" y="219138"/>
                  </a:lnTo>
                  <a:lnTo>
                    <a:pt x="977665" y="221892"/>
                  </a:lnTo>
                  <a:lnTo>
                    <a:pt x="974518" y="221499"/>
                  </a:lnTo>
                  <a:lnTo>
                    <a:pt x="971370" y="219925"/>
                  </a:lnTo>
                  <a:lnTo>
                    <a:pt x="967829" y="220712"/>
                  </a:lnTo>
                  <a:lnTo>
                    <a:pt x="971370" y="222679"/>
                  </a:lnTo>
                  <a:lnTo>
                    <a:pt x="974124" y="222679"/>
                  </a:lnTo>
                  <a:lnTo>
                    <a:pt x="970977" y="223073"/>
                  </a:lnTo>
                  <a:lnTo>
                    <a:pt x="970583" y="223466"/>
                  </a:lnTo>
                  <a:lnTo>
                    <a:pt x="969796" y="223466"/>
                  </a:lnTo>
                  <a:lnTo>
                    <a:pt x="967042" y="223073"/>
                  </a:lnTo>
                  <a:lnTo>
                    <a:pt x="964288" y="223466"/>
                  </a:lnTo>
                  <a:lnTo>
                    <a:pt x="961141" y="223860"/>
                  </a:lnTo>
                  <a:lnTo>
                    <a:pt x="963895" y="224253"/>
                  </a:lnTo>
                  <a:lnTo>
                    <a:pt x="964288" y="224253"/>
                  </a:lnTo>
                  <a:lnTo>
                    <a:pt x="963895" y="226614"/>
                  </a:lnTo>
                  <a:lnTo>
                    <a:pt x="966255" y="226614"/>
                  </a:lnTo>
                  <a:lnTo>
                    <a:pt x="963895" y="227794"/>
                  </a:lnTo>
                  <a:lnTo>
                    <a:pt x="967042" y="229368"/>
                  </a:lnTo>
                  <a:lnTo>
                    <a:pt x="963895" y="230548"/>
                  </a:lnTo>
                  <a:lnTo>
                    <a:pt x="961141" y="231335"/>
                  </a:lnTo>
                  <a:lnTo>
                    <a:pt x="963895" y="232515"/>
                  </a:lnTo>
                  <a:lnTo>
                    <a:pt x="967042" y="232515"/>
                  </a:lnTo>
                  <a:lnTo>
                    <a:pt x="969796" y="232122"/>
                  </a:lnTo>
                  <a:lnTo>
                    <a:pt x="972944" y="230548"/>
                  </a:lnTo>
                  <a:lnTo>
                    <a:pt x="982386" y="230548"/>
                  </a:lnTo>
                  <a:lnTo>
                    <a:pt x="983173" y="230548"/>
                  </a:lnTo>
                  <a:lnTo>
                    <a:pt x="982386" y="231335"/>
                  </a:lnTo>
                  <a:lnTo>
                    <a:pt x="981599" y="231335"/>
                  </a:lnTo>
                  <a:lnTo>
                    <a:pt x="978452" y="232908"/>
                  </a:lnTo>
                  <a:lnTo>
                    <a:pt x="975698" y="234876"/>
                  </a:lnTo>
                  <a:lnTo>
                    <a:pt x="976878" y="237630"/>
                  </a:lnTo>
                  <a:lnTo>
                    <a:pt x="974124" y="240777"/>
                  </a:lnTo>
                  <a:lnTo>
                    <a:pt x="971370" y="241957"/>
                  </a:lnTo>
                  <a:lnTo>
                    <a:pt x="974124" y="243137"/>
                  </a:lnTo>
                  <a:lnTo>
                    <a:pt x="974518" y="243137"/>
                  </a:lnTo>
                  <a:lnTo>
                    <a:pt x="974124" y="243924"/>
                  </a:lnTo>
                  <a:lnTo>
                    <a:pt x="970977" y="243137"/>
                  </a:lnTo>
                  <a:lnTo>
                    <a:pt x="967829" y="243531"/>
                  </a:lnTo>
                  <a:lnTo>
                    <a:pt x="964682" y="243531"/>
                  </a:lnTo>
                  <a:lnTo>
                    <a:pt x="961534" y="244318"/>
                  </a:lnTo>
                  <a:lnTo>
                    <a:pt x="958781" y="244711"/>
                  </a:lnTo>
                  <a:lnTo>
                    <a:pt x="956026" y="245891"/>
                  </a:lnTo>
                  <a:lnTo>
                    <a:pt x="955633" y="248252"/>
                  </a:lnTo>
                  <a:lnTo>
                    <a:pt x="953666" y="249826"/>
                  </a:lnTo>
                  <a:lnTo>
                    <a:pt x="956420" y="251399"/>
                  </a:lnTo>
                  <a:lnTo>
                    <a:pt x="959174" y="251006"/>
                  </a:lnTo>
                  <a:lnTo>
                    <a:pt x="962321" y="250613"/>
                  </a:lnTo>
                  <a:lnTo>
                    <a:pt x="965469" y="251006"/>
                  </a:lnTo>
                  <a:lnTo>
                    <a:pt x="968616" y="251006"/>
                  </a:lnTo>
                  <a:lnTo>
                    <a:pt x="971763" y="250219"/>
                  </a:lnTo>
                  <a:lnTo>
                    <a:pt x="980812" y="251399"/>
                  </a:lnTo>
                  <a:lnTo>
                    <a:pt x="980812" y="251793"/>
                  </a:lnTo>
                  <a:lnTo>
                    <a:pt x="978058" y="251399"/>
                  </a:lnTo>
                  <a:lnTo>
                    <a:pt x="975304" y="252580"/>
                  </a:lnTo>
                  <a:lnTo>
                    <a:pt x="974911" y="252973"/>
                  </a:lnTo>
                  <a:lnTo>
                    <a:pt x="974518" y="252580"/>
                  </a:lnTo>
                  <a:lnTo>
                    <a:pt x="971370" y="254153"/>
                  </a:lnTo>
                  <a:lnTo>
                    <a:pt x="971370" y="254940"/>
                  </a:lnTo>
                  <a:lnTo>
                    <a:pt x="970583" y="254153"/>
                  </a:lnTo>
                  <a:lnTo>
                    <a:pt x="967436" y="253367"/>
                  </a:lnTo>
                  <a:lnTo>
                    <a:pt x="964682" y="253760"/>
                  </a:lnTo>
                  <a:lnTo>
                    <a:pt x="961928" y="252580"/>
                  </a:lnTo>
                  <a:lnTo>
                    <a:pt x="958781" y="252186"/>
                  </a:lnTo>
                  <a:lnTo>
                    <a:pt x="956026" y="252580"/>
                  </a:lnTo>
                  <a:lnTo>
                    <a:pt x="953272" y="252973"/>
                  </a:lnTo>
                  <a:lnTo>
                    <a:pt x="950518" y="253367"/>
                  </a:lnTo>
                  <a:lnTo>
                    <a:pt x="953272" y="255334"/>
                  </a:lnTo>
                  <a:lnTo>
                    <a:pt x="955240" y="255727"/>
                  </a:lnTo>
                  <a:lnTo>
                    <a:pt x="954059" y="256121"/>
                  </a:lnTo>
                  <a:lnTo>
                    <a:pt x="951305" y="255727"/>
                  </a:lnTo>
                  <a:lnTo>
                    <a:pt x="948158" y="254940"/>
                  </a:lnTo>
                  <a:lnTo>
                    <a:pt x="951305" y="256907"/>
                  </a:lnTo>
                  <a:lnTo>
                    <a:pt x="948158" y="257694"/>
                  </a:lnTo>
                  <a:lnTo>
                    <a:pt x="951699" y="258088"/>
                  </a:lnTo>
                  <a:lnTo>
                    <a:pt x="953272" y="258481"/>
                  </a:lnTo>
                  <a:lnTo>
                    <a:pt x="953272" y="258875"/>
                  </a:lnTo>
                  <a:lnTo>
                    <a:pt x="946191" y="260055"/>
                  </a:lnTo>
                  <a:lnTo>
                    <a:pt x="946191" y="258875"/>
                  </a:lnTo>
                  <a:lnTo>
                    <a:pt x="943044" y="256907"/>
                  </a:lnTo>
                  <a:lnTo>
                    <a:pt x="940289" y="258481"/>
                  </a:lnTo>
                  <a:lnTo>
                    <a:pt x="939503" y="261235"/>
                  </a:lnTo>
                  <a:lnTo>
                    <a:pt x="937929" y="261629"/>
                  </a:lnTo>
                  <a:lnTo>
                    <a:pt x="935175" y="262415"/>
                  </a:lnTo>
                  <a:lnTo>
                    <a:pt x="936748" y="259268"/>
                  </a:lnTo>
                  <a:lnTo>
                    <a:pt x="933601" y="260448"/>
                  </a:lnTo>
                  <a:lnTo>
                    <a:pt x="930847" y="260448"/>
                  </a:lnTo>
                  <a:lnTo>
                    <a:pt x="928093" y="263202"/>
                  </a:lnTo>
                  <a:lnTo>
                    <a:pt x="931241" y="263202"/>
                  </a:lnTo>
                  <a:lnTo>
                    <a:pt x="933995" y="262415"/>
                  </a:lnTo>
                  <a:lnTo>
                    <a:pt x="934388" y="262415"/>
                  </a:lnTo>
                  <a:lnTo>
                    <a:pt x="926126" y="265563"/>
                  </a:lnTo>
                  <a:lnTo>
                    <a:pt x="923372" y="264382"/>
                  </a:lnTo>
                  <a:lnTo>
                    <a:pt x="920618" y="265956"/>
                  </a:lnTo>
                  <a:lnTo>
                    <a:pt x="920618" y="266350"/>
                  </a:lnTo>
                  <a:lnTo>
                    <a:pt x="920618" y="266743"/>
                  </a:lnTo>
                  <a:lnTo>
                    <a:pt x="920618" y="267136"/>
                  </a:lnTo>
                  <a:lnTo>
                    <a:pt x="921011" y="267136"/>
                  </a:lnTo>
                  <a:lnTo>
                    <a:pt x="922978" y="267136"/>
                  </a:lnTo>
                  <a:lnTo>
                    <a:pt x="921011" y="267923"/>
                  </a:lnTo>
                  <a:lnTo>
                    <a:pt x="921011" y="268710"/>
                  </a:lnTo>
                  <a:lnTo>
                    <a:pt x="921011" y="269104"/>
                  </a:lnTo>
                  <a:lnTo>
                    <a:pt x="918257" y="269497"/>
                  </a:lnTo>
                  <a:lnTo>
                    <a:pt x="921405" y="271071"/>
                  </a:lnTo>
                  <a:lnTo>
                    <a:pt x="921405" y="272251"/>
                  </a:lnTo>
                  <a:lnTo>
                    <a:pt x="918651" y="275005"/>
                  </a:lnTo>
                  <a:lnTo>
                    <a:pt x="921405" y="274612"/>
                  </a:lnTo>
                  <a:lnTo>
                    <a:pt x="927306" y="277366"/>
                  </a:lnTo>
                  <a:lnTo>
                    <a:pt x="927306" y="277366"/>
                  </a:lnTo>
                  <a:lnTo>
                    <a:pt x="927700" y="277366"/>
                  </a:lnTo>
                  <a:lnTo>
                    <a:pt x="935568" y="280906"/>
                  </a:lnTo>
                  <a:lnTo>
                    <a:pt x="935568" y="281300"/>
                  </a:lnTo>
                  <a:lnTo>
                    <a:pt x="938322" y="282087"/>
                  </a:lnTo>
                  <a:lnTo>
                    <a:pt x="934781" y="281300"/>
                  </a:lnTo>
                  <a:lnTo>
                    <a:pt x="933601" y="280513"/>
                  </a:lnTo>
                  <a:lnTo>
                    <a:pt x="930847" y="278939"/>
                  </a:lnTo>
                  <a:lnTo>
                    <a:pt x="927700" y="278546"/>
                  </a:lnTo>
                  <a:lnTo>
                    <a:pt x="924946" y="278546"/>
                  </a:lnTo>
                  <a:lnTo>
                    <a:pt x="921798" y="278939"/>
                  </a:lnTo>
                  <a:lnTo>
                    <a:pt x="921798" y="278546"/>
                  </a:lnTo>
                  <a:lnTo>
                    <a:pt x="925339" y="276972"/>
                  </a:lnTo>
                  <a:lnTo>
                    <a:pt x="922585" y="275792"/>
                  </a:lnTo>
                  <a:lnTo>
                    <a:pt x="922192" y="276185"/>
                  </a:lnTo>
                  <a:lnTo>
                    <a:pt x="919044" y="277366"/>
                  </a:lnTo>
                  <a:lnTo>
                    <a:pt x="916290" y="278939"/>
                  </a:lnTo>
                  <a:lnTo>
                    <a:pt x="919438" y="279726"/>
                  </a:lnTo>
                  <a:lnTo>
                    <a:pt x="922192" y="279726"/>
                  </a:lnTo>
                  <a:lnTo>
                    <a:pt x="922192" y="280120"/>
                  </a:lnTo>
                  <a:lnTo>
                    <a:pt x="919044" y="281693"/>
                  </a:lnTo>
                  <a:lnTo>
                    <a:pt x="916290" y="280120"/>
                  </a:lnTo>
                  <a:lnTo>
                    <a:pt x="913143" y="282480"/>
                  </a:lnTo>
                  <a:lnTo>
                    <a:pt x="910389" y="283660"/>
                  </a:lnTo>
                  <a:lnTo>
                    <a:pt x="913537" y="284447"/>
                  </a:lnTo>
                  <a:lnTo>
                    <a:pt x="916290" y="284054"/>
                  </a:lnTo>
                  <a:lnTo>
                    <a:pt x="917864" y="285628"/>
                  </a:lnTo>
                  <a:lnTo>
                    <a:pt x="922585" y="284054"/>
                  </a:lnTo>
                  <a:lnTo>
                    <a:pt x="928486" y="284841"/>
                  </a:lnTo>
                  <a:lnTo>
                    <a:pt x="928486" y="284841"/>
                  </a:lnTo>
                  <a:lnTo>
                    <a:pt x="931241" y="285234"/>
                  </a:lnTo>
                  <a:lnTo>
                    <a:pt x="933601" y="285628"/>
                  </a:lnTo>
                  <a:lnTo>
                    <a:pt x="933995" y="285628"/>
                  </a:lnTo>
                  <a:lnTo>
                    <a:pt x="933601" y="286021"/>
                  </a:lnTo>
                  <a:lnTo>
                    <a:pt x="927700" y="286414"/>
                  </a:lnTo>
                  <a:lnTo>
                    <a:pt x="927700" y="286414"/>
                  </a:lnTo>
                  <a:lnTo>
                    <a:pt x="924552" y="286021"/>
                  </a:lnTo>
                  <a:lnTo>
                    <a:pt x="922192" y="287201"/>
                  </a:lnTo>
                  <a:lnTo>
                    <a:pt x="922192" y="286414"/>
                  </a:lnTo>
                  <a:lnTo>
                    <a:pt x="922192" y="286021"/>
                  </a:lnTo>
                  <a:lnTo>
                    <a:pt x="919831" y="286414"/>
                  </a:lnTo>
                  <a:lnTo>
                    <a:pt x="918257" y="286414"/>
                  </a:lnTo>
                  <a:lnTo>
                    <a:pt x="915504" y="286808"/>
                  </a:lnTo>
                  <a:lnTo>
                    <a:pt x="912356" y="287595"/>
                  </a:lnTo>
                  <a:lnTo>
                    <a:pt x="909602" y="287595"/>
                  </a:lnTo>
                  <a:lnTo>
                    <a:pt x="908028" y="290349"/>
                  </a:lnTo>
                  <a:lnTo>
                    <a:pt x="908422" y="290742"/>
                  </a:lnTo>
                  <a:lnTo>
                    <a:pt x="900947" y="292709"/>
                  </a:lnTo>
                  <a:lnTo>
                    <a:pt x="899767" y="292316"/>
                  </a:lnTo>
                  <a:lnTo>
                    <a:pt x="897406" y="293496"/>
                  </a:lnTo>
                  <a:lnTo>
                    <a:pt x="896619" y="293496"/>
                  </a:lnTo>
                  <a:lnTo>
                    <a:pt x="894259" y="293889"/>
                  </a:lnTo>
                  <a:lnTo>
                    <a:pt x="891504" y="295070"/>
                  </a:lnTo>
                  <a:lnTo>
                    <a:pt x="891504" y="297037"/>
                  </a:lnTo>
                  <a:lnTo>
                    <a:pt x="889537" y="297037"/>
                  </a:lnTo>
                  <a:lnTo>
                    <a:pt x="886783" y="297824"/>
                  </a:lnTo>
                  <a:lnTo>
                    <a:pt x="889931" y="297430"/>
                  </a:lnTo>
                  <a:lnTo>
                    <a:pt x="891504" y="297430"/>
                  </a:lnTo>
                  <a:lnTo>
                    <a:pt x="891504" y="299791"/>
                  </a:lnTo>
                  <a:lnTo>
                    <a:pt x="890324" y="300184"/>
                  </a:lnTo>
                  <a:lnTo>
                    <a:pt x="887964" y="300184"/>
                  </a:lnTo>
                  <a:lnTo>
                    <a:pt x="885210" y="300578"/>
                  </a:lnTo>
                  <a:lnTo>
                    <a:pt x="887964" y="300971"/>
                  </a:lnTo>
                  <a:lnTo>
                    <a:pt x="886783" y="301758"/>
                  </a:lnTo>
                  <a:lnTo>
                    <a:pt x="886390" y="301758"/>
                  </a:lnTo>
                  <a:lnTo>
                    <a:pt x="883242" y="302151"/>
                  </a:lnTo>
                  <a:lnTo>
                    <a:pt x="884423" y="303332"/>
                  </a:lnTo>
                  <a:lnTo>
                    <a:pt x="880489" y="305692"/>
                  </a:lnTo>
                  <a:lnTo>
                    <a:pt x="880095" y="306479"/>
                  </a:lnTo>
                  <a:lnTo>
                    <a:pt x="882849" y="308840"/>
                  </a:lnTo>
                  <a:lnTo>
                    <a:pt x="880489" y="311594"/>
                  </a:lnTo>
                  <a:lnTo>
                    <a:pt x="883636" y="311987"/>
                  </a:lnTo>
                  <a:lnTo>
                    <a:pt x="886783" y="311594"/>
                  </a:lnTo>
                  <a:lnTo>
                    <a:pt x="889931" y="311987"/>
                  </a:lnTo>
                  <a:lnTo>
                    <a:pt x="887177" y="312381"/>
                  </a:lnTo>
                  <a:lnTo>
                    <a:pt x="884030" y="312774"/>
                  </a:lnTo>
                  <a:lnTo>
                    <a:pt x="881275" y="315528"/>
                  </a:lnTo>
                  <a:lnTo>
                    <a:pt x="884423" y="314741"/>
                  </a:lnTo>
                  <a:lnTo>
                    <a:pt x="887570" y="313561"/>
                  </a:lnTo>
                  <a:lnTo>
                    <a:pt x="890718" y="313167"/>
                  </a:lnTo>
                  <a:lnTo>
                    <a:pt x="893471" y="313561"/>
                  </a:lnTo>
                  <a:lnTo>
                    <a:pt x="896226" y="313167"/>
                  </a:lnTo>
                  <a:lnTo>
                    <a:pt x="898979" y="312774"/>
                  </a:lnTo>
                  <a:lnTo>
                    <a:pt x="902127" y="311594"/>
                  </a:lnTo>
                  <a:lnTo>
                    <a:pt x="905274" y="310807"/>
                  </a:lnTo>
                  <a:lnTo>
                    <a:pt x="903307" y="312381"/>
                  </a:lnTo>
                  <a:lnTo>
                    <a:pt x="900947" y="313561"/>
                  </a:lnTo>
                  <a:lnTo>
                    <a:pt x="898193" y="314348"/>
                  </a:lnTo>
                  <a:lnTo>
                    <a:pt x="895045" y="315921"/>
                  </a:lnTo>
                  <a:lnTo>
                    <a:pt x="897012" y="316315"/>
                  </a:lnTo>
                  <a:lnTo>
                    <a:pt x="894652" y="315921"/>
                  </a:lnTo>
                  <a:lnTo>
                    <a:pt x="893865" y="316315"/>
                  </a:lnTo>
                  <a:lnTo>
                    <a:pt x="891111" y="315921"/>
                  </a:lnTo>
                  <a:lnTo>
                    <a:pt x="890324" y="313954"/>
                  </a:lnTo>
                  <a:lnTo>
                    <a:pt x="887177" y="313954"/>
                  </a:lnTo>
                  <a:lnTo>
                    <a:pt x="884423" y="315528"/>
                  </a:lnTo>
                  <a:lnTo>
                    <a:pt x="884030" y="315528"/>
                  </a:lnTo>
                  <a:lnTo>
                    <a:pt x="880882" y="316315"/>
                  </a:lnTo>
                  <a:lnTo>
                    <a:pt x="878128" y="316708"/>
                  </a:lnTo>
                  <a:lnTo>
                    <a:pt x="876161" y="318675"/>
                  </a:lnTo>
                  <a:lnTo>
                    <a:pt x="872620" y="319856"/>
                  </a:lnTo>
                  <a:lnTo>
                    <a:pt x="874981" y="321036"/>
                  </a:lnTo>
                  <a:lnTo>
                    <a:pt x="873800" y="320642"/>
                  </a:lnTo>
                  <a:lnTo>
                    <a:pt x="871833" y="320249"/>
                  </a:lnTo>
                  <a:lnTo>
                    <a:pt x="868686" y="321429"/>
                  </a:lnTo>
                  <a:lnTo>
                    <a:pt x="866325" y="324577"/>
                  </a:lnTo>
                  <a:lnTo>
                    <a:pt x="869079" y="324183"/>
                  </a:lnTo>
                  <a:lnTo>
                    <a:pt x="869866" y="323790"/>
                  </a:lnTo>
                  <a:lnTo>
                    <a:pt x="873407" y="322216"/>
                  </a:lnTo>
                  <a:lnTo>
                    <a:pt x="875767" y="321823"/>
                  </a:lnTo>
                  <a:lnTo>
                    <a:pt x="877341" y="322610"/>
                  </a:lnTo>
                  <a:lnTo>
                    <a:pt x="874981" y="322216"/>
                  </a:lnTo>
                  <a:lnTo>
                    <a:pt x="872227" y="323790"/>
                  </a:lnTo>
                  <a:lnTo>
                    <a:pt x="871833" y="326937"/>
                  </a:lnTo>
                  <a:lnTo>
                    <a:pt x="871046" y="329691"/>
                  </a:lnTo>
                  <a:lnTo>
                    <a:pt x="873800" y="332052"/>
                  </a:lnTo>
                  <a:lnTo>
                    <a:pt x="871046" y="330478"/>
                  </a:lnTo>
                  <a:lnTo>
                    <a:pt x="868292" y="329298"/>
                  </a:lnTo>
                  <a:lnTo>
                    <a:pt x="865538" y="332052"/>
                  </a:lnTo>
                  <a:lnTo>
                    <a:pt x="867505" y="335199"/>
                  </a:lnTo>
                  <a:lnTo>
                    <a:pt x="870260" y="334412"/>
                  </a:lnTo>
                  <a:lnTo>
                    <a:pt x="871833" y="337166"/>
                  </a:lnTo>
                  <a:lnTo>
                    <a:pt x="872227" y="337166"/>
                  </a:lnTo>
                  <a:lnTo>
                    <a:pt x="871833" y="337953"/>
                  </a:lnTo>
                  <a:lnTo>
                    <a:pt x="870653" y="338347"/>
                  </a:lnTo>
                  <a:lnTo>
                    <a:pt x="867505" y="337953"/>
                  </a:lnTo>
                  <a:lnTo>
                    <a:pt x="865932" y="334806"/>
                  </a:lnTo>
                  <a:lnTo>
                    <a:pt x="863178" y="334806"/>
                  </a:lnTo>
                  <a:lnTo>
                    <a:pt x="862784" y="337560"/>
                  </a:lnTo>
                  <a:lnTo>
                    <a:pt x="860424" y="340707"/>
                  </a:lnTo>
                  <a:lnTo>
                    <a:pt x="861604" y="343461"/>
                  </a:lnTo>
                  <a:lnTo>
                    <a:pt x="864752" y="341101"/>
                  </a:lnTo>
                  <a:lnTo>
                    <a:pt x="867505" y="341101"/>
                  </a:lnTo>
                  <a:lnTo>
                    <a:pt x="865932" y="343855"/>
                  </a:lnTo>
                  <a:lnTo>
                    <a:pt x="866719" y="344248"/>
                  </a:lnTo>
                  <a:lnTo>
                    <a:pt x="865932" y="345428"/>
                  </a:lnTo>
                  <a:lnTo>
                    <a:pt x="864358" y="346609"/>
                  </a:lnTo>
                  <a:lnTo>
                    <a:pt x="863571" y="345035"/>
                  </a:lnTo>
                  <a:lnTo>
                    <a:pt x="860817" y="345428"/>
                  </a:lnTo>
                  <a:lnTo>
                    <a:pt x="859637" y="348182"/>
                  </a:lnTo>
                  <a:lnTo>
                    <a:pt x="856490" y="346609"/>
                  </a:lnTo>
                  <a:lnTo>
                    <a:pt x="853735" y="348576"/>
                  </a:lnTo>
                  <a:lnTo>
                    <a:pt x="856490" y="348576"/>
                  </a:lnTo>
                  <a:lnTo>
                    <a:pt x="857276" y="348969"/>
                  </a:lnTo>
                  <a:lnTo>
                    <a:pt x="849408" y="351330"/>
                  </a:lnTo>
                  <a:lnTo>
                    <a:pt x="852162" y="351330"/>
                  </a:lnTo>
                  <a:lnTo>
                    <a:pt x="849801" y="352117"/>
                  </a:lnTo>
                  <a:lnTo>
                    <a:pt x="846654" y="352510"/>
                  </a:lnTo>
                  <a:lnTo>
                    <a:pt x="849408" y="352903"/>
                  </a:lnTo>
                  <a:lnTo>
                    <a:pt x="846260" y="352903"/>
                  </a:lnTo>
                  <a:lnTo>
                    <a:pt x="843506" y="353690"/>
                  </a:lnTo>
                  <a:lnTo>
                    <a:pt x="846654" y="354084"/>
                  </a:lnTo>
                  <a:lnTo>
                    <a:pt x="850194" y="353297"/>
                  </a:lnTo>
                  <a:lnTo>
                    <a:pt x="847441" y="354477"/>
                  </a:lnTo>
                  <a:lnTo>
                    <a:pt x="844293" y="354477"/>
                  </a:lnTo>
                  <a:lnTo>
                    <a:pt x="841146" y="355657"/>
                  </a:lnTo>
                  <a:lnTo>
                    <a:pt x="844293" y="356444"/>
                  </a:lnTo>
                  <a:lnTo>
                    <a:pt x="841539" y="358018"/>
                  </a:lnTo>
                  <a:lnTo>
                    <a:pt x="844293" y="357625"/>
                  </a:lnTo>
                  <a:lnTo>
                    <a:pt x="847441" y="356051"/>
                  </a:lnTo>
                  <a:lnTo>
                    <a:pt x="850194" y="354477"/>
                  </a:lnTo>
                  <a:lnTo>
                    <a:pt x="852949" y="353297"/>
                  </a:lnTo>
                  <a:lnTo>
                    <a:pt x="856096" y="352510"/>
                  </a:lnTo>
                  <a:lnTo>
                    <a:pt x="852949" y="353690"/>
                  </a:lnTo>
                  <a:lnTo>
                    <a:pt x="849801" y="355657"/>
                  </a:lnTo>
                  <a:lnTo>
                    <a:pt x="850588" y="356051"/>
                  </a:lnTo>
                  <a:lnTo>
                    <a:pt x="850194" y="357625"/>
                  </a:lnTo>
                  <a:lnTo>
                    <a:pt x="848621" y="358018"/>
                  </a:lnTo>
                  <a:lnTo>
                    <a:pt x="845867" y="358805"/>
                  </a:lnTo>
                  <a:lnTo>
                    <a:pt x="845474" y="361559"/>
                  </a:lnTo>
                  <a:lnTo>
                    <a:pt x="848621" y="361952"/>
                  </a:lnTo>
                  <a:lnTo>
                    <a:pt x="849408" y="361952"/>
                  </a:lnTo>
                  <a:lnTo>
                    <a:pt x="849014" y="363133"/>
                  </a:lnTo>
                  <a:lnTo>
                    <a:pt x="848621" y="363133"/>
                  </a:lnTo>
                  <a:lnTo>
                    <a:pt x="848227" y="365886"/>
                  </a:lnTo>
                  <a:lnTo>
                    <a:pt x="850982" y="365493"/>
                  </a:lnTo>
                  <a:lnTo>
                    <a:pt x="848227" y="365886"/>
                  </a:lnTo>
                  <a:lnTo>
                    <a:pt x="839965" y="365100"/>
                  </a:lnTo>
                  <a:lnTo>
                    <a:pt x="837605" y="362739"/>
                  </a:lnTo>
                  <a:lnTo>
                    <a:pt x="834457" y="361165"/>
                  </a:lnTo>
                  <a:lnTo>
                    <a:pt x="834457" y="363919"/>
                  </a:lnTo>
                  <a:lnTo>
                    <a:pt x="831310" y="363919"/>
                  </a:lnTo>
                  <a:lnTo>
                    <a:pt x="830130" y="366673"/>
                  </a:lnTo>
                  <a:lnTo>
                    <a:pt x="826983" y="367460"/>
                  </a:lnTo>
                  <a:lnTo>
                    <a:pt x="823835" y="368247"/>
                  </a:lnTo>
                  <a:lnTo>
                    <a:pt x="821081" y="370608"/>
                  </a:lnTo>
                  <a:lnTo>
                    <a:pt x="821081" y="372181"/>
                  </a:lnTo>
                  <a:lnTo>
                    <a:pt x="819508" y="373362"/>
                  </a:lnTo>
                  <a:lnTo>
                    <a:pt x="817934" y="373362"/>
                  </a:lnTo>
                  <a:lnTo>
                    <a:pt x="817934" y="374935"/>
                  </a:lnTo>
                  <a:lnTo>
                    <a:pt x="816360" y="376116"/>
                  </a:lnTo>
                  <a:lnTo>
                    <a:pt x="814786" y="376116"/>
                  </a:lnTo>
                  <a:lnTo>
                    <a:pt x="812426" y="378870"/>
                  </a:lnTo>
                  <a:lnTo>
                    <a:pt x="811639" y="380050"/>
                  </a:lnTo>
                  <a:lnTo>
                    <a:pt x="811639" y="380443"/>
                  </a:lnTo>
                  <a:lnTo>
                    <a:pt x="811639" y="381624"/>
                  </a:lnTo>
                  <a:lnTo>
                    <a:pt x="811639" y="382017"/>
                  </a:lnTo>
                  <a:lnTo>
                    <a:pt x="811639" y="382410"/>
                  </a:lnTo>
                  <a:lnTo>
                    <a:pt x="811246" y="382804"/>
                  </a:lnTo>
                  <a:lnTo>
                    <a:pt x="808491" y="383197"/>
                  </a:lnTo>
                  <a:lnTo>
                    <a:pt x="805738" y="384771"/>
                  </a:lnTo>
                  <a:lnTo>
                    <a:pt x="802590" y="386345"/>
                  </a:lnTo>
                  <a:lnTo>
                    <a:pt x="805738" y="386738"/>
                  </a:lnTo>
                  <a:lnTo>
                    <a:pt x="802983" y="389492"/>
                  </a:lnTo>
                  <a:lnTo>
                    <a:pt x="806131" y="388312"/>
                  </a:lnTo>
                  <a:lnTo>
                    <a:pt x="808885" y="387918"/>
                  </a:lnTo>
                  <a:lnTo>
                    <a:pt x="812032" y="386738"/>
                  </a:lnTo>
                  <a:lnTo>
                    <a:pt x="812032" y="387918"/>
                  </a:lnTo>
                  <a:lnTo>
                    <a:pt x="811639" y="388312"/>
                  </a:lnTo>
                  <a:lnTo>
                    <a:pt x="808885" y="388705"/>
                  </a:lnTo>
                  <a:lnTo>
                    <a:pt x="810852" y="391853"/>
                  </a:lnTo>
                  <a:lnTo>
                    <a:pt x="812426" y="394607"/>
                  </a:lnTo>
                  <a:lnTo>
                    <a:pt x="815180" y="394607"/>
                  </a:lnTo>
                  <a:lnTo>
                    <a:pt x="817147" y="393426"/>
                  </a:lnTo>
                  <a:lnTo>
                    <a:pt x="818327" y="392639"/>
                  </a:lnTo>
                  <a:lnTo>
                    <a:pt x="821081" y="392246"/>
                  </a:lnTo>
                  <a:lnTo>
                    <a:pt x="824228" y="391066"/>
                  </a:lnTo>
                  <a:lnTo>
                    <a:pt x="827376" y="389099"/>
                  </a:lnTo>
                  <a:lnTo>
                    <a:pt x="830523" y="387525"/>
                  </a:lnTo>
                  <a:lnTo>
                    <a:pt x="833671" y="387131"/>
                  </a:lnTo>
                  <a:lnTo>
                    <a:pt x="836425" y="384771"/>
                  </a:lnTo>
                  <a:lnTo>
                    <a:pt x="836031" y="383984"/>
                  </a:lnTo>
                  <a:lnTo>
                    <a:pt x="840753" y="381624"/>
                  </a:lnTo>
                  <a:lnTo>
                    <a:pt x="839965" y="383197"/>
                  </a:lnTo>
                  <a:lnTo>
                    <a:pt x="843113" y="382804"/>
                  </a:lnTo>
                  <a:lnTo>
                    <a:pt x="843113" y="383197"/>
                  </a:lnTo>
                  <a:lnTo>
                    <a:pt x="839965" y="386738"/>
                  </a:lnTo>
                  <a:lnTo>
                    <a:pt x="837998" y="387525"/>
                  </a:lnTo>
                  <a:lnTo>
                    <a:pt x="835245" y="387918"/>
                  </a:lnTo>
                  <a:lnTo>
                    <a:pt x="832490" y="389492"/>
                  </a:lnTo>
                  <a:lnTo>
                    <a:pt x="828163" y="392639"/>
                  </a:lnTo>
                  <a:lnTo>
                    <a:pt x="831310" y="391459"/>
                  </a:lnTo>
                  <a:lnTo>
                    <a:pt x="834064" y="391853"/>
                  </a:lnTo>
                  <a:lnTo>
                    <a:pt x="831310" y="392246"/>
                  </a:lnTo>
                  <a:lnTo>
                    <a:pt x="832490" y="395000"/>
                  </a:lnTo>
                  <a:lnTo>
                    <a:pt x="829343" y="395000"/>
                  </a:lnTo>
                  <a:lnTo>
                    <a:pt x="828556" y="395000"/>
                  </a:lnTo>
                  <a:lnTo>
                    <a:pt x="825802" y="395393"/>
                  </a:lnTo>
                  <a:lnTo>
                    <a:pt x="822261" y="395787"/>
                  </a:lnTo>
                  <a:lnTo>
                    <a:pt x="821475" y="395393"/>
                  </a:lnTo>
                  <a:lnTo>
                    <a:pt x="818720" y="395000"/>
                  </a:lnTo>
                  <a:lnTo>
                    <a:pt x="815180" y="397361"/>
                  </a:lnTo>
                  <a:lnTo>
                    <a:pt x="815967" y="397754"/>
                  </a:lnTo>
                  <a:lnTo>
                    <a:pt x="812819" y="398541"/>
                  </a:lnTo>
                  <a:lnTo>
                    <a:pt x="809279" y="399328"/>
                  </a:lnTo>
                  <a:lnTo>
                    <a:pt x="812032" y="396967"/>
                  </a:lnTo>
                  <a:lnTo>
                    <a:pt x="812426" y="396574"/>
                  </a:lnTo>
                  <a:lnTo>
                    <a:pt x="812426" y="395393"/>
                  </a:lnTo>
                  <a:lnTo>
                    <a:pt x="812032" y="395393"/>
                  </a:lnTo>
                  <a:lnTo>
                    <a:pt x="806524" y="389886"/>
                  </a:lnTo>
                  <a:lnTo>
                    <a:pt x="803770" y="392639"/>
                  </a:lnTo>
                  <a:lnTo>
                    <a:pt x="801016" y="392246"/>
                  </a:lnTo>
                  <a:lnTo>
                    <a:pt x="797869" y="393033"/>
                  </a:lnTo>
                  <a:lnTo>
                    <a:pt x="794721" y="394607"/>
                  </a:lnTo>
                  <a:lnTo>
                    <a:pt x="797476" y="394213"/>
                  </a:lnTo>
                  <a:lnTo>
                    <a:pt x="800623" y="394607"/>
                  </a:lnTo>
                  <a:lnTo>
                    <a:pt x="797869" y="395000"/>
                  </a:lnTo>
                  <a:lnTo>
                    <a:pt x="797082" y="395393"/>
                  </a:lnTo>
                  <a:lnTo>
                    <a:pt x="792361" y="395393"/>
                  </a:lnTo>
                  <a:lnTo>
                    <a:pt x="790787" y="394607"/>
                  </a:lnTo>
                  <a:lnTo>
                    <a:pt x="789213" y="395787"/>
                  </a:lnTo>
                  <a:lnTo>
                    <a:pt x="784886" y="395787"/>
                  </a:lnTo>
                  <a:lnTo>
                    <a:pt x="783312" y="398147"/>
                  </a:lnTo>
                  <a:lnTo>
                    <a:pt x="780558" y="400901"/>
                  </a:lnTo>
                  <a:lnTo>
                    <a:pt x="783312" y="402082"/>
                  </a:lnTo>
                  <a:lnTo>
                    <a:pt x="786460" y="402082"/>
                  </a:lnTo>
                  <a:lnTo>
                    <a:pt x="784886" y="402475"/>
                  </a:lnTo>
                  <a:lnTo>
                    <a:pt x="781739" y="402869"/>
                  </a:lnTo>
                  <a:lnTo>
                    <a:pt x="778591" y="404049"/>
                  </a:lnTo>
                  <a:lnTo>
                    <a:pt x="775443" y="403655"/>
                  </a:lnTo>
                  <a:lnTo>
                    <a:pt x="772296" y="403655"/>
                  </a:lnTo>
                  <a:lnTo>
                    <a:pt x="772296" y="406803"/>
                  </a:lnTo>
                  <a:lnTo>
                    <a:pt x="775050" y="407196"/>
                  </a:lnTo>
                  <a:lnTo>
                    <a:pt x="778198" y="407196"/>
                  </a:lnTo>
                  <a:lnTo>
                    <a:pt x="775050" y="407590"/>
                  </a:lnTo>
                  <a:lnTo>
                    <a:pt x="778198" y="407983"/>
                  </a:lnTo>
                  <a:lnTo>
                    <a:pt x="779772" y="407983"/>
                  </a:lnTo>
                  <a:lnTo>
                    <a:pt x="778984" y="408770"/>
                  </a:lnTo>
                  <a:lnTo>
                    <a:pt x="778198" y="409163"/>
                  </a:lnTo>
                  <a:lnTo>
                    <a:pt x="777804" y="410737"/>
                  </a:lnTo>
                  <a:lnTo>
                    <a:pt x="774657" y="409163"/>
                  </a:lnTo>
                  <a:lnTo>
                    <a:pt x="774657" y="408770"/>
                  </a:lnTo>
                  <a:lnTo>
                    <a:pt x="771509" y="407590"/>
                  </a:lnTo>
                  <a:lnTo>
                    <a:pt x="768755" y="404442"/>
                  </a:lnTo>
                  <a:lnTo>
                    <a:pt x="766395" y="405229"/>
                  </a:lnTo>
                  <a:lnTo>
                    <a:pt x="767969" y="408377"/>
                  </a:lnTo>
                  <a:lnTo>
                    <a:pt x="770723" y="409950"/>
                  </a:lnTo>
                  <a:lnTo>
                    <a:pt x="771903" y="413098"/>
                  </a:lnTo>
                  <a:lnTo>
                    <a:pt x="774657" y="413884"/>
                  </a:lnTo>
                  <a:lnTo>
                    <a:pt x="776624" y="414671"/>
                  </a:lnTo>
                  <a:lnTo>
                    <a:pt x="779378" y="417032"/>
                  </a:lnTo>
                  <a:lnTo>
                    <a:pt x="776624" y="415458"/>
                  </a:lnTo>
                  <a:lnTo>
                    <a:pt x="773476" y="413884"/>
                  </a:lnTo>
                  <a:lnTo>
                    <a:pt x="769936" y="412704"/>
                  </a:lnTo>
                  <a:lnTo>
                    <a:pt x="769149" y="409557"/>
                  </a:lnTo>
                  <a:lnTo>
                    <a:pt x="766002" y="407983"/>
                  </a:lnTo>
                  <a:lnTo>
                    <a:pt x="763247" y="408377"/>
                  </a:lnTo>
                  <a:lnTo>
                    <a:pt x="760494" y="407983"/>
                  </a:lnTo>
                  <a:lnTo>
                    <a:pt x="757346" y="408770"/>
                  </a:lnTo>
                  <a:lnTo>
                    <a:pt x="754199" y="410344"/>
                  </a:lnTo>
                  <a:lnTo>
                    <a:pt x="751445" y="408377"/>
                  </a:lnTo>
                  <a:lnTo>
                    <a:pt x="748297" y="407196"/>
                  </a:lnTo>
                  <a:lnTo>
                    <a:pt x="745543" y="407590"/>
                  </a:lnTo>
                  <a:lnTo>
                    <a:pt x="742396" y="409163"/>
                  </a:lnTo>
                  <a:lnTo>
                    <a:pt x="745936" y="411524"/>
                  </a:lnTo>
                  <a:lnTo>
                    <a:pt x="748691" y="412311"/>
                  </a:lnTo>
                  <a:lnTo>
                    <a:pt x="745936" y="412311"/>
                  </a:lnTo>
                  <a:lnTo>
                    <a:pt x="743183" y="413098"/>
                  </a:lnTo>
                  <a:lnTo>
                    <a:pt x="745936" y="415065"/>
                  </a:lnTo>
                  <a:lnTo>
                    <a:pt x="749477" y="414671"/>
                  </a:lnTo>
                  <a:lnTo>
                    <a:pt x="752232" y="414278"/>
                  </a:lnTo>
                  <a:lnTo>
                    <a:pt x="755379" y="413491"/>
                  </a:lnTo>
                  <a:lnTo>
                    <a:pt x="756559" y="413491"/>
                  </a:lnTo>
                  <a:lnTo>
                    <a:pt x="756559" y="413884"/>
                  </a:lnTo>
                  <a:lnTo>
                    <a:pt x="755379" y="414278"/>
                  </a:lnTo>
                  <a:lnTo>
                    <a:pt x="752232" y="415065"/>
                  </a:lnTo>
                  <a:lnTo>
                    <a:pt x="755379" y="416638"/>
                  </a:lnTo>
                  <a:lnTo>
                    <a:pt x="755772" y="416638"/>
                  </a:lnTo>
                  <a:lnTo>
                    <a:pt x="755379" y="417425"/>
                  </a:lnTo>
                  <a:lnTo>
                    <a:pt x="754199" y="420179"/>
                  </a:lnTo>
                  <a:lnTo>
                    <a:pt x="757739" y="420179"/>
                  </a:lnTo>
                  <a:lnTo>
                    <a:pt x="759313" y="419786"/>
                  </a:lnTo>
                  <a:lnTo>
                    <a:pt x="759706" y="420179"/>
                  </a:lnTo>
                  <a:lnTo>
                    <a:pt x="752625" y="420966"/>
                  </a:lnTo>
                  <a:lnTo>
                    <a:pt x="750265" y="418999"/>
                  </a:lnTo>
                  <a:lnTo>
                    <a:pt x="747510" y="418606"/>
                  </a:lnTo>
                  <a:lnTo>
                    <a:pt x="744756" y="418606"/>
                  </a:lnTo>
                  <a:lnTo>
                    <a:pt x="741609" y="417425"/>
                  </a:lnTo>
                  <a:lnTo>
                    <a:pt x="738855" y="417425"/>
                  </a:lnTo>
                  <a:lnTo>
                    <a:pt x="735707" y="417819"/>
                  </a:lnTo>
                  <a:lnTo>
                    <a:pt x="732954" y="418212"/>
                  </a:lnTo>
                  <a:lnTo>
                    <a:pt x="729806" y="418606"/>
                  </a:lnTo>
                  <a:lnTo>
                    <a:pt x="726659" y="418999"/>
                  </a:lnTo>
                  <a:lnTo>
                    <a:pt x="730199" y="420966"/>
                  </a:lnTo>
                  <a:lnTo>
                    <a:pt x="733347" y="420573"/>
                  </a:lnTo>
                  <a:lnTo>
                    <a:pt x="736101" y="421753"/>
                  </a:lnTo>
                  <a:lnTo>
                    <a:pt x="732954" y="422146"/>
                  </a:lnTo>
                  <a:lnTo>
                    <a:pt x="729806" y="422146"/>
                  </a:lnTo>
                  <a:lnTo>
                    <a:pt x="726659" y="422540"/>
                  </a:lnTo>
                  <a:lnTo>
                    <a:pt x="725872" y="422933"/>
                  </a:lnTo>
                  <a:lnTo>
                    <a:pt x="727446" y="423327"/>
                  </a:lnTo>
                  <a:lnTo>
                    <a:pt x="732560" y="424507"/>
                  </a:lnTo>
                  <a:lnTo>
                    <a:pt x="731380" y="424900"/>
                  </a:lnTo>
                  <a:lnTo>
                    <a:pt x="730593" y="427654"/>
                  </a:lnTo>
                  <a:lnTo>
                    <a:pt x="732167" y="430015"/>
                  </a:lnTo>
                  <a:lnTo>
                    <a:pt x="731380" y="430408"/>
                  </a:lnTo>
                  <a:lnTo>
                    <a:pt x="730199" y="429228"/>
                  </a:lnTo>
                  <a:lnTo>
                    <a:pt x="728626" y="426474"/>
                  </a:lnTo>
                  <a:lnTo>
                    <a:pt x="725872" y="426474"/>
                  </a:lnTo>
                  <a:lnTo>
                    <a:pt x="720364" y="430015"/>
                  </a:lnTo>
                  <a:lnTo>
                    <a:pt x="721938" y="432769"/>
                  </a:lnTo>
                  <a:lnTo>
                    <a:pt x="722725" y="433162"/>
                  </a:lnTo>
                  <a:lnTo>
                    <a:pt x="718790" y="434343"/>
                  </a:lnTo>
                  <a:lnTo>
                    <a:pt x="718397" y="431589"/>
                  </a:lnTo>
                  <a:lnTo>
                    <a:pt x="715250" y="431982"/>
                  </a:lnTo>
                  <a:lnTo>
                    <a:pt x="714069" y="434736"/>
                  </a:lnTo>
                  <a:lnTo>
                    <a:pt x="711315" y="432376"/>
                  </a:lnTo>
                  <a:lnTo>
                    <a:pt x="708561" y="431589"/>
                  </a:lnTo>
                  <a:lnTo>
                    <a:pt x="707774" y="434343"/>
                  </a:lnTo>
                  <a:lnTo>
                    <a:pt x="710922" y="435130"/>
                  </a:lnTo>
                  <a:lnTo>
                    <a:pt x="708168" y="437097"/>
                  </a:lnTo>
                  <a:lnTo>
                    <a:pt x="708561" y="435916"/>
                  </a:lnTo>
                  <a:lnTo>
                    <a:pt x="705414" y="433949"/>
                  </a:lnTo>
                  <a:lnTo>
                    <a:pt x="703053" y="431195"/>
                  </a:lnTo>
                  <a:lnTo>
                    <a:pt x="700299" y="431195"/>
                  </a:lnTo>
                  <a:lnTo>
                    <a:pt x="700299" y="434343"/>
                  </a:lnTo>
                  <a:lnTo>
                    <a:pt x="703447" y="434736"/>
                  </a:lnTo>
                  <a:lnTo>
                    <a:pt x="706594" y="437097"/>
                  </a:lnTo>
                  <a:lnTo>
                    <a:pt x="705021" y="438277"/>
                  </a:lnTo>
                  <a:lnTo>
                    <a:pt x="700692" y="439457"/>
                  </a:lnTo>
                  <a:lnTo>
                    <a:pt x="702266" y="440637"/>
                  </a:lnTo>
                  <a:lnTo>
                    <a:pt x="705414" y="440637"/>
                  </a:lnTo>
                  <a:lnTo>
                    <a:pt x="705807" y="440637"/>
                  </a:lnTo>
                  <a:lnTo>
                    <a:pt x="706988" y="441031"/>
                  </a:lnTo>
                  <a:lnTo>
                    <a:pt x="705021" y="441424"/>
                  </a:lnTo>
                  <a:lnTo>
                    <a:pt x="702660" y="442998"/>
                  </a:lnTo>
                  <a:lnTo>
                    <a:pt x="699512" y="441424"/>
                  </a:lnTo>
                  <a:lnTo>
                    <a:pt x="695972" y="440637"/>
                  </a:lnTo>
                  <a:lnTo>
                    <a:pt x="693218" y="442211"/>
                  </a:lnTo>
                  <a:lnTo>
                    <a:pt x="696365" y="442998"/>
                  </a:lnTo>
                  <a:lnTo>
                    <a:pt x="699512" y="443391"/>
                  </a:lnTo>
                  <a:lnTo>
                    <a:pt x="702660" y="442998"/>
                  </a:lnTo>
                  <a:lnTo>
                    <a:pt x="701873" y="443391"/>
                  </a:lnTo>
                  <a:lnTo>
                    <a:pt x="699119" y="444965"/>
                  </a:lnTo>
                  <a:lnTo>
                    <a:pt x="702266" y="444965"/>
                  </a:lnTo>
                  <a:lnTo>
                    <a:pt x="699119" y="446539"/>
                  </a:lnTo>
                  <a:lnTo>
                    <a:pt x="696365" y="446539"/>
                  </a:lnTo>
                  <a:lnTo>
                    <a:pt x="696758" y="449293"/>
                  </a:lnTo>
                  <a:lnTo>
                    <a:pt x="702660" y="449293"/>
                  </a:lnTo>
                  <a:lnTo>
                    <a:pt x="705807" y="448899"/>
                  </a:lnTo>
                  <a:lnTo>
                    <a:pt x="703840" y="449293"/>
                  </a:lnTo>
                  <a:lnTo>
                    <a:pt x="703053" y="449686"/>
                  </a:lnTo>
                  <a:lnTo>
                    <a:pt x="699906" y="450080"/>
                  </a:lnTo>
                  <a:lnTo>
                    <a:pt x="696365" y="450473"/>
                  </a:lnTo>
                  <a:lnTo>
                    <a:pt x="699906" y="450080"/>
                  </a:lnTo>
                  <a:lnTo>
                    <a:pt x="702660" y="449686"/>
                  </a:lnTo>
                  <a:lnTo>
                    <a:pt x="703053" y="449686"/>
                  </a:lnTo>
                  <a:lnTo>
                    <a:pt x="695972" y="455981"/>
                  </a:lnTo>
                  <a:lnTo>
                    <a:pt x="697939" y="458342"/>
                  </a:lnTo>
                  <a:lnTo>
                    <a:pt x="697939" y="458735"/>
                  </a:lnTo>
                  <a:lnTo>
                    <a:pt x="698332" y="458735"/>
                  </a:lnTo>
                  <a:lnTo>
                    <a:pt x="698725" y="459129"/>
                  </a:lnTo>
                  <a:lnTo>
                    <a:pt x="697939" y="459522"/>
                  </a:lnTo>
                  <a:lnTo>
                    <a:pt x="701086" y="462276"/>
                  </a:lnTo>
                  <a:lnTo>
                    <a:pt x="697939" y="462669"/>
                  </a:lnTo>
                  <a:lnTo>
                    <a:pt x="701480" y="463850"/>
                  </a:lnTo>
                  <a:lnTo>
                    <a:pt x="704627" y="465817"/>
                  </a:lnTo>
                  <a:lnTo>
                    <a:pt x="705807" y="466210"/>
                  </a:lnTo>
                  <a:lnTo>
                    <a:pt x="723118" y="463456"/>
                  </a:lnTo>
                  <a:lnTo>
                    <a:pt x="723118" y="463456"/>
                  </a:lnTo>
                  <a:lnTo>
                    <a:pt x="726265" y="463850"/>
                  </a:lnTo>
                  <a:lnTo>
                    <a:pt x="729019" y="464243"/>
                  </a:lnTo>
                  <a:lnTo>
                    <a:pt x="721938" y="464637"/>
                  </a:lnTo>
                  <a:lnTo>
                    <a:pt x="721151" y="464637"/>
                  </a:lnTo>
                  <a:lnTo>
                    <a:pt x="718003" y="464243"/>
                  </a:lnTo>
                  <a:lnTo>
                    <a:pt x="714856" y="464637"/>
                  </a:lnTo>
                  <a:lnTo>
                    <a:pt x="712102" y="465030"/>
                  </a:lnTo>
                  <a:lnTo>
                    <a:pt x="709348" y="465817"/>
                  </a:lnTo>
                  <a:lnTo>
                    <a:pt x="706200" y="467390"/>
                  </a:lnTo>
                  <a:lnTo>
                    <a:pt x="703053" y="466604"/>
                  </a:lnTo>
                  <a:lnTo>
                    <a:pt x="699906" y="465817"/>
                  </a:lnTo>
                  <a:lnTo>
                    <a:pt x="696758" y="466210"/>
                  </a:lnTo>
                  <a:lnTo>
                    <a:pt x="696758" y="468964"/>
                  </a:lnTo>
                  <a:lnTo>
                    <a:pt x="699906" y="468964"/>
                  </a:lnTo>
                  <a:lnTo>
                    <a:pt x="699906" y="469358"/>
                  </a:lnTo>
                  <a:lnTo>
                    <a:pt x="698332" y="470931"/>
                  </a:lnTo>
                  <a:lnTo>
                    <a:pt x="697545" y="472112"/>
                  </a:lnTo>
                  <a:lnTo>
                    <a:pt x="695185" y="470538"/>
                  </a:lnTo>
                  <a:lnTo>
                    <a:pt x="696758" y="473685"/>
                  </a:lnTo>
                  <a:lnTo>
                    <a:pt x="701480" y="474079"/>
                  </a:lnTo>
                  <a:lnTo>
                    <a:pt x="700692" y="476439"/>
                  </a:lnTo>
                  <a:lnTo>
                    <a:pt x="699906" y="476439"/>
                  </a:lnTo>
                  <a:lnTo>
                    <a:pt x="696758" y="474866"/>
                  </a:lnTo>
                  <a:lnTo>
                    <a:pt x="694004" y="474472"/>
                  </a:lnTo>
                  <a:lnTo>
                    <a:pt x="696758" y="476046"/>
                  </a:lnTo>
                  <a:lnTo>
                    <a:pt x="697939" y="478800"/>
                  </a:lnTo>
                  <a:lnTo>
                    <a:pt x="695972" y="477226"/>
                  </a:lnTo>
                  <a:lnTo>
                    <a:pt x="693218" y="478013"/>
                  </a:lnTo>
                  <a:lnTo>
                    <a:pt x="695972" y="479587"/>
                  </a:lnTo>
                  <a:lnTo>
                    <a:pt x="698725" y="479587"/>
                  </a:lnTo>
                  <a:lnTo>
                    <a:pt x="701086" y="481554"/>
                  </a:lnTo>
                  <a:lnTo>
                    <a:pt x="703053" y="483128"/>
                  </a:lnTo>
                  <a:lnTo>
                    <a:pt x="701480" y="485882"/>
                  </a:lnTo>
                  <a:lnTo>
                    <a:pt x="698725" y="487455"/>
                  </a:lnTo>
                  <a:lnTo>
                    <a:pt x="701480" y="489029"/>
                  </a:lnTo>
                  <a:lnTo>
                    <a:pt x="701086" y="491783"/>
                  </a:lnTo>
                  <a:lnTo>
                    <a:pt x="703840" y="494143"/>
                  </a:lnTo>
                  <a:lnTo>
                    <a:pt x="706594" y="492963"/>
                  </a:lnTo>
                  <a:lnTo>
                    <a:pt x="707774" y="491389"/>
                  </a:lnTo>
                  <a:lnTo>
                    <a:pt x="712102" y="499258"/>
                  </a:lnTo>
                  <a:lnTo>
                    <a:pt x="712889" y="499258"/>
                  </a:lnTo>
                  <a:lnTo>
                    <a:pt x="713676" y="499258"/>
                  </a:lnTo>
                  <a:lnTo>
                    <a:pt x="715250" y="499258"/>
                  </a:lnTo>
                  <a:lnTo>
                    <a:pt x="717610" y="499258"/>
                  </a:lnTo>
                  <a:lnTo>
                    <a:pt x="718003" y="499651"/>
                  </a:lnTo>
                  <a:lnTo>
                    <a:pt x="714856" y="501225"/>
                  </a:lnTo>
                  <a:lnTo>
                    <a:pt x="712102" y="503586"/>
                  </a:lnTo>
                  <a:lnTo>
                    <a:pt x="711315" y="504766"/>
                  </a:lnTo>
                  <a:lnTo>
                    <a:pt x="714069" y="506340"/>
                  </a:lnTo>
                  <a:lnTo>
                    <a:pt x="715643" y="506733"/>
                  </a:lnTo>
                  <a:lnTo>
                    <a:pt x="716823" y="507913"/>
                  </a:lnTo>
                  <a:lnTo>
                    <a:pt x="713676" y="509487"/>
                  </a:lnTo>
                  <a:lnTo>
                    <a:pt x="714462" y="509487"/>
                  </a:lnTo>
                  <a:lnTo>
                    <a:pt x="712495" y="510667"/>
                  </a:lnTo>
                  <a:lnTo>
                    <a:pt x="710922" y="510274"/>
                  </a:lnTo>
                  <a:lnTo>
                    <a:pt x="707774" y="510667"/>
                  </a:lnTo>
                  <a:lnTo>
                    <a:pt x="708168" y="513421"/>
                  </a:lnTo>
                  <a:lnTo>
                    <a:pt x="705807" y="514208"/>
                  </a:lnTo>
                  <a:lnTo>
                    <a:pt x="706988" y="511454"/>
                  </a:lnTo>
                  <a:lnTo>
                    <a:pt x="707774" y="508700"/>
                  </a:lnTo>
                  <a:lnTo>
                    <a:pt x="704627" y="510274"/>
                  </a:lnTo>
                  <a:lnTo>
                    <a:pt x="701873" y="513028"/>
                  </a:lnTo>
                  <a:lnTo>
                    <a:pt x="701480" y="515388"/>
                  </a:lnTo>
                  <a:lnTo>
                    <a:pt x="701086" y="518536"/>
                  </a:lnTo>
                  <a:lnTo>
                    <a:pt x="701480" y="519323"/>
                  </a:lnTo>
                  <a:lnTo>
                    <a:pt x="704233" y="521683"/>
                  </a:lnTo>
                  <a:lnTo>
                    <a:pt x="704233" y="521290"/>
                  </a:lnTo>
                  <a:lnTo>
                    <a:pt x="705021" y="521683"/>
                  </a:lnTo>
                  <a:lnTo>
                    <a:pt x="705021" y="521683"/>
                  </a:lnTo>
                  <a:lnTo>
                    <a:pt x="705414" y="521683"/>
                  </a:lnTo>
                  <a:lnTo>
                    <a:pt x="708168" y="520896"/>
                  </a:lnTo>
                  <a:lnTo>
                    <a:pt x="708168" y="520896"/>
                  </a:lnTo>
                  <a:lnTo>
                    <a:pt x="709348" y="520503"/>
                  </a:lnTo>
                  <a:lnTo>
                    <a:pt x="709348" y="521683"/>
                  </a:lnTo>
                  <a:lnTo>
                    <a:pt x="712495" y="520110"/>
                  </a:lnTo>
                  <a:lnTo>
                    <a:pt x="715250" y="520110"/>
                  </a:lnTo>
                  <a:lnTo>
                    <a:pt x="714856" y="518536"/>
                  </a:lnTo>
                  <a:lnTo>
                    <a:pt x="717610" y="517356"/>
                  </a:lnTo>
                  <a:lnTo>
                    <a:pt x="716823" y="519323"/>
                  </a:lnTo>
                  <a:lnTo>
                    <a:pt x="719970" y="517749"/>
                  </a:lnTo>
                  <a:lnTo>
                    <a:pt x="723118" y="516175"/>
                  </a:lnTo>
                  <a:lnTo>
                    <a:pt x="721544" y="517749"/>
                  </a:lnTo>
                  <a:lnTo>
                    <a:pt x="718397" y="520110"/>
                  </a:lnTo>
                  <a:lnTo>
                    <a:pt x="721544" y="520503"/>
                  </a:lnTo>
                  <a:lnTo>
                    <a:pt x="722331" y="520503"/>
                  </a:lnTo>
                  <a:lnTo>
                    <a:pt x="722331" y="520896"/>
                  </a:lnTo>
                  <a:lnTo>
                    <a:pt x="721151" y="520896"/>
                  </a:lnTo>
                  <a:lnTo>
                    <a:pt x="721544" y="522077"/>
                  </a:lnTo>
                  <a:lnTo>
                    <a:pt x="721544" y="522864"/>
                  </a:lnTo>
                  <a:lnTo>
                    <a:pt x="718790" y="525224"/>
                  </a:lnTo>
                  <a:lnTo>
                    <a:pt x="720758" y="525618"/>
                  </a:lnTo>
                  <a:lnTo>
                    <a:pt x="720758" y="526011"/>
                  </a:lnTo>
                  <a:lnTo>
                    <a:pt x="718397" y="526798"/>
                  </a:lnTo>
                  <a:lnTo>
                    <a:pt x="715643" y="527585"/>
                  </a:lnTo>
                  <a:lnTo>
                    <a:pt x="718790" y="529945"/>
                  </a:lnTo>
                  <a:lnTo>
                    <a:pt x="718397" y="532699"/>
                  </a:lnTo>
                  <a:lnTo>
                    <a:pt x="718790" y="533093"/>
                  </a:lnTo>
                  <a:lnTo>
                    <a:pt x="718397" y="533486"/>
                  </a:lnTo>
                  <a:lnTo>
                    <a:pt x="715643" y="531912"/>
                  </a:lnTo>
                  <a:lnTo>
                    <a:pt x="712889" y="532306"/>
                  </a:lnTo>
                  <a:lnTo>
                    <a:pt x="710135" y="530339"/>
                  </a:lnTo>
                  <a:lnTo>
                    <a:pt x="707381" y="529945"/>
                  </a:lnTo>
                  <a:lnTo>
                    <a:pt x="710135" y="531912"/>
                  </a:lnTo>
                  <a:lnTo>
                    <a:pt x="707381" y="534273"/>
                  </a:lnTo>
                  <a:lnTo>
                    <a:pt x="705807" y="537420"/>
                  </a:lnTo>
                  <a:lnTo>
                    <a:pt x="706200" y="540174"/>
                  </a:lnTo>
                  <a:lnTo>
                    <a:pt x="706200" y="540568"/>
                  </a:lnTo>
                  <a:lnTo>
                    <a:pt x="708955" y="543715"/>
                  </a:lnTo>
                  <a:lnTo>
                    <a:pt x="711709" y="544895"/>
                  </a:lnTo>
                  <a:lnTo>
                    <a:pt x="714856" y="546863"/>
                  </a:lnTo>
                  <a:lnTo>
                    <a:pt x="717610" y="549223"/>
                  </a:lnTo>
                  <a:lnTo>
                    <a:pt x="721151" y="550797"/>
                  </a:lnTo>
                  <a:lnTo>
                    <a:pt x="723905" y="551190"/>
                  </a:lnTo>
                  <a:lnTo>
                    <a:pt x="726265" y="552764"/>
                  </a:lnTo>
                  <a:lnTo>
                    <a:pt x="729019" y="553157"/>
                  </a:lnTo>
                  <a:lnTo>
                    <a:pt x="731773" y="553551"/>
                  </a:lnTo>
                  <a:lnTo>
                    <a:pt x="734921" y="553944"/>
                  </a:lnTo>
                  <a:lnTo>
                    <a:pt x="736101" y="553551"/>
                  </a:lnTo>
                  <a:lnTo>
                    <a:pt x="736495" y="553551"/>
                  </a:lnTo>
                  <a:lnTo>
                    <a:pt x="734527" y="554731"/>
                  </a:lnTo>
                  <a:lnTo>
                    <a:pt x="731773" y="557092"/>
                  </a:lnTo>
                  <a:lnTo>
                    <a:pt x="734527" y="559452"/>
                  </a:lnTo>
                  <a:lnTo>
                    <a:pt x="737675" y="559059"/>
                  </a:lnTo>
                  <a:lnTo>
                    <a:pt x="740429" y="560239"/>
                  </a:lnTo>
                  <a:lnTo>
                    <a:pt x="743183" y="559846"/>
                  </a:lnTo>
                  <a:lnTo>
                    <a:pt x="745936" y="560239"/>
                  </a:lnTo>
                  <a:lnTo>
                    <a:pt x="749084" y="560239"/>
                  </a:lnTo>
                  <a:lnTo>
                    <a:pt x="751838" y="561419"/>
                  </a:lnTo>
                  <a:lnTo>
                    <a:pt x="754592" y="561813"/>
                  </a:lnTo>
                  <a:lnTo>
                    <a:pt x="757346" y="561419"/>
                  </a:lnTo>
                  <a:lnTo>
                    <a:pt x="760100" y="559846"/>
                  </a:lnTo>
                  <a:lnTo>
                    <a:pt x="763247" y="560239"/>
                  </a:lnTo>
                  <a:lnTo>
                    <a:pt x="766002" y="557879"/>
                  </a:lnTo>
                  <a:lnTo>
                    <a:pt x="766395" y="557485"/>
                  </a:lnTo>
                  <a:lnTo>
                    <a:pt x="766788" y="557485"/>
                  </a:lnTo>
                  <a:lnTo>
                    <a:pt x="769542" y="557879"/>
                  </a:lnTo>
                  <a:lnTo>
                    <a:pt x="769542" y="557092"/>
                  </a:lnTo>
                  <a:lnTo>
                    <a:pt x="772296" y="556698"/>
                  </a:lnTo>
                  <a:lnTo>
                    <a:pt x="775443" y="555125"/>
                  </a:lnTo>
                  <a:lnTo>
                    <a:pt x="778198" y="553551"/>
                  </a:lnTo>
                  <a:lnTo>
                    <a:pt x="780952" y="551977"/>
                  </a:lnTo>
                  <a:lnTo>
                    <a:pt x="783706" y="549223"/>
                  </a:lnTo>
                  <a:lnTo>
                    <a:pt x="786460" y="546863"/>
                  </a:lnTo>
                  <a:lnTo>
                    <a:pt x="786460" y="546469"/>
                  </a:lnTo>
                  <a:lnTo>
                    <a:pt x="792361" y="542928"/>
                  </a:lnTo>
                  <a:lnTo>
                    <a:pt x="798262" y="538601"/>
                  </a:lnTo>
                  <a:lnTo>
                    <a:pt x="802590" y="533486"/>
                  </a:lnTo>
                  <a:lnTo>
                    <a:pt x="805344" y="532306"/>
                  </a:lnTo>
                  <a:lnTo>
                    <a:pt x="805344" y="529945"/>
                  </a:lnTo>
                  <a:lnTo>
                    <a:pt x="803770" y="527585"/>
                  </a:lnTo>
                  <a:lnTo>
                    <a:pt x="805344" y="529158"/>
                  </a:lnTo>
                  <a:lnTo>
                    <a:pt x="808885" y="530339"/>
                  </a:lnTo>
                  <a:lnTo>
                    <a:pt x="811639" y="531912"/>
                  </a:lnTo>
                  <a:lnTo>
                    <a:pt x="812819" y="532306"/>
                  </a:lnTo>
                  <a:lnTo>
                    <a:pt x="813999" y="529945"/>
                  </a:lnTo>
                  <a:lnTo>
                    <a:pt x="816753" y="529945"/>
                  </a:lnTo>
                  <a:lnTo>
                    <a:pt x="818720" y="527191"/>
                  </a:lnTo>
                  <a:lnTo>
                    <a:pt x="821475" y="525618"/>
                  </a:lnTo>
                  <a:lnTo>
                    <a:pt x="822655" y="522864"/>
                  </a:lnTo>
                  <a:lnTo>
                    <a:pt x="822655" y="525618"/>
                  </a:lnTo>
                  <a:lnTo>
                    <a:pt x="823442" y="522864"/>
                  </a:lnTo>
                  <a:lnTo>
                    <a:pt x="824622" y="520110"/>
                  </a:lnTo>
                  <a:lnTo>
                    <a:pt x="822261" y="516962"/>
                  </a:lnTo>
                  <a:lnTo>
                    <a:pt x="821475" y="516175"/>
                  </a:lnTo>
                  <a:lnTo>
                    <a:pt x="822261" y="514602"/>
                  </a:lnTo>
                  <a:lnTo>
                    <a:pt x="822655" y="514602"/>
                  </a:lnTo>
                  <a:lnTo>
                    <a:pt x="823835" y="512241"/>
                  </a:lnTo>
                  <a:lnTo>
                    <a:pt x="826196" y="514995"/>
                  </a:lnTo>
                  <a:lnTo>
                    <a:pt x="828556" y="512241"/>
                  </a:lnTo>
                  <a:lnTo>
                    <a:pt x="826196" y="509094"/>
                  </a:lnTo>
                  <a:lnTo>
                    <a:pt x="825802" y="506340"/>
                  </a:lnTo>
                  <a:lnTo>
                    <a:pt x="829343" y="502799"/>
                  </a:lnTo>
                  <a:lnTo>
                    <a:pt x="832097" y="505159"/>
                  </a:lnTo>
                  <a:lnTo>
                    <a:pt x="831310" y="507913"/>
                  </a:lnTo>
                  <a:lnTo>
                    <a:pt x="830523" y="505159"/>
                  </a:lnTo>
                  <a:lnTo>
                    <a:pt x="827769" y="507913"/>
                  </a:lnTo>
                  <a:lnTo>
                    <a:pt x="829343" y="511061"/>
                  </a:lnTo>
                  <a:lnTo>
                    <a:pt x="830130" y="513815"/>
                  </a:lnTo>
                  <a:lnTo>
                    <a:pt x="830917" y="515388"/>
                  </a:lnTo>
                  <a:lnTo>
                    <a:pt x="830523" y="518536"/>
                  </a:lnTo>
                  <a:lnTo>
                    <a:pt x="830917" y="521290"/>
                  </a:lnTo>
                  <a:lnTo>
                    <a:pt x="833671" y="524437"/>
                  </a:lnTo>
                  <a:lnTo>
                    <a:pt x="836425" y="524437"/>
                  </a:lnTo>
                  <a:lnTo>
                    <a:pt x="839572" y="526404"/>
                  </a:lnTo>
                  <a:lnTo>
                    <a:pt x="841933" y="526011"/>
                  </a:lnTo>
                  <a:lnTo>
                    <a:pt x="843900" y="527978"/>
                  </a:lnTo>
                  <a:lnTo>
                    <a:pt x="841539" y="530732"/>
                  </a:lnTo>
                  <a:lnTo>
                    <a:pt x="841933" y="530732"/>
                  </a:lnTo>
                  <a:lnTo>
                    <a:pt x="841539" y="531126"/>
                  </a:lnTo>
                  <a:lnTo>
                    <a:pt x="843506" y="533880"/>
                  </a:lnTo>
                  <a:lnTo>
                    <a:pt x="844293" y="536634"/>
                  </a:lnTo>
                  <a:lnTo>
                    <a:pt x="844687" y="539781"/>
                  </a:lnTo>
                  <a:lnTo>
                    <a:pt x="845080" y="542928"/>
                  </a:lnTo>
                  <a:lnTo>
                    <a:pt x="845474" y="545682"/>
                  </a:lnTo>
                  <a:lnTo>
                    <a:pt x="845867" y="548436"/>
                  </a:lnTo>
                  <a:lnTo>
                    <a:pt x="845080" y="551584"/>
                  </a:lnTo>
                  <a:lnTo>
                    <a:pt x="848227" y="550403"/>
                  </a:lnTo>
                  <a:lnTo>
                    <a:pt x="849801" y="553157"/>
                  </a:lnTo>
                  <a:lnTo>
                    <a:pt x="852949" y="551190"/>
                  </a:lnTo>
                  <a:lnTo>
                    <a:pt x="852949" y="550797"/>
                  </a:lnTo>
                  <a:lnTo>
                    <a:pt x="853342" y="551977"/>
                  </a:lnTo>
                  <a:lnTo>
                    <a:pt x="851375" y="554731"/>
                  </a:lnTo>
                  <a:lnTo>
                    <a:pt x="854523" y="554338"/>
                  </a:lnTo>
                  <a:lnTo>
                    <a:pt x="854916" y="555125"/>
                  </a:lnTo>
                  <a:lnTo>
                    <a:pt x="850194" y="557485"/>
                  </a:lnTo>
                  <a:lnTo>
                    <a:pt x="852949" y="559846"/>
                  </a:lnTo>
                  <a:lnTo>
                    <a:pt x="856096" y="559452"/>
                  </a:lnTo>
                  <a:lnTo>
                    <a:pt x="856490" y="559452"/>
                  </a:lnTo>
                  <a:lnTo>
                    <a:pt x="856883" y="561026"/>
                  </a:lnTo>
                  <a:lnTo>
                    <a:pt x="854916" y="561026"/>
                  </a:lnTo>
                  <a:lnTo>
                    <a:pt x="854129" y="561419"/>
                  </a:lnTo>
                  <a:lnTo>
                    <a:pt x="852555" y="564173"/>
                  </a:lnTo>
                  <a:lnTo>
                    <a:pt x="855703" y="563780"/>
                  </a:lnTo>
                  <a:lnTo>
                    <a:pt x="857276" y="561813"/>
                  </a:lnTo>
                  <a:lnTo>
                    <a:pt x="858063" y="563780"/>
                  </a:lnTo>
                  <a:lnTo>
                    <a:pt x="856490" y="566534"/>
                  </a:lnTo>
                  <a:lnTo>
                    <a:pt x="857276" y="569288"/>
                  </a:lnTo>
                  <a:lnTo>
                    <a:pt x="860030" y="568895"/>
                  </a:lnTo>
                  <a:lnTo>
                    <a:pt x="857276" y="570468"/>
                  </a:lnTo>
                  <a:lnTo>
                    <a:pt x="860030" y="572042"/>
                  </a:lnTo>
                  <a:lnTo>
                    <a:pt x="860817" y="574796"/>
                  </a:lnTo>
                  <a:lnTo>
                    <a:pt x="861997" y="575583"/>
                  </a:lnTo>
                  <a:lnTo>
                    <a:pt x="861604" y="578337"/>
                  </a:lnTo>
                  <a:lnTo>
                    <a:pt x="861211" y="581484"/>
                  </a:lnTo>
                  <a:lnTo>
                    <a:pt x="864358" y="581091"/>
                  </a:lnTo>
                  <a:lnTo>
                    <a:pt x="866325" y="582664"/>
                  </a:lnTo>
                  <a:lnTo>
                    <a:pt x="867112" y="583845"/>
                  </a:lnTo>
                  <a:lnTo>
                    <a:pt x="867112" y="586205"/>
                  </a:lnTo>
                  <a:lnTo>
                    <a:pt x="869079" y="588959"/>
                  </a:lnTo>
                  <a:lnTo>
                    <a:pt x="869866" y="591713"/>
                  </a:lnTo>
                  <a:lnTo>
                    <a:pt x="872620" y="593680"/>
                  </a:lnTo>
                  <a:lnTo>
                    <a:pt x="874981" y="597221"/>
                  </a:lnTo>
                  <a:lnTo>
                    <a:pt x="875767" y="597615"/>
                  </a:lnTo>
                  <a:lnTo>
                    <a:pt x="877734" y="599188"/>
                  </a:lnTo>
                  <a:lnTo>
                    <a:pt x="878915" y="601942"/>
                  </a:lnTo>
                  <a:lnTo>
                    <a:pt x="881669" y="604696"/>
                  </a:lnTo>
                  <a:lnTo>
                    <a:pt x="883242" y="604696"/>
                  </a:lnTo>
                  <a:lnTo>
                    <a:pt x="886783" y="608237"/>
                  </a:lnTo>
                  <a:lnTo>
                    <a:pt x="885997" y="611385"/>
                  </a:lnTo>
                  <a:lnTo>
                    <a:pt x="883242" y="610991"/>
                  </a:lnTo>
                  <a:lnTo>
                    <a:pt x="880489" y="611385"/>
                  </a:lnTo>
                  <a:lnTo>
                    <a:pt x="881275" y="614139"/>
                  </a:lnTo>
                  <a:lnTo>
                    <a:pt x="884030" y="616499"/>
                  </a:lnTo>
                  <a:lnTo>
                    <a:pt x="883242" y="618466"/>
                  </a:lnTo>
                  <a:lnTo>
                    <a:pt x="880489" y="617679"/>
                  </a:lnTo>
                  <a:lnTo>
                    <a:pt x="876948" y="616499"/>
                  </a:lnTo>
                  <a:lnTo>
                    <a:pt x="877341" y="619253"/>
                  </a:lnTo>
                  <a:lnTo>
                    <a:pt x="879308" y="622007"/>
                  </a:lnTo>
                  <a:lnTo>
                    <a:pt x="880882" y="624368"/>
                  </a:lnTo>
                  <a:lnTo>
                    <a:pt x="882849" y="627515"/>
                  </a:lnTo>
                  <a:lnTo>
                    <a:pt x="885603" y="629876"/>
                  </a:lnTo>
                  <a:lnTo>
                    <a:pt x="886390" y="632630"/>
                  </a:lnTo>
                  <a:lnTo>
                    <a:pt x="889931" y="634990"/>
                  </a:lnTo>
                  <a:lnTo>
                    <a:pt x="888357" y="637744"/>
                  </a:lnTo>
                  <a:lnTo>
                    <a:pt x="886390" y="640498"/>
                  </a:lnTo>
                  <a:lnTo>
                    <a:pt x="887964" y="643646"/>
                  </a:lnTo>
                  <a:lnTo>
                    <a:pt x="885210" y="644432"/>
                  </a:lnTo>
                  <a:lnTo>
                    <a:pt x="887964" y="644826"/>
                  </a:lnTo>
                  <a:lnTo>
                    <a:pt x="891111" y="645613"/>
                  </a:lnTo>
                  <a:lnTo>
                    <a:pt x="893865" y="646006"/>
                  </a:lnTo>
                  <a:lnTo>
                    <a:pt x="897012" y="646793"/>
                  </a:lnTo>
                  <a:lnTo>
                    <a:pt x="899767" y="646399"/>
                  </a:lnTo>
                  <a:lnTo>
                    <a:pt x="902520" y="645219"/>
                  </a:lnTo>
                  <a:lnTo>
                    <a:pt x="905668" y="644432"/>
                  </a:lnTo>
                  <a:lnTo>
                    <a:pt x="908422" y="644039"/>
                  </a:lnTo>
                  <a:lnTo>
                    <a:pt x="909602" y="644039"/>
                  </a:lnTo>
                  <a:lnTo>
                    <a:pt x="913930" y="644432"/>
                  </a:lnTo>
                  <a:lnTo>
                    <a:pt x="915897" y="645219"/>
                  </a:lnTo>
                  <a:lnTo>
                    <a:pt x="918651" y="645613"/>
                  </a:lnTo>
                  <a:lnTo>
                    <a:pt x="919438" y="644826"/>
                  </a:lnTo>
                  <a:lnTo>
                    <a:pt x="919831" y="644432"/>
                  </a:lnTo>
                  <a:lnTo>
                    <a:pt x="922192" y="641678"/>
                  </a:lnTo>
                  <a:lnTo>
                    <a:pt x="922192" y="638531"/>
                  </a:lnTo>
                  <a:lnTo>
                    <a:pt x="920618" y="636170"/>
                  </a:lnTo>
                  <a:lnTo>
                    <a:pt x="921798" y="627515"/>
                  </a:lnTo>
                  <a:lnTo>
                    <a:pt x="926913" y="623974"/>
                  </a:lnTo>
                  <a:lnTo>
                    <a:pt x="929667" y="625548"/>
                  </a:lnTo>
                  <a:lnTo>
                    <a:pt x="932421" y="625154"/>
                  </a:lnTo>
                  <a:lnTo>
                    <a:pt x="930847" y="622400"/>
                  </a:lnTo>
                  <a:lnTo>
                    <a:pt x="932027" y="620827"/>
                  </a:lnTo>
                  <a:lnTo>
                    <a:pt x="937535" y="620827"/>
                  </a:lnTo>
                  <a:lnTo>
                    <a:pt x="940683" y="621220"/>
                  </a:lnTo>
                  <a:lnTo>
                    <a:pt x="943437" y="620827"/>
                  </a:lnTo>
                  <a:lnTo>
                    <a:pt x="946191" y="620827"/>
                  </a:lnTo>
                  <a:lnTo>
                    <a:pt x="949338" y="620433"/>
                  </a:lnTo>
                  <a:lnTo>
                    <a:pt x="952092" y="620040"/>
                  </a:lnTo>
                  <a:lnTo>
                    <a:pt x="954846" y="620433"/>
                  </a:lnTo>
                  <a:lnTo>
                    <a:pt x="957600" y="621220"/>
                  </a:lnTo>
                  <a:lnTo>
                    <a:pt x="960354" y="621614"/>
                  </a:lnTo>
                  <a:lnTo>
                    <a:pt x="963108" y="618860"/>
                  </a:lnTo>
                  <a:lnTo>
                    <a:pt x="963895" y="616106"/>
                  </a:lnTo>
                  <a:lnTo>
                    <a:pt x="963895" y="615712"/>
                  </a:lnTo>
                  <a:lnTo>
                    <a:pt x="967436" y="609024"/>
                  </a:lnTo>
                  <a:lnTo>
                    <a:pt x="968616" y="606270"/>
                  </a:lnTo>
                  <a:lnTo>
                    <a:pt x="970977" y="603516"/>
                  </a:lnTo>
                  <a:lnTo>
                    <a:pt x="972157" y="600762"/>
                  </a:lnTo>
                  <a:lnTo>
                    <a:pt x="972550" y="598008"/>
                  </a:lnTo>
                  <a:lnTo>
                    <a:pt x="972157" y="595254"/>
                  </a:lnTo>
                  <a:lnTo>
                    <a:pt x="974911" y="593680"/>
                  </a:lnTo>
                  <a:lnTo>
                    <a:pt x="974124" y="591320"/>
                  </a:lnTo>
                  <a:lnTo>
                    <a:pt x="973337" y="590926"/>
                  </a:lnTo>
                  <a:lnTo>
                    <a:pt x="972944" y="590140"/>
                  </a:lnTo>
                  <a:lnTo>
                    <a:pt x="972944" y="587386"/>
                  </a:lnTo>
                  <a:lnTo>
                    <a:pt x="972157" y="586992"/>
                  </a:lnTo>
                  <a:lnTo>
                    <a:pt x="974124" y="584238"/>
                  </a:lnTo>
                  <a:lnTo>
                    <a:pt x="976878" y="582664"/>
                  </a:lnTo>
                  <a:lnTo>
                    <a:pt x="977271" y="579517"/>
                  </a:lnTo>
                  <a:lnTo>
                    <a:pt x="974518" y="577550"/>
                  </a:lnTo>
                  <a:lnTo>
                    <a:pt x="975304" y="574402"/>
                  </a:lnTo>
                  <a:lnTo>
                    <a:pt x="977665" y="573616"/>
                  </a:lnTo>
                  <a:lnTo>
                    <a:pt x="976485" y="570862"/>
                  </a:lnTo>
                  <a:lnTo>
                    <a:pt x="976091" y="570468"/>
                  </a:lnTo>
                  <a:lnTo>
                    <a:pt x="971763" y="566927"/>
                  </a:lnTo>
                  <a:lnTo>
                    <a:pt x="978058" y="567714"/>
                  </a:lnTo>
                  <a:lnTo>
                    <a:pt x="978058" y="564567"/>
                  </a:lnTo>
                  <a:lnTo>
                    <a:pt x="976485" y="564567"/>
                  </a:lnTo>
                  <a:lnTo>
                    <a:pt x="976091" y="564173"/>
                  </a:lnTo>
                  <a:lnTo>
                    <a:pt x="978845" y="562600"/>
                  </a:lnTo>
                  <a:lnTo>
                    <a:pt x="980025" y="559846"/>
                  </a:lnTo>
                  <a:lnTo>
                    <a:pt x="979632" y="557092"/>
                  </a:lnTo>
                  <a:lnTo>
                    <a:pt x="977271" y="554338"/>
                  </a:lnTo>
                  <a:lnTo>
                    <a:pt x="974911" y="551190"/>
                  </a:lnTo>
                  <a:lnTo>
                    <a:pt x="972157" y="550403"/>
                  </a:lnTo>
                  <a:lnTo>
                    <a:pt x="969403" y="549617"/>
                  </a:lnTo>
                  <a:lnTo>
                    <a:pt x="972157" y="550010"/>
                  </a:lnTo>
                  <a:lnTo>
                    <a:pt x="975304" y="550797"/>
                  </a:lnTo>
                  <a:lnTo>
                    <a:pt x="978058" y="550797"/>
                  </a:lnTo>
                  <a:lnTo>
                    <a:pt x="980812" y="549617"/>
                  </a:lnTo>
                  <a:lnTo>
                    <a:pt x="978452" y="546863"/>
                  </a:lnTo>
                  <a:lnTo>
                    <a:pt x="975698" y="546076"/>
                  </a:lnTo>
                  <a:lnTo>
                    <a:pt x="977665" y="544895"/>
                  </a:lnTo>
                  <a:lnTo>
                    <a:pt x="980419" y="545289"/>
                  </a:lnTo>
                  <a:lnTo>
                    <a:pt x="983959" y="544895"/>
                  </a:lnTo>
                  <a:lnTo>
                    <a:pt x="986714" y="543715"/>
                  </a:lnTo>
                  <a:lnTo>
                    <a:pt x="983959" y="541355"/>
                  </a:lnTo>
                  <a:lnTo>
                    <a:pt x="983959" y="541355"/>
                  </a:lnTo>
                  <a:lnTo>
                    <a:pt x="986714" y="541748"/>
                  </a:lnTo>
                  <a:lnTo>
                    <a:pt x="989468" y="542142"/>
                  </a:lnTo>
                  <a:lnTo>
                    <a:pt x="992222" y="541748"/>
                  </a:lnTo>
                  <a:lnTo>
                    <a:pt x="995369" y="540174"/>
                  </a:lnTo>
                  <a:lnTo>
                    <a:pt x="993795" y="537420"/>
                  </a:lnTo>
                  <a:lnTo>
                    <a:pt x="996943" y="537814"/>
                  </a:lnTo>
                  <a:lnTo>
                    <a:pt x="996549" y="534666"/>
                  </a:lnTo>
                  <a:lnTo>
                    <a:pt x="996549" y="534273"/>
                  </a:lnTo>
                  <a:lnTo>
                    <a:pt x="999303" y="536240"/>
                  </a:lnTo>
                  <a:lnTo>
                    <a:pt x="999303" y="533486"/>
                  </a:lnTo>
                  <a:lnTo>
                    <a:pt x="999303" y="533486"/>
                  </a:lnTo>
                  <a:lnTo>
                    <a:pt x="1000090" y="533093"/>
                  </a:lnTo>
                  <a:lnTo>
                    <a:pt x="1000090" y="533880"/>
                  </a:lnTo>
                  <a:lnTo>
                    <a:pt x="1001270" y="536634"/>
                  </a:lnTo>
                  <a:lnTo>
                    <a:pt x="1004025" y="537027"/>
                  </a:lnTo>
                  <a:lnTo>
                    <a:pt x="1005598" y="533880"/>
                  </a:lnTo>
                  <a:lnTo>
                    <a:pt x="1007172" y="531126"/>
                  </a:lnTo>
                  <a:lnTo>
                    <a:pt x="1009926" y="530339"/>
                  </a:lnTo>
                  <a:lnTo>
                    <a:pt x="1011499" y="529158"/>
                  </a:lnTo>
                  <a:lnTo>
                    <a:pt x="1014647" y="528765"/>
                  </a:lnTo>
                  <a:lnTo>
                    <a:pt x="1017401" y="527585"/>
                  </a:lnTo>
                  <a:lnTo>
                    <a:pt x="1015827" y="526798"/>
                  </a:lnTo>
                  <a:lnTo>
                    <a:pt x="1018581" y="525618"/>
                  </a:lnTo>
                  <a:lnTo>
                    <a:pt x="1018581" y="525618"/>
                  </a:lnTo>
                  <a:lnTo>
                    <a:pt x="1020155" y="524831"/>
                  </a:lnTo>
                  <a:lnTo>
                    <a:pt x="1022122" y="516175"/>
                  </a:lnTo>
                  <a:lnTo>
                    <a:pt x="1022515" y="515782"/>
                  </a:lnTo>
                  <a:lnTo>
                    <a:pt x="1022122" y="515782"/>
                  </a:lnTo>
                  <a:lnTo>
                    <a:pt x="1023302" y="510667"/>
                  </a:lnTo>
                  <a:lnTo>
                    <a:pt x="1026056" y="510274"/>
                  </a:lnTo>
                  <a:lnTo>
                    <a:pt x="1026843" y="509881"/>
                  </a:lnTo>
                  <a:lnTo>
                    <a:pt x="1027236" y="509881"/>
                  </a:lnTo>
                  <a:lnTo>
                    <a:pt x="1030384" y="509487"/>
                  </a:lnTo>
                  <a:lnTo>
                    <a:pt x="1028417" y="506340"/>
                  </a:lnTo>
                  <a:lnTo>
                    <a:pt x="1025663" y="503586"/>
                  </a:lnTo>
                  <a:lnTo>
                    <a:pt x="1028417" y="505553"/>
                  </a:lnTo>
                  <a:lnTo>
                    <a:pt x="1026056" y="502799"/>
                  </a:lnTo>
                  <a:lnTo>
                    <a:pt x="1024483" y="500832"/>
                  </a:lnTo>
                  <a:lnTo>
                    <a:pt x="1023302" y="497684"/>
                  </a:lnTo>
                  <a:lnTo>
                    <a:pt x="1020548" y="497291"/>
                  </a:lnTo>
                  <a:lnTo>
                    <a:pt x="1017401" y="496897"/>
                  </a:lnTo>
                  <a:lnTo>
                    <a:pt x="1016614" y="496897"/>
                  </a:lnTo>
                  <a:lnTo>
                    <a:pt x="1013860" y="493750"/>
                  </a:lnTo>
                  <a:lnTo>
                    <a:pt x="1016614" y="493357"/>
                  </a:lnTo>
                  <a:lnTo>
                    <a:pt x="1013860" y="490996"/>
                  </a:lnTo>
                  <a:lnTo>
                    <a:pt x="1010713" y="490603"/>
                  </a:lnTo>
                  <a:lnTo>
                    <a:pt x="1007959" y="489422"/>
                  </a:lnTo>
                  <a:lnTo>
                    <a:pt x="1002451" y="485488"/>
                  </a:lnTo>
                  <a:lnTo>
                    <a:pt x="1002451" y="482341"/>
                  </a:lnTo>
                  <a:lnTo>
                    <a:pt x="999697" y="483128"/>
                  </a:lnTo>
                  <a:lnTo>
                    <a:pt x="996549" y="485095"/>
                  </a:lnTo>
                  <a:lnTo>
                    <a:pt x="994189" y="484308"/>
                  </a:lnTo>
                  <a:lnTo>
                    <a:pt x="993402" y="483914"/>
                  </a:lnTo>
                  <a:lnTo>
                    <a:pt x="992222" y="480767"/>
                  </a:lnTo>
                  <a:lnTo>
                    <a:pt x="989468" y="481160"/>
                  </a:lnTo>
                  <a:lnTo>
                    <a:pt x="987500" y="480767"/>
                  </a:lnTo>
                  <a:lnTo>
                    <a:pt x="986320" y="478013"/>
                  </a:lnTo>
                  <a:lnTo>
                    <a:pt x="986714" y="477620"/>
                  </a:lnTo>
                  <a:lnTo>
                    <a:pt x="985533" y="476046"/>
                  </a:lnTo>
                  <a:lnTo>
                    <a:pt x="980812" y="463456"/>
                  </a:lnTo>
                  <a:lnTo>
                    <a:pt x="981206" y="461882"/>
                  </a:lnTo>
                  <a:lnTo>
                    <a:pt x="981992" y="459522"/>
                  </a:lnTo>
                  <a:lnTo>
                    <a:pt x="980812" y="458735"/>
                  </a:lnTo>
                  <a:lnTo>
                    <a:pt x="980812" y="457555"/>
                  </a:lnTo>
                  <a:lnTo>
                    <a:pt x="981992" y="457555"/>
                  </a:lnTo>
                  <a:lnTo>
                    <a:pt x="980419" y="454801"/>
                  </a:lnTo>
                  <a:lnTo>
                    <a:pt x="980812" y="453621"/>
                  </a:lnTo>
                  <a:lnTo>
                    <a:pt x="981992" y="453621"/>
                  </a:lnTo>
                  <a:lnTo>
                    <a:pt x="980812" y="453227"/>
                  </a:lnTo>
                  <a:lnTo>
                    <a:pt x="981206" y="452047"/>
                  </a:lnTo>
                  <a:lnTo>
                    <a:pt x="981992" y="452047"/>
                  </a:lnTo>
                  <a:lnTo>
                    <a:pt x="981206" y="452047"/>
                  </a:lnTo>
                  <a:lnTo>
                    <a:pt x="981599" y="450473"/>
                  </a:lnTo>
                  <a:lnTo>
                    <a:pt x="982386" y="450080"/>
                  </a:lnTo>
                  <a:lnTo>
                    <a:pt x="981992" y="450080"/>
                  </a:lnTo>
                  <a:lnTo>
                    <a:pt x="982386" y="448899"/>
                  </a:lnTo>
                  <a:lnTo>
                    <a:pt x="984747" y="450080"/>
                  </a:lnTo>
                  <a:lnTo>
                    <a:pt x="987500" y="452440"/>
                  </a:lnTo>
                  <a:lnTo>
                    <a:pt x="987894" y="449293"/>
                  </a:lnTo>
                  <a:lnTo>
                    <a:pt x="984747" y="448113"/>
                  </a:lnTo>
                  <a:lnTo>
                    <a:pt x="983566" y="445752"/>
                  </a:lnTo>
                  <a:lnTo>
                    <a:pt x="985140" y="441031"/>
                  </a:lnTo>
                  <a:lnTo>
                    <a:pt x="986320" y="439457"/>
                  </a:lnTo>
                  <a:lnTo>
                    <a:pt x="986714" y="436310"/>
                  </a:lnTo>
                  <a:lnTo>
                    <a:pt x="987107" y="434736"/>
                  </a:lnTo>
                  <a:lnTo>
                    <a:pt x="989861" y="433556"/>
                  </a:lnTo>
                  <a:lnTo>
                    <a:pt x="986714" y="433162"/>
                  </a:lnTo>
                  <a:lnTo>
                    <a:pt x="983566" y="431589"/>
                  </a:lnTo>
                  <a:lnTo>
                    <a:pt x="983566" y="428835"/>
                  </a:lnTo>
                  <a:lnTo>
                    <a:pt x="983566" y="429622"/>
                  </a:lnTo>
                  <a:lnTo>
                    <a:pt x="984353" y="426474"/>
                  </a:lnTo>
                  <a:lnTo>
                    <a:pt x="983566" y="426474"/>
                  </a:lnTo>
                  <a:lnTo>
                    <a:pt x="983566" y="424900"/>
                  </a:lnTo>
                  <a:lnTo>
                    <a:pt x="983173" y="426474"/>
                  </a:lnTo>
                  <a:lnTo>
                    <a:pt x="983173" y="426474"/>
                  </a:lnTo>
                  <a:lnTo>
                    <a:pt x="983173" y="426474"/>
                  </a:lnTo>
                  <a:lnTo>
                    <a:pt x="982779" y="427654"/>
                  </a:lnTo>
                  <a:lnTo>
                    <a:pt x="983173" y="426474"/>
                  </a:lnTo>
                  <a:lnTo>
                    <a:pt x="983566" y="424900"/>
                  </a:lnTo>
                  <a:lnTo>
                    <a:pt x="985927" y="426868"/>
                  </a:lnTo>
                  <a:lnTo>
                    <a:pt x="989074" y="427654"/>
                  </a:lnTo>
                  <a:lnTo>
                    <a:pt x="991828" y="425687"/>
                  </a:lnTo>
                  <a:lnTo>
                    <a:pt x="994582" y="424507"/>
                  </a:lnTo>
                  <a:lnTo>
                    <a:pt x="995369" y="421360"/>
                  </a:lnTo>
                  <a:lnTo>
                    <a:pt x="995762" y="418606"/>
                  </a:lnTo>
                  <a:lnTo>
                    <a:pt x="993402" y="415458"/>
                  </a:lnTo>
                  <a:lnTo>
                    <a:pt x="993008" y="413884"/>
                  </a:lnTo>
                  <a:lnTo>
                    <a:pt x="993008" y="413491"/>
                  </a:lnTo>
                  <a:lnTo>
                    <a:pt x="992615" y="413098"/>
                  </a:lnTo>
                  <a:lnTo>
                    <a:pt x="991828" y="411131"/>
                  </a:lnTo>
                  <a:lnTo>
                    <a:pt x="994189" y="413098"/>
                  </a:lnTo>
                  <a:lnTo>
                    <a:pt x="993795" y="415065"/>
                  </a:lnTo>
                  <a:lnTo>
                    <a:pt x="996549" y="414671"/>
                  </a:lnTo>
                  <a:lnTo>
                    <a:pt x="999303" y="415852"/>
                  </a:lnTo>
                  <a:lnTo>
                    <a:pt x="996549" y="416245"/>
                  </a:lnTo>
                  <a:lnTo>
                    <a:pt x="999697" y="416638"/>
                  </a:lnTo>
                  <a:lnTo>
                    <a:pt x="1001270" y="413491"/>
                  </a:lnTo>
                  <a:lnTo>
                    <a:pt x="1004025" y="415065"/>
                  </a:lnTo>
                  <a:lnTo>
                    <a:pt x="1006778" y="413098"/>
                  </a:lnTo>
                  <a:lnTo>
                    <a:pt x="1007565" y="410344"/>
                  </a:lnTo>
                  <a:lnTo>
                    <a:pt x="1004418" y="410344"/>
                  </a:lnTo>
                  <a:lnTo>
                    <a:pt x="1001664" y="409950"/>
                  </a:lnTo>
                  <a:lnTo>
                    <a:pt x="1003237" y="408770"/>
                  </a:lnTo>
                  <a:lnTo>
                    <a:pt x="1005598" y="407983"/>
                  </a:lnTo>
                  <a:lnTo>
                    <a:pt x="1007565" y="407590"/>
                  </a:lnTo>
                  <a:lnTo>
                    <a:pt x="1008352" y="406803"/>
                  </a:lnTo>
                  <a:lnTo>
                    <a:pt x="1016221" y="403262"/>
                  </a:lnTo>
                  <a:lnTo>
                    <a:pt x="1017795" y="403655"/>
                  </a:lnTo>
                  <a:lnTo>
                    <a:pt x="1020548" y="403262"/>
                  </a:lnTo>
                  <a:lnTo>
                    <a:pt x="1020942" y="400508"/>
                  </a:lnTo>
                  <a:lnTo>
                    <a:pt x="1024089" y="398934"/>
                  </a:lnTo>
                  <a:lnTo>
                    <a:pt x="1024876" y="395787"/>
                  </a:lnTo>
                  <a:lnTo>
                    <a:pt x="1027630" y="396180"/>
                  </a:lnTo>
                  <a:lnTo>
                    <a:pt x="1030777" y="396574"/>
                  </a:lnTo>
                  <a:lnTo>
                    <a:pt x="1030384" y="394607"/>
                  </a:lnTo>
                  <a:lnTo>
                    <a:pt x="1030777" y="394607"/>
                  </a:lnTo>
                  <a:lnTo>
                    <a:pt x="1032744" y="396574"/>
                  </a:lnTo>
                  <a:lnTo>
                    <a:pt x="1035499" y="395393"/>
                  </a:lnTo>
                  <a:lnTo>
                    <a:pt x="1037072" y="392639"/>
                  </a:lnTo>
                  <a:lnTo>
                    <a:pt x="1040220" y="391853"/>
                  </a:lnTo>
                  <a:lnTo>
                    <a:pt x="1042580" y="390279"/>
                  </a:lnTo>
                  <a:lnTo>
                    <a:pt x="1045728" y="389886"/>
                  </a:lnTo>
                  <a:lnTo>
                    <a:pt x="1048088" y="386738"/>
                  </a:lnTo>
                  <a:lnTo>
                    <a:pt x="1050055" y="389886"/>
                  </a:lnTo>
                  <a:lnTo>
                    <a:pt x="1050055" y="387131"/>
                  </a:lnTo>
                  <a:lnTo>
                    <a:pt x="1052809" y="387131"/>
                  </a:lnTo>
                  <a:lnTo>
                    <a:pt x="1058317" y="382410"/>
                  </a:lnTo>
                  <a:lnTo>
                    <a:pt x="1060678" y="379656"/>
                  </a:lnTo>
                  <a:lnTo>
                    <a:pt x="1061465" y="376509"/>
                  </a:lnTo>
                  <a:lnTo>
                    <a:pt x="1064219" y="372968"/>
                  </a:lnTo>
                  <a:lnTo>
                    <a:pt x="1066973" y="371394"/>
                  </a:lnTo>
                  <a:lnTo>
                    <a:pt x="1070120" y="370214"/>
                  </a:lnTo>
                  <a:lnTo>
                    <a:pt x="1072874" y="368247"/>
                  </a:lnTo>
                  <a:lnTo>
                    <a:pt x="1076021" y="366673"/>
                  </a:lnTo>
                  <a:lnTo>
                    <a:pt x="1073661" y="363919"/>
                  </a:lnTo>
                  <a:lnTo>
                    <a:pt x="1070120" y="361952"/>
                  </a:lnTo>
                  <a:lnTo>
                    <a:pt x="1066973" y="361559"/>
                  </a:lnTo>
                  <a:lnTo>
                    <a:pt x="1064219" y="358805"/>
                  </a:lnTo>
                  <a:lnTo>
                    <a:pt x="1064612" y="358805"/>
                  </a:lnTo>
                  <a:lnTo>
                    <a:pt x="1067366" y="357231"/>
                  </a:lnTo>
                  <a:lnTo>
                    <a:pt x="1065399" y="356444"/>
                  </a:lnTo>
                  <a:lnTo>
                    <a:pt x="1068940" y="349756"/>
                  </a:lnTo>
                  <a:lnTo>
                    <a:pt x="1072480" y="347789"/>
                  </a:lnTo>
                  <a:lnTo>
                    <a:pt x="1072874" y="345428"/>
                  </a:lnTo>
                  <a:lnTo>
                    <a:pt x="1073661" y="342674"/>
                  </a:lnTo>
                  <a:lnTo>
                    <a:pt x="1073268" y="339920"/>
                  </a:lnTo>
                  <a:lnTo>
                    <a:pt x="1070120" y="340314"/>
                  </a:lnTo>
                  <a:lnTo>
                    <a:pt x="1073661" y="337953"/>
                  </a:lnTo>
                  <a:lnTo>
                    <a:pt x="1076021" y="337953"/>
                  </a:lnTo>
                  <a:lnTo>
                    <a:pt x="1078776" y="337560"/>
                  </a:lnTo>
                  <a:lnTo>
                    <a:pt x="1081923" y="335593"/>
                  </a:lnTo>
                  <a:lnTo>
                    <a:pt x="1079562" y="334019"/>
                  </a:lnTo>
                  <a:lnTo>
                    <a:pt x="1079956" y="334019"/>
                  </a:lnTo>
                  <a:lnTo>
                    <a:pt x="1082710" y="334412"/>
                  </a:lnTo>
                  <a:lnTo>
                    <a:pt x="1085857" y="332839"/>
                  </a:lnTo>
                  <a:lnTo>
                    <a:pt x="1083103" y="332052"/>
                  </a:lnTo>
                  <a:lnTo>
                    <a:pt x="1082710" y="331265"/>
                  </a:lnTo>
                  <a:lnTo>
                    <a:pt x="1084677" y="332052"/>
                  </a:lnTo>
                  <a:lnTo>
                    <a:pt x="1088218" y="333232"/>
                  </a:lnTo>
                  <a:lnTo>
                    <a:pt x="1090972" y="333626"/>
                  </a:lnTo>
                  <a:lnTo>
                    <a:pt x="1090185" y="330872"/>
                  </a:lnTo>
                  <a:lnTo>
                    <a:pt x="1101987" y="326544"/>
                  </a:lnTo>
                  <a:lnTo>
                    <a:pt x="1103955" y="327331"/>
                  </a:lnTo>
                  <a:lnTo>
                    <a:pt x="1109856" y="327331"/>
                  </a:lnTo>
                  <a:lnTo>
                    <a:pt x="1107102" y="324577"/>
                  </a:lnTo>
                  <a:lnTo>
                    <a:pt x="1108676" y="325757"/>
                  </a:lnTo>
                  <a:lnTo>
                    <a:pt x="1111430" y="327331"/>
                  </a:lnTo>
                  <a:lnTo>
                    <a:pt x="1114577" y="325757"/>
                  </a:lnTo>
                  <a:lnTo>
                    <a:pt x="1117331" y="326150"/>
                  </a:lnTo>
                  <a:lnTo>
                    <a:pt x="1120085" y="325757"/>
                  </a:lnTo>
                  <a:lnTo>
                    <a:pt x="1123233" y="326937"/>
                  </a:lnTo>
                  <a:lnTo>
                    <a:pt x="1125987" y="326150"/>
                  </a:lnTo>
                  <a:lnTo>
                    <a:pt x="1129134" y="325757"/>
                  </a:lnTo>
                  <a:lnTo>
                    <a:pt x="1129527" y="326544"/>
                  </a:lnTo>
                  <a:lnTo>
                    <a:pt x="1133462" y="326544"/>
                  </a:lnTo>
                  <a:lnTo>
                    <a:pt x="1134642" y="326937"/>
                  </a:lnTo>
                  <a:lnTo>
                    <a:pt x="1137396" y="326544"/>
                  </a:lnTo>
                  <a:lnTo>
                    <a:pt x="1137790" y="326150"/>
                  </a:lnTo>
                  <a:lnTo>
                    <a:pt x="1137790" y="326937"/>
                  </a:lnTo>
                  <a:lnTo>
                    <a:pt x="1138970" y="328904"/>
                  </a:lnTo>
                  <a:lnTo>
                    <a:pt x="1139363" y="328904"/>
                  </a:lnTo>
                  <a:lnTo>
                    <a:pt x="1142117" y="330872"/>
                  </a:lnTo>
                  <a:lnTo>
                    <a:pt x="1144478" y="330478"/>
                  </a:lnTo>
                  <a:lnTo>
                    <a:pt x="1148019" y="331658"/>
                  </a:lnTo>
                  <a:lnTo>
                    <a:pt x="1150772" y="332839"/>
                  </a:lnTo>
                  <a:lnTo>
                    <a:pt x="1155494" y="340314"/>
                  </a:lnTo>
                  <a:lnTo>
                    <a:pt x="1156280" y="342674"/>
                  </a:lnTo>
                  <a:lnTo>
                    <a:pt x="1155100" y="345428"/>
                  </a:lnTo>
                  <a:lnTo>
                    <a:pt x="1157854" y="346609"/>
                  </a:lnTo>
                  <a:lnTo>
                    <a:pt x="1161001" y="349363"/>
                  </a:lnTo>
                  <a:lnTo>
                    <a:pt x="1160215" y="349756"/>
                  </a:lnTo>
                  <a:lnTo>
                    <a:pt x="1150379" y="352903"/>
                  </a:lnTo>
                  <a:lnTo>
                    <a:pt x="1149986" y="353297"/>
                  </a:lnTo>
                  <a:lnTo>
                    <a:pt x="1146838" y="353690"/>
                  </a:lnTo>
                  <a:lnTo>
                    <a:pt x="1144084" y="354871"/>
                  </a:lnTo>
                  <a:lnTo>
                    <a:pt x="1141330" y="358018"/>
                  </a:lnTo>
                  <a:lnTo>
                    <a:pt x="1137790" y="360772"/>
                  </a:lnTo>
                  <a:lnTo>
                    <a:pt x="1137396" y="363526"/>
                  </a:lnTo>
                  <a:lnTo>
                    <a:pt x="1134642" y="365886"/>
                  </a:lnTo>
                  <a:lnTo>
                    <a:pt x="1131888" y="367067"/>
                  </a:lnTo>
                  <a:lnTo>
                    <a:pt x="1129527" y="369821"/>
                  </a:lnTo>
                  <a:lnTo>
                    <a:pt x="1126380" y="372181"/>
                  </a:lnTo>
                  <a:lnTo>
                    <a:pt x="1124020" y="374935"/>
                  </a:lnTo>
                  <a:lnTo>
                    <a:pt x="1122839" y="375329"/>
                  </a:lnTo>
                  <a:lnTo>
                    <a:pt x="1121659" y="378083"/>
                  </a:lnTo>
                  <a:lnTo>
                    <a:pt x="1119298" y="378476"/>
                  </a:lnTo>
                  <a:lnTo>
                    <a:pt x="1116545" y="378870"/>
                  </a:lnTo>
                  <a:lnTo>
                    <a:pt x="1116938" y="380443"/>
                  </a:lnTo>
                  <a:lnTo>
                    <a:pt x="1111430" y="383591"/>
                  </a:lnTo>
                  <a:lnTo>
                    <a:pt x="1109856" y="383591"/>
                  </a:lnTo>
                  <a:lnTo>
                    <a:pt x="1108283" y="386345"/>
                  </a:lnTo>
                  <a:lnTo>
                    <a:pt x="1105528" y="387918"/>
                  </a:lnTo>
                  <a:lnTo>
                    <a:pt x="1105528" y="390672"/>
                  </a:lnTo>
                  <a:lnTo>
                    <a:pt x="1104742" y="390672"/>
                  </a:lnTo>
                  <a:lnTo>
                    <a:pt x="1101594" y="388705"/>
                  </a:lnTo>
                  <a:lnTo>
                    <a:pt x="1098840" y="389886"/>
                  </a:lnTo>
                  <a:lnTo>
                    <a:pt x="1097660" y="393033"/>
                  </a:lnTo>
                  <a:lnTo>
                    <a:pt x="1096086" y="395787"/>
                  </a:lnTo>
                  <a:lnTo>
                    <a:pt x="1093332" y="394213"/>
                  </a:lnTo>
                  <a:lnTo>
                    <a:pt x="1096086" y="396967"/>
                  </a:lnTo>
                  <a:lnTo>
                    <a:pt x="1093332" y="395393"/>
                  </a:lnTo>
                  <a:lnTo>
                    <a:pt x="1094513" y="398541"/>
                  </a:lnTo>
                  <a:lnTo>
                    <a:pt x="1096086" y="400115"/>
                  </a:lnTo>
                  <a:lnTo>
                    <a:pt x="1092546" y="401295"/>
                  </a:lnTo>
                  <a:lnTo>
                    <a:pt x="1092152" y="399328"/>
                  </a:lnTo>
                  <a:lnTo>
                    <a:pt x="1089398" y="399721"/>
                  </a:lnTo>
                  <a:lnTo>
                    <a:pt x="1092546" y="401295"/>
                  </a:lnTo>
                  <a:lnTo>
                    <a:pt x="1089791" y="402082"/>
                  </a:lnTo>
                  <a:lnTo>
                    <a:pt x="1089005" y="402082"/>
                  </a:lnTo>
                  <a:lnTo>
                    <a:pt x="1085857" y="403262"/>
                  </a:lnTo>
                  <a:lnTo>
                    <a:pt x="1085464" y="402082"/>
                  </a:lnTo>
                  <a:lnTo>
                    <a:pt x="1082710" y="403262"/>
                  </a:lnTo>
                  <a:lnTo>
                    <a:pt x="1077202" y="400901"/>
                  </a:lnTo>
                  <a:lnTo>
                    <a:pt x="1076415" y="402475"/>
                  </a:lnTo>
                  <a:lnTo>
                    <a:pt x="1076415" y="402475"/>
                  </a:lnTo>
                  <a:lnTo>
                    <a:pt x="1070907" y="414671"/>
                  </a:lnTo>
                  <a:lnTo>
                    <a:pt x="1070513" y="415065"/>
                  </a:lnTo>
                  <a:lnTo>
                    <a:pt x="1069727" y="417819"/>
                  </a:lnTo>
                  <a:lnTo>
                    <a:pt x="1067760" y="420966"/>
                  </a:lnTo>
                  <a:lnTo>
                    <a:pt x="1070513" y="421360"/>
                  </a:lnTo>
                  <a:lnTo>
                    <a:pt x="1069333" y="424114"/>
                  </a:lnTo>
                  <a:lnTo>
                    <a:pt x="1071694" y="427261"/>
                  </a:lnTo>
                  <a:lnTo>
                    <a:pt x="1072874" y="427654"/>
                  </a:lnTo>
                  <a:lnTo>
                    <a:pt x="1073268" y="428048"/>
                  </a:lnTo>
                  <a:lnTo>
                    <a:pt x="1074841" y="430802"/>
                  </a:lnTo>
                  <a:lnTo>
                    <a:pt x="1075628" y="431982"/>
                  </a:lnTo>
                  <a:lnTo>
                    <a:pt x="1075235" y="434736"/>
                  </a:lnTo>
                  <a:lnTo>
                    <a:pt x="1074841" y="437884"/>
                  </a:lnTo>
                  <a:lnTo>
                    <a:pt x="1074054" y="440637"/>
                  </a:lnTo>
                  <a:lnTo>
                    <a:pt x="1074841" y="441424"/>
                  </a:lnTo>
                  <a:lnTo>
                    <a:pt x="1082710" y="450867"/>
                  </a:lnTo>
                  <a:lnTo>
                    <a:pt x="1083103" y="451653"/>
                  </a:lnTo>
                  <a:lnTo>
                    <a:pt x="1085857" y="454014"/>
                  </a:lnTo>
                  <a:lnTo>
                    <a:pt x="1083103" y="453227"/>
                  </a:lnTo>
                  <a:lnTo>
                    <a:pt x="1081529" y="452834"/>
                  </a:lnTo>
                  <a:lnTo>
                    <a:pt x="1080743" y="455588"/>
                  </a:lnTo>
                  <a:lnTo>
                    <a:pt x="1082316" y="457948"/>
                  </a:lnTo>
                  <a:lnTo>
                    <a:pt x="1082710" y="462669"/>
                  </a:lnTo>
                  <a:lnTo>
                    <a:pt x="1082316" y="464243"/>
                  </a:lnTo>
                  <a:lnTo>
                    <a:pt x="1081529" y="466997"/>
                  </a:lnTo>
                  <a:lnTo>
                    <a:pt x="1078382" y="467784"/>
                  </a:lnTo>
                  <a:lnTo>
                    <a:pt x="1079956" y="470538"/>
                  </a:lnTo>
                  <a:lnTo>
                    <a:pt x="1080743" y="473292"/>
                  </a:lnTo>
                  <a:lnTo>
                    <a:pt x="1080349" y="476046"/>
                  </a:lnTo>
                  <a:lnTo>
                    <a:pt x="1082710" y="478800"/>
                  </a:lnTo>
                  <a:lnTo>
                    <a:pt x="1081923" y="481947"/>
                  </a:lnTo>
                  <a:lnTo>
                    <a:pt x="1084677" y="482341"/>
                  </a:lnTo>
                  <a:lnTo>
                    <a:pt x="1085070" y="482341"/>
                  </a:lnTo>
                  <a:lnTo>
                    <a:pt x="1085464" y="482734"/>
                  </a:lnTo>
                  <a:lnTo>
                    <a:pt x="1085070" y="483128"/>
                  </a:lnTo>
                  <a:lnTo>
                    <a:pt x="1087824" y="484701"/>
                  </a:lnTo>
                  <a:lnTo>
                    <a:pt x="1087824" y="481947"/>
                  </a:lnTo>
                  <a:lnTo>
                    <a:pt x="1088611" y="481554"/>
                  </a:lnTo>
                  <a:lnTo>
                    <a:pt x="1091365" y="483128"/>
                  </a:lnTo>
                  <a:lnTo>
                    <a:pt x="1091365" y="484308"/>
                  </a:lnTo>
                  <a:lnTo>
                    <a:pt x="1093332" y="484308"/>
                  </a:lnTo>
                  <a:lnTo>
                    <a:pt x="1096873" y="486275"/>
                  </a:lnTo>
                  <a:lnTo>
                    <a:pt x="1099627" y="487062"/>
                  </a:lnTo>
                  <a:lnTo>
                    <a:pt x="1102381" y="488242"/>
                  </a:lnTo>
                  <a:lnTo>
                    <a:pt x="1105922" y="488242"/>
                  </a:lnTo>
                  <a:lnTo>
                    <a:pt x="1106316" y="488635"/>
                  </a:lnTo>
                  <a:lnTo>
                    <a:pt x="1105922" y="488635"/>
                  </a:lnTo>
                  <a:lnTo>
                    <a:pt x="1105528" y="489422"/>
                  </a:lnTo>
                  <a:lnTo>
                    <a:pt x="1106709" y="488635"/>
                  </a:lnTo>
                  <a:lnTo>
                    <a:pt x="1108676" y="490603"/>
                  </a:lnTo>
                  <a:lnTo>
                    <a:pt x="1108283" y="491389"/>
                  </a:lnTo>
                  <a:lnTo>
                    <a:pt x="1110643" y="492963"/>
                  </a:lnTo>
                  <a:lnTo>
                    <a:pt x="1112217" y="493750"/>
                  </a:lnTo>
                  <a:lnTo>
                    <a:pt x="1110643" y="494143"/>
                  </a:lnTo>
                  <a:lnTo>
                    <a:pt x="1107889" y="493750"/>
                  </a:lnTo>
                  <a:lnTo>
                    <a:pt x="1110643" y="495324"/>
                  </a:lnTo>
                  <a:lnTo>
                    <a:pt x="1107889" y="496111"/>
                  </a:lnTo>
                  <a:lnTo>
                    <a:pt x="1106316" y="498865"/>
                  </a:lnTo>
                  <a:lnTo>
                    <a:pt x="1107102" y="500045"/>
                  </a:lnTo>
                  <a:lnTo>
                    <a:pt x="1107496" y="500045"/>
                  </a:lnTo>
                  <a:lnTo>
                    <a:pt x="1108676" y="500045"/>
                  </a:lnTo>
                  <a:lnTo>
                    <a:pt x="1109069" y="500045"/>
                  </a:lnTo>
                  <a:lnTo>
                    <a:pt x="1111823" y="498865"/>
                  </a:lnTo>
                  <a:lnTo>
                    <a:pt x="1114577" y="499651"/>
                  </a:lnTo>
                  <a:lnTo>
                    <a:pt x="1117724" y="496897"/>
                  </a:lnTo>
                  <a:lnTo>
                    <a:pt x="1117331" y="495717"/>
                  </a:lnTo>
                  <a:lnTo>
                    <a:pt x="1120872" y="497291"/>
                  </a:lnTo>
                  <a:lnTo>
                    <a:pt x="1124806" y="499258"/>
                  </a:lnTo>
                  <a:lnTo>
                    <a:pt x="1124020" y="499651"/>
                  </a:lnTo>
                  <a:lnTo>
                    <a:pt x="1125593" y="500045"/>
                  </a:lnTo>
                  <a:lnTo>
                    <a:pt x="1124806" y="500045"/>
                  </a:lnTo>
                  <a:lnTo>
                    <a:pt x="1125200" y="503192"/>
                  </a:lnTo>
                  <a:lnTo>
                    <a:pt x="1122839" y="504373"/>
                  </a:lnTo>
                  <a:lnTo>
                    <a:pt x="1119692" y="505946"/>
                  </a:lnTo>
                  <a:lnTo>
                    <a:pt x="1122839" y="505553"/>
                  </a:lnTo>
                  <a:lnTo>
                    <a:pt x="1125593" y="505159"/>
                  </a:lnTo>
                  <a:lnTo>
                    <a:pt x="1128347" y="502799"/>
                  </a:lnTo>
                  <a:lnTo>
                    <a:pt x="1131494" y="500832"/>
                  </a:lnTo>
                  <a:lnTo>
                    <a:pt x="1131494" y="500438"/>
                  </a:lnTo>
                  <a:lnTo>
                    <a:pt x="1131888" y="500045"/>
                  </a:lnTo>
                  <a:lnTo>
                    <a:pt x="1133068" y="500045"/>
                  </a:lnTo>
                  <a:lnTo>
                    <a:pt x="1132675" y="500438"/>
                  </a:lnTo>
                  <a:lnTo>
                    <a:pt x="1129527" y="502012"/>
                  </a:lnTo>
                  <a:lnTo>
                    <a:pt x="1132675" y="502405"/>
                  </a:lnTo>
                  <a:lnTo>
                    <a:pt x="1135429" y="502012"/>
                  </a:lnTo>
                  <a:lnTo>
                    <a:pt x="1138576" y="502012"/>
                  </a:lnTo>
                  <a:lnTo>
                    <a:pt x="1141724" y="500045"/>
                  </a:lnTo>
                  <a:lnTo>
                    <a:pt x="1142117" y="500045"/>
                  </a:lnTo>
                  <a:lnTo>
                    <a:pt x="1143297" y="500045"/>
                  </a:lnTo>
                  <a:lnTo>
                    <a:pt x="1152346" y="500045"/>
                  </a:lnTo>
                  <a:lnTo>
                    <a:pt x="1153133" y="500045"/>
                  </a:lnTo>
                  <a:lnTo>
                    <a:pt x="1155100" y="500045"/>
                  </a:lnTo>
                  <a:lnTo>
                    <a:pt x="1157067" y="500045"/>
                  </a:lnTo>
                  <a:lnTo>
                    <a:pt x="1157854" y="498865"/>
                  </a:lnTo>
                  <a:lnTo>
                    <a:pt x="1159034" y="495717"/>
                  </a:lnTo>
                  <a:lnTo>
                    <a:pt x="1162575" y="495717"/>
                  </a:lnTo>
                  <a:lnTo>
                    <a:pt x="1165329" y="494537"/>
                  </a:lnTo>
                  <a:lnTo>
                    <a:pt x="1168477" y="493750"/>
                  </a:lnTo>
                  <a:lnTo>
                    <a:pt x="1171231" y="493357"/>
                  </a:lnTo>
                  <a:lnTo>
                    <a:pt x="1173985" y="491783"/>
                  </a:lnTo>
                  <a:lnTo>
                    <a:pt x="1177132" y="491389"/>
                  </a:lnTo>
                  <a:lnTo>
                    <a:pt x="1179886" y="491783"/>
                  </a:lnTo>
                  <a:lnTo>
                    <a:pt x="1183034" y="489422"/>
                  </a:lnTo>
                  <a:lnTo>
                    <a:pt x="1183820" y="487849"/>
                  </a:lnTo>
                  <a:lnTo>
                    <a:pt x="1184214" y="490603"/>
                  </a:lnTo>
                  <a:lnTo>
                    <a:pt x="1186968" y="492176"/>
                  </a:lnTo>
                  <a:lnTo>
                    <a:pt x="1189722" y="491783"/>
                  </a:lnTo>
                  <a:lnTo>
                    <a:pt x="1188541" y="489029"/>
                  </a:lnTo>
                  <a:lnTo>
                    <a:pt x="1191689" y="487849"/>
                  </a:lnTo>
                  <a:lnTo>
                    <a:pt x="1190902" y="486668"/>
                  </a:lnTo>
                  <a:lnTo>
                    <a:pt x="1192869" y="486275"/>
                  </a:lnTo>
                  <a:lnTo>
                    <a:pt x="1193263" y="486275"/>
                  </a:lnTo>
                  <a:lnTo>
                    <a:pt x="1196410" y="486668"/>
                  </a:lnTo>
                  <a:lnTo>
                    <a:pt x="1199164" y="487455"/>
                  </a:lnTo>
                  <a:lnTo>
                    <a:pt x="1201918" y="485882"/>
                  </a:lnTo>
                  <a:lnTo>
                    <a:pt x="1202311" y="484308"/>
                  </a:lnTo>
                  <a:lnTo>
                    <a:pt x="1203885" y="485488"/>
                  </a:lnTo>
                  <a:lnTo>
                    <a:pt x="1206639" y="485488"/>
                  </a:lnTo>
                  <a:lnTo>
                    <a:pt x="1209393" y="484701"/>
                  </a:lnTo>
                  <a:lnTo>
                    <a:pt x="1212541" y="484308"/>
                  </a:lnTo>
                  <a:lnTo>
                    <a:pt x="1215294" y="483128"/>
                  </a:lnTo>
                  <a:lnTo>
                    <a:pt x="1218442" y="481554"/>
                  </a:lnTo>
                  <a:lnTo>
                    <a:pt x="1218835" y="481554"/>
                  </a:lnTo>
                  <a:lnTo>
                    <a:pt x="1220409" y="483128"/>
                  </a:lnTo>
                  <a:lnTo>
                    <a:pt x="1223163" y="483521"/>
                  </a:lnTo>
                  <a:lnTo>
                    <a:pt x="1226311" y="483128"/>
                  </a:lnTo>
                  <a:lnTo>
                    <a:pt x="1229458" y="483914"/>
                  </a:lnTo>
                  <a:lnTo>
                    <a:pt x="1232212" y="483521"/>
                  </a:lnTo>
                  <a:lnTo>
                    <a:pt x="1231818" y="486275"/>
                  </a:lnTo>
                  <a:lnTo>
                    <a:pt x="1236540" y="481947"/>
                  </a:lnTo>
                  <a:lnTo>
                    <a:pt x="1237720" y="481947"/>
                  </a:lnTo>
                  <a:lnTo>
                    <a:pt x="1240867" y="481947"/>
                  </a:lnTo>
                  <a:lnTo>
                    <a:pt x="1243621" y="480374"/>
                  </a:lnTo>
                  <a:lnTo>
                    <a:pt x="1246769" y="478013"/>
                  </a:lnTo>
                  <a:lnTo>
                    <a:pt x="1249522" y="477620"/>
                  </a:lnTo>
                  <a:lnTo>
                    <a:pt x="1252670" y="476046"/>
                  </a:lnTo>
                  <a:lnTo>
                    <a:pt x="1253457" y="476046"/>
                  </a:lnTo>
                  <a:lnTo>
                    <a:pt x="1254637" y="477226"/>
                  </a:lnTo>
                  <a:lnTo>
                    <a:pt x="1253063" y="478800"/>
                  </a:lnTo>
                  <a:lnTo>
                    <a:pt x="1253850" y="481947"/>
                  </a:lnTo>
                  <a:lnTo>
                    <a:pt x="1254244" y="483521"/>
                  </a:lnTo>
                  <a:lnTo>
                    <a:pt x="1254244" y="484701"/>
                  </a:lnTo>
                  <a:lnTo>
                    <a:pt x="1251883" y="483521"/>
                  </a:lnTo>
                  <a:lnTo>
                    <a:pt x="1248736" y="481947"/>
                  </a:lnTo>
                  <a:lnTo>
                    <a:pt x="1253850" y="487455"/>
                  </a:lnTo>
                  <a:lnTo>
                    <a:pt x="1255424" y="487849"/>
                  </a:lnTo>
                  <a:lnTo>
                    <a:pt x="1260145" y="489422"/>
                  </a:lnTo>
                  <a:lnTo>
                    <a:pt x="1264079" y="493357"/>
                  </a:lnTo>
                  <a:lnTo>
                    <a:pt x="1266833" y="493750"/>
                  </a:lnTo>
                  <a:lnTo>
                    <a:pt x="1269981" y="493357"/>
                  </a:lnTo>
                  <a:lnTo>
                    <a:pt x="1273128" y="493750"/>
                  </a:lnTo>
                  <a:lnTo>
                    <a:pt x="1273915" y="493357"/>
                  </a:lnTo>
                  <a:lnTo>
                    <a:pt x="1288472" y="498078"/>
                  </a:lnTo>
                  <a:lnTo>
                    <a:pt x="1292013" y="498471"/>
                  </a:lnTo>
                  <a:lnTo>
                    <a:pt x="1293980" y="501225"/>
                  </a:lnTo>
                  <a:lnTo>
                    <a:pt x="1292406" y="502799"/>
                  </a:lnTo>
                  <a:lnTo>
                    <a:pt x="1288865" y="502405"/>
                  </a:lnTo>
                  <a:lnTo>
                    <a:pt x="1288078" y="502012"/>
                  </a:lnTo>
                  <a:lnTo>
                    <a:pt x="1285325" y="501225"/>
                  </a:lnTo>
                  <a:lnTo>
                    <a:pt x="1282177" y="500832"/>
                  </a:lnTo>
                  <a:lnTo>
                    <a:pt x="1279423" y="500438"/>
                  </a:lnTo>
                  <a:lnTo>
                    <a:pt x="1276276" y="500045"/>
                  </a:lnTo>
                  <a:lnTo>
                    <a:pt x="1273522" y="499651"/>
                  </a:lnTo>
                  <a:lnTo>
                    <a:pt x="1270374" y="499258"/>
                  </a:lnTo>
                  <a:lnTo>
                    <a:pt x="1268407" y="499258"/>
                  </a:lnTo>
                  <a:lnTo>
                    <a:pt x="1265653" y="502012"/>
                  </a:lnTo>
                  <a:lnTo>
                    <a:pt x="1258965" y="505946"/>
                  </a:lnTo>
                  <a:lnTo>
                    <a:pt x="1255818" y="504766"/>
                  </a:lnTo>
                  <a:lnTo>
                    <a:pt x="1252670" y="503979"/>
                  </a:lnTo>
                  <a:lnTo>
                    <a:pt x="1251096" y="506733"/>
                  </a:lnTo>
                  <a:lnTo>
                    <a:pt x="1249916" y="509487"/>
                  </a:lnTo>
                  <a:lnTo>
                    <a:pt x="1246769" y="509094"/>
                  </a:lnTo>
                  <a:lnTo>
                    <a:pt x="1244408" y="506340"/>
                  </a:lnTo>
                  <a:lnTo>
                    <a:pt x="1241654" y="506733"/>
                  </a:lnTo>
                  <a:lnTo>
                    <a:pt x="1242441" y="509881"/>
                  </a:lnTo>
                  <a:lnTo>
                    <a:pt x="1244015" y="512635"/>
                  </a:lnTo>
                  <a:lnTo>
                    <a:pt x="1242834" y="515388"/>
                  </a:lnTo>
                  <a:lnTo>
                    <a:pt x="1213327" y="514995"/>
                  </a:lnTo>
                  <a:lnTo>
                    <a:pt x="1210967" y="513421"/>
                  </a:lnTo>
                  <a:lnTo>
                    <a:pt x="1207819" y="513028"/>
                  </a:lnTo>
                  <a:lnTo>
                    <a:pt x="1205065" y="513421"/>
                  </a:lnTo>
                  <a:lnTo>
                    <a:pt x="1201918" y="513028"/>
                  </a:lnTo>
                  <a:lnTo>
                    <a:pt x="1199164" y="512241"/>
                  </a:lnTo>
                  <a:lnTo>
                    <a:pt x="1196016" y="511848"/>
                  </a:lnTo>
                  <a:lnTo>
                    <a:pt x="1193263" y="512241"/>
                  </a:lnTo>
                  <a:lnTo>
                    <a:pt x="1190115" y="512635"/>
                  </a:lnTo>
                  <a:lnTo>
                    <a:pt x="1187361" y="512241"/>
                  </a:lnTo>
                  <a:lnTo>
                    <a:pt x="1184607" y="511848"/>
                  </a:lnTo>
                  <a:lnTo>
                    <a:pt x="1181853" y="511061"/>
                  </a:lnTo>
                  <a:lnTo>
                    <a:pt x="1182247" y="514208"/>
                  </a:lnTo>
                  <a:lnTo>
                    <a:pt x="1181067" y="514602"/>
                  </a:lnTo>
                  <a:lnTo>
                    <a:pt x="1176738" y="514602"/>
                  </a:lnTo>
                  <a:lnTo>
                    <a:pt x="1176345" y="514602"/>
                  </a:lnTo>
                  <a:lnTo>
                    <a:pt x="1175952" y="514602"/>
                  </a:lnTo>
                  <a:lnTo>
                    <a:pt x="1170444" y="514602"/>
                  </a:lnTo>
                  <a:lnTo>
                    <a:pt x="1165329" y="514602"/>
                  </a:lnTo>
                  <a:lnTo>
                    <a:pt x="1157854" y="516175"/>
                  </a:lnTo>
                  <a:lnTo>
                    <a:pt x="1156280" y="515782"/>
                  </a:lnTo>
                  <a:lnTo>
                    <a:pt x="1155100" y="516569"/>
                  </a:lnTo>
                  <a:lnTo>
                    <a:pt x="1147625" y="518142"/>
                  </a:lnTo>
                  <a:lnTo>
                    <a:pt x="1147231" y="518536"/>
                  </a:lnTo>
                  <a:lnTo>
                    <a:pt x="1147231" y="518536"/>
                  </a:lnTo>
                  <a:lnTo>
                    <a:pt x="1146051" y="521290"/>
                  </a:lnTo>
                  <a:lnTo>
                    <a:pt x="1143297" y="520896"/>
                  </a:lnTo>
                  <a:lnTo>
                    <a:pt x="1140150" y="522470"/>
                  </a:lnTo>
                  <a:lnTo>
                    <a:pt x="1137396" y="522470"/>
                  </a:lnTo>
                  <a:lnTo>
                    <a:pt x="1134642" y="524044"/>
                  </a:lnTo>
                  <a:lnTo>
                    <a:pt x="1135429" y="527191"/>
                  </a:lnTo>
                  <a:lnTo>
                    <a:pt x="1134642" y="530339"/>
                  </a:lnTo>
                  <a:lnTo>
                    <a:pt x="1137396" y="528765"/>
                  </a:lnTo>
                  <a:lnTo>
                    <a:pt x="1138183" y="531519"/>
                  </a:lnTo>
                  <a:lnTo>
                    <a:pt x="1135429" y="533880"/>
                  </a:lnTo>
                  <a:lnTo>
                    <a:pt x="1136609" y="537027"/>
                  </a:lnTo>
                  <a:lnTo>
                    <a:pt x="1139757" y="536634"/>
                  </a:lnTo>
                  <a:lnTo>
                    <a:pt x="1139757" y="536634"/>
                  </a:lnTo>
                  <a:lnTo>
                    <a:pt x="1138970" y="538601"/>
                  </a:lnTo>
                  <a:lnTo>
                    <a:pt x="1137002" y="540174"/>
                  </a:lnTo>
                  <a:lnTo>
                    <a:pt x="1137396" y="542928"/>
                  </a:lnTo>
                  <a:lnTo>
                    <a:pt x="1137396" y="543322"/>
                  </a:lnTo>
                  <a:lnTo>
                    <a:pt x="1139757" y="543715"/>
                  </a:lnTo>
                  <a:lnTo>
                    <a:pt x="1142117" y="544895"/>
                  </a:lnTo>
                  <a:lnTo>
                    <a:pt x="1142904" y="547649"/>
                  </a:lnTo>
                  <a:lnTo>
                    <a:pt x="1145658" y="550010"/>
                  </a:lnTo>
                  <a:lnTo>
                    <a:pt x="1148412" y="550797"/>
                  </a:lnTo>
                  <a:lnTo>
                    <a:pt x="1151560" y="551977"/>
                  </a:lnTo>
                  <a:lnTo>
                    <a:pt x="1154313" y="552371"/>
                  </a:lnTo>
                  <a:lnTo>
                    <a:pt x="1157461" y="551584"/>
                  </a:lnTo>
                  <a:lnTo>
                    <a:pt x="1159034" y="548830"/>
                  </a:lnTo>
                  <a:lnTo>
                    <a:pt x="1162182" y="549223"/>
                  </a:lnTo>
                  <a:lnTo>
                    <a:pt x="1159821" y="564960"/>
                  </a:lnTo>
                  <a:lnTo>
                    <a:pt x="1159428" y="566927"/>
                  </a:lnTo>
                  <a:lnTo>
                    <a:pt x="1159428" y="566927"/>
                  </a:lnTo>
                  <a:lnTo>
                    <a:pt x="1155887" y="590533"/>
                  </a:lnTo>
                  <a:lnTo>
                    <a:pt x="1124413" y="576763"/>
                  </a:lnTo>
                  <a:lnTo>
                    <a:pt x="1123626" y="576370"/>
                  </a:lnTo>
                  <a:lnTo>
                    <a:pt x="1120872" y="574796"/>
                  </a:lnTo>
                  <a:lnTo>
                    <a:pt x="1118118" y="571648"/>
                  </a:lnTo>
                  <a:lnTo>
                    <a:pt x="1116545" y="568895"/>
                  </a:lnTo>
                  <a:lnTo>
                    <a:pt x="1113790" y="569681"/>
                  </a:lnTo>
                  <a:lnTo>
                    <a:pt x="1111036" y="570862"/>
                  </a:lnTo>
                  <a:lnTo>
                    <a:pt x="1109856" y="571255"/>
                  </a:lnTo>
                  <a:lnTo>
                    <a:pt x="1107102" y="572829"/>
                  </a:lnTo>
                  <a:lnTo>
                    <a:pt x="1104348" y="574009"/>
                  </a:lnTo>
                  <a:lnTo>
                    <a:pt x="1101201" y="574009"/>
                  </a:lnTo>
                  <a:lnTo>
                    <a:pt x="1098447" y="574402"/>
                  </a:lnTo>
                  <a:lnTo>
                    <a:pt x="1095693" y="576763"/>
                  </a:lnTo>
                  <a:lnTo>
                    <a:pt x="1093726" y="579517"/>
                  </a:lnTo>
                  <a:lnTo>
                    <a:pt x="1091365" y="582664"/>
                  </a:lnTo>
                  <a:lnTo>
                    <a:pt x="1090578" y="585418"/>
                  </a:lnTo>
                  <a:lnTo>
                    <a:pt x="1090578" y="588172"/>
                  </a:lnTo>
                  <a:lnTo>
                    <a:pt x="1090972" y="590926"/>
                  </a:lnTo>
                  <a:lnTo>
                    <a:pt x="1088218" y="593680"/>
                  </a:lnTo>
                  <a:lnTo>
                    <a:pt x="1085464" y="596041"/>
                  </a:lnTo>
                  <a:lnTo>
                    <a:pt x="1082710" y="598795"/>
                  </a:lnTo>
                  <a:lnTo>
                    <a:pt x="1083103" y="601549"/>
                  </a:lnTo>
                  <a:lnTo>
                    <a:pt x="1082710" y="604303"/>
                  </a:lnTo>
                  <a:lnTo>
                    <a:pt x="1082316" y="607057"/>
                  </a:lnTo>
                  <a:lnTo>
                    <a:pt x="1082316" y="607450"/>
                  </a:lnTo>
                  <a:lnTo>
                    <a:pt x="1082316" y="609811"/>
                  </a:lnTo>
                  <a:lnTo>
                    <a:pt x="1081529" y="612565"/>
                  </a:lnTo>
                  <a:lnTo>
                    <a:pt x="1081923" y="615319"/>
                  </a:lnTo>
                  <a:lnTo>
                    <a:pt x="1083103" y="618073"/>
                  </a:lnTo>
                  <a:lnTo>
                    <a:pt x="1084283" y="621220"/>
                  </a:lnTo>
                  <a:lnTo>
                    <a:pt x="1084677" y="622400"/>
                  </a:lnTo>
                  <a:lnTo>
                    <a:pt x="1085070" y="624368"/>
                  </a:lnTo>
                  <a:lnTo>
                    <a:pt x="1084677" y="627515"/>
                  </a:lnTo>
                  <a:lnTo>
                    <a:pt x="1085464" y="630269"/>
                  </a:lnTo>
                  <a:lnTo>
                    <a:pt x="1089005" y="635777"/>
                  </a:lnTo>
                  <a:lnTo>
                    <a:pt x="1090185" y="638531"/>
                  </a:lnTo>
                  <a:lnTo>
                    <a:pt x="1092152" y="644432"/>
                  </a:lnTo>
                  <a:lnTo>
                    <a:pt x="1092939" y="646399"/>
                  </a:lnTo>
                  <a:lnTo>
                    <a:pt x="1092546" y="647186"/>
                  </a:lnTo>
                  <a:lnTo>
                    <a:pt x="1091365" y="647186"/>
                  </a:lnTo>
                  <a:lnTo>
                    <a:pt x="1089398" y="647186"/>
                  </a:lnTo>
                  <a:lnTo>
                    <a:pt x="1092152" y="647973"/>
                  </a:lnTo>
                  <a:lnTo>
                    <a:pt x="1090578" y="649940"/>
                  </a:lnTo>
                  <a:lnTo>
                    <a:pt x="1091365" y="652694"/>
                  </a:lnTo>
                  <a:lnTo>
                    <a:pt x="1091758" y="655842"/>
                  </a:lnTo>
                  <a:lnTo>
                    <a:pt x="1076021" y="655842"/>
                  </a:lnTo>
                  <a:lnTo>
                    <a:pt x="1078776" y="653875"/>
                  </a:lnTo>
                  <a:lnTo>
                    <a:pt x="1081529" y="651514"/>
                  </a:lnTo>
                  <a:lnTo>
                    <a:pt x="1083497" y="648760"/>
                  </a:lnTo>
                  <a:lnTo>
                    <a:pt x="1085070" y="647186"/>
                  </a:lnTo>
                  <a:lnTo>
                    <a:pt x="1087824" y="647580"/>
                  </a:lnTo>
                  <a:lnTo>
                    <a:pt x="1089005" y="647580"/>
                  </a:lnTo>
                  <a:lnTo>
                    <a:pt x="1085070" y="646793"/>
                  </a:lnTo>
                  <a:lnTo>
                    <a:pt x="1086250" y="644039"/>
                  </a:lnTo>
                  <a:lnTo>
                    <a:pt x="1087038" y="641285"/>
                  </a:lnTo>
                  <a:lnTo>
                    <a:pt x="1087431" y="638531"/>
                  </a:lnTo>
                  <a:lnTo>
                    <a:pt x="1087431" y="635384"/>
                  </a:lnTo>
                  <a:lnTo>
                    <a:pt x="1086644" y="638531"/>
                  </a:lnTo>
                  <a:lnTo>
                    <a:pt x="1086250" y="641285"/>
                  </a:lnTo>
                  <a:lnTo>
                    <a:pt x="1085070" y="644039"/>
                  </a:lnTo>
                  <a:lnTo>
                    <a:pt x="1083497" y="646399"/>
                  </a:lnTo>
                  <a:lnTo>
                    <a:pt x="1082710" y="646399"/>
                  </a:lnTo>
                  <a:lnTo>
                    <a:pt x="1083497" y="646793"/>
                  </a:lnTo>
                  <a:lnTo>
                    <a:pt x="1074448" y="656235"/>
                  </a:lnTo>
                  <a:lnTo>
                    <a:pt x="1060678" y="657809"/>
                  </a:lnTo>
                  <a:lnTo>
                    <a:pt x="1059104" y="659383"/>
                  </a:lnTo>
                  <a:lnTo>
                    <a:pt x="1059891" y="661743"/>
                  </a:lnTo>
                  <a:lnTo>
                    <a:pt x="1058317" y="668038"/>
                  </a:lnTo>
                  <a:lnTo>
                    <a:pt x="1052809" y="673546"/>
                  </a:lnTo>
                  <a:lnTo>
                    <a:pt x="1035892" y="677087"/>
                  </a:lnTo>
                  <a:lnTo>
                    <a:pt x="1031958" y="676693"/>
                  </a:lnTo>
                  <a:lnTo>
                    <a:pt x="1029204" y="675120"/>
                  </a:lnTo>
                  <a:lnTo>
                    <a:pt x="1028810" y="674726"/>
                  </a:lnTo>
                  <a:lnTo>
                    <a:pt x="1025663" y="669218"/>
                  </a:lnTo>
                  <a:lnTo>
                    <a:pt x="1025663" y="669218"/>
                  </a:lnTo>
                  <a:lnTo>
                    <a:pt x="1024876" y="667644"/>
                  </a:lnTo>
                  <a:lnTo>
                    <a:pt x="1023302" y="664104"/>
                  </a:lnTo>
                  <a:lnTo>
                    <a:pt x="1024876" y="663710"/>
                  </a:lnTo>
                  <a:lnTo>
                    <a:pt x="1027630" y="664891"/>
                  </a:lnTo>
                  <a:lnTo>
                    <a:pt x="1030384" y="666464"/>
                  </a:lnTo>
                  <a:lnTo>
                    <a:pt x="1027630" y="664497"/>
                  </a:lnTo>
                  <a:lnTo>
                    <a:pt x="1024876" y="663317"/>
                  </a:lnTo>
                  <a:lnTo>
                    <a:pt x="1022909" y="662530"/>
                  </a:lnTo>
                  <a:lnTo>
                    <a:pt x="1020155" y="660956"/>
                  </a:lnTo>
                  <a:lnTo>
                    <a:pt x="1017401" y="661350"/>
                  </a:lnTo>
                  <a:lnTo>
                    <a:pt x="1014254" y="660956"/>
                  </a:lnTo>
                  <a:lnTo>
                    <a:pt x="1011499" y="661350"/>
                  </a:lnTo>
                  <a:lnTo>
                    <a:pt x="1008746" y="661743"/>
                  </a:lnTo>
                  <a:lnTo>
                    <a:pt x="1005992" y="662137"/>
                  </a:lnTo>
                  <a:lnTo>
                    <a:pt x="1004025" y="662530"/>
                  </a:lnTo>
                  <a:lnTo>
                    <a:pt x="1001270" y="662923"/>
                  </a:lnTo>
                  <a:lnTo>
                    <a:pt x="998517" y="663317"/>
                  </a:lnTo>
                  <a:lnTo>
                    <a:pt x="995762" y="663710"/>
                  </a:lnTo>
                  <a:lnTo>
                    <a:pt x="993008" y="664104"/>
                  </a:lnTo>
                  <a:lnTo>
                    <a:pt x="990255" y="665284"/>
                  </a:lnTo>
                  <a:lnTo>
                    <a:pt x="987107" y="666858"/>
                  </a:lnTo>
                  <a:lnTo>
                    <a:pt x="986320" y="667251"/>
                  </a:lnTo>
                  <a:lnTo>
                    <a:pt x="979632" y="669218"/>
                  </a:lnTo>
                  <a:lnTo>
                    <a:pt x="978452" y="669218"/>
                  </a:lnTo>
                  <a:lnTo>
                    <a:pt x="975698" y="670005"/>
                  </a:lnTo>
                  <a:lnTo>
                    <a:pt x="974518" y="670398"/>
                  </a:lnTo>
                  <a:lnTo>
                    <a:pt x="971763" y="672759"/>
                  </a:lnTo>
                  <a:lnTo>
                    <a:pt x="969403" y="675513"/>
                  </a:lnTo>
                  <a:lnTo>
                    <a:pt x="947371" y="681808"/>
                  </a:lnTo>
                  <a:lnTo>
                    <a:pt x="944617" y="682201"/>
                  </a:lnTo>
                  <a:lnTo>
                    <a:pt x="942650" y="682988"/>
                  </a:lnTo>
                  <a:lnTo>
                    <a:pt x="937535" y="684562"/>
                  </a:lnTo>
                  <a:lnTo>
                    <a:pt x="932027" y="686136"/>
                  </a:lnTo>
                  <a:lnTo>
                    <a:pt x="932027" y="686136"/>
                  </a:lnTo>
                  <a:lnTo>
                    <a:pt x="930847" y="686529"/>
                  </a:lnTo>
                  <a:lnTo>
                    <a:pt x="919438" y="690070"/>
                  </a:lnTo>
                  <a:lnTo>
                    <a:pt x="917864" y="689676"/>
                  </a:lnTo>
                  <a:lnTo>
                    <a:pt x="912356" y="684955"/>
                  </a:lnTo>
                  <a:lnTo>
                    <a:pt x="909602" y="684168"/>
                  </a:lnTo>
                  <a:lnTo>
                    <a:pt x="906848" y="681808"/>
                  </a:lnTo>
                  <a:lnTo>
                    <a:pt x="907635" y="684562"/>
                  </a:lnTo>
                  <a:lnTo>
                    <a:pt x="907241" y="685742"/>
                  </a:lnTo>
                  <a:lnTo>
                    <a:pt x="907241" y="686136"/>
                  </a:lnTo>
                  <a:lnTo>
                    <a:pt x="906848" y="685742"/>
                  </a:lnTo>
                  <a:lnTo>
                    <a:pt x="905668" y="682988"/>
                  </a:lnTo>
                  <a:lnTo>
                    <a:pt x="904881" y="681808"/>
                  </a:lnTo>
                  <a:lnTo>
                    <a:pt x="902127" y="682988"/>
                  </a:lnTo>
                  <a:lnTo>
                    <a:pt x="898979" y="683382"/>
                  </a:lnTo>
                  <a:lnTo>
                    <a:pt x="899767" y="684562"/>
                  </a:lnTo>
                  <a:lnTo>
                    <a:pt x="896619" y="682201"/>
                  </a:lnTo>
                  <a:lnTo>
                    <a:pt x="894259" y="679841"/>
                  </a:lnTo>
                  <a:lnTo>
                    <a:pt x="892291" y="679054"/>
                  </a:lnTo>
                  <a:lnTo>
                    <a:pt x="891111" y="678267"/>
                  </a:lnTo>
                  <a:lnTo>
                    <a:pt x="893471" y="679054"/>
                  </a:lnTo>
                  <a:lnTo>
                    <a:pt x="896226" y="678660"/>
                  </a:lnTo>
                  <a:lnTo>
                    <a:pt x="898979" y="676693"/>
                  </a:lnTo>
                  <a:lnTo>
                    <a:pt x="902520" y="677480"/>
                  </a:lnTo>
                  <a:lnTo>
                    <a:pt x="905274" y="677874"/>
                  </a:lnTo>
                  <a:lnTo>
                    <a:pt x="904881" y="675120"/>
                  </a:lnTo>
                  <a:lnTo>
                    <a:pt x="902914" y="674333"/>
                  </a:lnTo>
                  <a:lnTo>
                    <a:pt x="903307" y="670792"/>
                  </a:lnTo>
                  <a:lnTo>
                    <a:pt x="902914" y="668825"/>
                  </a:lnTo>
                  <a:lnTo>
                    <a:pt x="900160" y="669218"/>
                  </a:lnTo>
                  <a:lnTo>
                    <a:pt x="897012" y="668825"/>
                  </a:lnTo>
                  <a:lnTo>
                    <a:pt x="896226" y="666071"/>
                  </a:lnTo>
                  <a:lnTo>
                    <a:pt x="893471" y="668431"/>
                  </a:lnTo>
                  <a:lnTo>
                    <a:pt x="892685" y="670005"/>
                  </a:lnTo>
                  <a:lnTo>
                    <a:pt x="890718" y="670005"/>
                  </a:lnTo>
                  <a:lnTo>
                    <a:pt x="891898" y="672366"/>
                  </a:lnTo>
                  <a:lnTo>
                    <a:pt x="889931" y="677087"/>
                  </a:lnTo>
                  <a:lnTo>
                    <a:pt x="890324" y="677480"/>
                  </a:lnTo>
                  <a:lnTo>
                    <a:pt x="890324" y="677874"/>
                  </a:lnTo>
                  <a:lnTo>
                    <a:pt x="890718" y="678660"/>
                  </a:lnTo>
                  <a:lnTo>
                    <a:pt x="889931" y="678267"/>
                  </a:lnTo>
                  <a:lnTo>
                    <a:pt x="890718" y="679054"/>
                  </a:lnTo>
                  <a:lnTo>
                    <a:pt x="890718" y="679054"/>
                  </a:lnTo>
                  <a:lnTo>
                    <a:pt x="890718" y="679054"/>
                  </a:lnTo>
                  <a:lnTo>
                    <a:pt x="891111" y="679447"/>
                  </a:lnTo>
                  <a:lnTo>
                    <a:pt x="890324" y="679054"/>
                  </a:lnTo>
                  <a:lnTo>
                    <a:pt x="889537" y="678267"/>
                  </a:lnTo>
                  <a:lnTo>
                    <a:pt x="889144" y="678267"/>
                  </a:lnTo>
                  <a:lnTo>
                    <a:pt x="887177" y="675513"/>
                  </a:lnTo>
                  <a:lnTo>
                    <a:pt x="884423" y="675513"/>
                  </a:lnTo>
                  <a:lnTo>
                    <a:pt x="881275" y="676300"/>
                  </a:lnTo>
                  <a:lnTo>
                    <a:pt x="878521" y="675120"/>
                  </a:lnTo>
                  <a:lnTo>
                    <a:pt x="875767" y="676300"/>
                  </a:lnTo>
                  <a:lnTo>
                    <a:pt x="874194" y="677480"/>
                  </a:lnTo>
                  <a:lnTo>
                    <a:pt x="874194" y="675906"/>
                  </a:lnTo>
                  <a:lnTo>
                    <a:pt x="876948" y="674726"/>
                  </a:lnTo>
                  <a:lnTo>
                    <a:pt x="879701" y="674333"/>
                  </a:lnTo>
                  <a:lnTo>
                    <a:pt x="882456" y="674726"/>
                  </a:lnTo>
                  <a:lnTo>
                    <a:pt x="879701" y="673939"/>
                  </a:lnTo>
                  <a:lnTo>
                    <a:pt x="876948" y="673546"/>
                  </a:lnTo>
                  <a:lnTo>
                    <a:pt x="874194" y="673152"/>
                  </a:lnTo>
                  <a:lnTo>
                    <a:pt x="869472" y="679054"/>
                  </a:lnTo>
                  <a:lnTo>
                    <a:pt x="867112" y="680234"/>
                  </a:lnTo>
                  <a:lnTo>
                    <a:pt x="864358" y="682595"/>
                  </a:lnTo>
                  <a:lnTo>
                    <a:pt x="864752" y="685349"/>
                  </a:lnTo>
                  <a:lnTo>
                    <a:pt x="863964" y="682201"/>
                  </a:lnTo>
                  <a:lnTo>
                    <a:pt x="860817" y="682595"/>
                  </a:lnTo>
                  <a:lnTo>
                    <a:pt x="858063" y="683382"/>
                  </a:lnTo>
                  <a:lnTo>
                    <a:pt x="855309" y="682988"/>
                  </a:lnTo>
                  <a:lnTo>
                    <a:pt x="852555" y="684562"/>
                  </a:lnTo>
                  <a:lnTo>
                    <a:pt x="849801" y="686136"/>
                  </a:lnTo>
                  <a:lnTo>
                    <a:pt x="852555" y="684955"/>
                  </a:lnTo>
                  <a:lnTo>
                    <a:pt x="849801" y="687316"/>
                  </a:lnTo>
                  <a:lnTo>
                    <a:pt x="848621" y="690070"/>
                  </a:lnTo>
                  <a:lnTo>
                    <a:pt x="848227" y="690857"/>
                  </a:lnTo>
                  <a:lnTo>
                    <a:pt x="845474" y="688890"/>
                  </a:lnTo>
                  <a:lnTo>
                    <a:pt x="842720" y="688496"/>
                  </a:lnTo>
                  <a:lnTo>
                    <a:pt x="839965" y="687316"/>
                  </a:lnTo>
                  <a:lnTo>
                    <a:pt x="838392" y="687709"/>
                  </a:lnTo>
                  <a:lnTo>
                    <a:pt x="834457" y="689283"/>
                  </a:lnTo>
                  <a:lnTo>
                    <a:pt x="834064" y="689283"/>
                  </a:lnTo>
                  <a:lnTo>
                    <a:pt x="833671" y="688890"/>
                  </a:lnTo>
                  <a:lnTo>
                    <a:pt x="836031" y="683382"/>
                  </a:lnTo>
                  <a:lnTo>
                    <a:pt x="836818" y="682988"/>
                  </a:lnTo>
                  <a:lnTo>
                    <a:pt x="838786" y="680234"/>
                  </a:lnTo>
                  <a:lnTo>
                    <a:pt x="838786" y="677087"/>
                  </a:lnTo>
                  <a:lnTo>
                    <a:pt x="839572" y="675513"/>
                  </a:lnTo>
                  <a:lnTo>
                    <a:pt x="839179" y="675513"/>
                  </a:lnTo>
                  <a:lnTo>
                    <a:pt x="838786" y="675906"/>
                  </a:lnTo>
                  <a:lnTo>
                    <a:pt x="838392" y="676300"/>
                  </a:lnTo>
                  <a:lnTo>
                    <a:pt x="822655" y="675120"/>
                  </a:lnTo>
                  <a:lnTo>
                    <a:pt x="821081" y="674333"/>
                  </a:lnTo>
                  <a:lnTo>
                    <a:pt x="818327" y="674726"/>
                  </a:lnTo>
                  <a:lnTo>
                    <a:pt x="817934" y="674726"/>
                  </a:lnTo>
                  <a:lnTo>
                    <a:pt x="815180" y="676300"/>
                  </a:lnTo>
                  <a:lnTo>
                    <a:pt x="814786" y="675906"/>
                  </a:lnTo>
                  <a:lnTo>
                    <a:pt x="816360" y="673152"/>
                  </a:lnTo>
                  <a:lnTo>
                    <a:pt x="813213" y="672366"/>
                  </a:lnTo>
                  <a:lnTo>
                    <a:pt x="811246" y="672759"/>
                  </a:lnTo>
                  <a:lnTo>
                    <a:pt x="811246" y="671185"/>
                  </a:lnTo>
                  <a:lnTo>
                    <a:pt x="811639" y="668431"/>
                  </a:lnTo>
                  <a:lnTo>
                    <a:pt x="811246" y="666464"/>
                  </a:lnTo>
                  <a:lnTo>
                    <a:pt x="809672" y="666858"/>
                  </a:lnTo>
                  <a:lnTo>
                    <a:pt x="811246" y="666071"/>
                  </a:lnTo>
                  <a:lnTo>
                    <a:pt x="811246" y="665284"/>
                  </a:lnTo>
                  <a:lnTo>
                    <a:pt x="808885" y="662923"/>
                  </a:lnTo>
                  <a:lnTo>
                    <a:pt x="806131" y="663317"/>
                  </a:lnTo>
                  <a:lnTo>
                    <a:pt x="802983" y="662137"/>
                  </a:lnTo>
                  <a:lnTo>
                    <a:pt x="801410" y="661743"/>
                  </a:lnTo>
                  <a:lnTo>
                    <a:pt x="803377" y="662137"/>
                  </a:lnTo>
                  <a:lnTo>
                    <a:pt x="800230" y="660563"/>
                  </a:lnTo>
                  <a:lnTo>
                    <a:pt x="798262" y="661350"/>
                  </a:lnTo>
                  <a:lnTo>
                    <a:pt x="799049" y="661350"/>
                  </a:lnTo>
                  <a:lnTo>
                    <a:pt x="797082" y="661743"/>
                  </a:lnTo>
                  <a:lnTo>
                    <a:pt x="798262" y="661350"/>
                  </a:lnTo>
                  <a:lnTo>
                    <a:pt x="798262" y="661350"/>
                  </a:lnTo>
                  <a:lnTo>
                    <a:pt x="800623" y="659383"/>
                  </a:lnTo>
                  <a:lnTo>
                    <a:pt x="801410" y="659776"/>
                  </a:lnTo>
                  <a:lnTo>
                    <a:pt x="801803" y="661350"/>
                  </a:lnTo>
                  <a:lnTo>
                    <a:pt x="804950" y="661743"/>
                  </a:lnTo>
                  <a:lnTo>
                    <a:pt x="804950" y="658596"/>
                  </a:lnTo>
                  <a:lnTo>
                    <a:pt x="803377" y="656629"/>
                  </a:lnTo>
                  <a:lnTo>
                    <a:pt x="803377" y="655842"/>
                  </a:lnTo>
                  <a:lnTo>
                    <a:pt x="806131" y="656629"/>
                  </a:lnTo>
                  <a:lnTo>
                    <a:pt x="806131" y="658989"/>
                  </a:lnTo>
                  <a:lnTo>
                    <a:pt x="808885" y="660563"/>
                  </a:lnTo>
                  <a:lnTo>
                    <a:pt x="812032" y="660956"/>
                  </a:lnTo>
                  <a:lnTo>
                    <a:pt x="812819" y="658989"/>
                  </a:lnTo>
                  <a:lnTo>
                    <a:pt x="812032" y="657022"/>
                  </a:lnTo>
                  <a:lnTo>
                    <a:pt x="811639" y="656629"/>
                  </a:lnTo>
                  <a:lnTo>
                    <a:pt x="810065" y="655842"/>
                  </a:lnTo>
                  <a:lnTo>
                    <a:pt x="807311" y="654268"/>
                  </a:lnTo>
                  <a:lnTo>
                    <a:pt x="804557" y="655055"/>
                  </a:lnTo>
                  <a:lnTo>
                    <a:pt x="803770" y="655448"/>
                  </a:lnTo>
                  <a:lnTo>
                    <a:pt x="802590" y="649547"/>
                  </a:lnTo>
                  <a:lnTo>
                    <a:pt x="801410" y="650334"/>
                  </a:lnTo>
                  <a:lnTo>
                    <a:pt x="802590" y="649153"/>
                  </a:lnTo>
                  <a:lnTo>
                    <a:pt x="802590" y="649547"/>
                  </a:lnTo>
                  <a:lnTo>
                    <a:pt x="804164" y="648760"/>
                  </a:lnTo>
                  <a:lnTo>
                    <a:pt x="803770" y="647973"/>
                  </a:lnTo>
                  <a:lnTo>
                    <a:pt x="804164" y="647580"/>
                  </a:lnTo>
                  <a:lnTo>
                    <a:pt x="802197" y="644826"/>
                  </a:lnTo>
                  <a:lnTo>
                    <a:pt x="801410" y="642859"/>
                  </a:lnTo>
                  <a:lnTo>
                    <a:pt x="804164" y="639318"/>
                  </a:lnTo>
                  <a:lnTo>
                    <a:pt x="804557" y="638924"/>
                  </a:lnTo>
                  <a:lnTo>
                    <a:pt x="804950" y="638138"/>
                  </a:lnTo>
                  <a:lnTo>
                    <a:pt x="807705" y="636170"/>
                  </a:lnTo>
                  <a:lnTo>
                    <a:pt x="804557" y="634990"/>
                  </a:lnTo>
                  <a:lnTo>
                    <a:pt x="801410" y="633810"/>
                  </a:lnTo>
                  <a:lnTo>
                    <a:pt x="801803" y="633416"/>
                  </a:lnTo>
                  <a:lnTo>
                    <a:pt x="803770" y="633416"/>
                  </a:lnTo>
                  <a:lnTo>
                    <a:pt x="805738" y="634203"/>
                  </a:lnTo>
                  <a:lnTo>
                    <a:pt x="808491" y="633810"/>
                  </a:lnTo>
                  <a:lnTo>
                    <a:pt x="811639" y="633416"/>
                  </a:lnTo>
                  <a:lnTo>
                    <a:pt x="812032" y="632630"/>
                  </a:lnTo>
                  <a:lnTo>
                    <a:pt x="811639" y="629876"/>
                  </a:lnTo>
                  <a:lnTo>
                    <a:pt x="811639" y="628302"/>
                  </a:lnTo>
                  <a:lnTo>
                    <a:pt x="812032" y="628302"/>
                  </a:lnTo>
                  <a:lnTo>
                    <a:pt x="814393" y="628302"/>
                  </a:lnTo>
                  <a:lnTo>
                    <a:pt x="817147" y="627122"/>
                  </a:lnTo>
                  <a:lnTo>
                    <a:pt x="817540" y="624368"/>
                  </a:lnTo>
                  <a:lnTo>
                    <a:pt x="817540" y="621614"/>
                  </a:lnTo>
                  <a:lnTo>
                    <a:pt x="817147" y="618466"/>
                  </a:lnTo>
                  <a:lnTo>
                    <a:pt x="824622" y="620827"/>
                  </a:lnTo>
                  <a:lnTo>
                    <a:pt x="825016" y="619646"/>
                  </a:lnTo>
                  <a:lnTo>
                    <a:pt x="826589" y="616893"/>
                  </a:lnTo>
                  <a:lnTo>
                    <a:pt x="829343" y="618466"/>
                  </a:lnTo>
                  <a:lnTo>
                    <a:pt x="831704" y="615712"/>
                  </a:lnTo>
                  <a:lnTo>
                    <a:pt x="833671" y="612565"/>
                  </a:lnTo>
                  <a:lnTo>
                    <a:pt x="834064" y="609811"/>
                  </a:lnTo>
                  <a:lnTo>
                    <a:pt x="831310" y="607450"/>
                  </a:lnTo>
                  <a:lnTo>
                    <a:pt x="828556" y="607450"/>
                  </a:lnTo>
                  <a:lnTo>
                    <a:pt x="825802" y="607844"/>
                  </a:lnTo>
                  <a:lnTo>
                    <a:pt x="823048" y="607844"/>
                  </a:lnTo>
                  <a:lnTo>
                    <a:pt x="820294" y="606663"/>
                  </a:lnTo>
                  <a:lnTo>
                    <a:pt x="817934" y="606663"/>
                  </a:lnTo>
                  <a:lnTo>
                    <a:pt x="819508" y="604696"/>
                  </a:lnTo>
                  <a:lnTo>
                    <a:pt x="818327" y="602336"/>
                  </a:lnTo>
                  <a:lnTo>
                    <a:pt x="815573" y="602336"/>
                  </a:lnTo>
                  <a:lnTo>
                    <a:pt x="814393" y="601942"/>
                  </a:lnTo>
                  <a:lnTo>
                    <a:pt x="814393" y="602336"/>
                  </a:lnTo>
                  <a:lnTo>
                    <a:pt x="811246" y="603909"/>
                  </a:lnTo>
                  <a:lnTo>
                    <a:pt x="808098" y="604303"/>
                  </a:lnTo>
                  <a:lnTo>
                    <a:pt x="811246" y="603123"/>
                  </a:lnTo>
                  <a:lnTo>
                    <a:pt x="811639" y="603123"/>
                  </a:lnTo>
                  <a:lnTo>
                    <a:pt x="814393" y="601942"/>
                  </a:lnTo>
                  <a:lnTo>
                    <a:pt x="819508" y="601942"/>
                  </a:lnTo>
                  <a:lnTo>
                    <a:pt x="817934" y="599188"/>
                  </a:lnTo>
                  <a:lnTo>
                    <a:pt x="817540" y="596434"/>
                  </a:lnTo>
                  <a:lnTo>
                    <a:pt x="816753" y="593680"/>
                  </a:lnTo>
                  <a:lnTo>
                    <a:pt x="813999" y="592500"/>
                  </a:lnTo>
                  <a:lnTo>
                    <a:pt x="811246" y="590533"/>
                  </a:lnTo>
                  <a:lnTo>
                    <a:pt x="810852" y="590533"/>
                  </a:lnTo>
                  <a:lnTo>
                    <a:pt x="811246" y="590140"/>
                  </a:lnTo>
                  <a:lnTo>
                    <a:pt x="811639" y="590533"/>
                  </a:lnTo>
                  <a:lnTo>
                    <a:pt x="814393" y="592107"/>
                  </a:lnTo>
                  <a:lnTo>
                    <a:pt x="817147" y="593287"/>
                  </a:lnTo>
                  <a:lnTo>
                    <a:pt x="819901" y="590926"/>
                  </a:lnTo>
                  <a:lnTo>
                    <a:pt x="821475" y="588172"/>
                  </a:lnTo>
                  <a:lnTo>
                    <a:pt x="824228" y="585812"/>
                  </a:lnTo>
                  <a:lnTo>
                    <a:pt x="823835" y="584238"/>
                  </a:lnTo>
                  <a:lnTo>
                    <a:pt x="823442" y="581484"/>
                  </a:lnTo>
                  <a:lnTo>
                    <a:pt x="823442" y="578337"/>
                  </a:lnTo>
                  <a:lnTo>
                    <a:pt x="821475" y="575583"/>
                  </a:lnTo>
                  <a:lnTo>
                    <a:pt x="823048" y="572829"/>
                  </a:lnTo>
                  <a:lnTo>
                    <a:pt x="825409" y="570075"/>
                  </a:lnTo>
                  <a:lnTo>
                    <a:pt x="822655" y="571255"/>
                  </a:lnTo>
                  <a:lnTo>
                    <a:pt x="819901" y="572829"/>
                  </a:lnTo>
                  <a:lnTo>
                    <a:pt x="816753" y="574402"/>
                  </a:lnTo>
                  <a:lnTo>
                    <a:pt x="813999" y="574796"/>
                  </a:lnTo>
                  <a:lnTo>
                    <a:pt x="811246" y="574796"/>
                  </a:lnTo>
                  <a:lnTo>
                    <a:pt x="787246" y="588566"/>
                  </a:lnTo>
                  <a:lnTo>
                    <a:pt x="786460" y="588566"/>
                  </a:lnTo>
                  <a:lnTo>
                    <a:pt x="786066" y="588566"/>
                  </a:lnTo>
                  <a:lnTo>
                    <a:pt x="777411" y="589353"/>
                  </a:lnTo>
                  <a:lnTo>
                    <a:pt x="776231" y="589746"/>
                  </a:lnTo>
                  <a:lnTo>
                    <a:pt x="775837" y="590140"/>
                  </a:lnTo>
                  <a:lnTo>
                    <a:pt x="775837" y="590140"/>
                  </a:lnTo>
                  <a:lnTo>
                    <a:pt x="773476" y="592500"/>
                  </a:lnTo>
                  <a:lnTo>
                    <a:pt x="770723" y="595254"/>
                  </a:lnTo>
                  <a:lnTo>
                    <a:pt x="768362" y="598008"/>
                  </a:lnTo>
                  <a:lnTo>
                    <a:pt x="768755" y="600762"/>
                  </a:lnTo>
                  <a:lnTo>
                    <a:pt x="771509" y="603516"/>
                  </a:lnTo>
                  <a:lnTo>
                    <a:pt x="774657" y="606270"/>
                  </a:lnTo>
                  <a:lnTo>
                    <a:pt x="775050" y="606270"/>
                  </a:lnTo>
                  <a:lnTo>
                    <a:pt x="774657" y="603123"/>
                  </a:lnTo>
                  <a:lnTo>
                    <a:pt x="771903" y="603123"/>
                  </a:lnTo>
                  <a:lnTo>
                    <a:pt x="772296" y="602729"/>
                  </a:lnTo>
                  <a:lnTo>
                    <a:pt x="774657" y="602336"/>
                  </a:lnTo>
                  <a:lnTo>
                    <a:pt x="774263" y="600369"/>
                  </a:lnTo>
                  <a:lnTo>
                    <a:pt x="777017" y="596828"/>
                  </a:lnTo>
                  <a:lnTo>
                    <a:pt x="788820" y="592107"/>
                  </a:lnTo>
                  <a:lnTo>
                    <a:pt x="789607" y="591713"/>
                  </a:lnTo>
                  <a:lnTo>
                    <a:pt x="790787" y="592500"/>
                  </a:lnTo>
                  <a:lnTo>
                    <a:pt x="793541" y="593287"/>
                  </a:lnTo>
                  <a:lnTo>
                    <a:pt x="793935" y="593287"/>
                  </a:lnTo>
                  <a:lnTo>
                    <a:pt x="791968" y="594861"/>
                  </a:lnTo>
                  <a:lnTo>
                    <a:pt x="791968" y="594861"/>
                  </a:lnTo>
                  <a:lnTo>
                    <a:pt x="791181" y="595647"/>
                  </a:lnTo>
                  <a:lnTo>
                    <a:pt x="791968" y="597615"/>
                  </a:lnTo>
                  <a:lnTo>
                    <a:pt x="791574" y="600369"/>
                  </a:lnTo>
                  <a:lnTo>
                    <a:pt x="791574" y="603123"/>
                  </a:lnTo>
                  <a:lnTo>
                    <a:pt x="794328" y="602729"/>
                  </a:lnTo>
                  <a:lnTo>
                    <a:pt x="788820" y="604696"/>
                  </a:lnTo>
                  <a:lnTo>
                    <a:pt x="791181" y="605090"/>
                  </a:lnTo>
                  <a:lnTo>
                    <a:pt x="791181" y="605090"/>
                  </a:lnTo>
                  <a:lnTo>
                    <a:pt x="790787" y="605090"/>
                  </a:lnTo>
                  <a:lnTo>
                    <a:pt x="788820" y="604696"/>
                  </a:lnTo>
                  <a:lnTo>
                    <a:pt x="788820" y="604696"/>
                  </a:lnTo>
                  <a:lnTo>
                    <a:pt x="788033" y="604696"/>
                  </a:lnTo>
                  <a:lnTo>
                    <a:pt x="790787" y="602336"/>
                  </a:lnTo>
                  <a:lnTo>
                    <a:pt x="788427" y="599582"/>
                  </a:lnTo>
                  <a:lnTo>
                    <a:pt x="787640" y="599582"/>
                  </a:lnTo>
                  <a:lnTo>
                    <a:pt x="784886" y="599975"/>
                  </a:lnTo>
                  <a:lnTo>
                    <a:pt x="783312" y="602729"/>
                  </a:lnTo>
                  <a:lnTo>
                    <a:pt x="780558" y="604696"/>
                  </a:lnTo>
                  <a:lnTo>
                    <a:pt x="780558" y="607450"/>
                  </a:lnTo>
                  <a:lnTo>
                    <a:pt x="775837" y="606663"/>
                  </a:lnTo>
                  <a:lnTo>
                    <a:pt x="775837" y="607057"/>
                  </a:lnTo>
                  <a:lnTo>
                    <a:pt x="775050" y="607450"/>
                  </a:lnTo>
                  <a:lnTo>
                    <a:pt x="772296" y="606270"/>
                  </a:lnTo>
                  <a:lnTo>
                    <a:pt x="769542" y="605877"/>
                  </a:lnTo>
                  <a:lnTo>
                    <a:pt x="766788" y="603516"/>
                  </a:lnTo>
                  <a:lnTo>
                    <a:pt x="766788" y="603909"/>
                  </a:lnTo>
                  <a:lnTo>
                    <a:pt x="766788" y="603909"/>
                  </a:lnTo>
                  <a:lnTo>
                    <a:pt x="765608" y="606663"/>
                  </a:lnTo>
                  <a:lnTo>
                    <a:pt x="765214" y="609417"/>
                  </a:lnTo>
                  <a:lnTo>
                    <a:pt x="765214" y="615319"/>
                  </a:lnTo>
                  <a:lnTo>
                    <a:pt x="765608" y="618466"/>
                  </a:lnTo>
                  <a:lnTo>
                    <a:pt x="764821" y="621220"/>
                  </a:lnTo>
                  <a:lnTo>
                    <a:pt x="765608" y="624368"/>
                  </a:lnTo>
                  <a:lnTo>
                    <a:pt x="766002" y="621220"/>
                  </a:lnTo>
                  <a:lnTo>
                    <a:pt x="768755" y="622400"/>
                  </a:lnTo>
                  <a:lnTo>
                    <a:pt x="769936" y="625154"/>
                  </a:lnTo>
                  <a:lnTo>
                    <a:pt x="771903" y="627908"/>
                  </a:lnTo>
                  <a:lnTo>
                    <a:pt x="768755" y="629482"/>
                  </a:lnTo>
                  <a:lnTo>
                    <a:pt x="766395" y="627908"/>
                  </a:lnTo>
                  <a:lnTo>
                    <a:pt x="765214" y="624761"/>
                  </a:lnTo>
                  <a:lnTo>
                    <a:pt x="765608" y="627515"/>
                  </a:lnTo>
                  <a:lnTo>
                    <a:pt x="766002" y="630662"/>
                  </a:lnTo>
                  <a:lnTo>
                    <a:pt x="766002" y="633416"/>
                  </a:lnTo>
                  <a:lnTo>
                    <a:pt x="764821" y="636170"/>
                  </a:lnTo>
                  <a:lnTo>
                    <a:pt x="766002" y="639318"/>
                  </a:lnTo>
                  <a:lnTo>
                    <a:pt x="769149" y="640498"/>
                  </a:lnTo>
                  <a:lnTo>
                    <a:pt x="769542" y="637744"/>
                  </a:lnTo>
                  <a:lnTo>
                    <a:pt x="770329" y="639318"/>
                  </a:lnTo>
                  <a:lnTo>
                    <a:pt x="773083" y="641678"/>
                  </a:lnTo>
                  <a:lnTo>
                    <a:pt x="774263" y="641678"/>
                  </a:lnTo>
                  <a:lnTo>
                    <a:pt x="777804" y="644826"/>
                  </a:lnTo>
                  <a:lnTo>
                    <a:pt x="778198" y="649153"/>
                  </a:lnTo>
                  <a:lnTo>
                    <a:pt x="776231" y="650334"/>
                  </a:lnTo>
                  <a:lnTo>
                    <a:pt x="773476" y="650727"/>
                  </a:lnTo>
                  <a:lnTo>
                    <a:pt x="775443" y="653481"/>
                  </a:lnTo>
                  <a:lnTo>
                    <a:pt x="777804" y="653088"/>
                  </a:lnTo>
                  <a:lnTo>
                    <a:pt x="777411" y="656235"/>
                  </a:lnTo>
                  <a:lnTo>
                    <a:pt x="777804" y="658596"/>
                  </a:lnTo>
                  <a:lnTo>
                    <a:pt x="773870" y="656235"/>
                  </a:lnTo>
                  <a:lnTo>
                    <a:pt x="776624" y="658202"/>
                  </a:lnTo>
                  <a:lnTo>
                    <a:pt x="771116" y="656235"/>
                  </a:lnTo>
                  <a:lnTo>
                    <a:pt x="770329" y="656235"/>
                  </a:lnTo>
                  <a:lnTo>
                    <a:pt x="769542" y="657809"/>
                  </a:lnTo>
                  <a:lnTo>
                    <a:pt x="768755" y="660563"/>
                  </a:lnTo>
                  <a:lnTo>
                    <a:pt x="769149" y="663317"/>
                  </a:lnTo>
                  <a:lnTo>
                    <a:pt x="769149" y="660563"/>
                  </a:lnTo>
                  <a:lnTo>
                    <a:pt x="772296" y="660956"/>
                  </a:lnTo>
                  <a:lnTo>
                    <a:pt x="775050" y="660169"/>
                  </a:lnTo>
                  <a:lnTo>
                    <a:pt x="777804" y="660169"/>
                  </a:lnTo>
                  <a:lnTo>
                    <a:pt x="777804" y="660563"/>
                  </a:lnTo>
                  <a:lnTo>
                    <a:pt x="778591" y="663317"/>
                  </a:lnTo>
                  <a:lnTo>
                    <a:pt x="780952" y="666071"/>
                  </a:lnTo>
                  <a:lnTo>
                    <a:pt x="783312" y="669218"/>
                  </a:lnTo>
                  <a:lnTo>
                    <a:pt x="786066" y="671579"/>
                  </a:lnTo>
                  <a:lnTo>
                    <a:pt x="784492" y="674333"/>
                  </a:lnTo>
                  <a:lnTo>
                    <a:pt x="782132" y="675120"/>
                  </a:lnTo>
                  <a:lnTo>
                    <a:pt x="778984" y="675513"/>
                  </a:lnTo>
                  <a:lnTo>
                    <a:pt x="776624" y="678267"/>
                  </a:lnTo>
                  <a:lnTo>
                    <a:pt x="779772" y="679054"/>
                  </a:lnTo>
                  <a:lnTo>
                    <a:pt x="782525" y="678660"/>
                  </a:lnTo>
                  <a:lnTo>
                    <a:pt x="782919" y="680234"/>
                  </a:lnTo>
                  <a:lnTo>
                    <a:pt x="782525" y="682988"/>
                  </a:lnTo>
                  <a:lnTo>
                    <a:pt x="785279" y="683382"/>
                  </a:lnTo>
                  <a:lnTo>
                    <a:pt x="786853" y="686136"/>
                  </a:lnTo>
                  <a:lnTo>
                    <a:pt x="784099" y="686529"/>
                  </a:lnTo>
                  <a:lnTo>
                    <a:pt x="783706" y="689283"/>
                  </a:lnTo>
                  <a:lnTo>
                    <a:pt x="786853" y="690857"/>
                  </a:lnTo>
                  <a:lnTo>
                    <a:pt x="789607" y="691250"/>
                  </a:lnTo>
                  <a:lnTo>
                    <a:pt x="790001" y="691250"/>
                  </a:lnTo>
                  <a:lnTo>
                    <a:pt x="791181" y="692037"/>
                  </a:lnTo>
                  <a:lnTo>
                    <a:pt x="789607" y="692037"/>
                  </a:lnTo>
                  <a:lnTo>
                    <a:pt x="786853" y="692824"/>
                  </a:lnTo>
                  <a:lnTo>
                    <a:pt x="784099" y="693217"/>
                  </a:lnTo>
                  <a:lnTo>
                    <a:pt x="781739" y="692824"/>
                  </a:lnTo>
                  <a:lnTo>
                    <a:pt x="780165" y="692037"/>
                  </a:lnTo>
                  <a:lnTo>
                    <a:pt x="777411" y="691250"/>
                  </a:lnTo>
                  <a:lnTo>
                    <a:pt x="775050" y="694004"/>
                  </a:lnTo>
                  <a:lnTo>
                    <a:pt x="773476" y="696758"/>
                  </a:lnTo>
                  <a:lnTo>
                    <a:pt x="773870" y="699512"/>
                  </a:lnTo>
                  <a:lnTo>
                    <a:pt x="775050" y="703053"/>
                  </a:lnTo>
                  <a:lnTo>
                    <a:pt x="773476" y="705807"/>
                  </a:lnTo>
                  <a:lnTo>
                    <a:pt x="773476" y="708167"/>
                  </a:lnTo>
                  <a:lnTo>
                    <a:pt x="773083" y="707774"/>
                  </a:lnTo>
                  <a:lnTo>
                    <a:pt x="772690" y="706200"/>
                  </a:lnTo>
                  <a:lnTo>
                    <a:pt x="773476" y="703446"/>
                  </a:lnTo>
                  <a:lnTo>
                    <a:pt x="770723" y="701086"/>
                  </a:lnTo>
                  <a:lnTo>
                    <a:pt x="767969" y="699905"/>
                  </a:lnTo>
                  <a:lnTo>
                    <a:pt x="766395" y="702659"/>
                  </a:lnTo>
                  <a:lnTo>
                    <a:pt x="766395" y="702659"/>
                  </a:lnTo>
                  <a:lnTo>
                    <a:pt x="764428" y="701479"/>
                  </a:lnTo>
                  <a:lnTo>
                    <a:pt x="764428" y="701479"/>
                  </a:lnTo>
                  <a:lnTo>
                    <a:pt x="758920" y="696365"/>
                  </a:lnTo>
                  <a:lnTo>
                    <a:pt x="756166" y="696758"/>
                  </a:lnTo>
                  <a:lnTo>
                    <a:pt x="755379" y="696758"/>
                  </a:lnTo>
                  <a:lnTo>
                    <a:pt x="752625" y="697151"/>
                  </a:lnTo>
                  <a:lnTo>
                    <a:pt x="749871" y="697545"/>
                  </a:lnTo>
                  <a:lnTo>
                    <a:pt x="747117" y="697151"/>
                  </a:lnTo>
                  <a:lnTo>
                    <a:pt x="744363" y="697151"/>
                  </a:lnTo>
                  <a:lnTo>
                    <a:pt x="741609" y="697938"/>
                  </a:lnTo>
                  <a:lnTo>
                    <a:pt x="738855" y="699905"/>
                  </a:lnTo>
                  <a:lnTo>
                    <a:pt x="738462" y="702659"/>
                  </a:lnTo>
                  <a:lnTo>
                    <a:pt x="736101" y="705413"/>
                  </a:lnTo>
                  <a:lnTo>
                    <a:pt x="737281" y="708167"/>
                  </a:lnTo>
                  <a:lnTo>
                    <a:pt x="740035" y="708167"/>
                  </a:lnTo>
                  <a:lnTo>
                    <a:pt x="742789" y="708561"/>
                  </a:lnTo>
                  <a:lnTo>
                    <a:pt x="744756" y="709348"/>
                  </a:lnTo>
                  <a:lnTo>
                    <a:pt x="742002" y="708954"/>
                  </a:lnTo>
                  <a:lnTo>
                    <a:pt x="740429" y="711315"/>
                  </a:lnTo>
                  <a:lnTo>
                    <a:pt x="735314" y="709348"/>
                  </a:lnTo>
                  <a:lnTo>
                    <a:pt x="734527" y="708954"/>
                  </a:lnTo>
                  <a:lnTo>
                    <a:pt x="733740" y="708954"/>
                  </a:lnTo>
                  <a:lnTo>
                    <a:pt x="733347" y="708561"/>
                  </a:lnTo>
                  <a:lnTo>
                    <a:pt x="731773" y="705807"/>
                  </a:lnTo>
                  <a:lnTo>
                    <a:pt x="729019" y="704233"/>
                  </a:lnTo>
                  <a:lnTo>
                    <a:pt x="726265" y="704627"/>
                  </a:lnTo>
                  <a:lnTo>
                    <a:pt x="723118" y="705020"/>
                  </a:lnTo>
                  <a:lnTo>
                    <a:pt x="720364" y="705413"/>
                  </a:lnTo>
                  <a:lnTo>
                    <a:pt x="717610" y="706200"/>
                  </a:lnTo>
                  <a:lnTo>
                    <a:pt x="715250" y="705807"/>
                  </a:lnTo>
                  <a:lnTo>
                    <a:pt x="714462" y="705807"/>
                  </a:lnTo>
                  <a:lnTo>
                    <a:pt x="714069" y="705807"/>
                  </a:lnTo>
                  <a:lnTo>
                    <a:pt x="711315" y="705807"/>
                  </a:lnTo>
                  <a:lnTo>
                    <a:pt x="708561" y="706200"/>
                  </a:lnTo>
                  <a:lnTo>
                    <a:pt x="707381" y="706594"/>
                  </a:lnTo>
                  <a:lnTo>
                    <a:pt x="705807" y="706987"/>
                  </a:lnTo>
                  <a:lnTo>
                    <a:pt x="703053" y="707774"/>
                  </a:lnTo>
                  <a:lnTo>
                    <a:pt x="699906" y="708954"/>
                  </a:lnTo>
                  <a:lnTo>
                    <a:pt x="697152" y="710528"/>
                  </a:lnTo>
                  <a:lnTo>
                    <a:pt x="694398" y="713282"/>
                  </a:lnTo>
                  <a:lnTo>
                    <a:pt x="683775" y="720757"/>
                  </a:lnTo>
                  <a:lnTo>
                    <a:pt x="679841" y="721544"/>
                  </a:lnTo>
                  <a:lnTo>
                    <a:pt x="679054" y="721544"/>
                  </a:lnTo>
                  <a:lnTo>
                    <a:pt x="676300" y="722331"/>
                  </a:lnTo>
                  <a:lnTo>
                    <a:pt x="675907" y="723118"/>
                  </a:lnTo>
                  <a:lnTo>
                    <a:pt x="675514" y="723904"/>
                  </a:lnTo>
                  <a:lnTo>
                    <a:pt x="674333" y="727052"/>
                  </a:lnTo>
                  <a:lnTo>
                    <a:pt x="673546" y="729806"/>
                  </a:lnTo>
                  <a:lnTo>
                    <a:pt x="672759" y="732560"/>
                  </a:lnTo>
                  <a:lnTo>
                    <a:pt x="672366" y="735707"/>
                  </a:lnTo>
                  <a:lnTo>
                    <a:pt x="670792" y="737281"/>
                  </a:lnTo>
                  <a:lnTo>
                    <a:pt x="669218" y="740035"/>
                  </a:lnTo>
                  <a:lnTo>
                    <a:pt x="658596" y="751444"/>
                  </a:lnTo>
                  <a:lnTo>
                    <a:pt x="657022" y="753018"/>
                  </a:lnTo>
                  <a:lnTo>
                    <a:pt x="657809" y="755772"/>
                  </a:lnTo>
                  <a:lnTo>
                    <a:pt x="661744" y="757739"/>
                  </a:lnTo>
                  <a:lnTo>
                    <a:pt x="666071" y="759313"/>
                  </a:lnTo>
                  <a:lnTo>
                    <a:pt x="668825" y="759706"/>
                  </a:lnTo>
                  <a:lnTo>
                    <a:pt x="671579" y="759313"/>
                  </a:lnTo>
                  <a:lnTo>
                    <a:pt x="671973" y="759313"/>
                  </a:lnTo>
                  <a:lnTo>
                    <a:pt x="672366" y="758919"/>
                  </a:lnTo>
                  <a:lnTo>
                    <a:pt x="675907" y="756952"/>
                  </a:lnTo>
                  <a:lnTo>
                    <a:pt x="677087" y="759313"/>
                  </a:lnTo>
                  <a:lnTo>
                    <a:pt x="674333" y="758919"/>
                  </a:lnTo>
                  <a:lnTo>
                    <a:pt x="672759" y="759313"/>
                  </a:lnTo>
                  <a:lnTo>
                    <a:pt x="672366" y="759313"/>
                  </a:lnTo>
                  <a:lnTo>
                    <a:pt x="667251" y="760100"/>
                  </a:lnTo>
                  <a:lnTo>
                    <a:pt x="666071" y="760100"/>
                  </a:lnTo>
                  <a:lnTo>
                    <a:pt x="665678" y="760493"/>
                  </a:lnTo>
                  <a:lnTo>
                    <a:pt x="660170" y="762067"/>
                  </a:lnTo>
                  <a:lnTo>
                    <a:pt x="658203" y="761673"/>
                  </a:lnTo>
                  <a:lnTo>
                    <a:pt x="659776" y="762854"/>
                  </a:lnTo>
                  <a:lnTo>
                    <a:pt x="660563" y="763641"/>
                  </a:lnTo>
                  <a:lnTo>
                    <a:pt x="657809" y="763247"/>
                  </a:lnTo>
                  <a:lnTo>
                    <a:pt x="655055" y="764427"/>
                  </a:lnTo>
                  <a:lnTo>
                    <a:pt x="657809" y="766001"/>
                  </a:lnTo>
                  <a:lnTo>
                    <a:pt x="660956" y="766395"/>
                  </a:lnTo>
                  <a:lnTo>
                    <a:pt x="661744" y="768755"/>
                  </a:lnTo>
                  <a:lnTo>
                    <a:pt x="651908" y="763641"/>
                  </a:lnTo>
                  <a:lnTo>
                    <a:pt x="644039" y="763641"/>
                  </a:lnTo>
                  <a:lnTo>
                    <a:pt x="641285" y="766395"/>
                  </a:lnTo>
                  <a:lnTo>
                    <a:pt x="644039" y="768755"/>
                  </a:lnTo>
                  <a:lnTo>
                    <a:pt x="646793" y="768362"/>
                  </a:lnTo>
                  <a:lnTo>
                    <a:pt x="649547" y="770329"/>
                  </a:lnTo>
                  <a:lnTo>
                    <a:pt x="652301" y="770329"/>
                  </a:lnTo>
                  <a:lnTo>
                    <a:pt x="655055" y="768755"/>
                  </a:lnTo>
                  <a:lnTo>
                    <a:pt x="655448" y="769148"/>
                  </a:lnTo>
                  <a:lnTo>
                    <a:pt x="658203" y="770329"/>
                  </a:lnTo>
                  <a:lnTo>
                    <a:pt x="660956" y="771116"/>
                  </a:lnTo>
                  <a:lnTo>
                    <a:pt x="660563" y="771509"/>
                  </a:lnTo>
                  <a:lnTo>
                    <a:pt x="660956" y="771509"/>
                  </a:lnTo>
                  <a:lnTo>
                    <a:pt x="662137" y="774656"/>
                  </a:lnTo>
                  <a:lnTo>
                    <a:pt x="660563" y="771902"/>
                  </a:lnTo>
                  <a:lnTo>
                    <a:pt x="657809" y="771509"/>
                  </a:lnTo>
                  <a:lnTo>
                    <a:pt x="655055" y="769935"/>
                  </a:lnTo>
                  <a:lnTo>
                    <a:pt x="653088" y="770722"/>
                  </a:lnTo>
                  <a:lnTo>
                    <a:pt x="643646" y="769935"/>
                  </a:lnTo>
                  <a:lnTo>
                    <a:pt x="641285" y="769935"/>
                  </a:lnTo>
                  <a:lnTo>
                    <a:pt x="638531" y="770722"/>
                  </a:lnTo>
                  <a:lnTo>
                    <a:pt x="637351" y="771116"/>
                  </a:lnTo>
                  <a:lnTo>
                    <a:pt x="634597" y="771902"/>
                  </a:lnTo>
                  <a:lnTo>
                    <a:pt x="631843" y="772689"/>
                  </a:lnTo>
                  <a:lnTo>
                    <a:pt x="622401" y="777410"/>
                  </a:lnTo>
                  <a:lnTo>
                    <a:pt x="620040" y="778591"/>
                  </a:lnTo>
                  <a:lnTo>
                    <a:pt x="617286" y="780164"/>
                  </a:lnTo>
                  <a:lnTo>
                    <a:pt x="611778" y="781345"/>
                  </a:lnTo>
                  <a:lnTo>
                    <a:pt x="610598" y="781345"/>
                  </a:lnTo>
                  <a:lnTo>
                    <a:pt x="608237" y="782132"/>
                  </a:lnTo>
                  <a:lnTo>
                    <a:pt x="605090" y="782918"/>
                  </a:lnTo>
                  <a:lnTo>
                    <a:pt x="599189" y="784099"/>
                  </a:lnTo>
                  <a:lnTo>
                    <a:pt x="597615" y="784492"/>
                  </a:lnTo>
                  <a:lnTo>
                    <a:pt x="594467" y="786459"/>
                  </a:lnTo>
                  <a:lnTo>
                    <a:pt x="592500" y="789213"/>
                  </a:lnTo>
                  <a:lnTo>
                    <a:pt x="591714" y="791967"/>
                  </a:lnTo>
                  <a:lnTo>
                    <a:pt x="591714" y="794721"/>
                  </a:lnTo>
                  <a:lnTo>
                    <a:pt x="592107" y="797869"/>
                  </a:lnTo>
                  <a:lnTo>
                    <a:pt x="591320" y="800623"/>
                  </a:lnTo>
                  <a:lnTo>
                    <a:pt x="592107" y="803377"/>
                  </a:lnTo>
                  <a:lnTo>
                    <a:pt x="590533" y="803770"/>
                  </a:lnTo>
                  <a:lnTo>
                    <a:pt x="590140" y="806917"/>
                  </a:lnTo>
                  <a:lnTo>
                    <a:pt x="592500" y="809671"/>
                  </a:lnTo>
                  <a:lnTo>
                    <a:pt x="590927" y="808885"/>
                  </a:lnTo>
                  <a:lnTo>
                    <a:pt x="588173" y="810458"/>
                  </a:lnTo>
                  <a:lnTo>
                    <a:pt x="585419" y="813606"/>
                  </a:lnTo>
                  <a:lnTo>
                    <a:pt x="582271" y="815573"/>
                  </a:lnTo>
                  <a:lnTo>
                    <a:pt x="581091" y="816360"/>
                  </a:lnTo>
                  <a:lnTo>
                    <a:pt x="579124" y="817146"/>
                  </a:lnTo>
                  <a:lnTo>
                    <a:pt x="576370" y="817933"/>
                  </a:lnTo>
                  <a:lnTo>
                    <a:pt x="573223" y="818327"/>
                  </a:lnTo>
                  <a:lnTo>
                    <a:pt x="570468" y="819114"/>
                  </a:lnTo>
                  <a:lnTo>
                    <a:pt x="567715" y="819507"/>
                  </a:lnTo>
                  <a:lnTo>
                    <a:pt x="564960" y="819900"/>
                  </a:lnTo>
                  <a:lnTo>
                    <a:pt x="561813" y="821474"/>
                  </a:lnTo>
                  <a:lnTo>
                    <a:pt x="559059" y="822654"/>
                  </a:lnTo>
                  <a:lnTo>
                    <a:pt x="556305" y="823835"/>
                  </a:lnTo>
                  <a:lnTo>
                    <a:pt x="553551" y="826195"/>
                  </a:lnTo>
                  <a:lnTo>
                    <a:pt x="551978" y="828949"/>
                  </a:lnTo>
                  <a:lnTo>
                    <a:pt x="552371" y="831703"/>
                  </a:lnTo>
                  <a:lnTo>
                    <a:pt x="555518" y="832490"/>
                  </a:lnTo>
                  <a:lnTo>
                    <a:pt x="558272" y="832884"/>
                  </a:lnTo>
                  <a:lnTo>
                    <a:pt x="561026" y="832097"/>
                  </a:lnTo>
                  <a:lnTo>
                    <a:pt x="562207" y="831703"/>
                  </a:lnTo>
                  <a:lnTo>
                    <a:pt x="561420" y="832097"/>
                  </a:lnTo>
                  <a:lnTo>
                    <a:pt x="556698" y="833670"/>
                  </a:lnTo>
                  <a:lnTo>
                    <a:pt x="553945" y="834064"/>
                  </a:lnTo>
                  <a:lnTo>
                    <a:pt x="551190" y="835638"/>
                  </a:lnTo>
                  <a:lnTo>
                    <a:pt x="548830" y="836818"/>
                  </a:lnTo>
                  <a:lnTo>
                    <a:pt x="537420" y="836818"/>
                  </a:lnTo>
                  <a:lnTo>
                    <a:pt x="536634" y="836818"/>
                  </a:lnTo>
                  <a:lnTo>
                    <a:pt x="533880" y="836424"/>
                  </a:lnTo>
                  <a:lnTo>
                    <a:pt x="531126" y="836424"/>
                  </a:lnTo>
                  <a:lnTo>
                    <a:pt x="528372" y="836031"/>
                  </a:lnTo>
                  <a:lnTo>
                    <a:pt x="525224" y="835244"/>
                  </a:lnTo>
                  <a:lnTo>
                    <a:pt x="522471" y="834851"/>
                  </a:lnTo>
                  <a:lnTo>
                    <a:pt x="519716" y="836424"/>
                  </a:lnTo>
                  <a:lnTo>
                    <a:pt x="518930" y="835638"/>
                  </a:lnTo>
                  <a:lnTo>
                    <a:pt x="518143" y="833277"/>
                  </a:lnTo>
                  <a:lnTo>
                    <a:pt x="515782" y="830523"/>
                  </a:lnTo>
                  <a:lnTo>
                    <a:pt x="517356" y="827769"/>
                  </a:lnTo>
                  <a:lnTo>
                    <a:pt x="515782" y="825015"/>
                  </a:lnTo>
                  <a:lnTo>
                    <a:pt x="513028" y="824622"/>
                  </a:lnTo>
                  <a:lnTo>
                    <a:pt x="510274" y="826195"/>
                  </a:lnTo>
                  <a:lnTo>
                    <a:pt x="507913" y="826589"/>
                  </a:lnTo>
                  <a:lnTo>
                    <a:pt x="505160" y="825408"/>
                  </a:lnTo>
                  <a:lnTo>
                    <a:pt x="502012" y="824622"/>
                  </a:lnTo>
                  <a:lnTo>
                    <a:pt x="499258" y="824228"/>
                  </a:lnTo>
                  <a:lnTo>
                    <a:pt x="501619" y="827376"/>
                  </a:lnTo>
                  <a:lnTo>
                    <a:pt x="500832" y="830130"/>
                  </a:lnTo>
                  <a:lnTo>
                    <a:pt x="502012" y="832884"/>
                  </a:lnTo>
                  <a:lnTo>
                    <a:pt x="502406" y="835638"/>
                  </a:lnTo>
                  <a:lnTo>
                    <a:pt x="505553" y="837998"/>
                  </a:lnTo>
                  <a:lnTo>
                    <a:pt x="507913" y="839965"/>
                  </a:lnTo>
                  <a:lnTo>
                    <a:pt x="507913" y="843899"/>
                  </a:lnTo>
                  <a:lnTo>
                    <a:pt x="507127" y="846260"/>
                  </a:lnTo>
                  <a:lnTo>
                    <a:pt x="507913" y="848227"/>
                  </a:lnTo>
                  <a:lnTo>
                    <a:pt x="507913" y="850194"/>
                  </a:lnTo>
                  <a:lnTo>
                    <a:pt x="507520" y="851768"/>
                  </a:lnTo>
                  <a:lnTo>
                    <a:pt x="507913" y="854522"/>
                  </a:lnTo>
                  <a:lnTo>
                    <a:pt x="507520" y="854915"/>
                  </a:lnTo>
                  <a:lnTo>
                    <a:pt x="507520" y="854915"/>
                  </a:lnTo>
                  <a:lnTo>
                    <a:pt x="506733" y="859243"/>
                  </a:lnTo>
                  <a:lnTo>
                    <a:pt x="502406" y="860030"/>
                  </a:lnTo>
                  <a:lnTo>
                    <a:pt x="500832" y="860030"/>
                  </a:lnTo>
                  <a:lnTo>
                    <a:pt x="499258" y="857276"/>
                  </a:lnTo>
                  <a:lnTo>
                    <a:pt x="496504" y="858456"/>
                  </a:lnTo>
                  <a:lnTo>
                    <a:pt x="496504" y="861210"/>
                  </a:lnTo>
                  <a:lnTo>
                    <a:pt x="497291" y="862784"/>
                  </a:lnTo>
                  <a:lnTo>
                    <a:pt x="497684" y="863177"/>
                  </a:lnTo>
                  <a:lnTo>
                    <a:pt x="496898" y="863571"/>
                  </a:lnTo>
                  <a:lnTo>
                    <a:pt x="496504" y="861604"/>
                  </a:lnTo>
                  <a:lnTo>
                    <a:pt x="495717" y="859637"/>
                  </a:lnTo>
                  <a:lnTo>
                    <a:pt x="492964" y="860030"/>
                  </a:lnTo>
                  <a:lnTo>
                    <a:pt x="492964" y="860423"/>
                  </a:lnTo>
                  <a:lnTo>
                    <a:pt x="488242" y="858063"/>
                  </a:lnTo>
                  <a:lnTo>
                    <a:pt x="472899" y="858063"/>
                  </a:lnTo>
                  <a:lnTo>
                    <a:pt x="470538" y="855702"/>
                  </a:lnTo>
                  <a:lnTo>
                    <a:pt x="467391" y="855309"/>
                  </a:lnTo>
                  <a:lnTo>
                    <a:pt x="467784" y="852555"/>
                  </a:lnTo>
                  <a:lnTo>
                    <a:pt x="465030" y="852555"/>
                  </a:lnTo>
                  <a:lnTo>
                    <a:pt x="461883" y="853735"/>
                  </a:lnTo>
                  <a:lnTo>
                    <a:pt x="459129" y="854129"/>
                  </a:lnTo>
                  <a:lnTo>
                    <a:pt x="456375" y="854129"/>
                  </a:lnTo>
                  <a:lnTo>
                    <a:pt x="455981" y="856883"/>
                  </a:lnTo>
                  <a:lnTo>
                    <a:pt x="453228" y="858456"/>
                  </a:lnTo>
                  <a:lnTo>
                    <a:pt x="451654" y="858063"/>
                  </a:lnTo>
                  <a:lnTo>
                    <a:pt x="448899" y="857276"/>
                  </a:lnTo>
                  <a:lnTo>
                    <a:pt x="446146" y="858850"/>
                  </a:lnTo>
                  <a:lnTo>
                    <a:pt x="443392" y="857669"/>
                  </a:lnTo>
                  <a:lnTo>
                    <a:pt x="440638" y="858456"/>
                  </a:lnTo>
                  <a:lnTo>
                    <a:pt x="437491" y="860030"/>
                  </a:lnTo>
                  <a:lnTo>
                    <a:pt x="434736" y="859243"/>
                  </a:lnTo>
                  <a:lnTo>
                    <a:pt x="431982" y="860817"/>
                  </a:lnTo>
                  <a:lnTo>
                    <a:pt x="429228" y="861997"/>
                  </a:lnTo>
                  <a:lnTo>
                    <a:pt x="426474" y="862784"/>
                  </a:lnTo>
                  <a:lnTo>
                    <a:pt x="423327" y="864751"/>
                  </a:lnTo>
                  <a:lnTo>
                    <a:pt x="422933" y="867899"/>
                  </a:lnTo>
                  <a:lnTo>
                    <a:pt x="423721" y="870652"/>
                  </a:lnTo>
                  <a:lnTo>
                    <a:pt x="424507" y="870652"/>
                  </a:lnTo>
                  <a:lnTo>
                    <a:pt x="427261" y="870259"/>
                  </a:lnTo>
                  <a:lnTo>
                    <a:pt x="430015" y="869079"/>
                  </a:lnTo>
                  <a:lnTo>
                    <a:pt x="432769" y="868292"/>
                  </a:lnTo>
                  <a:lnTo>
                    <a:pt x="433556" y="868685"/>
                  </a:lnTo>
                  <a:lnTo>
                    <a:pt x="430802" y="871833"/>
                  </a:lnTo>
                  <a:lnTo>
                    <a:pt x="429622" y="871439"/>
                  </a:lnTo>
                  <a:lnTo>
                    <a:pt x="426868" y="871833"/>
                  </a:lnTo>
                  <a:lnTo>
                    <a:pt x="428442" y="873800"/>
                  </a:lnTo>
                  <a:lnTo>
                    <a:pt x="423327" y="879701"/>
                  </a:lnTo>
                  <a:lnTo>
                    <a:pt x="430409" y="882062"/>
                  </a:lnTo>
                  <a:lnTo>
                    <a:pt x="431195" y="882455"/>
                  </a:lnTo>
                  <a:lnTo>
                    <a:pt x="432769" y="885209"/>
                  </a:lnTo>
                  <a:lnTo>
                    <a:pt x="434736" y="887963"/>
                  </a:lnTo>
                  <a:lnTo>
                    <a:pt x="437884" y="885603"/>
                  </a:lnTo>
                  <a:lnTo>
                    <a:pt x="440638" y="885209"/>
                  </a:lnTo>
                  <a:lnTo>
                    <a:pt x="441031" y="885209"/>
                  </a:lnTo>
                  <a:lnTo>
                    <a:pt x="444965" y="886389"/>
                  </a:lnTo>
                  <a:lnTo>
                    <a:pt x="445752" y="887176"/>
                  </a:lnTo>
                  <a:lnTo>
                    <a:pt x="448506" y="887570"/>
                  </a:lnTo>
                  <a:lnTo>
                    <a:pt x="451654" y="888357"/>
                  </a:lnTo>
                  <a:lnTo>
                    <a:pt x="454408" y="888357"/>
                  </a:lnTo>
                  <a:lnTo>
                    <a:pt x="455195" y="889144"/>
                  </a:lnTo>
                  <a:lnTo>
                    <a:pt x="457948" y="889537"/>
                  </a:lnTo>
                  <a:lnTo>
                    <a:pt x="458342" y="889537"/>
                  </a:lnTo>
                  <a:lnTo>
                    <a:pt x="459916" y="889930"/>
                  </a:lnTo>
                  <a:lnTo>
                    <a:pt x="459522" y="890717"/>
                  </a:lnTo>
                  <a:lnTo>
                    <a:pt x="462276" y="891898"/>
                  </a:lnTo>
                  <a:lnTo>
                    <a:pt x="463063" y="891111"/>
                  </a:lnTo>
                  <a:lnTo>
                    <a:pt x="463063" y="891111"/>
                  </a:lnTo>
                  <a:lnTo>
                    <a:pt x="462669" y="891898"/>
                  </a:lnTo>
                  <a:lnTo>
                    <a:pt x="464243" y="894651"/>
                  </a:lnTo>
                  <a:lnTo>
                    <a:pt x="465030" y="897799"/>
                  </a:lnTo>
                  <a:lnTo>
                    <a:pt x="466210" y="895045"/>
                  </a:lnTo>
                  <a:lnTo>
                    <a:pt x="468965" y="893078"/>
                  </a:lnTo>
                  <a:lnTo>
                    <a:pt x="470145" y="894651"/>
                  </a:lnTo>
                  <a:lnTo>
                    <a:pt x="471718" y="893865"/>
                  </a:lnTo>
                  <a:lnTo>
                    <a:pt x="475259" y="894651"/>
                  </a:lnTo>
                  <a:lnTo>
                    <a:pt x="473292" y="895438"/>
                  </a:lnTo>
                  <a:lnTo>
                    <a:pt x="470538" y="895832"/>
                  </a:lnTo>
                  <a:lnTo>
                    <a:pt x="473292" y="897799"/>
                  </a:lnTo>
                  <a:lnTo>
                    <a:pt x="476046" y="897405"/>
                  </a:lnTo>
                  <a:lnTo>
                    <a:pt x="478800" y="896619"/>
                  </a:lnTo>
                  <a:lnTo>
                    <a:pt x="481554" y="896619"/>
                  </a:lnTo>
                  <a:lnTo>
                    <a:pt x="484702" y="897012"/>
                  </a:lnTo>
                  <a:lnTo>
                    <a:pt x="481947" y="898586"/>
                  </a:lnTo>
                  <a:lnTo>
                    <a:pt x="482735" y="900159"/>
                  </a:lnTo>
                  <a:lnTo>
                    <a:pt x="479980" y="901340"/>
                  </a:lnTo>
                  <a:lnTo>
                    <a:pt x="480374" y="904094"/>
                  </a:lnTo>
                  <a:lnTo>
                    <a:pt x="483128" y="904487"/>
                  </a:lnTo>
                  <a:lnTo>
                    <a:pt x="486275" y="906061"/>
                  </a:lnTo>
                  <a:lnTo>
                    <a:pt x="489029" y="904094"/>
                  </a:lnTo>
                  <a:lnTo>
                    <a:pt x="491390" y="904487"/>
                  </a:lnTo>
                  <a:lnTo>
                    <a:pt x="490209" y="904881"/>
                  </a:lnTo>
                  <a:lnTo>
                    <a:pt x="489816" y="906848"/>
                  </a:lnTo>
                  <a:lnTo>
                    <a:pt x="488242" y="909602"/>
                  </a:lnTo>
                  <a:lnTo>
                    <a:pt x="490996" y="909995"/>
                  </a:lnTo>
                  <a:lnTo>
                    <a:pt x="494144" y="912356"/>
                  </a:lnTo>
                  <a:lnTo>
                    <a:pt x="493357" y="912749"/>
                  </a:lnTo>
                  <a:lnTo>
                    <a:pt x="492176" y="915110"/>
                  </a:lnTo>
                  <a:lnTo>
                    <a:pt x="489423" y="917864"/>
                  </a:lnTo>
                  <a:lnTo>
                    <a:pt x="491783" y="920618"/>
                  </a:lnTo>
                  <a:lnTo>
                    <a:pt x="494537" y="922978"/>
                  </a:lnTo>
                  <a:lnTo>
                    <a:pt x="498078" y="928880"/>
                  </a:lnTo>
                  <a:lnTo>
                    <a:pt x="498472" y="929666"/>
                  </a:lnTo>
                  <a:lnTo>
                    <a:pt x="501619" y="931240"/>
                  </a:lnTo>
                  <a:lnTo>
                    <a:pt x="503979" y="932027"/>
                  </a:lnTo>
                  <a:lnTo>
                    <a:pt x="507127" y="934781"/>
                  </a:lnTo>
                  <a:lnTo>
                    <a:pt x="509881" y="934781"/>
                  </a:lnTo>
                  <a:lnTo>
                    <a:pt x="512635" y="936355"/>
                  </a:lnTo>
                  <a:lnTo>
                    <a:pt x="515782" y="935174"/>
                  </a:lnTo>
                  <a:lnTo>
                    <a:pt x="514209" y="937928"/>
                  </a:lnTo>
                  <a:lnTo>
                    <a:pt x="514209" y="940682"/>
                  </a:lnTo>
                  <a:lnTo>
                    <a:pt x="514995" y="942256"/>
                  </a:lnTo>
                  <a:lnTo>
                    <a:pt x="514209" y="952879"/>
                  </a:lnTo>
                  <a:lnTo>
                    <a:pt x="511848" y="952485"/>
                  </a:lnTo>
                  <a:lnTo>
                    <a:pt x="511061" y="955239"/>
                  </a:lnTo>
                  <a:lnTo>
                    <a:pt x="524831" y="968222"/>
                  </a:lnTo>
                  <a:lnTo>
                    <a:pt x="525224" y="970189"/>
                  </a:lnTo>
                  <a:lnTo>
                    <a:pt x="525618" y="972943"/>
                  </a:lnTo>
                  <a:lnTo>
                    <a:pt x="526405" y="975697"/>
                  </a:lnTo>
                  <a:lnTo>
                    <a:pt x="528765" y="978845"/>
                  </a:lnTo>
                  <a:lnTo>
                    <a:pt x="528765" y="982386"/>
                  </a:lnTo>
                  <a:lnTo>
                    <a:pt x="528372" y="978845"/>
                  </a:lnTo>
                  <a:lnTo>
                    <a:pt x="525618" y="976484"/>
                  </a:lnTo>
                  <a:lnTo>
                    <a:pt x="524831" y="973730"/>
                  </a:lnTo>
                  <a:lnTo>
                    <a:pt x="524438" y="970583"/>
                  </a:lnTo>
                  <a:lnTo>
                    <a:pt x="523257" y="967829"/>
                  </a:lnTo>
                  <a:lnTo>
                    <a:pt x="520503" y="965075"/>
                  </a:lnTo>
                  <a:lnTo>
                    <a:pt x="517749" y="963108"/>
                  </a:lnTo>
                  <a:lnTo>
                    <a:pt x="514995" y="961534"/>
                  </a:lnTo>
                  <a:lnTo>
                    <a:pt x="513815" y="964681"/>
                  </a:lnTo>
                  <a:lnTo>
                    <a:pt x="513422" y="967435"/>
                  </a:lnTo>
                  <a:lnTo>
                    <a:pt x="513028" y="970189"/>
                  </a:lnTo>
                  <a:lnTo>
                    <a:pt x="512242" y="973337"/>
                  </a:lnTo>
                  <a:lnTo>
                    <a:pt x="511454" y="976091"/>
                  </a:lnTo>
                  <a:lnTo>
                    <a:pt x="511061" y="979238"/>
                  </a:lnTo>
                  <a:lnTo>
                    <a:pt x="511061" y="980025"/>
                  </a:lnTo>
                  <a:lnTo>
                    <a:pt x="510668" y="982386"/>
                  </a:lnTo>
                  <a:lnTo>
                    <a:pt x="510274" y="985533"/>
                  </a:lnTo>
                  <a:lnTo>
                    <a:pt x="509881" y="988287"/>
                  </a:lnTo>
                  <a:lnTo>
                    <a:pt x="509881" y="991434"/>
                  </a:lnTo>
                  <a:lnTo>
                    <a:pt x="509881" y="991041"/>
                  </a:lnTo>
                  <a:lnTo>
                    <a:pt x="509094" y="996942"/>
                  </a:lnTo>
                  <a:lnTo>
                    <a:pt x="500439" y="1028416"/>
                  </a:lnTo>
                  <a:lnTo>
                    <a:pt x="492964" y="1034318"/>
                  </a:lnTo>
                  <a:lnTo>
                    <a:pt x="490603" y="1033924"/>
                  </a:lnTo>
                  <a:lnTo>
                    <a:pt x="487849" y="1035105"/>
                  </a:lnTo>
                  <a:lnTo>
                    <a:pt x="487455" y="1035498"/>
                  </a:lnTo>
                  <a:lnTo>
                    <a:pt x="475653" y="1035498"/>
                  </a:lnTo>
                  <a:lnTo>
                    <a:pt x="473292" y="1033924"/>
                  </a:lnTo>
                  <a:lnTo>
                    <a:pt x="470538" y="1033531"/>
                  </a:lnTo>
                  <a:lnTo>
                    <a:pt x="467391" y="1032351"/>
                  </a:lnTo>
                  <a:lnTo>
                    <a:pt x="464637" y="1031957"/>
                  </a:lnTo>
                  <a:lnTo>
                    <a:pt x="461883" y="1032744"/>
                  </a:lnTo>
                  <a:lnTo>
                    <a:pt x="461489" y="1032351"/>
                  </a:lnTo>
                  <a:lnTo>
                    <a:pt x="459916" y="1035498"/>
                  </a:lnTo>
                  <a:lnTo>
                    <a:pt x="459129" y="1035105"/>
                  </a:lnTo>
                  <a:lnTo>
                    <a:pt x="456768" y="1034711"/>
                  </a:lnTo>
                  <a:lnTo>
                    <a:pt x="456375" y="1034318"/>
                  </a:lnTo>
                  <a:lnTo>
                    <a:pt x="453621" y="1032744"/>
                  </a:lnTo>
                  <a:lnTo>
                    <a:pt x="450473" y="1032351"/>
                  </a:lnTo>
                  <a:lnTo>
                    <a:pt x="447720" y="1030777"/>
                  </a:lnTo>
                  <a:lnTo>
                    <a:pt x="444965" y="1029597"/>
                  </a:lnTo>
                  <a:lnTo>
                    <a:pt x="442211" y="1030777"/>
                  </a:lnTo>
                  <a:lnTo>
                    <a:pt x="439458" y="1030384"/>
                  </a:lnTo>
                  <a:lnTo>
                    <a:pt x="436703" y="1030777"/>
                  </a:lnTo>
                  <a:lnTo>
                    <a:pt x="433556" y="1032744"/>
                  </a:lnTo>
                  <a:lnTo>
                    <a:pt x="433162" y="1031957"/>
                  </a:lnTo>
                  <a:lnTo>
                    <a:pt x="432769" y="1031957"/>
                  </a:lnTo>
                  <a:lnTo>
                    <a:pt x="432376" y="1031957"/>
                  </a:lnTo>
                  <a:lnTo>
                    <a:pt x="424114" y="1033138"/>
                  </a:lnTo>
                  <a:lnTo>
                    <a:pt x="423327" y="1032744"/>
                  </a:lnTo>
                  <a:lnTo>
                    <a:pt x="420573" y="1033138"/>
                  </a:lnTo>
                  <a:lnTo>
                    <a:pt x="415458" y="1032351"/>
                  </a:lnTo>
                  <a:lnTo>
                    <a:pt x="413491" y="1031957"/>
                  </a:lnTo>
                  <a:lnTo>
                    <a:pt x="410344" y="1031564"/>
                  </a:lnTo>
                  <a:lnTo>
                    <a:pt x="407196" y="1031170"/>
                  </a:lnTo>
                  <a:lnTo>
                    <a:pt x="405623" y="1030777"/>
                  </a:lnTo>
                  <a:lnTo>
                    <a:pt x="404443" y="1030384"/>
                  </a:lnTo>
                  <a:lnTo>
                    <a:pt x="403262" y="1030384"/>
                  </a:lnTo>
                  <a:lnTo>
                    <a:pt x="401295" y="1029990"/>
                  </a:lnTo>
                  <a:lnTo>
                    <a:pt x="398935" y="1028416"/>
                  </a:lnTo>
                  <a:lnTo>
                    <a:pt x="396181" y="1028023"/>
                  </a:lnTo>
                  <a:lnTo>
                    <a:pt x="393033" y="1028023"/>
                  </a:lnTo>
                  <a:lnTo>
                    <a:pt x="390279" y="1028416"/>
                  </a:lnTo>
                  <a:lnTo>
                    <a:pt x="387132" y="1026449"/>
                  </a:lnTo>
                  <a:lnTo>
                    <a:pt x="384378" y="1025662"/>
                  </a:lnTo>
                  <a:lnTo>
                    <a:pt x="381624" y="1027236"/>
                  </a:lnTo>
                  <a:lnTo>
                    <a:pt x="378870" y="1027630"/>
                  </a:lnTo>
                  <a:lnTo>
                    <a:pt x="378477" y="1027630"/>
                  </a:lnTo>
                  <a:lnTo>
                    <a:pt x="375722" y="1027236"/>
                  </a:lnTo>
                  <a:lnTo>
                    <a:pt x="372968" y="1027630"/>
                  </a:lnTo>
                  <a:lnTo>
                    <a:pt x="369821" y="1028023"/>
                  </a:lnTo>
                  <a:lnTo>
                    <a:pt x="367067" y="1028416"/>
                  </a:lnTo>
                  <a:lnTo>
                    <a:pt x="364313" y="1028023"/>
                  </a:lnTo>
                  <a:lnTo>
                    <a:pt x="361559" y="1028810"/>
                  </a:lnTo>
                  <a:lnTo>
                    <a:pt x="359985" y="1028416"/>
                  </a:lnTo>
                  <a:lnTo>
                    <a:pt x="358411" y="1028023"/>
                  </a:lnTo>
                  <a:lnTo>
                    <a:pt x="355658" y="1028023"/>
                  </a:lnTo>
                  <a:lnTo>
                    <a:pt x="352510" y="1030384"/>
                  </a:lnTo>
                  <a:lnTo>
                    <a:pt x="352117" y="1028023"/>
                  </a:lnTo>
                  <a:lnTo>
                    <a:pt x="349363" y="1028023"/>
                  </a:lnTo>
                  <a:lnTo>
                    <a:pt x="346609" y="1026843"/>
                  </a:lnTo>
                  <a:lnTo>
                    <a:pt x="344248" y="1024089"/>
                  </a:lnTo>
                  <a:lnTo>
                    <a:pt x="341494" y="1022515"/>
                  </a:lnTo>
                  <a:lnTo>
                    <a:pt x="338740" y="1024089"/>
                  </a:lnTo>
                  <a:lnTo>
                    <a:pt x="335593" y="1022515"/>
                  </a:lnTo>
                  <a:lnTo>
                    <a:pt x="335593" y="1020941"/>
                  </a:lnTo>
                  <a:lnTo>
                    <a:pt x="330085" y="1024482"/>
                  </a:lnTo>
                  <a:lnTo>
                    <a:pt x="330085" y="1021728"/>
                  </a:lnTo>
                  <a:lnTo>
                    <a:pt x="327331" y="1023302"/>
                  </a:lnTo>
                  <a:lnTo>
                    <a:pt x="324577" y="1025269"/>
                  </a:lnTo>
                  <a:lnTo>
                    <a:pt x="321430" y="1027236"/>
                  </a:lnTo>
                  <a:lnTo>
                    <a:pt x="318675" y="1028810"/>
                  </a:lnTo>
                  <a:lnTo>
                    <a:pt x="318675" y="1031564"/>
                  </a:lnTo>
                  <a:lnTo>
                    <a:pt x="321823" y="1030777"/>
                  </a:lnTo>
                  <a:lnTo>
                    <a:pt x="322216" y="1030384"/>
                  </a:lnTo>
                  <a:lnTo>
                    <a:pt x="322216" y="1030384"/>
                  </a:lnTo>
                  <a:lnTo>
                    <a:pt x="321823" y="1030777"/>
                  </a:lnTo>
                  <a:lnTo>
                    <a:pt x="319069" y="1032351"/>
                  </a:lnTo>
                  <a:lnTo>
                    <a:pt x="322216" y="1032744"/>
                  </a:lnTo>
                  <a:lnTo>
                    <a:pt x="322216" y="1033138"/>
                  </a:lnTo>
                  <a:lnTo>
                    <a:pt x="319463" y="1033924"/>
                  </a:lnTo>
                  <a:lnTo>
                    <a:pt x="316315" y="1035498"/>
                  </a:lnTo>
                  <a:lnTo>
                    <a:pt x="313561" y="1035105"/>
                  </a:lnTo>
                  <a:lnTo>
                    <a:pt x="310807" y="1036678"/>
                  </a:lnTo>
                  <a:lnTo>
                    <a:pt x="307660" y="1037465"/>
                  </a:lnTo>
                  <a:lnTo>
                    <a:pt x="304906" y="1036678"/>
                  </a:lnTo>
                  <a:lnTo>
                    <a:pt x="302152" y="1036678"/>
                  </a:lnTo>
                  <a:lnTo>
                    <a:pt x="300185" y="1039432"/>
                  </a:lnTo>
                  <a:lnTo>
                    <a:pt x="297430" y="1041006"/>
                  </a:lnTo>
                  <a:lnTo>
                    <a:pt x="294677" y="1041400"/>
                  </a:lnTo>
                  <a:lnTo>
                    <a:pt x="293103" y="1044153"/>
                  </a:lnTo>
                  <a:lnTo>
                    <a:pt x="291923" y="1047301"/>
                  </a:lnTo>
                  <a:lnTo>
                    <a:pt x="292316" y="1050055"/>
                  </a:lnTo>
                  <a:lnTo>
                    <a:pt x="295463" y="1050448"/>
                  </a:lnTo>
                  <a:lnTo>
                    <a:pt x="294677" y="1052022"/>
                  </a:lnTo>
                  <a:lnTo>
                    <a:pt x="295463" y="1052415"/>
                  </a:lnTo>
                  <a:lnTo>
                    <a:pt x="296250" y="1055563"/>
                  </a:lnTo>
                  <a:lnTo>
                    <a:pt x="299397" y="1055170"/>
                  </a:lnTo>
                  <a:lnTo>
                    <a:pt x="302152" y="1053596"/>
                  </a:lnTo>
                  <a:lnTo>
                    <a:pt x="300578" y="1054776"/>
                  </a:lnTo>
                  <a:lnTo>
                    <a:pt x="297824" y="1057137"/>
                  </a:lnTo>
                  <a:lnTo>
                    <a:pt x="296250" y="1059891"/>
                  </a:lnTo>
                  <a:lnTo>
                    <a:pt x="297430" y="1063038"/>
                  </a:lnTo>
                  <a:lnTo>
                    <a:pt x="299791" y="1059891"/>
                  </a:lnTo>
                  <a:lnTo>
                    <a:pt x="302545" y="1059497"/>
                  </a:lnTo>
                  <a:lnTo>
                    <a:pt x="305299" y="1057530"/>
                  </a:lnTo>
                  <a:lnTo>
                    <a:pt x="305299" y="1058710"/>
                  </a:lnTo>
                  <a:lnTo>
                    <a:pt x="302938" y="1061464"/>
                  </a:lnTo>
                  <a:lnTo>
                    <a:pt x="300185" y="1064218"/>
                  </a:lnTo>
                  <a:lnTo>
                    <a:pt x="300578" y="1066972"/>
                  </a:lnTo>
                  <a:lnTo>
                    <a:pt x="303332" y="1067366"/>
                  </a:lnTo>
                  <a:lnTo>
                    <a:pt x="306479" y="1066579"/>
                  </a:lnTo>
                  <a:lnTo>
                    <a:pt x="304512" y="1067759"/>
                  </a:lnTo>
                  <a:lnTo>
                    <a:pt x="301365" y="1069726"/>
                  </a:lnTo>
                  <a:lnTo>
                    <a:pt x="300185" y="1072480"/>
                  </a:lnTo>
                  <a:lnTo>
                    <a:pt x="302938" y="1072087"/>
                  </a:lnTo>
                  <a:lnTo>
                    <a:pt x="305693" y="1070907"/>
                  </a:lnTo>
                  <a:lnTo>
                    <a:pt x="307266" y="1068546"/>
                  </a:lnTo>
                  <a:lnTo>
                    <a:pt x="307660" y="1068939"/>
                  </a:lnTo>
                  <a:lnTo>
                    <a:pt x="305693" y="1071300"/>
                  </a:lnTo>
                  <a:lnTo>
                    <a:pt x="304119" y="1072874"/>
                  </a:lnTo>
                  <a:lnTo>
                    <a:pt x="300971" y="1075234"/>
                  </a:lnTo>
                  <a:lnTo>
                    <a:pt x="298611" y="1077988"/>
                  </a:lnTo>
                  <a:lnTo>
                    <a:pt x="298611" y="1080742"/>
                  </a:lnTo>
                  <a:lnTo>
                    <a:pt x="299397" y="1083890"/>
                  </a:lnTo>
                  <a:lnTo>
                    <a:pt x="302152" y="1082316"/>
                  </a:lnTo>
                  <a:lnTo>
                    <a:pt x="301758" y="1083103"/>
                  </a:lnTo>
                  <a:lnTo>
                    <a:pt x="299004" y="1085463"/>
                  </a:lnTo>
                  <a:lnTo>
                    <a:pt x="298611" y="1088217"/>
                  </a:lnTo>
                  <a:lnTo>
                    <a:pt x="299004" y="1090971"/>
                  </a:lnTo>
                  <a:lnTo>
                    <a:pt x="299397" y="1090578"/>
                  </a:lnTo>
                  <a:lnTo>
                    <a:pt x="301758" y="1090578"/>
                  </a:lnTo>
                  <a:lnTo>
                    <a:pt x="299791" y="1090971"/>
                  </a:lnTo>
                  <a:lnTo>
                    <a:pt x="299397" y="1091365"/>
                  </a:lnTo>
                  <a:lnTo>
                    <a:pt x="299791" y="1093725"/>
                  </a:lnTo>
                  <a:lnTo>
                    <a:pt x="300185" y="1096479"/>
                  </a:lnTo>
                  <a:lnTo>
                    <a:pt x="300185" y="1098840"/>
                  </a:lnTo>
                  <a:lnTo>
                    <a:pt x="299791" y="1100414"/>
                  </a:lnTo>
                  <a:lnTo>
                    <a:pt x="300578" y="1103167"/>
                  </a:lnTo>
                  <a:lnTo>
                    <a:pt x="300971" y="1105135"/>
                  </a:lnTo>
                  <a:lnTo>
                    <a:pt x="301365" y="1108282"/>
                  </a:lnTo>
                  <a:lnTo>
                    <a:pt x="302938" y="1109856"/>
                  </a:lnTo>
                  <a:lnTo>
                    <a:pt x="302152" y="1111429"/>
                  </a:lnTo>
                  <a:lnTo>
                    <a:pt x="302545" y="1114183"/>
                  </a:lnTo>
                  <a:lnTo>
                    <a:pt x="302152" y="1116544"/>
                  </a:lnTo>
                  <a:lnTo>
                    <a:pt x="301365" y="1119298"/>
                  </a:lnTo>
                  <a:lnTo>
                    <a:pt x="300578" y="1122052"/>
                  </a:lnTo>
                  <a:lnTo>
                    <a:pt x="299791" y="1125199"/>
                  </a:lnTo>
                  <a:lnTo>
                    <a:pt x="301365" y="1122445"/>
                  </a:lnTo>
                  <a:lnTo>
                    <a:pt x="302152" y="1125199"/>
                  </a:lnTo>
                  <a:lnTo>
                    <a:pt x="300971" y="1126773"/>
                  </a:lnTo>
                  <a:lnTo>
                    <a:pt x="298611" y="1127953"/>
                  </a:lnTo>
                  <a:lnTo>
                    <a:pt x="297824" y="1131101"/>
                  </a:lnTo>
                  <a:lnTo>
                    <a:pt x="297430" y="1131888"/>
                  </a:lnTo>
                  <a:lnTo>
                    <a:pt x="296250" y="1134642"/>
                  </a:lnTo>
                  <a:lnTo>
                    <a:pt x="295463" y="1137396"/>
                  </a:lnTo>
                  <a:lnTo>
                    <a:pt x="293890" y="1140149"/>
                  </a:lnTo>
                  <a:lnTo>
                    <a:pt x="294283" y="1143297"/>
                  </a:lnTo>
                  <a:lnTo>
                    <a:pt x="293890" y="1144084"/>
                  </a:lnTo>
                  <a:lnTo>
                    <a:pt x="292709" y="1146444"/>
                  </a:lnTo>
                  <a:lnTo>
                    <a:pt x="292316" y="1148018"/>
                  </a:lnTo>
                  <a:lnTo>
                    <a:pt x="280907" y="1168083"/>
                  </a:lnTo>
                  <a:lnTo>
                    <a:pt x="278153" y="1168870"/>
                  </a:lnTo>
                  <a:lnTo>
                    <a:pt x="278939" y="1171624"/>
                  </a:lnTo>
                  <a:lnTo>
                    <a:pt x="278546" y="1173984"/>
                  </a:lnTo>
                  <a:lnTo>
                    <a:pt x="276972" y="1176738"/>
                  </a:lnTo>
                  <a:lnTo>
                    <a:pt x="276186" y="1179492"/>
                  </a:lnTo>
                  <a:lnTo>
                    <a:pt x="276186" y="1182640"/>
                  </a:lnTo>
                  <a:lnTo>
                    <a:pt x="275005" y="1185787"/>
                  </a:lnTo>
                  <a:lnTo>
                    <a:pt x="273431" y="1188541"/>
                  </a:lnTo>
                  <a:lnTo>
                    <a:pt x="276186" y="1191295"/>
                  </a:lnTo>
                  <a:lnTo>
                    <a:pt x="278939" y="1191688"/>
                  </a:lnTo>
                  <a:lnTo>
                    <a:pt x="281693" y="1191295"/>
                  </a:lnTo>
                  <a:lnTo>
                    <a:pt x="284448" y="1188934"/>
                  </a:lnTo>
                  <a:lnTo>
                    <a:pt x="286021" y="1185787"/>
                  </a:lnTo>
                  <a:lnTo>
                    <a:pt x="287988" y="1183033"/>
                  </a:lnTo>
                  <a:lnTo>
                    <a:pt x="287595" y="1183820"/>
                  </a:lnTo>
                  <a:lnTo>
                    <a:pt x="288382" y="1186574"/>
                  </a:lnTo>
                  <a:lnTo>
                    <a:pt x="289168" y="1188934"/>
                  </a:lnTo>
                  <a:lnTo>
                    <a:pt x="281300" y="1192082"/>
                  </a:lnTo>
                  <a:lnTo>
                    <a:pt x="280907" y="1195229"/>
                  </a:lnTo>
                  <a:lnTo>
                    <a:pt x="281300" y="1197983"/>
                  </a:lnTo>
                  <a:lnTo>
                    <a:pt x="280120" y="1200737"/>
                  </a:lnTo>
                  <a:lnTo>
                    <a:pt x="282874" y="1199950"/>
                  </a:lnTo>
                  <a:lnTo>
                    <a:pt x="286021" y="1199557"/>
                  </a:lnTo>
                  <a:lnTo>
                    <a:pt x="288775" y="1197590"/>
                  </a:lnTo>
                  <a:lnTo>
                    <a:pt x="291529" y="1199163"/>
                  </a:lnTo>
                  <a:lnTo>
                    <a:pt x="293103" y="1196410"/>
                  </a:lnTo>
                  <a:lnTo>
                    <a:pt x="293496" y="1196016"/>
                  </a:lnTo>
                  <a:lnTo>
                    <a:pt x="292709" y="1199950"/>
                  </a:lnTo>
                  <a:lnTo>
                    <a:pt x="291136" y="1201917"/>
                  </a:lnTo>
                  <a:lnTo>
                    <a:pt x="289562" y="1199163"/>
                  </a:lnTo>
                  <a:lnTo>
                    <a:pt x="291136" y="1201917"/>
                  </a:lnTo>
                  <a:lnTo>
                    <a:pt x="291923" y="1204672"/>
                  </a:lnTo>
                  <a:lnTo>
                    <a:pt x="291923" y="1208212"/>
                  </a:lnTo>
                  <a:lnTo>
                    <a:pt x="288775" y="1216868"/>
                  </a:lnTo>
                  <a:lnTo>
                    <a:pt x="290349" y="1221589"/>
                  </a:lnTo>
                  <a:lnTo>
                    <a:pt x="290742" y="1224736"/>
                  </a:lnTo>
                  <a:lnTo>
                    <a:pt x="289956" y="1225523"/>
                  </a:lnTo>
                  <a:lnTo>
                    <a:pt x="289168" y="1228277"/>
                  </a:lnTo>
                  <a:lnTo>
                    <a:pt x="289562" y="1231031"/>
                  </a:lnTo>
                  <a:lnTo>
                    <a:pt x="289168" y="1234178"/>
                  </a:lnTo>
                  <a:lnTo>
                    <a:pt x="288775" y="1234572"/>
                  </a:lnTo>
                  <a:lnTo>
                    <a:pt x="287201" y="1237326"/>
                  </a:lnTo>
                  <a:lnTo>
                    <a:pt x="286415" y="1240080"/>
                  </a:lnTo>
                  <a:lnTo>
                    <a:pt x="284841" y="1242834"/>
                  </a:lnTo>
                  <a:lnTo>
                    <a:pt x="283267" y="1245588"/>
                  </a:lnTo>
                  <a:lnTo>
                    <a:pt x="283660" y="1248342"/>
                  </a:lnTo>
                  <a:lnTo>
                    <a:pt x="286808" y="1246375"/>
                  </a:lnTo>
                  <a:lnTo>
                    <a:pt x="289562" y="1245981"/>
                  </a:lnTo>
                  <a:lnTo>
                    <a:pt x="292316" y="1244407"/>
                  </a:lnTo>
                  <a:lnTo>
                    <a:pt x="295463" y="1244014"/>
                  </a:lnTo>
                  <a:lnTo>
                    <a:pt x="295463" y="1243621"/>
                  </a:lnTo>
                  <a:lnTo>
                    <a:pt x="295857" y="1243621"/>
                  </a:lnTo>
                  <a:lnTo>
                    <a:pt x="295463" y="1244014"/>
                  </a:lnTo>
                  <a:lnTo>
                    <a:pt x="297824" y="1245588"/>
                  </a:lnTo>
                  <a:lnTo>
                    <a:pt x="300971" y="1245981"/>
                  </a:lnTo>
                  <a:lnTo>
                    <a:pt x="303726" y="1245588"/>
                  </a:lnTo>
                  <a:lnTo>
                    <a:pt x="306479" y="1245981"/>
                  </a:lnTo>
                  <a:lnTo>
                    <a:pt x="309627" y="1247555"/>
                  </a:lnTo>
                  <a:lnTo>
                    <a:pt x="312381" y="1248342"/>
                  </a:lnTo>
                  <a:lnTo>
                    <a:pt x="315135" y="1247161"/>
                  </a:lnTo>
                  <a:lnTo>
                    <a:pt x="317495" y="1246768"/>
                  </a:lnTo>
                  <a:lnTo>
                    <a:pt x="320249" y="1245194"/>
                  </a:lnTo>
                  <a:lnTo>
                    <a:pt x="322216" y="1244014"/>
                  </a:lnTo>
                  <a:lnTo>
                    <a:pt x="326151" y="1242047"/>
                  </a:lnTo>
                  <a:lnTo>
                    <a:pt x="325757" y="1240080"/>
                  </a:lnTo>
                  <a:lnTo>
                    <a:pt x="326151" y="1241260"/>
                  </a:lnTo>
                  <a:lnTo>
                    <a:pt x="326151" y="1241654"/>
                  </a:lnTo>
                  <a:lnTo>
                    <a:pt x="326544" y="1243227"/>
                  </a:lnTo>
                  <a:lnTo>
                    <a:pt x="329692" y="1242047"/>
                  </a:lnTo>
                  <a:lnTo>
                    <a:pt x="332445" y="1241654"/>
                  </a:lnTo>
                  <a:lnTo>
                    <a:pt x="335200" y="1242047"/>
                  </a:lnTo>
                  <a:lnTo>
                    <a:pt x="337953" y="1242440"/>
                  </a:lnTo>
                  <a:lnTo>
                    <a:pt x="338347" y="1239686"/>
                  </a:lnTo>
                  <a:lnTo>
                    <a:pt x="341101" y="1240080"/>
                  </a:lnTo>
                  <a:lnTo>
                    <a:pt x="339527" y="1242047"/>
                  </a:lnTo>
                  <a:lnTo>
                    <a:pt x="341101" y="1244407"/>
                  </a:lnTo>
                  <a:lnTo>
                    <a:pt x="343855" y="1245981"/>
                  </a:lnTo>
                  <a:lnTo>
                    <a:pt x="346609" y="1247555"/>
                  </a:lnTo>
                  <a:lnTo>
                    <a:pt x="349756" y="1249916"/>
                  </a:lnTo>
                  <a:lnTo>
                    <a:pt x="352117" y="1252669"/>
                  </a:lnTo>
                  <a:lnTo>
                    <a:pt x="354477" y="1255030"/>
                  </a:lnTo>
                  <a:lnTo>
                    <a:pt x="354477" y="1255030"/>
                  </a:lnTo>
                  <a:lnTo>
                    <a:pt x="354477" y="1255030"/>
                  </a:lnTo>
                  <a:lnTo>
                    <a:pt x="354477" y="1255030"/>
                  </a:lnTo>
                  <a:lnTo>
                    <a:pt x="354477" y="1255030"/>
                  </a:lnTo>
                  <a:lnTo>
                    <a:pt x="354084" y="1256604"/>
                  </a:lnTo>
                  <a:lnTo>
                    <a:pt x="351723" y="1258964"/>
                  </a:lnTo>
                  <a:lnTo>
                    <a:pt x="354477" y="1261718"/>
                  </a:lnTo>
                  <a:lnTo>
                    <a:pt x="357231" y="1263292"/>
                  </a:lnTo>
                  <a:lnTo>
                    <a:pt x="358805" y="1265259"/>
                  </a:lnTo>
                  <a:lnTo>
                    <a:pt x="358805" y="1265653"/>
                  </a:lnTo>
                  <a:lnTo>
                    <a:pt x="356444" y="1266439"/>
                  </a:lnTo>
                  <a:lnTo>
                    <a:pt x="357625" y="1269193"/>
                  </a:lnTo>
                  <a:lnTo>
                    <a:pt x="358805" y="1270767"/>
                  </a:lnTo>
                  <a:lnTo>
                    <a:pt x="360772" y="1273914"/>
                  </a:lnTo>
                  <a:lnTo>
                    <a:pt x="362346" y="1276668"/>
                  </a:lnTo>
                  <a:lnTo>
                    <a:pt x="365100" y="1276668"/>
                  </a:lnTo>
                  <a:lnTo>
                    <a:pt x="367854" y="1279423"/>
                  </a:lnTo>
                  <a:lnTo>
                    <a:pt x="371001" y="1280996"/>
                  </a:lnTo>
                  <a:lnTo>
                    <a:pt x="373755" y="1282963"/>
                  </a:lnTo>
                  <a:lnTo>
                    <a:pt x="375329" y="1282176"/>
                  </a:lnTo>
                  <a:lnTo>
                    <a:pt x="378477" y="1280996"/>
                  </a:lnTo>
                  <a:lnTo>
                    <a:pt x="378477" y="1279816"/>
                  </a:lnTo>
                  <a:lnTo>
                    <a:pt x="381230" y="1277849"/>
                  </a:lnTo>
                  <a:lnTo>
                    <a:pt x="381624" y="1277849"/>
                  </a:lnTo>
                  <a:lnTo>
                    <a:pt x="383984" y="1273128"/>
                  </a:lnTo>
                  <a:lnTo>
                    <a:pt x="384771" y="1271947"/>
                  </a:lnTo>
                  <a:lnTo>
                    <a:pt x="392246" y="1266833"/>
                  </a:lnTo>
                  <a:lnTo>
                    <a:pt x="394214" y="1266046"/>
                  </a:lnTo>
                  <a:lnTo>
                    <a:pt x="396967" y="1265653"/>
                  </a:lnTo>
                  <a:lnTo>
                    <a:pt x="399721" y="1266046"/>
                  </a:lnTo>
                  <a:lnTo>
                    <a:pt x="402475" y="1265259"/>
                  </a:lnTo>
                  <a:lnTo>
                    <a:pt x="405623" y="1262899"/>
                  </a:lnTo>
                  <a:lnTo>
                    <a:pt x="408377" y="1259751"/>
                  </a:lnTo>
                  <a:lnTo>
                    <a:pt x="416245" y="1258177"/>
                  </a:lnTo>
                  <a:lnTo>
                    <a:pt x="427261" y="1257784"/>
                  </a:lnTo>
                  <a:lnTo>
                    <a:pt x="430015" y="1258177"/>
                  </a:lnTo>
                  <a:lnTo>
                    <a:pt x="432769" y="1258177"/>
                  </a:lnTo>
                  <a:lnTo>
                    <a:pt x="433556" y="1258571"/>
                  </a:lnTo>
                  <a:lnTo>
                    <a:pt x="436310" y="1259751"/>
                  </a:lnTo>
                  <a:lnTo>
                    <a:pt x="439064" y="1258177"/>
                  </a:lnTo>
                  <a:lnTo>
                    <a:pt x="439458" y="1258177"/>
                  </a:lnTo>
                  <a:lnTo>
                    <a:pt x="444965" y="1257784"/>
                  </a:lnTo>
                  <a:lnTo>
                    <a:pt x="450473" y="1257784"/>
                  </a:lnTo>
                  <a:lnTo>
                    <a:pt x="453621" y="1259358"/>
                  </a:lnTo>
                  <a:lnTo>
                    <a:pt x="456375" y="1260145"/>
                  </a:lnTo>
                  <a:lnTo>
                    <a:pt x="459129" y="1258571"/>
                  </a:lnTo>
                  <a:lnTo>
                    <a:pt x="461096" y="1255817"/>
                  </a:lnTo>
                  <a:lnTo>
                    <a:pt x="463850" y="1255423"/>
                  </a:lnTo>
                  <a:lnTo>
                    <a:pt x="465817" y="1255030"/>
                  </a:lnTo>
                  <a:lnTo>
                    <a:pt x="468571" y="1255423"/>
                  </a:lnTo>
                  <a:lnTo>
                    <a:pt x="470932" y="1258177"/>
                  </a:lnTo>
                  <a:lnTo>
                    <a:pt x="473686" y="1256997"/>
                  </a:lnTo>
                  <a:lnTo>
                    <a:pt x="476439" y="1254637"/>
                  </a:lnTo>
                  <a:lnTo>
                    <a:pt x="479980" y="1249129"/>
                  </a:lnTo>
                  <a:lnTo>
                    <a:pt x="481554" y="1245981"/>
                  </a:lnTo>
                  <a:lnTo>
                    <a:pt x="482341" y="1243227"/>
                  </a:lnTo>
                  <a:lnTo>
                    <a:pt x="481947" y="1240473"/>
                  </a:lnTo>
                  <a:lnTo>
                    <a:pt x="485095" y="1239686"/>
                  </a:lnTo>
                  <a:lnTo>
                    <a:pt x="487849" y="1236932"/>
                  </a:lnTo>
                  <a:lnTo>
                    <a:pt x="489816" y="1235752"/>
                  </a:lnTo>
                  <a:lnTo>
                    <a:pt x="491783" y="1235359"/>
                  </a:lnTo>
                  <a:lnTo>
                    <a:pt x="492964" y="1233392"/>
                  </a:lnTo>
                  <a:lnTo>
                    <a:pt x="497684" y="1230244"/>
                  </a:lnTo>
                  <a:lnTo>
                    <a:pt x="499258" y="1230244"/>
                  </a:lnTo>
                  <a:lnTo>
                    <a:pt x="502406" y="1230638"/>
                  </a:lnTo>
                  <a:lnTo>
                    <a:pt x="505160" y="1230244"/>
                  </a:lnTo>
                  <a:lnTo>
                    <a:pt x="507913" y="1230638"/>
                  </a:lnTo>
                  <a:lnTo>
                    <a:pt x="511061" y="1230244"/>
                  </a:lnTo>
                  <a:lnTo>
                    <a:pt x="513815" y="1227884"/>
                  </a:lnTo>
                  <a:lnTo>
                    <a:pt x="513028" y="1224736"/>
                  </a:lnTo>
                  <a:lnTo>
                    <a:pt x="513422" y="1227884"/>
                  </a:lnTo>
                  <a:lnTo>
                    <a:pt x="510668" y="1226703"/>
                  </a:lnTo>
                  <a:lnTo>
                    <a:pt x="511061" y="1223949"/>
                  </a:lnTo>
                  <a:lnTo>
                    <a:pt x="512635" y="1220802"/>
                  </a:lnTo>
                  <a:lnTo>
                    <a:pt x="514209" y="1217655"/>
                  </a:lnTo>
                  <a:lnTo>
                    <a:pt x="515782" y="1214900"/>
                  </a:lnTo>
                  <a:lnTo>
                    <a:pt x="516176" y="1212147"/>
                  </a:lnTo>
                  <a:lnTo>
                    <a:pt x="519716" y="1208999"/>
                  </a:lnTo>
                  <a:lnTo>
                    <a:pt x="519716" y="1208999"/>
                  </a:lnTo>
                  <a:lnTo>
                    <a:pt x="519716" y="1208999"/>
                  </a:lnTo>
                  <a:lnTo>
                    <a:pt x="531126" y="1198377"/>
                  </a:lnTo>
                  <a:lnTo>
                    <a:pt x="532700" y="1197983"/>
                  </a:lnTo>
                  <a:lnTo>
                    <a:pt x="534667" y="1195229"/>
                  </a:lnTo>
                  <a:lnTo>
                    <a:pt x="537420" y="1193655"/>
                  </a:lnTo>
                  <a:lnTo>
                    <a:pt x="540175" y="1191688"/>
                  </a:lnTo>
                  <a:lnTo>
                    <a:pt x="539781" y="1188934"/>
                  </a:lnTo>
                  <a:lnTo>
                    <a:pt x="536634" y="1187361"/>
                  </a:lnTo>
                  <a:lnTo>
                    <a:pt x="535060" y="1186967"/>
                  </a:lnTo>
                  <a:lnTo>
                    <a:pt x="534273" y="1186574"/>
                  </a:lnTo>
                  <a:lnTo>
                    <a:pt x="528765" y="1177525"/>
                  </a:lnTo>
                  <a:lnTo>
                    <a:pt x="528765" y="1175165"/>
                  </a:lnTo>
                  <a:lnTo>
                    <a:pt x="527191" y="1172410"/>
                  </a:lnTo>
                  <a:lnTo>
                    <a:pt x="527191" y="1171230"/>
                  </a:lnTo>
                  <a:lnTo>
                    <a:pt x="526405" y="1168476"/>
                  </a:lnTo>
                  <a:lnTo>
                    <a:pt x="530339" y="1160608"/>
                  </a:lnTo>
                  <a:lnTo>
                    <a:pt x="530339" y="1160214"/>
                  </a:lnTo>
                  <a:lnTo>
                    <a:pt x="531126" y="1158641"/>
                  </a:lnTo>
                  <a:lnTo>
                    <a:pt x="535847" y="1151952"/>
                  </a:lnTo>
                  <a:lnTo>
                    <a:pt x="536240" y="1151952"/>
                  </a:lnTo>
                  <a:lnTo>
                    <a:pt x="537027" y="1149592"/>
                  </a:lnTo>
                  <a:lnTo>
                    <a:pt x="538601" y="1147625"/>
                  </a:lnTo>
                  <a:lnTo>
                    <a:pt x="540568" y="1146444"/>
                  </a:lnTo>
                  <a:lnTo>
                    <a:pt x="542535" y="1143297"/>
                  </a:lnTo>
                  <a:lnTo>
                    <a:pt x="547650" y="1137789"/>
                  </a:lnTo>
                  <a:lnTo>
                    <a:pt x="551190" y="1132281"/>
                  </a:lnTo>
                  <a:lnTo>
                    <a:pt x="553551" y="1130707"/>
                  </a:lnTo>
                  <a:lnTo>
                    <a:pt x="554731" y="1131101"/>
                  </a:lnTo>
                  <a:lnTo>
                    <a:pt x="557879" y="1128740"/>
                  </a:lnTo>
                  <a:lnTo>
                    <a:pt x="560633" y="1127166"/>
                  </a:lnTo>
                  <a:lnTo>
                    <a:pt x="561026" y="1125986"/>
                  </a:lnTo>
                  <a:lnTo>
                    <a:pt x="567715" y="1114183"/>
                  </a:lnTo>
                  <a:lnTo>
                    <a:pt x="568895" y="1113790"/>
                  </a:lnTo>
                  <a:lnTo>
                    <a:pt x="571649" y="1112216"/>
                  </a:lnTo>
                  <a:lnTo>
                    <a:pt x="574009" y="1111823"/>
                  </a:lnTo>
                  <a:lnTo>
                    <a:pt x="575190" y="1111429"/>
                  </a:lnTo>
                  <a:lnTo>
                    <a:pt x="582665" y="1109462"/>
                  </a:lnTo>
                  <a:lnTo>
                    <a:pt x="585025" y="1109069"/>
                  </a:lnTo>
                  <a:lnTo>
                    <a:pt x="588173" y="1108282"/>
                  </a:lnTo>
                  <a:lnTo>
                    <a:pt x="590927" y="1107495"/>
                  </a:lnTo>
                  <a:lnTo>
                    <a:pt x="593681" y="1107102"/>
                  </a:lnTo>
                  <a:lnTo>
                    <a:pt x="596828" y="1105528"/>
                  </a:lnTo>
                  <a:lnTo>
                    <a:pt x="614532" y="1093725"/>
                  </a:lnTo>
                  <a:lnTo>
                    <a:pt x="616893" y="1092152"/>
                  </a:lnTo>
                  <a:lnTo>
                    <a:pt x="618467" y="1091758"/>
                  </a:lnTo>
                  <a:lnTo>
                    <a:pt x="621220" y="1089791"/>
                  </a:lnTo>
                  <a:lnTo>
                    <a:pt x="623974" y="1087430"/>
                  </a:lnTo>
                  <a:lnTo>
                    <a:pt x="624368" y="1087037"/>
                  </a:lnTo>
                  <a:lnTo>
                    <a:pt x="626335" y="1084283"/>
                  </a:lnTo>
                  <a:lnTo>
                    <a:pt x="625941" y="1081529"/>
                  </a:lnTo>
                  <a:lnTo>
                    <a:pt x="625941" y="1081136"/>
                  </a:lnTo>
                  <a:lnTo>
                    <a:pt x="625548" y="1080742"/>
                  </a:lnTo>
                  <a:lnTo>
                    <a:pt x="623974" y="1075234"/>
                  </a:lnTo>
                  <a:lnTo>
                    <a:pt x="625155" y="1073267"/>
                  </a:lnTo>
                  <a:lnTo>
                    <a:pt x="628302" y="1073660"/>
                  </a:lnTo>
                  <a:lnTo>
                    <a:pt x="629089" y="1070907"/>
                  </a:lnTo>
                  <a:lnTo>
                    <a:pt x="626335" y="1070513"/>
                  </a:lnTo>
                  <a:lnTo>
                    <a:pt x="625548" y="1067759"/>
                  </a:lnTo>
                  <a:lnTo>
                    <a:pt x="625548" y="1067366"/>
                  </a:lnTo>
                  <a:lnTo>
                    <a:pt x="625941" y="1066972"/>
                  </a:lnTo>
                  <a:lnTo>
                    <a:pt x="622401" y="1053989"/>
                  </a:lnTo>
                  <a:lnTo>
                    <a:pt x="622007" y="1053989"/>
                  </a:lnTo>
                  <a:lnTo>
                    <a:pt x="620434" y="1052809"/>
                  </a:lnTo>
                  <a:lnTo>
                    <a:pt x="621220" y="1052022"/>
                  </a:lnTo>
                  <a:lnTo>
                    <a:pt x="621220" y="1051629"/>
                  </a:lnTo>
                  <a:lnTo>
                    <a:pt x="621614" y="1050448"/>
                  </a:lnTo>
                  <a:lnTo>
                    <a:pt x="621614" y="1050055"/>
                  </a:lnTo>
                  <a:lnTo>
                    <a:pt x="628302" y="1041006"/>
                  </a:lnTo>
                  <a:lnTo>
                    <a:pt x="632630" y="1039039"/>
                  </a:lnTo>
                  <a:lnTo>
                    <a:pt x="634204" y="1039039"/>
                  </a:lnTo>
                  <a:lnTo>
                    <a:pt x="636958" y="1037465"/>
                  </a:lnTo>
                  <a:lnTo>
                    <a:pt x="638925" y="1035891"/>
                  </a:lnTo>
                  <a:lnTo>
                    <a:pt x="641285" y="1034711"/>
                  </a:lnTo>
                  <a:lnTo>
                    <a:pt x="642859" y="1033924"/>
                  </a:lnTo>
                  <a:lnTo>
                    <a:pt x="643646" y="1033138"/>
                  </a:lnTo>
                  <a:lnTo>
                    <a:pt x="651514" y="1029203"/>
                  </a:lnTo>
                  <a:lnTo>
                    <a:pt x="653088" y="1031564"/>
                  </a:lnTo>
                  <a:lnTo>
                    <a:pt x="655842" y="1031957"/>
                  </a:lnTo>
                  <a:lnTo>
                    <a:pt x="660170" y="1032744"/>
                  </a:lnTo>
                  <a:lnTo>
                    <a:pt x="665284" y="1033924"/>
                  </a:lnTo>
                  <a:lnTo>
                    <a:pt x="667251" y="1036285"/>
                  </a:lnTo>
                  <a:lnTo>
                    <a:pt x="670005" y="1035105"/>
                  </a:lnTo>
                  <a:lnTo>
                    <a:pt x="671185" y="1035498"/>
                  </a:lnTo>
                  <a:lnTo>
                    <a:pt x="676300" y="1034711"/>
                  </a:lnTo>
                  <a:lnTo>
                    <a:pt x="677087" y="1034711"/>
                  </a:lnTo>
                  <a:lnTo>
                    <a:pt x="677481" y="1035105"/>
                  </a:lnTo>
                  <a:lnTo>
                    <a:pt x="677087" y="1035498"/>
                  </a:lnTo>
                  <a:lnTo>
                    <a:pt x="677481" y="1037072"/>
                  </a:lnTo>
                  <a:lnTo>
                    <a:pt x="680234" y="1037465"/>
                  </a:lnTo>
                  <a:lnTo>
                    <a:pt x="682202" y="1037465"/>
                  </a:lnTo>
                  <a:lnTo>
                    <a:pt x="686529" y="1039039"/>
                  </a:lnTo>
                  <a:lnTo>
                    <a:pt x="686136" y="1041400"/>
                  </a:lnTo>
                  <a:lnTo>
                    <a:pt x="688890" y="1041400"/>
                  </a:lnTo>
                  <a:lnTo>
                    <a:pt x="692037" y="1042580"/>
                  </a:lnTo>
                  <a:lnTo>
                    <a:pt x="695185" y="1042580"/>
                  </a:lnTo>
                  <a:lnTo>
                    <a:pt x="695972" y="1043760"/>
                  </a:lnTo>
                  <a:lnTo>
                    <a:pt x="698725" y="1046907"/>
                  </a:lnTo>
                  <a:lnTo>
                    <a:pt x="701480" y="1044547"/>
                  </a:lnTo>
                  <a:lnTo>
                    <a:pt x="704233" y="1045727"/>
                  </a:lnTo>
                  <a:lnTo>
                    <a:pt x="706988" y="1047301"/>
                  </a:lnTo>
                  <a:lnTo>
                    <a:pt x="710135" y="1044940"/>
                  </a:lnTo>
                  <a:lnTo>
                    <a:pt x="712889" y="1046514"/>
                  </a:lnTo>
                  <a:lnTo>
                    <a:pt x="716036" y="1044153"/>
                  </a:lnTo>
                  <a:lnTo>
                    <a:pt x="718790" y="1042973"/>
                  </a:lnTo>
                  <a:lnTo>
                    <a:pt x="721544" y="1042580"/>
                  </a:lnTo>
                  <a:lnTo>
                    <a:pt x="719577" y="1039826"/>
                  </a:lnTo>
                  <a:lnTo>
                    <a:pt x="722331" y="1037859"/>
                  </a:lnTo>
                  <a:lnTo>
                    <a:pt x="725478" y="1035498"/>
                  </a:lnTo>
                  <a:lnTo>
                    <a:pt x="728232" y="1034318"/>
                  </a:lnTo>
                  <a:lnTo>
                    <a:pt x="729806" y="1031564"/>
                  </a:lnTo>
                  <a:lnTo>
                    <a:pt x="731380" y="1031170"/>
                  </a:lnTo>
                  <a:lnTo>
                    <a:pt x="732954" y="1030777"/>
                  </a:lnTo>
                  <a:cubicBezTo>
                    <a:pt x="733740" y="1031564"/>
                    <a:pt x="734921" y="1031957"/>
                    <a:pt x="736101" y="1031957"/>
                  </a:cubicBezTo>
                  <a:cubicBezTo>
                    <a:pt x="738462" y="1031957"/>
                    <a:pt x="740429" y="1029990"/>
                    <a:pt x="740429" y="1027630"/>
                  </a:cubicBezTo>
                  <a:cubicBezTo>
                    <a:pt x="740429" y="1026843"/>
                    <a:pt x="740035" y="1026056"/>
                    <a:pt x="740035" y="1025662"/>
                  </a:cubicBezTo>
                  <a:lnTo>
                    <a:pt x="741216" y="1024876"/>
                  </a:lnTo>
                  <a:lnTo>
                    <a:pt x="742789" y="1024089"/>
                  </a:lnTo>
                  <a:lnTo>
                    <a:pt x="745543" y="1023302"/>
                  </a:lnTo>
                  <a:lnTo>
                    <a:pt x="748297" y="1023302"/>
                  </a:lnTo>
                  <a:lnTo>
                    <a:pt x="751445" y="1022515"/>
                  </a:lnTo>
                  <a:lnTo>
                    <a:pt x="754199" y="1021728"/>
                  </a:lnTo>
                  <a:lnTo>
                    <a:pt x="755772" y="1021335"/>
                  </a:lnTo>
                  <a:lnTo>
                    <a:pt x="758526" y="1019761"/>
                  </a:lnTo>
                  <a:lnTo>
                    <a:pt x="761280" y="1017794"/>
                  </a:lnTo>
                  <a:lnTo>
                    <a:pt x="762461" y="1017401"/>
                  </a:lnTo>
                  <a:lnTo>
                    <a:pt x="764034" y="1014646"/>
                  </a:lnTo>
                  <a:lnTo>
                    <a:pt x="767969" y="1009925"/>
                  </a:lnTo>
                  <a:lnTo>
                    <a:pt x="769149" y="1008352"/>
                  </a:lnTo>
                  <a:lnTo>
                    <a:pt x="770723" y="1005598"/>
                  </a:lnTo>
                  <a:lnTo>
                    <a:pt x="774657" y="1003237"/>
                  </a:lnTo>
                  <a:lnTo>
                    <a:pt x="798262" y="1008745"/>
                  </a:lnTo>
                  <a:lnTo>
                    <a:pt x="798656" y="1009139"/>
                  </a:lnTo>
                  <a:lnTo>
                    <a:pt x="801410" y="1011106"/>
                  </a:lnTo>
                  <a:lnTo>
                    <a:pt x="804164" y="1012679"/>
                  </a:lnTo>
                  <a:lnTo>
                    <a:pt x="806918" y="1012286"/>
                  </a:lnTo>
                  <a:lnTo>
                    <a:pt x="809279" y="1013860"/>
                  </a:lnTo>
                  <a:lnTo>
                    <a:pt x="812032" y="1014253"/>
                  </a:lnTo>
                  <a:lnTo>
                    <a:pt x="812426" y="1014646"/>
                  </a:lnTo>
                  <a:lnTo>
                    <a:pt x="815967" y="1017007"/>
                  </a:lnTo>
                  <a:lnTo>
                    <a:pt x="818720" y="1021728"/>
                  </a:lnTo>
                  <a:lnTo>
                    <a:pt x="819114" y="1023302"/>
                  </a:lnTo>
                  <a:lnTo>
                    <a:pt x="819508" y="1026056"/>
                  </a:lnTo>
                  <a:lnTo>
                    <a:pt x="819508" y="1026449"/>
                  </a:lnTo>
                  <a:lnTo>
                    <a:pt x="819901" y="1029203"/>
                  </a:lnTo>
                  <a:lnTo>
                    <a:pt x="820294" y="1030777"/>
                  </a:lnTo>
                  <a:lnTo>
                    <a:pt x="821081" y="1031957"/>
                  </a:lnTo>
                  <a:lnTo>
                    <a:pt x="827376" y="1051235"/>
                  </a:lnTo>
                  <a:lnTo>
                    <a:pt x="832490" y="1051629"/>
                  </a:lnTo>
                  <a:lnTo>
                    <a:pt x="833277" y="1053989"/>
                  </a:lnTo>
                  <a:lnTo>
                    <a:pt x="834851" y="1056743"/>
                  </a:lnTo>
                  <a:lnTo>
                    <a:pt x="837605" y="1057923"/>
                  </a:lnTo>
                  <a:lnTo>
                    <a:pt x="839965" y="1060677"/>
                  </a:lnTo>
                  <a:lnTo>
                    <a:pt x="843113" y="1063431"/>
                  </a:lnTo>
                  <a:lnTo>
                    <a:pt x="844293" y="1064612"/>
                  </a:lnTo>
                  <a:lnTo>
                    <a:pt x="844687" y="1067366"/>
                  </a:lnTo>
                  <a:lnTo>
                    <a:pt x="843506" y="1070120"/>
                  </a:lnTo>
                  <a:lnTo>
                    <a:pt x="846260" y="1068939"/>
                  </a:lnTo>
                  <a:lnTo>
                    <a:pt x="849014" y="1069333"/>
                  </a:lnTo>
                  <a:lnTo>
                    <a:pt x="852162" y="1070120"/>
                  </a:lnTo>
                  <a:lnTo>
                    <a:pt x="860030" y="1077595"/>
                  </a:lnTo>
                  <a:lnTo>
                    <a:pt x="860817" y="1079955"/>
                  </a:lnTo>
                  <a:lnTo>
                    <a:pt x="861211" y="1079955"/>
                  </a:lnTo>
                  <a:lnTo>
                    <a:pt x="862391" y="1081922"/>
                  </a:lnTo>
                  <a:lnTo>
                    <a:pt x="863571" y="1081922"/>
                  </a:lnTo>
                  <a:lnTo>
                    <a:pt x="873800" y="1091365"/>
                  </a:lnTo>
                  <a:lnTo>
                    <a:pt x="880095" y="1095692"/>
                  </a:lnTo>
                  <a:lnTo>
                    <a:pt x="880882" y="1096479"/>
                  </a:lnTo>
                  <a:lnTo>
                    <a:pt x="883242" y="1099233"/>
                  </a:lnTo>
                  <a:lnTo>
                    <a:pt x="885997" y="1100807"/>
                  </a:lnTo>
                  <a:lnTo>
                    <a:pt x="888750" y="1102381"/>
                  </a:lnTo>
                  <a:lnTo>
                    <a:pt x="892291" y="1103561"/>
                  </a:lnTo>
                  <a:lnTo>
                    <a:pt x="894652" y="1105921"/>
                  </a:lnTo>
                  <a:lnTo>
                    <a:pt x="896226" y="1108675"/>
                  </a:lnTo>
                  <a:lnTo>
                    <a:pt x="898979" y="1107102"/>
                  </a:lnTo>
                  <a:lnTo>
                    <a:pt x="901734" y="1106315"/>
                  </a:lnTo>
                  <a:lnTo>
                    <a:pt x="910389" y="1109069"/>
                  </a:lnTo>
                  <a:lnTo>
                    <a:pt x="914717" y="1107889"/>
                  </a:lnTo>
                  <a:lnTo>
                    <a:pt x="915110" y="1108282"/>
                  </a:lnTo>
                  <a:lnTo>
                    <a:pt x="919831" y="1114970"/>
                  </a:lnTo>
                  <a:lnTo>
                    <a:pt x="919831" y="1115364"/>
                  </a:lnTo>
                  <a:lnTo>
                    <a:pt x="922192" y="1118118"/>
                  </a:lnTo>
                  <a:lnTo>
                    <a:pt x="922585" y="1118904"/>
                  </a:lnTo>
                  <a:lnTo>
                    <a:pt x="923372" y="1120085"/>
                  </a:lnTo>
                  <a:lnTo>
                    <a:pt x="926126" y="1122052"/>
                  </a:lnTo>
                  <a:lnTo>
                    <a:pt x="926519" y="1122052"/>
                  </a:lnTo>
                  <a:lnTo>
                    <a:pt x="933208" y="1127953"/>
                  </a:lnTo>
                  <a:lnTo>
                    <a:pt x="931634" y="1130314"/>
                  </a:lnTo>
                  <a:lnTo>
                    <a:pt x="934388" y="1128740"/>
                  </a:lnTo>
                  <a:lnTo>
                    <a:pt x="950125" y="1142510"/>
                  </a:lnTo>
                  <a:lnTo>
                    <a:pt x="951699" y="1144084"/>
                  </a:lnTo>
                  <a:lnTo>
                    <a:pt x="952485" y="1144084"/>
                  </a:lnTo>
                  <a:lnTo>
                    <a:pt x="960354" y="1149592"/>
                  </a:lnTo>
                  <a:lnTo>
                    <a:pt x="961141" y="1149592"/>
                  </a:lnTo>
                  <a:lnTo>
                    <a:pt x="961534" y="1149592"/>
                  </a:lnTo>
                  <a:lnTo>
                    <a:pt x="962321" y="1149592"/>
                  </a:lnTo>
                  <a:lnTo>
                    <a:pt x="968222" y="1148018"/>
                  </a:lnTo>
                  <a:lnTo>
                    <a:pt x="969403" y="1149592"/>
                  </a:lnTo>
                  <a:lnTo>
                    <a:pt x="971370" y="1151952"/>
                  </a:lnTo>
                  <a:lnTo>
                    <a:pt x="972157" y="1154313"/>
                  </a:lnTo>
                  <a:lnTo>
                    <a:pt x="972550" y="1155887"/>
                  </a:lnTo>
                  <a:lnTo>
                    <a:pt x="972944" y="1158641"/>
                  </a:lnTo>
                  <a:lnTo>
                    <a:pt x="974124" y="1161395"/>
                  </a:lnTo>
                  <a:lnTo>
                    <a:pt x="974911" y="1164542"/>
                  </a:lnTo>
                  <a:lnTo>
                    <a:pt x="976091" y="1165722"/>
                  </a:lnTo>
                  <a:lnTo>
                    <a:pt x="981599" y="1181459"/>
                  </a:lnTo>
                  <a:lnTo>
                    <a:pt x="981992" y="1181853"/>
                  </a:lnTo>
                  <a:lnTo>
                    <a:pt x="979239" y="1193262"/>
                  </a:lnTo>
                  <a:lnTo>
                    <a:pt x="977665" y="1194049"/>
                  </a:lnTo>
                  <a:lnTo>
                    <a:pt x="976091" y="1196803"/>
                  </a:lnTo>
                  <a:lnTo>
                    <a:pt x="977665" y="1199557"/>
                  </a:lnTo>
                  <a:lnTo>
                    <a:pt x="977665" y="1199950"/>
                  </a:lnTo>
                  <a:lnTo>
                    <a:pt x="976485" y="1202704"/>
                  </a:lnTo>
                  <a:lnTo>
                    <a:pt x="974911" y="1205458"/>
                  </a:lnTo>
                  <a:lnTo>
                    <a:pt x="972157" y="1208212"/>
                  </a:lnTo>
                  <a:lnTo>
                    <a:pt x="969403" y="1210573"/>
                  </a:lnTo>
                  <a:lnTo>
                    <a:pt x="969403" y="1213327"/>
                  </a:lnTo>
                  <a:lnTo>
                    <a:pt x="969796" y="1216081"/>
                  </a:lnTo>
                  <a:lnTo>
                    <a:pt x="972157" y="1219228"/>
                  </a:lnTo>
                  <a:lnTo>
                    <a:pt x="974911" y="1219622"/>
                  </a:lnTo>
                  <a:lnTo>
                    <a:pt x="977665" y="1219228"/>
                  </a:lnTo>
                  <a:lnTo>
                    <a:pt x="980419" y="1219228"/>
                  </a:lnTo>
                  <a:lnTo>
                    <a:pt x="983173" y="1216868"/>
                  </a:lnTo>
                  <a:lnTo>
                    <a:pt x="983959" y="1213720"/>
                  </a:lnTo>
                  <a:lnTo>
                    <a:pt x="985533" y="1210966"/>
                  </a:lnTo>
                  <a:lnTo>
                    <a:pt x="987500" y="1208212"/>
                  </a:lnTo>
                  <a:lnTo>
                    <a:pt x="990648" y="1206245"/>
                  </a:lnTo>
                  <a:lnTo>
                    <a:pt x="993402" y="1204672"/>
                  </a:lnTo>
                  <a:lnTo>
                    <a:pt x="995369" y="1201917"/>
                  </a:lnTo>
                  <a:lnTo>
                    <a:pt x="1005205" y="1185394"/>
                  </a:lnTo>
                  <a:lnTo>
                    <a:pt x="1005205" y="1185394"/>
                  </a:lnTo>
                  <a:lnTo>
                    <a:pt x="1007959" y="1185787"/>
                  </a:lnTo>
                  <a:lnTo>
                    <a:pt x="1010713" y="1184607"/>
                  </a:lnTo>
                  <a:lnTo>
                    <a:pt x="1011106" y="1181853"/>
                  </a:lnTo>
                  <a:lnTo>
                    <a:pt x="1009532" y="1179099"/>
                  </a:lnTo>
                  <a:lnTo>
                    <a:pt x="1010319" y="1176345"/>
                  </a:lnTo>
                  <a:lnTo>
                    <a:pt x="1009532" y="1173984"/>
                  </a:lnTo>
                  <a:lnTo>
                    <a:pt x="1009532" y="1172410"/>
                  </a:lnTo>
                  <a:lnTo>
                    <a:pt x="1009532" y="1169263"/>
                  </a:lnTo>
                  <a:lnTo>
                    <a:pt x="1006778" y="1166903"/>
                  </a:lnTo>
                  <a:lnTo>
                    <a:pt x="994976" y="1149198"/>
                  </a:lnTo>
                  <a:lnTo>
                    <a:pt x="995762" y="1144871"/>
                  </a:lnTo>
                  <a:lnTo>
                    <a:pt x="996156" y="1144871"/>
                  </a:lnTo>
                  <a:lnTo>
                    <a:pt x="998517" y="1142117"/>
                  </a:lnTo>
                  <a:lnTo>
                    <a:pt x="1002057" y="1135822"/>
                  </a:lnTo>
                  <a:lnTo>
                    <a:pt x="1011499" y="1132674"/>
                  </a:lnTo>
                  <a:lnTo>
                    <a:pt x="1011893" y="1132674"/>
                  </a:lnTo>
                  <a:lnTo>
                    <a:pt x="1013073" y="1132281"/>
                  </a:lnTo>
                  <a:lnTo>
                    <a:pt x="1013466" y="1133068"/>
                  </a:lnTo>
                  <a:lnTo>
                    <a:pt x="1012286" y="1133068"/>
                  </a:lnTo>
                  <a:lnTo>
                    <a:pt x="1012680" y="1133461"/>
                  </a:lnTo>
                  <a:lnTo>
                    <a:pt x="1012680" y="1135428"/>
                  </a:lnTo>
                  <a:lnTo>
                    <a:pt x="1015827" y="1137002"/>
                  </a:lnTo>
                  <a:lnTo>
                    <a:pt x="1018581" y="1138182"/>
                  </a:lnTo>
                  <a:lnTo>
                    <a:pt x="1021335" y="1138969"/>
                  </a:lnTo>
                  <a:lnTo>
                    <a:pt x="1024089" y="1138576"/>
                  </a:lnTo>
                  <a:lnTo>
                    <a:pt x="1027236" y="1138969"/>
                  </a:lnTo>
                  <a:lnTo>
                    <a:pt x="1031958" y="1142904"/>
                  </a:lnTo>
                  <a:lnTo>
                    <a:pt x="1034712" y="1149198"/>
                  </a:lnTo>
                  <a:lnTo>
                    <a:pt x="1034318" y="1149198"/>
                  </a:lnTo>
                  <a:lnTo>
                    <a:pt x="1033925" y="1149198"/>
                  </a:lnTo>
                  <a:lnTo>
                    <a:pt x="1033925" y="1149592"/>
                  </a:lnTo>
                  <a:lnTo>
                    <a:pt x="1036285" y="1152346"/>
                  </a:lnTo>
                  <a:lnTo>
                    <a:pt x="1039039" y="1154313"/>
                  </a:lnTo>
                  <a:lnTo>
                    <a:pt x="1042187" y="1155100"/>
                  </a:lnTo>
                  <a:lnTo>
                    <a:pt x="1044941" y="1154706"/>
                  </a:lnTo>
                  <a:lnTo>
                    <a:pt x="1044941" y="1151952"/>
                  </a:lnTo>
                  <a:lnTo>
                    <a:pt x="1045728" y="1149198"/>
                  </a:lnTo>
                  <a:lnTo>
                    <a:pt x="1047302" y="1146838"/>
                  </a:lnTo>
                  <a:lnTo>
                    <a:pt x="1047695" y="1143690"/>
                  </a:lnTo>
                  <a:lnTo>
                    <a:pt x="1046514" y="1140936"/>
                  </a:lnTo>
                  <a:lnTo>
                    <a:pt x="1044154" y="1138182"/>
                  </a:lnTo>
                  <a:lnTo>
                    <a:pt x="1041400" y="1135428"/>
                  </a:lnTo>
                  <a:lnTo>
                    <a:pt x="1038253" y="1133068"/>
                  </a:lnTo>
                  <a:lnTo>
                    <a:pt x="1035499" y="1131101"/>
                  </a:lnTo>
                  <a:lnTo>
                    <a:pt x="1031958" y="1127166"/>
                  </a:lnTo>
                  <a:lnTo>
                    <a:pt x="1030384" y="1125986"/>
                  </a:lnTo>
                  <a:lnTo>
                    <a:pt x="1028417" y="1125593"/>
                  </a:lnTo>
                  <a:lnTo>
                    <a:pt x="1024876" y="1123626"/>
                  </a:lnTo>
                  <a:lnTo>
                    <a:pt x="1024876" y="1123626"/>
                  </a:lnTo>
                  <a:lnTo>
                    <a:pt x="1024876" y="1123626"/>
                  </a:lnTo>
                  <a:lnTo>
                    <a:pt x="1016221" y="1119298"/>
                  </a:lnTo>
                  <a:lnTo>
                    <a:pt x="1018975" y="1121659"/>
                  </a:lnTo>
                  <a:lnTo>
                    <a:pt x="1016221" y="1119298"/>
                  </a:lnTo>
                  <a:lnTo>
                    <a:pt x="1016221" y="1119298"/>
                  </a:lnTo>
                  <a:lnTo>
                    <a:pt x="1011893" y="1115757"/>
                  </a:lnTo>
                  <a:lnTo>
                    <a:pt x="1009139" y="1114183"/>
                  </a:lnTo>
                  <a:lnTo>
                    <a:pt x="1005992" y="1112610"/>
                  </a:lnTo>
                  <a:lnTo>
                    <a:pt x="1003237" y="1111823"/>
                  </a:lnTo>
                  <a:lnTo>
                    <a:pt x="1000484" y="1111036"/>
                  </a:lnTo>
                  <a:lnTo>
                    <a:pt x="997729" y="1109462"/>
                  </a:lnTo>
                  <a:lnTo>
                    <a:pt x="994582" y="1108675"/>
                  </a:lnTo>
                  <a:lnTo>
                    <a:pt x="991828" y="1107102"/>
                  </a:lnTo>
                  <a:lnTo>
                    <a:pt x="990648" y="1106708"/>
                  </a:lnTo>
                  <a:lnTo>
                    <a:pt x="983566" y="1103167"/>
                  </a:lnTo>
                  <a:lnTo>
                    <a:pt x="975304" y="1098053"/>
                  </a:lnTo>
                  <a:lnTo>
                    <a:pt x="974518" y="1096873"/>
                  </a:lnTo>
                  <a:lnTo>
                    <a:pt x="976091" y="1094119"/>
                  </a:lnTo>
                  <a:lnTo>
                    <a:pt x="978845" y="1092545"/>
                  </a:lnTo>
                  <a:lnTo>
                    <a:pt x="981599" y="1090184"/>
                  </a:lnTo>
                  <a:lnTo>
                    <a:pt x="981992" y="1087430"/>
                  </a:lnTo>
                  <a:lnTo>
                    <a:pt x="979239" y="1084676"/>
                  </a:lnTo>
                  <a:lnTo>
                    <a:pt x="976485" y="1084283"/>
                  </a:lnTo>
                  <a:lnTo>
                    <a:pt x="973730" y="1084676"/>
                  </a:lnTo>
                  <a:lnTo>
                    <a:pt x="970977" y="1085070"/>
                  </a:lnTo>
                  <a:lnTo>
                    <a:pt x="965075" y="1085070"/>
                  </a:lnTo>
                  <a:lnTo>
                    <a:pt x="962321" y="1085463"/>
                  </a:lnTo>
                  <a:lnTo>
                    <a:pt x="959567" y="1085070"/>
                  </a:lnTo>
                  <a:lnTo>
                    <a:pt x="956813" y="1084676"/>
                  </a:lnTo>
                  <a:lnTo>
                    <a:pt x="953666" y="1084283"/>
                  </a:lnTo>
                  <a:lnTo>
                    <a:pt x="950125" y="1081922"/>
                  </a:lnTo>
                  <a:lnTo>
                    <a:pt x="943437" y="1079562"/>
                  </a:lnTo>
                  <a:lnTo>
                    <a:pt x="942256" y="1078382"/>
                  </a:lnTo>
                  <a:lnTo>
                    <a:pt x="940289" y="1075234"/>
                  </a:lnTo>
                  <a:lnTo>
                    <a:pt x="937535" y="1073660"/>
                  </a:lnTo>
                  <a:lnTo>
                    <a:pt x="933995" y="1070907"/>
                  </a:lnTo>
                  <a:lnTo>
                    <a:pt x="932421" y="1068939"/>
                  </a:lnTo>
                  <a:lnTo>
                    <a:pt x="929667" y="1066972"/>
                  </a:lnTo>
                  <a:lnTo>
                    <a:pt x="926519" y="1064218"/>
                  </a:lnTo>
                  <a:lnTo>
                    <a:pt x="924946" y="1062251"/>
                  </a:lnTo>
                  <a:lnTo>
                    <a:pt x="922585" y="1059497"/>
                  </a:lnTo>
                  <a:lnTo>
                    <a:pt x="922585" y="1059104"/>
                  </a:lnTo>
                  <a:lnTo>
                    <a:pt x="921011" y="1056350"/>
                  </a:lnTo>
                  <a:lnTo>
                    <a:pt x="919438" y="1051629"/>
                  </a:lnTo>
                  <a:lnTo>
                    <a:pt x="917864" y="1047301"/>
                  </a:lnTo>
                  <a:lnTo>
                    <a:pt x="917864" y="1045334"/>
                  </a:lnTo>
                  <a:lnTo>
                    <a:pt x="916290" y="1042580"/>
                  </a:lnTo>
                  <a:lnTo>
                    <a:pt x="915897" y="1041006"/>
                  </a:lnTo>
                  <a:lnTo>
                    <a:pt x="914717" y="1038252"/>
                  </a:lnTo>
                  <a:lnTo>
                    <a:pt x="914323" y="1037859"/>
                  </a:lnTo>
                  <a:lnTo>
                    <a:pt x="913930" y="1036285"/>
                  </a:lnTo>
                  <a:lnTo>
                    <a:pt x="912356" y="1033531"/>
                  </a:lnTo>
                  <a:lnTo>
                    <a:pt x="911569" y="1031957"/>
                  </a:lnTo>
                  <a:lnTo>
                    <a:pt x="910389" y="1029203"/>
                  </a:lnTo>
                  <a:lnTo>
                    <a:pt x="907635" y="1027630"/>
                  </a:lnTo>
                  <a:lnTo>
                    <a:pt x="904881" y="1026449"/>
                  </a:lnTo>
                  <a:lnTo>
                    <a:pt x="902127" y="1024876"/>
                  </a:lnTo>
                  <a:lnTo>
                    <a:pt x="898979" y="1022515"/>
                  </a:lnTo>
                  <a:lnTo>
                    <a:pt x="898979" y="1022122"/>
                  </a:lnTo>
                  <a:lnTo>
                    <a:pt x="896226" y="1019761"/>
                  </a:lnTo>
                  <a:lnTo>
                    <a:pt x="893471" y="1017794"/>
                  </a:lnTo>
                  <a:lnTo>
                    <a:pt x="890718" y="1016220"/>
                  </a:lnTo>
                  <a:lnTo>
                    <a:pt x="887964" y="1014646"/>
                  </a:lnTo>
                  <a:lnTo>
                    <a:pt x="883242" y="1011106"/>
                  </a:lnTo>
                  <a:lnTo>
                    <a:pt x="877734" y="1005598"/>
                  </a:lnTo>
                  <a:lnTo>
                    <a:pt x="874981" y="993008"/>
                  </a:lnTo>
                  <a:lnTo>
                    <a:pt x="874587" y="992615"/>
                  </a:lnTo>
                  <a:lnTo>
                    <a:pt x="874194" y="991041"/>
                  </a:lnTo>
                  <a:lnTo>
                    <a:pt x="874587" y="986320"/>
                  </a:lnTo>
                  <a:lnTo>
                    <a:pt x="878128" y="987107"/>
                  </a:lnTo>
                  <a:lnTo>
                    <a:pt x="878521" y="986713"/>
                  </a:lnTo>
                  <a:lnTo>
                    <a:pt x="879701" y="985926"/>
                  </a:lnTo>
                  <a:lnTo>
                    <a:pt x="881275" y="983172"/>
                  </a:lnTo>
                  <a:lnTo>
                    <a:pt x="881669" y="981599"/>
                  </a:lnTo>
                  <a:lnTo>
                    <a:pt x="879308" y="980418"/>
                  </a:lnTo>
                  <a:lnTo>
                    <a:pt x="875767" y="974910"/>
                  </a:lnTo>
                  <a:lnTo>
                    <a:pt x="874194" y="973337"/>
                  </a:lnTo>
                  <a:lnTo>
                    <a:pt x="872620" y="972943"/>
                  </a:lnTo>
                  <a:lnTo>
                    <a:pt x="872227" y="971370"/>
                  </a:lnTo>
                  <a:lnTo>
                    <a:pt x="871046" y="970976"/>
                  </a:lnTo>
                  <a:lnTo>
                    <a:pt x="871046" y="970583"/>
                  </a:lnTo>
                  <a:lnTo>
                    <a:pt x="871440" y="970189"/>
                  </a:lnTo>
                  <a:lnTo>
                    <a:pt x="871833" y="970583"/>
                  </a:lnTo>
                  <a:lnTo>
                    <a:pt x="872227" y="970583"/>
                  </a:lnTo>
                  <a:lnTo>
                    <a:pt x="873800" y="968222"/>
                  </a:lnTo>
                  <a:lnTo>
                    <a:pt x="874194" y="965468"/>
                  </a:lnTo>
                  <a:lnTo>
                    <a:pt x="874587" y="965075"/>
                  </a:lnTo>
                  <a:lnTo>
                    <a:pt x="878521" y="965468"/>
                  </a:lnTo>
                  <a:lnTo>
                    <a:pt x="880489" y="965468"/>
                  </a:lnTo>
                  <a:lnTo>
                    <a:pt x="883242" y="964288"/>
                  </a:lnTo>
                  <a:lnTo>
                    <a:pt x="885997" y="963108"/>
                  </a:lnTo>
                  <a:lnTo>
                    <a:pt x="896226" y="959173"/>
                  </a:lnTo>
                  <a:lnTo>
                    <a:pt x="900947" y="955633"/>
                  </a:lnTo>
                  <a:lnTo>
                    <a:pt x="903307" y="956026"/>
                  </a:lnTo>
                  <a:lnTo>
                    <a:pt x="904094" y="956419"/>
                  </a:lnTo>
                  <a:lnTo>
                    <a:pt x="904094" y="957993"/>
                  </a:lnTo>
                  <a:lnTo>
                    <a:pt x="906061" y="957206"/>
                  </a:lnTo>
                  <a:lnTo>
                    <a:pt x="908815" y="954846"/>
                  </a:lnTo>
                  <a:lnTo>
                    <a:pt x="912749" y="961140"/>
                  </a:lnTo>
                  <a:lnTo>
                    <a:pt x="912356" y="962714"/>
                  </a:lnTo>
                  <a:lnTo>
                    <a:pt x="910389" y="963108"/>
                  </a:lnTo>
                  <a:lnTo>
                    <a:pt x="909208" y="965075"/>
                  </a:lnTo>
                  <a:lnTo>
                    <a:pt x="906455" y="964681"/>
                  </a:lnTo>
                  <a:lnTo>
                    <a:pt x="907635" y="967435"/>
                  </a:lnTo>
                  <a:lnTo>
                    <a:pt x="909602" y="970189"/>
                  </a:lnTo>
                  <a:lnTo>
                    <a:pt x="908815" y="970583"/>
                  </a:lnTo>
                  <a:lnTo>
                    <a:pt x="909208" y="973337"/>
                  </a:lnTo>
                  <a:lnTo>
                    <a:pt x="909996" y="976484"/>
                  </a:lnTo>
                  <a:lnTo>
                    <a:pt x="912749" y="976484"/>
                  </a:lnTo>
                  <a:lnTo>
                    <a:pt x="911176" y="978845"/>
                  </a:lnTo>
                  <a:lnTo>
                    <a:pt x="913143" y="981205"/>
                  </a:lnTo>
                  <a:lnTo>
                    <a:pt x="915110" y="984353"/>
                  </a:lnTo>
                  <a:lnTo>
                    <a:pt x="915504" y="985926"/>
                  </a:lnTo>
                  <a:lnTo>
                    <a:pt x="918257" y="988680"/>
                  </a:lnTo>
                  <a:lnTo>
                    <a:pt x="919831" y="986713"/>
                  </a:lnTo>
                  <a:lnTo>
                    <a:pt x="921011" y="983959"/>
                  </a:lnTo>
                  <a:lnTo>
                    <a:pt x="921798" y="979632"/>
                  </a:lnTo>
                  <a:lnTo>
                    <a:pt x="922585" y="981205"/>
                  </a:lnTo>
                  <a:lnTo>
                    <a:pt x="924946" y="981205"/>
                  </a:lnTo>
                  <a:lnTo>
                    <a:pt x="926519" y="975697"/>
                  </a:lnTo>
                  <a:lnTo>
                    <a:pt x="928880" y="969009"/>
                  </a:lnTo>
                  <a:lnTo>
                    <a:pt x="936355" y="973337"/>
                  </a:lnTo>
                  <a:lnTo>
                    <a:pt x="943830" y="980025"/>
                  </a:lnTo>
                  <a:lnTo>
                    <a:pt x="944223" y="981205"/>
                  </a:lnTo>
                  <a:lnTo>
                    <a:pt x="944617" y="983566"/>
                  </a:lnTo>
                  <a:lnTo>
                    <a:pt x="944617" y="983959"/>
                  </a:lnTo>
                  <a:lnTo>
                    <a:pt x="943830" y="986713"/>
                  </a:lnTo>
                  <a:lnTo>
                    <a:pt x="944223" y="989467"/>
                  </a:lnTo>
                  <a:lnTo>
                    <a:pt x="945011" y="992221"/>
                  </a:lnTo>
                  <a:lnTo>
                    <a:pt x="946978" y="994975"/>
                  </a:lnTo>
                  <a:lnTo>
                    <a:pt x="954846" y="1001663"/>
                  </a:lnTo>
                  <a:lnTo>
                    <a:pt x="956026" y="1002450"/>
                  </a:lnTo>
                  <a:lnTo>
                    <a:pt x="959174" y="1004024"/>
                  </a:lnTo>
                  <a:lnTo>
                    <a:pt x="961928" y="1005598"/>
                  </a:lnTo>
                  <a:lnTo>
                    <a:pt x="961928" y="1005991"/>
                  </a:lnTo>
                  <a:lnTo>
                    <a:pt x="959567" y="1005598"/>
                  </a:lnTo>
                  <a:lnTo>
                    <a:pt x="956813" y="1004417"/>
                  </a:lnTo>
                  <a:lnTo>
                    <a:pt x="954059" y="1004811"/>
                  </a:lnTo>
                  <a:lnTo>
                    <a:pt x="950912" y="1005204"/>
                  </a:lnTo>
                  <a:lnTo>
                    <a:pt x="952485" y="1007958"/>
                  </a:lnTo>
                  <a:lnTo>
                    <a:pt x="955240" y="1010712"/>
                  </a:lnTo>
                  <a:lnTo>
                    <a:pt x="957993" y="1013860"/>
                  </a:lnTo>
                  <a:lnTo>
                    <a:pt x="960354" y="1016220"/>
                  </a:lnTo>
                  <a:lnTo>
                    <a:pt x="963501" y="1018581"/>
                  </a:lnTo>
                  <a:lnTo>
                    <a:pt x="965862" y="1020548"/>
                  </a:lnTo>
                  <a:lnTo>
                    <a:pt x="969010" y="1022122"/>
                  </a:lnTo>
                  <a:lnTo>
                    <a:pt x="971763" y="1023302"/>
                  </a:lnTo>
                  <a:lnTo>
                    <a:pt x="973730" y="1027236"/>
                  </a:lnTo>
                  <a:lnTo>
                    <a:pt x="973730" y="1028023"/>
                  </a:lnTo>
                  <a:lnTo>
                    <a:pt x="975698" y="1030777"/>
                  </a:lnTo>
                  <a:lnTo>
                    <a:pt x="978452" y="1031564"/>
                  </a:lnTo>
                  <a:lnTo>
                    <a:pt x="981206" y="1029990"/>
                  </a:lnTo>
                  <a:lnTo>
                    <a:pt x="983959" y="1029203"/>
                  </a:lnTo>
                  <a:lnTo>
                    <a:pt x="991041" y="1031170"/>
                  </a:lnTo>
                  <a:lnTo>
                    <a:pt x="994189" y="1032351"/>
                  </a:lnTo>
                  <a:lnTo>
                    <a:pt x="996943" y="1033531"/>
                  </a:lnTo>
                  <a:lnTo>
                    <a:pt x="999697" y="1033924"/>
                  </a:lnTo>
                  <a:lnTo>
                    <a:pt x="1002451" y="1036678"/>
                  </a:lnTo>
                  <a:lnTo>
                    <a:pt x="1005205" y="1039432"/>
                  </a:lnTo>
                  <a:lnTo>
                    <a:pt x="1007959" y="1041400"/>
                  </a:lnTo>
                  <a:lnTo>
                    <a:pt x="1010713" y="1042580"/>
                  </a:lnTo>
                  <a:lnTo>
                    <a:pt x="1014647" y="1045334"/>
                  </a:lnTo>
                  <a:lnTo>
                    <a:pt x="1015040" y="1045727"/>
                  </a:lnTo>
                  <a:lnTo>
                    <a:pt x="1015827" y="1046121"/>
                  </a:lnTo>
                  <a:lnTo>
                    <a:pt x="1016221" y="1047694"/>
                  </a:lnTo>
                  <a:lnTo>
                    <a:pt x="1018975" y="1049268"/>
                  </a:lnTo>
                  <a:lnTo>
                    <a:pt x="1021335" y="1051235"/>
                  </a:lnTo>
                  <a:lnTo>
                    <a:pt x="1023302" y="1052809"/>
                  </a:lnTo>
                  <a:lnTo>
                    <a:pt x="1020548" y="1051235"/>
                  </a:lnTo>
                  <a:lnTo>
                    <a:pt x="1017795" y="1050842"/>
                  </a:lnTo>
                  <a:lnTo>
                    <a:pt x="1015040" y="1048875"/>
                  </a:lnTo>
                  <a:lnTo>
                    <a:pt x="1011893" y="1047301"/>
                  </a:lnTo>
                  <a:lnTo>
                    <a:pt x="1009139" y="1046907"/>
                  </a:lnTo>
                  <a:lnTo>
                    <a:pt x="1006385" y="1048481"/>
                  </a:lnTo>
                  <a:lnTo>
                    <a:pt x="1009139" y="1048481"/>
                  </a:lnTo>
                  <a:lnTo>
                    <a:pt x="1011893" y="1050055"/>
                  </a:lnTo>
                  <a:lnTo>
                    <a:pt x="1015040" y="1050842"/>
                  </a:lnTo>
                  <a:lnTo>
                    <a:pt x="1017795" y="1052809"/>
                  </a:lnTo>
                  <a:lnTo>
                    <a:pt x="1020548" y="1053596"/>
                  </a:lnTo>
                  <a:lnTo>
                    <a:pt x="1023696" y="1053989"/>
                  </a:lnTo>
                  <a:lnTo>
                    <a:pt x="1026056" y="1054383"/>
                  </a:lnTo>
                  <a:lnTo>
                    <a:pt x="1026843" y="1054776"/>
                  </a:lnTo>
                  <a:lnTo>
                    <a:pt x="1029204" y="1056743"/>
                  </a:lnTo>
                  <a:lnTo>
                    <a:pt x="1031958" y="1057923"/>
                  </a:lnTo>
                  <a:lnTo>
                    <a:pt x="1031958" y="1058317"/>
                  </a:lnTo>
                  <a:lnTo>
                    <a:pt x="1033532" y="1059891"/>
                  </a:lnTo>
                  <a:lnTo>
                    <a:pt x="1038253" y="1062645"/>
                  </a:lnTo>
                  <a:lnTo>
                    <a:pt x="1039039" y="1063825"/>
                  </a:lnTo>
                  <a:lnTo>
                    <a:pt x="1041793" y="1065398"/>
                  </a:lnTo>
                  <a:lnTo>
                    <a:pt x="1044941" y="1066185"/>
                  </a:lnTo>
                  <a:lnTo>
                    <a:pt x="1046514" y="1066185"/>
                  </a:lnTo>
                  <a:lnTo>
                    <a:pt x="1049269" y="1065792"/>
                  </a:lnTo>
                  <a:lnTo>
                    <a:pt x="1051629" y="1064612"/>
                  </a:lnTo>
                  <a:lnTo>
                    <a:pt x="1052022" y="1066185"/>
                  </a:lnTo>
                  <a:lnTo>
                    <a:pt x="1052416" y="1066579"/>
                  </a:lnTo>
                  <a:lnTo>
                    <a:pt x="1052022" y="1066972"/>
                  </a:lnTo>
                  <a:lnTo>
                    <a:pt x="1049662" y="1065792"/>
                  </a:lnTo>
                  <a:lnTo>
                    <a:pt x="1049662" y="1067366"/>
                  </a:lnTo>
                  <a:lnTo>
                    <a:pt x="1046908" y="1067759"/>
                  </a:lnTo>
                  <a:lnTo>
                    <a:pt x="1049662" y="1068153"/>
                  </a:lnTo>
                  <a:lnTo>
                    <a:pt x="1051629" y="1070907"/>
                  </a:lnTo>
                  <a:lnTo>
                    <a:pt x="1052416" y="1071693"/>
                  </a:lnTo>
                  <a:lnTo>
                    <a:pt x="1052809" y="1071693"/>
                  </a:lnTo>
                  <a:lnTo>
                    <a:pt x="1057531" y="1074447"/>
                  </a:lnTo>
                  <a:lnTo>
                    <a:pt x="1062645" y="1081529"/>
                  </a:lnTo>
                  <a:lnTo>
                    <a:pt x="1063039" y="1081922"/>
                  </a:lnTo>
                  <a:lnTo>
                    <a:pt x="1065792" y="1083890"/>
                  </a:lnTo>
                  <a:lnTo>
                    <a:pt x="1068546" y="1085463"/>
                  </a:lnTo>
                  <a:lnTo>
                    <a:pt x="1069333" y="1085857"/>
                  </a:lnTo>
                  <a:lnTo>
                    <a:pt x="1073661" y="1086250"/>
                  </a:lnTo>
                  <a:lnTo>
                    <a:pt x="1075235" y="1089004"/>
                  </a:lnTo>
                  <a:lnTo>
                    <a:pt x="1075235" y="1091758"/>
                  </a:lnTo>
                  <a:lnTo>
                    <a:pt x="1075235" y="1092152"/>
                  </a:lnTo>
                  <a:lnTo>
                    <a:pt x="1075235" y="1091758"/>
                  </a:lnTo>
                  <a:lnTo>
                    <a:pt x="1075628" y="1094119"/>
                  </a:lnTo>
                  <a:lnTo>
                    <a:pt x="1074054" y="1095692"/>
                  </a:lnTo>
                  <a:lnTo>
                    <a:pt x="1072874" y="1098446"/>
                  </a:lnTo>
                  <a:lnTo>
                    <a:pt x="1071300" y="1101200"/>
                  </a:lnTo>
                  <a:lnTo>
                    <a:pt x="1073661" y="1103561"/>
                  </a:lnTo>
                  <a:lnTo>
                    <a:pt x="1073268" y="1106708"/>
                  </a:lnTo>
                  <a:lnTo>
                    <a:pt x="1073268" y="1106708"/>
                  </a:lnTo>
                  <a:lnTo>
                    <a:pt x="1072874" y="1109462"/>
                  </a:lnTo>
                  <a:lnTo>
                    <a:pt x="1072480" y="1112216"/>
                  </a:lnTo>
                  <a:lnTo>
                    <a:pt x="1072874" y="1116937"/>
                  </a:lnTo>
                  <a:lnTo>
                    <a:pt x="1070907" y="1116544"/>
                  </a:lnTo>
                  <a:lnTo>
                    <a:pt x="1071300" y="1119691"/>
                  </a:lnTo>
                  <a:lnTo>
                    <a:pt x="1070907" y="1121659"/>
                  </a:lnTo>
                  <a:lnTo>
                    <a:pt x="1069333" y="1125593"/>
                  </a:lnTo>
                  <a:lnTo>
                    <a:pt x="1070907" y="1127560"/>
                  </a:lnTo>
                  <a:lnTo>
                    <a:pt x="1073661" y="1129921"/>
                  </a:lnTo>
                  <a:lnTo>
                    <a:pt x="1072087" y="1130314"/>
                  </a:lnTo>
                  <a:lnTo>
                    <a:pt x="1073661" y="1132281"/>
                  </a:lnTo>
                  <a:lnTo>
                    <a:pt x="1073661" y="1136215"/>
                  </a:lnTo>
                  <a:lnTo>
                    <a:pt x="1072874" y="1136609"/>
                  </a:lnTo>
                  <a:lnTo>
                    <a:pt x="1071694" y="1134642"/>
                  </a:lnTo>
                  <a:lnTo>
                    <a:pt x="1068940" y="1133461"/>
                  </a:lnTo>
                  <a:lnTo>
                    <a:pt x="1070907" y="1136215"/>
                  </a:lnTo>
                  <a:lnTo>
                    <a:pt x="1072874" y="1139363"/>
                  </a:lnTo>
                  <a:lnTo>
                    <a:pt x="1076021" y="1141330"/>
                  </a:lnTo>
                  <a:lnTo>
                    <a:pt x="1078776" y="1142904"/>
                  </a:lnTo>
                  <a:lnTo>
                    <a:pt x="1081529" y="1144084"/>
                  </a:lnTo>
                  <a:lnTo>
                    <a:pt x="1084283" y="1145658"/>
                  </a:lnTo>
                  <a:lnTo>
                    <a:pt x="1085857" y="1147625"/>
                  </a:lnTo>
                  <a:lnTo>
                    <a:pt x="1089005" y="1151952"/>
                  </a:lnTo>
                  <a:lnTo>
                    <a:pt x="1089398" y="1154313"/>
                  </a:lnTo>
                  <a:lnTo>
                    <a:pt x="1089398" y="1154706"/>
                  </a:lnTo>
                  <a:lnTo>
                    <a:pt x="1089398" y="1155100"/>
                  </a:lnTo>
                  <a:lnTo>
                    <a:pt x="1089398" y="1158247"/>
                  </a:lnTo>
                  <a:lnTo>
                    <a:pt x="1089791" y="1158247"/>
                  </a:lnTo>
                  <a:lnTo>
                    <a:pt x="1099234" y="1171230"/>
                  </a:lnTo>
                  <a:lnTo>
                    <a:pt x="1107889" y="1177918"/>
                  </a:lnTo>
                  <a:lnTo>
                    <a:pt x="1111823" y="1183033"/>
                  </a:lnTo>
                  <a:lnTo>
                    <a:pt x="1113397" y="1177918"/>
                  </a:lnTo>
                  <a:lnTo>
                    <a:pt x="1116151" y="1179492"/>
                  </a:lnTo>
                  <a:lnTo>
                    <a:pt x="1118905" y="1181459"/>
                  </a:lnTo>
                  <a:lnTo>
                    <a:pt x="1121659" y="1180672"/>
                  </a:lnTo>
                  <a:lnTo>
                    <a:pt x="1119298" y="1185394"/>
                  </a:lnTo>
                  <a:lnTo>
                    <a:pt x="1117724" y="1183820"/>
                  </a:lnTo>
                  <a:lnTo>
                    <a:pt x="1114971" y="1183426"/>
                  </a:lnTo>
                  <a:lnTo>
                    <a:pt x="1112217" y="1183820"/>
                  </a:lnTo>
                  <a:lnTo>
                    <a:pt x="1111823" y="1184213"/>
                  </a:lnTo>
                  <a:lnTo>
                    <a:pt x="1111823" y="1186967"/>
                  </a:lnTo>
                  <a:lnTo>
                    <a:pt x="1113004" y="1189721"/>
                  </a:lnTo>
                  <a:lnTo>
                    <a:pt x="1114971" y="1190115"/>
                  </a:lnTo>
                  <a:lnTo>
                    <a:pt x="1117724" y="1193262"/>
                  </a:lnTo>
                  <a:lnTo>
                    <a:pt x="1118118" y="1193262"/>
                  </a:lnTo>
                  <a:lnTo>
                    <a:pt x="1119298" y="1194049"/>
                  </a:lnTo>
                  <a:lnTo>
                    <a:pt x="1120085" y="1196803"/>
                  </a:lnTo>
                  <a:lnTo>
                    <a:pt x="1122446" y="1199950"/>
                  </a:lnTo>
                  <a:lnTo>
                    <a:pt x="1123233" y="1202704"/>
                  </a:lnTo>
                  <a:lnTo>
                    <a:pt x="1124020" y="1205458"/>
                  </a:lnTo>
                  <a:lnTo>
                    <a:pt x="1126773" y="1203491"/>
                  </a:lnTo>
                  <a:lnTo>
                    <a:pt x="1129134" y="1200737"/>
                  </a:lnTo>
                  <a:lnTo>
                    <a:pt x="1129134" y="1199950"/>
                  </a:lnTo>
                  <a:lnTo>
                    <a:pt x="1129527" y="1200737"/>
                  </a:lnTo>
                  <a:lnTo>
                    <a:pt x="1130314" y="1202311"/>
                  </a:lnTo>
                  <a:lnTo>
                    <a:pt x="1132282" y="1205065"/>
                  </a:lnTo>
                  <a:lnTo>
                    <a:pt x="1135429" y="1204672"/>
                  </a:lnTo>
                  <a:lnTo>
                    <a:pt x="1138183" y="1203885"/>
                  </a:lnTo>
                  <a:lnTo>
                    <a:pt x="1140937" y="1203491"/>
                  </a:lnTo>
                  <a:lnTo>
                    <a:pt x="1143691" y="1203098"/>
                  </a:lnTo>
                  <a:lnTo>
                    <a:pt x="1151953" y="1204278"/>
                  </a:lnTo>
                  <a:lnTo>
                    <a:pt x="1152346" y="1204672"/>
                  </a:lnTo>
                  <a:lnTo>
                    <a:pt x="1152740" y="1204672"/>
                  </a:lnTo>
                  <a:lnTo>
                    <a:pt x="1163362" y="1206245"/>
                  </a:lnTo>
                  <a:lnTo>
                    <a:pt x="1164936" y="1203885"/>
                  </a:lnTo>
                  <a:lnTo>
                    <a:pt x="1166903" y="1205458"/>
                  </a:lnTo>
                  <a:lnTo>
                    <a:pt x="1169657" y="1208212"/>
                  </a:lnTo>
                  <a:lnTo>
                    <a:pt x="1172411" y="1208606"/>
                  </a:lnTo>
                  <a:lnTo>
                    <a:pt x="1176738" y="1208606"/>
                  </a:lnTo>
                  <a:lnTo>
                    <a:pt x="1181067" y="1210179"/>
                  </a:lnTo>
                  <a:lnTo>
                    <a:pt x="1179493" y="1212933"/>
                  </a:lnTo>
                  <a:lnTo>
                    <a:pt x="1161001" y="1210966"/>
                  </a:lnTo>
                  <a:lnTo>
                    <a:pt x="1161001" y="1210966"/>
                  </a:lnTo>
                  <a:lnTo>
                    <a:pt x="1157854" y="1210573"/>
                  </a:lnTo>
                  <a:lnTo>
                    <a:pt x="1156674" y="1210179"/>
                  </a:lnTo>
                  <a:lnTo>
                    <a:pt x="1153527" y="1209393"/>
                  </a:lnTo>
                  <a:lnTo>
                    <a:pt x="1150772" y="1207425"/>
                  </a:lnTo>
                  <a:lnTo>
                    <a:pt x="1148019" y="1206245"/>
                  </a:lnTo>
                  <a:lnTo>
                    <a:pt x="1145264" y="1204278"/>
                  </a:lnTo>
                  <a:lnTo>
                    <a:pt x="1142511" y="1204278"/>
                  </a:lnTo>
                  <a:lnTo>
                    <a:pt x="1139757" y="1206245"/>
                  </a:lnTo>
                  <a:lnTo>
                    <a:pt x="1138183" y="1208999"/>
                  </a:lnTo>
                  <a:lnTo>
                    <a:pt x="1135035" y="1210573"/>
                  </a:lnTo>
                  <a:lnTo>
                    <a:pt x="1132282" y="1209393"/>
                  </a:lnTo>
                  <a:lnTo>
                    <a:pt x="1129527" y="1210966"/>
                  </a:lnTo>
                  <a:lnTo>
                    <a:pt x="1129527" y="1211360"/>
                  </a:lnTo>
                  <a:lnTo>
                    <a:pt x="1127954" y="1214507"/>
                  </a:lnTo>
                  <a:lnTo>
                    <a:pt x="1125593" y="1217261"/>
                  </a:lnTo>
                  <a:lnTo>
                    <a:pt x="1122839" y="1218835"/>
                  </a:lnTo>
                  <a:lnTo>
                    <a:pt x="1125593" y="1221982"/>
                  </a:lnTo>
                  <a:lnTo>
                    <a:pt x="1128347" y="1224343"/>
                  </a:lnTo>
                  <a:lnTo>
                    <a:pt x="1129921" y="1227097"/>
                  </a:lnTo>
                  <a:lnTo>
                    <a:pt x="1133068" y="1229064"/>
                  </a:lnTo>
                  <a:lnTo>
                    <a:pt x="1139757" y="1236539"/>
                  </a:lnTo>
                  <a:lnTo>
                    <a:pt x="1140150" y="1239293"/>
                  </a:lnTo>
                  <a:lnTo>
                    <a:pt x="1138970" y="1241260"/>
                  </a:lnTo>
                  <a:lnTo>
                    <a:pt x="1137002" y="1244014"/>
                  </a:lnTo>
                  <a:lnTo>
                    <a:pt x="1137396" y="1247161"/>
                  </a:lnTo>
                  <a:lnTo>
                    <a:pt x="1139757" y="1249916"/>
                  </a:lnTo>
                  <a:lnTo>
                    <a:pt x="1141330" y="1252669"/>
                  </a:lnTo>
                  <a:lnTo>
                    <a:pt x="1140937" y="1253063"/>
                  </a:lnTo>
                  <a:lnTo>
                    <a:pt x="1142511" y="1255817"/>
                  </a:lnTo>
                  <a:lnTo>
                    <a:pt x="1145264" y="1256604"/>
                  </a:lnTo>
                  <a:lnTo>
                    <a:pt x="1148019" y="1256997"/>
                  </a:lnTo>
                  <a:lnTo>
                    <a:pt x="1147625" y="1254243"/>
                  </a:lnTo>
                  <a:lnTo>
                    <a:pt x="1147625" y="1251489"/>
                  </a:lnTo>
                  <a:lnTo>
                    <a:pt x="1148805" y="1249522"/>
                  </a:lnTo>
                  <a:lnTo>
                    <a:pt x="1152346" y="1248342"/>
                  </a:lnTo>
                  <a:lnTo>
                    <a:pt x="1153527" y="1250309"/>
                  </a:lnTo>
                  <a:lnTo>
                    <a:pt x="1154313" y="1253063"/>
                  </a:lnTo>
                  <a:lnTo>
                    <a:pt x="1155887" y="1254243"/>
                  </a:lnTo>
                  <a:lnTo>
                    <a:pt x="1158248" y="1257784"/>
                  </a:lnTo>
                  <a:lnTo>
                    <a:pt x="1158641" y="1258177"/>
                  </a:lnTo>
                  <a:lnTo>
                    <a:pt x="1159821" y="1260931"/>
                  </a:lnTo>
                  <a:lnTo>
                    <a:pt x="1160215" y="1263685"/>
                  </a:lnTo>
                  <a:lnTo>
                    <a:pt x="1160608" y="1266439"/>
                  </a:lnTo>
                  <a:lnTo>
                    <a:pt x="1163362" y="1266833"/>
                  </a:lnTo>
                  <a:lnTo>
                    <a:pt x="1162575" y="1264079"/>
                  </a:lnTo>
                  <a:lnTo>
                    <a:pt x="1163362" y="1261325"/>
                  </a:lnTo>
                  <a:lnTo>
                    <a:pt x="1168083" y="1255817"/>
                  </a:lnTo>
                  <a:lnTo>
                    <a:pt x="1172411" y="1260145"/>
                  </a:lnTo>
                  <a:lnTo>
                    <a:pt x="1173591" y="1262112"/>
                  </a:lnTo>
                  <a:lnTo>
                    <a:pt x="1175952" y="1264866"/>
                  </a:lnTo>
                  <a:lnTo>
                    <a:pt x="1177919" y="1265259"/>
                  </a:lnTo>
                  <a:lnTo>
                    <a:pt x="1181460" y="1268800"/>
                  </a:lnTo>
                  <a:lnTo>
                    <a:pt x="1183034" y="1267620"/>
                  </a:lnTo>
                  <a:lnTo>
                    <a:pt x="1181460" y="1264866"/>
                  </a:lnTo>
                  <a:lnTo>
                    <a:pt x="1180279" y="1264079"/>
                  </a:lnTo>
                  <a:lnTo>
                    <a:pt x="1178706" y="1257784"/>
                  </a:lnTo>
                  <a:lnTo>
                    <a:pt x="1179099" y="1256604"/>
                  </a:lnTo>
                  <a:lnTo>
                    <a:pt x="1177132" y="1251883"/>
                  </a:lnTo>
                  <a:lnTo>
                    <a:pt x="1176345" y="1248342"/>
                  </a:lnTo>
                  <a:lnTo>
                    <a:pt x="1168083" y="1231818"/>
                  </a:lnTo>
                  <a:lnTo>
                    <a:pt x="1175952" y="1232998"/>
                  </a:lnTo>
                  <a:lnTo>
                    <a:pt x="1176738" y="1233392"/>
                  </a:lnTo>
                  <a:lnTo>
                    <a:pt x="1179493" y="1234572"/>
                  </a:lnTo>
                  <a:lnTo>
                    <a:pt x="1179099" y="1237719"/>
                  </a:lnTo>
                  <a:lnTo>
                    <a:pt x="1181853" y="1239293"/>
                  </a:lnTo>
                  <a:lnTo>
                    <a:pt x="1183427" y="1236539"/>
                  </a:lnTo>
                  <a:lnTo>
                    <a:pt x="1186181" y="1235752"/>
                  </a:lnTo>
                  <a:lnTo>
                    <a:pt x="1188935" y="1235359"/>
                  </a:lnTo>
                  <a:lnTo>
                    <a:pt x="1189722" y="1233392"/>
                  </a:lnTo>
                  <a:lnTo>
                    <a:pt x="1186574" y="1231424"/>
                  </a:lnTo>
                  <a:lnTo>
                    <a:pt x="1184607" y="1228670"/>
                  </a:lnTo>
                  <a:lnTo>
                    <a:pt x="1184214" y="1231424"/>
                  </a:lnTo>
                  <a:lnTo>
                    <a:pt x="1181460" y="1229851"/>
                  </a:lnTo>
                  <a:lnTo>
                    <a:pt x="1179493" y="1225130"/>
                  </a:lnTo>
                  <a:lnTo>
                    <a:pt x="1178706" y="1223556"/>
                  </a:lnTo>
                  <a:lnTo>
                    <a:pt x="1178706" y="1220802"/>
                  </a:lnTo>
                  <a:lnTo>
                    <a:pt x="1175952" y="1220802"/>
                  </a:lnTo>
                  <a:lnTo>
                    <a:pt x="1175165" y="1218441"/>
                  </a:lnTo>
                  <a:lnTo>
                    <a:pt x="1177526" y="1218441"/>
                  </a:lnTo>
                  <a:lnTo>
                    <a:pt x="1180673" y="1216868"/>
                  </a:lnTo>
                  <a:lnTo>
                    <a:pt x="1204672" y="1227490"/>
                  </a:lnTo>
                  <a:lnTo>
                    <a:pt x="1205065" y="1227097"/>
                  </a:lnTo>
                  <a:lnTo>
                    <a:pt x="1205852" y="1224343"/>
                  </a:lnTo>
                  <a:lnTo>
                    <a:pt x="1205065" y="1221589"/>
                  </a:lnTo>
                  <a:lnTo>
                    <a:pt x="1203885" y="1219228"/>
                  </a:lnTo>
                  <a:lnTo>
                    <a:pt x="1203492" y="1217261"/>
                  </a:lnTo>
                  <a:lnTo>
                    <a:pt x="1203098" y="1214507"/>
                  </a:lnTo>
                  <a:lnTo>
                    <a:pt x="1204672" y="1211360"/>
                  </a:lnTo>
                  <a:lnTo>
                    <a:pt x="1203492" y="1208606"/>
                  </a:lnTo>
                  <a:lnTo>
                    <a:pt x="1203098" y="1208212"/>
                  </a:lnTo>
                  <a:lnTo>
                    <a:pt x="1217262" y="1217655"/>
                  </a:lnTo>
                  <a:lnTo>
                    <a:pt x="1218048" y="1216868"/>
                  </a:lnTo>
                  <a:lnTo>
                    <a:pt x="1219622" y="1214114"/>
                  </a:lnTo>
                  <a:lnTo>
                    <a:pt x="1217262" y="1211360"/>
                  </a:lnTo>
                  <a:lnTo>
                    <a:pt x="1214508" y="1210966"/>
                  </a:lnTo>
                  <a:lnTo>
                    <a:pt x="1211754" y="1209786"/>
                  </a:lnTo>
                  <a:lnTo>
                    <a:pt x="1210180" y="1207032"/>
                  </a:lnTo>
                  <a:lnTo>
                    <a:pt x="1208606" y="1204278"/>
                  </a:lnTo>
                  <a:lnTo>
                    <a:pt x="1207819" y="1201131"/>
                  </a:lnTo>
                  <a:lnTo>
                    <a:pt x="1208606" y="1198377"/>
                  </a:lnTo>
                  <a:lnTo>
                    <a:pt x="1205852" y="1196016"/>
                  </a:lnTo>
                  <a:lnTo>
                    <a:pt x="1204278" y="1193262"/>
                  </a:lnTo>
                  <a:lnTo>
                    <a:pt x="1201525" y="1193655"/>
                  </a:lnTo>
                  <a:lnTo>
                    <a:pt x="1198771" y="1193262"/>
                  </a:lnTo>
                  <a:lnTo>
                    <a:pt x="1196016" y="1192082"/>
                  </a:lnTo>
                  <a:lnTo>
                    <a:pt x="1192869" y="1190508"/>
                  </a:lnTo>
                  <a:lnTo>
                    <a:pt x="1190115" y="1188934"/>
                  </a:lnTo>
                  <a:lnTo>
                    <a:pt x="1187361" y="1186967"/>
                  </a:lnTo>
                  <a:lnTo>
                    <a:pt x="1186181" y="1184213"/>
                  </a:lnTo>
                  <a:lnTo>
                    <a:pt x="1183427" y="1181459"/>
                  </a:lnTo>
                  <a:lnTo>
                    <a:pt x="1180673" y="1181459"/>
                  </a:lnTo>
                  <a:lnTo>
                    <a:pt x="1177526" y="1181853"/>
                  </a:lnTo>
                  <a:lnTo>
                    <a:pt x="1174771" y="1184607"/>
                  </a:lnTo>
                  <a:lnTo>
                    <a:pt x="1172411" y="1187361"/>
                  </a:lnTo>
                  <a:lnTo>
                    <a:pt x="1175165" y="1185787"/>
                  </a:lnTo>
                  <a:lnTo>
                    <a:pt x="1177919" y="1186574"/>
                  </a:lnTo>
                  <a:lnTo>
                    <a:pt x="1180673" y="1188541"/>
                  </a:lnTo>
                  <a:lnTo>
                    <a:pt x="1183820" y="1190508"/>
                  </a:lnTo>
                  <a:lnTo>
                    <a:pt x="1186574" y="1192475"/>
                  </a:lnTo>
                  <a:lnTo>
                    <a:pt x="1188541" y="1195229"/>
                  </a:lnTo>
                  <a:lnTo>
                    <a:pt x="1191296" y="1196803"/>
                  </a:lnTo>
                  <a:lnTo>
                    <a:pt x="1191296" y="1199557"/>
                  </a:lnTo>
                  <a:lnTo>
                    <a:pt x="1192869" y="1201524"/>
                  </a:lnTo>
                  <a:lnTo>
                    <a:pt x="1194836" y="1201524"/>
                  </a:lnTo>
                  <a:lnTo>
                    <a:pt x="1199951" y="1205065"/>
                  </a:lnTo>
                  <a:lnTo>
                    <a:pt x="1198377" y="1204672"/>
                  </a:lnTo>
                  <a:lnTo>
                    <a:pt x="1195623" y="1203885"/>
                  </a:lnTo>
                  <a:lnTo>
                    <a:pt x="1194443" y="1203885"/>
                  </a:lnTo>
                  <a:lnTo>
                    <a:pt x="1191689" y="1199557"/>
                  </a:lnTo>
                  <a:lnTo>
                    <a:pt x="1188935" y="1199163"/>
                  </a:lnTo>
                  <a:lnTo>
                    <a:pt x="1186181" y="1198770"/>
                  </a:lnTo>
                  <a:lnTo>
                    <a:pt x="1183820" y="1198770"/>
                  </a:lnTo>
                  <a:lnTo>
                    <a:pt x="1182247" y="1196410"/>
                  </a:lnTo>
                  <a:lnTo>
                    <a:pt x="1182640" y="1193655"/>
                  </a:lnTo>
                  <a:lnTo>
                    <a:pt x="1179886" y="1192475"/>
                  </a:lnTo>
                  <a:lnTo>
                    <a:pt x="1177132" y="1193655"/>
                  </a:lnTo>
                  <a:lnTo>
                    <a:pt x="1175558" y="1190902"/>
                  </a:lnTo>
                  <a:lnTo>
                    <a:pt x="1172804" y="1190508"/>
                  </a:lnTo>
                  <a:lnTo>
                    <a:pt x="1170050" y="1189721"/>
                  </a:lnTo>
                  <a:lnTo>
                    <a:pt x="1167297" y="1188934"/>
                  </a:lnTo>
                  <a:lnTo>
                    <a:pt x="1174378" y="1182640"/>
                  </a:lnTo>
                  <a:lnTo>
                    <a:pt x="1175952" y="1181066"/>
                  </a:lnTo>
                  <a:lnTo>
                    <a:pt x="1174378" y="1181066"/>
                  </a:lnTo>
                  <a:lnTo>
                    <a:pt x="1174378" y="1174378"/>
                  </a:lnTo>
                  <a:lnTo>
                    <a:pt x="1175952" y="1179492"/>
                  </a:lnTo>
                  <a:lnTo>
                    <a:pt x="1177132" y="1179492"/>
                  </a:lnTo>
                  <a:lnTo>
                    <a:pt x="1179886" y="1177918"/>
                  </a:lnTo>
                  <a:lnTo>
                    <a:pt x="1182640" y="1175558"/>
                  </a:lnTo>
                  <a:lnTo>
                    <a:pt x="1181067" y="1172804"/>
                  </a:lnTo>
                  <a:lnTo>
                    <a:pt x="1178706" y="1170050"/>
                  </a:lnTo>
                  <a:lnTo>
                    <a:pt x="1176345" y="1167296"/>
                  </a:lnTo>
                  <a:lnTo>
                    <a:pt x="1173591" y="1164935"/>
                  </a:lnTo>
                  <a:lnTo>
                    <a:pt x="1170837" y="1162575"/>
                  </a:lnTo>
                  <a:lnTo>
                    <a:pt x="1170050" y="1161001"/>
                  </a:lnTo>
                  <a:lnTo>
                    <a:pt x="1167690" y="1155493"/>
                  </a:lnTo>
                  <a:lnTo>
                    <a:pt x="1164936" y="1153133"/>
                  </a:lnTo>
                  <a:lnTo>
                    <a:pt x="1162969" y="1149985"/>
                  </a:lnTo>
                  <a:lnTo>
                    <a:pt x="1161395" y="1149198"/>
                  </a:lnTo>
                  <a:lnTo>
                    <a:pt x="1161789" y="1133068"/>
                  </a:lnTo>
                  <a:lnTo>
                    <a:pt x="1161789" y="1132674"/>
                  </a:lnTo>
                  <a:lnTo>
                    <a:pt x="1162575" y="1131494"/>
                  </a:lnTo>
                  <a:lnTo>
                    <a:pt x="1162969" y="1131888"/>
                  </a:lnTo>
                  <a:lnTo>
                    <a:pt x="1172018" y="1138182"/>
                  </a:lnTo>
                  <a:lnTo>
                    <a:pt x="1182247" y="1149198"/>
                  </a:lnTo>
                  <a:lnTo>
                    <a:pt x="1182640" y="1150379"/>
                  </a:lnTo>
                  <a:lnTo>
                    <a:pt x="1185394" y="1150379"/>
                  </a:lnTo>
                  <a:lnTo>
                    <a:pt x="1188148" y="1151952"/>
                  </a:lnTo>
                  <a:lnTo>
                    <a:pt x="1191296" y="1151559"/>
                  </a:lnTo>
                  <a:lnTo>
                    <a:pt x="1188541" y="1149592"/>
                  </a:lnTo>
                  <a:lnTo>
                    <a:pt x="1196016" y="1149592"/>
                  </a:lnTo>
                  <a:lnTo>
                    <a:pt x="1196410" y="1149985"/>
                  </a:lnTo>
                  <a:lnTo>
                    <a:pt x="1199164" y="1149592"/>
                  </a:lnTo>
                  <a:lnTo>
                    <a:pt x="1198771" y="1148018"/>
                  </a:lnTo>
                  <a:lnTo>
                    <a:pt x="1197984" y="1145264"/>
                  </a:lnTo>
                  <a:lnTo>
                    <a:pt x="1195230" y="1143690"/>
                  </a:lnTo>
                  <a:lnTo>
                    <a:pt x="1207819" y="1145264"/>
                  </a:lnTo>
                  <a:lnTo>
                    <a:pt x="1210180" y="1144477"/>
                  </a:lnTo>
                  <a:lnTo>
                    <a:pt x="1207426" y="1141723"/>
                  </a:lnTo>
                  <a:lnTo>
                    <a:pt x="1205065" y="1138969"/>
                  </a:lnTo>
                  <a:lnTo>
                    <a:pt x="1202311" y="1137396"/>
                  </a:lnTo>
                  <a:lnTo>
                    <a:pt x="1199557" y="1134642"/>
                  </a:lnTo>
                  <a:lnTo>
                    <a:pt x="1198377" y="1135428"/>
                  </a:lnTo>
                  <a:lnTo>
                    <a:pt x="1194836" y="1131494"/>
                  </a:lnTo>
                  <a:lnTo>
                    <a:pt x="1195230" y="1130707"/>
                  </a:lnTo>
                  <a:lnTo>
                    <a:pt x="1192476" y="1128740"/>
                  </a:lnTo>
                  <a:lnTo>
                    <a:pt x="1190902" y="1124019"/>
                  </a:lnTo>
                  <a:lnTo>
                    <a:pt x="1194049" y="1122839"/>
                  </a:lnTo>
                  <a:lnTo>
                    <a:pt x="1195230" y="1123232"/>
                  </a:lnTo>
                  <a:lnTo>
                    <a:pt x="1195623" y="1123626"/>
                  </a:lnTo>
                  <a:lnTo>
                    <a:pt x="1198771" y="1124806"/>
                  </a:lnTo>
                  <a:lnTo>
                    <a:pt x="1201525" y="1124806"/>
                  </a:lnTo>
                  <a:lnTo>
                    <a:pt x="1204278" y="1123232"/>
                  </a:lnTo>
                  <a:lnTo>
                    <a:pt x="1205459" y="1122052"/>
                  </a:lnTo>
                  <a:lnTo>
                    <a:pt x="1220015" y="1120478"/>
                  </a:lnTo>
                  <a:lnTo>
                    <a:pt x="1220803" y="1120085"/>
                  </a:lnTo>
                  <a:lnTo>
                    <a:pt x="1225523" y="1116937"/>
                  </a:lnTo>
                  <a:lnTo>
                    <a:pt x="1229458" y="1115364"/>
                  </a:lnTo>
                  <a:lnTo>
                    <a:pt x="1231818" y="1117724"/>
                  </a:lnTo>
                  <a:lnTo>
                    <a:pt x="1234966" y="1117331"/>
                  </a:lnTo>
                  <a:lnTo>
                    <a:pt x="1237720" y="1118904"/>
                  </a:lnTo>
                  <a:lnTo>
                    <a:pt x="1240474" y="1120085"/>
                  </a:lnTo>
                  <a:lnTo>
                    <a:pt x="1243228" y="1120478"/>
                  </a:lnTo>
                  <a:lnTo>
                    <a:pt x="1254637" y="1124806"/>
                  </a:lnTo>
                  <a:lnTo>
                    <a:pt x="1255030" y="1126773"/>
                  </a:lnTo>
                  <a:lnTo>
                    <a:pt x="1256998" y="1129527"/>
                  </a:lnTo>
                  <a:lnTo>
                    <a:pt x="1260145" y="1129134"/>
                  </a:lnTo>
                  <a:lnTo>
                    <a:pt x="1262899" y="1129134"/>
                  </a:lnTo>
                  <a:lnTo>
                    <a:pt x="1265653" y="1128740"/>
                  </a:lnTo>
                  <a:lnTo>
                    <a:pt x="1268407" y="1129134"/>
                  </a:lnTo>
                  <a:lnTo>
                    <a:pt x="1271161" y="1128347"/>
                  </a:lnTo>
                  <a:lnTo>
                    <a:pt x="1273915" y="1127560"/>
                  </a:lnTo>
                  <a:lnTo>
                    <a:pt x="1275489" y="1128347"/>
                  </a:lnTo>
                  <a:lnTo>
                    <a:pt x="1275095" y="1131101"/>
                  </a:lnTo>
                  <a:lnTo>
                    <a:pt x="1272341" y="1132674"/>
                  </a:lnTo>
                  <a:lnTo>
                    <a:pt x="1269194" y="1133461"/>
                  </a:lnTo>
                  <a:lnTo>
                    <a:pt x="1266440" y="1135035"/>
                  </a:lnTo>
                  <a:lnTo>
                    <a:pt x="1263686" y="1137002"/>
                  </a:lnTo>
                  <a:lnTo>
                    <a:pt x="1260932" y="1139363"/>
                  </a:lnTo>
                  <a:lnTo>
                    <a:pt x="1262112" y="1142117"/>
                  </a:lnTo>
                  <a:lnTo>
                    <a:pt x="1260932" y="1145264"/>
                  </a:lnTo>
                  <a:lnTo>
                    <a:pt x="1261325" y="1148018"/>
                  </a:lnTo>
                  <a:lnTo>
                    <a:pt x="1264079" y="1146051"/>
                  </a:lnTo>
                  <a:lnTo>
                    <a:pt x="1264473" y="1143297"/>
                  </a:lnTo>
                  <a:lnTo>
                    <a:pt x="1267227" y="1141723"/>
                  </a:lnTo>
                  <a:lnTo>
                    <a:pt x="1269981" y="1139363"/>
                  </a:lnTo>
                  <a:lnTo>
                    <a:pt x="1272341" y="1136609"/>
                  </a:lnTo>
                  <a:lnTo>
                    <a:pt x="1275095" y="1133855"/>
                  </a:lnTo>
                  <a:lnTo>
                    <a:pt x="1278243" y="1132674"/>
                  </a:lnTo>
                  <a:lnTo>
                    <a:pt x="1280996" y="1131494"/>
                  </a:lnTo>
                  <a:lnTo>
                    <a:pt x="1284144" y="1129527"/>
                  </a:lnTo>
                  <a:lnTo>
                    <a:pt x="1286898" y="1128347"/>
                  </a:lnTo>
                  <a:lnTo>
                    <a:pt x="1289259" y="1126380"/>
                  </a:lnTo>
                  <a:lnTo>
                    <a:pt x="1305389" y="1116937"/>
                  </a:lnTo>
                  <a:lnTo>
                    <a:pt x="1306176" y="1117331"/>
                  </a:lnTo>
                  <a:lnTo>
                    <a:pt x="1308930" y="1114970"/>
                  </a:lnTo>
                  <a:lnTo>
                    <a:pt x="1320733" y="1115364"/>
                  </a:lnTo>
                  <a:lnTo>
                    <a:pt x="1321126" y="1115364"/>
                  </a:lnTo>
                  <a:lnTo>
                    <a:pt x="1324273" y="1115364"/>
                  </a:lnTo>
                  <a:lnTo>
                    <a:pt x="1325061" y="1114970"/>
                  </a:lnTo>
                  <a:lnTo>
                    <a:pt x="1326634" y="1117331"/>
                  </a:lnTo>
                  <a:lnTo>
                    <a:pt x="1329388" y="1116937"/>
                  </a:lnTo>
                  <a:lnTo>
                    <a:pt x="1332536" y="1117331"/>
                  </a:lnTo>
                  <a:lnTo>
                    <a:pt x="1335290" y="1115757"/>
                  </a:lnTo>
                  <a:lnTo>
                    <a:pt x="1338043" y="1113397"/>
                  </a:lnTo>
                  <a:lnTo>
                    <a:pt x="1337257" y="1111036"/>
                  </a:lnTo>
                  <a:lnTo>
                    <a:pt x="1336470" y="1108282"/>
                  </a:lnTo>
                  <a:lnTo>
                    <a:pt x="1333716" y="1107495"/>
                  </a:lnTo>
                  <a:lnTo>
                    <a:pt x="1330569" y="1106708"/>
                  </a:lnTo>
                  <a:lnTo>
                    <a:pt x="1327814" y="1105135"/>
                  </a:lnTo>
                  <a:lnTo>
                    <a:pt x="1325061" y="1103954"/>
                  </a:lnTo>
                  <a:lnTo>
                    <a:pt x="1321913" y="1102381"/>
                  </a:lnTo>
                  <a:lnTo>
                    <a:pt x="1319159" y="1101200"/>
                  </a:lnTo>
                  <a:lnTo>
                    <a:pt x="1316405" y="1099627"/>
                  </a:lnTo>
                  <a:lnTo>
                    <a:pt x="1313651" y="1098053"/>
                  </a:lnTo>
                  <a:lnTo>
                    <a:pt x="1307356" y="1083103"/>
                  </a:lnTo>
                  <a:lnTo>
                    <a:pt x="1307750" y="1082316"/>
                  </a:lnTo>
                  <a:lnTo>
                    <a:pt x="1305389" y="1079168"/>
                  </a:lnTo>
                  <a:lnTo>
                    <a:pt x="1304602" y="1078382"/>
                  </a:lnTo>
                  <a:lnTo>
                    <a:pt x="1295947" y="1063431"/>
                  </a:lnTo>
                  <a:lnTo>
                    <a:pt x="1298701" y="1058710"/>
                  </a:lnTo>
                  <a:lnTo>
                    <a:pt x="1299094" y="1058317"/>
                  </a:lnTo>
                  <a:lnTo>
                    <a:pt x="1301848" y="1056743"/>
                  </a:lnTo>
                  <a:lnTo>
                    <a:pt x="1301455" y="1053989"/>
                  </a:lnTo>
                  <a:lnTo>
                    <a:pt x="1301848" y="1053596"/>
                  </a:lnTo>
                  <a:lnTo>
                    <a:pt x="1301848" y="1050842"/>
                  </a:lnTo>
                  <a:lnTo>
                    <a:pt x="1301455" y="1049268"/>
                  </a:lnTo>
                  <a:lnTo>
                    <a:pt x="1301455" y="1046121"/>
                  </a:lnTo>
                  <a:lnTo>
                    <a:pt x="1301848" y="1044940"/>
                  </a:lnTo>
                  <a:lnTo>
                    <a:pt x="1301455" y="1042186"/>
                  </a:lnTo>
                  <a:lnTo>
                    <a:pt x="1304209" y="1041006"/>
                  </a:lnTo>
                  <a:lnTo>
                    <a:pt x="1305389" y="1038252"/>
                  </a:lnTo>
                  <a:lnTo>
                    <a:pt x="1307750" y="1035498"/>
                  </a:lnTo>
                  <a:lnTo>
                    <a:pt x="1310503" y="1035105"/>
                  </a:lnTo>
                  <a:lnTo>
                    <a:pt x="1313258" y="1035498"/>
                  </a:lnTo>
                  <a:lnTo>
                    <a:pt x="1316405" y="1035891"/>
                  </a:lnTo>
                  <a:lnTo>
                    <a:pt x="1318372" y="1033138"/>
                  </a:lnTo>
                  <a:lnTo>
                    <a:pt x="1318372" y="1029990"/>
                  </a:lnTo>
                  <a:lnTo>
                    <a:pt x="1317585" y="1027236"/>
                  </a:lnTo>
                  <a:lnTo>
                    <a:pt x="1317585" y="1024482"/>
                  </a:lnTo>
                  <a:lnTo>
                    <a:pt x="1325847" y="993008"/>
                  </a:lnTo>
                  <a:lnTo>
                    <a:pt x="1320339" y="993401"/>
                  </a:lnTo>
                  <a:lnTo>
                    <a:pt x="1323093" y="991041"/>
                  </a:lnTo>
                  <a:lnTo>
                    <a:pt x="1323487" y="987894"/>
                  </a:lnTo>
                  <a:lnTo>
                    <a:pt x="1322700" y="986713"/>
                  </a:lnTo>
                  <a:lnTo>
                    <a:pt x="1324273" y="982779"/>
                  </a:lnTo>
                  <a:lnTo>
                    <a:pt x="1325454" y="982779"/>
                  </a:lnTo>
                  <a:lnTo>
                    <a:pt x="1325847" y="982779"/>
                  </a:lnTo>
                  <a:lnTo>
                    <a:pt x="1326634" y="982779"/>
                  </a:lnTo>
                  <a:lnTo>
                    <a:pt x="1326634" y="985533"/>
                  </a:lnTo>
                  <a:lnTo>
                    <a:pt x="1327421" y="988287"/>
                  </a:lnTo>
                  <a:lnTo>
                    <a:pt x="1325454" y="991041"/>
                  </a:lnTo>
                  <a:lnTo>
                    <a:pt x="1328208" y="990647"/>
                  </a:lnTo>
                  <a:lnTo>
                    <a:pt x="1330962" y="989074"/>
                  </a:lnTo>
                  <a:lnTo>
                    <a:pt x="1333716" y="988680"/>
                  </a:lnTo>
                  <a:lnTo>
                    <a:pt x="1336863" y="988287"/>
                  </a:lnTo>
                  <a:lnTo>
                    <a:pt x="1339617" y="987894"/>
                  </a:lnTo>
                  <a:lnTo>
                    <a:pt x="1341584" y="985533"/>
                  </a:lnTo>
                  <a:lnTo>
                    <a:pt x="1342371" y="981992"/>
                  </a:lnTo>
                  <a:lnTo>
                    <a:pt x="1342765" y="976878"/>
                  </a:lnTo>
                  <a:lnTo>
                    <a:pt x="1341584" y="974910"/>
                  </a:lnTo>
                  <a:lnTo>
                    <a:pt x="1343158" y="974517"/>
                  </a:lnTo>
                  <a:lnTo>
                    <a:pt x="1343551" y="970583"/>
                  </a:lnTo>
                  <a:lnTo>
                    <a:pt x="1343158" y="967435"/>
                  </a:lnTo>
                  <a:lnTo>
                    <a:pt x="1346306" y="959567"/>
                  </a:lnTo>
                  <a:lnTo>
                    <a:pt x="1349059" y="957206"/>
                  </a:lnTo>
                  <a:lnTo>
                    <a:pt x="1351813" y="954846"/>
                  </a:lnTo>
                  <a:lnTo>
                    <a:pt x="1354568" y="952879"/>
                  </a:lnTo>
                  <a:lnTo>
                    <a:pt x="1356535" y="950518"/>
                  </a:lnTo>
                  <a:lnTo>
                    <a:pt x="1358895" y="948157"/>
                  </a:lnTo>
                  <a:lnTo>
                    <a:pt x="1360076" y="946584"/>
                  </a:lnTo>
                  <a:lnTo>
                    <a:pt x="1360076" y="946190"/>
                  </a:lnTo>
                  <a:lnTo>
                    <a:pt x="1360469" y="945403"/>
                  </a:lnTo>
                  <a:lnTo>
                    <a:pt x="1360076" y="945797"/>
                  </a:lnTo>
                  <a:lnTo>
                    <a:pt x="1359682" y="946190"/>
                  </a:lnTo>
                  <a:lnTo>
                    <a:pt x="1360076" y="945797"/>
                  </a:lnTo>
                  <a:lnTo>
                    <a:pt x="1360076" y="945797"/>
                  </a:lnTo>
                  <a:lnTo>
                    <a:pt x="1360076" y="945797"/>
                  </a:lnTo>
                  <a:lnTo>
                    <a:pt x="1377386" y="927699"/>
                  </a:lnTo>
                  <a:lnTo>
                    <a:pt x="1381320" y="928486"/>
                  </a:lnTo>
                  <a:lnTo>
                    <a:pt x="1386828" y="928093"/>
                  </a:lnTo>
                  <a:lnTo>
                    <a:pt x="1389583" y="926912"/>
                  </a:lnTo>
                  <a:lnTo>
                    <a:pt x="1392336" y="927699"/>
                  </a:lnTo>
                  <a:lnTo>
                    <a:pt x="1395484" y="927306"/>
                  </a:lnTo>
                  <a:lnTo>
                    <a:pt x="1396271" y="924552"/>
                  </a:lnTo>
                  <a:lnTo>
                    <a:pt x="1394697" y="921798"/>
                  </a:lnTo>
                  <a:lnTo>
                    <a:pt x="1396664" y="919044"/>
                  </a:lnTo>
                  <a:lnTo>
                    <a:pt x="1397057" y="920618"/>
                  </a:lnTo>
                  <a:lnTo>
                    <a:pt x="1396271" y="921798"/>
                  </a:lnTo>
                  <a:lnTo>
                    <a:pt x="1397451" y="924158"/>
                  </a:lnTo>
                  <a:lnTo>
                    <a:pt x="1399024" y="926912"/>
                  </a:lnTo>
                  <a:lnTo>
                    <a:pt x="1401779" y="928093"/>
                  </a:lnTo>
                  <a:lnTo>
                    <a:pt x="1404532" y="928880"/>
                  </a:lnTo>
                  <a:lnTo>
                    <a:pt x="1407680" y="929666"/>
                  </a:lnTo>
                  <a:lnTo>
                    <a:pt x="1410434" y="929273"/>
                  </a:lnTo>
                  <a:lnTo>
                    <a:pt x="1413188" y="927699"/>
                  </a:lnTo>
                  <a:lnTo>
                    <a:pt x="1415549" y="926912"/>
                  </a:lnTo>
                  <a:lnTo>
                    <a:pt x="1415942" y="926912"/>
                  </a:lnTo>
                  <a:lnTo>
                    <a:pt x="1413188" y="928880"/>
                  </a:lnTo>
                  <a:lnTo>
                    <a:pt x="1410434" y="930453"/>
                  </a:lnTo>
                  <a:lnTo>
                    <a:pt x="1410827" y="932027"/>
                  </a:lnTo>
                  <a:lnTo>
                    <a:pt x="1395484" y="930847"/>
                  </a:lnTo>
                  <a:lnTo>
                    <a:pt x="1392730" y="929666"/>
                  </a:lnTo>
                  <a:lnTo>
                    <a:pt x="1389583" y="930060"/>
                  </a:lnTo>
                  <a:lnTo>
                    <a:pt x="1386828" y="929273"/>
                  </a:lnTo>
                  <a:lnTo>
                    <a:pt x="1389583" y="931634"/>
                  </a:lnTo>
                  <a:lnTo>
                    <a:pt x="1392336" y="931634"/>
                  </a:lnTo>
                  <a:lnTo>
                    <a:pt x="1394697" y="932027"/>
                  </a:lnTo>
                  <a:lnTo>
                    <a:pt x="1398238" y="936748"/>
                  </a:lnTo>
                  <a:lnTo>
                    <a:pt x="1397451" y="937142"/>
                  </a:lnTo>
                  <a:lnTo>
                    <a:pt x="1394303" y="938322"/>
                  </a:lnTo>
                  <a:lnTo>
                    <a:pt x="1397451" y="937928"/>
                  </a:lnTo>
                  <a:lnTo>
                    <a:pt x="1400205" y="939502"/>
                  </a:lnTo>
                  <a:lnTo>
                    <a:pt x="1401779" y="939895"/>
                  </a:lnTo>
                  <a:lnTo>
                    <a:pt x="1404532" y="941863"/>
                  </a:lnTo>
                  <a:lnTo>
                    <a:pt x="1407680" y="943043"/>
                  </a:lnTo>
                  <a:lnTo>
                    <a:pt x="1410434" y="945010"/>
                  </a:lnTo>
                  <a:lnTo>
                    <a:pt x="1413188" y="945797"/>
                  </a:lnTo>
                  <a:lnTo>
                    <a:pt x="1416335" y="945403"/>
                  </a:lnTo>
                  <a:lnTo>
                    <a:pt x="1419090" y="945010"/>
                  </a:lnTo>
                  <a:lnTo>
                    <a:pt x="1421843" y="944223"/>
                  </a:lnTo>
                  <a:lnTo>
                    <a:pt x="1424991" y="945010"/>
                  </a:lnTo>
                  <a:lnTo>
                    <a:pt x="1427745" y="944617"/>
                  </a:lnTo>
                  <a:lnTo>
                    <a:pt x="1441515" y="946977"/>
                  </a:lnTo>
                  <a:lnTo>
                    <a:pt x="1444268" y="944223"/>
                  </a:lnTo>
                  <a:lnTo>
                    <a:pt x="1444268" y="944617"/>
                  </a:lnTo>
                  <a:lnTo>
                    <a:pt x="1431679" y="957993"/>
                  </a:lnTo>
                  <a:lnTo>
                    <a:pt x="1426958" y="960354"/>
                  </a:lnTo>
                  <a:lnTo>
                    <a:pt x="1425384" y="963108"/>
                  </a:lnTo>
                  <a:lnTo>
                    <a:pt x="1422630" y="963895"/>
                  </a:lnTo>
                  <a:lnTo>
                    <a:pt x="1419483" y="965075"/>
                  </a:lnTo>
                  <a:lnTo>
                    <a:pt x="1416729" y="968222"/>
                  </a:lnTo>
                  <a:lnTo>
                    <a:pt x="1419483" y="970976"/>
                  </a:lnTo>
                  <a:lnTo>
                    <a:pt x="1436794" y="974910"/>
                  </a:lnTo>
                  <a:lnTo>
                    <a:pt x="1437187" y="974910"/>
                  </a:lnTo>
                  <a:lnTo>
                    <a:pt x="1439941" y="975304"/>
                  </a:lnTo>
                  <a:lnTo>
                    <a:pt x="1448203" y="981205"/>
                  </a:lnTo>
                  <a:lnTo>
                    <a:pt x="1447809" y="986713"/>
                  </a:lnTo>
                  <a:lnTo>
                    <a:pt x="1447023" y="987500"/>
                  </a:lnTo>
                  <a:lnTo>
                    <a:pt x="1447416" y="989861"/>
                  </a:lnTo>
                  <a:lnTo>
                    <a:pt x="1447416" y="993401"/>
                  </a:lnTo>
                  <a:lnTo>
                    <a:pt x="1444662" y="994975"/>
                  </a:lnTo>
                  <a:lnTo>
                    <a:pt x="1443875" y="994582"/>
                  </a:lnTo>
                  <a:lnTo>
                    <a:pt x="1445842" y="996942"/>
                  </a:lnTo>
                  <a:lnTo>
                    <a:pt x="1448990" y="998123"/>
                  </a:lnTo>
                  <a:lnTo>
                    <a:pt x="1450170" y="998123"/>
                  </a:lnTo>
                  <a:lnTo>
                    <a:pt x="1452531" y="1000483"/>
                  </a:lnTo>
                  <a:lnTo>
                    <a:pt x="1455285" y="1001663"/>
                  </a:lnTo>
                  <a:lnTo>
                    <a:pt x="1458432" y="1001663"/>
                  </a:lnTo>
                  <a:lnTo>
                    <a:pt x="1461186" y="1001270"/>
                  </a:lnTo>
                  <a:lnTo>
                    <a:pt x="1463940" y="1000483"/>
                  </a:lnTo>
                  <a:lnTo>
                    <a:pt x="1466694" y="998123"/>
                  </a:lnTo>
                  <a:lnTo>
                    <a:pt x="1469841" y="996549"/>
                  </a:lnTo>
                  <a:lnTo>
                    <a:pt x="1470628" y="993401"/>
                  </a:lnTo>
                  <a:lnTo>
                    <a:pt x="1471808" y="991041"/>
                  </a:lnTo>
                  <a:lnTo>
                    <a:pt x="1486365" y="986320"/>
                  </a:lnTo>
                  <a:lnTo>
                    <a:pt x="1486759" y="986713"/>
                  </a:lnTo>
                  <a:lnTo>
                    <a:pt x="1489512" y="986713"/>
                  </a:lnTo>
                  <a:lnTo>
                    <a:pt x="1491873" y="983959"/>
                  </a:lnTo>
                  <a:lnTo>
                    <a:pt x="1492660" y="983566"/>
                  </a:lnTo>
                  <a:lnTo>
                    <a:pt x="1497775" y="981205"/>
                  </a:lnTo>
                  <a:lnTo>
                    <a:pt x="1508397" y="981205"/>
                  </a:lnTo>
                  <a:lnTo>
                    <a:pt x="1510758" y="981205"/>
                  </a:lnTo>
                  <a:lnTo>
                    <a:pt x="1511545" y="980812"/>
                  </a:lnTo>
                  <a:lnTo>
                    <a:pt x="1511938" y="981205"/>
                  </a:lnTo>
                  <a:lnTo>
                    <a:pt x="1513118" y="981205"/>
                  </a:lnTo>
                  <a:lnTo>
                    <a:pt x="1517839" y="980812"/>
                  </a:lnTo>
                  <a:lnTo>
                    <a:pt x="1520593" y="980025"/>
                  </a:lnTo>
                  <a:lnTo>
                    <a:pt x="1523348" y="979632"/>
                  </a:lnTo>
                  <a:lnTo>
                    <a:pt x="1523741" y="976878"/>
                  </a:lnTo>
                  <a:lnTo>
                    <a:pt x="1523741" y="974910"/>
                  </a:lnTo>
                  <a:lnTo>
                    <a:pt x="1528855" y="969796"/>
                  </a:lnTo>
                  <a:lnTo>
                    <a:pt x="1526101" y="967829"/>
                  </a:lnTo>
                  <a:lnTo>
                    <a:pt x="1523348" y="966649"/>
                  </a:lnTo>
                  <a:lnTo>
                    <a:pt x="1520593" y="966255"/>
                  </a:lnTo>
                  <a:lnTo>
                    <a:pt x="1517446" y="965862"/>
                  </a:lnTo>
                  <a:lnTo>
                    <a:pt x="1514692" y="966255"/>
                  </a:lnTo>
                  <a:lnTo>
                    <a:pt x="1513118" y="968616"/>
                  </a:lnTo>
                  <a:lnTo>
                    <a:pt x="1509184" y="968222"/>
                  </a:lnTo>
                  <a:lnTo>
                    <a:pt x="1506430" y="965862"/>
                  </a:lnTo>
                  <a:lnTo>
                    <a:pt x="1504856" y="968616"/>
                  </a:lnTo>
                  <a:lnTo>
                    <a:pt x="1502102" y="970189"/>
                  </a:lnTo>
                  <a:lnTo>
                    <a:pt x="1499348" y="971370"/>
                  </a:lnTo>
                  <a:lnTo>
                    <a:pt x="1484398" y="957206"/>
                  </a:lnTo>
                  <a:lnTo>
                    <a:pt x="1484005" y="956419"/>
                  </a:lnTo>
                  <a:lnTo>
                    <a:pt x="1483611" y="956419"/>
                  </a:lnTo>
                  <a:lnTo>
                    <a:pt x="1482824" y="955633"/>
                  </a:lnTo>
                  <a:lnTo>
                    <a:pt x="1478104" y="946190"/>
                  </a:lnTo>
                  <a:lnTo>
                    <a:pt x="1481644" y="939109"/>
                  </a:lnTo>
                  <a:lnTo>
                    <a:pt x="1484398" y="937535"/>
                  </a:lnTo>
                  <a:lnTo>
                    <a:pt x="1488726" y="938715"/>
                  </a:lnTo>
                  <a:lnTo>
                    <a:pt x="1484398" y="942256"/>
                  </a:lnTo>
                  <a:lnTo>
                    <a:pt x="1484005" y="942256"/>
                  </a:lnTo>
                  <a:lnTo>
                    <a:pt x="1482431" y="943830"/>
                  </a:lnTo>
                  <a:lnTo>
                    <a:pt x="1482431" y="944617"/>
                  </a:lnTo>
                  <a:lnTo>
                    <a:pt x="1485185" y="943436"/>
                  </a:lnTo>
                  <a:lnTo>
                    <a:pt x="1487939" y="940682"/>
                  </a:lnTo>
                  <a:lnTo>
                    <a:pt x="1489119" y="938715"/>
                  </a:lnTo>
                  <a:lnTo>
                    <a:pt x="1525315" y="921798"/>
                  </a:lnTo>
                  <a:lnTo>
                    <a:pt x="1527675" y="924158"/>
                  </a:lnTo>
                  <a:lnTo>
                    <a:pt x="1528855" y="921405"/>
                  </a:lnTo>
                  <a:lnTo>
                    <a:pt x="1532003" y="918650"/>
                  </a:lnTo>
                  <a:lnTo>
                    <a:pt x="1533183" y="918257"/>
                  </a:lnTo>
                  <a:lnTo>
                    <a:pt x="1536330" y="917077"/>
                  </a:lnTo>
                  <a:lnTo>
                    <a:pt x="1539085" y="916683"/>
                  </a:lnTo>
                  <a:lnTo>
                    <a:pt x="1541838" y="916683"/>
                  </a:lnTo>
                  <a:lnTo>
                    <a:pt x="1543412" y="913929"/>
                  </a:lnTo>
                  <a:lnTo>
                    <a:pt x="1544986" y="912356"/>
                  </a:lnTo>
                  <a:lnTo>
                    <a:pt x="1549707" y="911962"/>
                  </a:lnTo>
                  <a:lnTo>
                    <a:pt x="1550887" y="911962"/>
                  </a:lnTo>
                  <a:lnTo>
                    <a:pt x="1552067" y="911569"/>
                  </a:lnTo>
                  <a:lnTo>
                    <a:pt x="1557575" y="911175"/>
                  </a:lnTo>
                  <a:lnTo>
                    <a:pt x="1559543" y="911175"/>
                  </a:lnTo>
                  <a:lnTo>
                    <a:pt x="1562296" y="911962"/>
                  </a:lnTo>
                  <a:lnTo>
                    <a:pt x="1563870" y="910389"/>
                  </a:lnTo>
                  <a:lnTo>
                    <a:pt x="1564657" y="910389"/>
                  </a:lnTo>
                  <a:lnTo>
                    <a:pt x="1565444" y="909995"/>
                  </a:lnTo>
                  <a:lnTo>
                    <a:pt x="1567804" y="909602"/>
                  </a:lnTo>
                  <a:lnTo>
                    <a:pt x="1570559" y="907241"/>
                  </a:lnTo>
                  <a:lnTo>
                    <a:pt x="1571345" y="907635"/>
                  </a:lnTo>
                  <a:lnTo>
                    <a:pt x="1570165" y="909602"/>
                  </a:lnTo>
                  <a:lnTo>
                    <a:pt x="1573313" y="909602"/>
                  </a:lnTo>
                  <a:lnTo>
                    <a:pt x="1576066" y="908815"/>
                  </a:lnTo>
                  <a:lnTo>
                    <a:pt x="1579214" y="908815"/>
                  </a:lnTo>
                  <a:lnTo>
                    <a:pt x="1581968" y="908028"/>
                  </a:lnTo>
                  <a:lnTo>
                    <a:pt x="1582362" y="907635"/>
                  </a:lnTo>
                  <a:lnTo>
                    <a:pt x="1590623" y="906061"/>
                  </a:lnTo>
                  <a:lnTo>
                    <a:pt x="1591410" y="907241"/>
                  </a:lnTo>
                  <a:lnTo>
                    <a:pt x="1591410" y="909995"/>
                  </a:lnTo>
                  <a:lnTo>
                    <a:pt x="1591803" y="911569"/>
                  </a:lnTo>
                  <a:lnTo>
                    <a:pt x="1594558" y="910782"/>
                  </a:lnTo>
                  <a:lnTo>
                    <a:pt x="1594558" y="911175"/>
                  </a:lnTo>
                  <a:lnTo>
                    <a:pt x="1592984" y="911569"/>
                  </a:lnTo>
                  <a:lnTo>
                    <a:pt x="1592984" y="911962"/>
                  </a:lnTo>
                  <a:lnTo>
                    <a:pt x="1588263" y="914323"/>
                  </a:lnTo>
                  <a:lnTo>
                    <a:pt x="1586296" y="914716"/>
                  </a:lnTo>
                  <a:lnTo>
                    <a:pt x="1583542" y="916683"/>
                  </a:lnTo>
                  <a:lnTo>
                    <a:pt x="1576853" y="919437"/>
                  </a:lnTo>
                  <a:lnTo>
                    <a:pt x="1575673" y="919831"/>
                  </a:lnTo>
                  <a:lnTo>
                    <a:pt x="1572919" y="920224"/>
                  </a:lnTo>
                  <a:lnTo>
                    <a:pt x="1570165" y="921011"/>
                  </a:lnTo>
                  <a:lnTo>
                    <a:pt x="1570559" y="923372"/>
                  </a:lnTo>
                  <a:lnTo>
                    <a:pt x="1567804" y="924945"/>
                  </a:lnTo>
                  <a:lnTo>
                    <a:pt x="1565444" y="925732"/>
                  </a:lnTo>
                  <a:lnTo>
                    <a:pt x="1562690" y="926519"/>
                  </a:lnTo>
                  <a:lnTo>
                    <a:pt x="1559543" y="928093"/>
                  </a:lnTo>
                  <a:lnTo>
                    <a:pt x="1556789" y="928093"/>
                  </a:lnTo>
                  <a:lnTo>
                    <a:pt x="1554035" y="927306"/>
                  </a:lnTo>
                  <a:lnTo>
                    <a:pt x="1555215" y="930060"/>
                  </a:lnTo>
                  <a:lnTo>
                    <a:pt x="1556789" y="932814"/>
                  </a:lnTo>
                  <a:lnTo>
                    <a:pt x="1559543" y="935568"/>
                  </a:lnTo>
                  <a:lnTo>
                    <a:pt x="1562690" y="935174"/>
                  </a:lnTo>
                  <a:lnTo>
                    <a:pt x="1565444" y="936748"/>
                  </a:lnTo>
                  <a:lnTo>
                    <a:pt x="1567411" y="938322"/>
                  </a:lnTo>
                  <a:lnTo>
                    <a:pt x="1567018" y="946977"/>
                  </a:lnTo>
                  <a:lnTo>
                    <a:pt x="1564264" y="950911"/>
                  </a:lnTo>
                  <a:lnTo>
                    <a:pt x="1564264" y="950125"/>
                  </a:lnTo>
                  <a:lnTo>
                    <a:pt x="1563870" y="947371"/>
                  </a:lnTo>
                  <a:lnTo>
                    <a:pt x="1561116" y="950125"/>
                  </a:lnTo>
                  <a:lnTo>
                    <a:pt x="1560723" y="955633"/>
                  </a:lnTo>
                  <a:lnTo>
                    <a:pt x="1557969" y="958387"/>
                  </a:lnTo>
                  <a:lnTo>
                    <a:pt x="1557182" y="961534"/>
                  </a:lnTo>
                  <a:lnTo>
                    <a:pt x="1554428" y="960747"/>
                  </a:lnTo>
                  <a:lnTo>
                    <a:pt x="1554428" y="963501"/>
                  </a:lnTo>
                  <a:lnTo>
                    <a:pt x="1555215" y="964681"/>
                  </a:lnTo>
                  <a:lnTo>
                    <a:pt x="1550100" y="971763"/>
                  </a:lnTo>
                  <a:lnTo>
                    <a:pt x="1549707" y="971370"/>
                  </a:lnTo>
                  <a:lnTo>
                    <a:pt x="1546953" y="971370"/>
                  </a:lnTo>
                  <a:lnTo>
                    <a:pt x="1544199" y="971763"/>
                  </a:lnTo>
                  <a:lnTo>
                    <a:pt x="1543412" y="971370"/>
                  </a:lnTo>
                  <a:lnTo>
                    <a:pt x="1541838" y="970583"/>
                  </a:lnTo>
                  <a:lnTo>
                    <a:pt x="1536330" y="967829"/>
                  </a:lnTo>
                  <a:lnTo>
                    <a:pt x="1533577" y="968222"/>
                  </a:lnTo>
                  <a:lnTo>
                    <a:pt x="1532789" y="968616"/>
                  </a:lnTo>
                  <a:lnTo>
                    <a:pt x="1531216" y="971370"/>
                  </a:lnTo>
                  <a:lnTo>
                    <a:pt x="1533577" y="969796"/>
                  </a:lnTo>
                  <a:lnTo>
                    <a:pt x="1532789" y="975697"/>
                  </a:lnTo>
                  <a:lnTo>
                    <a:pt x="1531216" y="978058"/>
                  </a:lnTo>
                  <a:lnTo>
                    <a:pt x="1533970" y="978845"/>
                  </a:lnTo>
                  <a:lnTo>
                    <a:pt x="1536724" y="978451"/>
                  </a:lnTo>
                  <a:lnTo>
                    <a:pt x="1539478" y="980025"/>
                  </a:lnTo>
                  <a:lnTo>
                    <a:pt x="1542232" y="980812"/>
                  </a:lnTo>
                  <a:lnTo>
                    <a:pt x="1545379" y="982386"/>
                  </a:lnTo>
                  <a:lnTo>
                    <a:pt x="1548920" y="984746"/>
                  </a:lnTo>
                  <a:lnTo>
                    <a:pt x="1550100" y="985926"/>
                  </a:lnTo>
                  <a:lnTo>
                    <a:pt x="1551281" y="988680"/>
                  </a:lnTo>
                  <a:lnTo>
                    <a:pt x="1553641" y="991434"/>
                  </a:lnTo>
                  <a:lnTo>
                    <a:pt x="1556395" y="993401"/>
                  </a:lnTo>
                  <a:lnTo>
                    <a:pt x="1559543" y="993401"/>
                  </a:lnTo>
                  <a:lnTo>
                    <a:pt x="1562296" y="994188"/>
                  </a:lnTo>
                  <a:lnTo>
                    <a:pt x="1563870" y="994188"/>
                  </a:lnTo>
                  <a:lnTo>
                    <a:pt x="1575673" y="1001663"/>
                  </a:lnTo>
                  <a:lnTo>
                    <a:pt x="1576066" y="1002450"/>
                  </a:lnTo>
                  <a:lnTo>
                    <a:pt x="1576853" y="1002450"/>
                  </a:lnTo>
                  <a:lnTo>
                    <a:pt x="1626818" y="1034318"/>
                  </a:lnTo>
                  <a:lnTo>
                    <a:pt x="1626818" y="1034711"/>
                  </a:lnTo>
                  <a:lnTo>
                    <a:pt x="1629573" y="1036285"/>
                  </a:lnTo>
                  <a:lnTo>
                    <a:pt x="1629966" y="1036678"/>
                  </a:lnTo>
                  <a:lnTo>
                    <a:pt x="1639015" y="1042973"/>
                  </a:lnTo>
                  <a:lnTo>
                    <a:pt x="1640195" y="1044153"/>
                  </a:lnTo>
                  <a:lnTo>
                    <a:pt x="1641375" y="1044547"/>
                  </a:lnTo>
                  <a:lnTo>
                    <a:pt x="1676784" y="1069333"/>
                  </a:lnTo>
                  <a:lnTo>
                    <a:pt x="1680324" y="1077201"/>
                  </a:lnTo>
                  <a:lnTo>
                    <a:pt x="1680718" y="1078382"/>
                  </a:lnTo>
                  <a:lnTo>
                    <a:pt x="1681898" y="1079955"/>
                  </a:lnTo>
                  <a:lnTo>
                    <a:pt x="1685439" y="1087430"/>
                  </a:lnTo>
                  <a:lnTo>
                    <a:pt x="1682291" y="1096086"/>
                  </a:lnTo>
                  <a:lnTo>
                    <a:pt x="1681505" y="1097659"/>
                  </a:lnTo>
                  <a:lnTo>
                    <a:pt x="1680718" y="1099627"/>
                  </a:lnTo>
                  <a:lnTo>
                    <a:pt x="1672850" y="1107102"/>
                  </a:lnTo>
                  <a:lnTo>
                    <a:pt x="1670095" y="1108282"/>
                  </a:lnTo>
                  <a:lnTo>
                    <a:pt x="1668915" y="1109069"/>
                  </a:lnTo>
                  <a:lnTo>
                    <a:pt x="1665374" y="1110643"/>
                  </a:lnTo>
                  <a:lnTo>
                    <a:pt x="1664194" y="1111036"/>
                  </a:lnTo>
                  <a:lnTo>
                    <a:pt x="1661440" y="1111823"/>
                  </a:lnTo>
                  <a:lnTo>
                    <a:pt x="1659866" y="1113397"/>
                  </a:lnTo>
                  <a:lnTo>
                    <a:pt x="1652784" y="1116544"/>
                  </a:lnTo>
                  <a:lnTo>
                    <a:pt x="1652391" y="1116544"/>
                  </a:lnTo>
                  <a:lnTo>
                    <a:pt x="1650817" y="1117331"/>
                  </a:lnTo>
                  <a:lnTo>
                    <a:pt x="1650424" y="1117724"/>
                  </a:lnTo>
                  <a:lnTo>
                    <a:pt x="1640982" y="1117724"/>
                  </a:lnTo>
                  <a:lnTo>
                    <a:pt x="1629179" y="1116151"/>
                  </a:lnTo>
                  <a:lnTo>
                    <a:pt x="1628786" y="1116151"/>
                  </a:lnTo>
                  <a:lnTo>
                    <a:pt x="1626032" y="1113790"/>
                  </a:lnTo>
                  <a:lnTo>
                    <a:pt x="1622884" y="1114577"/>
                  </a:lnTo>
                  <a:lnTo>
                    <a:pt x="1620524" y="1115364"/>
                  </a:lnTo>
                  <a:lnTo>
                    <a:pt x="1617376" y="1114970"/>
                  </a:lnTo>
                  <a:lnTo>
                    <a:pt x="1613048" y="1116151"/>
                  </a:lnTo>
                  <a:lnTo>
                    <a:pt x="1611868" y="1116151"/>
                  </a:lnTo>
                  <a:lnTo>
                    <a:pt x="1609114" y="1116937"/>
                  </a:lnTo>
                  <a:lnTo>
                    <a:pt x="1589443" y="1118904"/>
                  </a:lnTo>
                  <a:lnTo>
                    <a:pt x="1587082" y="1118118"/>
                  </a:lnTo>
                  <a:lnTo>
                    <a:pt x="1583935" y="1117724"/>
                  </a:lnTo>
                  <a:lnTo>
                    <a:pt x="1580394" y="1116151"/>
                  </a:lnTo>
                  <a:lnTo>
                    <a:pt x="1578821" y="1113397"/>
                  </a:lnTo>
                  <a:lnTo>
                    <a:pt x="1575673" y="1113790"/>
                  </a:lnTo>
                  <a:lnTo>
                    <a:pt x="1574886" y="1114577"/>
                  </a:lnTo>
                  <a:lnTo>
                    <a:pt x="1556395" y="1108675"/>
                  </a:lnTo>
                  <a:lnTo>
                    <a:pt x="1555608" y="1107495"/>
                  </a:lnTo>
                  <a:lnTo>
                    <a:pt x="1552855" y="1105921"/>
                  </a:lnTo>
                  <a:lnTo>
                    <a:pt x="1550100" y="1105528"/>
                  </a:lnTo>
                  <a:lnTo>
                    <a:pt x="1547346" y="1105528"/>
                  </a:lnTo>
                  <a:lnTo>
                    <a:pt x="1532003" y="1101200"/>
                  </a:lnTo>
                  <a:lnTo>
                    <a:pt x="1531609" y="1100414"/>
                  </a:lnTo>
                  <a:lnTo>
                    <a:pt x="1532003" y="1097659"/>
                  </a:lnTo>
                  <a:lnTo>
                    <a:pt x="1529642" y="1094512"/>
                  </a:lnTo>
                  <a:lnTo>
                    <a:pt x="1526888" y="1092938"/>
                  </a:lnTo>
                  <a:lnTo>
                    <a:pt x="1525708" y="1095692"/>
                  </a:lnTo>
                  <a:lnTo>
                    <a:pt x="1525708" y="1103561"/>
                  </a:lnTo>
                  <a:lnTo>
                    <a:pt x="1522954" y="1104741"/>
                  </a:lnTo>
                  <a:lnTo>
                    <a:pt x="1520200" y="1105528"/>
                  </a:lnTo>
                  <a:lnTo>
                    <a:pt x="1518233" y="1105921"/>
                  </a:lnTo>
                  <a:lnTo>
                    <a:pt x="1514299" y="1105921"/>
                  </a:lnTo>
                  <a:lnTo>
                    <a:pt x="1502889" y="1094512"/>
                  </a:lnTo>
                  <a:lnTo>
                    <a:pt x="1503676" y="1092545"/>
                  </a:lnTo>
                  <a:lnTo>
                    <a:pt x="1500922" y="1092545"/>
                  </a:lnTo>
                  <a:lnTo>
                    <a:pt x="1499348" y="1090971"/>
                  </a:lnTo>
                  <a:lnTo>
                    <a:pt x="1478104" y="1095299"/>
                  </a:lnTo>
                  <a:lnTo>
                    <a:pt x="1477316" y="1095299"/>
                  </a:lnTo>
                  <a:lnTo>
                    <a:pt x="1474169" y="1094905"/>
                  </a:lnTo>
                  <a:lnTo>
                    <a:pt x="1465514" y="1094905"/>
                  </a:lnTo>
                  <a:lnTo>
                    <a:pt x="1462366" y="1094512"/>
                  </a:lnTo>
                  <a:lnTo>
                    <a:pt x="1459612" y="1094119"/>
                  </a:lnTo>
                  <a:lnTo>
                    <a:pt x="1456858" y="1093725"/>
                  </a:lnTo>
                  <a:lnTo>
                    <a:pt x="1454104" y="1093332"/>
                  </a:lnTo>
                  <a:lnTo>
                    <a:pt x="1451350" y="1094905"/>
                  </a:lnTo>
                  <a:lnTo>
                    <a:pt x="1448203" y="1096086"/>
                  </a:lnTo>
                  <a:lnTo>
                    <a:pt x="1445449" y="1096873"/>
                  </a:lnTo>
                  <a:lnTo>
                    <a:pt x="1442695" y="1098446"/>
                  </a:lnTo>
                  <a:lnTo>
                    <a:pt x="1439941" y="1098840"/>
                  </a:lnTo>
                  <a:lnTo>
                    <a:pt x="1437187" y="1099627"/>
                  </a:lnTo>
                  <a:lnTo>
                    <a:pt x="1436400" y="1099627"/>
                  </a:lnTo>
                  <a:lnTo>
                    <a:pt x="1433646" y="1100414"/>
                  </a:lnTo>
                  <a:lnTo>
                    <a:pt x="1430499" y="1101987"/>
                  </a:lnTo>
                  <a:lnTo>
                    <a:pt x="1427745" y="1103561"/>
                  </a:lnTo>
                  <a:lnTo>
                    <a:pt x="1424991" y="1105921"/>
                  </a:lnTo>
                  <a:lnTo>
                    <a:pt x="1420663" y="1108675"/>
                  </a:lnTo>
                  <a:lnTo>
                    <a:pt x="1417909" y="1110249"/>
                  </a:lnTo>
                  <a:lnTo>
                    <a:pt x="1415155" y="1111823"/>
                  </a:lnTo>
                  <a:lnTo>
                    <a:pt x="1412401" y="1113790"/>
                  </a:lnTo>
                  <a:lnTo>
                    <a:pt x="1409647" y="1115364"/>
                  </a:lnTo>
                  <a:lnTo>
                    <a:pt x="1406893" y="1116151"/>
                  </a:lnTo>
                  <a:lnTo>
                    <a:pt x="1403746" y="1117724"/>
                  </a:lnTo>
                  <a:lnTo>
                    <a:pt x="1404139" y="1120478"/>
                  </a:lnTo>
                  <a:lnTo>
                    <a:pt x="1402565" y="1123232"/>
                  </a:lnTo>
                  <a:lnTo>
                    <a:pt x="1391943" y="1125593"/>
                  </a:lnTo>
                  <a:lnTo>
                    <a:pt x="1383287" y="1123626"/>
                  </a:lnTo>
                  <a:lnTo>
                    <a:pt x="1377386" y="1122445"/>
                  </a:lnTo>
                  <a:lnTo>
                    <a:pt x="1376993" y="1122445"/>
                  </a:lnTo>
                  <a:lnTo>
                    <a:pt x="1374239" y="1120872"/>
                  </a:lnTo>
                  <a:lnTo>
                    <a:pt x="1371485" y="1122445"/>
                  </a:lnTo>
                  <a:lnTo>
                    <a:pt x="1369517" y="1122839"/>
                  </a:lnTo>
                  <a:lnTo>
                    <a:pt x="1365583" y="1123232"/>
                  </a:lnTo>
                  <a:lnTo>
                    <a:pt x="1364796" y="1122839"/>
                  </a:lnTo>
                  <a:lnTo>
                    <a:pt x="1361649" y="1122839"/>
                  </a:lnTo>
                  <a:lnTo>
                    <a:pt x="1356141" y="1122052"/>
                  </a:lnTo>
                  <a:lnTo>
                    <a:pt x="1354961" y="1121659"/>
                  </a:lnTo>
                  <a:lnTo>
                    <a:pt x="1352994" y="1121265"/>
                  </a:lnTo>
                  <a:lnTo>
                    <a:pt x="1350633" y="1120872"/>
                  </a:lnTo>
                  <a:lnTo>
                    <a:pt x="1349059" y="1120478"/>
                  </a:lnTo>
                  <a:lnTo>
                    <a:pt x="1346306" y="1120085"/>
                  </a:lnTo>
                  <a:lnTo>
                    <a:pt x="1343551" y="1119691"/>
                  </a:lnTo>
                  <a:lnTo>
                    <a:pt x="1342765" y="1119691"/>
                  </a:lnTo>
                  <a:lnTo>
                    <a:pt x="1340010" y="1122052"/>
                  </a:lnTo>
                  <a:lnTo>
                    <a:pt x="1339617" y="1124806"/>
                  </a:lnTo>
                  <a:lnTo>
                    <a:pt x="1339224" y="1125593"/>
                  </a:lnTo>
                  <a:lnTo>
                    <a:pt x="1339617" y="1128347"/>
                  </a:lnTo>
                  <a:lnTo>
                    <a:pt x="1342371" y="1130707"/>
                  </a:lnTo>
                  <a:lnTo>
                    <a:pt x="1345125" y="1131888"/>
                  </a:lnTo>
                  <a:lnTo>
                    <a:pt x="1345912" y="1132674"/>
                  </a:lnTo>
                  <a:lnTo>
                    <a:pt x="1347486" y="1134642"/>
                  </a:lnTo>
                  <a:lnTo>
                    <a:pt x="1347486" y="1134642"/>
                  </a:lnTo>
                  <a:lnTo>
                    <a:pt x="1350240" y="1138182"/>
                  </a:lnTo>
                  <a:lnTo>
                    <a:pt x="1347879" y="1138576"/>
                  </a:lnTo>
                  <a:lnTo>
                    <a:pt x="1344732" y="1138969"/>
                  </a:lnTo>
                  <a:lnTo>
                    <a:pt x="1341978" y="1139363"/>
                  </a:lnTo>
                  <a:lnTo>
                    <a:pt x="1339224" y="1139363"/>
                  </a:lnTo>
                  <a:lnTo>
                    <a:pt x="1336470" y="1140936"/>
                  </a:lnTo>
                  <a:lnTo>
                    <a:pt x="1334896" y="1143690"/>
                  </a:lnTo>
                  <a:lnTo>
                    <a:pt x="1337650" y="1145264"/>
                  </a:lnTo>
                  <a:lnTo>
                    <a:pt x="1340798" y="1144871"/>
                  </a:lnTo>
                  <a:lnTo>
                    <a:pt x="1343551" y="1146444"/>
                  </a:lnTo>
                  <a:lnTo>
                    <a:pt x="1325847" y="1147625"/>
                  </a:lnTo>
                  <a:lnTo>
                    <a:pt x="1321913" y="1147625"/>
                  </a:lnTo>
                  <a:lnTo>
                    <a:pt x="1320733" y="1147625"/>
                  </a:lnTo>
                  <a:lnTo>
                    <a:pt x="1317979" y="1148018"/>
                  </a:lnTo>
                  <a:lnTo>
                    <a:pt x="1317192" y="1147625"/>
                  </a:lnTo>
                  <a:lnTo>
                    <a:pt x="1314438" y="1148018"/>
                  </a:lnTo>
                  <a:lnTo>
                    <a:pt x="1311684" y="1148805"/>
                  </a:lnTo>
                  <a:lnTo>
                    <a:pt x="1310110" y="1147231"/>
                  </a:lnTo>
                  <a:lnTo>
                    <a:pt x="1312471" y="1144477"/>
                  </a:lnTo>
                  <a:lnTo>
                    <a:pt x="1309323" y="1144084"/>
                  </a:lnTo>
                  <a:lnTo>
                    <a:pt x="1306569" y="1144084"/>
                  </a:lnTo>
                  <a:lnTo>
                    <a:pt x="1303815" y="1144871"/>
                  </a:lnTo>
                  <a:lnTo>
                    <a:pt x="1306569" y="1147625"/>
                  </a:lnTo>
                  <a:lnTo>
                    <a:pt x="1306569" y="1149592"/>
                  </a:lnTo>
                  <a:lnTo>
                    <a:pt x="1301062" y="1150379"/>
                  </a:lnTo>
                  <a:lnTo>
                    <a:pt x="1293586" y="1148018"/>
                  </a:lnTo>
                  <a:lnTo>
                    <a:pt x="1293193" y="1147625"/>
                  </a:lnTo>
                  <a:lnTo>
                    <a:pt x="1291226" y="1146051"/>
                  </a:lnTo>
                  <a:lnTo>
                    <a:pt x="1288472" y="1146051"/>
                  </a:lnTo>
                  <a:lnTo>
                    <a:pt x="1285718" y="1148018"/>
                  </a:lnTo>
                  <a:lnTo>
                    <a:pt x="1282964" y="1147625"/>
                  </a:lnTo>
                  <a:lnTo>
                    <a:pt x="1279816" y="1147625"/>
                  </a:lnTo>
                  <a:lnTo>
                    <a:pt x="1277062" y="1148018"/>
                  </a:lnTo>
                  <a:lnTo>
                    <a:pt x="1274702" y="1151165"/>
                  </a:lnTo>
                  <a:lnTo>
                    <a:pt x="1271948" y="1153526"/>
                  </a:lnTo>
                  <a:lnTo>
                    <a:pt x="1268800" y="1155100"/>
                  </a:lnTo>
                  <a:lnTo>
                    <a:pt x="1268014" y="1157854"/>
                  </a:lnTo>
                  <a:lnTo>
                    <a:pt x="1265653" y="1161001"/>
                  </a:lnTo>
                  <a:lnTo>
                    <a:pt x="1264079" y="1161001"/>
                  </a:lnTo>
                  <a:lnTo>
                    <a:pt x="1262899" y="1161001"/>
                  </a:lnTo>
                  <a:lnTo>
                    <a:pt x="1262506" y="1161395"/>
                  </a:lnTo>
                  <a:lnTo>
                    <a:pt x="1262112" y="1164149"/>
                  </a:lnTo>
                  <a:lnTo>
                    <a:pt x="1262112" y="1164935"/>
                  </a:lnTo>
                  <a:lnTo>
                    <a:pt x="1260538" y="1178312"/>
                  </a:lnTo>
                  <a:lnTo>
                    <a:pt x="1262506" y="1178705"/>
                  </a:lnTo>
                  <a:lnTo>
                    <a:pt x="1265259" y="1178312"/>
                  </a:lnTo>
                  <a:lnTo>
                    <a:pt x="1268014" y="1177918"/>
                  </a:lnTo>
                  <a:lnTo>
                    <a:pt x="1270767" y="1176345"/>
                  </a:lnTo>
                  <a:lnTo>
                    <a:pt x="1273915" y="1175951"/>
                  </a:lnTo>
                  <a:lnTo>
                    <a:pt x="1276669" y="1175165"/>
                  </a:lnTo>
                  <a:lnTo>
                    <a:pt x="1278243" y="1182640"/>
                  </a:lnTo>
                  <a:lnTo>
                    <a:pt x="1276276" y="1184607"/>
                  </a:lnTo>
                  <a:lnTo>
                    <a:pt x="1279029" y="1186967"/>
                  </a:lnTo>
                  <a:lnTo>
                    <a:pt x="1279816" y="1188148"/>
                  </a:lnTo>
                  <a:lnTo>
                    <a:pt x="1281784" y="1195623"/>
                  </a:lnTo>
                  <a:lnTo>
                    <a:pt x="1282964" y="1197196"/>
                  </a:lnTo>
                  <a:lnTo>
                    <a:pt x="1286111" y="1196410"/>
                  </a:lnTo>
                  <a:lnTo>
                    <a:pt x="1284537" y="1201131"/>
                  </a:lnTo>
                  <a:lnTo>
                    <a:pt x="1282964" y="1203098"/>
                  </a:lnTo>
                  <a:lnTo>
                    <a:pt x="1280210" y="1205065"/>
                  </a:lnTo>
                  <a:lnTo>
                    <a:pt x="1282570" y="1207819"/>
                  </a:lnTo>
                  <a:lnTo>
                    <a:pt x="1285718" y="1211753"/>
                  </a:lnTo>
                  <a:lnTo>
                    <a:pt x="1285718" y="1212147"/>
                  </a:lnTo>
                  <a:lnTo>
                    <a:pt x="1291619" y="1212540"/>
                  </a:lnTo>
                  <a:lnTo>
                    <a:pt x="1285718" y="1214900"/>
                  </a:lnTo>
                  <a:lnTo>
                    <a:pt x="1285325" y="1214900"/>
                  </a:lnTo>
                  <a:lnTo>
                    <a:pt x="1282570" y="1215294"/>
                  </a:lnTo>
                  <a:lnTo>
                    <a:pt x="1279816" y="1214507"/>
                  </a:lnTo>
                  <a:lnTo>
                    <a:pt x="1280210" y="1217261"/>
                  </a:lnTo>
                  <a:lnTo>
                    <a:pt x="1279029" y="1216081"/>
                  </a:lnTo>
                  <a:lnTo>
                    <a:pt x="1277456" y="1213327"/>
                  </a:lnTo>
                  <a:lnTo>
                    <a:pt x="1278243" y="1210179"/>
                  </a:lnTo>
                  <a:lnTo>
                    <a:pt x="1275882" y="1207425"/>
                  </a:lnTo>
                  <a:lnTo>
                    <a:pt x="1273128" y="1205065"/>
                  </a:lnTo>
                  <a:lnTo>
                    <a:pt x="1270374" y="1205458"/>
                  </a:lnTo>
                  <a:lnTo>
                    <a:pt x="1270767" y="1208212"/>
                  </a:lnTo>
                  <a:lnTo>
                    <a:pt x="1272341" y="1210966"/>
                  </a:lnTo>
                  <a:lnTo>
                    <a:pt x="1274702" y="1214114"/>
                  </a:lnTo>
                  <a:lnTo>
                    <a:pt x="1272341" y="1216474"/>
                  </a:lnTo>
                  <a:lnTo>
                    <a:pt x="1269587" y="1216474"/>
                  </a:lnTo>
                  <a:lnTo>
                    <a:pt x="1270374" y="1219228"/>
                  </a:lnTo>
                  <a:lnTo>
                    <a:pt x="1273128" y="1220409"/>
                  </a:lnTo>
                  <a:lnTo>
                    <a:pt x="1275882" y="1221982"/>
                  </a:lnTo>
                  <a:lnTo>
                    <a:pt x="1278636" y="1223556"/>
                  </a:lnTo>
                  <a:lnTo>
                    <a:pt x="1280210" y="1220802"/>
                  </a:lnTo>
                  <a:lnTo>
                    <a:pt x="1282964" y="1220409"/>
                  </a:lnTo>
                  <a:lnTo>
                    <a:pt x="1284931" y="1223162"/>
                  </a:lnTo>
                  <a:lnTo>
                    <a:pt x="1285718" y="1226310"/>
                  </a:lnTo>
                  <a:lnTo>
                    <a:pt x="1288865" y="1225917"/>
                  </a:lnTo>
                  <a:lnTo>
                    <a:pt x="1291619" y="1226703"/>
                  </a:lnTo>
                  <a:lnTo>
                    <a:pt x="1294373" y="1228670"/>
                  </a:lnTo>
                  <a:lnTo>
                    <a:pt x="1297127" y="1229064"/>
                  </a:lnTo>
                  <a:lnTo>
                    <a:pt x="1297127" y="1231424"/>
                  </a:lnTo>
                  <a:lnTo>
                    <a:pt x="1296340" y="1236932"/>
                  </a:lnTo>
                  <a:lnTo>
                    <a:pt x="1293980" y="1237719"/>
                  </a:lnTo>
                  <a:lnTo>
                    <a:pt x="1291226" y="1239293"/>
                  </a:lnTo>
                  <a:lnTo>
                    <a:pt x="1293980" y="1239686"/>
                  </a:lnTo>
                  <a:lnTo>
                    <a:pt x="1295554" y="1242440"/>
                  </a:lnTo>
                  <a:lnTo>
                    <a:pt x="1296340" y="1244801"/>
                  </a:lnTo>
                  <a:lnTo>
                    <a:pt x="1296734" y="1245981"/>
                  </a:lnTo>
                  <a:lnTo>
                    <a:pt x="1297127" y="1249129"/>
                  </a:lnTo>
                  <a:lnTo>
                    <a:pt x="1299881" y="1249522"/>
                  </a:lnTo>
                  <a:lnTo>
                    <a:pt x="1302635" y="1247161"/>
                  </a:lnTo>
                  <a:lnTo>
                    <a:pt x="1302242" y="1249916"/>
                  </a:lnTo>
                  <a:lnTo>
                    <a:pt x="1304209" y="1249916"/>
                  </a:lnTo>
                  <a:lnTo>
                    <a:pt x="1305783" y="1252669"/>
                  </a:lnTo>
                  <a:lnTo>
                    <a:pt x="1303422" y="1256604"/>
                  </a:lnTo>
                  <a:lnTo>
                    <a:pt x="1302242" y="1255817"/>
                  </a:lnTo>
                  <a:lnTo>
                    <a:pt x="1299488" y="1256604"/>
                  </a:lnTo>
                  <a:lnTo>
                    <a:pt x="1298701" y="1259358"/>
                  </a:lnTo>
                  <a:lnTo>
                    <a:pt x="1300274" y="1262112"/>
                  </a:lnTo>
                  <a:lnTo>
                    <a:pt x="1312471" y="1260538"/>
                  </a:lnTo>
                  <a:lnTo>
                    <a:pt x="1310110" y="1268406"/>
                  </a:lnTo>
                  <a:lnTo>
                    <a:pt x="1309717" y="1268800"/>
                  </a:lnTo>
                  <a:lnTo>
                    <a:pt x="1306569" y="1269193"/>
                  </a:lnTo>
                  <a:lnTo>
                    <a:pt x="1303815" y="1271554"/>
                  </a:lnTo>
                  <a:lnTo>
                    <a:pt x="1306963" y="1271947"/>
                  </a:lnTo>
                  <a:lnTo>
                    <a:pt x="1309717" y="1271554"/>
                  </a:lnTo>
                  <a:lnTo>
                    <a:pt x="1312471" y="1269587"/>
                  </a:lnTo>
                  <a:lnTo>
                    <a:pt x="1312471" y="1269587"/>
                  </a:lnTo>
                  <a:lnTo>
                    <a:pt x="1322700" y="1273521"/>
                  </a:lnTo>
                  <a:lnTo>
                    <a:pt x="1321913" y="1275095"/>
                  </a:lnTo>
                  <a:lnTo>
                    <a:pt x="1324667" y="1272734"/>
                  </a:lnTo>
                  <a:lnTo>
                    <a:pt x="1325454" y="1271947"/>
                  </a:lnTo>
                  <a:lnTo>
                    <a:pt x="1337650" y="1266439"/>
                  </a:lnTo>
                  <a:lnTo>
                    <a:pt x="1338437" y="1269980"/>
                  </a:lnTo>
                  <a:lnTo>
                    <a:pt x="1341191" y="1269980"/>
                  </a:lnTo>
                  <a:lnTo>
                    <a:pt x="1350240" y="1275488"/>
                  </a:lnTo>
                  <a:lnTo>
                    <a:pt x="1353780" y="1279423"/>
                  </a:lnTo>
                  <a:lnTo>
                    <a:pt x="1354568" y="1282176"/>
                  </a:lnTo>
                  <a:lnTo>
                    <a:pt x="1357321" y="1283750"/>
                  </a:lnTo>
                  <a:lnTo>
                    <a:pt x="1358502" y="1284930"/>
                  </a:lnTo>
                  <a:lnTo>
                    <a:pt x="1361256" y="1284930"/>
                  </a:lnTo>
                  <a:lnTo>
                    <a:pt x="1364010" y="1286898"/>
                  </a:lnTo>
                  <a:lnTo>
                    <a:pt x="1367157" y="1287684"/>
                  </a:lnTo>
                  <a:lnTo>
                    <a:pt x="1369911" y="1289258"/>
                  </a:lnTo>
                  <a:lnTo>
                    <a:pt x="1372665" y="1289258"/>
                  </a:lnTo>
                  <a:lnTo>
                    <a:pt x="1375419" y="1286898"/>
                  </a:lnTo>
                  <a:lnTo>
                    <a:pt x="1378173" y="1286504"/>
                  </a:lnTo>
                  <a:lnTo>
                    <a:pt x="1381714" y="1284144"/>
                  </a:lnTo>
                  <a:lnTo>
                    <a:pt x="1389189" y="1286898"/>
                  </a:lnTo>
                  <a:lnTo>
                    <a:pt x="1390369" y="1285717"/>
                  </a:lnTo>
                  <a:lnTo>
                    <a:pt x="1392336" y="1282963"/>
                  </a:lnTo>
                  <a:lnTo>
                    <a:pt x="1391943" y="1282176"/>
                  </a:lnTo>
                  <a:lnTo>
                    <a:pt x="1401779" y="1264866"/>
                  </a:lnTo>
                  <a:lnTo>
                    <a:pt x="1406893" y="1265653"/>
                  </a:lnTo>
                  <a:lnTo>
                    <a:pt x="1409254" y="1265653"/>
                  </a:lnTo>
                  <a:lnTo>
                    <a:pt x="1423024" y="1271161"/>
                  </a:lnTo>
                  <a:lnTo>
                    <a:pt x="1423810" y="1271554"/>
                  </a:lnTo>
                  <a:lnTo>
                    <a:pt x="1426564" y="1273128"/>
                  </a:lnTo>
                  <a:lnTo>
                    <a:pt x="1427351" y="1273128"/>
                  </a:lnTo>
                  <a:lnTo>
                    <a:pt x="1437974" y="1279029"/>
                  </a:lnTo>
                  <a:lnTo>
                    <a:pt x="1439548" y="1281390"/>
                  </a:lnTo>
                  <a:lnTo>
                    <a:pt x="1441908" y="1284537"/>
                  </a:lnTo>
                  <a:lnTo>
                    <a:pt x="1444662" y="1287291"/>
                  </a:lnTo>
                  <a:lnTo>
                    <a:pt x="1447416" y="1288865"/>
                  </a:lnTo>
                  <a:lnTo>
                    <a:pt x="1450564" y="1289651"/>
                  </a:lnTo>
                  <a:lnTo>
                    <a:pt x="1451350" y="1290438"/>
                  </a:lnTo>
                  <a:lnTo>
                    <a:pt x="1454498" y="1291619"/>
                  </a:lnTo>
                  <a:lnTo>
                    <a:pt x="1457252" y="1292012"/>
                  </a:lnTo>
                  <a:lnTo>
                    <a:pt x="1463940" y="1290045"/>
                  </a:lnTo>
                  <a:lnTo>
                    <a:pt x="1464727" y="1290045"/>
                  </a:lnTo>
                  <a:lnTo>
                    <a:pt x="1467481" y="1288471"/>
                  </a:lnTo>
                  <a:lnTo>
                    <a:pt x="1470235" y="1288471"/>
                  </a:lnTo>
                  <a:lnTo>
                    <a:pt x="1472989" y="1288078"/>
                  </a:lnTo>
                  <a:lnTo>
                    <a:pt x="1475743" y="1287684"/>
                  </a:lnTo>
                  <a:lnTo>
                    <a:pt x="1478497" y="1286898"/>
                  </a:lnTo>
                  <a:lnTo>
                    <a:pt x="1481644" y="1288078"/>
                  </a:lnTo>
                  <a:lnTo>
                    <a:pt x="1484005" y="1285324"/>
                  </a:lnTo>
                  <a:lnTo>
                    <a:pt x="1485185" y="1284144"/>
                  </a:lnTo>
                  <a:lnTo>
                    <a:pt x="1487152" y="1283750"/>
                  </a:lnTo>
                  <a:lnTo>
                    <a:pt x="1488726" y="1285717"/>
                  </a:lnTo>
                  <a:lnTo>
                    <a:pt x="1490300" y="1282963"/>
                  </a:lnTo>
                  <a:lnTo>
                    <a:pt x="1491480" y="1281783"/>
                  </a:lnTo>
                  <a:lnTo>
                    <a:pt x="1491480" y="1281390"/>
                  </a:lnTo>
                  <a:lnTo>
                    <a:pt x="1502102" y="1268406"/>
                  </a:lnTo>
                  <a:lnTo>
                    <a:pt x="1502496" y="1268406"/>
                  </a:lnTo>
                  <a:lnTo>
                    <a:pt x="1505250" y="1266046"/>
                  </a:lnTo>
                  <a:lnTo>
                    <a:pt x="1511938" y="1266439"/>
                  </a:lnTo>
                  <a:lnTo>
                    <a:pt x="1513512" y="1268800"/>
                  </a:lnTo>
                  <a:lnTo>
                    <a:pt x="1515872" y="1268800"/>
                  </a:lnTo>
                  <a:lnTo>
                    <a:pt x="1516266" y="1269193"/>
                  </a:lnTo>
                  <a:lnTo>
                    <a:pt x="1519019" y="1270767"/>
                  </a:lnTo>
                  <a:lnTo>
                    <a:pt x="1524528" y="1273521"/>
                  </a:lnTo>
                  <a:lnTo>
                    <a:pt x="1527282" y="1273914"/>
                  </a:lnTo>
                  <a:lnTo>
                    <a:pt x="1532003" y="1273521"/>
                  </a:lnTo>
                  <a:lnTo>
                    <a:pt x="1533577" y="1271947"/>
                  </a:lnTo>
                  <a:lnTo>
                    <a:pt x="1534363" y="1269193"/>
                  </a:lnTo>
                  <a:lnTo>
                    <a:pt x="1531609" y="1269587"/>
                  </a:lnTo>
                  <a:lnTo>
                    <a:pt x="1533577" y="1268406"/>
                  </a:lnTo>
                  <a:lnTo>
                    <a:pt x="1535937" y="1268013"/>
                  </a:lnTo>
                  <a:lnTo>
                    <a:pt x="1538691" y="1266833"/>
                  </a:lnTo>
                  <a:lnTo>
                    <a:pt x="1541052" y="1264079"/>
                  </a:lnTo>
                  <a:lnTo>
                    <a:pt x="1542625" y="1278636"/>
                  </a:lnTo>
                  <a:lnTo>
                    <a:pt x="1540658" y="1280603"/>
                  </a:lnTo>
                  <a:lnTo>
                    <a:pt x="1538691" y="1283750"/>
                  </a:lnTo>
                  <a:lnTo>
                    <a:pt x="1541052" y="1286504"/>
                  </a:lnTo>
                  <a:lnTo>
                    <a:pt x="1543019" y="1289258"/>
                  </a:lnTo>
                  <a:lnTo>
                    <a:pt x="1544592" y="1292406"/>
                  </a:lnTo>
                  <a:lnTo>
                    <a:pt x="1545379" y="1293979"/>
                  </a:lnTo>
                  <a:lnTo>
                    <a:pt x="1543806" y="1296340"/>
                  </a:lnTo>
                  <a:lnTo>
                    <a:pt x="1543412" y="1296733"/>
                  </a:lnTo>
                  <a:lnTo>
                    <a:pt x="1540658" y="1299094"/>
                  </a:lnTo>
                  <a:lnTo>
                    <a:pt x="1542232" y="1301848"/>
                  </a:lnTo>
                  <a:lnTo>
                    <a:pt x="1540658" y="1304602"/>
                  </a:lnTo>
                  <a:lnTo>
                    <a:pt x="1539871" y="1307356"/>
                  </a:lnTo>
                  <a:lnTo>
                    <a:pt x="1541838" y="1310110"/>
                  </a:lnTo>
                  <a:lnTo>
                    <a:pt x="1544986" y="1312470"/>
                  </a:lnTo>
                  <a:lnTo>
                    <a:pt x="1545379" y="1315224"/>
                  </a:lnTo>
                  <a:lnTo>
                    <a:pt x="1545773" y="1317978"/>
                  </a:lnTo>
                  <a:lnTo>
                    <a:pt x="1545773" y="1323486"/>
                  </a:lnTo>
                  <a:lnTo>
                    <a:pt x="1545773" y="1323880"/>
                  </a:lnTo>
                  <a:lnTo>
                    <a:pt x="1545773" y="1327027"/>
                  </a:lnTo>
                  <a:lnTo>
                    <a:pt x="1545773" y="1328601"/>
                  </a:lnTo>
                  <a:lnTo>
                    <a:pt x="1546559" y="1331355"/>
                  </a:lnTo>
                  <a:lnTo>
                    <a:pt x="1547740" y="1333715"/>
                  </a:lnTo>
                  <a:lnTo>
                    <a:pt x="1548920" y="1337256"/>
                  </a:lnTo>
                  <a:lnTo>
                    <a:pt x="1549707" y="1338830"/>
                  </a:lnTo>
                  <a:lnTo>
                    <a:pt x="1550100" y="1343157"/>
                  </a:lnTo>
                  <a:lnTo>
                    <a:pt x="1549707" y="1343157"/>
                  </a:lnTo>
                  <a:lnTo>
                    <a:pt x="1546953" y="1345125"/>
                  </a:lnTo>
                  <a:lnTo>
                    <a:pt x="1545379" y="1347485"/>
                  </a:lnTo>
                  <a:lnTo>
                    <a:pt x="1543806" y="1349059"/>
                  </a:lnTo>
                  <a:lnTo>
                    <a:pt x="1541838" y="1351419"/>
                  </a:lnTo>
                  <a:lnTo>
                    <a:pt x="1541838" y="1356141"/>
                  </a:lnTo>
                  <a:lnTo>
                    <a:pt x="1542232" y="1358108"/>
                  </a:lnTo>
                  <a:lnTo>
                    <a:pt x="1541052" y="1362042"/>
                  </a:lnTo>
                  <a:lnTo>
                    <a:pt x="1539871" y="1364009"/>
                  </a:lnTo>
                  <a:lnTo>
                    <a:pt x="1538297" y="1365189"/>
                  </a:lnTo>
                  <a:lnTo>
                    <a:pt x="1538691" y="1365583"/>
                  </a:lnTo>
                  <a:lnTo>
                    <a:pt x="1537904" y="1368730"/>
                  </a:lnTo>
                  <a:lnTo>
                    <a:pt x="1537117" y="1371484"/>
                  </a:lnTo>
                  <a:lnTo>
                    <a:pt x="1536724" y="1374238"/>
                  </a:lnTo>
                  <a:lnTo>
                    <a:pt x="1536330" y="1374632"/>
                  </a:lnTo>
                  <a:lnTo>
                    <a:pt x="1534757" y="1377386"/>
                  </a:lnTo>
                  <a:lnTo>
                    <a:pt x="1533183" y="1380533"/>
                  </a:lnTo>
                  <a:lnTo>
                    <a:pt x="1532789" y="1382107"/>
                  </a:lnTo>
                  <a:lnTo>
                    <a:pt x="1532396" y="1383287"/>
                  </a:lnTo>
                  <a:lnTo>
                    <a:pt x="1532003" y="1384467"/>
                  </a:lnTo>
                  <a:lnTo>
                    <a:pt x="1532396" y="1387221"/>
                  </a:lnTo>
                  <a:lnTo>
                    <a:pt x="1532003" y="1388008"/>
                  </a:lnTo>
                  <a:lnTo>
                    <a:pt x="1530429" y="1389975"/>
                  </a:lnTo>
                  <a:lnTo>
                    <a:pt x="1530036" y="1390762"/>
                  </a:lnTo>
                  <a:lnTo>
                    <a:pt x="1529642" y="1393516"/>
                  </a:lnTo>
                  <a:lnTo>
                    <a:pt x="1529642" y="1396270"/>
                  </a:lnTo>
                  <a:lnTo>
                    <a:pt x="1530036" y="1397450"/>
                  </a:lnTo>
                  <a:lnTo>
                    <a:pt x="1528068" y="1399811"/>
                  </a:lnTo>
                  <a:lnTo>
                    <a:pt x="1526495" y="1402565"/>
                  </a:lnTo>
                  <a:lnTo>
                    <a:pt x="1526101" y="1405319"/>
                  </a:lnTo>
                  <a:lnTo>
                    <a:pt x="1525708" y="1408073"/>
                  </a:lnTo>
                  <a:lnTo>
                    <a:pt x="1525315" y="1410827"/>
                  </a:lnTo>
                  <a:lnTo>
                    <a:pt x="1524921" y="1413581"/>
                  </a:lnTo>
                  <a:lnTo>
                    <a:pt x="1524134" y="1416335"/>
                  </a:lnTo>
                  <a:lnTo>
                    <a:pt x="1524134" y="1416728"/>
                  </a:lnTo>
                  <a:lnTo>
                    <a:pt x="1523741" y="1419876"/>
                  </a:lnTo>
                  <a:lnTo>
                    <a:pt x="1523741" y="1420663"/>
                  </a:lnTo>
                  <a:lnTo>
                    <a:pt x="1522954" y="1423416"/>
                  </a:lnTo>
                  <a:lnTo>
                    <a:pt x="1522167" y="1426170"/>
                  </a:lnTo>
                  <a:lnTo>
                    <a:pt x="1522167" y="1426564"/>
                  </a:lnTo>
                  <a:lnTo>
                    <a:pt x="1521380" y="1429318"/>
                  </a:lnTo>
                  <a:lnTo>
                    <a:pt x="1519807" y="1432859"/>
                  </a:lnTo>
                  <a:lnTo>
                    <a:pt x="1519413" y="1434039"/>
                  </a:lnTo>
                  <a:lnTo>
                    <a:pt x="1517839" y="1436793"/>
                  </a:lnTo>
                  <a:lnTo>
                    <a:pt x="1517446" y="1437973"/>
                  </a:lnTo>
                  <a:lnTo>
                    <a:pt x="1515872" y="1441121"/>
                  </a:lnTo>
                  <a:lnTo>
                    <a:pt x="1509184" y="1449776"/>
                  </a:lnTo>
                  <a:lnTo>
                    <a:pt x="1508790" y="1450170"/>
                  </a:lnTo>
                  <a:lnTo>
                    <a:pt x="1506823" y="1451743"/>
                  </a:lnTo>
                  <a:lnTo>
                    <a:pt x="1505643" y="1452923"/>
                  </a:lnTo>
                  <a:lnTo>
                    <a:pt x="1504070" y="1453710"/>
                  </a:lnTo>
                  <a:lnTo>
                    <a:pt x="1498561" y="1456071"/>
                  </a:lnTo>
                  <a:lnTo>
                    <a:pt x="1497381" y="1456464"/>
                  </a:lnTo>
                  <a:lnTo>
                    <a:pt x="1489512" y="1457251"/>
                  </a:lnTo>
                  <a:lnTo>
                    <a:pt x="1489119" y="1457251"/>
                  </a:lnTo>
                  <a:lnTo>
                    <a:pt x="1486365" y="1456858"/>
                  </a:lnTo>
                  <a:lnTo>
                    <a:pt x="1485578" y="1457645"/>
                  </a:lnTo>
                  <a:lnTo>
                    <a:pt x="1482824" y="1458038"/>
                  </a:lnTo>
                  <a:lnTo>
                    <a:pt x="1480071" y="1459612"/>
                  </a:lnTo>
                  <a:lnTo>
                    <a:pt x="1479283" y="1460005"/>
                  </a:lnTo>
                  <a:lnTo>
                    <a:pt x="1479283" y="1457251"/>
                  </a:lnTo>
                  <a:lnTo>
                    <a:pt x="1476530" y="1456071"/>
                  </a:lnTo>
                  <a:lnTo>
                    <a:pt x="1474956" y="1457645"/>
                  </a:lnTo>
                  <a:lnTo>
                    <a:pt x="1474956" y="1458431"/>
                  </a:lnTo>
                  <a:lnTo>
                    <a:pt x="1475743" y="1458431"/>
                  </a:lnTo>
                  <a:lnTo>
                    <a:pt x="1474956" y="1460005"/>
                  </a:lnTo>
                  <a:lnTo>
                    <a:pt x="1472202" y="1459218"/>
                  </a:lnTo>
                  <a:lnTo>
                    <a:pt x="1472202" y="1458825"/>
                  </a:lnTo>
                  <a:lnTo>
                    <a:pt x="1471415" y="1458825"/>
                  </a:lnTo>
                  <a:lnTo>
                    <a:pt x="1469055" y="1460005"/>
                  </a:lnTo>
                  <a:lnTo>
                    <a:pt x="1468268" y="1460399"/>
                  </a:lnTo>
                  <a:lnTo>
                    <a:pt x="1468661" y="1458825"/>
                  </a:lnTo>
                  <a:lnTo>
                    <a:pt x="1468268" y="1459218"/>
                  </a:lnTo>
                  <a:lnTo>
                    <a:pt x="1465514" y="1460005"/>
                  </a:lnTo>
                  <a:lnTo>
                    <a:pt x="1465907" y="1459612"/>
                  </a:lnTo>
                  <a:lnTo>
                    <a:pt x="1468661" y="1458431"/>
                  </a:lnTo>
                  <a:lnTo>
                    <a:pt x="1463153" y="1459612"/>
                  </a:lnTo>
                  <a:lnTo>
                    <a:pt x="1460006" y="1457645"/>
                  </a:lnTo>
                  <a:lnTo>
                    <a:pt x="1458432" y="1456071"/>
                  </a:lnTo>
                  <a:lnTo>
                    <a:pt x="1455678" y="1453710"/>
                  </a:lnTo>
                  <a:lnTo>
                    <a:pt x="1454104" y="1453710"/>
                  </a:lnTo>
                  <a:lnTo>
                    <a:pt x="1454104" y="1452137"/>
                  </a:lnTo>
                  <a:lnTo>
                    <a:pt x="1452531" y="1451743"/>
                  </a:lnTo>
                  <a:lnTo>
                    <a:pt x="1451350" y="1451743"/>
                  </a:lnTo>
                  <a:lnTo>
                    <a:pt x="1452531" y="1452137"/>
                  </a:lnTo>
                  <a:lnTo>
                    <a:pt x="1453711" y="1453710"/>
                  </a:lnTo>
                  <a:lnTo>
                    <a:pt x="1453711" y="1455677"/>
                  </a:lnTo>
                  <a:lnTo>
                    <a:pt x="1452924" y="1457645"/>
                  </a:lnTo>
                  <a:lnTo>
                    <a:pt x="1452531" y="1458038"/>
                  </a:lnTo>
                  <a:lnTo>
                    <a:pt x="1449777" y="1458431"/>
                  </a:lnTo>
                  <a:lnTo>
                    <a:pt x="1449777" y="1458825"/>
                  </a:lnTo>
                  <a:lnTo>
                    <a:pt x="1448990" y="1458431"/>
                  </a:lnTo>
                  <a:lnTo>
                    <a:pt x="1448990" y="1460005"/>
                  </a:lnTo>
                  <a:lnTo>
                    <a:pt x="1447416" y="1457645"/>
                  </a:lnTo>
                  <a:lnTo>
                    <a:pt x="1447023" y="1457251"/>
                  </a:lnTo>
                  <a:lnTo>
                    <a:pt x="1446629" y="1455284"/>
                  </a:lnTo>
                  <a:lnTo>
                    <a:pt x="1439548" y="1451743"/>
                  </a:lnTo>
                  <a:lnTo>
                    <a:pt x="1440728" y="1449383"/>
                  </a:lnTo>
                  <a:lnTo>
                    <a:pt x="1441121" y="1449383"/>
                  </a:lnTo>
                  <a:lnTo>
                    <a:pt x="1441515" y="1447415"/>
                  </a:lnTo>
                  <a:lnTo>
                    <a:pt x="1447023" y="1448989"/>
                  </a:lnTo>
                  <a:lnTo>
                    <a:pt x="1450170" y="1450956"/>
                  </a:lnTo>
                  <a:lnTo>
                    <a:pt x="1447416" y="1448989"/>
                  </a:lnTo>
                  <a:lnTo>
                    <a:pt x="1444662" y="1446629"/>
                  </a:lnTo>
                  <a:lnTo>
                    <a:pt x="1443088" y="1443875"/>
                  </a:lnTo>
                  <a:lnTo>
                    <a:pt x="1440334" y="1443481"/>
                  </a:lnTo>
                  <a:lnTo>
                    <a:pt x="1432859" y="1446235"/>
                  </a:lnTo>
                  <a:lnTo>
                    <a:pt x="1432466" y="1446235"/>
                  </a:lnTo>
                  <a:lnTo>
                    <a:pt x="1427745" y="1444268"/>
                  </a:lnTo>
                  <a:lnTo>
                    <a:pt x="1426564" y="1443481"/>
                  </a:lnTo>
                  <a:lnTo>
                    <a:pt x="1426171" y="1443481"/>
                  </a:lnTo>
                  <a:lnTo>
                    <a:pt x="1423417" y="1441908"/>
                  </a:lnTo>
                  <a:lnTo>
                    <a:pt x="1421450" y="1441514"/>
                  </a:lnTo>
                  <a:lnTo>
                    <a:pt x="1418696" y="1441121"/>
                  </a:lnTo>
                  <a:lnTo>
                    <a:pt x="1415942" y="1441514"/>
                  </a:lnTo>
                  <a:lnTo>
                    <a:pt x="1418696" y="1442301"/>
                  </a:lnTo>
                  <a:lnTo>
                    <a:pt x="1413975" y="1447022"/>
                  </a:lnTo>
                  <a:lnTo>
                    <a:pt x="1410434" y="1446629"/>
                  </a:lnTo>
                  <a:lnTo>
                    <a:pt x="1407680" y="1447415"/>
                  </a:lnTo>
                  <a:lnTo>
                    <a:pt x="1404926" y="1448989"/>
                  </a:lnTo>
                  <a:lnTo>
                    <a:pt x="1408073" y="1446235"/>
                  </a:lnTo>
                  <a:lnTo>
                    <a:pt x="1410827" y="1444662"/>
                  </a:lnTo>
                  <a:lnTo>
                    <a:pt x="1413581" y="1443088"/>
                  </a:lnTo>
                  <a:lnTo>
                    <a:pt x="1410827" y="1443481"/>
                  </a:lnTo>
                  <a:lnTo>
                    <a:pt x="1401385" y="1446235"/>
                  </a:lnTo>
                  <a:lnTo>
                    <a:pt x="1399418" y="1445448"/>
                  </a:lnTo>
                  <a:lnTo>
                    <a:pt x="1399024" y="1447022"/>
                  </a:lnTo>
                  <a:lnTo>
                    <a:pt x="1393123" y="1452530"/>
                  </a:lnTo>
                  <a:lnTo>
                    <a:pt x="1393123" y="1452923"/>
                  </a:lnTo>
                  <a:lnTo>
                    <a:pt x="1392730" y="1452923"/>
                  </a:lnTo>
                  <a:lnTo>
                    <a:pt x="1391156" y="1452530"/>
                  </a:lnTo>
                  <a:lnTo>
                    <a:pt x="1389976" y="1450956"/>
                  </a:lnTo>
                  <a:lnTo>
                    <a:pt x="1388402" y="1452530"/>
                  </a:lnTo>
                  <a:lnTo>
                    <a:pt x="1385648" y="1454891"/>
                  </a:lnTo>
                  <a:lnTo>
                    <a:pt x="1385254" y="1455284"/>
                  </a:lnTo>
                  <a:lnTo>
                    <a:pt x="1382501" y="1456858"/>
                  </a:lnTo>
                  <a:lnTo>
                    <a:pt x="1380534" y="1458431"/>
                  </a:lnTo>
                  <a:lnTo>
                    <a:pt x="1377386" y="1460792"/>
                  </a:lnTo>
                  <a:lnTo>
                    <a:pt x="1361256" y="1467087"/>
                  </a:lnTo>
                  <a:lnTo>
                    <a:pt x="1355354" y="1463546"/>
                  </a:lnTo>
                  <a:lnTo>
                    <a:pt x="1352600" y="1461579"/>
                  </a:lnTo>
                  <a:lnTo>
                    <a:pt x="1349453" y="1460792"/>
                  </a:lnTo>
                  <a:lnTo>
                    <a:pt x="1346699" y="1459218"/>
                  </a:lnTo>
                  <a:lnTo>
                    <a:pt x="1343551" y="1458038"/>
                  </a:lnTo>
                  <a:lnTo>
                    <a:pt x="1340798" y="1458825"/>
                  </a:lnTo>
                  <a:lnTo>
                    <a:pt x="1338830" y="1458825"/>
                  </a:lnTo>
                  <a:lnTo>
                    <a:pt x="1328208" y="1455677"/>
                  </a:lnTo>
                  <a:lnTo>
                    <a:pt x="1327814" y="1454497"/>
                  </a:lnTo>
                  <a:lnTo>
                    <a:pt x="1325061" y="1453710"/>
                  </a:lnTo>
                  <a:lnTo>
                    <a:pt x="1323487" y="1454104"/>
                  </a:lnTo>
                  <a:lnTo>
                    <a:pt x="1313258" y="1451350"/>
                  </a:lnTo>
                  <a:lnTo>
                    <a:pt x="1312077" y="1448989"/>
                  </a:lnTo>
                  <a:lnTo>
                    <a:pt x="1309323" y="1448202"/>
                  </a:lnTo>
                  <a:lnTo>
                    <a:pt x="1306569" y="1447809"/>
                  </a:lnTo>
                  <a:lnTo>
                    <a:pt x="1303422" y="1446629"/>
                  </a:lnTo>
                  <a:lnTo>
                    <a:pt x="1300668" y="1445842"/>
                  </a:lnTo>
                  <a:lnTo>
                    <a:pt x="1297914" y="1446235"/>
                  </a:lnTo>
                  <a:lnTo>
                    <a:pt x="1294766" y="1444662"/>
                  </a:lnTo>
                  <a:lnTo>
                    <a:pt x="1292013" y="1444268"/>
                  </a:lnTo>
                  <a:lnTo>
                    <a:pt x="1288865" y="1443481"/>
                  </a:lnTo>
                  <a:lnTo>
                    <a:pt x="1285718" y="1443088"/>
                  </a:lnTo>
                  <a:lnTo>
                    <a:pt x="1284144" y="1443088"/>
                  </a:lnTo>
                  <a:lnTo>
                    <a:pt x="1280603" y="1442301"/>
                  </a:lnTo>
                  <a:lnTo>
                    <a:pt x="1277849" y="1441908"/>
                  </a:lnTo>
                  <a:lnTo>
                    <a:pt x="1275095" y="1440727"/>
                  </a:lnTo>
                  <a:lnTo>
                    <a:pt x="1271948" y="1440334"/>
                  </a:lnTo>
                  <a:lnTo>
                    <a:pt x="1269194" y="1440334"/>
                  </a:lnTo>
                  <a:lnTo>
                    <a:pt x="1266440" y="1441514"/>
                  </a:lnTo>
                  <a:lnTo>
                    <a:pt x="1263292" y="1441908"/>
                  </a:lnTo>
                  <a:lnTo>
                    <a:pt x="1262899" y="1441908"/>
                  </a:lnTo>
                  <a:lnTo>
                    <a:pt x="1249522" y="1441514"/>
                  </a:lnTo>
                  <a:lnTo>
                    <a:pt x="1248736" y="1439153"/>
                  </a:lnTo>
                  <a:lnTo>
                    <a:pt x="1247555" y="1436400"/>
                  </a:lnTo>
                  <a:lnTo>
                    <a:pt x="1247162" y="1435613"/>
                  </a:lnTo>
                  <a:lnTo>
                    <a:pt x="1245195" y="1431678"/>
                  </a:lnTo>
                  <a:lnTo>
                    <a:pt x="1245195" y="1430892"/>
                  </a:lnTo>
                  <a:lnTo>
                    <a:pt x="1244015" y="1428925"/>
                  </a:lnTo>
                  <a:lnTo>
                    <a:pt x="1241260" y="1428138"/>
                  </a:lnTo>
                  <a:lnTo>
                    <a:pt x="1238113" y="1427744"/>
                  </a:lnTo>
                  <a:lnTo>
                    <a:pt x="1235359" y="1426957"/>
                  </a:lnTo>
                  <a:lnTo>
                    <a:pt x="1232212" y="1427744"/>
                  </a:lnTo>
                  <a:lnTo>
                    <a:pt x="1231425" y="1427744"/>
                  </a:lnTo>
                  <a:lnTo>
                    <a:pt x="1214901" y="1426170"/>
                  </a:lnTo>
                  <a:lnTo>
                    <a:pt x="1211754" y="1423810"/>
                  </a:lnTo>
                  <a:lnTo>
                    <a:pt x="1209000" y="1422630"/>
                  </a:lnTo>
                  <a:lnTo>
                    <a:pt x="1205852" y="1422236"/>
                  </a:lnTo>
                  <a:lnTo>
                    <a:pt x="1203098" y="1421843"/>
                  </a:lnTo>
                  <a:lnTo>
                    <a:pt x="1200344" y="1421843"/>
                  </a:lnTo>
                  <a:lnTo>
                    <a:pt x="1197197" y="1421449"/>
                  </a:lnTo>
                  <a:lnTo>
                    <a:pt x="1195230" y="1421449"/>
                  </a:lnTo>
                  <a:lnTo>
                    <a:pt x="1192869" y="1421056"/>
                  </a:lnTo>
                  <a:lnTo>
                    <a:pt x="1188541" y="1415548"/>
                  </a:lnTo>
                  <a:lnTo>
                    <a:pt x="1190115" y="1412794"/>
                  </a:lnTo>
                  <a:lnTo>
                    <a:pt x="1188541" y="1410040"/>
                  </a:lnTo>
                  <a:lnTo>
                    <a:pt x="1188541" y="1407286"/>
                  </a:lnTo>
                  <a:lnTo>
                    <a:pt x="1185394" y="1405712"/>
                  </a:lnTo>
                  <a:lnTo>
                    <a:pt x="1182640" y="1405319"/>
                  </a:lnTo>
                  <a:lnTo>
                    <a:pt x="1179886" y="1403745"/>
                  </a:lnTo>
                  <a:lnTo>
                    <a:pt x="1176738" y="1402958"/>
                  </a:lnTo>
                  <a:lnTo>
                    <a:pt x="1175165" y="1402565"/>
                  </a:lnTo>
                  <a:lnTo>
                    <a:pt x="1171624" y="1401385"/>
                  </a:lnTo>
                  <a:lnTo>
                    <a:pt x="1166116" y="1398237"/>
                  </a:lnTo>
                  <a:lnTo>
                    <a:pt x="1163362" y="1398237"/>
                  </a:lnTo>
                  <a:lnTo>
                    <a:pt x="1160215" y="1396270"/>
                  </a:lnTo>
                  <a:lnTo>
                    <a:pt x="1157461" y="1397450"/>
                  </a:lnTo>
                  <a:lnTo>
                    <a:pt x="1156674" y="1397057"/>
                  </a:lnTo>
                  <a:lnTo>
                    <a:pt x="1148805" y="1396663"/>
                  </a:lnTo>
                  <a:lnTo>
                    <a:pt x="1146051" y="1396663"/>
                  </a:lnTo>
                  <a:lnTo>
                    <a:pt x="1140543" y="1400991"/>
                  </a:lnTo>
                  <a:lnTo>
                    <a:pt x="1138576" y="1401778"/>
                  </a:lnTo>
                  <a:lnTo>
                    <a:pt x="1129921" y="1401778"/>
                  </a:lnTo>
                  <a:lnTo>
                    <a:pt x="1126773" y="1403352"/>
                  </a:lnTo>
                  <a:lnTo>
                    <a:pt x="1124020" y="1405319"/>
                  </a:lnTo>
                  <a:lnTo>
                    <a:pt x="1121265" y="1406893"/>
                  </a:lnTo>
                  <a:lnTo>
                    <a:pt x="1118512" y="1408466"/>
                  </a:lnTo>
                  <a:lnTo>
                    <a:pt x="1116151" y="1409647"/>
                  </a:lnTo>
                  <a:lnTo>
                    <a:pt x="1113397" y="1412007"/>
                  </a:lnTo>
                  <a:lnTo>
                    <a:pt x="1110250" y="1414368"/>
                  </a:lnTo>
                  <a:lnTo>
                    <a:pt x="1107496" y="1417122"/>
                  </a:lnTo>
                  <a:lnTo>
                    <a:pt x="1105135" y="1419876"/>
                  </a:lnTo>
                  <a:lnTo>
                    <a:pt x="1102381" y="1422630"/>
                  </a:lnTo>
                  <a:lnTo>
                    <a:pt x="1100807" y="1425777"/>
                  </a:lnTo>
                  <a:lnTo>
                    <a:pt x="1100807" y="1426170"/>
                  </a:lnTo>
                  <a:lnTo>
                    <a:pt x="1099234" y="1429318"/>
                  </a:lnTo>
                  <a:lnTo>
                    <a:pt x="1099234" y="1432072"/>
                  </a:lnTo>
                  <a:lnTo>
                    <a:pt x="1098840" y="1434826"/>
                  </a:lnTo>
                  <a:lnTo>
                    <a:pt x="1098840" y="1437580"/>
                  </a:lnTo>
                  <a:lnTo>
                    <a:pt x="1099627" y="1440334"/>
                  </a:lnTo>
                  <a:lnTo>
                    <a:pt x="1100020" y="1443088"/>
                  </a:lnTo>
                  <a:lnTo>
                    <a:pt x="1101201" y="1446235"/>
                  </a:lnTo>
                  <a:lnTo>
                    <a:pt x="1101594" y="1446629"/>
                  </a:lnTo>
                  <a:lnTo>
                    <a:pt x="1102775" y="1449383"/>
                  </a:lnTo>
                  <a:lnTo>
                    <a:pt x="1103561" y="1450563"/>
                  </a:lnTo>
                  <a:lnTo>
                    <a:pt x="1105922" y="1454891"/>
                  </a:lnTo>
                  <a:lnTo>
                    <a:pt x="1106316" y="1455677"/>
                  </a:lnTo>
                  <a:lnTo>
                    <a:pt x="1102381" y="1469054"/>
                  </a:lnTo>
                  <a:lnTo>
                    <a:pt x="1067760" y="1483611"/>
                  </a:lnTo>
                  <a:lnTo>
                    <a:pt x="1061071" y="1478890"/>
                  </a:lnTo>
                  <a:lnTo>
                    <a:pt x="1055170" y="1474562"/>
                  </a:lnTo>
                  <a:lnTo>
                    <a:pt x="1054776" y="1474169"/>
                  </a:lnTo>
                  <a:lnTo>
                    <a:pt x="1052022" y="1471415"/>
                  </a:lnTo>
                  <a:lnTo>
                    <a:pt x="1049269" y="1469054"/>
                  </a:lnTo>
                  <a:lnTo>
                    <a:pt x="1046514" y="1467874"/>
                  </a:lnTo>
                  <a:lnTo>
                    <a:pt x="1043367" y="1467087"/>
                  </a:lnTo>
                  <a:lnTo>
                    <a:pt x="1040613" y="1464333"/>
                  </a:lnTo>
                  <a:lnTo>
                    <a:pt x="1037859" y="1463939"/>
                  </a:lnTo>
                  <a:lnTo>
                    <a:pt x="1034712" y="1462366"/>
                  </a:lnTo>
                  <a:lnTo>
                    <a:pt x="1031958" y="1461185"/>
                  </a:lnTo>
                  <a:lnTo>
                    <a:pt x="1030384" y="1460792"/>
                  </a:lnTo>
                  <a:lnTo>
                    <a:pt x="1027630" y="1459218"/>
                  </a:lnTo>
                  <a:lnTo>
                    <a:pt x="1024876" y="1458825"/>
                  </a:lnTo>
                  <a:lnTo>
                    <a:pt x="1024089" y="1458431"/>
                  </a:lnTo>
                  <a:lnTo>
                    <a:pt x="1020942" y="1457645"/>
                  </a:lnTo>
                  <a:lnTo>
                    <a:pt x="1018188" y="1457251"/>
                  </a:lnTo>
                  <a:lnTo>
                    <a:pt x="1015434" y="1455677"/>
                  </a:lnTo>
                  <a:lnTo>
                    <a:pt x="1012286" y="1455284"/>
                  </a:lnTo>
                  <a:lnTo>
                    <a:pt x="1009532" y="1454497"/>
                  </a:lnTo>
                  <a:lnTo>
                    <a:pt x="1006778" y="1454104"/>
                  </a:lnTo>
                  <a:lnTo>
                    <a:pt x="1004025" y="1454497"/>
                  </a:lnTo>
                  <a:lnTo>
                    <a:pt x="1000877" y="1454497"/>
                  </a:lnTo>
                  <a:lnTo>
                    <a:pt x="998123" y="1454104"/>
                  </a:lnTo>
                  <a:lnTo>
                    <a:pt x="997729" y="1454104"/>
                  </a:lnTo>
                  <a:lnTo>
                    <a:pt x="991041" y="1452923"/>
                  </a:lnTo>
                  <a:lnTo>
                    <a:pt x="972157" y="1437580"/>
                  </a:lnTo>
                  <a:lnTo>
                    <a:pt x="971370" y="1435613"/>
                  </a:lnTo>
                  <a:lnTo>
                    <a:pt x="968616" y="1424597"/>
                  </a:lnTo>
                  <a:lnTo>
                    <a:pt x="968616" y="1421843"/>
                  </a:lnTo>
                  <a:lnTo>
                    <a:pt x="967042" y="1418695"/>
                  </a:lnTo>
                  <a:lnTo>
                    <a:pt x="964682" y="1415941"/>
                  </a:lnTo>
                  <a:lnTo>
                    <a:pt x="961928" y="1413974"/>
                  </a:lnTo>
                  <a:lnTo>
                    <a:pt x="959174" y="1413581"/>
                  </a:lnTo>
                  <a:lnTo>
                    <a:pt x="958387" y="1413581"/>
                  </a:lnTo>
                  <a:lnTo>
                    <a:pt x="955633" y="1412794"/>
                  </a:lnTo>
                  <a:lnTo>
                    <a:pt x="952485" y="1412401"/>
                  </a:lnTo>
                  <a:lnTo>
                    <a:pt x="950518" y="1412401"/>
                  </a:lnTo>
                  <a:lnTo>
                    <a:pt x="947764" y="1410827"/>
                  </a:lnTo>
                  <a:lnTo>
                    <a:pt x="945011" y="1410433"/>
                  </a:lnTo>
                  <a:lnTo>
                    <a:pt x="942650" y="1409647"/>
                  </a:lnTo>
                  <a:lnTo>
                    <a:pt x="939896" y="1406893"/>
                  </a:lnTo>
                  <a:lnTo>
                    <a:pt x="937142" y="1405319"/>
                  </a:lnTo>
                  <a:lnTo>
                    <a:pt x="933995" y="1403745"/>
                  </a:lnTo>
                  <a:lnTo>
                    <a:pt x="931241" y="1403352"/>
                  </a:lnTo>
                  <a:lnTo>
                    <a:pt x="928093" y="1401778"/>
                  </a:lnTo>
                  <a:lnTo>
                    <a:pt x="925339" y="1400991"/>
                  </a:lnTo>
                  <a:lnTo>
                    <a:pt x="921798" y="1400991"/>
                  </a:lnTo>
                  <a:lnTo>
                    <a:pt x="917471" y="1400598"/>
                  </a:lnTo>
                  <a:lnTo>
                    <a:pt x="914717" y="1399024"/>
                  </a:lnTo>
                  <a:lnTo>
                    <a:pt x="911569" y="1397450"/>
                  </a:lnTo>
                  <a:lnTo>
                    <a:pt x="909996" y="1397057"/>
                  </a:lnTo>
                  <a:lnTo>
                    <a:pt x="907241" y="1396663"/>
                  </a:lnTo>
                  <a:lnTo>
                    <a:pt x="904488" y="1398237"/>
                  </a:lnTo>
                  <a:lnTo>
                    <a:pt x="902127" y="1399024"/>
                  </a:lnTo>
                  <a:lnTo>
                    <a:pt x="898586" y="1400204"/>
                  </a:lnTo>
                  <a:lnTo>
                    <a:pt x="891111" y="1400598"/>
                  </a:lnTo>
                  <a:lnTo>
                    <a:pt x="888750" y="1400598"/>
                  </a:lnTo>
                  <a:lnTo>
                    <a:pt x="885997" y="1399811"/>
                  </a:lnTo>
                  <a:lnTo>
                    <a:pt x="884030" y="1399811"/>
                  </a:lnTo>
                  <a:lnTo>
                    <a:pt x="882456" y="1399418"/>
                  </a:lnTo>
                  <a:lnTo>
                    <a:pt x="878915" y="1397844"/>
                  </a:lnTo>
                  <a:lnTo>
                    <a:pt x="874194" y="1394696"/>
                  </a:lnTo>
                  <a:lnTo>
                    <a:pt x="871440" y="1393123"/>
                  </a:lnTo>
                  <a:lnTo>
                    <a:pt x="868686" y="1391156"/>
                  </a:lnTo>
                  <a:lnTo>
                    <a:pt x="865932" y="1389975"/>
                  </a:lnTo>
                  <a:lnTo>
                    <a:pt x="864358" y="1389975"/>
                  </a:lnTo>
                  <a:lnTo>
                    <a:pt x="860817" y="1388402"/>
                  </a:lnTo>
                  <a:lnTo>
                    <a:pt x="860030" y="1388008"/>
                  </a:lnTo>
                  <a:lnTo>
                    <a:pt x="858850" y="1387615"/>
                  </a:lnTo>
                  <a:lnTo>
                    <a:pt x="853342" y="1384861"/>
                  </a:lnTo>
                  <a:lnTo>
                    <a:pt x="849014" y="1382500"/>
                  </a:lnTo>
                  <a:lnTo>
                    <a:pt x="847441" y="1381320"/>
                  </a:lnTo>
                  <a:lnTo>
                    <a:pt x="846654" y="1381320"/>
                  </a:lnTo>
                  <a:lnTo>
                    <a:pt x="846260" y="1378566"/>
                  </a:lnTo>
                  <a:lnTo>
                    <a:pt x="846654" y="1375419"/>
                  </a:lnTo>
                  <a:lnTo>
                    <a:pt x="844293" y="1372664"/>
                  </a:lnTo>
                  <a:lnTo>
                    <a:pt x="841539" y="1372271"/>
                  </a:lnTo>
                  <a:lnTo>
                    <a:pt x="835245" y="1371878"/>
                  </a:lnTo>
                  <a:lnTo>
                    <a:pt x="835245" y="1371484"/>
                  </a:lnTo>
                  <a:lnTo>
                    <a:pt x="832490" y="1370697"/>
                  </a:lnTo>
                  <a:lnTo>
                    <a:pt x="829343" y="1371878"/>
                  </a:lnTo>
                  <a:lnTo>
                    <a:pt x="827769" y="1371878"/>
                  </a:lnTo>
                  <a:lnTo>
                    <a:pt x="817147" y="1362042"/>
                  </a:lnTo>
                  <a:lnTo>
                    <a:pt x="815180" y="1354174"/>
                  </a:lnTo>
                  <a:lnTo>
                    <a:pt x="821475" y="1347485"/>
                  </a:lnTo>
                  <a:lnTo>
                    <a:pt x="822655" y="1346698"/>
                  </a:lnTo>
                  <a:lnTo>
                    <a:pt x="825409" y="1345125"/>
                  </a:lnTo>
                  <a:lnTo>
                    <a:pt x="828163" y="1342764"/>
                  </a:lnTo>
                  <a:lnTo>
                    <a:pt x="830917" y="1341584"/>
                  </a:lnTo>
                  <a:lnTo>
                    <a:pt x="832490" y="1338830"/>
                  </a:lnTo>
                  <a:lnTo>
                    <a:pt x="835245" y="1337256"/>
                  </a:lnTo>
                  <a:lnTo>
                    <a:pt x="836031" y="1334502"/>
                  </a:lnTo>
                  <a:lnTo>
                    <a:pt x="838786" y="1331748"/>
                  </a:lnTo>
                  <a:lnTo>
                    <a:pt x="840359" y="1328994"/>
                  </a:lnTo>
                  <a:lnTo>
                    <a:pt x="841933" y="1326634"/>
                  </a:lnTo>
                  <a:lnTo>
                    <a:pt x="843506" y="1323486"/>
                  </a:lnTo>
                  <a:lnTo>
                    <a:pt x="843506" y="1327814"/>
                  </a:lnTo>
                  <a:lnTo>
                    <a:pt x="845080" y="1325060"/>
                  </a:lnTo>
                  <a:lnTo>
                    <a:pt x="845474" y="1322306"/>
                  </a:lnTo>
                  <a:lnTo>
                    <a:pt x="843506" y="1319158"/>
                  </a:lnTo>
                  <a:lnTo>
                    <a:pt x="843506" y="1313651"/>
                  </a:lnTo>
                  <a:lnTo>
                    <a:pt x="843113" y="1312077"/>
                  </a:lnTo>
                  <a:lnTo>
                    <a:pt x="843113" y="1309323"/>
                  </a:lnTo>
                  <a:lnTo>
                    <a:pt x="840359" y="1308536"/>
                  </a:lnTo>
                  <a:lnTo>
                    <a:pt x="837605" y="1306569"/>
                  </a:lnTo>
                  <a:lnTo>
                    <a:pt x="834851" y="1304995"/>
                  </a:lnTo>
                  <a:lnTo>
                    <a:pt x="834064" y="1304602"/>
                  </a:lnTo>
                  <a:lnTo>
                    <a:pt x="829343" y="1297520"/>
                  </a:lnTo>
                  <a:lnTo>
                    <a:pt x="829343" y="1284930"/>
                  </a:lnTo>
                  <a:lnTo>
                    <a:pt x="832490" y="1283357"/>
                  </a:lnTo>
                  <a:lnTo>
                    <a:pt x="835245" y="1281783"/>
                  </a:lnTo>
                  <a:lnTo>
                    <a:pt x="837998" y="1279423"/>
                  </a:lnTo>
                  <a:lnTo>
                    <a:pt x="840753" y="1273914"/>
                  </a:lnTo>
                  <a:lnTo>
                    <a:pt x="842326" y="1271161"/>
                  </a:lnTo>
                  <a:lnTo>
                    <a:pt x="845474" y="1268800"/>
                  </a:lnTo>
                  <a:lnTo>
                    <a:pt x="845080" y="1266046"/>
                  </a:lnTo>
                  <a:lnTo>
                    <a:pt x="843900" y="1263292"/>
                  </a:lnTo>
                  <a:lnTo>
                    <a:pt x="840753" y="1261718"/>
                  </a:lnTo>
                  <a:lnTo>
                    <a:pt x="837998" y="1264472"/>
                  </a:lnTo>
                  <a:lnTo>
                    <a:pt x="835245" y="1266833"/>
                  </a:lnTo>
                  <a:lnTo>
                    <a:pt x="832490" y="1268013"/>
                  </a:lnTo>
                  <a:lnTo>
                    <a:pt x="829736" y="1270374"/>
                  </a:lnTo>
                  <a:lnTo>
                    <a:pt x="826589" y="1272734"/>
                  </a:lnTo>
                  <a:lnTo>
                    <a:pt x="826196" y="1273128"/>
                  </a:lnTo>
                  <a:lnTo>
                    <a:pt x="822655" y="1271554"/>
                  </a:lnTo>
                  <a:lnTo>
                    <a:pt x="822261" y="1270374"/>
                  </a:lnTo>
                  <a:lnTo>
                    <a:pt x="821475" y="1270767"/>
                  </a:lnTo>
                  <a:lnTo>
                    <a:pt x="822261" y="1269980"/>
                  </a:lnTo>
                  <a:lnTo>
                    <a:pt x="823835" y="1267620"/>
                  </a:lnTo>
                  <a:lnTo>
                    <a:pt x="822261" y="1266046"/>
                  </a:lnTo>
                  <a:lnTo>
                    <a:pt x="819901" y="1260145"/>
                  </a:lnTo>
                  <a:lnTo>
                    <a:pt x="819901" y="1259358"/>
                  </a:lnTo>
                  <a:lnTo>
                    <a:pt x="819508" y="1256604"/>
                  </a:lnTo>
                  <a:lnTo>
                    <a:pt x="816753" y="1255817"/>
                  </a:lnTo>
                  <a:lnTo>
                    <a:pt x="814393" y="1255423"/>
                  </a:lnTo>
                  <a:lnTo>
                    <a:pt x="810852" y="1255030"/>
                  </a:lnTo>
                  <a:lnTo>
                    <a:pt x="810459" y="1254637"/>
                  </a:lnTo>
                  <a:lnTo>
                    <a:pt x="810459" y="1253063"/>
                  </a:lnTo>
                  <a:lnTo>
                    <a:pt x="807705" y="1251883"/>
                  </a:lnTo>
                  <a:lnTo>
                    <a:pt x="804557" y="1251883"/>
                  </a:lnTo>
                  <a:lnTo>
                    <a:pt x="801803" y="1253063"/>
                  </a:lnTo>
                  <a:lnTo>
                    <a:pt x="798656" y="1254243"/>
                  </a:lnTo>
                  <a:lnTo>
                    <a:pt x="795902" y="1255423"/>
                  </a:lnTo>
                  <a:lnTo>
                    <a:pt x="793148" y="1255817"/>
                  </a:lnTo>
                  <a:lnTo>
                    <a:pt x="790394" y="1257391"/>
                  </a:lnTo>
                  <a:lnTo>
                    <a:pt x="788427" y="1257784"/>
                  </a:lnTo>
                  <a:lnTo>
                    <a:pt x="785673" y="1260145"/>
                  </a:lnTo>
                  <a:lnTo>
                    <a:pt x="783312" y="1262899"/>
                  </a:lnTo>
                  <a:lnTo>
                    <a:pt x="778198" y="1264472"/>
                  </a:lnTo>
                  <a:lnTo>
                    <a:pt x="777411" y="1264472"/>
                  </a:lnTo>
                  <a:lnTo>
                    <a:pt x="775837" y="1265259"/>
                  </a:lnTo>
                  <a:lnTo>
                    <a:pt x="767182" y="1266046"/>
                  </a:lnTo>
                  <a:lnTo>
                    <a:pt x="767182" y="1266046"/>
                  </a:lnTo>
                  <a:lnTo>
                    <a:pt x="764428" y="1265259"/>
                  </a:lnTo>
                  <a:lnTo>
                    <a:pt x="762461" y="1266439"/>
                  </a:lnTo>
                  <a:lnTo>
                    <a:pt x="752232" y="1267226"/>
                  </a:lnTo>
                  <a:lnTo>
                    <a:pt x="753018" y="1264472"/>
                  </a:lnTo>
                  <a:lnTo>
                    <a:pt x="750265" y="1264472"/>
                  </a:lnTo>
                  <a:lnTo>
                    <a:pt x="747117" y="1264079"/>
                  </a:lnTo>
                  <a:lnTo>
                    <a:pt x="744363" y="1261718"/>
                  </a:lnTo>
                  <a:lnTo>
                    <a:pt x="741609" y="1260931"/>
                  </a:lnTo>
                  <a:lnTo>
                    <a:pt x="738855" y="1261325"/>
                  </a:lnTo>
                  <a:lnTo>
                    <a:pt x="738462" y="1261325"/>
                  </a:lnTo>
                  <a:lnTo>
                    <a:pt x="720364" y="1264472"/>
                  </a:lnTo>
                  <a:lnTo>
                    <a:pt x="718397" y="1262112"/>
                  </a:lnTo>
                  <a:lnTo>
                    <a:pt x="715250" y="1260538"/>
                  </a:lnTo>
                  <a:lnTo>
                    <a:pt x="712495" y="1261325"/>
                  </a:lnTo>
                  <a:lnTo>
                    <a:pt x="710135" y="1264079"/>
                  </a:lnTo>
                  <a:lnTo>
                    <a:pt x="710528" y="1265653"/>
                  </a:lnTo>
                  <a:lnTo>
                    <a:pt x="702660" y="1268800"/>
                  </a:lnTo>
                  <a:lnTo>
                    <a:pt x="701873" y="1269193"/>
                  </a:lnTo>
                  <a:lnTo>
                    <a:pt x="699119" y="1269587"/>
                  </a:lnTo>
                  <a:lnTo>
                    <a:pt x="695972" y="1269193"/>
                  </a:lnTo>
                  <a:lnTo>
                    <a:pt x="693218" y="1270767"/>
                  </a:lnTo>
                  <a:lnTo>
                    <a:pt x="690070" y="1273914"/>
                  </a:lnTo>
                  <a:lnTo>
                    <a:pt x="687316" y="1275095"/>
                  </a:lnTo>
                  <a:lnTo>
                    <a:pt x="677481" y="1272734"/>
                  </a:lnTo>
                  <a:lnTo>
                    <a:pt x="675907" y="1269980"/>
                  </a:lnTo>
                  <a:lnTo>
                    <a:pt x="675514" y="1269587"/>
                  </a:lnTo>
                  <a:lnTo>
                    <a:pt x="672366" y="1268406"/>
                  </a:lnTo>
                  <a:lnTo>
                    <a:pt x="669612" y="1266833"/>
                  </a:lnTo>
                  <a:lnTo>
                    <a:pt x="666858" y="1267226"/>
                  </a:lnTo>
                  <a:lnTo>
                    <a:pt x="664104" y="1267226"/>
                  </a:lnTo>
                  <a:lnTo>
                    <a:pt x="661350" y="1267226"/>
                  </a:lnTo>
                  <a:lnTo>
                    <a:pt x="658596" y="1266833"/>
                  </a:lnTo>
                  <a:lnTo>
                    <a:pt x="655448" y="1266439"/>
                  </a:lnTo>
                  <a:lnTo>
                    <a:pt x="652695" y="1266833"/>
                  </a:lnTo>
                  <a:lnTo>
                    <a:pt x="648760" y="1266833"/>
                  </a:lnTo>
                  <a:lnTo>
                    <a:pt x="646007" y="1266833"/>
                  </a:lnTo>
                  <a:lnTo>
                    <a:pt x="643252" y="1266439"/>
                  </a:lnTo>
                  <a:lnTo>
                    <a:pt x="640105" y="1267226"/>
                  </a:lnTo>
                  <a:lnTo>
                    <a:pt x="637351" y="1269193"/>
                  </a:lnTo>
                  <a:lnTo>
                    <a:pt x="630269" y="1270767"/>
                  </a:lnTo>
                  <a:lnTo>
                    <a:pt x="628302" y="1270767"/>
                  </a:lnTo>
                  <a:lnTo>
                    <a:pt x="625548" y="1269980"/>
                  </a:lnTo>
                  <a:lnTo>
                    <a:pt x="623974" y="1272341"/>
                  </a:lnTo>
                  <a:lnTo>
                    <a:pt x="618860" y="1269980"/>
                  </a:lnTo>
                  <a:lnTo>
                    <a:pt x="582271" y="1278636"/>
                  </a:lnTo>
                  <a:lnTo>
                    <a:pt x="579517" y="1279029"/>
                  </a:lnTo>
                  <a:lnTo>
                    <a:pt x="576763" y="1279423"/>
                  </a:lnTo>
                  <a:lnTo>
                    <a:pt x="574009" y="1279029"/>
                  </a:lnTo>
                  <a:lnTo>
                    <a:pt x="571256" y="1279423"/>
                  </a:lnTo>
                  <a:lnTo>
                    <a:pt x="568108" y="1279423"/>
                  </a:lnTo>
                  <a:lnTo>
                    <a:pt x="565354" y="1280209"/>
                  </a:lnTo>
                  <a:lnTo>
                    <a:pt x="562600" y="1280996"/>
                  </a:lnTo>
                  <a:lnTo>
                    <a:pt x="559846" y="1283357"/>
                  </a:lnTo>
                  <a:lnTo>
                    <a:pt x="557092" y="1284537"/>
                  </a:lnTo>
                  <a:lnTo>
                    <a:pt x="555518" y="1285324"/>
                  </a:lnTo>
                  <a:lnTo>
                    <a:pt x="552764" y="1285717"/>
                  </a:lnTo>
                  <a:lnTo>
                    <a:pt x="550010" y="1287291"/>
                  </a:lnTo>
                  <a:lnTo>
                    <a:pt x="547256" y="1288865"/>
                  </a:lnTo>
                  <a:lnTo>
                    <a:pt x="544109" y="1290045"/>
                  </a:lnTo>
                  <a:lnTo>
                    <a:pt x="538601" y="1294766"/>
                  </a:lnTo>
                  <a:lnTo>
                    <a:pt x="537814" y="1295160"/>
                  </a:lnTo>
                  <a:lnTo>
                    <a:pt x="536240" y="1299094"/>
                  </a:lnTo>
                  <a:lnTo>
                    <a:pt x="533880" y="1301848"/>
                  </a:lnTo>
                  <a:lnTo>
                    <a:pt x="531126" y="1303421"/>
                  </a:lnTo>
                  <a:lnTo>
                    <a:pt x="530732" y="1303815"/>
                  </a:lnTo>
                  <a:lnTo>
                    <a:pt x="525618" y="1302241"/>
                  </a:lnTo>
                  <a:lnTo>
                    <a:pt x="522864" y="1299881"/>
                  </a:lnTo>
                  <a:lnTo>
                    <a:pt x="517749" y="1304602"/>
                  </a:lnTo>
                  <a:lnTo>
                    <a:pt x="514209" y="1305782"/>
                  </a:lnTo>
                  <a:lnTo>
                    <a:pt x="511454" y="1304208"/>
                  </a:lnTo>
                  <a:lnTo>
                    <a:pt x="508307" y="1306175"/>
                  </a:lnTo>
                  <a:lnTo>
                    <a:pt x="505553" y="1307356"/>
                  </a:lnTo>
                  <a:lnTo>
                    <a:pt x="502799" y="1309323"/>
                  </a:lnTo>
                  <a:lnTo>
                    <a:pt x="500045" y="1312077"/>
                  </a:lnTo>
                  <a:lnTo>
                    <a:pt x="498865" y="1314437"/>
                  </a:lnTo>
                  <a:lnTo>
                    <a:pt x="495324" y="1319552"/>
                  </a:lnTo>
                  <a:lnTo>
                    <a:pt x="492570" y="1319945"/>
                  </a:lnTo>
                  <a:lnTo>
                    <a:pt x="489816" y="1321519"/>
                  </a:lnTo>
                  <a:lnTo>
                    <a:pt x="487455" y="1323486"/>
                  </a:lnTo>
                  <a:lnTo>
                    <a:pt x="480767" y="1327027"/>
                  </a:lnTo>
                  <a:lnTo>
                    <a:pt x="472899" y="1327420"/>
                  </a:lnTo>
                  <a:lnTo>
                    <a:pt x="472112" y="1327027"/>
                  </a:lnTo>
                  <a:lnTo>
                    <a:pt x="472112" y="1327420"/>
                  </a:lnTo>
                  <a:lnTo>
                    <a:pt x="471325" y="1327420"/>
                  </a:lnTo>
                  <a:lnTo>
                    <a:pt x="468571" y="1326240"/>
                  </a:lnTo>
                  <a:lnTo>
                    <a:pt x="467784" y="1326240"/>
                  </a:lnTo>
                  <a:lnTo>
                    <a:pt x="454408" y="1321912"/>
                  </a:lnTo>
                  <a:cubicBezTo>
                    <a:pt x="455195" y="1321126"/>
                    <a:pt x="455588" y="1319945"/>
                    <a:pt x="455588" y="1318765"/>
                  </a:cubicBezTo>
                  <a:cubicBezTo>
                    <a:pt x="455588" y="1316405"/>
                    <a:pt x="453621" y="1314437"/>
                    <a:pt x="451260" y="1314437"/>
                  </a:cubicBezTo>
                  <a:cubicBezTo>
                    <a:pt x="448899" y="1314437"/>
                    <a:pt x="446932" y="1316405"/>
                    <a:pt x="446932" y="1318765"/>
                  </a:cubicBezTo>
                  <a:cubicBezTo>
                    <a:pt x="446932" y="1319158"/>
                    <a:pt x="446932" y="1319158"/>
                    <a:pt x="446932" y="1319552"/>
                  </a:cubicBezTo>
                  <a:lnTo>
                    <a:pt x="432376" y="1321912"/>
                  </a:lnTo>
                  <a:lnTo>
                    <a:pt x="430802" y="1321126"/>
                  </a:lnTo>
                  <a:lnTo>
                    <a:pt x="427655" y="1321126"/>
                  </a:lnTo>
                  <a:lnTo>
                    <a:pt x="426081" y="1323093"/>
                  </a:lnTo>
                  <a:lnTo>
                    <a:pt x="423327" y="1322699"/>
                  </a:lnTo>
                  <a:lnTo>
                    <a:pt x="420573" y="1322306"/>
                  </a:lnTo>
                  <a:lnTo>
                    <a:pt x="417819" y="1323486"/>
                  </a:lnTo>
                  <a:lnTo>
                    <a:pt x="415065" y="1323880"/>
                  </a:lnTo>
                  <a:lnTo>
                    <a:pt x="406016" y="1324273"/>
                  </a:lnTo>
                  <a:lnTo>
                    <a:pt x="392640" y="1317191"/>
                  </a:lnTo>
                  <a:lnTo>
                    <a:pt x="390279" y="1315224"/>
                  </a:lnTo>
                  <a:lnTo>
                    <a:pt x="384771" y="1303815"/>
                  </a:lnTo>
                  <a:cubicBezTo>
                    <a:pt x="385558" y="1303028"/>
                    <a:pt x="385951" y="1302241"/>
                    <a:pt x="385951" y="1301061"/>
                  </a:cubicBezTo>
                  <a:cubicBezTo>
                    <a:pt x="385951" y="1298700"/>
                    <a:pt x="383984" y="1296733"/>
                    <a:pt x="381624" y="1296733"/>
                  </a:cubicBezTo>
                  <a:cubicBezTo>
                    <a:pt x="379263" y="1296733"/>
                    <a:pt x="377296" y="1298700"/>
                    <a:pt x="377296" y="1301061"/>
                  </a:cubicBezTo>
                  <a:cubicBezTo>
                    <a:pt x="377296" y="1301454"/>
                    <a:pt x="377296" y="1301454"/>
                    <a:pt x="377296" y="1301848"/>
                  </a:cubicBezTo>
                  <a:lnTo>
                    <a:pt x="376116" y="1302241"/>
                  </a:lnTo>
                  <a:lnTo>
                    <a:pt x="373362" y="1301848"/>
                  </a:lnTo>
                  <a:lnTo>
                    <a:pt x="370608" y="1303421"/>
                  </a:lnTo>
                  <a:lnTo>
                    <a:pt x="367854" y="1303028"/>
                  </a:lnTo>
                  <a:lnTo>
                    <a:pt x="366674" y="1306175"/>
                  </a:lnTo>
                  <a:lnTo>
                    <a:pt x="365100" y="1308929"/>
                  </a:lnTo>
                  <a:lnTo>
                    <a:pt x="363919" y="1311683"/>
                  </a:lnTo>
                  <a:lnTo>
                    <a:pt x="362739" y="1314831"/>
                  </a:lnTo>
                  <a:lnTo>
                    <a:pt x="361559" y="1317191"/>
                  </a:lnTo>
                  <a:lnTo>
                    <a:pt x="358411" y="1324667"/>
                  </a:lnTo>
                  <a:lnTo>
                    <a:pt x="357625" y="1325847"/>
                  </a:lnTo>
                  <a:lnTo>
                    <a:pt x="356444" y="1328994"/>
                  </a:lnTo>
                  <a:lnTo>
                    <a:pt x="356051" y="1329781"/>
                  </a:lnTo>
                  <a:lnTo>
                    <a:pt x="343461" y="1352600"/>
                  </a:lnTo>
                  <a:lnTo>
                    <a:pt x="343068" y="1352993"/>
                  </a:lnTo>
                  <a:lnTo>
                    <a:pt x="342281" y="1354567"/>
                  </a:lnTo>
                  <a:lnTo>
                    <a:pt x="340707" y="1357321"/>
                  </a:lnTo>
                  <a:lnTo>
                    <a:pt x="337167" y="1362042"/>
                  </a:lnTo>
                  <a:lnTo>
                    <a:pt x="326937" y="1369517"/>
                  </a:lnTo>
                  <a:lnTo>
                    <a:pt x="324184" y="1371091"/>
                  </a:lnTo>
                  <a:lnTo>
                    <a:pt x="323397" y="1371878"/>
                  </a:lnTo>
                  <a:lnTo>
                    <a:pt x="319069" y="1374238"/>
                  </a:lnTo>
                  <a:lnTo>
                    <a:pt x="313561" y="1376599"/>
                  </a:lnTo>
                  <a:lnTo>
                    <a:pt x="313167" y="1376599"/>
                  </a:lnTo>
                  <a:lnTo>
                    <a:pt x="312381" y="1376992"/>
                  </a:lnTo>
                  <a:lnTo>
                    <a:pt x="307660" y="1378959"/>
                  </a:lnTo>
                  <a:lnTo>
                    <a:pt x="307266" y="1378959"/>
                  </a:lnTo>
                  <a:lnTo>
                    <a:pt x="304512" y="1380533"/>
                  </a:lnTo>
                  <a:lnTo>
                    <a:pt x="302938" y="1381320"/>
                  </a:lnTo>
                  <a:lnTo>
                    <a:pt x="299791" y="1382894"/>
                  </a:lnTo>
                  <a:lnTo>
                    <a:pt x="297037" y="1383287"/>
                  </a:lnTo>
                  <a:lnTo>
                    <a:pt x="294283" y="1384467"/>
                  </a:lnTo>
                  <a:lnTo>
                    <a:pt x="293103" y="1386041"/>
                  </a:lnTo>
                  <a:lnTo>
                    <a:pt x="289956" y="1388402"/>
                  </a:lnTo>
                  <a:lnTo>
                    <a:pt x="287201" y="1388795"/>
                  </a:lnTo>
                  <a:lnTo>
                    <a:pt x="284841" y="1391942"/>
                  </a:lnTo>
                  <a:lnTo>
                    <a:pt x="282874" y="1394696"/>
                  </a:lnTo>
                  <a:lnTo>
                    <a:pt x="280513" y="1397450"/>
                  </a:lnTo>
                  <a:lnTo>
                    <a:pt x="277366" y="1400598"/>
                  </a:lnTo>
                  <a:lnTo>
                    <a:pt x="274612" y="1402958"/>
                  </a:lnTo>
                  <a:lnTo>
                    <a:pt x="271858" y="1405712"/>
                  </a:lnTo>
                  <a:lnTo>
                    <a:pt x="271464" y="1406106"/>
                  </a:lnTo>
                  <a:lnTo>
                    <a:pt x="268710" y="1408466"/>
                  </a:lnTo>
                  <a:lnTo>
                    <a:pt x="265956" y="1411220"/>
                  </a:lnTo>
                  <a:lnTo>
                    <a:pt x="265170" y="1413974"/>
                  </a:lnTo>
                  <a:lnTo>
                    <a:pt x="264776" y="1416728"/>
                  </a:lnTo>
                  <a:lnTo>
                    <a:pt x="264776" y="1419876"/>
                  </a:lnTo>
                  <a:lnTo>
                    <a:pt x="264383" y="1422630"/>
                  </a:lnTo>
                  <a:lnTo>
                    <a:pt x="263989" y="1423810"/>
                  </a:lnTo>
                  <a:lnTo>
                    <a:pt x="263202" y="1425384"/>
                  </a:lnTo>
                  <a:lnTo>
                    <a:pt x="262416" y="1427351"/>
                  </a:lnTo>
                  <a:lnTo>
                    <a:pt x="261629" y="1428925"/>
                  </a:lnTo>
                  <a:lnTo>
                    <a:pt x="259268" y="1431285"/>
                  </a:lnTo>
                  <a:lnTo>
                    <a:pt x="256908" y="1434039"/>
                  </a:lnTo>
                  <a:lnTo>
                    <a:pt x="254153" y="1436793"/>
                  </a:lnTo>
                  <a:lnTo>
                    <a:pt x="251400" y="1439940"/>
                  </a:lnTo>
                  <a:lnTo>
                    <a:pt x="251006" y="1442694"/>
                  </a:lnTo>
                  <a:lnTo>
                    <a:pt x="249039" y="1445448"/>
                  </a:lnTo>
                  <a:lnTo>
                    <a:pt x="247465" y="1448596"/>
                  </a:lnTo>
                  <a:lnTo>
                    <a:pt x="247072" y="1451350"/>
                  </a:lnTo>
                  <a:lnTo>
                    <a:pt x="247465" y="1454104"/>
                  </a:lnTo>
                  <a:lnTo>
                    <a:pt x="246679" y="1457251"/>
                  </a:lnTo>
                  <a:lnTo>
                    <a:pt x="245892" y="1460005"/>
                  </a:lnTo>
                  <a:lnTo>
                    <a:pt x="246285" y="1462759"/>
                  </a:lnTo>
                  <a:lnTo>
                    <a:pt x="245892" y="1465513"/>
                  </a:lnTo>
                  <a:lnTo>
                    <a:pt x="246285" y="1467480"/>
                  </a:lnTo>
                  <a:lnTo>
                    <a:pt x="245892" y="1470628"/>
                  </a:lnTo>
                  <a:lnTo>
                    <a:pt x="244318" y="1473382"/>
                  </a:lnTo>
                  <a:lnTo>
                    <a:pt x="243924" y="1476136"/>
                  </a:lnTo>
                  <a:lnTo>
                    <a:pt x="246679" y="1476922"/>
                  </a:lnTo>
                  <a:lnTo>
                    <a:pt x="249039" y="1479676"/>
                  </a:lnTo>
                  <a:lnTo>
                    <a:pt x="250219" y="1482430"/>
                  </a:lnTo>
                  <a:lnTo>
                    <a:pt x="251006" y="1484791"/>
                  </a:lnTo>
                  <a:lnTo>
                    <a:pt x="247465" y="1497381"/>
                  </a:lnTo>
                  <a:lnTo>
                    <a:pt x="245105" y="1502102"/>
                  </a:lnTo>
                  <a:lnTo>
                    <a:pt x="242744" y="1504856"/>
                  </a:lnTo>
                  <a:lnTo>
                    <a:pt x="239990" y="1508003"/>
                  </a:lnTo>
                  <a:lnTo>
                    <a:pt x="238810" y="1509577"/>
                  </a:lnTo>
                  <a:lnTo>
                    <a:pt x="238810" y="1509577"/>
                  </a:lnTo>
                  <a:lnTo>
                    <a:pt x="238810" y="1509577"/>
                  </a:lnTo>
                  <a:lnTo>
                    <a:pt x="238810" y="1509577"/>
                  </a:lnTo>
                  <a:lnTo>
                    <a:pt x="236449" y="1512331"/>
                  </a:lnTo>
                  <a:lnTo>
                    <a:pt x="236449" y="1512724"/>
                  </a:lnTo>
                  <a:lnTo>
                    <a:pt x="228581" y="1523347"/>
                  </a:lnTo>
                  <a:lnTo>
                    <a:pt x="228581" y="1523347"/>
                  </a:lnTo>
                  <a:lnTo>
                    <a:pt x="227794" y="1524527"/>
                  </a:lnTo>
                  <a:lnTo>
                    <a:pt x="225434" y="1527674"/>
                  </a:lnTo>
                  <a:lnTo>
                    <a:pt x="212450" y="1536723"/>
                  </a:lnTo>
                  <a:lnTo>
                    <a:pt x="211664" y="1537117"/>
                  </a:lnTo>
                  <a:lnTo>
                    <a:pt x="208909" y="1539084"/>
                  </a:lnTo>
                  <a:lnTo>
                    <a:pt x="205762" y="1541051"/>
                  </a:lnTo>
                  <a:lnTo>
                    <a:pt x="205369" y="1541838"/>
                  </a:lnTo>
                  <a:lnTo>
                    <a:pt x="178616" y="1561116"/>
                  </a:lnTo>
                  <a:lnTo>
                    <a:pt x="178222" y="1561509"/>
                  </a:lnTo>
                  <a:lnTo>
                    <a:pt x="176649" y="1562689"/>
                  </a:lnTo>
                  <a:lnTo>
                    <a:pt x="171141" y="1563870"/>
                  </a:lnTo>
                  <a:lnTo>
                    <a:pt x="168387" y="1564263"/>
                  </a:lnTo>
                  <a:lnTo>
                    <a:pt x="165632" y="1564657"/>
                  </a:lnTo>
                  <a:lnTo>
                    <a:pt x="162485" y="1565443"/>
                  </a:lnTo>
                  <a:lnTo>
                    <a:pt x="159731" y="1565443"/>
                  </a:lnTo>
                  <a:lnTo>
                    <a:pt x="156977" y="1565837"/>
                  </a:lnTo>
                  <a:lnTo>
                    <a:pt x="154223" y="1566624"/>
                  </a:lnTo>
                  <a:lnTo>
                    <a:pt x="151076" y="1567804"/>
                  </a:lnTo>
                  <a:lnTo>
                    <a:pt x="149895" y="1570558"/>
                  </a:lnTo>
                  <a:lnTo>
                    <a:pt x="148322" y="1573705"/>
                  </a:lnTo>
                  <a:lnTo>
                    <a:pt x="145174" y="1575279"/>
                  </a:lnTo>
                  <a:lnTo>
                    <a:pt x="144781" y="1576459"/>
                  </a:lnTo>
                  <a:lnTo>
                    <a:pt x="143601" y="1579213"/>
                  </a:lnTo>
                  <a:lnTo>
                    <a:pt x="142814" y="1582361"/>
                  </a:lnTo>
                  <a:lnTo>
                    <a:pt x="141240" y="1585115"/>
                  </a:lnTo>
                  <a:lnTo>
                    <a:pt x="140060" y="1587869"/>
                  </a:lnTo>
                  <a:lnTo>
                    <a:pt x="138093" y="1590623"/>
                  </a:lnTo>
                  <a:lnTo>
                    <a:pt x="137699" y="1591803"/>
                  </a:lnTo>
                  <a:lnTo>
                    <a:pt x="136125" y="1597311"/>
                  </a:lnTo>
                  <a:lnTo>
                    <a:pt x="134945" y="1600065"/>
                  </a:lnTo>
                  <a:lnTo>
                    <a:pt x="134158" y="1602819"/>
                  </a:lnTo>
                  <a:lnTo>
                    <a:pt x="132585" y="1605966"/>
                  </a:lnTo>
                  <a:lnTo>
                    <a:pt x="130224" y="1608720"/>
                  </a:lnTo>
                  <a:lnTo>
                    <a:pt x="127470" y="1611081"/>
                  </a:lnTo>
                  <a:lnTo>
                    <a:pt x="124716" y="1612655"/>
                  </a:lnTo>
                  <a:lnTo>
                    <a:pt x="121962" y="1614622"/>
                  </a:lnTo>
                  <a:lnTo>
                    <a:pt x="118815" y="1616589"/>
                  </a:lnTo>
                  <a:lnTo>
                    <a:pt x="116061" y="1617769"/>
                  </a:lnTo>
                  <a:lnTo>
                    <a:pt x="113307" y="1618162"/>
                  </a:lnTo>
                  <a:lnTo>
                    <a:pt x="111340" y="1621310"/>
                  </a:lnTo>
                  <a:lnTo>
                    <a:pt x="108192" y="1623277"/>
                  </a:lnTo>
                  <a:lnTo>
                    <a:pt x="105438" y="1625638"/>
                  </a:lnTo>
                  <a:lnTo>
                    <a:pt x="103865" y="1628392"/>
                  </a:lnTo>
                  <a:lnTo>
                    <a:pt x="103471" y="1631146"/>
                  </a:lnTo>
                  <a:lnTo>
                    <a:pt x="103471" y="1632719"/>
                  </a:lnTo>
                  <a:lnTo>
                    <a:pt x="103471" y="1633113"/>
                  </a:lnTo>
                  <a:lnTo>
                    <a:pt x="103471" y="1633113"/>
                  </a:lnTo>
                  <a:cubicBezTo>
                    <a:pt x="103078" y="1634293"/>
                    <a:pt x="102291" y="1635473"/>
                    <a:pt x="101898" y="1636654"/>
                  </a:cubicBezTo>
                  <a:lnTo>
                    <a:pt x="100717" y="1638621"/>
                  </a:lnTo>
                  <a:lnTo>
                    <a:pt x="99144" y="1641768"/>
                  </a:lnTo>
                  <a:lnTo>
                    <a:pt x="98357" y="1644522"/>
                  </a:lnTo>
                  <a:lnTo>
                    <a:pt x="98357" y="1644522"/>
                  </a:lnTo>
                  <a:cubicBezTo>
                    <a:pt x="97570" y="1646096"/>
                    <a:pt x="96783" y="1648063"/>
                    <a:pt x="95996" y="1649637"/>
                  </a:cubicBezTo>
                  <a:lnTo>
                    <a:pt x="95603" y="1650423"/>
                  </a:lnTo>
                  <a:lnTo>
                    <a:pt x="94029" y="1653178"/>
                  </a:lnTo>
                  <a:lnTo>
                    <a:pt x="92849" y="1655931"/>
                  </a:lnTo>
                  <a:lnTo>
                    <a:pt x="92062" y="1659079"/>
                  </a:lnTo>
                  <a:lnTo>
                    <a:pt x="91669" y="1662226"/>
                  </a:lnTo>
                  <a:lnTo>
                    <a:pt x="91669" y="1664193"/>
                  </a:lnTo>
                  <a:cubicBezTo>
                    <a:pt x="91669" y="1664980"/>
                    <a:pt x="91669" y="1665767"/>
                    <a:pt x="91669" y="1666947"/>
                  </a:cubicBezTo>
                  <a:lnTo>
                    <a:pt x="65703" y="1700782"/>
                  </a:lnTo>
                  <a:lnTo>
                    <a:pt x="62555" y="1702749"/>
                  </a:lnTo>
                  <a:lnTo>
                    <a:pt x="59801" y="1705503"/>
                  </a:lnTo>
                  <a:lnTo>
                    <a:pt x="57834" y="1708651"/>
                  </a:lnTo>
                  <a:lnTo>
                    <a:pt x="56260" y="1711405"/>
                  </a:lnTo>
                  <a:lnTo>
                    <a:pt x="58621" y="1708257"/>
                  </a:lnTo>
                  <a:lnTo>
                    <a:pt x="61374" y="1705897"/>
                  </a:lnTo>
                  <a:lnTo>
                    <a:pt x="62162" y="1708257"/>
                  </a:lnTo>
                  <a:lnTo>
                    <a:pt x="60981" y="1711011"/>
                  </a:lnTo>
                  <a:lnTo>
                    <a:pt x="60588" y="1711798"/>
                  </a:lnTo>
                  <a:lnTo>
                    <a:pt x="58227" y="1714552"/>
                  </a:lnTo>
                  <a:lnTo>
                    <a:pt x="56654" y="1717306"/>
                  </a:lnTo>
                  <a:lnTo>
                    <a:pt x="55867" y="1720453"/>
                  </a:lnTo>
                  <a:lnTo>
                    <a:pt x="53506" y="1723207"/>
                  </a:lnTo>
                  <a:lnTo>
                    <a:pt x="51933" y="1725961"/>
                  </a:lnTo>
                  <a:lnTo>
                    <a:pt x="50752" y="1728715"/>
                  </a:lnTo>
                  <a:lnTo>
                    <a:pt x="48392" y="1731863"/>
                  </a:lnTo>
                  <a:lnTo>
                    <a:pt x="49572" y="1734617"/>
                  </a:lnTo>
                  <a:lnTo>
                    <a:pt x="48392" y="1736977"/>
                  </a:lnTo>
                  <a:lnTo>
                    <a:pt x="45637" y="1738551"/>
                  </a:lnTo>
                  <a:lnTo>
                    <a:pt x="44851" y="1741305"/>
                  </a:lnTo>
                  <a:lnTo>
                    <a:pt x="44064" y="1744452"/>
                  </a:lnTo>
                  <a:lnTo>
                    <a:pt x="43670" y="1747206"/>
                  </a:lnTo>
                  <a:lnTo>
                    <a:pt x="42490" y="1749567"/>
                  </a:lnTo>
                  <a:lnTo>
                    <a:pt x="40916" y="1752321"/>
                  </a:lnTo>
                  <a:lnTo>
                    <a:pt x="40523" y="1753501"/>
                  </a:lnTo>
                  <a:lnTo>
                    <a:pt x="39343" y="1755468"/>
                  </a:lnTo>
                  <a:lnTo>
                    <a:pt x="36589" y="1757829"/>
                  </a:lnTo>
                  <a:lnTo>
                    <a:pt x="33835" y="1757829"/>
                  </a:lnTo>
                  <a:lnTo>
                    <a:pt x="31081" y="1760976"/>
                  </a:lnTo>
                  <a:lnTo>
                    <a:pt x="29114" y="1763730"/>
                  </a:lnTo>
                  <a:lnTo>
                    <a:pt x="26360" y="1769238"/>
                  </a:lnTo>
                  <a:lnTo>
                    <a:pt x="25179" y="1771992"/>
                  </a:lnTo>
                  <a:lnTo>
                    <a:pt x="24393" y="1774353"/>
                  </a:lnTo>
                  <a:lnTo>
                    <a:pt x="24393" y="1774746"/>
                  </a:lnTo>
                  <a:lnTo>
                    <a:pt x="24393" y="1777894"/>
                  </a:lnTo>
                  <a:lnTo>
                    <a:pt x="23606" y="1780648"/>
                  </a:lnTo>
                  <a:lnTo>
                    <a:pt x="23212" y="1783402"/>
                  </a:lnTo>
                  <a:lnTo>
                    <a:pt x="22819" y="1786156"/>
                  </a:lnTo>
                  <a:lnTo>
                    <a:pt x="22426" y="1789303"/>
                  </a:lnTo>
                  <a:lnTo>
                    <a:pt x="22032" y="1790090"/>
                  </a:lnTo>
                  <a:lnTo>
                    <a:pt x="21638" y="1793237"/>
                  </a:lnTo>
                  <a:lnTo>
                    <a:pt x="21245" y="1795991"/>
                  </a:lnTo>
                  <a:lnTo>
                    <a:pt x="20458" y="1798745"/>
                  </a:lnTo>
                  <a:lnTo>
                    <a:pt x="20065" y="1801893"/>
                  </a:lnTo>
                  <a:lnTo>
                    <a:pt x="19278" y="1804647"/>
                  </a:lnTo>
                  <a:lnTo>
                    <a:pt x="19278" y="1807401"/>
                  </a:lnTo>
                  <a:lnTo>
                    <a:pt x="20065" y="1808974"/>
                  </a:lnTo>
                  <a:lnTo>
                    <a:pt x="28720" y="1804647"/>
                  </a:lnTo>
                  <a:lnTo>
                    <a:pt x="29114" y="1805827"/>
                  </a:lnTo>
                  <a:lnTo>
                    <a:pt x="29507" y="1807007"/>
                  </a:lnTo>
                  <a:lnTo>
                    <a:pt x="31081" y="1809761"/>
                  </a:lnTo>
                  <a:lnTo>
                    <a:pt x="31474" y="1812515"/>
                  </a:lnTo>
                  <a:lnTo>
                    <a:pt x="34228" y="1815663"/>
                  </a:lnTo>
                  <a:lnTo>
                    <a:pt x="35015" y="1812515"/>
                  </a:lnTo>
                  <a:lnTo>
                    <a:pt x="36196" y="1810155"/>
                  </a:lnTo>
                  <a:lnTo>
                    <a:pt x="37376" y="1812908"/>
                  </a:lnTo>
                  <a:lnTo>
                    <a:pt x="38949" y="1815269"/>
                  </a:lnTo>
                  <a:lnTo>
                    <a:pt x="43277" y="1834940"/>
                  </a:lnTo>
                  <a:lnTo>
                    <a:pt x="40916" y="1837694"/>
                  </a:lnTo>
                  <a:lnTo>
                    <a:pt x="41703" y="1839268"/>
                  </a:lnTo>
                  <a:lnTo>
                    <a:pt x="38556" y="1848317"/>
                  </a:lnTo>
                  <a:lnTo>
                    <a:pt x="38163" y="1849104"/>
                  </a:lnTo>
                  <a:lnTo>
                    <a:pt x="36196" y="1851858"/>
                  </a:lnTo>
                  <a:lnTo>
                    <a:pt x="35408" y="1854612"/>
                  </a:lnTo>
                  <a:lnTo>
                    <a:pt x="36982" y="1851858"/>
                  </a:lnTo>
                  <a:lnTo>
                    <a:pt x="37376" y="1851464"/>
                  </a:lnTo>
                  <a:lnTo>
                    <a:pt x="36196" y="1855399"/>
                  </a:lnTo>
                  <a:lnTo>
                    <a:pt x="33835" y="1855005"/>
                  </a:lnTo>
                  <a:lnTo>
                    <a:pt x="35015" y="1858153"/>
                  </a:lnTo>
                  <a:lnTo>
                    <a:pt x="35015" y="1858939"/>
                  </a:lnTo>
                  <a:lnTo>
                    <a:pt x="42097" y="1866808"/>
                  </a:lnTo>
                  <a:lnTo>
                    <a:pt x="42490" y="1868382"/>
                  </a:lnTo>
                  <a:lnTo>
                    <a:pt x="44064" y="1875857"/>
                  </a:lnTo>
                  <a:lnTo>
                    <a:pt x="44064" y="1877431"/>
                  </a:lnTo>
                  <a:lnTo>
                    <a:pt x="44457" y="1880184"/>
                  </a:lnTo>
                  <a:lnTo>
                    <a:pt x="45244" y="1882938"/>
                  </a:lnTo>
                  <a:lnTo>
                    <a:pt x="46031" y="1886086"/>
                  </a:lnTo>
                  <a:lnTo>
                    <a:pt x="46425" y="1886873"/>
                  </a:lnTo>
                  <a:lnTo>
                    <a:pt x="35408" y="1941559"/>
                  </a:lnTo>
                  <a:lnTo>
                    <a:pt x="35408" y="1941952"/>
                  </a:lnTo>
                  <a:lnTo>
                    <a:pt x="33835" y="1945100"/>
                  </a:lnTo>
                  <a:lnTo>
                    <a:pt x="32655" y="1948247"/>
                  </a:lnTo>
                  <a:lnTo>
                    <a:pt x="32261" y="1951001"/>
                  </a:lnTo>
                  <a:lnTo>
                    <a:pt x="31867" y="1954149"/>
                  </a:lnTo>
                  <a:lnTo>
                    <a:pt x="31081" y="1956903"/>
                  </a:lnTo>
                  <a:lnTo>
                    <a:pt x="29900" y="1959656"/>
                  </a:lnTo>
                  <a:lnTo>
                    <a:pt x="29900" y="1968312"/>
                  </a:lnTo>
                  <a:lnTo>
                    <a:pt x="29114" y="1976967"/>
                  </a:lnTo>
                  <a:lnTo>
                    <a:pt x="23212" y="1988377"/>
                  </a:lnTo>
                  <a:lnTo>
                    <a:pt x="12590" y="2004507"/>
                  </a:lnTo>
                  <a:lnTo>
                    <a:pt x="9442" y="2008048"/>
                  </a:lnTo>
                  <a:lnTo>
                    <a:pt x="6689" y="2009622"/>
                  </a:lnTo>
                  <a:lnTo>
                    <a:pt x="3541" y="2011195"/>
                  </a:lnTo>
                  <a:lnTo>
                    <a:pt x="787" y="2012376"/>
                  </a:lnTo>
                  <a:lnTo>
                    <a:pt x="0" y="2015523"/>
                  </a:lnTo>
                  <a:lnTo>
                    <a:pt x="3148" y="2013556"/>
                  </a:lnTo>
                  <a:lnTo>
                    <a:pt x="4721" y="2013949"/>
                  </a:lnTo>
                  <a:lnTo>
                    <a:pt x="10229" y="2017884"/>
                  </a:lnTo>
                  <a:lnTo>
                    <a:pt x="11409" y="2020638"/>
                  </a:lnTo>
                  <a:lnTo>
                    <a:pt x="12983" y="2023392"/>
                  </a:lnTo>
                  <a:lnTo>
                    <a:pt x="14557" y="2023785"/>
                  </a:lnTo>
                  <a:lnTo>
                    <a:pt x="16918" y="2028506"/>
                  </a:lnTo>
                  <a:lnTo>
                    <a:pt x="17704" y="2030080"/>
                  </a:lnTo>
                  <a:lnTo>
                    <a:pt x="18098" y="2032834"/>
                  </a:lnTo>
                  <a:lnTo>
                    <a:pt x="19671" y="2034407"/>
                  </a:lnTo>
                  <a:lnTo>
                    <a:pt x="20458" y="2037555"/>
                  </a:lnTo>
                  <a:lnTo>
                    <a:pt x="20458" y="2043456"/>
                  </a:lnTo>
                  <a:lnTo>
                    <a:pt x="20852" y="2040702"/>
                  </a:lnTo>
                  <a:lnTo>
                    <a:pt x="22426" y="2037948"/>
                  </a:lnTo>
                  <a:lnTo>
                    <a:pt x="25573" y="2038342"/>
                  </a:lnTo>
                  <a:lnTo>
                    <a:pt x="27933" y="2035588"/>
                  </a:lnTo>
                  <a:lnTo>
                    <a:pt x="30294" y="2034014"/>
                  </a:lnTo>
                  <a:lnTo>
                    <a:pt x="30294" y="2033621"/>
                  </a:lnTo>
                  <a:lnTo>
                    <a:pt x="30687" y="2032834"/>
                  </a:lnTo>
                  <a:lnTo>
                    <a:pt x="33048" y="2033621"/>
                  </a:lnTo>
                  <a:lnTo>
                    <a:pt x="33441" y="2033621"/>
                  </a:lnTo>
                  <a:lnTo>
                    <a:pt x="30294" y="2034407"/>
                  </a:lnTo>
                  <a:lnTo>
                    <a:pt x="27147" y="2037162"/>
                  </a:lnTo>
                  <a:lnTo>
                    <a:pt x="26753" y="2039129"/>
                  </a:lnTo>
                  <a:lnTo>
                    <a:pt x="23999" y="2039522"/>
                  </a:lnTo>
                  <a:lnTo>
                    <a:pt x="21638" y="2042276"/>
                  </a:lnTo>
                  <a:lnTo>
                    <a:pt x="22032" y="2045030"/>
                  </a:lnTo>
                  <a:lnTo>
                    <a:pt x="24786" y="2044243"/>
                  </a:lnTo>
                  <a:lnTo>
                    <a:pt x="26360" y="2043850"/>
                  </a:lnTo>
                  <a:lnTo>
                    <a:pt x="28327" y="2041096"/>
                  </a:lnTo>
                  <a:lnTo>
                    <a:pt x="29507" y="2039129"/>
                  </a:lnTo>
                  <a:lnTo>
                    <a:pt x="28720" y="2042276"/>
                  </a:lnTo>
                  <a:lnTo>
                    <a:pt x="28720" y="2045030"/>
                  </a:lnTo>
                  <a:lnTo>
                    <a:pt x="29114" y="2046210"/>
                  </a:lnTo>
                  <a:lnTo>
                    <a:pt x="26360" y="2045817"/>
                  </a:lnTo>
                  <a:lnTo>
                    <a:pt x="24786" y="2048571"/>
                  </a:lnTo>
                  <a:lnTo>
                    <a:pt x="27540" y="2049751"/>
                  </a:lnTo>
                  <a:lnTo>
                    <a:pt x="27147" y="2050931"/>
                  </a:lnTo>
                  <a:lnTo>
                    <a:pt x="26753" y="2053292"/>
                  </a:lnTo>
                  <a:lnTo>
                    <a:pt x="26753" y="2056833"/>
                  </a:lnTo>
                  <a:lnTo>
                    <a:pt x="28327" y="2059980"/>
                  </a:lnTo>
                  <a:lnTo>
                    <a:pt x="31081" y="2062341"/>
                  </a:lnTo>
                  <a:lnTo>
                    <a:pt x="33835" y="2061947"/>
                  </a:lnTo>
                  <a:lnTo>
                    <a:pt x="36589" y="2059194"/>
                  </a:lnTo>
                  <a:lnTo>
                    <a:pt x="39736" y="2058407"/>
                  </a:lnTo>
                  <a:lnTo>
                    <a:pt x="42490" y="2058407"/>
                  </a:lnTo>
                  <a:lnTo>
                    <a:pt x="45244" y="2058013"/>
                  </a:lnTo>
                  <a:lnTo>
                    <a:pt x="48392" y="2057620"/>
                  </a:lnTo>
                  <a:lnTo>
                    <a:pt x="51145" y="2057226"/>
                  </a:lnTo>
                  <a:lnTo>
                    <a:pt x="53900" y="2057226"/>
                  </a:lnTo>
                  <a:lnTo>
                    <a:pt x="53113" y="2057620"/>
                  </a:lnTo>
                  <a:lnTo>
                    <a:pt x="50359" y="2058800"/>
                  </a:lnTo>
                  <a:lnTo>
                    <a:pt x="47211" y="2058407"/>
                  </a:lnTo>
                  <a:lnTo>
                    <a:pt x="44457" y="2059194"/>
                  </a:lnTo>
                  <a:lnTo>
                    <a:pt x="41310" y="2059980"/>
                  </a:lnTo>
                  <a:lnTo>
                    <a:pt x="38556" y="2059194"/>
                  </a:lnTo>
                  <a:lnTo>
                    <a:pt x="36196" y="2062341"/>
                  </a:lnTo>
                  <a:lnTo>
                    <a:pt x="38163" y="2063914"/>
                  </a:lnTo>
                  <a:lnTo>
                    <a:pt x="35408" y="2062734"/>
                  </a:lnTo>
                  <a:lnTo>
                    <a:pt x="34228" y="2063128"/>
                  </a:lnTo>
                  <a:lnTo>
                    <a:pt x="25966" y="2061947"/>
                  </a:lnTo>
                  <a:lnTo>
                    <a:pt x="25179" y="2060767"/>
                  </a:lnTo>
                  <a:lnTo>
                    <a:pt x="25573" y="2058013"/>
                  </a:lnTo>
                  <a:lnTo>
                    <a:pt x="22819" y="2057226"/>
                  </a:lnTo>
                  <a:lnTo>
                    <a:pt x="20065" y="2059980"/>
                  </a:lnTo>
                  <a:lnTo>
                    <a:pt x="18491" y="2061161"/>
                  </a:lnTo>
                  <a:lnTo>
                    <a:pt x="18098" y="2063914"/>
                  </a:lnTo>
                  <a:lnTo>
                    <a:pt x="18885" y="2067062"/>
                  </a:lnTo>
                  <a:lnTo>
                    <a:pt x="19278" y="2069816"/>
                  </a:lnTo>
                  <a:lnTo>
                    <a:pt x="20065" y="2071390"/>
                  </a:lnTo>
                  <a:lnTo>
                    <a:pt x="19671" y="2074537"/>
                  </a:lnTo>
                  <a:lnTo>
                    <a:pt x="19278" y="2077291"/>
                  </a:lnTo>
                  <a:lnTo>
                    <a:pt x="17704" y="2080045"/>
                  </a:lnTo>
                  <a:lnTo>
                    <a:pt x="18098" y="2082799"/>
                  </a:lnTo>
                  <a:lnTo>
                    <a:pt x="20852" y="2082406"/>
                  </a:lnTo>
                  <a:lnTo>
                    <a:pt x="18491" y="2085160"/>
                  </a:lnTo>
                  <a:lnTo>
                    <a:pt x="18885" y="2087914"/>
                  </a:lnTo>
                  <a:lnTo>
                    <a:pt x="21638" y="2086340"/>
                  </a:lnTo>
                  <a:lnTo>
                    <a:pt x="22426" y="2083192"/>
                  </a:lnTo>
                  <a:lnTo>
                    <a:pt x="23999" y="2080438"/>
                  </a:lnTo>
                  <a:lnTo>
                    <a:pt x="24393" y="2080045"/>
                  </a:lnTo>
                  <a:lnTo>
                    <a:pt x="22819" y="2083192"/>
                  </a:lnTo>
                  <a:lnTo>
                    <a:pt x="25573" y="2084766"/>
                  </a:lnTo>
                  <a:lnTo>
                    <a:pt x="28720" y="2086733"/>
                  </a:lnTo>
                  <a:lnTo>
                    <a:pt x="31474" y="2086733"/>
                  </a:lnTo>
                  <a:lnTo>
                    <a:pt x="33441" y="2086340"/>
                  </a:lnTo>
                  <a:lnTo>
                    <a:pt x="36196" y="2085946"/>
                  </a:lnTo>
                  <a:lnTo>
                    <a:pt x="38949" y="2085160"/>
                  </a:lnTo>
                  <a:lnTo>
                    <a:pt x="40916" y="2082012"/>
                  </a:lnTo>
                  <a:lnTo>
                    <a:pt x="40916" y="2081619"/>
                  </a:lnTo>
                  <a:lnTo>
                    <a:pt x="42097" y="2084373"/>
                  </a:lnTo>
                  <a:lnTo>
                    <a:pt x="44064" y="2085553"/>
                  </a:lnTo>
                  <a:lnTo>
                    <a:pt x="42490" y="2086340"/>
                  </a:lnTo>
                  <a:lnTo>
                    <a:pt x="39343" y="2085946"/>
                  </a:lnTo>
                  <a:lnTo>
                    <a:pt x="36982" y="2086733"/>
                  </a:lnTo>
                  <a:lnTo>
                    <a:pt x="33048" y="2086733"/>
                  </a:lnTo>
                  <a:lnTo>
                    <a:pt x="26360" y="2086340"/>
                  </a:lnTo>
                  <a:lnTo>
                    <a:pt x="24393" y="2085160"/>
                  </a:lnTo>
                  <a:lnTo>
                    <a:pt x="22819" y="2085946"/>
                  </a:lnTo>
                  <a:lnTo>
                    <a:pt x="20065" y="2087520"/>
                  </a:lnTo>
                  <a:lnTo>
                    <a:pt x="17311" y="2090668"/>
                  </a:lnTo>
                  <a:lnTo>
                    <a:pt x="18885" y="2093421"/>
                  </a:lnTo>
                  <a:lnTo>
                    <a:pt x="19671" y="2095389"/>
                  </a:lnTo>
                  <a:lnTo>
                    <a:pt x="23606" y="2096962"/>
                  </a:lnTo>
                  <a:lnTo>
                    <a:pt x="25573" y="2098536"/>
                  </a:lnTo>
                  <a:lnTo>
                    <a:pt x="28720" y="2100110"/>
                  </a:lnTo>
                  <a:lnTo>
                    <a:pt x="29114" y="2099716"/>
                  </a:lnTo>
                  <a:lnTo>
                    <a:pt x="31867" y="2096962"/>
                  </a:lnTo>
                  <a:lnTo>
                    <a:pt x="34622" y="2096569"/>
                  </a:lnTo>
                  <a:lnTo>
                    <a:pt x="37376" y="2095782"/>
                  </a:lnTo>
                  <a:lnTo>
                    <a:pt x="34228" y="2098143"/>
                  </a:lnTo>
                  <a:lnTo>
                    <a:pt x="31474" y="2100897"/>
                  </a:lnTo>
                  <a:lnTo>
                    <a:pt x="30687" y="2104044"/>
                  </a:lnTo>
                  <a:lnTo>
                    <a:pt x="31081" y="2106405"/>
                  </a:lnTo>
                  <a:lnTo>
                    <a:pt x="31474" y="2107191"/>
                  </a:lnTo>
                  <a:lnTo>
                    <a:pt x="34622" y="2109552"/>
                  </a:lnTo>
                  <a:lnTo>
                    <a:pt x="37376" y="2110339"/>
                  </a:lnTo>
                  <a:lnTo>
                    <a:pt x="40130" y="2109552"/>
                  </a:lnTo>
                  <a:lnTo>
                    <a:pt x="42884" y="2107585"/>
                  </a:lnTo>
                  <a:lnTo>
                    <a:pt x="46425" y="2106405"/>
                  </a:lnTo>
                  <a:lnTo>
                    <a:pt x="49572" y="2106405"/>
                  </a:lnTo>
                  <a:lnTo>
                    <a:pt x="47211" y="2107978"/>
                  </a:lnTo>
                  <a:lnTo>
                    <a:pt x="44064" y="2109552"/>
                  </a:lnTo>
                  <a:lnTo>
                    <a:pt x="42097" y="2112699"/>
                  </a:lnTo>
                  <a:lnTo>
                    <a:pt x="41310" y="2115847"/>
                  </a:lnTo>
                  <a:lnTo>
                    <a:pt x="44064" y="2115453"/>
                  </a:lnTo>
                  <a:lnTo>
                    <a:pt x="46818" y="2115060"/>
                  </a:lnTo>
                  <a:lnTo>
                    <a:pt x="49965" y="2113880"/>
                  </a:lnTo>
                  <a:lnTo>
                    <a:pt x="51539" y="2112699"/>
                  </a:lnTo>
                  <a:lnTo>
                    <a:pt x="54293" y="2110339"/>
                  </a:lnTo>
                  <a:lnTo>
                    <a:pt x="60981" y="2109159"/>
                  </a:lnTo>
                  <a:lnTo>
                    <a:pt x="62948" y="2110339"/>
                  </a:lnTo>
                  <a:lnTo>
                    <a:pt x="66096" y="2108765"/>
                  </a:lnTo>
                  <a:lnTo>
                    <a:pt x="67670" y="2108372"/>
                  </a:lnTo>
                  <a:lnTo>
                    <a:pt x="70423" y="2107978"/>
                  </a:lnTo>
                  <a:lnTo>
                    <a:pt x="70817" y="2108765"/>
                  </a:lnTo>
                  <a:lnTo>
                    <a:pt x="70423" y="2108765"/>
                  </a:lnTo>
                  <a:lnTo>
                    <a:pt x="69243" y="2110732"/>
                  </a:lnTo>
                  <a:lnTo>
                    <a:pt x="70030" y="2113880"/>
                  </a:lnTo>
                  <a:lnTo>
                    <a:pt x="72391" y="2115453"/>
                  </a:lnTo>
                  <a:lnTo>
                    <a:pt x="70030" y="2115060"/>
                  </a:lnTo>
                  <a:lnTo>
                    <a:pt x="68456" y="2114667"/>
                  </a:lnTo>
                  <a:lnTo>
                    <a:pt x="66489" y="2111519"/>
                  </a:lnTo>
                  <a:lnTo>
                    <a:pt x="63342" y="2112306"/>
                  </a:lnTo>
                  <a:lnTo>
                    <a:pt x="60588" y="2111913"/>
                  </a:lnTo>
                  <a:lnTo>
                    <a:pt x="57834" y="2113486"/>
                  </a:lnTo>
                  <a:lnTo>
                    <a:pt x="54293" y="2116240"/>
                  </a:lnTo>
                  <a:lnTo>
                    <a:pt x="55867" y="2119388"/>
                  </a:lnTo>
                  <a:lnTo>
                    <a:pt x="57440" y="2122535"/>
                  </a:lnTo>
                  <a:lnTo>
                    <a:pt x="60194" y="2120175"/>
                  </a:lnTo>
                  <a:lnTo>
                    <a:pt x="59801" y="2122535"/>
                  </a:lnTo>
                  <a:lnTo>
                    <a:pt x="58227" y="2124109"/>
                  </a:lnTo>
                  <a:lnTo>
                    <a:pt x="55473" y="2126469"/>
                  </a:lnTo>
                  <a:lnTo>
                    <a:pt x="56260" y="2129617"/>
                  </a:lnTo>
                  <a:lnTo>
                    <a:pt x="59014" y="2128437"/>
                  </a:lnTo>
                  <a:lnTo>
                    <a:pt x="57047" y="2131584"/>
                  </a:lnTo>
                  <a:lnTo>
                    <a:pt x="59801" y="2132764"/>
                  </a:lnTo>
                  <a:lnTo>
                    <a:pt x="62162" y="2133158"/>
                  </a:lnTo>
                  <a:lnTo>
                    <a:pt x="62948" y="2134731"/>
                  </a:lnTo>
                  <a:lnTo>
                    <a:pt x="62948" y="2136305"/>
                  </a:lnTo>
                  <a:lnTo>
                    <a:pt x="64129" y="2137092"/>
                  </a:lnTo>
                  <a:lnTo>
                    <a:pt x="65703" y="2139059"/>
                  </a:lnTo>
                  <a:lnTo>
                    <a:pt x="65703" y="2140633"/>
                  </a:lnTo>
                  <a:lnTo>
                    <a:pt x="66489" y="2143387"/>
                  </a:lnTo>
                  <a:lnTo>
                    <a:pt x="68063" y="2142600"/>
                  </a:lnTo>
                  <a:lnTo>
                    <a:pt x="68456" y="2142206"/>
                  </a:lnTo>
                  <a:lnTo>
                    <a:pt x="69243" y="2142993"/>
                  </a:lnTo>
                  <a:lnTo>
                    <a:pt x="67670" y="2142993"/>
                  </a:lnTo>
                  <a:lnTo>
                    <a:pt x="67670" y="2143387"/>
                  </a:lnTo>
                  <a:lnTo>
                    <a:pt x="66096" y="2146534"/>
                  </a:lnTo>
                  <a:lnTo>
                    <a:pt x="68063" y="2149288"/>
                  </a:lnTo>
                  <a:lnTo>
                    <a:pt x="69243" y="2149288"/>
                  </a:lnTo>
                  <a:lnTo>
                    <a:pt x="68850" y="2146534"/>
                  </a:lnTo>
                  <a:lnTo>
                    <a:pt x="70423" y="2144174"/>
                  </a:lnTo>
                  <a:lnTo>
                    <a:pt x="75538" y="2148108"/>
                  </a:lnTo>
                  <a:lnTo>
                    <a:pt x="75144" y="2148895"/>
                  </a:lnTo>
                  <a:lnTo>
                    <a:pt x="75538" y="2151649"/>
                  </a:lnTo>
                  <a:lnTo>
                    <a:pt x="77505" y="2149682"/>
                  </a:lnTo>
                  <a:lnTo>
                    <a:pt x="78685" y="2150468"/>
                  </a:lnTo>
                  <a:lnTo>
                    <a:pt x="79079" y="2151649"/>
                  </a:lnTo>
                  <a:lnTo>
                    <a:pt x="79472" y="2150862"/>
                  </a:lnTo>
                  <a:lnTo>
                    <a:pt x="79866" y="2151255"/>
                  </a:lnTo>
                  <a:lnTo>
                    <a:pt x="79472" y="2152829"/>
                  </a:lnTo>
                  <a:lnTo>
                    <a:pt x="79079" y="2155976"/>
                  </a:lnTo>
                  <a:lnTo>
                    <a:pt x="77899" y="2158730"/>
                  </a:lnTo>
                  <a:lnTo>
                    <a:pt x="81046" y="2158730"/>
                  </a:lnTo>
                  <a:lnTo>
                    <a:pt x="81833" y="2157943"/>
                  </a:lnTo>
                  <a:lnTo>
                    <a:pt x="81046" y="2161091"/>
                  </a:lnTo>
                  <a:lnTo>
                    <a:pt x="83800" y="2163845"/>
                  </a:lnTo>
                  <a:lnTo>
                    <a:pt x="83800" y="2166599"/>
                  </a:lnTo>
                  <a:lnTo>
                    <a:pt x="86554" y="2166992"/>
                  </a:lnTo>
                  <a:lnTo>
                    <a:pt x="89308" y="2169746"/>
                  </a:lnTo>
                  <a:lnTo>
                    <a:pt x="92062" y="2170533"/>
                  </a:lnTo>
                  <a:lnTo>
                    <a:pt x="92849" y="2173287"/>
                  </a:lnTo>
                  <a:lnTo>
                    <a:pt x="94816" y="2170140"/>
                  </a:lnTo>
                  <a:lnTo>
                    <a:pt x="96783" y="2169353"/>
                  </a:lnTo>
                  <a:lnTo>
                    <a:pt x="96389" y="2174861"/>
                  </a:lnTo>
                  <a:lnTo>
                    <a:pt x="96783" y="2174861"/>
                  </a:lnTo>
                  <a:lnTo>
                    <a:pt x="99930" y="2177221"/>
                  </a:lnTo>
                  <a:lnTo>
                    <a:pt x="102684" y="2179975"/>
                  </a:lnTo>
                  <a:lnTo>
                    <a:pt x="105438" y="2178402"/>
                  </a:lnTo>
                  <a:lnTo>
                    <a:pt x="106225" y="2176435"/>
                  </a:lnTo>
                  <a:lnTo>
                    <a:pt x="106618" y="2176828"/>
                  </a:lnTo>
                  <a:lnTo>
                    <a:pt x="105438" y="2179975"/>
                  </a:lnTo>
                  <a:lnTo>
                    <a:pt x="104258" y="2182729"/>
                  </a:lnTo>
                  <a:lnTo>
                    <a:pt x="107012" y="2182729"/>
                  </a:lnTo>
                  <a:lnTo>
                    <a:pt x="107406" y="2179975"/>
                  </a:lnTo>
                  <a:lnTo>
                    <a:pt x="109373" y="2183910"/>
                  </a:lnTo>
                  <a:lnTo>
                    <a:pt x="108586" y="2185877"/>
                  </a:lnTo>
                  <a:lnTo>
                    <a:pt x="107406" y="2189024"/>
                  </a:lnTo>
                  <a:lnTo>
                    <a:pt x="110159" y="2191385"/>
                  </a:lnTo>
                  <a:lnTo>
                    <a:pt x="112127" y="2189811"/>
                  </a:lnTo>
                  <a:lnTo>
                    <a:pt x="111340" y="2192565"/>
                  </a:lnTo>
                  <a:lnTo>
                    <a:pt x="113700" y="2194139"/>
                  </a:lnTo>
                  <a:lnTo>
                    <a:pt x="114094" y="2195319"/>
                  </a:lnTo>
                  <a:lnTo>
                    <a:pt x="114094" y="2197286"/>
                  </a:lnTo>
                  <a:lnTo>
                    <a:pt x="114881" y="2197286"/>
                  </a:lnTo>
                  <a:lnTo>
                    <a:pt x="118028" y="2205942"/>
                  </a:lnTo>
                  <a:lnTo>
                    <a:pt x="118028" y="2207515"/>
                  </a:lnTo>
                  <a:lnTo>
                    <a:pt x="119602" y="2218138"/>
                  </a:lnTo>
                  <a:lnTo>
                    <a:pt x="119602" y="2220105"/>
                  </a:lnTo>
                  <a:lnTo>
                    <a:pt x="119995" y="2220498"/>
                  </a:lnTo>
                  <a:lnTo>
                    <a:pt x="121176" y="2223252"/>
                  </a:lnTo>
                  <a:lnTo>
                    <a:pt x="121962" y="2221285"/>
                  </a:lnTo>
                  <a:lnTo>
                    <a:pt x="125503" y="2222859"/>
                  </a:lnTo>
                  <a:lnTo>
                    <a:pt x="131011" y="2223252"/>
                  </a:lnTo>
                  <a:lnTo>
                    <a:pt x="128257" y="2223646"/>
                  </a:lnTo>
                  <a:lnTo>
                    <a:pt x="125503" y="2226006"/>
                  </a:lnTo>
                  <a:lnTo>
                    <a:pt x="123929" y="2227973"/>
                  </a:lnTo>
                  <a:lnTo>
                    <a:pt x="126290" y="2229940"/>
                  </a:lnTo>
                  <a:lnTo>
                    <a:pt x="123536" y="2228367"/>
                  </a:lnTo>
                  <a:lnTo>
                    <a:pt x="120388" y="2226006"/>
                  </a:lnTo>
                  <a:lnTo>
                    <a:pt x="119602" y="2229154"/>
                  </a:lnTo>
                  <a:lnTo>
                    <a:pt x="121962" y="2231908"/>
                  </a:lnTo>
                  <a:lnTo>
                    <a:pt x="122749" y="2235055"/>
                  </a:lnTo>
                  <a:lnTo>
                    <a:pt x="125503" y="2234662"/>
                  </a:lnTo>
                  <a:lnTo>
                    <a:pt x="128257" y="2234268"/>
                  </a:lnTo>
                  <a:lnTo>
                    <a:pt x="128651" y="2246071"/>
                  </a:lnTo>
                  <a:lnTo>
                    <a:pt x="131405" y="2249218"/>
                  </a:lnTo>
                  <a:lnTo>
                    <a:pt x="134158" y="2249218"/>
                  </a:lnTo>
                  <a:lnTo>
                    <a:pt x="134945" y="2251972"/>
                  </a:lnTo>
                  <a:lnTo>
                    <a:pt x="137699" y="2253546"/>
                  </a:lnTo>
                  <a:lnTo>
                    <a:pt x="140847" y="2253153"/>
                  </a:lnTo>
                  <a:lnTo>
                    <a:pt x="141240" y="2252366"/>
                  </a:lnTo>
                  <a:lnTo>
                    <a:pt x="142027" y="2252759"/>
                  </a:lnTo>
                  <a:lnTo>
                    <a:pt x="141634" y="2255513"/>
                  </a:lnTo>
                  <a:lnTo>
                    <a:pt x="144388" y="2257874"/>
                  </a:lnTo>
                  <a:lnTo>
                    <a:pt x="147142" y="2257480"/>
                  </a:lnTo>
                  <a:lnTo>
                    <a:pt x="149895" y="2256300"/>
                  </a:lnTo>
                  <a:lnTo>
                    <a:pt x="151469" y="2256300"/>
                  </a:lnTo>
                  <a:lnTo>
                    <a:pt x="148715" y="2258267"/>
                  </a:lnTo>
                  <a:lnTo>
                    <a:pt x="145961" y="2258661"/>
                  </a:lnTo>
                  <a:lnTo>
                    <a:pt x="142814" y="2260234"/>
                  </a:lnTo>
                  <a:lnTo>
                    <a:pt x="145961" y="2262988"/>
                  </a:lnTo>
                  <a:lnTo>
                    <a:pt x="146355" y="2263382"/>
                  </a:lnTo>
                  <a:lnTo>
                    <a:pt x="143207" y="2262988"/>
                  </a:lnTo>
                  <a:lnTo>
                    <a:pt x="146355" y="2265349"/>
                  </a:lnTo>
                  <a:lnTo>
                    <a:pt x="149109" y="2266923"/>
                  </a:lnTo>
                  <a:lnTo>
                    <a:pt x="151863" y="2268496"/>
                  </a:lnTo>
                  <a:lnTo>
                    <a:pt x="154617" y="2269677"/>
                  </a:lnTo>
                  <a:lnTo>
                    <a:pt x="157764" y="2270857"/>
                  </a:lnTo>
                  <a:lnTo>
                    <a:pt x="158158" y="2270857"/>
                  </a:lnTo>
                  <a:lnTo>
                    <a:pt x="166420" y="2275578"/>
                  </a:lnTo>
                  <a:lnTo>
                    <a:pt x="169173" y="2277545"/>
                  </a:lnTo>
                  <a:lnTo>
                    <a:pt x="169567" y="2277152"/>
                  </a:lnTo>
                  <a:lnTo>
                    <a:pt x="169173" y="2277939"/>
                  </a:lnTo>
                  <a:lnTo>
                    <a:pt x="171928" y="2279512"/>
                  </a:lnTo>
                  <a:lnTo>
                    <a:pt x="173895" y="2281873"/>
                  </a:lnTo>
                  <a:lnTo>
                    <a:pt x="175468" y="2284627"/>
                  </a:lnTo>
                  <a:lnTo>
                    <a:pt x="176649" y="2287774"/>
                  </a:lnTo>
                  <a:lnTo>
                    <a:pt x="179402" y="2288954"/>
                  </a:lnTo>
                  <a:lnTo>
                    <a:pt x="182550" y="2290528"/>
                  </a:lnTo>
                  <a:lnTo>
                    <a:pt x="184124" y="2291315"/>
                  </a:lnTo>
                  <a:lnTo>
                    <a:pt x="192386" y="2297610"/>
                  </a:lnTo>
                  <a:lnTo>
                    <a:pt x="192779" y="2298003"/>
                  </a:lnTo>
                  <a:lnTo>
                    <a:pt x="193959" y="2297610"/>
                  </a:lnTo>
                  <a:lnTo>
                    <a:pt x="193172" y="2298003"/>
                  </a:lnTo>
                  <a:lnTo>
                    <a:pt x="192779" y="2298397"/>
                  </a:lnTo>
                  <a:lnTo>
                    <a:pt x="192779" y="2301151"/>
                  </a:lnTo>
                  <a:lnTo>
                    <a:pt x="195533" y="2303118"/>
                  </a:lnTo>
                  <a:lnTo>
                    <a:pt x="197107" y="2303511"/>
                  </a:lnTo>
                  <a:lnTo>
                    <a:pt x="199861" y="2304691"/>
                  </a:lnTo>
                  <a:lnTo>
                    <a:pt x="203008" y="2305478"/>
                  </a:lnTo>
                  <a:lnTo>
                    <a:pt x="205369" y="2305872"/>
                  </a:lnTo>
                  <a:lnTo>
                    <a:pt x="208123" y="2308626"/>
                  </a:lnTo>
                  <a:lnTo>
                    <a:pt x="210483" y="2311380"/>
                  </a:lnTo>
                  <a:lnTo>
                    <a:pt x="213237" y="2313347"/>
                  </a:lnTo>
                  <a:lnTo>
                    <a:pt x="213631" y="2313740"/>
                  </a:lnTo>
                  <a:lnTo>
                    <a:pt x="215205" y="2316494"/>
                  </a:lnTo>
                  <a:lnTo>
                    <a:pt x="215598" y="2316888"/>
                  </a:lnTo>
                  <a:lnTo>
                    <a:pt x="223466" y="2325543"/>
                  </a:lnTo>
                  <a:lnTo>
                    <a:pt x="227794" y="2329477"/>
                  </a:lnTo>
                  <a:lnTo>
                    <a:pt x="232515" y="2335379"/>
                  </a:lnTo>
                  <a:lnTo>
                    <a:pt x="235269" y="2338133"/>
                  </a:lnTo>
                  <a:lnTo>
                    <a:pt x="238416" y="2340887"/>
                  </a:lnTo>
                  <a:lnTo>
                    <a:pt x="241171" y="2343247"/>
                  </a:lnTo>
                  <a:lnTo>
                    <a:pt x="243924" y="2345214"/>
                  </a:lnTo>
                  <a:lnTo>
                    <a:pt x="247072" y="2346788"/>
                  </a:lnTo>
                  <a:lnTo>
                    <a:pt x="248252" y="2347575"/>
                  </a:lnTo>
                  <a:lnTo>
                    <a:pt x="253760" y="2351509"/>
                  </a:lnTo>
                  <a:lnTo>
                    <a:pt x="259661" y="2354263"/>
                  </a:lnTo>
                  <a:lnTo>
                    <a:pt x="262416" y="2356624"/>
                  </a:lnTo>
                  <a:lnTo>
                    <a:pt x="265170" y="2357411"/>
                  </a:lnTo>
                  <a:lnTo>
                    <a:pt x="267923" y="2360165"/>
                  </a:lnTo>
                  <a:lnTo>
                    <a:pt x="271071" y="2360558"/>
                  </a:lnTo>
                  <a:lnTo>
                    <a:pt x="273825" y="2361738"/>
                  </a:lnTo>
                  <a:lnTo>
                    <a:pt x="276579" y="2362919"/>
                  </a:lnTo>
                  <a:lnTo>
                    <a:pt x="279333" y="2364099"/>
                  </a:lnTo>
                  <a:lnTo>
                    <a:pt x="282087" y="2366459"/>
                  </a:lnTo>
                  <a:lnTo>
                    <a:pt x="282874" y="2366853"/>
                  </a:lnTo>
                  <a:lnTo>
                    <a:pt x="285628" y="2367246"/>
                  </a:lnTo>
                  <a:lnTo>
                    <a:pt x="288775" y="2366853"/>
                  </a:lnTo>
                  <a:lnTo>
                    <a:pt x="291529" y="2367246"/>
                  </a:lnTo>
                  <a:lnTo>
                    <a:pt x="294283" y="2364886"/>
                  </a:lnTo>
                  <a:lnTo>
                    <a:pt x="297037" y="2362919"/>
                  </a:lnTo>
                  <a:lnTo>
                    <a:pt x="298611" y="2361738"/>
                  </a:lnTo>
                  <a:lnTo>
                    <a:pt x="301758" y="2361345"/>
                  </a:lnTo>
                  <a:lnTo>
                    <a:pt x="304512" y="2359771"/>
                  </a:lnTo>
                  <a:lnTo>
                    <a:pt x="305299" y="2358984"/>
                  </a:lnTo>
                  <a:lnTo>
                    <a:pt x="312774" y="2355837"/>
                  </a:lnTo>
                  <a:lnTo>
                    <a:pt x="313167" y="2355837"/>
                  </a:lnTo>
                  <a:lnTo>
                    <a:pt x="315922" y="2354657"/>
                  </a:lnTo>
                  <a:lnTo>
                    <a:pt x="321036" y="2352296"/>
                  </a:lnTo>
                  <a:lnTo>
                    <a:pt x="321823" y="2351903"/>
                  </a:lnTo>
                  <a:lnTo>
                    <a:pt x="322610" y="2351509"/>
                  </a:lnTo>
                  <a:lnTo>
                    <a:pt x="326937" y="2349542"/>
                  </a:lnTo>
                  <a:lnTo>
                    <a:pt x="329692" y="2348362"/>
                  </a:lnTo>
                  <a:lnTo>
                    <a:pt x="332052" y="2346788"/>
                  </a:lnTo>
                  <a:lnTo>
                    <a:pt x="332445" y="2346788"/>
                  </a:lnTo>
                  <a:lnTo>
                    <a:pt x="338347" y="2344034"/>
                  </a:lnTo>
                  <a:lnTo>
                    <a:pt x="351330" y="2341674"/>
                  </a:lnTo>
                  <a:lnTo>
                    <a:pt x="360772" y="2340887"/>
                  </a:lnTo>
                  <a:lnTo>
                    <a:pt x="363133" y="2340887"/>
                  </a:lnTo>
                  <a:lnTo>
                    <a:pt x="363919" y="2340493"/>
                  </a:lnTo>
                  <a:lnTo>
                    <a:pt x="361166" y="2339313"/>
                  </a:lnTo>
                  <a:lnTo>
                    <a:pt x="358411" y="2337739"/>
                  </a:lnTo>
                  <a:lnTo>
                    <a:pt x="356444" y="2338526"/>
                  </a:lnTo>
                  <a:lnTo>
                    <a:pt x="355264" y="2338133"/>
                  </a:lnTo>
                  <a:lnTo>
                    <a:pt x="356444" y="2337346"/>
                  </a:lnTo>
                  <a:lnTo>
                    <a:pt x="358411" y="2337739"/>
                  </a:lnTo>
                  <a:lnTo>
                    <a:pt x="359199" y="2337739"/>
                  </a:lnTo>
                  <a:lnTo>
                    <a:pt x="361952" y="2337739"/>
                  </a:lnTo>
                  <a:lnTo>
                    <a:pt x="364313" y="2337346"/>
                  </a:lnTo>
                  <a:lnTo>
                    <a:pt x="364313" y="2337739"/>
                  </a:lnTo>
                  <a:lnTo>
                    <a:pt x="364313" y="2339707"/>
                  </a:lnTo>
                  <a:lnTo>
                    <a:pt x="367067" y="2340493"/>
                  </a:lnTo>
                  <a:lnTo>
                    <a:pt x="369821" y="2340100"/>
                  </a:lnTo>
                  <a:lnTo>
                    <a:pt x="370608" y="2340100"/>
                  </a:lnTo>
                  <a:lnTo>
                    <a:pt x="373362" y="2339707"/>
                  </a:lnTo>
                  <a:lnTo>
                    <a:pt x="374148" y="2339313"/>
                  </a:lnTo>
                  <a:lnTo>
                    <a:pt x="377296" y="2338526"/>
                  </a:lnTo>
                  <a:lnTo>
                    <a:pt x="379263" y="2338526"/>
                  </a:lnTo>
                  <a:lnTo>
                    <a:pt x="382017" y="2338526"/>
                  </a:lnTo>
                  <a:lnTo>
                    <a:pt x="384771" y="2338133"/>
                  </a:lnTo>
                  <a:lnTo>
                    <a:pt x="387918" y="2338133"/>
                  </a:lnTo>
                  <a:lnTo>
                    <a:pt x="390673" y="2337739"/>
                  </a:lnTo>
                  <a:lnTo>
                    <a:pt x="393820" y="2337346"/>
                  </a:lnTo>
                  <a:lnTo>
                    <a:pt x="391853" y="2335772"/>
                  </a:lnTo>
                  <a:lnTo>
                    <a:pt x="389099" y="2336166"/>
                  </a:lnTo>
                  <a:lnTo>
                    <a:pt x="385951" y="2336952"/>
                  </a:lnTo>
                  <a:lnTo>
                    <a:pt x="383197" y="2337346"/>
                  </a:lnTo>
                  <a:lnTo>
                    <a:pt x="380050" y="2338133"/>
                  </a:lnTo>
                  <a:lnTo>
                    <a:pt x="377296" y="2338133"/>
                  </a:lnTo>
                  <a:lnTo>
                    <a:pt x="374542" y="2338526"/>
                  </a:lnTo>
                  <a:lnTo>
                    <a:pt x="372968" y="2339707"/>
                  </a:lnTo>
                  <a:lnTo>
                    <a:pt x="370608" y="2340100"/>
                  </a:lnTo>
                  <a:lnTo>
                    <a:pt x="370214" y="2338526"/>
                  </a:lnTo>
                  <a:lnTo>
                    <a:pt x="375722" y="2337739"/>
                  </a:lnTo>
                  <a:lnTo>
                    <a:pt x="376116" y="2337739"/>
                  </a:lnTo>
                  <a:lnTo>
                    <a:pt x="378870" y="2337346"/>
                  </a:lnTo>
                  <a:lnTo>
                    <a:pt x="380050" y="2336952"/>
                  </a:lnTo>
                  <a:lnTo>
                    <a:pt x="384378" y="2336166"/>
                  </a:lnTo>
                  <a:lnTo>
                    <a:pt x="387132" y="2336559"/>
                  </a:lnTo>
                  <a:lnTo>
                    <a:pt x="387918" y="2336559"/>
                  </a:lnTo>
                  <a:lnTo>
                    <a:pt x="395394" y="2336559"/>
                  </a:lnTo>
                  <a:lnTo>
                    <a:pt x="395000" y="2335379"/>
                  </a:lnTo>
                  <a:lnTo>
                    <a:pt x="401295" y="2338133"/>
                  </a:lnTo>
                  <a:lnTo>
                    <a:pt x="398148" y="2336952"/>
                  </a:lnTo>
                  <a:lnTo>
                    <a:pt x="395787" y="2337346"/>
                  </a:lnTo>
                  <a:lnTo>
                    <a:pt x="398541" y="2339313"/>
                  </a:lnTo>
                  <a:lnTo>
                    <a:pt x="401295" y="2339707"/>
                  </a:lnTo>
                  <a:lnTo>
                    <a:pt x="402082" y="2338526"/>
                  </a:lnTo>
                  <a:lnTo>
                    <a:pt x="402082" y="2338133"/>
                  </a:lnTo>
                  <a:lnTo>
                    <a:pt x="402475" y="2338526"/>
                  </a:lnTo>
                  <a:lnTo>
                    <a:pt x="402869" y="2338920"/>
                  </a:lnTo>
                  <a:lnTo>
                    <a:pt x="405623" y="2340100"/>
                  </a:lnTo>
                  <a:lnTo>
                    <a:pt x="407590" y="2340493"/>
                  </a:lnTo>
                  <a:lnTo>
                    <a:pt x="410737" y="2340887"/>
                  </a:lnTo>
                  <a:lnTo>
                    <a:pt x="413491" y="2341674"/>
                  </a:lnTo>
                  <a:lnTo>
                    <a:pt x="417032" y="2336166"/>
                  </a:lnTo>
                  <a:lnTo>
                    <a:pt x="418606" y="2334198"/>
                  </a:lnTo>
                  <a:lnTo>
                    <a:pt x="418999" y="2338133"/>
                  </a:lnTo>
                  <a:lnTo>
                    <a:pt x="418999" y="2339707"/>
                  </a:lnTo>
                  <a:lnTo>
                    <a:pt x="419393" y="2340100"/>
                  </a:lnTo>
                  <a:lnTo>
                    <a:pt x="426081" y="2342461"/>
                  </a:lnTo>
                  <a:lnTo>
                    <a:pt x="423721" y="2341674"/>
                  </a:lnTo>
                  <a:lnTo>
                    <a:pt x="420966" y="2342067"/>
                  </a:lnTo>
                  <a:lnTo>
                    <a:pt x="417819" y="2340887"/>
                  </a:lnTo>
                  <a:lnTo>
                    <a:pt x="420573" y="2342854"/>
                  </a:lnTo>
                  <a:lnTo>
                    <a:pt x="420966" y="2342854"/>
                  </a:lnTo>
                  <a:lnTo>
                    <a:pt x="423721" y="2344034"/>
                  </a:lnTo>
                  <a:lnTo>
                    <a:pt x="426474" y="2344821"/>
                  </a:lnTo>
                  <a:lnTo>
                    <a:pt x="428048" y="2345214"/>
                  </a:lnTo>
                  <a:lnTo>
                    <a:pt x="445359" y="2349935"/>
                  </a:lnTo>
                  <a:lnTo>
                    <a:pt x="448506" y="2352296"/>
                  </a:lnTo>
                  <a:lnTo>
                    <a:pt x="451260" y="2355444"/>
                  </a:lnTo>
                  <a:lnTo>
                    <a:pt x="454408" y="2354657"/>
                  </a:lnTo>
                  <a:lnTo>
                    <a:pt x="457162" y="2351903"/>
                  </a:lnTo>
                  <a:lnTo>
                    <a:pt x="460309" y="2350329"/>
                  </a:lnTo>
                  <a:lnTo>
                    <a:pt x="463063" y="2347575"/>
                  </a:lnTo>
                  <a:lnTo>
                    <a:pt x="465030" y="2345214"/>
                  </a:lnTo>
                  <a:lnTo>
                    <a:pt x="466604" y="2344821"/>
                  </a:lnTo>
                  <a:lnTo>
                    <a:pt x="469751" y="2344034"/>
                  </a:lnTo>
                  <a:lnTo>
                    <a:pt x="472505" y="2343247"/>
                  </a:lnTo>
                  <a:lnTo>
                    <a:pt x="475259" y="2342854"/>
                  </a:lnTo>
                  <a:lnTo>
                    <a:pt x="478013" y="2341674"/>
                  </a:lnTo>
                  <a:lnTo>
                    <a:pt x="478406" y="2341280"/>
                  </a:lnTo>
                  <a:lnTo>
                    <a:pt x="485488" y="2338920"/>
                  </a:lnTo>
                  <a:lnTo>
                    <a:pt x="486669" y="2338920"/>
                  </a:lnTo>
                  <a:lnTo>
                    <a:pt x="489423" y="2338526"/>
                  </a:lnTo>
                  <a:lnTo>
                    <a:pt x="490996" y="2336952"/>
                  </a:lnTo>
                  <a:lnTo>
                    <a:pt x="495717" y="2333805"/>
                  </a:lnTo>
                  <a:lnTo>
                    <a:pt x="496898" y="2333412"/>
                  </a:lnTo>
                  <a:lnTo>
                    <a:pt x="500045" y="2331838"/>
                  </a:lnTo>
                  <a:lnTo>
                    <a:pt x="502012" y="2329084"/>
                  </a:lnTo>
                  <a:lnTo>
                    <a:pt x="503193" y="2328297"/>
                  </a:lnTo>
                  <a:lnTo>
                    <a:pt x="505946" y="2327510"/>
                  </a:lnTo>
                  <a:lnTo>
                    <a:pt x="509094" y="2326330"/>
                  </a:lnTo>
                  <a:lnTo>
                    <a:pt x="511848" y="2325150"/>
                  </a:lnTo>
                  <a:lnTo>
                    <a:pt x="513815" y="2323969"/>
                  </a:lnTo>
                  <a:lnTo>
                    <a:pt x="526405" y="2318855"/>
                  </a:lnTo>
                  <a:lnTo>
                    <a:pt x="527979" y="2318855"/>
                  </a:lnTo>
                  <a:lnTo>
                    <a:pt x="530732" y="2318855"/>
                  </a:lnTo>
                  <a:lnTo>
                    <a:pt x="532700" y="2316101"/>
                  </a:lnTo>
                  <a:lnTo>
                    <a:pt x="531913" y="2313347"/>
                  </a:lnTo>
                  <a:lnTo>
                    <a:pt x="528765" y="2310593"/>
                  </a:lnTo>
                  <a:lnTo>
                    <a:pt x="526405" y="2309019"/>
                  </a:lnTo>
                  <a:lnTo>
                    <a:pt x="528372" y="2309413"/>
                  </a:lnTo>
                  <a:lnTo>
                    <a:pt x="531126" y="2311773"/>
                  </a:lnTo>
                  <a:lnTo>
                    <a:pt x="531519" y="2312560"/>
                  </a:lnTo>
                  <a:lnTo>
                    <a:pt x="532700" y="2316888"/>
                  </a:lnTo>
                  <a:lnTo>
                    <a:pt x="533880" y="2319248"/>
                  </a:lnTo>
                  <a:lnTo>
                    <a:pt x="537027" y="2319642"/>
                  </a:lnTo>
                  <a:lnTo>
                    <a:pt x="538994" y="2319248"/>
                  </a:lnTo>
                  <a:lnTo>
                    <a:pt x="541749" y="2318855"/>
                  </a:lnTo>
                  <a:lnTo>
                    <a:pt x="543322" y="2315707"/>
                  </a:lnTo>
                  <a:lnTo>
                    <a:pt x="543716" y="2314134"/>
                  </a:lnTo>
                  <a:lnTo>
                    <a:pt x="549223" y="2308232"/>
                  </a:lnTo>
                  <a:lnTo>
                    <a:pt x="555518" y="2306265"/>
                  </a:lnTo>
                  <a:lnTo>
                    <a:pt x="558666" y="2305478"/>
                  </a:lnTo>
                  <a:lnTo>
                    <a:pt x="561420" y="2305085"/>
                  </a:lnTo>
                  <a:lnTo>
                    <a:pt x="562207" y="2304298"/>
                  </a:lnTo>
                  <a:lnTo>
                    <a:pt x="565354" y="2303905"/>
                  </a:lnTo>
                  <a:lnTo>
                    <a:pt x="566927" y="2303511"/>
                  </a:lnTo>
                  <a:lnTo>
                    <a:pt x="571649" y="2302331"/>
                  </a:lnTo>
                  <a:lnTo>
                    <a:pt x="573223" y="2302331"/>
                  </a:lnTo>
                  <a:lnTo>
                    <a:pt x="587386" y="2300364"/>
                  </a:lnTo>
                  <a:lnTo>
                    <a:pt x="588173" y="2300364"/>
                  </a:lnTo>
                  <a:lnTo>
                    <a:pt x="591320" y="2299970"/>
                  </a:lnTo>
                  <a:lnTo>
                    <a:pt x="592107" y="2299970"/>
                  </a:lnTo>
                  <a:lnTo>
                    <a:pt x="595254" y="2299577"/>
                  </a:lnTo>
                  <a:lnTo>
                    <a:pt x="599189" y="2298790"/>
                  </a:lnTo>
                  <a:lnTo>
                    <a:pt x="601156" y="2298397"/>
                  </a:lnTo>
                  <a:lnTo>
                    <a:pt x="603910" y="2298397"/>
                  </a:lnTo>
                  <a:lnTo>
                    <a:pt x="606664" y="2298790"/>
                  </a:lnTo>
                  <a:lnTo>
                    <a:pt x="609418" y="2298397"/>
                  </a:lnTo>
                  <a:lnTo>
                    <a:pt x="612565" y="2298397"/>
                  </a:lnTo>
                  <a:lnTo>
                    <a:pt x="615319" y="2298003"/>
                  </a:lnTo>
                  <a:lnTo>
                    <a:pt x="614926" y="2295643"/>
                  </a:lnTo>
                  <a:lnTo>
                    <a:pt x="615319" y="2295249"/>
                  </a:lnTo>
                  <a:lnTo>
                    <a:pt x="615319" y="2294856"/>
                  </a:lnTo>
                  <a:lnTo>
                    <a:pt x="619253" y="2293282"/>
                  </a:lnTo>
                  <a:lnTo>
                    <a:pt x="619647" y="2293282"/>
                  </a:lnTo>
                  <a:lnTo>
                    <a:pt x="620827" y="2292889"/>
                  </a:lnTo>
                  <a:lnTo>
                    <a:pt x="615712" y="2295643"/>
                  </a:lnTo>
                  <a:lnTo>
                    <a:pt x="615712" y="2296036"/>
                  </a:lnTo>
                  <a:lnTo>
                    <a:pt x="618467" y="2297217"/>
                  </a:lnTo>
                  <a:lnTo>
                    <a:pt x="621220" y="2296823"/>
                  </a:lnTo>
                  <a:lnTo>
                    <a:pt x="623974" y="2296823"/>
                  </a:lnTo>
                  <a:lnTo>
                    <a:pt x="624368" y="2296823"/>
                  </a:lnTo>
                  <a:lnTo>
                    <a:pt x="643252" y="2298397"/>
                  </a:lnTo>
                  <a:lnTo>
                    <a:pt x="647580" y="2299970"/>
                  </a:lnTo>
                  <a:lnTo>
                    <a:pt x="663711" y="2316101"/>
                  </a:lnTo>
                  <a:lnTo>
                    <a:pt x="664104" y="2316494"/>
                  </a:lnTo>
                  <a:lnTo>
                    <a:pt x="665678" y="2319248"/>
                  </a:lnTo>
                  <a:lnTo>
                    <a:pt x="668432" y="2316888"/>
                  </a:lnTo>
                  <a:lnTo>
                    <a:pt x="668825" y="2316494"/>
                  </a:lnTo>
                  <a:lnTo>
                    <a:pt x="671579" y="2314527"/>
                  </a:lnTo>
                  <a:lnTo>
                    <a:pt x="671973" y="2314527"/>
                  </a:lnTo>
                  <a:lnTo>
                    <a:pt x="671579" y="2315314"/>
                  </a:lnTo>
                  <a:lnTo>
                    <a:pt x="668825" y="2316888"/>
                  </a:lnTo>
                  <a:lnTo>
                    <a:pt x="666071" y="2319248"/>
                  </a:lnTo>
                  <a:lnTo>
                    <a:pt x="666465" y="2322002"/>
                  </a:lnTo>
                  <a:lnTo>
                    <a:pt x="669218" y="2324756"/>
                  </a:lnTo>
                  <a:lnTo>
                    <a:pt x="671973" y="2323183"/>
                  </a:lnTo>
                  <a:lnTo>
                    <a:pt x="673153" y="2320429"/>
                  </a:lnTo>
                  <a:lnTo>
                    <a:pt x="673546" y="2321215"/>
                  </a:lnTo>
                  <a:lnTo>
                    <a:pt x="673153" y="2323969"/>
                  </a:lnTo>
                  <a:lnTo>
                    <a:pt x="675907" y="2322789"/>
                  </a:lnTo>
                  <a:lnTo>
                    <a:pt x="678661" y="2324756"/>
                  </a:lnTo>
                  <a:lnTo>
                    <a:pt x="675514" y="2325150"/>
                  </a:lnTo>
                  <a:lnTo>
                    <a:pt x="675514" y="2325150"/>
                  </a:lnTo>
                  <a:lnTo>
                    <a:pt x="672759" y="2325543"/>
                  </a:lnTo>
                  <a:lnTo>
                    <a:pt x="671973" y="2325150"/>
                  </a:lnTo>
                  <a:lnTo>
                    <a:pt x="669218" y="2327510"/>
                  </a:lnTo>
                  <a:lnTo>
                    <a:pt x="671973" y="2330658"/>
                  </a:lnTo>
                  <a:lnTo>
                    <a:pt x="675120" y="2331838"/>
                  </a:lnTo>
                  <a:lnTo>
                    <a:pt x="676300" y="2330264"/>
                  </a:lnTo>
                  <a:lnTo>
                    <a:pt x="676694" y="2329871"/>
                  </a:lnTo>
                  <a:lnTo>
                    <a:pt x="682202" y="2327117"/>
                  </a:lnTo>
                  <a:lnTo>
                    <a:pt x="679841" y="2329871"/>
                  </a:lnTo>
                  <a:lnTo>
                    <a:pt x="681415" y="2331838"/>
                  </a:lnTo>
                  <a:lnTo>
                    <a:pt x="678661" y="2333018"/>
                  </a:lnTo>
                  <a:lnTo>
                    <a:pt x="678267" y="2333412"/>
                  </a:lnTo>
                  <a:lnTo>
                    <a:pt x="675514" y="2332625"/>
                  </a:lnTo>
                  <a:lnTo>
                    <a:pt x="674726" y="2335379"/>
                  </a:lnTo>
                  <a:lnTo>
                    <a:pt x="675120" y="2338526"/>
                  </a:lnTo>
                  <a:lnTo>
                    <a:pt x="677874" y="2338133"/>
                  </a:lnTo>
                  <a:lnTo>
                    <a:pt x="679054" y="2339707"/>
                  </a:lnTo>
                  <a:lnTo>
                    <a:pt x="678267" y="2341280"/>
                  </a:lnTo>
                  <a:lnTo>
                    <a:pt x="677481" y="2344034"/>
                  </a:lnTo>
                  <a:lnTo>
                    <a:pt x="678267" y="2346788"/>
                  </a:lnTo>
                  <a:lnTo>
                    <a:pt x="679841" y="2349935"/>
                  </a:lnTo>
                  <a:lnTo>
                    <a:pt x="680234" y="2350329"/>
                  </a:lnTo>
                  <a:lnTo>
                    <a:pt x="681808" y="2354263"/>
                  </a:lnTo>
                  <a:lnTo>
                    <a:pt x="682988" y="2357017"/>
                  </a:lnTo>
                  <a:lnTo>
                    <a:pt x="685743" y="2359771"/>
                  </a:lnTo>
                  <a:lnTo>
                    <a:pt x="688103" y="2361738"/>
                  </a:lnTo>
                  <a:lnTo>
                    <a:pt x="688890" y="2362525"/>
                  </a:lnTo>
                  <a:lnTo>
                    <a:pt x="691644" y="2365279"/>
                  </a:lnTo>
                  <a:lnTo>
                    <a:pt x="694398" y="2364886"/>
                  </a:lnTo>
                  <a:lnTo>
                    <a:pt x="695185" y="2365279"/>
                  </a:lnTo>
                  <a:lnTo>
                    <a:pt x="696758" y="2368033"/>
                  </a:lnTo>
                  <a:lnTo>
                    <a:pt x="696758" y="2365279"/>
                  </a:lnTo>
                  <a:lnTo>
                    <a:pt x="697152" y="2364099"/>
                  </a:lnTo>
                  <a:lnTo>
                    <a:pt x="697939" y="2366853"/>
                  </a:lnTo>
                  <a:lnTo>
                    <a:pt x="698725" y="2368820"/>
                  </a:lnTo>
                  <a:lnTo>
                    <a:pt x="701873" y="2368427"/>
                  </a:lnTo>
                  <a:lnTo>
                    <a:pt x="702266" y="2365673"/>
                  </a:lnTo>
                  <a:lnTo>
                    <a:pt x="702660" y="2362525"/>
                  </a:lnTo>
                  <a:lnTo>
                    <a:pt x="702660" y="2361345"/>
                  </a:lnTo>
                  <a:lnTo>
                    <a:pt x="703447" y="2364099"/>
                  </a:lnTo>
                  <a:lnTo>
                    <a:pt x="703053" y="2366853"/>
                  </a:lnTo>
                  <a:lnTo>
                    <a:pt x="705807" y="2367246"/>
                  </a:lnTo>
                  <a:lnTo>
                    <a:pt x="708561" y="2366459"/>
                  </a:lnTo>
                  <a:lnTo>
                    <a:pt x="711709" y="2366853"/>
                  </a:lnTo>
                  <a:lnTo>
                    <a:pt x="712889" y="2363705"/>
                  </a:lnTo>
                  <a:lnTo>
                    <a:pt x="712495" y="2361738"/>
                  </a:lnTo>
                  <a:lnTo>
                    <a:pt x="713282" y="2363312"/>
                  </a:lnTo>
                  <a:lnTo>
                    <a:pt x="713676" y="2366066"/>
                  </a:lnTo>
                  <a:lnTo>
                    <a:pt x="715250" y="2363312"/>
                  </a:lnTo>
                  <a:lnTo>
                    <a:pt x="714856" y="2360558"/>
                  </a:lnTo>
                  <a:lnTo>
                    <a:pt x="715643" y="2359771"/>
                  </a:lnTo>
                  <a:lnTo>
                    <a:pt x="716036" y="2362919"/>
                  </a:lnTo>
                  <a:lnTo>
                    <a:pt x="716429" y="2359771"/>
                  </a:lnTo>
                  <a:lnTo>
                    <a:pt x="716823" y="2359378"/>
                  </a:lnTo>
                  <a:lnTo>
                    <a:pt x="717217" y="2357411"/>
                  </a:lnTo>
                  <a:lnTo>
                    <a:pt x="716823" y="2360165"/>
                  </a:lnTo>
                  <a:lnTo>
                    <a:pt x="716823" y="2363312"/>
                  </a:lnTo>
                  <a:lnTo>
                    <a:pt x="716429" y="2366066"/>
                  </a:lnTo>
                  <a:lnTo>
                    <a:pt x="718790" y="2366459"/>
                  </a:lnTo>
                  <a:lnTo>
                    <a:pt x="719577" y="2363705"/>
                  </a:lnTo>
                  <a:lnTo>
                    <a:pt x="718790" y="2360951"/>
                  </a:lnTo>
                  <a:lnTo>
                    <a:pt x="719577" y="2357804"/>
                  </a:lnTo>
                  <a:lnTo>
                    <a:pt x="718397" y="2356230"/>
                  </a:lnTo>
                  <a:lnTo>
                    <a:pt x="718397" y="2354657"/>
                  </a:lnTo>
                  <a:lnTo>
                    <a:pt x="719970" y="2357017"/>
                  </a:lnTo>
                  <a:lnTo>
                    <a:pt x="720364" y="2357804"/>
                  </a:lnTo>
                  <a:lnTo>
                    <a:pt x="719577" y="2360558"/>
                  </a:lnTo>
                  <a:lnTo>
                    <a:pt x="720758" y="2363312"/>
                  </a:lnTo>
                  <a:lnTo>
                    <a:pt x="723511" y="2365279"/>
                  </a:lnTo>
                  <a:lnTo>
                    <a:pt x="724298" y="2362525"/>
                  </a:lnTo>
                  <a:lnTo>
                    <a:pt x="723905" y="2361738"/>
                  </a:lnTo>
                  <a:lnTo>
                    <a:pt x="723905" y="2358591"/>
                  </a:lnTo>
                  <a:lnTo>
                    <a:pt x="721938" y="2355837"/>
                  </a:lnTo>
                  <a:lnTo>
                    <a:pt x="721544" y="2354657"/>
                  </a:lnTo>
                  <a:lnTo>
                    <a:pt x="725085" y="2355444"/>
                  </a:lnTo>
                  <a:lnTo>
                    <a:pt x="724692" y="2358198"/>
                  </a:lnTo>
                  <a:lnTo>
                    <a:pt x="725085" y="2360951"/>
                  </a:lnTo>
                  <a:lnTo>
                    <a:pt x="727839" y="2362132"/>
                  </a:lnTo>
                  <a:lnTo>
                    <a:pt x="729019" y="2359378"/>
                  </a:lnTo>
                  <a:lnTo>
                    <a:pt x="729019" y="2357804"/>
                  </a:lnTo>
                  <a:lnTo>
                    <a:pt x="731773" y="2359378"/>
                  </a:lnTo>
                  <a:lnTo>
                    <a:pt x="735314" y="2358198"/>
                  </a:lnTo>
                  <a:lnTo>
                    <a:pt x="738068" y="2358984"/>
                  </a:lnTo>
                  <a:lnTo>
                    <a:pt x="740035" y="2357804"/>
                  </a:lnTo>
                  <a:lnTo>
                    <a:pt x="741216" y="2353870"/>
                  </a:lnTo>
                  <a:lnTo>
                    <a:pt x="740822" y="2356624"/>
                  </a:lnTo>
                  <a:lnTo>
                    <a:pt x="741609" y="2358198"/>
                  </a:lnTo>
                  <a:lnTo>
                    <a:pt x="744363" y="2360165"/>
                  </a:lnTo>
                  <a:lnTo>
                    <a:pt x="747510" y="2360951"/>
                  </a:lnTo>
                  <a:lnTo>
                    <a:pt x="747510" y="2360165"/>
                  </a:lnTo>
                  <a:lnTo>
                    <a:pt x="750658" y="2359771"/>
                  </a:lnTo>
                  <a:lnTo>
                    <a:pt x="753412" y="2359378"/>
                  </a:lnTo>
                  <a:lnTo>
                    <a:pt x="756559" y="2358984"/>
                  </a:lnTo>
                  <a:lnTo>
                    <a:pt x="759313" y="2358984"/>
                  </a:lnTo>
                  <a:lnTo>
                    <a:pt x="762461" y="2359378"/>
                  </a:lnTo>
                  <a:lnTo>
                    <a:pt x="765214" y="2356624"/>
                  </a:lnTo>
                  <a:lnTo>
                    <a:pt x="764428" y="2353870"/>
                  </a:lnTo>
                  <a:lnTo>
                    <a:pt x="763247" y="2350722"/>
                  </a:lnTo>
                  <a:lnTo>
                    <a:pt x="762461" y="2349542"/>
                  </a:lnTo>
                  <a:lnTo>
                    <a:pt x="762854" y="2349149"/>
                  </a:lnTo>
                  <a:lnTo>
                    <a:pt x="761674" y="2346001"/>
                  </a:lnTo>
                  <a:lnTo>
                    <a:pt x="762461" y="2346788"/>
                  </a:lnTo>
                  <a:lnTo>
                    <a:pt x="764821" y="2349542"/>
                  </a:lnTo>
                  <a:lnTo>
                    <a:pt x="767182" y="2348755"/>
                  </a:lnTo>
                  <a:lnTo>
                    <a:pt x="766788" y="2351903"/>
                  </a:lnTo>
                  <a:lnTo>
                    <a:pt x="769542" y="2353476"/>
                  </a:lnTo>
                  <a:lnTo>
                    <a:pt x="771116" y="2350722"/>
                  </a:lnTo>
                  <a:lnTo>
                    <a:pt x="771509" y="2350329"/>
                  </a:lnTo>
                  <a:lnTo>
                    <a:pt x="769936" y="2354263"/>
                  </a:lnTo>
                  <a:lnTo>
                    <a:pt x="771116" y="2352690"/>
                  </a:lnTo>
                  <a:lnTo>
                    <a:pt x="772296" y="2349542"/>
                  </a:lnTo>
                  <a:lnTo>
                    <a:pt x="771509" y="2352690"/>
                  </a:lnTo>
                  <a:lnTo>
                    <a:pt x="769936" y="2355444"/>
                  </a:lnTo>
                  <a:lnTo>
                    <a:pt x="769542" y="2358591"/>
                  </a:lnTo>
                  <a:lnTo>
                    <a:pt x="772296" y="2360165"/>
                  </a:lnTo>
                  <a:lnTo>
                    <a:pt x="775050" y="2360165"/>
                  </a:lnTo>
                  <a:lnTo>
                    <a:pt x="775050" y="2354657"/>
                  </a:lnTo>
                  <a:lnTo>
                    <a:pt x="776231" y="2357804"/>
                  </a:lnTo>
                  <a:lnTo>
                    <a:pt x="778591" y="2357017"/>
                  </a:lnTo>
                  <a:lnTo>
                    <a:pt x="780165" y="2355444"/>
                  </a:lnTo>
                  <a:lnTo>
                    <a:pt x="781739" y="2361345"/>
                  </a:lnTo>
                  <a:lnTo>
                    <a:pt x="781739" y="2364492"/>
                  </a:lnTo>
                  <a:lnTo>
                    <a:pt x="782132" y="2367246"/>
                  </a:lnTo>
                  <a:lnTo>
                    <a:pt x="784099" y="2370000"/>
                  </a:lnTo>
                  <a:lnTo>
                    <a:pt x="783706" y="2372754"/>
                  </a:lnTo>
                  <a:lnTo>
                    <a:pt x="786460" y="2375508"/>
                  </a:lnTo>
                  <a:lnTo>
                    <a:pt x="789607" y="2376688"/>
                  </a:lnTo>
                  <a:lnTo>
                    <a:pt x="792361" y="2378262"/>
                  </a:lnTo>
                  <a:lnTo>
                    <a:pt x="793935" y="2376295"/>
                  </a:lnTo>
                  <a:lnTo>
                    <a:pt x="793541" y="2377475"/>
                  </a:lnTo>
                  <a:lnTo>
                    <a:pt x="793935" y="2380229"/>
                  </a:lnTo>
                  <a:lnTo>
                    <a:pt x="796689" y="2381016"/>
                  </a:lnTo>
                  <a:lnTo>
                    <a:pt x="797476" y="2378262"/>
                  </a:lnTo>
                  <a:lnTo>
                    <a:pt x="797082" y="2376688"/>
                  </a:lnTo>
                  <a:lnTo>
                    <a:pt x="797869" y="2377475"/>
                  </a:lnTo>
                  <a:lnTo>
                    <a:pt x="798262" y="2376688"/>
                  </a:lnTo>
                  <a:lnTo>
                    <a:pt x="797869" y="2376295"/>
                  </a:lnTo>
                  <a:lnTo>
                    <a:pt x="797082" y="2375508"/>
                  </a:lnTo>
                  <a:lnTo>
                    <a:pt x="796689" y="2375115"/>
                  </a:lnTo>
                  <a:lnTo>
                    <a:pt x="796689" y="2374721"/>
                  </a:lnTo>
                  <a:lnTo>
                    <a:pt x="798262" y="2373935"/>
                  </a:lnTo>
                  <a:lnTo>
                    <a:pt x="799836" y="2376688"/>
                  </a:lnTo>
                  <a:lnTo>
                    <a:pt x="802590" y="2375115"/>
                  </a:lnTo>
                  <a:lnTo>
                    <a:pt x="803377" y="2374721"/>
                  </a:lnTo>
                  <a:lnTo>
                    <a:pt x="803377" y="2374328"/>
                  </a:lnTo>
                  <a:lnTo>
                    <a:pt x="804164" y="2373148"/>
                  </a:lnTo>
                  <a:lnTo>
                    <a:pt x="804164" y="2374721"/>
                  </a:lnTo>
                  <a:lnTo>
                    <a:pt x="803770" y="2375115"/>
                  </a:lnTo>
                  <a:lnTo>
                    <a:pt x="802197" y="2377869"/>
                  </a:lnTo>
                  <a:lnTo>
                    <a:pt x="804164" y="2378656"/>
                  </a:lnTo>
                  <a:lnTo>
                    <a:pt x="804557" y="2382196"/>
                  </a:lnTo>
                  <a:lnTo>
                    <a:pt x="803770" y="2382590"/>
                  </a:lnTo>
                  <a:lnTo>
                    <a:pt x="801016" y="2384557"/>
                  </a:lnTo>
                  <a:lnTo>
                    <a:pt x="801803" y="2387705"/>
                  </a:lnTo>
                  <a:lnTo>
                    <a:pt x="801803" y="2390458"/>
                  </a:lnTo>
                  <a:lnTo>
                    <a:pt x="804950" y="2390458"/>
                  </a:lnTo>
                  <a:lnTo>
                    <a:pt x="807705" y="2389278"/>
                  </a:lnTo>
                  <a:lnTo>
                    <a:pt x="807705" y="2389672"/>
                  </a:lnTo>
                  <a:lnTo>
                    <a:pt x="804950" y="2391245"/>
                  </a:lnTo>
                  <a:lnTo>
                    <a:pt x="804557" y="2393999"/>
                  </a:lnTo>
                  <a:lnTo>
                    <a:pt x="807311" y="2397147"/>
                  </a:lnTo>
                  <a:lnTo>
                    <a:pt x="809279" y="2399901"/>
                  </a:lnTo>
                  <a:lnTo>
                    <a:pt x="811246" y="2401868"/>
                  </a:lnTo>
                  <a:lnTo>
                    <a:pt x="809672" y="2415244"/>
                  </a:lnTo>
                  <a:lnTo>
                    <a:pt x="809279" y="2416818"/>
                  </a:lnTo>
                  <a:lnTo>
                    <a:pt x="809279" y="2417998"/>
                  </a:lnTo>
                  <a:lnTo>
                    <a:pt x="808885" y="2420752"/>
                  </a:lnTo>
                  <a:lnTo>
                    <a:pt x="808491" y="2422719"/>
                  </a:lnTo>
                  <a:lnTo>
                    <a:pt x="808098" y="2425473"/>
                  </a:lnTo>
                  <a:lnTo>
                    <a:pt x="807705" y="2428227"/>
                  </a:lnTo>
                  <a:lnTo>
                    <a:pt x="807705" y="2433342"/>
                  </a:lnTo>
                  <a:lnTo>
                    <a:pt x="806918" y="2436096"/>
                  </a:lnTo>
                  <a:lnTo>
                    <a:pt x="806524" y="2438456"/>
                  </a:lnTo>
                  <a:lnTo>
                    <a:pt x="803377" y="2454193"/>
                  </a:lnTo>
                  <a:lnTo>
                    <a:pt x="801410" y="2456554"/>
                  </a:lnTo>
                  <a:lnTo>
                    <a:pt x="802197" y="2458915"/>
                  </a:lnTo>
                  <a:lnTo>
                    <a:pt x="801803" y="2458915"/>
                  </a:lnTo>
                  <a:lnTo>
                    <a:pt x="799836" y="2462062"/>
                  </a:lnTo>
                  <a:lnTo>
                    <a:pt x="797082" y="2464816"/>
                  </a:lnTo>
                  <a:lnTo>
                    <a:pt x="796689" y="2467570"/>
                  </a:lnTo>
                  <a:lnTo>
                    <a:pt x="794721" y="2470324"/>
                  </a:lnTo>
                  <a:lnTo>
                    <a:pt x="793935" y="2473471"/>
                  </a:lnTo>
                  <a:lnTo>
                    <a:pt x="796689" y="2474652"/>
                  </a:lnTo>
                  <a:lnTo>
                    <a:pt x="799443" y="2475045"/>
                  </a:lnTo>
                  <a:lnTo>
                    <a:pt x="802590" y="2476619"/>
                  </a:lnTo>
                  <a:lnTo>
                    <a:pt x="805344" y="2475439"/>
                  </a:lnTo>
                  <a:lnTo>
                    <a:pt x="806131" y="2475832"/>
                  </a:lnTo>
                  <a:lnTo>
                    <a:pt x="806918" y="2478979"/>
                  </a:lnTo>
                  <a:lnTo>
                    <a:pt x="803770" y="2477406"/>
                  </a:lnTo>
                  <a:lnTo>
                    <a:pt x="801016" y="2478586"/>
                  </a:lnTo>
                  <a:lnTo>
                    <a:pt x="799836" y="2481340"/>
                  </a:lnTo>
                  <a:lnTo>
                    <a:pt x="800623" y="2484094"/>
                  </a:lnTo>
                  <a:lnTo>
                    <a:pt x="801016" y="2487241"/>
                  </a:lnTo>
                  <a:lnTo>
                    <a:pt x="801410" y="2492749"/>
                  </a:lnTo>
                  <a:lnTo>
                    <a:pt x="800623" y="2495503"/>
                  </a:lnTo>
                  <a:lnTo>
                    <a:pt x="799836" y="2492749"/>
                  </a:lnTo>
                  <a:lnTo>
                    <a:pt x="797082" y="2492356"/>
                  </a:lnTo>
                  <a:lnTo>
                    <a:pt x="794328" y="2491176"/>
                  </a:lnTo>
                  <a:lnTo>
                    <a:pt x="791574" y="2493930"/>
                  </a:lnTo>
                  <a:lnTo>
                    <a:pt x="794328" y="2496290"/>
                  </a:lnTo>
                  <a:lnTo>
                    <a:pt x="795509" y="2499044"/>
                  </a:lnTo>
                  <a:lnTo>
                    <a:pt x="797082" y="2501798"/>
                  </a:lnTo>
                  <a:lnTo>
                    <a:pt x="799836" y="2502978"/>
                  </a:lnTo>
                  <a:lnTo>
                    <a:pt x="802983" y="2504946"/>
                  </a:lnTo>
                  <a:lnTo>
                    <a:pt x="805738" y="2506126"/>
                  </a:lnTo>
                  <a:lnTo>
                    <a:pt x="812426" y="2506126"/>
                  </a:lnTo>
                  <a:lnTo>
                    <a:pt x="812426" y="2506519"/>
                  </a:lnTo>
                  <a:lnTo>
                    <a:pt x="809279" y="2506519"/>
                  </a:lnTo>
                  <a:lnTo>
                    <a:pt x="795509" y="2506519"/>
                  </a:lnTo>
                  <a:lnTo>
                    <a:pt x="795115" y="2506519"/>
                  </a:lnTo>
                  <a:lnTo>
                    <a:pt x="793935" y="2505732"/>
                  </a:lnTo>
                  <a:lnTo>
                    <a:pt x="793541" y="2502978"/>
                  </a:lnTo>
                  <a:lnTo>
                    <a:pt x="791574" y="2505732"/>
                  </a:lnTo>
                  <a:lnTo>
                    <a:pt x="791968" y="2508486"/>
                  </a:lnTo>
                  <a:lnTo>
                    <a:pt x="792361" y="2511240"/>
                  </a:lnTo>
                  <a:lnTo>
                    <a:pt x="792361" y="2512421"/>
                  </a:lnTo>
                  <a:lnTo>
                    <a:pt x="786853" y="2530912"/>
                  </a:lnTo>
                  <a:lnTo>
                    <a:pt x="784886" y="2533666"/>
                  </a:lnTo>
                  <a:lnTo>
                    <a:pt x="785279" y="2536026"/>
                  </a:lnTo>
                  <a:lnTo>
                    <a:pt x="782919" y="2538780"/>
                  </a:lnTo>
                  <a:lnTo>
                    <a:pt x="782132" y="2541534"/>
                  </a:lnTo>
                  <a:lnTo>
                    <a:pt x="781739" y="2542321"/>
                  </a:lnTo>
                  <a:lnTo>
                    <a:pt x="781345" y="2539567"/>
                  </a:lnTo>
                  <a:lnTo>
                    <a:pt x="779772" y="2536813"/>
                  </a:lnTo>
                  <a:lnTo>
                    <a:pt x="778984" y="2537207"/>
                  </a:lnTo>
                  <a:lnTo>
                    <a:pt x="777411" y="2536813"/>
                  </a:lnTo>
                  <a:lnTo>
                    <a:pt x="777017" y="2539567"/>
                  </a:lnTo>
                  <a:lnTo>
                    <a:pt x="775050" y="2536813"/>
                  </a:lnTo>
                  <a:lnTo>
                    <a:pt x="775050" y="2536026"/>
                  </a:lnTo>
                  <a:cubicBezTo>
                    <a:pt x="774657" y="2536813"/>
                    <a:pt x="774263" y="2537207"/>
                    <a:pt x="774263" y="2537993"/>
                  </a:cubicBezTo>
                  <a:lnTo>
                    <a:pt x="774657" y="2539567"/>
                  </a:lnTo>
                  <a:lnTo>
                    <a:pt x="776231" y="2542321"/>
                  </a:lnTo>
                  <a:lnTo>
                    <a:pt x="777017" y="2543501"/>
                  </a:lnTo>
                  <a:lnTo>
                    <a:pt x="779378" y="2545075"/>
                  </a:lnTo>
                  <a:lnTo>
                    <a:pt x="778984" y="2546649"/>
                  </a:lnTo>
                  <a:lnTo>
                    <a:pt x="779772" y="2549796"/>
                  </a:lnTo>
                  <a:lnTo>
                    <a:pt x="780952" y="2552550"/>
                  </a:lnTo>
                  <a:lnTo>
                    <a:pt x="781345" y="2552157"/>
                  </a:lnTo>
                  <a:lnTo>
                    <a:pt x="782132" y="2554911"/>
                  </a:lnTo>
                  <a:lnTo>
                    <a:pt x="782525" y="2557271"/>
                  </a:lnTo>
                  <a:lnTo>
                    <a:pt x="785279" y="2558058"/>
                  </a:lnTo>
                  <a:lnTo>
                    <a:pt x="786066" y="2560419"/>
                  </a:lnTo>
                  <a:lnTo>
                    <a:pt x="790001" y="2562779"/>
                  </a:lnTo>
                  <a:lnTo>
                    <a:pt x="790001" y="2563173"/>
                  </a:lnTo>
                  <a:lnTo>
                    <a:pt x="783706" y="2559632"/>
                  </a:lnTo>
                  <a:lnTo>
                    <a:pt x="781739" y="2557665"/>
                  </a:lnTo>
                  <a:lnTo>
                    <a:pt x="782919" y="2559632"/>
                  </a:lnTo>
                  <a:lnTo>
                    <a:pt x="784886" y="2562779"/>
                  </a:lnTo>
                  <a:lnTo>
                    <a:pt x="786853" y="2565533"/>
                  </a:lnTo>
                  <a:lnTo>
                    <a:pt x="787640" y="2567894"/>
                  </a:lnTo>
                  <a:lnTo>
                    <a:pt x="783312" y="2560812"/>
                  </a:lnTo>
                  <a:cubicBezTo>
                    <a:pt x="780165" y="2571041"/>
                    <a:pt x="786066" y="2573795"/>
                    <a:pt x="791968" y="2577336"/>
                  </a:cubicBezTo>
                  <a:lnTo>
                    <a:pt x="789607" y="2576549"/>
                  </a:lnTo>
                  <a:lnTo>
                    <a:pt x="791574" y="2579303"/>
                  </a:lnTo>
                  <a:lnTo>
                    <a:pt x="793148" y="2582057"/>
                  </a:lnTo>
                  <a:lnTo>
                    <a:pt x="795902" y="2584811"/>
                  </a:lnTo>
                  <a:lnTo>
                    <a:pt x="798262" y="2587565"/>
                  </a:lnTo>
                  <a:lnTo>
                    <a:pt x="798656" y="2590319"/>
                  </a:lnTo>
                  <a:lnTo>
                    <a:pt x="799836" y="2593073"/>
                  </a:lnTo>
                  <a:lnTo>
                    <a:pt x="802590" y="2594647"/>
                  </a:lnTo>
                  <a:lnTo>
                    <a:pt x="805344" y="2595040"/>
                  </a:lnTo>
                  <a:lnTo>
                    <a:pt x="808098" y="2595827"/>
                  </a:lnTo>
                  <a:lnTo>
                    <a:pt x="809672" y="2598581"/>
                  </a:lnTo>
                  <a:lnTo>
                    <a:pt x="811246" y="2598581"/>
                  </a:lnTo>
                  <a:lnTo>
                    <a:pt x="811246" y="2601335"/>
                  </a:lnTo>
                  <a:lnTo>
                    <a:pt x="808098" y="2598581"/>
                  </a:lnTo>
                  <a:lnTo>
                    <a:pt x="806524" y="2595827"/>
                  </a:lnTo>
                  <a:lnTo>
                    <a:pt x="803377" y="2596614"/>
                  </a:lnTo>
                  <a:lnTo>
                    <a:pt x="805738" y="2599368"/>
                  </a:lnTo>
                  <a:lnTo>
                    <a:pt x="807705" y="2602515"/>
                  </a:lnTo>
                  <a:lnTo>
                    <a:pt x="810852" y="2605269"/>
                  </a:lnTo>
                  <a:lnTo>
                    <a:pt x="813999" y="2608417"/>
                  </a:lnTo>
                  <a:lnTo>
                    <a:pt x="814786" y="2608810"/>
                  </a:lnTo>
                  <a:lnTo>
                    <a:pt x="817540" y="2611171"/>
                  </a:lnTo>
                  <a:lnTo>
                    <a:pt x="817934" y="2611564"/>
                  </a:lnTo>
                  <a:lnTo>
                    <a:pt x="830130" y="2626514"/>
                  </a:lnTo>
                  <a:lnTo>
                    <a:pt x="831310" y="2629268"/>
                  </a:lnTo>
                  <a:lnTo>
                    <a:pt x="834064" y="2631235"/>
                  </a:lnTo>
                  <a:lnTo>
                    <a:pt x="841146" y="2640284"/>
                  </a:lnTo>
                  <a:lnTo>
                    <a:pt x="842720" y="2643038"/>
                  </a:lnTo>
                  <a:lnTo>
                    <a:pt x="845080" y="2645399"/>
                  </a:lnTo>
                  <a:lnTo>
                    <a:pt x="851768" y="2652480"/>
                  </a:lnTo>
                  <a:lnTo>
                    <a:pt x="852162" y="2653661"/>
                  </a:lnTo>
                  <a:lnTo>
                    <a:pt x="854916" y="2656415"/>
                  </a:lnTo>
                  <a:lnTo>
                    <a:pt x="857670" y="2659562"/>
                  </a:lnTo>
                  <a:lnTo>
                    <a:pt x="860424" y="2662316"/>
                  </a:lnTo>
                  <a:lnTo>
                    <a:pt x="861997" y="2663890"/>
                  </a:lnTo>
                  <a:lnTo>
                    <a:pt x="864752" y="2669791"/>
                  </a:lnTo>
                  <a:lnTo>
                    <a:pt x="865538" y="2672545"/>
                  </a:lnTo>
                  <a:lnTo>
                    <a:pt x="865538" y="2675299"/>
                  </a:lnTo>
                  <a:lnTo>
                    <a:pt x="867899" y="2678053"/>
                  </a:lnTo>
                  <a:lnTo>
                    <a:pt x="869866" y="2680807"/>
                  </a:lnTo>
                  <a:lnTo>
                    <a:pt x="870260" y="2681987"/>
                  </a:lnTo>
                  <a:lnTo>
                    <a:pt x="871440" y="2682381"/>
                  </a:lnTo>
                  <a:lnTo>
                    <a:pt x="873407" y="2681987"/>
                  </a:lnTo>
                  <a:lnTo>
                    <a:pt x="874194" y="2681987"/>
                  </a:lnTo>
                  <a:lnTo>
                    <a:pt x="871833" y="2685135"/>
                  </a:lnTo>
                  <a:lnTo>
                    <a:pt x="873800" y="2687889"/>
                  </a:lnTo>
                  <a:lnTo>
                    <a:pt x="873800" y="2688676"/>
                  </a:lnTo>
                  <a:lnTo>
                    <a:pt x="875374" y="2691823"/>
                  </a:lnTo>
                  <a:lnTo>
                    <a:pt x="876161" y="2701265"/>
                  </a:lnTo>
                  <a:lnTo>
                    <a:pt x="874981" y="2702839"/>
                  </a:lnTo>
                  <a:lnTo>
                    <a:pt x="874981" y="2705593"/>
                  </a:lnTo>
                  <a:lnTo>
                    <a:pt x="876554" y="2708740"/>
                  </a:lnTo>
                  <a:lnTo>
                    <a:pt x="878128" y="2711494"/>
                  </a:lnTo>
                  <a:lnTo>
                    <a:pt x="880882" y="2714642"/>
                  </a:lnTo>
                  <a:lnTo>
                    <a:pt x="882849" y="2717396"/>
                  </a:lnTo>
                  <a:lnTo>
                    <a:pt x="885997" y="2716609"/>
                  </a:lnTo>
                  <a:lnTo>
                    <a:pt x="888750" y="2715822"/>
                  </a:lnTo>
                  <a:lnTo>
                    <a:pt x="891898" y="2714642"/>
                  </a:lnTo>
                  <a:lnTo>
                    <a:pt x="893471" y="2711494"/>
                  </a:lnTo>
                  <a:lnTo>
                    <a:pt x="895439" y="2710707"/>
                  </a:lnTo>
                  <a:lnTo>
                    <a:pt x="902127" y="2711494"/>
                  </a:lnTo>
                  <a:lnTo>
                    <a:pt x="902520" y="2711888"/>
                  </a:lnTo>
                  <a:lnTo>
                    <a:pt x="905274" y="2711494"/>
                  </a:lnTo>
                  <a:lnTo>
                    <a:pt x="902127" y="2712281"/>
                  </a:lnTo>
                  <a:lnTo>
                    <a:pt x="900947" y="2712281"/>
                  </a:lnTo>
                  <a:lnTo>
                    <a:pt x="902127" y="2711888"/>
                  </a:lnTo>
                  <a:lnTo>
                    <a:pt x="899373" y="2712281"/>
                  </a:lnTo>
                  <a:lnTo>
                    <a:pt x="896226" y="2713855"/>
                  </a:lnTo>
                  <a:lnTo>
                    <a:pt x="895832" y="2713855"/>
                  </a:lnTo>
                  <a:lnTo>
                    <a:pt x="898586" y="2713068"/>
                  </a:lnTo>
                  <a:lnTo>
                    <a:pt x="896619" y="2715822"/>
                  </a:lnTo>
                  <a:lnTo>
                    <a:pt x="893865" y="2717396"/>
                  </a:lnTo>
                  <a:lnTo>
                    <a:pt x="891111" y="2717002"/>
                  </a:lnTo>
                  <a:lnTo>
                    <a:pt x="887964" y="2717789"/>
                  </a:lnTo>
                  <a:lnTo>
                    <a:pt x="884816" y="2718969"/>
                  </a:lnTo>
                  <a:lnTo>
                    <a:pt x="882062" y="2719363"/>
                  </a:lnTo>
                  <a:lnTo>
                    <a:pt x="879308" y="2720543"/>
                  </a:lnTo>
                  <a:lnTo>
                    <a:pt x="879701" y="2723297"/>
                  </a:lnTo>
                  <a:lnTo>
                    <a:pt x="881275" y="2726051"/>
                  </a:lnTo>
                  <a:lnTo>
                    <a:pt x="882456" y="2729199"/>
                  </a:lnTo>
                  <a:lnTo>
                    <a:pt x="884030" y="2731953"/>
                  </a:lnTo>
                  <a:lnTo>
                    <a:pt x="885603" y="2735100"/>
                  </a:lnTo>
                  <a:lnTo>
                    <a:pt x="886783" y="2738247"/>
                  </a:lnTo>
                  <a:lnTo>
                    <a:pt x="889537" y="2741001"/>
                  </a:lnTo>
                  <a:lnTo>
                    <a:pt x="889537" y="2741395"/>
                  </a:lnTo>
                  <a:lnTo>
                    <a:pt x="896226" y="2753197"/>
                  </a:lnTo>
                  <a:lnTo>
                    <a:pt x="896226" y="2755951"/>
                  </a:lnTo>
                  <a:lnTo>
                    <a:pt x="896619" y="2756738"/>
                  </a:lnTo>
                  <a:lnTo>
                    <a:pt x="897012" y="2759492"/>
                  </a:lnTo>
                  <a:lnTo>
                    <a:pt x="898586" y="2762246"/>
                  </a:lnTo>
                  <a:lnTo>
                    <a:pt x="899373" y="2764213"/>
                  </a:lnTo>
                  <a:lnTo>
                    <a:pt x="899767" y="2765787"/>
                  </a:lnTo>
                  <a:lnTo>
                    <a:pt x="900553" y="2768541"/>
                  </a:lnTo>
                  <a:lnTo>
                    <a:pt x="902914" y="2774049"/>
                  </a:lnTo>
                  <a:lnTo>
                    <a:pt x="903701" y="2777197"/>
                  </a:lnTo>
                  <a:lnTo>
                    <a:pt x="904488" y="2777590"/>
                  </a:lnTo>
                  <a:lnTo>
                    <a:pt x="905274" y="2780344"/>
                  </a:lnTo>
                  <a:lnTo>
                    <a:pt x="906848" y="2783098"/>
                  </a:lnTo>
                  <a:lnTo>
                    <a:pt x="908028" y="2785852"/>
                  </a:lnTo>
                  <a:lnTo>
                    <a:pt x="909602" y="2788999"/>
                  </a:lnTo>
                  <a:lnTo>
                    <a:pt x="910389" y="2791753"/>
                  </a:lnTo>
                  <a:lnTo>
                    <a:pt x="912356" y="2794901"/>
                  </a:lnTo>
                  <a:lnTo>
                    <a:pt x="912749" y="2795294"/>
                  </a:lnTo>
                  <a:lnTo>
                    <a:pt x="913143" y="2800015"/>
                  </a:lnTo>
                  <a:lnTo>
                    <a:pt x="912356" y="2803163"/>
                  </a:lnTo>
                  <a:lnTo>
                    <a:pt x="912749" y="2803950"/>
                  </a:lnTo>
                  <a:lnTo>
                    <a:pt x="911176" y="2809851"/>
                  </a:lnTo>
                  <a:lnTo>
                    <a:pt x="908422" y="2811818"/>
                  </a:lnTo>
                  <a:lnTo>
                    <a:pt x="906848" y="2814179"/>
                  </a:lnTo>
                  <a:lnTo>
                    <a:pt x="903307" y="2816933"/>
                  </a:lnTo>
                  <a:lnTo>
                    <a:pt x="905668" y="2814179"/>
                  </a:lnTo>
                  <a:lnTo>
                    <a:pt x="902520" y="2816933"/>
                  </a:lnTo>
                  <a:lnTo>
                    <a:pt x="902127" y="2817719"/>
                  </a:lnTo>
                  <a:lnTo>
                    <a:pt x="900947" y="2820867"/>
                  </a:lnTo>
                  <a:lnTo>
                    <a:pt x="902520" y="2823621"/>
                  </a:lnTo>
                  <a:lnTo>
                    <a:pt x="904094" y="2826768"/>
                  </a:lnTo>
                  <a:lnTo>
                    <a:pt x="905668" y="2829522"/>
                  </a:lnTo>
                  <a:lnTo>
                    <a:pt x="906061" y="2829916"/>
                  </a:lnTo>
                  <a:lnTo>
                    <a:pt x="906848" y="2833850"/>
                  </a:lnTo>
                  <a:lnTo>
                    <a:pt x="906848" y="2835817"/>
                  </a:lnTo>
                  <a:lnTo>
                    <a:pt x="907635" y="2838571"/>
                  </a:lnTo>
                  <a:lnTo>
                    <a:pt x="907241" y="2841325"/>
                  </a:lnTo>
                  <a:lnTo>
                    <a:pt x="908815" y="2844079"/>
                  </a:lnTo>
                  <a:lnTo>
                    <a:pt x="909602" y="2845259"/>
                  </a:lnTo>
                  <a:lnTo>
                    <a:pt x="911176" y="2851948"/>
                  </a:lnTo>
                  <a:lnTo>
                    <a:pt x="915897" y="2860603"/>
                  </a:lnTo>
                  <a:lnTo>
                    <a:pt x="917077" y="2863750"/>
                  </a:lnTo>
                  <a:lnTo>
                    <a:pt x="917471" y="2866504"/>
                  </a:lnTo>
                  <a:lnTo>
                    <a:pt x="919831" y="2868865"/>
                  </a:lnTo>
                  <a:lnTo>
                    <a:pt x="923766" y="2877520"/>
                  </a:lnTo>
                  <a:lnTo>
                    <a:pt x="923372" y="2877914"/>
                  </a:lnTo>
                  <a:lnTo>
                    <a:pt x="924946" y="2881061"/>
                  </a:lnTo>
                  <a:lnTo>
                    <a:pt x="925339" y="2881455"/>
                  </a:lnTo>
                  <a:lnTo>
                    <a:pt x="925339" y="2899159"/>
                  </a:lnTo>
                  <a:lnTo>
                    <a:pt x="924946" y="2901913"/>
                  </a:lnTo>
                  <a:lnTo>
                    <a:pt x="924946" y="2911355"/>
                  </a:lnTo>
                  <a:lnTo>
                    <a:pt x="925339" y="2911355"/>
                  </a:lnTo>
                  <a:lnTo>
                    <a:pt x="916684" y="2933387"/>
                  </a:lnTo>
                  <a:lnTo>
                    <a:pt x="915504" y="2934567"/>
                  </a:lnTo>
                  <a:lnTo>
                    <a:pt x="915110" y="2936928"/>
                  </a:lnTo>
                  <a:lnTo>
                    <a:pt x="908815" y="2939682"/>
                  </a:lnTo>
                  <a:lnTo>
                    <a:pt x="906061" y="2940862"/>
                  </a:lnTo>
                  <a:lnTo>
                    <a:pt x="903307" y="2943616"/>
                  </a:lnTo>
                  <a:lnTo>
                    <a:pt x="900160" y="2946370"/>
                  </a:lnTo>
                  <a:lnTo>
                    <a:pt x="898586" y="2949517"/>
                  </a:lnTo>
                  <a:lnTo>
                    <a:pt x="898979" y="2950698"/>
                  </a:lnTo>
                  <a:lnTo>
                    <a:pt x="894259" y="2959353"/>
                  </a:lnTo>
                  <a:lnTo>
                    <a:pt x="893865" y="2959746"/>
                  </a:lnTo>
                  <a:lnTo>
                    <a:pt x="891111" y="2962500"/>
                  </a:lnTo>
                  <a:lnTo>
                    <a:pt x="889931" y="2966041"/>
                  </a:lnTo>
                  <a:lnTo>
                    <a:pt x="886783" y="2968008"/>
                  </a:lnTo>
                  <a:lnTo>
                    <a:pt x="885997" y="2970762"/>
                  </a:lnTo>
                  <a:lnTo>
                    <a:pt x="886390" y="2973516"/>
                  </a:lnTo>
                  <a:lnTo>
                    <a:pt x="884030" y="2983352"/>
                  </a:lnTo>
                  <a:lnTo>
                    <a:pt x="882456" y="2984139"/>
                  </a:lnTo>
                  <a:lnTo>
                    <a:pt x="881669" y="2987286"/>
                  </a:lnTo>
                  <a:lnTo>
                    <a:pt x="880095" y="2990040"/>
                  </a:lnTo>
                  <a:lnTo>
                    <a:pt x="880489" y="2993188"/>
                  </a:lnTo>
                  <a:lnTo>
                    <a:pt x="879701" y="2995942"/>
                  </a:lnTo>
                  <a:lnTo>
                    <a:pt x="880095" y="2998302"/>
                  </a:lnTo>
                  <a:lnTo>
                    <a:pt x="874587" y="3022301"/>
                  </a:lnTo>
                  <a:lnTo>
                    <a:pt x="873407" y="3025449"/>
                  </a:lnTo>
                  <a:lnTo>
                    <a:pt x="873407" y="3026629"/>
                  </a:lnTo>
                  <a:lnTo>
                    <a:pt x="872620" y="3030170"/>
                  </a:lnTo>
                  <a:lnTo>
                    <a:pt x="871046" y="3031743"/>
                  </a:lnTo>
                  <a:lnTo>
                    <a:pt x="870653" y="3034497"/>
                  </a:lnTo>
                  <a:lnTo>
                    <a:pt x="870260" y="3037645"/>
                  </a:lnTo>
                  <a:lnTo>
                    <a:pt x="869866" y="3040399"/>
                  </a:lnTo>
                  <a:lnTo>
                    <a:pt x="867112" y="3045907"/>
                  </a:lnTo>
                  <a:lnTo>
                    <a:pt x="866719" y="3046694"/>
                  </a:lnTo>
                  <a:lnTo>
                    <a:pt x="866719" y="3047087"/>
                  </a:lnTo>
                  <a:lnTo>
                    <a:pt x="864358" y="3049841"/>
                  </a:lnTo>
                  <a:lnTo>
                    <a:pt x="861604" y="3051415"/>
                  </a:lnTo>
                  <a:lnTo>
                    <a:pt x="862391" y="3054169"/>
                  </a:lnTo>
                  <a:lnTo>
                    <a:pt x="863571" y="3056923"/>
                  </a:lnTo>
                  <a:lnTo>
                    <a:pt x="862784" y="3059677"/>
                  </a:lnTo>
                  <a:lnTo>
                    <a:pt x="863178" y="3062824"/>
                  </a:lnTo>
                  <a:lnTo>
                    <a:pt x="863571" y="3066365"/>
                  </a:lnTo>
                  <a:lnTo>
                    <a:pt x="863964" y="3069512"/>
                  </a:lnTo>
                  <a:lnTo>
                    <a:pt x="864358" y="3072266"/>
                  </a:lnTo>
                  <a:lnTo>
                    <a:pt x="864358" y="3078168"/>
                  </a:lnTo>
                  <a:lnTo>
                    <a:pt x="863571" y="3086430"/>
                  </a:lnTo>
                  <a:lnTo>
                    <a:pt x="863178" y="3087610"/>
                  </a:lnTo>
                  <a:lnTo>
                    <a:pt x="862784" y="3090757"/>
                  </a:lnTo>
                  <a:lnTo>
                    <a:pt x="862784" y="3093905"/>
                  </a:lnTo>
                  <a:lnTo>
                    <a:pt x="862391" y="3096659"/>
                  </a:lnTo>
                  <a:lnTo>
                    <a:pt x="862391" y="3099413"/>
                  </a:lnTo>
                  <a:lnTo>
                    <a:pt x="861997" y="3102560"/>
                  </a:lnTo>
                  <a:lnTo>
                    <a:pt x="861211" y="3105314"/>
                  </a:lnTo>
                  <a:lnTo>
                    <a:pt x="860817" y="3108461"/>
                  </a:lnTo>
                  <a:lnTo>
                    <a:pt x="861211" y="3111215"/>
                  </a:lnTo>
                  <a:lnTo>
                    <a:pt x="861604" y="3114363"/>
                  </a:lnTo>
                  <a:lnTo>
                    <a:pt x="861604" y="3117117"/>
                  </a:lnTo>
                  <a:lnTo>
                    <a:pt x="862391" y="3120264"/>
                  </a:lnTo>
                  <a:lnTo>
                    <a:pt x="862784" y="3123018"/>
                  </a:lnTo>
                  <a:lnTo>
                    <a:pt x="863571" y="3125772"/>
                  </a:lnTo>
                  <a:lnTo>
                    <a:pt x="864752" y="3128526"/>
                  </a:lnTo>
                  <a:lnTo>
                    <a:pt x="867112" y="3131674"/>
                  </a:lnTo>
                  <a:lnTo>
                    <a:pt x="869866" y="3137182"/>
                  </a:lnTo>
                  <a:lnTo>
                    <a:pt x="870260" y="3140329"/>
                  </a:lnTo>
                  <a:lnTo>
                    <a:pt x="872620" y="3143083"/>
                  </a:lnTo>
                  <a:lnTo>
                    <a:pt x="875374" y="3145837"/>
                  </a:lnTo>
                  <a:lnTo>
                    <a:pt x="878521" y="3148591"/>
                  </a:lnTo>
                  <a:lnTo>
                    <a:pt x="880095" y="3151345"/>
                  </a:lnTo>
                  <a:lnTo>
                    <a:pt x="882062" y="3154099"/>
                  </a:lnTo>
                  <a:lnTo>
                    <a:pt x="883242" y="3156853"/>
                  </a:lnTo>
                  <a:lnTo>
                    <a:pt x="884816" y="3159607"/>
                  </a:lnTo>
                  <a:lnTo>
                    <a:pt x="885210" y="3160394"/>
                  </a:lnTo>
                  <a:lnTo>
                    <a:pt x="887177" y="3165115"/>
                  </a:lnTo>
                  <a:lnTo>
                    <a:pt x="887570" y="3166295"/>
                  </a:lnTo>
                  <a:lnTo>
                    <a:pt x="887964" y="3167082"/>
                  </a:lnTo>
                  <a:lnTo>
                    <a:pt x="889931" y="3172196"/>
                  </a:lnTo>
                  <a:lnTo>
                    <a:pt x="889931" y="3172590"/>
                  </a:lnTo>
                  <a:lnTo>
                    <a:pt x="890718" y="3174164"/>
                  </a:lnTo>
                  <a:lnTo>
                    <a:pt x="891898" y="3176918"/>
                  </a:lnTo>
                  <a:lnTo>
                    <a:pt x="899373" y="3192655"/>
                  </a:lnTo>
                  <a:lnTo>
                    <a:pt x="909602" y="3218227"/>
                  </a:lnTo>
                  <a:lnTo>
                    <a:pt x="909602" y="3218621"/>
                  </a:lnTo>
                  <a:lnTo>
                    <a:pt x="910389" y="3221768"/>
                  </a:lnTo>
                  <a:lnTo>
                    <a:pt x="911963" y="3224129"/>
                  </a:lnTo>
                  <a:lnTo>
                    <a:pt x="914323" y="3228456"/>
                  </a:lnTo>
                  <a:lnTo>
                    <a:pt x="914717" y="3230030"/>
                  </a:lnTo>
                  <a:lnTo>
                    <a:pt x="916684" y="3233178"/>
                  </a:lnTo>
                  <a:lnTo>
                    <a:pt x="917077" y="3233571"/>
                  </a:lnTo>
                  <a:lnTo>
                    <a:pt x="924552" y="3246947"/>
                  </a:lnTo>
                  <a:lnTo>
                    <a:pt x="924946" y="3248128"/>
                  </a:lnTo>
                  <a:lnTo>
                    <a:pt x="925733" y="3249308"/>
                  </a:lnTo>
                  <a:lnTo>
                    <a:pt x="927306" y="3252456"/>
                  </a:lnTo>
                  <a:lnTo>
                    <a:pt x="928486" y="3255210"/>
                  </a:lnTo>
                  <a:lnTo>
                    <a:pt x="931241" y="3257963"/>
                  </a:lnTo>
                  <a:lnTo>
                    <a:pt x="933601" y="3260717"/>
                  </a:lnTo>
                  <a:lnTo>
                    <a:pt x="935568" y="3263471"/>
                  </a:lnTo>
                  <a:lnTo>
                    <a:pt x="936355" y="3264258"/>
                  </a:lnTo>
                  <a:lnTo>
                    <a:pt x="937535" y="3267406"/>
                  </a:lnTo>
                  <a:lnTo>
                    <a:pt x="937535" y="3267406"/>
                  </a:lnTo>
                  <a:lnTo>
                    <a:pt x="943830" y="3284323"/>
                  </a:lnTo>
                  <a:lnTo>
                    <a:pt x="943830" y="3291405"/>
                  </a:lnTo>
                  <a:lnTo>
                    <a:pt x="942256" y="3294159"/>
                  </a:lnTo>
                  <a:lnTo>
                    <a:pt x="941076" y="3291011"/>
                  </a:lnTo>
                  <a:lnTo>
                    <a:pt x="940289" y="3294159"/>
                  </a:lnTo>
                  <a:lnTo>
                    <a:pt x="940683" y="3297306"/>
                  </a:lnTo>
                  <a:lnTo>
                    <a:pt x="941470" y="3300060"/>
                  </a:lnTo>
                  <a:lnTo>
                    <a:pt x="942650" y="3306355"/>
                  </a:lnTo>
                  <a:lnTo>
                    <a:pt x="941076" y="3308715"/>
                  </a:lnTo>
                  <a:lnTo>
                    <a:pt x="941470" y="3311470"/>
                  </a:lnTo>
                  <a:lnTo>
                    <a:pt x="942650" y="3314617"/>
                  </a:lnTo>
                  <a:lnTo>
                    <a:pt x="942650" y="3317371"/>
                  </a:lnTo>
                  <a:lnTo>
                    <a:pt x="942256" y="3320518"/>
                  </a:lnTo>
                  <a:lnTo>
                    <a:pt x="943044" y="3323272"/>
                  </a:lnTo>
                  <a:lnTo>
                    <a:pt x="942256" y="3326026"/>
                  </a:lnTo>
                  <a:lnTo>
                    <a:pt x="941076" y="3328780"/>
                  </a:lnTo>
                  <a:lnTo>
                    <a:pt x="941076" y="3331534"/>
                  </a:lnTo>
                  <a:lnTo>
                    <a:pt x="941863" y="3334682"/>
                  </a:lnTo>
                  <a:lnTo>
                    <a:pt x="942650" y="3337436"/>
                  </a:lnTo>
                  <a:lnTo>
                    <a:pt x="944223" y="3340190"/>
                  </a:lnTo>
                  <a:lnTo>
                    <a:pt x="945404" y="3343337"/>
                  </a:lnTo>
                  <a:lnTo>
                    <a:pt x="945797" y="3346091"/>
                  </a:lnTo>
                  <a:lnTo>
                    <a:pt x="946584" y="3348845"/>
                  </a:lnTo>
                  <a:lnTo>
                    <a:pt x="948945" y="3351599"/>
                  </a:lnTo>
                  <a:lnTo>
                    <a:pt x="950518" y="3354746"/>
                  </a:lnTo>
                  <a:lnTo>
                    <a:pt x="951699" y="3357500"/>
                  </a:lnTo>
                  <a:lnTo>
                    <a:pt x="951699" y="3360648"/>
                  </a:lnTo>
                  <a:lnTo>
                    <a:pt x="952879" y="3362221"/>
                  </a:lnTo>
                  <a:lnTo>
                    <a:pt x="953272" y="3365369"/>
                  </a:lnTo>
                  <a:lnTo>
                    <a:pt x="952879" y="3368123"/>
                  </a:lnTo>
                  <a:lnTo>
                    <a:pt x="952092" y="3370877"/>
                  </a:lnTo>
                  <a:lnTo>
                    <a:pt x="952092" y="3373631"/>
                  </a:lnTo>
                  <a:lnTo>
                    <a:pt x="952879" y="3376778"/>
                  </a:lnTo>
                  <a:lnTo>
                    <a:pt x="953666" y="3379532"/>
                  </a:lnTo>
                  <a:lnTo>
                    <a:pt x="953272" y="3382286"/>
                  </a:lnTo>
                  <a:lnTo>
                    <a:pt x="952879" y="3385434"/>
                  </a:lnTo>
                  <a:lnTo>
                    <a:pt x="953272" y="3388188"/>
                  </a:lnTo>
                  <a:lnTo>
                    <a:pt x="954846" y="3390942"/>
                  </a:lnTo>
                  <a:lnTo>
                    <a:pt x="955240" y="3394089"/>
                  </a:lnTo>
                  <a:lnTo>
                    <a:pt x="956813" y="3396843"/>
                  </a:lnTo>
                  <a:lnTo>
                    <a:pt x="957207" y="3399597"/>
                  </a:lnTo>
                  <a:lnTo>
                    <a:pt x="956420" y="3402744"/>
                  </a:lnTo>
                  <a:lnTo>
                    <a:pt x="956026" y="3405892"/>
                  </a:lnTo>
                  <a:lnTo>
                    <a:pt x="958781" y="3408646"/>
                  </a:lnTo>
                  <a:lnTo>
                    <a:pt x="959567" y="3409039"/>
                  </a:lnTo>
                  <a:lnTo>
                    <a:pt x="961141" y="3417301"/>
                  </a:lnTo>
                  <a:lnTo>
                    <a:pt x="959567" y="3420055"/>
                  </a:lnTo>
                  <a:lnTo>
                    <a:pt x="960354" y="3422809"/>
                  </a:lnTo>
                  <a:lnTo>
                    <a:pt x="961141" y="3425563"/>
                  </a:lnTo>
                  <a:lnTo>
                    <a:pt x="963501" y="3428317"/>
                  </a:lnTo>
                  <a:lnTo>
                    <a:pt x="963895" y="3431465"/>
                  </a:lnTo>
                  <a:lnTo>
                    <a:pt x="964288" y="3436972"/>
                  </a:lnTo>
                  <a:lnTo>
                    <a:pt x="965075" y="3439726"/>
                  </a:lnTo>
                  <a:lnTo>
                    <a:pt x="967042" y="3442874"/>
                  </a:lnTo>
                  <a:lnTo>
                    <a:pt x="968616" y="3445628"/>
                  </a:lnTo>
                  <a:lnTo>
                    <a:pt x="970190" y="3448382"/>
                  </a:lnTo>
                  <a:lnTo>
                    <a:pt x="971763" y="3451529"/>
                  </a:lnTo>
                  <a:lnTo>
                    <a:pt x="972157" y="3454283"/>
                  </a:lnTo>
                  <a:lnTo>
                    <a:pt x="974911" y="3457037"/>
                  </a:lnTo>
                  <a:lnTo>
                    <a:pt x="976485" y="3459791"/>
                  </a:lnTo>
                  <a:lnTo>
                    <a:pt x="978058" y="3462939"/>
                  </a:lnTo>
                  <a:lnTo>
                    <a:pt x="980812" y="3465693"/>
                  </a:lnTo>
                  <a:lnTo>
                    <a:pt x="983173" y="3468446"/>
                  </a:lnTo>
                  <a:lnTo>
                    <a:pt x="986320" y="3470807"/>
                  </a:lnTo>
                  <a:lnTo>
                    <a:pt x="991041" y="3476315"/>
                  </a:lnTo>
                  <a:lnTo>
                    <a:pt x="992222" y="3477102"/>
                  </a:lnTo>
                  <a:lnTo>
                    <a:pt x="994976" y="3479856"/>
                  </a:lnTo>
                  <a:lnTo>
                    <a:pt x="997729" y="3482610"/>
                  </a:lnTo>
                  <a:lnTo>
                    <a:pt x="1000484" y="3482216"/>
                  </a:lnTo>
                  <a:lnTo>
                    <a:pt x="1000877" y="3484970"/>
                  </a:lnTo>
                  <a:lnTo>
                    <a:pt x="1002451" y="3488118"/>
                  </a:lnTo>
                  <a:lnTo>
                    <a:pt x="1002844" y="3490872"/>
                  </a:lnTo>
                  <a:lnTo>
                    <a:pt x="1004418" y="3492446"/>
                  </a:lnTo>
                  <a:lnTo>
                    <a:pt x="1015827" y="3519199"/>
                  </a:lnTo>
                  <a:lnTo>
                    <a:pt x="1016221" y="3521953"/>
                  </a:lnTo>
                  <a:lnTo>
                    <a:pt x="1017007" y="3524707"/>
                  </a:lnTo>
                  <a:lnTo>
                    <a:pt x="1017795" y="3527460"/>
                  </a:lnTo>
                  <a:lnTo>
                    <a:pt x="1018581" y="3529821"/>
                  </a:lnTo>
                  <a:lnTo>
                    <a:pt x="1018975" y="3532575"/>
                  </a:lnTo>
                  <a:lnTo>
                    <a:pt x="1020155" y="3535329"/>
                  </a:lnTo>
                  <a:lnTo>
                    <a:pt x="1021335" y="3538477"/>
                  </a:lnTo>
                  <a:lnTo>
                    <a:pt x="1021729" y="3541230"/>
                  </a:lnTo>
                  <a:lnTo>
                    <a:pt x="1023302" y="3543984"/>
                  </a:lnTo>
                  <a:lnTo>
                    <a:pt x="1024876" y="3547132"/>
                  </a:lnTo>
                  <a:lnTo>
                    <a:pt x="1026450" y="3549886"/>
                  </a:lnTo>
                  <a:lnTo>
                    <a:pt x="1027236" y="3552640"/>
                  </a:lnTo>
                  <a:lnTo>
                    <a:pt x="1028417" y="3555000"/>
                  </a:lnTo>
                  <a:lnTo>
                    <a:pt x="1030384" y="3559721"/>
                  </a:lnTo>
                  <a:lnTo>
                    <a:pt x="1034712" y="3567590"/>
                  </a:lnTo>
                  <a:lnTo>
                    <a:pt x="1035105" y="3568377"/>
                  </a:lnTo>
                  <a:lnTo>
                    <a:pt x="1035499" y="3568770"/>
                  </a:lnTo>
                  <a:lnTo>
                    <a:pt x="1049662" y="3596704"/>
                  </a:lnTo>
                  <a:lnTo>
                    <a:pt x="1050055" y="3600244"/>
                  </a:lnTo>
                  <a:lnTo>
                    <a:pt x="1050055" y="3602605"/>
                  </a:lnTo>
                  <a:lnTo>
                    <a:pt x="1050842" y="3605359"/>
                  </a:lnTo>
                  <a:lnTo>
                    <a:pt x="1051236" y="3607719"/>
                  </a:lnTo>
                  <a:lnTo>
                    <a:pt x="1044547" y="3624637"/>
                  </a:lnTo>
                  <a:lnTo>
                    <a:pt x="1041793" y="3623850"/>
                  </a:lnTo>
                  <a:lnTo>
                    <a:pt x="1039039" y="3622276"/>
                  </a:lnTo>
                  <a:lnTo>
                    <a:pt x="1038253" y="3625030"/>
                  </a:lnTo>
                  <a:lnTo>
                    <a:pt x="1037466" y="3627784"/>
                  </a:lnTo>
                  <a:lnTo>
                    <a:pt x="1037072" y="3628965"/>
                  </a:lnTo>
                  <a:lnTo>
                    <a:pt x="1037466" y="3631718"/>
                  </a:lnTo>
                  <a:lnTo>
                    <a:pt x="1040220" y="3631718"/>
                  </a:lnTo>
                  <a:lnTo>
                    <a:pt x="1041400" y="3632112"/>
                  </a:lnTo>
                  <a:lnTo>
                    <a:pt x="1041793" y="3634866"/>
                  </a:lnTo>
                  <a:lnTo>
                    <a:pt x="1042187" y="3635653"/>
                  </a:lnTo>
                  <a:lnTo>
                    <a:pt x="1042580" y="3636833"/>
                  </a:lnTo>
                  <a:lnTo>
                    <a:pt x="1041006" y="3635653"/>
                  </a:lnTo>
                  <a:lnTo>
                    <a:pt x="1042580" y="3638407"/>
                  </a:lnTo>
                  <a:lnTo>
                    <a:pt x="1043761" y="3639980"/>
                  </a:lnTo>
                  <a:lnTo>
                    <a:pt x="1044941" y="3643128"/>
                  </a:lnTo>
                  <a:lnTo>
                    <a:pt x="1046121" y="3643915"/>
                  </a:lnTo>
                  <a:lnTo>
                    <a:pt x="1052809" y="3656504"/>
                  </a:lnTo>
                  <a:lnTo>
                    <a:pt x="1050055" y="3664766"/>
                  </a:lnTo>
                  <a:lnTo>
                    <a:pt x="1050055" y="3667127"/>
                  </a:lnTo>
                  <a:lnTo>
                    <a:pt x="1048875" y="3669881"/>
                  </a:lnTo>
                  <a:lnTo>
                    <a:pt x="1050842" y="3672635"/>
                  </a:lnTo>
                  <a:lnTo>
                    <a:pt x="1051629" y="3675782"/>
                  </a:lnTo>
                  <a:lnTo>
                    <a:pt x="1053596" y="3676962"/>
                  </a:lnTo>
                  <a:lnTo>
                    <a:pt x="1054383" y="3668307"/>
                  </a:lnTo>
                  <a:lnTo>
                    <a:pt x="1058711" y="3667914"/>
                  </a:lnTo>
                  <a:lnTo>
                    <a:pt x="1063432" y="3669094"/>
                  </a:lnTo>
                  <a:lnTo>
                    <a:pt x="1063039" y="3672241"/>
                  </a:lnTo>
                  <a:lnTo>
                    <a:pt x="1063825" y="3674602"/>
                  </a:lnTo>
                  <a:lnTo>
                    <a:pt x="1063039" y="3677356"/>
                  </a:lnTo>
                  <a:lnTo>
                    <a:pt x="1065792" y="3677749"/>
                  </a:lnTo>
                  <a:lnTo>
                    <a:pt x="1070513" y="3677356"/>
                  </a:lnTo>
                  <a:lnTo>
                    <a:pt x="1077595" y="3684438"/>
                  </a:lnTo>
                  <a:lnTo>
                    <a:pt x="1077202" y="3685618"/>
                  </a:lnTo>
                  <a:lnTo>
                    <a:pt x="1079562" y="3686405"/>
                  </a:lnTo>
                  <a:lnTo>
                    <a:pt x="1082316" y="3688765"/>
                  </a:lnTo>
                  <a:lnTo>
                    <a:pt x="1085464" y="3691126"/>
                  </a:lnTo>
                  <a:lnTo>
                    <a:pt x="1088218" y="3691519"/>
                  </a:lnTo>
                  <a:lnTo>
                    <a:pt x="1090972" y="3691519"/>
                  </a:lnTo>
                  <a:lnTo>
                    <a:pt x="1094119" y="3693093"/>
                  </a:lnTo>
                  <a:lnTo>
                    <a:pt x="1094119" y="3693093"/>
                  </a:lnTo>
                  <a:lnTo>
                    <a:pt x="1096086" y="3693880"/>
                  </a:lnTo>
                  <a:lnTo>
                    <a:pt x="1115364" y="3680897"/>
                  </a:lnTo>
                  <a:lnTo>
                    <a:pt x="1118512" y="3681290"/>
                  </a:lnTo>
                  <a:lnTo>
                    <a:pt x="1119692" y="3679323"/>
                  </a:lnTo>
                  <a:lnTo>
                    <a:pt x="1125200" y="3678143"/>
                  </a:lnTo>
                  <a:lnTo>
                    <a:pt x="1127954" y="3678536"/>
                  </a:lnTo>
                  <a:lnTo>
                    <a:pt x="1131101" y="3679716"/>
                  </a:lnTo>
                  <a:lnTo>
                    <a:pt x="1133855" y="3680110"/>
                  </a:lnTo>
                  <a:lnTo>
                    <a:pt x="1136609" y="3678930"/>
                  </a:lnTo>
                  <a:lnTo>
                    <a:pt x="1139757" y="3677356"/>
                  </a:lnTo>
                  <a:lnTo>
                    <a:pt x="1142511" y="3678536"/>
                  </a:lnTo>
                  <a:lnTo>
                    <a:pt x="1145658" y="3678930"/>
                  </a:lnTo>
                  <a:lnTo>
                    <a:pt x="1148412" y="3678143"/>
                  </a:lnTo>
                  <a:lnTo>
                    <a:pt x="1149592" y="3677356"/>
                  </a:lnTo>
                  <a:lnTo>
                    <a:pt x="1155100" y="3672241"/>
                  </a:lnTo>
                  <a:lnTo>
                    <a:pt x="1156674" y="3672241"/>
                  </a:lnTo>
                  <a:lnTo>
                    <a:pt x="1157067" y="3670668"/>
                  </a:lnTo>
                  <a:lnTo>
                    <a:pt x="1160215" y="3667914"/>
                  </a:lnTo>
                  <a:lnTo>
                    <a:pt x="1163756" y="3667520"/>
                  </a:lnTo>
                  <a:lnTo>
                    <a:pt x="1166509" y="3667914"/>
                  </a:lnTo>
                  <a:lnTo>
                    <a:pt x="1167690" y="3667127"/>
                  </a:lnTo>
                  <a:lnTo>
                    <a:pt x="1172804" y="3666340"/>
                  </a:lnTo>
                  <a:lnTo>
                    <a:pt x="1175558" y="3667127"/>
                  </a:lnTo>
                  <a:lnTo>
                    <a:pt x="1175952" y="3666733"/>
                  </a:lnTo>
                  <a:lnTo>
                    <a:pt x="1175558" y="3666340"/>
                  </a:lnTo>
                  <a:lnTo>
                    <a:pt x="1175558" y="3680503"/>
                  </a:lnTo>
                  <a:lnTo>
                    <a:pt x="1175952" y="3679716"/>
                  </a:lnTo>
                  <a:lnTo>
                    <a:pt x="1176345" y="3680897"/>
                  </a:lnTo>
                  <a:lnTo>
                    <a:pt x="1176345" y="3681290"/>
                  </a:lnTo>
                  <a:lnTo>
                    <a:pt x="1179099" y="3682864"/>
                  </a:lnTo>
                  <a:lnTo>
                    <a:pt x="1181853" y="3683257"/>
                  </a:lnTo>
                  <a:lnTo>
                    <a:pt x="1182640" y="3682470"/>
                  </a:lnTo>
                  <a:lnTo>
                    <a:pt x="1183034" y="3682077"/>
                  </a:lnTo>
                  <a:lnTo>
                    <a:pt x="1185787" y="3683651"/>
                  </a:lnTo>
                  <a:lnTo>
                    <a:pt x="1188541" y="3684044"/>
                  </a:lnTo>
                  <a:lnTo>
                    <a:pt x="1191689" y="3684438"/>
                  </a:lnTo>
                  <a:lnTo>
                    <a:pt x="1193263" y="3681684"/>
                  </a:lnTo>
                  <a:lnTo>
                    <a:pt x="1196016" y="3681290"/>
                  </a:lnTo>
                  <a:lnTo>
                    <a:pt x="1199164" y="3680897"/>
                  </a:lnTo>
                  <a:lnTo>
                    <a:pt x="1199951" y="3680503"/>
                  </a:lnTo>
                  <a:lnTo>
                    <a:pt x="1202705" y="3681290"/>
                  </a:lnTo>
                  <a:lnTo>
                    <a:pt x="1205852" y="3681684"/>
                  </a:lnTo>
                  <a:lnTo>
                    <a:pt x="1209000" y="3682077"/>
                  </a:lnTo>
                  <a:lnTo>
                    <a:pt x="1211754" y="3682470"/>
                  </a:lnTo>
                  <a:lnTo>
                    <a:pt x="1214508" y="3683257"/>
                  </a:lnTo>
                  <a:lnTo>
                    <a:pt x="1217655" y="3684438"/>
                  </a:lnTo>
                  <a:lnTo>
                    <a:pt x="1220409" y="3684831"/>
                  </a:lnTo>
                  <a:lnTo>
                    <a:pt x="1223163" y="3686798"/>
                  </a:lnTo>
                  <a:lnTo>
                    <a:pt x="1225917" y="3687192"/>
                  </a:lnTo>
                  <a:lnTo>
                    <a:pt x="1228671" y="3686798"/>
                  </a:lnTo>
                  <a:lnTo>
                    <a:pt x="1231818" y="3687192"/>
                  </a:lnTo>
                  <a:lnTo>
                    <a:pt x="1234572" y="3684438"/>
                  </a:lnTo>
                  <a:lnTo>
                    <a:pt x="1235752" y="3681684"/>
                  </a:lnTo>
                  <a:lnTo>
                    <a:pt x="1238507" y="3680110"/>
                  </a:lnTo>
                  <a:lnTo>
                    <a:pt x="1238900" y="3679716"/>
                  </a:lnTo>
                  <a:lnTo>
                    <a:pt x="1244408" y="3680110"/>
                  </a:lnTo>
                  <a:lnTo>
                    <a:pt x="1247162" y="3680897"/>
                  </a:lnTo>
                  <a:lnTo>
                    <a:pt x="1249916" y="3682077"/>
                  </a:lnTo>
                  <a:lnTo>
                    <a:pt x="1252670" y="3682470"/>
                  </a:lnTo>
                  <a:lnTo>
                    <a:pt x="1255818" y="3682864"/>
                  </a:lnTo>
                  <a:lnTo>
                    <a:pt x="1258571" y="3682077"/>
                  </a:lnTo>
                  <a:lnTo>
                    <a:pt x="1262899" y="3672241"/>
                  </a:lnTo>
                  <a:lnTo>
                    <a:pt x="1269587" y="3671848"/>
                  </a:lnTo>
                  <a:lnTo>
                    <a:pt x="1271555" y="3672241"/>
                  </a:lnTo>
                  <a:lnTo>
                    <a:pt x="1274702" y="3673028"/>
                  </a:lnTo>
                  <a:lnTo>
                    <a:pt x="1277456" y="3673028"/>
                  </a:lnTo>
                  <a:lnTo>
                    <a:pt x="1280603" y="3673815"/>
                  </a:lnTo>
                  <a:lnTo>
                    <a:pt x="1283357" y="3672241"/>
                  </a:lnTo>
                  <a:lnTo>
                    <a:pt x="1286111" y="3670668"/>
                  </a:lnTo>
                  <a:lnTo>
                    <a:pt x="1288865" y="3669094"/>
                  </a:lnTo>
                  <a:lnTo>
                    <a:pt x="1291619" y="3668701"/>
                  </a:lnTo>
                  <a:lnTo>
                    <a:pt x="1294373" y="3667127"/>
                  </a:lnTo>
                  <a:lnTo>
                    <a:pt x="1297521" y="3665947"/>
                  </a:lnTo>
                  <a:lnTo>
                    <a:pt x="1299488" y="3663979"/>
                  </a:lnTo>
                  <a:lnTo>
                    <a:pt x="1302242" y="3662799"/>
                  </a:lnTo>
                  <a:lnTo>
                    <a:pt x="1304996" y="3660045"/>
                  </a:lnTo>
                  <a:lnTo>
                    <a:pt x="1308143" y="3658472"/>
                  </a:lnTo>
                  <a:lnTo>
                    <a:pt x="1310503" y="3656504"/>
                  </a:lnTo>
                  <a:lnTo>
                    <a:pt x="1312864" y="3654931"/>
                  </a:lnTo>
                  <a:lnTo>
                    <a:pt x="1314044" y="3654144"/>
                  </a:lnTo>
                  <a:lnTo>
                    <a:pt x="1316012" y="3652570"/>
                  </a:lnTo>
                  <a:lnTo>
                    <a:pt x="1318766" y="3650209"/>
                  </a:lnTo>
                  <a:lnTo>
                    <a:pt x="1321520" y="3648636"/>
                  </a:lnTo>
                  <a:lnTo>
                    <a:pt x="1324273" y="3646275"/>
                  </a:lnTo>
                  <a:lnTo>
                    <a:pt x="1327421" y="3643915"/>
                  </a:lnTo>
                  <a:lnTo>
                    <a:pt x="1328995" y="3641161"/>
                  </a:lnTo>
                  <a:lnTo>
                    <a:pt x="1330175" y="3639980"/>
                  </a:lnTo>
                  <a:lnTo>
                    <a:pt x="1332929" y="3638407"/>
                  </a:lnTo>
                  <a:lnTo>
                    <a:pt x="1335683" y="3636833"/>
                  </a:lnTo>
                  <a:lnTo>
                    <a:pt x="1336076" y="3636046"/>
                  </a:lnTo>
                  <a:lnTo>
                    <a:pt x="1338830" y="3634079"/>
                  </a:lnTo>
                  <a:lnTo>
                    <a:pt x="1344339" y="3628571"/>
                  </a:lnTo>
                  <a:lnTo>
                    <a:pt x="1347486" y="3625817"/>
                  </a:lnTo>
                  <a:lnTo>
                    <a:pt x="1350240" y="3623063"/>
                  </a:lnTo>
                  <a:lnTo>
                    <a:pt x="1355354" y="3617555"/>
                  </a:lnTo>
                  <a:lnTo>
                    <a:pt x="1358108" y="3614408"/>
                  </a:lnTo>
                  <a:lnTo>
                    <a:pt x="1359288" y="3612441"/>
                  </a:lnTo>
                  <a:lnTo>
                    <a:pt x="1371878" y="3599851"/>
                  </a:lnTo>
                  <a:lnTo>
                    <a:pt x="1374632" y="3597490"/>
                  </a:lnTo>
                  <a:lnTo>
                    <a:pt x="1374632" y="3597490"/>
                  </a:lnTo>
                  <a:lnTo>
                    <a:pt x="1378960" y="3593950"/>
                  </a:lnTo>
                  <a:lnTo>
                    <a:pt x="1380140" y="3593556"/>
                  </a:lnTo>
                  <a:lnTo>
                    <a:pt x="1382894" y="3590802"/>
                  </a:lnTo>
                  <a:lnTo>
                    <a:pt x="1384861" y="3589228"/>
                  </a:lnTo>
                  <a:lnTo>
                    <a:pt x="1386828" y="3586868"/>
                  </a:lnTo>
                  <a:lnTo>
                    <a:pt x="1390763" y="3581360"/>
                  </a:lnTo>
                  <a:lnTo>
                    <a:pt x="1393123" y="3578213"/>
                  </a:lnTo>
                  <a:lnTo>
                    <a:pt x="1395484" y="3575458"/>
                  </a:lnTo>
                  <a:lnTo>
                    <a:pt x="1397844" y="3572704"/>
                  </a:lnTo>
                  <a:lnTo>
                    <a:pt x="1399418" y="3569951"/>
                  </a:lnTo>
                  <a:lnTo>
                    <a:pt x="1399812" y="3569164"/>
                  </a:lnTo>
                  <a:lnTo>
                    <a:pt x="1402172" y="3565623"/>
                  </a:lnTo>
                  <a:lnTo>
                    <a:pt x="1402959" y="3564049"/>
                  </a:lnTo>
                  <a:lnTo>
                    <a:pt x="1408073" y="3555394"/>
                  </a:lnTo>
                  <a:lnTo>
                    <a:pt x="1408860" y="3554214"/>
                  </a:lnTo>
                  <a:lnTo>
                    <a:pt x="1410434" y="3551460"/>
                  </a:lnTo>
                  <a:lnTo>
                    <a:pt x="1410827" y="3551066"/>
                  </a:lnTo>
                  <a:lnTo>
                    <a:pt x="1411221" y="3549886"/>
                  </a:lnTo>
                  <a:lnTo>
                    <a:pt x="1414761" y="3544378"/>
                  </a:lnTo>
                  <a:lnTo>
                    <a:pt x="1417516" y="3541624"/>
                  </a:lnTo>
                  <a:lnTo>
                    <a:pt x="1418302" y="3540050"/>
                  </a:lnTo>
                  <a:lnTo>
                    <a:pt x="1417909" y="3537690"/>
                  </a:lnTo>
                  <a:lnTo>
                    <a:pt x="1418302" y="3536116"/>
                  </a:lnTo>
                  <a:lnTo>
                    <a:pt x="1419876" y="3532968"/>
                  </a:lnTo>
                  <a:lnTo>
                    <a:pt x="1421450" y="3530214"/>
                  </a:lnTo>
                  <a:lnTo>
                    <a:pt x="1421450" y="3529821"/>
                  </a:lnTo>
                  <a:lnTo>
                    <a:pt x="1423810" y="3527067"/>
                  </a:lnTo>
                  <a:lnTo>
                    <a:pt x="1424597" y="3525887"/>
                  </a:lnTo>
                  <a:lnTo>
                    <a:pt x="1426564" y="3523133"/>
                  </a:lnTo>
                  <a:lnTo>
                    <a:pt x="1428138" y="3521166"/>
                  </a:lnTo>
                  <a:lnTo>
                    <a:pt x="1430499" y="3518018"/>
                  </a:lnTo>
                  <a:lnTo>
                    <a:pt x="1430892" y="3517231"/>
                  </a:lnTo>
                  <a:lnTo>
                    <a:pt x="1432072" y="3516838"/>
                  </a:lnTo>
                  <a:lnTo>
                    <a:pt x="1434827" y="3514084"/>
                  </a:lnTo>
                  <a:lnTo>
                    <a:pt x="1436400" y="3512510"/>
                  </a:lnTo>
                  <a:lnTo>
                    <a:pt x="1439154" y="3509756"/>
                  </a:lnTo>
                  <a:lnTo>
                    <a:pt x="1439941" y="3508183"/>
                  </a:lnTo>
                  <a:lnTo>
                    <a:pt x="1440728" y="3507789"/>
                  </a:lnTo>
                  <a:lnTo>
                    <a:pt x="1441515" y="3508183"/>
                  </a:lnTo>
                  <a:lnTo>
                    <a:pt x="1444268" y="3507396"/>
                  </a:lnTo>
                  <a:lnTo>
                    <a:pt x="1447023" y="3505822"/>
                  </a:lnTo>
                  <a:lnTo>
                    <a:pt x="1446629" y="3503855"/>
                  </a:lnTo>
                  <a:lnTo>
                    <a:pt x="1449383" y="3503462"/>
                  </a:lnTo>
                  <a:lnTo>
                    <a:pt x="1452531" y="3500707"/>
                  </a:lnTo>
                  <a:lnTo>
                    <a:pt x="1455285" y="3497953"/>
                  </a:lnTo>
                  <a:lnTo>
                    <a:pt x="1458038" y="3495200"/>
                  </a:lnTo>
                  <a:lnTo>
                    <a:pt x="1459612" y="3492446"/>
                  </a:lnTo>
                  <a:lnTo>
                    <a:pt x="1459612" y="3490085"/>
                  </a:lnTo>
                  <a:lnTo>
                    <a:pt x="1459612" y="3489692"/>
                  </a:lnTo>
                  <a:lnTo>
                    <a:pt x="1462366" y="3485757"/>
                  </a:lnTo>
                  <a:lnTo>
                    <a:pt x="1463940" y="3483003"/>
                  </a:lnTo>
                  <a:lnTo>
                    <a:pt x="1464727" y="3479856"/>
                  </a:lnTo>
                  <a:lnTo>
                    <a:pt x="1465120" y="3477102"/>
                  </a:lnTo>
                  <a:lnTo>
                    <a:pt x="1465907" y="3474348"/>
                  </a:lnTo>
                  <a:lnTo>
                    <a:pt x="1465514" y="3473561"/>
                  </a:lnTo>
                  <a:lnTo>
                    <a:pt x="1466301" y="3470414"/>
                  </a:lnTo>
                  <a:lnTo>
                    <a:pt x="1466301" y="3469627"/>
                  </a:lnTo>
                  <a:lnTo>
                    <a:pt x="1468268" y="3461365"/>
                  </a:lnTo>
                  <a:lnTo>
                    <a:pt x="1470235" y="3456644"/>
                  </a:lnTo>
                  <a:lnTo>
                    <a:pt x="1470628" y="3455857"/>
                  </a:lnTo>
                  <a:lnTo>
                    <a:pt x="1471022" y="3454283"/>
                  </a:lnTo>
                  <a:lnTo>
                    <a:pt x="1472595" y="3448775"/>
                  </a:lnTo>
                  <a:lnTo>
                    <a:pt x="1474169" y="3446021"/>
                  </a:lnTo>
                  <a:lnTo>
                    <a:pt x="1474956" y="3442874"/>
                  </a:lnTo>
                  <a:lnTo>
                    <a:pt x="1475349" y="3440120"/>
                  </a:lnTo>
                  <a:lnTo>
                    <a:pt x="1476136" y="3437759"/>
                  </a:lnTo>
                  <a:lnTo>
                    <a:pt x="1476530" y="3434612"/>
                  </a:lnTo>
                  <a:lnTo>
                    <a:pt x="1476923" y="3431858"/>
                  </a:lnTo>
                  <a:lnTo>
                    <a:pt x="1477710" y="3429104"/>
                  </a:lnTo>
                  <a:lnTo>
                    <a:pt x="1478104" y="3425956"/>
                  </a:lnTo>
                  <a:lnTo>
                    <a:pt x="1478497" y="3423202"/>
                  </a:lnTo>
                  <a:lnTo>
                    <a:pt x="1478890" y="3420055"/>
                  </a:lnTo>
                  <a:lnTo>
                    <a:pt x="1479283" y="3417301"/>
                  </a:lnTo>
                  <a:lnTo>
                    <a:pt x="1479677" y="3414547"/>
                  </a:lnTo>
                  <a:lnTo>
                    <a:pt x="1477316" y="3417301"/>
                  </a:lnTo>
                  <a:lnTo>
                    <a:pt x="1474563" y="3416121"/>
                  </a:lnTo>
                  <a:lnTo>
                    <a:pt x="1472202" y="3415334"/>
                  </a:lnTo>
                  <a:lnTo>
                    <a:pt x="1471808" y="3412580"/>
                  </a:lnTo>
                  <a:lnTo>
                    <a:pt x="1470235" y="3409433"/>
                  </a:lnTo>
                  <a:lnTo>
                    <a:pt x="1467481" y="3409433"/>
                  </a:lnTo>
                  <a:lnTo>
                    <a:pt x="1466694" y="3409039"/>
                  </a:lnTo>
                  <a:lnTo>
                    <a:pt x="1469841" y="3408252"/>
                  </a:lnTo>
                  <a:lnTo>
                    <a:pt x="1472595" y="3405892"/>
                  </a:lnTo>
                  <a:lnTo>
                    <a:pt x="1474169" y="3403138"/>
                  </a:lnTo>
                  <a:lnTo>
                    <a:pt x="1474956" y="3402351"/>
                  </a:lnTo>
                  <a:lnTo>
                    <a:pt x="1487545" y="3387794"/>
                  </a:lnTo>
                  <a:lnTo>
                    <a:pt x="1488332" y="3387401"/>
                  </a:lnTo>
                  <a:lnTo>
                    <a:pt x="1489906" y="3384647"/>
                  </a:lnTo>
                  <a:lnTo>
                    <a:pt x="1491086" y="3384253"/>
                  </a:lnTo>
                  <a:lnTo>
                    <a:pt x="1494234" y="3383466"/>
                  </a:lnTo>
                  <a:lnTo>
                    <a:pt x="1495808" y="3382286"/>
                  </a:lnTo>
                  <a:lnTo>
                    <a:pt x="1498955" y="3381106"/>
                  </a:lnTo>
                  <a:lnTo>
                    <a:pt x="1515085" y="3374418"/>
                  </a:lnTo>
                  <a:lnTo>
                    <a:pt x="1517839" y="3373237"/>
                  </a:lnTo>
                  <a:lnTo>
                    <a:pt x="1520987" y="3372451"/>
                  </a:lnTo>
                  <a:lnTo>
                    <a:pt x="1523741" y="3370877"/>
                  </a:lnTo>
                  <a:lnTo>
                    <a:pt x="1525315" y="3370090"/>
                  </a:lnTo>
                  <a:lnTo>
                    <a:pt x="1527675" y="3369303"/>
                  </a:lnTo>
                  <a:lnTo>
                    <a:pt x="1530429" y="3368516"/>
                  </a:lnTo>
                  <a:lnTo>
                    <a:pt x="1531216" y="3368123"/>
                  </a:lnTo>
                  <a:cubicBezTo>
                    <a:pt x="1535937" y="3366549"/>
                    <a:pt x="1541052" y="3364582"/>
                    <a:pt x="1544986" y="3361435"/>
                  </a:cubicBezTo>
                  <a:lnTo>
                    <a:pt x="1545379" y="3361041"/>
                  </a:lnTo>
                  <a:lnTo>
                    <a:pt x="1547346" y="3359468"/>
                  </a:lnTo>
                  <a:cubicBezTo>
                    <a:pt x="1547346" y="3359468"/>
                    <a:pt x="1547346" y="3359468"/>
                    <a:pt x="1547346" y="3359468"/>
                  </a:cubicBezTo>
                  <a:lnTo>
                    <a:pt x="1547346" y="3359468"/>
                  </a:lnTo>
                  <a:lnTo>
                    <a:pt x="1548526" y="3358681"/>
                  </a:lnTo>
                  <a:lnTo>
                    <a:pt x="1550100" y="3355927"/>
                  </a:lnTo>
                  <a:lnTo>
                    <a:pt x="1552461" y="3353173"/>
                  </a:lnTo>
                  <a:lnTo>
                    <a:pt x="1554428" y="3350419"/>
                  </a:lnTo>
                  <a:lnTo>
                    <a:pt x="1556395" y="3347665"/>
                  </a:lnTo>
                  <a:lnTo>
                    <a:pt x="1556789" y="3347271"/>
                  </a:lnTo>
                  <a:cubicBezTo>
                    <a:pt x="1556002" y="3343731"/>
                    <a:pt x="1555608" y="3340190"/>
                    <a:pt x="1555215" y="3336649"/>
                  </a:cubicBezTo>
                  <a:lnTo>
                    <a:pt x="1554822" y="3339009"/>
                  </a:lnTo>
                  <a:lnTo>
                    <a:pt x="1554428" y="3335862"/>
                  </a:lnTo>
                  <a:lnTo>
                    <a:pt x="1554822" y="3333108"/>
                  </a:lnTo>
                  <a:cubicBezTo>
                    <a:pt x="1554822" y="3332321"/>
                    <a:pt x="1554822" y="3331534"/>
                    <a:pt x="1554822" y="3330354"/>
                  </a:cubicBezTo>
                  <a:cubicBezTo>
                    <a:pt x="1554035" y="3316584"/>
                    <a:pt x="1556395" y="3303601"/>
                    <a:pt x="1560723" y="3291405"/>
                  </a:cubicBezTo>
                  <a:lnTo>
                    <a:pt x="1561116" y="3289437"/>
                  </a:lnTo>
                  <a:lnTo>
                    <a:pt x="1562296" y="3286684"/>
                  </a:lnTo>
                  <a:lnTo>
                    <a:pt x="1562296" y="3283536"/>
                  </a:lnTo>
                  <a:lnTo>
                    <a:pt x="1562690" y="3281963"/>
                  </a:lnTo>
                  <a:lnTo>
                    <a:pt x="1563084" y="3279209"/>
                  </a:lnTo>
                  <a:lnTo>
                    <a:pt x="1562296" y="3282356"/>
                  </a:lnTo>
                  <a:lnTo>
                    <a:pt x="1561903" y="3279209"/>
                  </a:lnTo>
                  <a:lnTo>
                    <a:pt x="1561903" y="3276454"/>
                  </a:lnTo>
                  <a:lnTo>
                    <a:pt x="1559936" y="3279209"/>
                  </a:lnTo>
                  <a:lnTo>
                    <a:pt x="1558362" y="3282356"/>
                  </a:lnTo>
                  <a:lnTo>
                    <a:pt x="1558756" y="3285503"/>
                  </a:lnTo>
                  <a:lnTo>
                    <a:pt x="1558362" y="3288257"/>
                  </a:lnTo>
                  <a:lnTo>
                    <a:pt x="1555608" y="3285110"/>
                  </a:lnTo>
                  <a:lnTo>
                    <a:pt x="1556395" y="3282356"/>
                  </a:lnTo>
                  <a:lnTo>
                    <a:pt x="1556789" y="3279602"/>
                  </a:lnTo>
                  <a:lnTo>
                    <a:pt x="1557182" y="3276848"/>
                  </a:lnTo>
                  <a:lnTo>
                    <a:pt x="1556789" y="3273700"/>
                  </a:lnTo>
                  <a:lnTo>
                    <a:pt x="1557182" y="3272127"/>
                  </a:lnTo>
                  <a:lnTo>
                    <a:pt x="1556789" y="3269373"/>
                  </a:lnTo>
                  <a:lnTo>
                    <a:pt x="1555608" y="3266619"/>
                  </a:lnTo>
                  <a:lnTo>
                    <a:pt x="1555608" y="3265045"/>
                  </a:lnTo>
                  <a:cubicBezTo>
                    <a:pt x="1556002" y="3263865"/>
                    <a:pt x="1556002" y="3263078"/>
                    <a:pt x="1555608" y="3261898"/>
                  </a:cubicBezTo>
                  <a:lnTo>
                    <a:pt x="1555608" y="3260324"/>
                  </a:lnTo>
                  <a:lnTo>
                    <a:pt x="1554428" y="3258357"/>
                  </a:lnTo>
                  <a:cubicBezTo>
                    <a:pt x="1554428" y="3258357"/>
                    <a:pt x="1554428" y="3257963"/>
                    <a:pt x="1554428" y="3257963"/>
                  </a:cubicBezTo>
                  <a:lnTo>
                    <a:pt x="1554428" y="3257963"/>
                  </a:lnTo>
                  <a:lnTo>
                    <a:pt x="1554035" y="3257570"/>
                  </a:lnTo>
                  <a:lnTo>
                    <a:pt x="1552461" y="3254423"/>
                  </a:lnTo>
                  <a:lnTo>
                    <a:pt x="1551281" y="3251669"/>
                  </a:lnTo>
                  <a:lnTo>
                    <a:pt x="1551281" y="3247734"/>
                  </a:lnTo>
                  <a:lnTo>
                    <a:pt x="1551281" y="3247341"/>
                  </a:lnTo>
                  <a:cubicBezTo>
                    <a:pt x="1551281" y="3250882"/>
                    <a:pt x="1553248" y="3254029"/>
                    <a:pt x="1554428" y="3257177"/>
                  </a:cubicBezTo>
                  <a:lnTo>
                    <a:pt x="1551674" y="3236325"/>
                  </a:lnTo>
                  <a:lnTo>
                    <a:pt x="1551281" y="3235932"/>
                  </a:lnTo>
                  <a:lnTo>
                    <a:pt x="1542625" y="3203277"/>
                  </a:lnTo>
                  <a:lnTo>
                    <a:pt x="1543019" y="3200130"/>
                  </a:lnTo>
                  <a:lnTo>
                    <a:pt x="1541445" y="3199736"/>
                  </a:lnTo>
                  <a:lnTo>
                    <a:pt x="1543412" y="3196589"/>
                  </a:lnTo>
                  <a:lnTo>
                    <a:pt x="1542625" y="3195802"/>
                  </a:lnTo>
                  <a:lnTo>
                    <a:pt x="1545773" y="3198556"/>
                  </a:lnTo>
                  <a:lnTo>
                    <a:pt x="1548526" y="3197376"/>
                  </a:lnTo>
                  <a:lnTo>
                    <a:pt x="1550100" y="3196196"/>
                  </a:lnTo>
                  <a:lnTo>
                    <a:pt x="1553248" y="3193442"/>
                  </a:lnTo>
                  <a:lnTo>
                    <a:pt x="1556002" y="3191081"/>
                  </a:lnTo>
                  <a:lnTo>
                    <a:pt x="1558756" y="3188327"/>
                  </a:lnTo>
                  <a:lnTo>
                    <a:pt x="1561510" y="3185573"/>
                  </a:lnTo>
                  <a:lnTo>
                    <a:pt x="1563870" y="3182426"/>
                  </a:lnTo>
                  <a:lnTo>
                    <a:pt x="1581574" y="3165508"/>
                  </a:lnTo>
                  <a:lnTo>
                    <a:pt x="1581968" y="3165508"/>
                  </a:lnTo>
                  <a:lnTo>
                    <a:pt x="1582362" y="3165115"/>
                  </a:lnTo>
                  <a:lnTo>
                    <a:pt x="1585115" y="3162754"/>
                  </a:lnTo>
                  <a:lnTo>
                    <a:pt x="1584722" y="3165508"/>
                  </a:lnTo>
                  <a:lnTo>
                    <a:pt x="1587476" y="3165115"/>
                  </a:lnTo>
                  <a:lnTo>
                    <a:pt x="1588263" y="3164328"/>
                  </a:lnTo>
                  <a:lnTo>
                    <a:pt x="1588263" y="3161574"/>
                  </a:lnTo>
                  <a:lnTo>
                    <a:pt x="1587869" y="3159213"/>
                  </a:lnTo>
                  <a:lnTo>
                    <a:pt x="1587869" y="3158820"/>
                  </a:lnTo>
                  <a:lnTo>
                    <a:pt x="1589443" y="3161968"/>
                  </a:lnTo>
                  <a:lnTo>
                    <a:pt x="1592197" y="3162361"/>
                  </a:lnTo>
                  <a:lnTo>
                    <a:pt x="1592197" y="3159213"/>
                  </a:lnTo>
                  <a:lnTo>
                    <a:pt x="1594164" y="3156459"/>
                  </a:lnTo>
                  <a:lnTo>
                    <a:pt x="1594558" y="3154492"/>
                  </a:lnTo>
                  <a:lnTo>
                    <a:pt x="1597705" y="3152132"/>
                  </a:lnTo>
                  <a:lnTo>
                    <a:pt x="1600066" y="3149378"/>
                  </a:lnTo>
                  <a:lnTo>
                    <a:pt x="1602819" y="3146624"/>
                  </a:lnTo>
                  <a:lnTo>
                    <a:pt x="1605180" y="3143870"/>
                  </a:lnTo>
                  <a:lnTo>
                    <a:pt x="1607934" y="3140722"/>
                  </a:lnTo>
                  <a:lnTo>
                    <a:pt x="1609901" y="3137575"/>
                  </a:lnTo>
                  <a:lnTo>
                    <a:pt x="1607540" y="3134428"/>
                  </a:lnTo>
                  <a:lnTo>
                    <a:pt x="1605573" y="3132067"/>
                  </a:lnTo>
                  <a:lnTo>
                    <a:pt x="1608328" y="3133641"/>
                  </a:lnTo>
                  <a:lnTo>
                    <a:pt x="1611475" y="3134034"/>
                  </a:lnTo>
                  <a:lnTo>
                    <a:pt x="1613048" y="3131280"/>
                  </a:lnTo>
                  <a:lnTo>
                    <a:pt x="1616196" y="3128133"/>
                  </a:lnTo>
                  <a:lnTo>
                    <a:pt x="1616589" y="3127346"/>
                  </a:lnTo>
                  <a:lnTo>
                    <a:pt x="1621704" y="3123805"/>
                  </a:lnTo>
                  <a:lnTo>
                    <a:pt x="1624458" y="3122231"/>
                  </a:lnTo>
                  <a:lnTo>
                    <a:pt x="1627212" y="3120658"/>
                  </a:lnTo>
                  <a:lnTo>
                    <a:pt x="1627999" y="3119478"/>
                  </a:lnTo>
                  <a:lnTo>
                    <a:pt x="1631146" y="3118297"/>
                  </a:lnTo>
                  <a:lnTo>
                    <a:pt x="1633507" y="3116723"/>
                  </a:lnTo>
                  <a:lnTo>
                    <a:pt x="1641375" y="3112789"/>
                  </a:lnTo>
                  <a:lnTo>
                    <a:pt x="1642949" y="3112396"/>
                  </a:lnTo>
                  <a:lnTo>
                    <a:pt x="1643343" y="3112002"/>
                  </a:lnTo>
                  <a:lnTo>
                    <a:pt x="1646096" y="3110822"/>
                  </a:lnTo>
                  <a:lnTo>
                    <a:pt x="1648850" y="3109642"/>
                  </a:lnTo>
                  <a:lnTo>
                    <a:pt x="1651998" y="3108068"/>
                  </a:lnTo>
                  <a:lnTo>
                    <a:pt x="1654752" y="3106888"/>
                  </a:lnTo>
                  <a:lnTo>
                    <a:pt x="1657899" y="3105708"/>
                  </a:lnTo>
                  <a:lnTo>
                    <a:pt x="1660653" y="3104134"/>
                  </a:lnTo>
                  <a:lnTo>
                    <a:pt x="1661440" y="3102167"/>
                  </a:lnTo>
                  <a:lnTo>
                    <a:pt x="1664587" y="3102954"/>
                  </a:lnTo>
                  <a:lnTo>
                    <a:pt x="1667735" y="3102560"/>
                  </a:lnTo>
                  <a:lnTo>
                    <a:pt x="1670489" y="3100986"/>
                  </a:lnTo>
                  <a:lnTo>
                    <a:pt x="1671669" y="3100593"/>
                  </a:lnTo>
                  <a:lnTo>
                    <a:pt x="1674423" y="3100200"/>
                  </a:lnTo>
                  <a:lnTo>
                    <a:pt x="1674817" y="3097445"/>
                  </a:lnTo>
                  <a:lnTo>
                    <a:pt x="1675210" y="3096659"/>
                  </a:lnTo>
                  <a:lnTo>
                    <a:pt x="1678357" y="3094298"/>
                  </a:lnTo>
                  <a:lnTo>
                    <a:pt x="1681111" y="3092331"/>
                  </a:lnTo>
                  <a:lnTo>
                    <a:pt x="1683865" y="3090757"/>
                  </a:lnTo>
                  <a:lnTo>
                    <a:pt x="1690160" y="3086823"/>
                  </a:lnTo>
                  <a:lnTo>
                    <a:pt x="1692914" y="3084856"/>
                  </a:lnTo>
                  <a:lnTo>
                    <a:pt x="1694881" y="3082102"/>
                  </a:lnTo>
                  <a:lnTo>
                    <a:pt x="1696061" y="3078954"/>
                  </a:lnTo>
                  <a:lnTo>
                    <a:pt x="1696061" y="3078954"/>
                  </a:lnTo>
                  <a:lnTo>
                    <a:pt x="1696455" y="3078561"/>
                  </a:lnTo>
                  <a:lnTo>
                    <a:pt x="1698029" y="3080922"/>
                  </a:lnTo>
                  <a:lnTo>
                    <a:pt x="1698422" y="3078954"/>
                  </a:lnTo>
                  <a:lnTo>
                    <a:pt x="1698816" y="3076201"/>
                  </a:lnTo>
                  <a:lnTo>
                    <a:pt x="1701569" y="3073840"/>
                  </a:lnTo>
                  <a:lnTo>
                    <a:pt x="1703143" y="3071086"/>
                  </a:lnTo>
                  <a:lnTo>
                    <a:pt x="1705110" y="3067939"/>
                  </a:lnTo>
                  <a:lnTo>
                    <a:pt x="1705110" y="3066758"/>
                  </a:lnTo>
                  <a:lnTo>
                    <a:pt x="1706684" y="3063611"/>
                  </a:lnTo>
                  <a:lnTo>
                    <a:pt x="1708258" y="3062037"/>
                  </a:lnTo>
                  <a:lnTo>
                    <a:pt x="1710618" y="3058890"/>
                  </a:lnTo>
                  <a:lnTo>
                    <a:pt x="1713372" y="3056136"/>
                  </a:lnTo>
                  <a:lnTo>
                    <a:pt x="1715339" y="3053382"/>
                  </a:lnTo>
                  <a:lnTo>
                    <a:pt x="1718094" y="3051021"/>
                  </a:lnTo>
                  <a:lnTo>
                    <a:pt x="1719274" y="3047874"/>
                  </a:lnTo>
                  <a:lnTo>
                    <a:pt x="1720847" y="3044727"/>
                  </a:lnTo>
                  <a:lnTo>
                    <a:pt x="1722421" y="3041972"/>
                  </a:lnTo>
                  <a:lnTo>
                    <a:pt x="1722028" y="3039218"/>
                  </a:lnTo>
                  <a:lnTo>
                    <a:pt x="1719274" y="3039612"/>
                  </a:lnTo>
                  <a:lnTo>
                    <a:pt x="1720454" y="3037251"/>
                  </a:lnTo>
                  <a:lnTo>
                    <a:pt x="1723208" y="3035678"/>
                  </a:lnTo>
                  <a:lnTo>
                    <a:pt x="1722421" y="3033317"/>
                  </a:lnTo>
                  <a:lnTo>
                    <a:pt x="1722815" y="3032924"/>
                  </a:lnTo>
                  <a:lnTo>
                    <a:pt x="1725568" y="3032924"/>
                  </a:lnTo>
                  <a:lnTo>
                    <a:pt x="1723601" y="3031350"/>
                  </a:lnTo>
                  <a:lnTo>
                    <a:pt x="1724782" y="3028989"/>
                  </a:lnTo>
                  <a:lnTo>
                    <a:pt x="1727535" y="3026235"/>
                  </a:lnTo>
                  <a:lnTo>
                    <a:pt x="1728323" y="3023481"/>
                  </a:lnTo>
                  <a:lnTo>
                    <a:pt x="1727535" y="3020334"/>
                  </a:lnTo>
                  <a:lnTo>
                    <a:pt x="1727929" y="3017187"/>
                  </a:lnTo>
                  <a:lnTo>
                    <a:pt x="1728323" y="3014039"/>
                  </a:lnTo>
                  <a:lnTo>
                    <a:pt x="1725175" y="3013252"/>
                  </a:lnTo>
                  <a:lnTo>
                    <a:pt x="1723208" y="3016400"/>
                  </a:lnTo>
                  <a:lnTo>
                    <a:pt x="1723208" y="3017187"/>
                  </a:lnTo>
                  <a:lnTo>
                    <a:pt x="1722815" y="3011285"/>
                  </a:lnTo>
                  <a:lnTo>
                    <a:pt x="1725962" y="3008138"/>
                  </a:lnTo>
                  <a:lnTo>
                    <a:pt x="1725568" y="3005384"/>
                  </a:lnTo>
                  <a:lnTo>
                    <a:pt x="1722815" y="3006171"/>
                  </a:lnTo>
                  <a:lnTo>
                    <a:pt x="1722815" y="3005384"/>
                  </a:lnTo>
                  <a:lnTo>
                    <a:pt x="1722421" y="3003023"/>
                  </a:lnTo>
                  <a:lnTo>
                    <a:pt x="1723601" y="3000269"/>
                  </a:lnTo>
                  <a:lnTo>
                    <a:pt x="1723601" y="2997122"/>
                  </a:lnTo>
                  <a:lnTo>
                    <a:pt x="1722421" y="2994368"/>
                  </a:lnTo>
                  <a:lnTo>
                    <a:pt x="1722028" y="2991614"/>
                  </a:lnTo>
                  <a:lnTo>
                    <a:pt x="1721634" y="2988466"/>
                  </a:lnTo>
                  <a:lnTo>
                    <a:pt x="1721241" y="2985713"/>
                  </a:lnTo>
                  <a:lnTo>
                    <a:pt x="1721241" y="2982565"/>
                  </a:lnTo>
                  <a:lnTo>
                    <a:pt x="1720454" y="2982172"/>
                  </a:lnTo>
                  <a:lnTo>
                    <a:pt x="1721241" y="2979418"/>
                  </a:lnTo>
                  <a:lnTo>
                    <a:pt x="1722028" y="2976270"/>
                  </a:lnTo>
                  <a:lnTo>
                    <a:pt x="1722028" y="2973123"/>
                  </a:lnTo>
                  <a:lnTo>
                    <a:pt x="1722421" y="2970369"/>
                  </a:lnTo>
                  <a:lnTo>
                    <a:pt x="1722028" y="2967221"/>
                  </a:lnTo>
                  <a:lnTo>
                    <a:pt x="1723208" y="2964467"/>
                  </a:lnTo>
                  <a:lnTo>
                    <a:pt x="1720454" y="2963287"/>
                  </a:lnTo>
                  <a:lnTo>
                    <a:pt x="1720454" y="2962107"/>
                  </a:lnTo>
                  <a:lnTo>
                    <a:pt x="1722028" y="2959746"/>
                  </a:lnTo>
                  <a:lnTo>
                    <a:pt x="1722421" y="2956992"/>
                  </a:lnTo>
                  <a:lnTo>
                    <a:pt x="1722421" y="2953845"/>
                  </a:lnTo>
                  <a:lnTo>
                    <a:pt x="1722028" y="2950698"/>
                  </a:lnTo>
                  <a:lnTo>
                    <a:pt x="1720454" y="2949124"/>
                  </a:lnTo>
                  <a:lnTo>
                    <a:pt x="1720454" y="2946370"/>
                  </a:lnTo>
                  <a:lnTo>
                    <a:pt x="1721241" y="2945189"/>
                  </a:lnTo>
                  <a:lnTo>
                    <a:pt x="1721241" y="2942042"/>
                  </a:lnTo>
                  <a:lnTo>
                    <a:pt x="1720454" y="2941255"/>
                  </a:lnTo>
                  <a:lnTo>
                    <a:pt x="1720454" y="2938895"/>
                  </a:lnTo>
                  <a:lnTo>
                    <a:pt x="1720847" y="2935747"/>
                  </a:lnTo>
                  <a:lnTo>
                    <a:pt x="1721241" y="2932993"/>
                  </a:lnTo>
                  <a:lnTo>
                    <a:pt x="1721634" y="2929846"/>
                  </a:lnTo>
                  <a:lnTo>
                    <a:pt x="1720847" y="2927092"/>
                  </a:lnTo>
                  <a:lnTo>
                    <a:pt x="1720454" y="2923551"/>
                  </a:lnTo>
                  <a:lnTo>
                    <a:pt x="1719667" y="2920797"/>
                  </a:lnTo>
                  <a:lnTo>
                    <a:pt x="1719667" y="2919617"/>
                  </a:lnTo>
                  <a:lnTo>
                    <a:pt x="1720454" y="2916863"/>
                  </a:lnTo>
                  <a:lnTo>
                    <a:pt x="1720061" y="2914109"/>
                  </a:lnTo>
                  <a:lnTo>
                    <a:pt x="1721241" y="2910962"/>
                  </a:lnTo>
                  <a:lnTo>
                    <a:pt x="1718094" y="2908601"/>
                  </a:lnTo>
                  <a:lnTo>
                    <a:pt x="1717700" y="2907814"/>
                  </a:lnTo>
                  <a:lnTo>
                    <a:pt x="1719667" y="2905060"/>
                  </a:lnTo>
                  <a:lnTo>
                    <a:pt x="1722028" y="2901913"/>
                  </a:lnTo>
                  <a:lnTo>
                    <a:pt x="1723601" y="2898765"/>
                  </a:lnTo>
                  <a:lnTo>
                    <a:pt x="1722028" y="2896011"/>
                  </a:lnTo>
                  <a:lnTo>
                    <a:pt x="1722815" y="2892864"/>
                  </a:lnTo>
                  <a:lnTo>
                    <a:pt x="1724388" y="2890110"/>
                  </a:lnTo>
                  <a:lnTo>
                    <a:pt x="1721634" y="2888536"/>
                  </a:lnTo>
                  <a:lnTo>
                    <a:pt x="1724782" y="2885782"/>
                  </a:lnTo>
                  <a:lnTo>
                    <a:pt x="1724388" y="2882635"/>
                  </a:lnTo>
                  <a:lnTo>
                    <a:pt x="1722815" y="2879881"/>
                  </a:lnTo>
                  <a:lnTo>
                    <a:pt x="1720061" y="2878701"/>
                  </a:lnTo>
                  <a:lnTo>
                    <a:pt x="1720454" y="2875947"/>
                  </a:lnTo>
                  <a:lnTo>
                    <a:pt x="1720454" y="2872799"/>
                  </a:lnTo>
                  <a:lnTo>
                    <a:pt x="1717700" y="2873979"/>
                  </a:lnTo>
                  <a:lnTo>
                    <a:pt x="1716127" y="2871225"/>
                  </a:lnTo>
                  <a:lnTo>
                    <a:pt x="1712979" y="2871619"/>
                  </a:lnTo>
                  <a:lnTo>
                    <a:pt x="1711405" y="2868865"/>
                  </a:lnTo>
                  <a:lnTo>
                    <a:pt x="1708651" y="2867291"/>
                  </a:lnTo>
                  <a:lnTo>
                    <a:pt x="1707078" y="2866898"/>
                  </a:lnTo>
                  <a:lnTo>
                    <a:pt x="1706291" y="2869652"/>
                  </a:lnTo>
                  <a:lnTo>
                    <a:pt x="1705897" y="2866504"/>
                  </a:lnTo>
                  <a:lnTo>
                    <a:pt x="1704324" y="2863750"/>
                  </a:lnTo>
                  <a:lnTo>
                    <a:pt x="1702357" y="2862570"/>
                  </a:lnTo>
                  <a:lnTo>
                    <a:pt x="1699602" y="2862570"/>
                  </a:lnTo>
                  <a:lnTo>
                    <a:pt x="1698816" y="2862570"/>
                  </a:lnTo>
                  <a:lnTo>
                    <a:pt x="1701176" y="2859816"/>
                  </a:lnTo>
                  <a:lnTo>
                    <a:pt x="1701569" y="2857062"/>
                  </a:lnTo>
                  <a:lnTo>
                    <a:pt x="1698422" y="2854308"/>
                  </a:lnTo>
                  <a:lnTo>
                    <a:pt x="1699996" y="2851554"/>
                  </a:lnTo>
                  <a:lnTo>
                    <a:pt x="1698816" y="2848407"/>
                  </a:lnTo>
                  <a:lnTo>
                    <a:pt x="1697242" y="2845259"/>
                  </a:lnTo>
                  <a:lnTo>
                    <a:pt x="1696061" y="2840931"/>
                  </a:lnTo>
                  <a:lnTo>
                    <a:pt x="1697242" y="2838964"/>
                  </a:lnTo>
                  <a:lnTo>
                    <a:pt x="1697242" y="2835817"/>
                  </a:lnTo>
                  <a:lnTo>
                    <a:pt x="1695668" y="2833063"/>
                  </a:lnTo>
                  <a:lnTo>
                    <a:pt x="1693308" y="2833457"/>
                  </a:lnTo>
                  <a:lnTo>
                    <a:pt x="1692521" y="2830702"/>
                  </a:lnTo>
                  <a:lnTo>
                    <a:pt x="1692521" y="2830702"/>
                  </a:lnTo>
                  <a:lnTo>
                    <a:pt x="1692521" y="2827555"/>
                  </a:lnTo>
                  <a:lnTo>
                    <a:pt x="1691340" y="2827162"/>
                  </a:lnTo>
                  <a:lnTo>
                    <a:pt x="1690947" y="2825981"/>
                  </a:lnTo>
                  <a:lnTo>
                    <a:pt x="1692521" y="2825588"/>
                  </a:lnTo>
                  <a:lnTo>
                    <a:pt x="1691340" y="2822441"/>
                  </a:lnTo>
                  <a:lnTo>
                    <a:pt x="1689373" y="2820474"/>
                  </a:lnTo>
                  <a:lnTo>
                    <a:pt x="1688587" y="2818506"/>
                  </a:lnTo>
                  <a:lnTo>
                    <a:pt x="1688587" y="2815752"/>
                  </a:lnTo>
                  <a:lnTo>
                    <a:pt x="1688193" y="2814965"/>
                  </a:lnTo>
                  <a:lnTo>
                    <a:pt x="1687013" y="2804343"/>
                  </a:lnTo>
                  <a:lnTo>
                    <a:pt x="1689373" y="2801589"/>
                  </a:lnTo>
                  <a:lnTo>
                    <a:pt x="1690554" y="2798441"/>
                  </a:lnTo>
                  <a:lnTo>
                    <a:pt x="1690554" y="2798048"/>
                  </a:lnTo>
                  <a:lnTo>
                    <a:pt x="1692127" y="2795294"/>
                  </a:lnTo>
                  <a:lnTo>
                    <a:pt x="1691340" y="2795294"/>
                  </a:lnTo>
                  <a:lnTo>
                    <a:pt x="1690947" y="2792147"/>
                  </a:lnTo>
                  <a:lnTo>
                    <a:pt x="1691734" y="2789393"/>
                  </a:lnTo>
                  <a:lnTo>
                    <a:pt x="1690947" y="2788213"/>
                  </a:lnTo>
                  <a:lnTo>
                    <a:pt x="1689373" y="2787819"/>
                  </a:lnTo>
                  <a:lnTo>
                    <a:pt x="1688587" y="2787819"/>
                  </a:lnTo>
                  <a:lnTo>
                    <a:pt x="1685832" y="2789393"/>
                  </a:lnTo>
                  <a:lnTo>
                    <a:pt x="1687013" y="2786245"/>
                  </a:lnTo>
                  <a:lnTo>
                    <a:pt x="1687013" y="2784672"/>
                  </a:lnTo>
                  <a:lnTo>
                    <a:pt x="1690160" y="2770902"/>
                  </a:lnTo>
                  <a:lnTo>
                    <a:pt x="1691734" y="2767361"/>
                  </a:lnTo>
                  <a:lnTo>
                    <a:pt x="1694488" y="2765000"/>
                  </a:lnTo>
                  <a:lnTo>
                    <a:pt x="1694881" y="2762246"/>
                  </a:lnTo>
                  <a:lnTo>
                    <a:pt x="1695275" y="2760673"/>
                  </a:lnTo>
                  <a:lnTo>
                    <a:pt x="1693701" y="2757525"/>
                  </a:lnTo>
                  <a:lnTo>
                    <a:pt x="1691340" y="2755951"/>
                  </a:lnTo>
                  <a:lnTo>
                    <a:pt x="1683865" y="2746509"/>
                  </a:lnTo>
                  <a:lnTo>
                    <a:pt x="1681111" y="2743755"/>
                  </a:lnTo>
                  <a:lnTo>
                    <a:pt x="1679538" y="2743362"/>
                  </a:lnTo>
                  <a:lnTo>
                    <a:pt x="1674817" y="2739428"/>
                  </a:lnTo>
                  <a:lnTo>
                    <a:pt x="1674423" y="2734313"/>
                  </a:lnTo>
                  <a:lnTo>
                    <a:pt x="1674817" y="2733133"/>
                  </a:lnTo>
                  <a:lnTo>
                    <a:pt x="1674423" y="2731953"/>
                  </a:lnTo>
                  <a:lnTo>
                    <a:pt x="1672456" y="2726838"/>
                  </a:lnTo>
                  <a:lnTo>
                    <a:pt x="1672850" y="2725264"/>
                  </a:lnTo>
                  <a:lnTo>
                    <a:pt x="1675603" y="2716216"/>
                  </a:lnTo>
                  <a:lnTo>
                    <a:pt x="1675603" y="2716216"/>
                  </a:lnTo>
                  <a:lnTo>
                    <a:pt x="1677177" y="2713462"/>
                  </a:lnTo>
                  <a:lnTo>
                    <a:pt x="1678357" y="2710314"/>
                  </a:lnTo>
                  <a:lnTo>
                    <a:pt x="1678751" y="2707560"/>
                  </a:lnTo>
                  <a:lnTo>
                    <a:pt x="1678751" y="2707167"/>
                  </a:lnTo>
                  <a:lnTo>
                    <a:pt x="1680718" y="2704019"/>
                  </a:lnTo>
                  <a:lnTo>
                    <a:pt x="1681898" y="2701265"/>
                  </a:lnTo>
                  <a:lnTo>
                    <a:pt x="1682291" y="2698118"/>
                  </a:lnTo>
                  <a:lnTo>
                    <a:pt x="1683472" y="2695364"/>
                  </a:lnTo>
                  <a:lnTo>
                    <a:pt x="1683472" y="2692610"/>
                  </a:lnTo>
                  <a:lnTo>
                    <a:pt x="1684259" y="2689462"/>
                  </a:lnTo>
                  <a:lnTo>
                    <a:pt x="1686226" y="2686709"/>
                  </a:lnTo>
                  <a:lnTo>
                    <a:pt x="1686226" y="2683561"/>
                  </a:lnTo>
                  <a:lnTo>
                    <a:pt x="1685832" y="2681594"/>
                  </a:lnTo>
                  <a:lnTo>
                    <a:pt x="1688587" y="2679233"/>
                  </a:lnTo>
                  <a:lnTo>
                    <a:pt x="1691340" y="2680414"/>
                  </a:lnTo>
                  <a:lnTo>
                    <a:pt x="1692127" y="2677660"/>
                  </a:lnTo>
                  <a:lnTo>
                    <a:pt x="1694488" y="2674512"/>
                  </a:lnTo>
                  <a:lnTo>
                    <a:pt x="1696061" y="2671758"/>
                  </a:lnTo>
                  <a:lnTo>
                    <a:pt x="1696849" y="2669004"/>
                  </a:lnTo>
                  <a:lnTo>
                    <a:pt x="1698029" y="2665857"/>
                  </a:lnTo>
                  <a:lnTo>
                    <a:pt x="1699602" y="2662709"/>
                  </a:lnTo>
                  <a:lnTo>
                    <a:pt x="1699209" y="2661136"/>
                  </a:lnTo>
                  <a:lnTo>
                    <a:pt x="1698816" y="2659562"/>
                  </a:lnTo>
                  <a:lnTo>
                    <a:pt x="1699209" y="2658775"/>
                  </a:lnTo>
                  <a:lnTo>
                    <a:pt x="1699602" y="2659169"/>
                  </a:lnTo>
                  <a:lnTo>
                    <a:pt x="1700389" y="2659562"/>
                  </a:lnTo>
                  <a:lnTo>
                    <a:pt x="1701963" y="2656808"/>
                  </a:lnTo>
                  <a:lnTo>
                    <a:pt x="1701963" y="2656415"/>
                  </a:lnTo>
                  <a:lnTo>
                    <a:pt x="1704717" y="2653267"/>
                  </a:lnTo>
                  <a:lnTo>
                    <a:pt x="1705504" y="2650120"/>
                  </a:lnTo>
                  <a:lnTo>
                    <a:pt x="1706291" y="2646972"/>
                  </a:lnTo>
                  <a:lnTo>
                    <a:pt x="1705504" y="2645399"/>
                  </a:lnTo>
                  <a:lnTo>
                    <a:pt x="1705504" y="2645792"/>
                  </a:lnTo>
                  <a:lnTo>
                    <a:pt x="1710225" y="2637137"/>
                  </a:lnTo>
                  <a:lnTo>
                    <a:pt x="1713372" y="2634776"/>
                  </a:lnTo>
                  <a:lnTo>
                    <a:pt x="1713766" y="2631629"/>
                  </a:lnTo>
                  <a:lnTo>
                    <a:pt x="1714553" y="2629662"/>
                  </a:lnTo>
                  <a:lnTo>
                    <a:pt x="1725962" y="2608810"/>
                  </a:lnTo>
                  <a:lnTo>
                    <a:pt x="1728716" y="2609597"/>
                  </a:lnTo>
                  <a:lnTo>
                    <a:pt x="1731864" y="2606449"/>
                  </a:lnTo>
                  <a:lnTo>
                    <a:pt x="1734617" y="2604089"/>
                  </a:lnTo>
                  <a:lnTo>
                    <a:pt x="1734224" y="2600941"/>
                  </a:lnTo>
                  <a:lnTo>
                    <a:pt x="1736978" y="2598188"/>
                  </a:lnTo>
                  <a:lnTo>
                    <a:pt x="1737765" y="2601335"/>
                  </a:lnTo>
                  <a:lnTo>
                    <a:pt x="1739338" y="2598188"/>
                  </a:lnTo>
                  <a:lnTo>
                    <a:pt x="1738552" y="2597007"/>
                  </a:lnTo>
                  <a:lnTo>
                    <a:pt x="1739732" y="2595827"/>
                  </a:lnTo>
                  <a:lnTo>
                    <a:pt x="1740125" y="2597401"/>
                  </a:lnTo>
                  <a:lnTo>
                    <a:pt x="1740519" y="2597401"/>
                  </a:lnTo>
                  <a:lnTo>
                    <a:pt x="1742486" y="2594647"/>
                  </a:lnTo>
                  <a:lnTo>
                    <a:pt x="1745240" y="2593466"/>
                  </a:lnTo>
                  <a:lnTo>
                    <a:pt x="1743273" y="2592286"/>
                  </a:lnTo>
                  <a:lnTo>
                    <a:pt x="1745633" y="2590319"/>
                  </a:lnTo>
                  <a:lnTo>
                    <a:pt x="1745633" y="2590319"/>
                  </a:lnTo>
                  <a:lnTo>
                    <a:pt x="1748387" y="2588745"/>
                  </a:lnTo>
                  <a:lnTo>
                    <a:pt x="1751535" y="2586778"/>
                  </a:lnTo>
                  <a:lnTo>
                    <a:pt x="1753502" y="2584024"/>
                  </a:lnTo>
                  <a:lnTo>
                    <a:pt x="1755862" y="2580877"/>
                  </a:lnTo>
                  <a:lnTo>
                    <a:pt x="1757436" y="2579303"/>
                  </a:lnTo>
                  <a:lnTo>
                    <a:pt x="1757830" y="2578910"/>
                  </a:lnTo>
                  <a:lnTo>
                    <a:pt x="1759797" y="2576156"/>
                  </a:lnTo>
                  <a:lnTo>
                    <a:pt x="1759797" y="2576156"/>
                  </a:lnTo>
                  <a:lnTo>
                    <a:pt x="1795598" y="2525010"/>
                  </a:lnTo>
                  <a:lnTo>
                    <a:pt x="1795598" y="2525010"/>
                  </a:lnTo>
                  <a:lnTo>
                    <a:pt x="1797566" y="2522256"/>
                  </a:lnTo>
                  <a:lnTo>
                    <a:pt x="1801107" y="2517929"/>
                  </a:lnTo>
                  <a:lnTo>
                    <a:pt x="1802287" y="2516748"/>
                  </a:lnTo>
                  <a:lnTo>
                    <a:pt x="1802680" y="2516355"/>
                  </a:lnTo>
                  <a:lnTo>
                    <a:pt x="1807795" y="2510060"/>
                  </a:lnTo>
                  <a:lnTo>
                    <a:pt x="1810155" y="2507306"/>
                  </a:lnTo>
                  <a:lnTo>
                    <a:pt x="1812516" y="2504159"/>
                  </a:lnTo>
                  <a:lnTo>
                    <a:pt x="1814876" y="2501405"/>
                  </a:lnTo>
                  <a:lnTo>
                    <a:pt x="1815270" y="2500618"/>
                  </a:lnTo>
                  <a:lnTo>
                    <a:pt x="1829040" y="2488028"/>
                  </a:lnTo>
                  <a:lnTo>
                    <a:pt x="1829433" y="2487635"/>
                  </a:lnTo>
                  <a:lnTo>
                    <a:pt x="1831793" y="2485274"/>
                  </a:lnTo>
                  <a:lnTo>
                    <a:pt x="1859727" y="2460095"/>
                  </a:lnTo>
                  <a:lnTo>
                    <a:pt x="1860120" y="2459702"/>
                  </a:lnTo>
                  <a:lnTo>
                    <a:pt x="1860514" y="2458915"/>
                  </a:lnTo>
                  <a:lnTo>
                    <a:pt x="1864448" y="2456947"/>
                  </a:lnTo>
                  <a:lnTo>
                    <a:pt x="1867202" y="2455374"/>
                  </a:lnTo>
                  <a:lnTo>
                    <a:pt x="1869956" y="2453800"/>
                  </a:lnTo>
                  <a:lnTo>
                    <a:pt x="1872317" y="2451833"/>
                  </a:lnTo>
                  <a:lnTo>
                    <a:pt x="1873497" y="2451046"/>
                  </a:lnTo>
                  <a:lnTo>
                    <a:pt x="1875858" y="2449866"/>
                  </a:lnTo>
                  <a:lnTo>
                    <a:pt x="1877825" y="2448292"/>
                  </a:lnTo>
                  <a:lnTo>
                    <a:pt x="1880578" y="2446325"/>
                  </a:lnTo>
                  <a:lnTo>
                    <a:pt x="1883333" y="2444358"/>
                  </a:lnTo>
                  <a:lnTo>
                    <a:pt x="1886087" y="2442784"/>
                  </a:lnTo>
                  <a:lnTo>
                    <a:pt x="1889234" y="2440424"/>
                  </a:lnTo>
                  <a:lnTo>
                    <a:pt x="1891988" y="2438063"/>
                  </a:lnTo>
                  <a:lnTo>
                    <a:pt x="1893955" y="2434916"/>
                  </a:lnTo>
                  <a:lnTo>
                    <a:pt x="1899070" y="2429408"/>
                  </a:lnTo>
                  <a:lnTo>
                    <a:pt x="1901824" y="2426654"/>
                  </a:lnTo>
                  <a:lnTo>
                    <a:pt x="1904577" y="2423506"/>
                  </a:lnTo>
                  <a:lnTo>
                    <a:pt x="1907332" y="2420752"/>
                  </a:lnTo>
                  <a:lnTo>
                    <a:pt x="1909692" y="2417998"/>
                  </a:lnTo>
                  <a:lnTo>
                    <a:pt x="1914807" y="2412490"/>
                  </a:lnTo>
                  <a:lnTo>
                    <a:pt x="1916774" y="2409343"/>
                  </a:lnTo>
                  <a:lnTo>
                    <a:pt x="1919134" y="2406589"/>
                  </a:lnTo>
                  <a:lnTo>
                    <a:pt x="1921495" y="2403835"/>
                  </a:lnTo>
                  <a:lnTo>
                    <a:pt x="1923069" y="2402261"/>
                  </a:lnTo>
                  <a:lnTo>
                    <a:pt x="1925429" y="2399507"/>
                  </a:lnTo>
                  <a:lnTo>
                    <a:pt x="1925823" y="2399114"/>
                  </a:lnTo>
                  <a:lnTo>
                    <a:pt x="1928970" y="2395573"/>
                  </a:lnTo>
                  <a:lnTo>
                    <a:pt x="1933691" y="2390852"/>
                  </a:lnTo>
                  <a:lnTo>
                    <a:pt x="1935658" y="2388098"/>
                  </a:lnTo>
                  <a:lnTo>
                    <a:pt x="1936839" y="2385737"/>
                  </a:lnTo>
                  <a:lnTo>
                    <a:pt x="1938806" y="2383377"/>
                  </a:lnTo>
                  <a:lnTo>
                    <a:pt x="1939592" y="2382196"/>
                  </a:lnTo>
                  <a:lnTo>
                    <a:pt x="1941953" y="2379442"/>
                  </a:lnTo>
                  <a:lnTo>
                    <a:pt x="1942740" y="2378262"/>
                  </a:lnTo>
                  <a:lnTo>
                    <a:pt x="1948248" y="2371574"/>
                  </a:lnTo>
                  <a:lnTo>
                    <a:pt x="1948248" y="2371181"/>
                  </a:lnTo>
                  <a:lnTo>
                    <a:pt x="1950215" y="2368427"/>
                  </a:lnTo>
                  <a:lnTo>
                    <a:pt x="1951395" y="2365673"/>
                  </a:lnTo>
                  <a:lnTo>
                    <a:pt x="1952969" y="2362525"/>
                  </a:lnTo>
                  <a:lnTo>
                    <a:pt x="1954543" y="2359771"/>
                  </a:lnTo>
                  <a:lnTo>
                    <a:pt x="1954543" y="2359378"/>
                  </a:lnTo>
                  <a:lnTo>
                    <a:pt x="1957690" y="2353083"/>
                  </a:lnTo>
                  <a:lnTo>
                    <a:pt x="1959264" y="2349935"/>
                  </a:lnTo>
                  <a:lnTo>
                    <a:pt x="1961624" y="2347181"/>
                  </a:lnTo>
                  <a:lnTo>
                    <a:pt x="1963591" y="2344428"/>
                  </a:lnTo>
                  <a:lnTo>
                    <a:pt x="1965558" y="2341674"/>
                  </a:lnTo>
                  <a:lnTo>
                    <a:pt x="1967132" y="2338920"/>
                  </a:lnTo>
                  <a:lnTo>
                    <a:pt x="1969099" y="2335772"/>
                  </a:lnTo>
                  <a:lnTo>
                    <a:pt x="1970280" y="2333018"/>
                  </a:lnTo>
                  <a:lnTo>
                    <a:pt x="1971854" y="2330264"/>
                  </a:lnTo>
                  <a:lnTo>
                    <a:pt x="1973427" y="2327510"/>
                  </a:lnTo>
                  <a:lnTo>
                    <a:pt x="1975001" y="2324363"/>
                  </a:lnTo>
                  <a:lnTo>
                    <a:pt x="1979328" y="2315707"/>
                  </a:lnTo>
                  <a:lnTo>
                    <a:pt x="1980902" y="2312560"/>
                  </a:lnTo>
                  <a:lnTo>
                    <a:pt x="1981296" y="2309806"/>
                  </a:lnTo>
                  <a:lnTo>
                    <a:pt x="1980902" y="2306659"/>
                  </a:lnTo>
                  <a:lnTo>
                    <a:pt x="1981296" y="2304298"/>
                  </a:lnTo>
                  <a:lnTo>
                    <a:pt x="1995459" y="2275184"/>
                  </a:lnTo>
                  <a:lnTo>
                    <a:pt x="1995459" y="2274791"/>
                  </a:lnTo>
                  <a:lnTo>
                    <a:pt x="1997033" y="2272037"/>
                  </a:lnTo>
                  <a:lnTo>
                    <a:pt x="1997426" y="2271250"/>
                  </a:lnTo>
                  <a:lnTo>
                    <a:pt x="2000180" y="2265742"/>
                  </a:lnTo>
                  <a:lnTo>
                    <a:pt x="2000967" y="2262595"/>
                  </a:lnTo>
                  <a:lnTo>
                    <a:pt x="2002541" y="2259841"/>
                  </a:lnTo>
                  <a:lnTo>
                    <a:pt x="2002147" y="2257087"/>
                  </a:lnTo>
                  <a:lnTo>
                    <a:pt x="2002147" y="2255907"/>
                  </a:lnTo>
                  <a:lnTo>
                    <a:pt x="2007655" y="2248038"/>
                  </a:lnTo>
                  <a:lnTo>
                    <a:pt x="2009229" y="2247251"/>
                  </a:lnTo>
                  <a:lnTo>
                    <a:pt x="2011196" y="2244104"/>
                  </a:lnTo>
                  <a:lnTo>
                    <a:pt x="2011590" y="2242530"/>
                  </a:lnTo>
                  <a:lnTo>
                    <a:pt x="2012770" y="2240170"/>
                  </a:lnTo>
                  <a:lnTo>
                    <a:pt x="2014343" y="2237022"/>
                  </a:lnTo>
                  <a:lnTo>
                    <a:pt x="2016311" y="2234268"/>
                  </a:lnTo>
                  <a:lnTo>
                    <a:pt x="2016704" y="2231514"/>
                  </a:lnTo>
                  <a:lnTo>
                    <a:pt x="2017491" y="2228760"/>
                  </a:lnTo>
                  <a:lnTo>
                    <a:pt x="2018671" y="2225613"/>
                  </a:lnTo>
                  <a:lnTo>
                    <a:pt x="2018671" y="2224826"/>
                  </a:lnTo>
                  <a:lnTo>
                    <a:pt x="2020245" y="2221285"/>
                  </a:lnTo>
                  <a:lnTo>
                    <a:pt x="2022999" y="2218138"/>
                  </a:lnTo>
                  <a:lnTo>
                    <a:pt x="2025360" y="2215384"/>
                  </a:lnTo>
                  <a:lnTo>
                    <a:pt x="2025360" y="2212630"/>
                  </a:lnTo>
                  <a:lnTo>
                    <a:pt x="2025753" y="2209876"/>
                  </a:lnTo>
                  <a:lnTo>
                    <a:pt x="2028507" y="2207122"/>
                  </a:lnTo>
                  <a:lnTo>
                    <a:pt x="2030081" y="2204368"/>
                  </a:lnTo>
                  <a:lnTo>
                    <a:pt x="2030474" y="2201220"/>
                  </a:lnTo>
                  <a:lnTo>
                    <a:pt x="2029687" y="2198466"/>
                  </a:lnTo>
                  <a:lnTo>
                    <a:pt x="2029687" y="2197286"/>
                  </a:lnTo>
                  <a:lnTo>
                    <a:pt x="2030081" y="2194139"/>
                  </a:lnTo>
                  <a:lnTo>
                    <a:pt x="2030081" y="2193745"/>
                  </a:lnTo>
                  <a:lnTo>
                    <a:pt x="2031654" y="2185090"/>
                  </a:lnTo>
                  <a:lnTo>
                    <a:pt x="2031654" y="2185090"/>
                  </a:lnTo>
                  <a:lnTo>
                    <a:pt x="2032048" y="2183516"/>
                  </a:lnTo>
                  <a:lnTo>
                    <a:pt x="2034015" y="2170927"/>
                  </a:lnTo>
                  <a:lnTo>
                    <a:pt x="2036769" y="2169353"/>
                  </a:lnTo>
                  <a:lnTo>
                    <a:pt x="2039523" y="2168959"/>
                  </a:lnTo>
                  <a:lnTo>
                    <a:pt x="2042277" y="2169353"/>
                  </a:lnTo>
                  <a:lnTo>
                    <a:pt x="2045031" y="2170927"/>
                  </a:lnTo>
                  <a:lnTo>
                    <a:pt x="2046605" y="2168172"/>
                  </a:lnTo>
                  <a:lnTo>
                    <a:pt x="2043850" y="2167386"/>
                  </a:lnTo>
                  <a:lnTo>
                    <a:pt x="2040703" y="2165812"/>
                  </a:lnTo>
                  <a:lnTo>
                    <a:pt x="2041097" y="2168566"/>
                  </a:lnTo>
                  <a:lnTo>
                    <a:pt x="2038342" y="2168959"/>
                  </a:lnTo>
                  <a:lnTo>
                    <a:pt x="2035195" y="2169746"/>
                  </a:lnTo>
                  <a:lnTo>
                    <a:pt x="2034408" y="2168959"/>
                  </a:lnTo>
                  <a:lnTo>
                    <a:pt x="2037162" y="2165812"/>
                  </a:lnTo>
                  <a:lnTo>
                    <a:pt x="2038736" y="2163058"/>
                  </a:lnTo>
                  <a:lnTo>
                    <a:pt x="2037949" y="2160304"/>
                  </a:lnTo>
                  <a:lnTo>
                    <a:pt x="2037556" y="2157157"/>
                  </a:lnTo>
                  <a:lnTo>
                    <a:pt x="2037162" y="2154403"/>
                  </a:lnTo>
                  <a:lnTo>
                    <a:pt x="2036769" y="2151649"/>
                  </a:lnTo>
                  <a:lnTo>
                    <a:pt x="2036769" y="2150075"/>
                  </a:lnTo>
                  <a:lnTo>
                    <a:pt x="2037556" y="2146928"/>
                  </a:lnTo>
                  <a:lnTo>
                    <a:pt x="2035982" y="2144174"/>
                  </a:lnTo>
                  <a:lnTo>
                    <a:pt x="2035195" y="2141420"/>
                  </a:lnTo>
                  <a:lnTo>
                    <a:pt x="2035195" y="2138666"/>
                  </a:lnTo>
                  <a:lnTo>
                    <a:pt x="2035982" y="2135912"/>
                  </a:lnTo>
                  <a:lnTo>
                    <a:pt x="2036375" y="2133158"/>
                  </a:lnTo>
                  <a:lnTo>
                    <a:pt x="2037949" y="2130010"/>
                  </a:lnTo>
                  <a:lnTo>
                    <a:pt x="2039916" y="2127256"/>
                  </a:lnTo>
                  <a:lnTo>
                    <a:pt x="2039523" y="2124502"/>
                  </a:lnTo>
                  <a:lnTo>
                    <a:pt x="2038736" y="2121748"/>
                  </a:lnTo>
                  <a:lnTo>
                    <a:pt x="2035982" y="2120961"/>
                  </a:lnTo>
                  <a:lnTo>
                    <a:pt x="2032835" y="2120175"/>
                  </a:lnTo>
                  <a:lnTo>
                    <a:pt x="2030081" y="2118601"/>
                  </a:lnTo>
                  <a:lnTo>
                    <a:pt x="2027720" y="2118208"/>
                  </a:lnTo>
                  <a:lnTo>
                    <a:pt x="2024572" y="2117421"/>
                  </a:lnTo>
                  <a:lnTo>
                    <a:pt x="2021819" y="2118208"/>
                  </a:lnTo>
                  <a:lnTo>
                    <a:pt x="2019065" y="2119781"/>
                  </a:lnTo>
                  <a:lnTo>
                    <a:pt x="2018278" y="2122535"/>
                  </a:lnTo>
                  <a:lnTo>
                    <a:pt x="2017884" y="2124109"/>
                  </a:lnTo>
                  <a:lnTo>
                    <a:pt x="2003328" y="2133158"/>
                  </a:lnTo>
                  <a:lnTo>
                    <a:pt x="2000574" y="2133551"/>
                  </a:lnTo>
                  <a:lnTo>
                    <a:pt x="1996639" y="2134731"/>
                  </a:lnTo>
                  <a:lnTo>
                    <a:pt x="1995065" y="2134731"/>
                  </a:lnTo>
                  <a:lnTo>
                    <a:pt x="1991918" y="2135125"/>
                  </a:lnTo>
                  <a:lnTo>
                    <a:pt x="1989951" y="2136698"/>
                  </a:lnTo>
                  <a:lnTo>
                    <a:pt x="1970280" y="2142206"/>
                  </a:lnTo>
                  <a:lnTo>
                    <a:pt x="1966739" y="2140633"/>
                  </a:lnTo>
                  <a:lnTo>
                    <a:pt x="1963985" y="2139452"/>
                  </a:lnTo>
                  <a:lnTo>
                    <a:pt x="1961231" y="2139846"/>
                  </a:lnTo>
                  <a:lnTo>
                    <a:pt x="1958477" y="2140239"/>
                  </a:lnTo>
                  <a:lnTo>
                    <a:pt x="1955329" y="2141026"/>
                  </a:lnTo>
                  <a:lnTo>
                    <a:pt x="1952576" y="2143387"/>
                  </a:lnTo>
                  <a:lnTo>
                    <a:pt x="1949821" y="2144960"/>
                  </a:lnTo>
                  <a:lnTo>
                    <a:pt x="1947068" y="2146534"/>
                  </a:lnTo>
                  <a:lnTo>
                    <a:pt x="1943920" y="2147321"/>
                  </a:lnTo>
                  <a:lnTo>
                    <a:pt x="1940380" y="2146928"/>
                  </a:lnTo>
                  <a:lnTo>
                    <a:pt x="1937232" y="2146928"/>
                  </a:lnTo>
                  <a:lnTo>
                    <a:pt x="1934478" y="2147715"/>
                  </a:lnTo>
                  <a:lnTo>
                    <a:pt x="1931724" y="2146141"/>
                  </a:lnTo>
                  <a:lnTo>
                    <a:pt x="1928577" y="2144567"/>
                  </a:lnTo>
                  <a:lnTo>
                    <a:pt x="1925429" y="2144960"/>
                  </a:lnTo>
                  <a:lnTo>
                    <a:pt x="1922282" y="2146534"/>
                  </a:lnTo>
                  <a:lnTo>
                    <a:pt x="1919528" y="2148108"/>
                  </a:lnTo>
                  <a:lnTo>
                    <a:pt x="1917167" y="2150862"/>
                  </a:lnTo>
                  <a:lnTo>
                    <a:pt x="1882152" y="2156370"/>
                  </a:lnTo>
                  <a:lnTo>
                    <a:pt x="1881366" y="2155976"/>
                  </a:lnTo>
                  <a:lnTo>
                    <a:pt x="1880972" y="2156763"/>
                  </a:lnTo>
                  <a:lnTo>
                    <a:pt x="1877825" y="2155189"/>
                  </a:lnTo>
                  <a:lnTo>
                    <a:pt x="1875070" y="2157550"/>
                  </a:lnTo>
                  <a:lnTo>
                    <a:pt x="1872317" y="2158730"/>
                  </a:lnTo>
                  <a:lnTo>
                    <a:pt x="1869563" y="2161484"/>
                  </a:lnTo>
                  <a:lnTo>
                    <a:pt x="1866809" y="2162271"/>
                  </a:lnTo>
                  <a:lnTo>
                    <a:pt x="1863661" y="2163058"/>
                  </a:lnTo>
                  <a:lnTo>
                    <a:pt x="1860514" y="2165812"/>
                  </a:lnTo>
                  <a:lnTo>
                    <a:pt x="1857760" y="2166992"/>
                  </a:lnTo>
                  <a:lnTo>
                    <a:pt x="1855399" y="2168959"/>
                  </a:lnTo>
                  <a:lnTo>
                    <a:pt x="1850285" y="2169353"/>
                  </a:lnTo>
                  <a:lnTo>
                    <a:pt x="1849498" y="2168959"/>
                  </a:lnTo>
                  <a:lnTo>
                    <a:pt x="1846744" y="2168566"/>
                  </a:lnTo>
                  <a:lnTo>
                    <a:pt x="1843990" y="2169746"/>
                  </a:lnTo>
                  <a:lnTo>
                    <a:pt x="1842023" y="2170140"/>
                  </a:lnTo>
                  <a:lnTo>
                    <a:pt x="1832187" y="2166992"/>
                  </a:lnTo>
                  <a:lnTo>
                    <a:pt x="1829040" y="2164632"/>
                  </a:lnTo>
                  <a:lnTo>
                    <a:pt x="1828253" y="2163845"/>
                  </a:lnTo>
                  <a:lnTo>
                    <a:pt x="1814089" y="2148501"/>
                  </a:lnTo>
                  <a:lnTo>
                    <a:pt x="1812516" y="2145747"/>
                  </a:lnTo>
                  <a:lnTo>
                    <a:pt x="1812122" y="2145354"/>
                  </a:lnTo>
                  <a:lnTo>
                    <a:pt x="1809368" y="2140633"/>
                  </a:lnTo>
                  <a:lnTo>
                    <a:pt x="1809368" y="2139452"/>
                  </a:lnTo>
                  <a:lnTo>
                    <a:pt x="1808188" y="2137879"/>
                  </a:lnTo>
                  <a:lnTo>
                    <a:pt x="1805041" y="2135518"/>
                  </a:lnTo>
                  <a:lnTo>
                    <a:pt x="1802287" y="2133945"/>
                  </a:lnTo>
                  <a:lnTo>
                    <a:pt x="1799533" y="2130797"/>
                  </a:lnTo>
                  <a:lnTo>
                    <a:pt x="1797959" y="2130404"/>
                  </a:lnTo>
                  <a:lnTo>
                    <a:pt x="1795598" y="2130010"/>
                  </a:lnTo>
                  <a:lnTo>
                    <a:pt x="1794025" y="2129617"/>
                  </a:lnTo>
                  <a:lnTo>
                    <a:pt x="1790878" y="2129617"/>
                  </a:lnTo>
                  <a:lnTo>
                    <a:pt x="1781042" y="2131191"/>
                  </a:lnTo>
                  <a:lnTo>
                    <a:pt x="1782615" y="2130797"/>
                  </a:lnTo>
                  <a:lnTo>
                    <a:pt x="1785763" y="2130404"/>
                  </a:lnTo>
                  <a:lnTo>
                    <a:pt x="1786549" y="2128043"/>
                  </a:lnTo>
                  <a:lnTo>
                    <a:pt x="1794418" y="2122928"/>
                  </a:lnTo>
                  <a:lnTo>
                    <a:pt x="1797172" y="2121355"/>
                  </a:lnTo>
                  <a:lnTo>
                    <a:pt x="1797566" y="2121355"/>
                  </a:lnTo>
                  <a:lnTo>
                    <a:pt x="1797959" y="2120961"/>
                  </a:lnTo>
                  <a:lnTo>
                    <a:pt x="1806221" y="2115453"/>
                  </a:lnTo>
                  <a:lnTo>
                    <a:pt x="1807008" y="2113093"/>
                  </a:lnTo>
                  <a:lnTo>
                    <a:pt x="1806615" y="2109552"/>
                  </a:lnTo>
                  <a:lnTo>
                    <a:pt x="1805827" y="2106405"/>
                  </a:lnTo>
                  <a:lnTo>
                    <a:pt x="1805434" y="2103651"/>
                  </a:lnTo>
                  <a:lnTo>
                    <a:pt x="1804254" y="2100503"/>
                  </a:lnTo>
                  <a:lnTo>
                    <a:pt x="1801893" y="2097749"/>
                  </a:lnTo>
                  <a:lnTo>
                    <a:pt x="1799139" y="2094602"/>
                  </a:lnTo>
                  <a:lnTo>
                    <a:pt x="1797566" y="2091454"/>
                  </a:lnTo>
                  <a:lnTo>
                    <a:pt x="1796779" y="2088700"/>
                  </a:lnTo>
                  <a:lnTo>
                    <a:pt x="1794418" y="2085946"/>
                  </a:lnTo>
                  <a:lnTo>
                    <a:pt x="1792058" y="2088700"/>
                  </a:lnTo>
                  <a:lnTo>
                    <a:pt x="1788910" y="2087127"/>
                  </a:lnTo>
                  <a:lnTo>
                    <a:pt x="1786156" y="2083192"/>
                  </a:lnTo>
                  <a:lnTo>
                    <a:pt x="1785369" y="2080832"/>
                  </a:lnTo>
                  <a:lnTo>
                    <a:pt x="1782615" y="2078078"/>
                  </a:lnTo>
                  <a:lnTo>
                    <a:pt x="1781829" y="2076898"/>
                  </a:lnTo>
                  <a:lnTo>
                    <a:pt x="1771993" y="2063128"/>
                  </a:lnTo>
                  <a:lnTo>
                    <a:pt x="1771993" y="2061947"/>
                  </a:lnTo>
                  <a:lnTo>
                    <a:pt x="1769239" y="2059587"/>
                  </a:lnTo>
                  <a:lnTo>
                    <a:pt x="1764124" y="2056046"/>
                  </a:lnTo>
                  <a:lnTo>
                    <a:pt x="1762551" y="2053685"/>
                  </a:lnTo>
                  <a:lnTo>
                    <a:pt x="1759403" y="2052112"/>
                  </a:lnTo>
                  <a:lnTo>
                    <a:pt x="1757830" y="2051718"/>
                  </a:lnTo>
                  <a:lnTo>
                    <a:pt x="1749961" y="2044243"/>
                  </a:lnTo>
                  <a:lnTo>
                    <a:pt x="1747601" y="2040702"/>
                  </a:lnTo>
                  <a:lnTo>
                    <a:pt x="1746027" y="2038342"/>
                  </a:lnTo>
                  <a:lnTo>
                    <a:pt x="1744060" y="2035588"/>
                  </a:lnTo>
                  <a:lnTo>
                    <a:pt x="1742093" y="2032834"/>
                  </a:lnTo>
                  <a:lnTo>
                    <a:pt x="1740519" y="2030080"/>
                  </a:lnTo>
                  <a:lnTo>
                    <a:pt x="1739732" y="2029687"/>
                  </a:lnTo>
                  <a:lnTo>
                    <a:pt x="1737371" y="2026933"/>
                  </a:lnTo>
                  <a:lnTo>
                    <a:pt x="1734617" y="2025752"/>
                  </a:lnTo>
                  <a:lnTo>
                    <a:pt x="1734224" y="2025752"/>
                  </a:lnTo>
                  <a:lnTo>
                    <a:pt x="1717700" y="2013949"/>
                  </a:lnTo>
                  <a:lnTo>
                    <a:pt x="1716913" y="2013949"/>
                  </a:lnTo>
                  <a:lnTo>
                    <a:pt x="1715339" y="2013949"/>
                  </a:lnTo>
                  <a:lnTo>
                    <a:pt x="1714946" y="2013949"/>
                  </a:lnTo>
                  <a:lnTo>
                    <a:pt x="1706291" y="2013949"/>
                  </a:lnTo>
                  <a:lnTo>
                    <a:pt x="1702750" y="2004507"/>
                  </a:lnTo>
                  <a:lnTo>
                    <a:pt x="1703537" y="2002147"/>
                  </a:lnTo>
                  <a:lnTo>
                    <a:pt x="1701176" y="2000573"/>
                  </a:lnTo>
                  <a:lnTo>
                    <a:pt x="1698422" y="1997819"/>
                  </a:lnTo>
                  <a:lnTo>
                    <a:pt x="1695275" y="1998212"/>
                  </a:lnTo>
                  <a:lnTo>
                    <a:pt x="1694488" y="2000966"/>
                  </a:lnTo>
                  <a:lnTo>
                    <a:pt x="1694881" y="2004114"/>
                  </a:lnTo>
                  <a:lnTo>
                    <a:pt x="1697242" y="2006868"/>
                  </a:lnTo>
                  <a:lnTo>
                    <a:pt x="1696849" y="2007655"/>
                  </a:lnTo>
                  <a:lnTo>
                    <a:pt x="1694881" y="2010802"/>
                  </a:lnTo>
                  <a:lnTo>
                    <a:pt x="1692914" y="2006474"/>
                  </a:lnTo>
                  <a:lnTo>
                    <a:pt x="1692914" y="2005294"/>
                  </a:lnTo>
                  <a:lnTo>
                    <a:pt x="1692127" y="2002147"/>
                  </a:lnTo>
                  <a:lnTo>
                    <a:pt x="1690554" y="1999393"/>
                  </a:lnTo>
                  <a:lnTo>
                    <a:pt x="1689767" y="1996639"/>
                  </a:lnTo>
                  <a:lnTo>
                    <a:pt x="1687800" y="1996245"/>
                  </a:lnTo>
                  <a:lnTo>
                    <a:pt x="1685046" y="1990344"/>
                  </a:lnTo>
                  <a:lnTo>
                    <a:pt x="1674817" y="1958083"/>
                  </a:lnTo>
                  <a:lnTo>
                    <a:pt x="1674817" y="1957689"/>
                  </a:lnTo>
                  <a:lnTo>
                    <a:pt x="1674030" y="1954936"/>
                  </a:lnTo>
                  <a:lnTo>
                    <a:pt x="1673243" y="1951788"/>
                  </a:lnTo>
                  <a:lnTo>
                    <a:pt x="1672062" y="1949034"/>
                  </a:lnTo>
                  <a:lnTo>
                    <a:pt x="1671276" y="1946280"/>
                  </a:lnTo>
                  <a:lnTo>
                    <a:pt x="1670489" y="1943526"/>
                  </a:lnTo>
                  <a:lnTo>
                    <a:pt x="1669702" y="1940772"/>
                  </a:lnTo>
                  <a:lnTo>
                    <a:pt x="1668128" y="1938018"/>
                  </a:lnTo>
                  <a:lnTo>
                    <a:pt x="1667342" y="1934871"/>
                  </a:lnTo>
                  <a:lnTo>
                    <a:pt x="1666948" y="1932117"/>
                  </a:lnTo>
                  <a:lnTo>
                    <a:pt x="1665374" y="1929363"/>
                  </a:lnTo>
                  <a:lnTo>
                    <a:pt x="1663801" y="1926609"/>
                  </a:lnTo>
                  <a:lnTo>
                    <a:pt x="1662620" y="1923855"/>
                  </a:lnTo>
                  <a:lnTo>
                    <a:pt x="1661047" y="1921101"/>
                  </a:lnTo>
                  <a:lnTo>
                    <a:pt x="1659473" y="1917953"/>
                  </a:lnTo>
                  <a:lnTo>
                    <a:pt x="1656719" y="1912445"/>
                  </a:lnTo>
                  <a:lnTo>
                    <a:pt x="1655932" y="1910872"/>
                  </a:lnTo>
                  <a:lnTo>
                    <a:pt x="1653965" y="1908511"/>
                  </a:lnTo>
                  <a:lnTo>
                    <a:pt x="1613442" y="1847924"/>
                  </a:lnTo>
                  <a:lnTo>
                    <a:pt x="1611868" y="1843989"/>
                  </a:lnTo>
                  <a:lnTo>
                    <a:pt x="1612262" y="1840842"/>
                  </a:lnTo>
                  <a:lnTo>
                    <a:pt x="1611868" y="1839268"/>
                  </a:lnTo>
                  <a:lnTo>
                    <a:pt x="1613048" y="1808187"/>
                  </a:lnTo>
                  <a:lnTo>
                    <a:pt x="1612262" y="1805433"/>
                  </a:lnTo>
                  <a:lnTo>
                    <a:pt x="1611081" y="1804253"/>
                  </a:lnTo>
                  <a:lnTo>
                    <a:pt x="1600066" y="1775926"/>
                  </a:lnTo>
                  <a:lnTo>
                    <a:pt x="1600459" y="1775140"/>
                  </a:lnTo>
                  <a:lnTo>
                    <a:pt x="1597705" y="1772386"/>
                  </a:lnTo>
                  <a:lnTo>
                    <a:pt x="1594951" y="1770419"/>
                  </a:lnTo>
                  <a:lnTo>
                    <a:pt x="1591803" y="1768058"/>
                  </a:lnTo>
                  <a:lnTo>
                    <a:pt x="1581574" y="1757829"/>
                  </a:lnTo>
                  <a:lnTo>
                    <a:pt x="1580001" y="1754681"/>
                  </a:lnTo>
                  <a:lnTo>
                    <a:pt x="1577247" y="1753501"/>
                  </a:lnTo>
                  <a:lnTo>
                    <a:pt x="1561510" y="1737764"/>
                  </a:lnTo>
                  <a:lnTo>
                    <a:pt x="1563084" y="1711011"/>
                  </a:lnTo>
                  <a:lnTo>
                    <a:pt x="1565444" y="1711011"/>
                  </a:lnTo>
                  <a:lnTo>
                    <a:pt x="1563084" y="1708257"/>
                  </a:lnTo>
                  <a:lnTo>
                    <a:pt x="1540265" y="1680717"/>
                  </a:lnTo>
                  <a:lnTo>
                    <a:pt x="1539871" y="1679537"/>
                  </a:lnTo>
                  <a:lnTo>
                    <a:pt x="1539478" y="1677176"/>
                  </a:lnTo>
                  <a:lnTo>
                    <a:pt x="1537904" y="1674029"/>
                  </a:lnTo>
                  <a:lnTo>
                    <a:pt x="1525315" y="1650423"/>
                  </a:lnTo>
                  <a:lnTo>
                    <a:pt x="1525315" y="1650423"/>
                  </a:lnTo>
                  <a:lnTo>
                    <a:pt x="1525315" y="1650423"/>
                  </a:lnTo>
                  <a:lnTo>
                    <a:pt x="1506037" y="1613835"/>
                  </a:lnTo>
                  <a:lnTo>
                    <a:pt x="1507217" y="1611474"/>
                  </a:lnTo>
                  <a:lnTo>
                    <a:pt x="1505250" y="1608327"/>
                  </a:lnTo>
                  <a:lnTo>
                    <a:pt x="1503676" y="1605179"/>
                  </a:lnTo>
                  <a:lnTo>
                    <a:pt x="1502102" y="1602425"/>
                  </a:lnTo>
                  <a:lnTo>
                    <a:pt x="1501709" y="1599672"/>
                  </a:lnTo>
                  <a:lnTo>
                    <a:pt x="1500135" y="1596917"/>
                  </a:lnTo>
                  <a:lnTo>
                    <a:pt x="1497381" y="1593770"/>
                  </a:lnTo>
                  <a:lnTo>
                    <a:pt x="1496201" y="1591016"/>
                  </a:lnTo>
                  <a:lnTo>
                    <a:pt x="1493053" y="1588262"/>
                  </a:lnTo>
                  <a:lnTo>
                    <a:pt x="1493841" y="1584328"/>
                  </a:lnTo>
                  <a:lnTo>
                    <a:pt x="1493447" y="1583934"/>
                  </a:lnTo>
                  <a:lnTo>
                    <a:pt x="1492660" y="1580787"/>
                  </a:lnTo>
                  <a:lnTo>
                    <a:pt x="1492660" y="1579213"/>
                  </a:lnTo>
                  <a:lnTo>
                    <a:pt x="1493053" y="1579607"/>
                  </a:lnTo>
                  <a:lnTo>
                    <a:pt x="1492660" y="1576853"/>
                  </a:lnTo>
                  <a:lnTo>
                    <a:pt x="1492267" y="1576066"/>
                  </a:lnTo>
                  <a:lnTo>
                    <a:pt x="1490693" y="1573312"/>
                  </a:lnTo>
                  <a:lnTo>
                    <a:pt x="1487545" y="1571738"/>
                  </a:lnTo>
                  <a:lnTo>
                    <a:pt x="1484792" y="1569378"/>
                  </a:lnTo>
                  <a:lnTo>
                    <a:pt x="1484398" y="1568984"/>
                  </a:lnTo>
                  <a:lnTo>
                    <a:pt x="1482824" y="1567410"/>
                  </a:lnTo>
                  <a:lnTo>
                    <a:pt x="1482824" y="1567017"/>
                  </a:lnTo>
                  <a:lnTo>
                    <a:pt x="1479283" y="1562296"/>
                  </a:lnTo>
                  <a:lnTo>
                    <a:pt x="1478497" y="1561509"/>
                  </a:lnTo>
                  <a:lnTo>
                    <a:pt x="1477710" y="1560722"/>
                  </a:lnTo>
                  <a:lnTo>
                    <a:pt x="1477316" y="1559935"/>
                  </a:lnTo>
                  <a:lnTo>
                    <a:pt x="1476136" y="1557968"/>
                  </a:lnTo>
                  <a:lnTo>
                    <a:pt x="1475743" y="1557575"/>
                  </a:lnTo>
                  <a:lnTo>
                    <a:pt x="1475349" y="1557181"/>
                  </a:lnTo>
                  <a:lnTo>
                    <a:pt x="1474956" y="1556788"/>
                  </a:lnTo>
                  <a:lnTo>
                    <a:pt x="1470235" y="1550493"/>
                  </a:lnTo>
                  <a:lnTo>
                    <a:pt x="1469841" y="1548526"/>
                  </a:lnTo>
                  <a:lnTo>
                    <a:pt x="1467087" y="1546166"/>
                  </a:lnTo>
                  <a:lnTo>
                    <a:pt x="1463940" y="1535543"/>
                  </a:lnTo>
                  <a:lnTo>
                    <a:pt x="1462760" y="1532789"/>
                  </a:lnTo>
                  <a:lnTo>
                    <a:pt x="1461973" y="1530035"/>
                  </a:lnTo>
                  <a:lnTo>
                    <a:pt x="1460793" y="1527281"/>
                  </a:lnTo>
                  <a:lnTo>
                    <a:pt x="1456465" y="1522953"/>
                  </a:lnTo>
                  <a:lnTo>
                    <a:pt x="1454104" y="1518232"/>
                  </a:lnTo>
                  <a:lnTo>
                    <a:pt x="1453711" y="1517839"/>
                  </a:lnTo>
                  <a:lnTo>
                    <a:pt x="1454498" y="1515872"/>
                  </a:lnTo>
                  <a:lnTo>
                    <a:pt x="1456071" y="1513118"/>
                  </a:lnTo>
                  <a:lnTo>
                    <a:pt x="1456465" y="1511544"/>
                  </a:lnTo>
                  <a:lnTo>
                    <a:pt x="1459219" y="1506036"/>
                  </a:lnTo>
                  <a:lnTo>
                    <a:pt x="1459612" y="1506036"/>
                  </a:lnTo>
                  <a:lnTo>
                    <a:pt x="1460006" y="1507610"/>
                  </a:lnTo>
                  <a:lnTo>
                    <a:pt x="1461579" y="1510757"/>
                  </a:lnTo>
                  <a:lnTo>
                    <a:pt x="1462366" y="1513118"/>
                  </a:lnTo>
                  <a:lnTo>
                    <a:pt x="1462760" y="1513511"/>
                  </a:lnTo>
                  <a:lnTo>
                    <a:pt x="1463153" y="1513904"/>
                  </a:lnTo>
                  <a:lnTo>
                    <a:pt x="1463940" y="1517445"/>
                  </a:lnTo>
                  <a:lnTo>
                    <a:pt x="1463940" y="1519806"/>
                  </a:lnTo>
                  <a:lnTo>
                    <a:pt x="1465120" y="1522166"/>
                  </a:lnTo>
                  <a:lnTo>
                    <a:pt x="1465514" y="1524921"/>
                  </a:lnTo>
                  <a:lnTo>
                    <a:pt x="1467087" y="1525707"/>
                  </a:lnTo>
                  <a:lnTo>
                    <a:pt x="1469055" y="1529248"/>
                  </a:lnTo>
                  <a:lnTo>
                    <a:pt x="1470628" y="1531609"/>
                  </a:lnTo>
                  <a:lnTo>
                    <a:pt x="1478104" y="1539084"/>
                  </a:lnTo>
                  <a:lnTo>
                    <a:pt x="1479677" y="1540264"/>
                  </a:lnTo>
                  <a:lnTo>
                    <a:pt x="1480071" y="1543018"/>
                  </a:lnTo>
                  <a:lnTo>
                    <a:pt x="1480071" y="1545772"/>
                  </a:lnTo>
                  <a:lnTo>
                    <a:pt x="1480857" y="1546952"/>
                  </a:lnTo>
                  <a:lnTo>
                    <a:pt x="1481251" y="1550493"/>
                  </a:lnTo>
                  <a:lnTo>
                    <a:pt x="1481251" y="1551280"/>
                  </a:lnTo>
                  <a:lnTo>
                    <a:pt x="1481644" y="1552854"/>
                  </a:lnTo>
                  <a:lnTo>
                    <a:pt x="1481644" y="1553247"/>
                  </a:lnTo>
                  <a:lnTo>
                    <a:pt x="1483218" y="1556001"/>
                  </a:lnTo>
                  <a:lnTo>
                    <a:pt x="1483611" y="1556395"/>
                  </a:lnTo>
                  <a:lnTo>
                    <a:pt x="1483611" y="1556788"/>
                  </a:lnTo>
                  <a:lnTo>
                    <a:pt x="1486365" y="1559542"/>
                  </a:lnTo>
                  <a:lnTo>
                    <a:pt x="1488726" y="1562296"/>
                  </a:lnTo>
                  <a:lnTo>
                    <a:pt x="1491480" y="1563870"/>
                  </a:lnTo>
                  <a:lnTo>
                    <a:pt x="1492267" y="1564263"/>
                  </a:lnTo>
                  <a:lnTo>
                    <a:pt x="1494234" y="1567017"/>
                  </a:lnTo>
                  <a:lnTo>
                    <a:pt x="1496201" y="1569771"/>
                  </a:lnTo>
                  <a:lnTo>
                    <a:pt x="1498561" y="1572918"/>
                  </a:lnTo>
                  <a:lnTo>
                    <a:pt x="1501315" y="1575672"/>
                  </a:lnTo>
                  <a:lnTo>
                    <a:pt x="1504070" y="1577640"/>
                  </a:lnTo>
                  <a:lnTo>
                    <a:pt x="1506823" y="1580000"/>
                  </a:lnTo>
                  <a:lnTo>
                    <a:pt x="1509578" y="1580787"/>
                  </a:lnTo>
                  <a:lnTo>
                    <a:pt x="1511545" y="1581574"/>
                  </a:lnTo>
                  <a:lnTo>
                    <a:pt x="1513118" y="1583148"/>
                  </a:lnTo>
                  <a:lnTo>
                    <a:pt x="1512725" y="1581180"/>
                  </a:lnTo>
                  <a:lnTo>
                    <a:pt x="1513118" y="1578820"/>
                  </a:lnTo>
                  <a:lnTo>
                    <a:pt x="1514692" y="1578427"/>
                  </a:lnTo>
                  <a:lnTo>
                    <a:pt x="1516266" y="1575672"/>
                  </a:lnTo>
                  <a:lnTo>
                    <a:pt x="1517446" y="1572918"/>
                  </a:lnTo>
                  <a:lnTo>
                    <a:pt x="1517839" y="1572132"/>
                  </a:lnTo>
                  <a:lnTo>
                    <a:pt x="1517446" y="1568984"/>
                  </a:lnTo>
                  <a:lnTo>
                    <a:pt x="1516659" y="1566624"/>
                  </a:lnTo>
                  <a:lnTo>
                    <a:pt x="1519019" y="1555608"/>
                  </a:lnTo>
                  <a:lnTo>
                    <a:pt x="1520593" y="1552854"/>
                  </a:lnTo>
                  <a:lnTo>
                    <a:pt x="1521380" y="1549706"/>
                  </a:lnTo>
                  <a:lnTo>
                    <a:pt x="1521774" y="1544198"/>
                  </a:lnTo>
                  <a:lnTo>
                    <a:pt x="1521774" y="1541444"/>
                  </a:lnTo>
                  <a:lnTo>
                    <a:pt x="1522167" y="1538690"/>
                  </a:lnTo>
                  <a:lnTo>
                    <a:pt x="1522560" y="1535936"/>
                  </a:lnTo>
                  <a:lnTo>
                    <a:pt x="1523741" y="1533182"/>
                  </a:lnTo>
                  <a:lnTo>
                    <a:pt x="1523741" y="1529642"/>
                  </a:lnTo>
                  <a:lnTo>
                    <a:pt x="1528068" y="1523740"/>
                  </a:lnTo>
                  <a:lnTo>
                    <a:pt x="1528462" y="1523740"/>
                  </a:lnTo>
                  <a:lnTo>
                    <a:pt x="1530036" y="1521380"/>
                  </a:lnTo>
                  <a:lnTo>
                    <a:pt x="1530822" y="1519019"/>
                  </a:lnTo>
                  <a:lnTo>
                    <a:pt x="1530429" y="1520593"/>
                  </a:lnTo>
                  <a:lnTo>
                    <a:pt x="1530036" y="1521380"/>
                  </a:lnTo>
                  <a:lnTo>
                    <a:pt x="1530429" y="1521773"/>
                  </a:lnTo>
                  <a:lnTo>
                    <a:pt x="1530822" y="1522166"/>
                  </a:lnTo>
                  <a:lnTo>
                    <a:pt x="1530822" y="1522560"/>
                  </a:lnTo>
                  <a:lnTo>
                    <a:pt x="1530036" y="1525707"/>
                  </a:lnTo>
                  <a:lnTo>
                    <a:pt x="1530036" y="1528068"/>
                  </a:lnTo>
                  <a:lnTo>
                    <a:pt x="1530822" y="1528068"/>
                  </a:lnTo>
                  <a:lnTo>
                    <a:pt x="1530036" y="1530822"/>
                  </a:lnTo>
                  <a:lnTo>
                    <a:pt x="1529642" y="1533576"/>
                  </a:lnTo>
                  <a:lnTo>
                    <a:pt x="1529249" y="1536330"/>
                  </a:lnTo>
                  <a:lnTo>
                    <a:pt x="1528462" y="1539084"/>
                  </a:lnTo>
                  <a:lnTo>
                    <a:pt x="1528462" y="1543805"/>
                  </a:lnTo>
                  <a:lnTo>
                    <a:pt x="1528068" y="1546952"/>
                  </a:lnTo>
                  <a:lnTo>
                    <a:pt x="1527282" y="1549706"/>
                  </a:lnTo>
                  <a:lnTo>
                    <a:pt x="1527675" y="1552460"/>
                  </a:lnTo>
                  <a:lnTo>
                    <a:pt x="1528068" y="1554427"/>
                  </a:lnTo>
                  <a:lnTo>
                    <a:pt x="1527675" y="1557181"/>
                  </a:lnTo>
                  <a:lnTo>
                    <a:pt x="1526888" y="1559935"/>
                  </a:lnTo>
                  <a:lnTo>
                    <a:pt x="1526101" y="1562689"/>
                  </a:lnTo>
                  <a:lnTo>
                    <a:pt x="1525315" y="1565443"/>
                  </a:lnTo>
                  <a:lnTo>
                    <a:pt x="1523741" y="1568197"/>
                  </a:lnTo>
                  <a:lnTo>
                    <a:pt x="1522560" y="1569771"/>
                  </a:lnTo>
                  <a:lnTo>
                    <a:pt x="1523741" y="1571738"/>
                  </a:lnTo>
                  <a:lnTo>
                    <a:pt x="1523348" y="1572918"/>
                  </a:lnTo>
                  <a:lnTo>
                    <a:pt x="1524134" y="1572525"/>
                  </a:lnTo>
                  <a:lnTo>
                    <a:pt x="1524134" y="1572525"/>
                  </a:lnTo>
                  <a:lnTo>
                    <a:pt x="1524134" y="1572525"/>
                  </a:lnTo>
                  <a:lnTo>
                    <a:pt x="1532003" y="1570165"/>
                  </a:lnTo>
                  <a:lnTo>
                    <a:pt x="1529642" y="1569771"/>
                  </a:lnTo>
                  <a:lnTo>
                    <a:pt x="1530429" y="1569771"/>
                  </a:lnTo>
                  <a:lnTo>
                    <a:pt x="1532396" y="1570165"/>
                  </a:lnTo>
                  <a:lnTo>
                    <a:pt x="1531609" y="1570165"/>
                  </a:lnTo>
                  <a:lnTo>
                    <a:pt x="1532003" y="1570165"/>
                  </a:lnTo>
                  <a:lnTo>
                    <a:pt x="1532396" y="1569771"/>
                  </a:lnTo>
                  <a:lnTo>
                    <a:pt x="1532789" y="1569771"/>
                  </a:lnTo>
                  <a:lnTo>
                    <a:pt x="1533183" y="1569378"/>
                  </a:lnTo>
                  <a:lnTo>
                    <a:pt x="1539871" y="1574492"/>
                  </a:lnTo>
                  <a:lnTo>
                    <a:pt x="1539871" y="1574099"/>
                  </a:lnTo>
                  <a:lnTo>
                    <a:pt x="1538691" y="1571345"/>
                  </a:lnTo>
                  <a:lnTo>
                    <a:pt x="1535937" y="1570558"/>
                  </a:lnTo>
                  <a:lnTo>
                    <a:pt x="1533183" y="1569378"/>
                  </a:lnTo>
                  <a:lnTo>
                    <a:pt x="1533577" y="1568984"/>
                  </a:lnTo>
                  <a:lnTo>
                    <a:pt x="1536724" y="1570165"/>
                  </a:lnTo>
                  <a:lnTo>
                    <a:pt x="1539478" y="1570951"/>
                  </a:lnTo>
                  <a:lnTo>
                    <a:pt x="1540658" y="1573705"/>
                  </a:lnTo>
                  <a:lnTo>
                    <a:pt x="1540658" y="1574099"/>
                  </a:lnTo>
                  <a:lnTo>
                    <a:pt x="1543412" y="1576853"/>
                  </a:lnTo>
                  <a:lnTo>
                    <a:pt x="1544592" y="1580000"/>
                  </a:lnTo>
                  <a:lnTo>
                    <a:pt x="1547346" y="1582754"/>
                  </a:lnTo>
                  <a:lnTo>
                    <a:pt x="1549314" y="1585508"/>
                  </a:lnTo>
                  <a:lnTo>
                    <a:pt x="1550100" y="1588655"/>
                  </a:lnTo>
                  <a:lnTo>
                    <a:pt x="1551674" y="1591803"/>
                  </a:lnTo>
                  <a:lnTo>
                    <a:pt x="1554035" y="1594557"/>
                  </a:lnTo>
                  <a:lnTo>
                    <a:pt x="1557182" y="1596917"/>
                  </a:lnTo>
                  <a:lnTo>
                    <a:pt x="1559543" y="1599672"/>
                  </a:lnTo>
                  <a:lnTo>
                    <a:pt x="1559936" y="1602425"/>
                  </a:lnTo>
                  <a:lnTo>
                    <a:pt x="1561903" y="1605179"/>
                  </a:lnTo>
                  <a:lnTo>
                    <a:pt x="1565051" y="1607933"/>
                  </a:lnTo>
                  <a:lnTo>
                    <a:pt x="1567411" y="1611081"/>
                  </a:lnTo>
                  <a:lnTo>
                    <a:pt x="1568985" y="1613835"/>
                  </a:lnTo>
                  <a:lnTo>
                    <a:pt x="1571345" y="1616982"/>
                  </a:lnTo>
                  <a:lnTo>
                    <a:pt x="1573706" y="1619736"/>
                  </a:lnTo>
                  <a:lnTo>
                    <a:pt x="1575280" y="1622884"/>
                  </a:lnTo>
                  <a:lnTo>
                    <a:pt x="1576853" y="1625638"/>
                  </a:lnTo>
                  <a:lnTo>
                    <a:pt x="1578427" y="1628785"/>
                  </a:lnTo>
                  <a:lnTo>
                    <a:pt x="1580001" y="1631932"/>
                  </a:lnTo>
                  <a:lnTo>
                    <a:pt x="1581574" y="1635080"/>
                  </a:lnTo>
                  <a:lnTo>
                    <a:pt x="1584329" y="1637834"/>
                  </a:lnTo>
                  <a:lnTo>
                    <a:pt x="1587082" y="1638227"/>
                  </a:lnTo>
                  <a:lnTo>
                    <a:pt x="1588656" y="1641768"/>
                  </a:lnTo>
                  <a:lnTo>
                    <a:pt x="1587869" y="1643735"/>
                  </a:lnTo>
                  <a:lnTo>
                    <a:pt x="1588656" y="1646489"/>
                  </a:lnTo>
                  <a:lnTo>
                    <a:pt x="1591410" y="1649637"/>
                  </a:lnTo>
                  <a:lnTo>
                    <a:pt x="1594558" y="1651210"/>
                  </a:lnTo>
                  <a:lnTo>
                    <a:pt x="1596918" y="1654358"/>
                  </a:lnTo>
                  <a:lnTo>
                    <a:pt x="1598492" y="1657112"/>
                  </a:lnTo>
                  <a:lnTo>
                    <a:pt x="1600066" y="1660259"/>
                  </a:lnTo>
                  <a:lnTo>
                    <a:pt x="1601639" y="1663406"/>
                  </a:lnTo>
                  <a:lnTo>
                    <a:pt x="1604000" y="1666161"/>
                  </a:lnTo>
                  <a:lnTo>
                    <a:pt x="1606360" y="1668915"/>
                  </a:lnTo>
                  <a:lnTo>
                    <a:pt x="1605967" y="1672062"/>
                  </a:lnTo>
                  <a:lnTo>
                    <a:pt x="1606754" y="1673636"/>
                  </a:lnTo>
                  <a:lnTo>
                    <a:pt x="1606754" y="1675996"/>
                  </a:lnTo>
                  <a:lnTo>
                    <a:pt x="1606360" y="1674029"/>
                  </a:lnTo>
                  <a:lnTo>
                    <a:pt x="1605967" y="1677570"/>
                  </a:lnTo>
                  <a:lnTo>
                    <a:pt x="1603213" y="1679537"/>
                  </a:lnTo>
                  <a:lnTo>
                    <a:pt x="1605573" y="1682684"/>
                  </a:lnTo>
                  <a:lnTo>
                    <a:pt x="1607540" y="1685438"/>
                  </a:lnTo>
                  <a:lnTo>
                    <a:pt x="1610295" y="1688586"/>
                  </a:lnTo>
                  <a:lnTo>
                    <a:pt x="1610688" y="1690160"/>
                  </a:lnTo>
                  <a:lnTo>
                    <a:pt x="1609901" y="1687012"/>
                  </a:lnTo>
                  <a:lnTo>
                    <a:pt x="1610688" y="1688192"/>
                  </a:lnTo>
                  <a:lnTo>
                    <a:pt x="1611081" y="1689766"/>
                  </a:lnTo>
                  <a:lnTo>
                    <a:pt x="1613048" y="1692520"/>
                  </a:lnTo>
                  <a:lnTo>
                    <a:pt x="1610688" y="1690160"/>
                  </a:lnTo>
                  <a:lnTo>
                    <a:pt x="1612655" y="1692913"/>
                  </a:lnTo>
                  <a:lnTo>
                    <a:pt x="1613048" y="1695668"/>
                  </a:lnTo>
                  <a:lnTo>
                    <a:pt x="1615016" y="1698815"/>
                  </a:lnTo>
                  <a:lnTo>
                    <a:pt x="1618163" y="1699602"/>
                  </a:lnTo>
                  <a:lnTo>
                    <a:pt x="1621310" y="1699208"/>
                  </a:lnTo>
                  <a:lnTo>
                    <a:pt x="1624065" y="1701962"/>
                  </a:lnTo>
                  <a:lnTo>
                    <a:pt x="1624458" y="1701962"/>
                  </a:lnTo>
                  <a:lnTo>
                    <a:pt x="1620917" y="1698815"/>
                  </a:lnTo>
                  <a:lnTo>
                    <a:pt x="1621704" y="1698815"/>
                  </a:lnTo>
                  <a:lnTo>
                    <a:pt x="1624458" y="1701569"/>
                  </a:lnTo>
                  <a:lnTo>
                    <a:pt x="1624851" y="1701569"/>
                  </a:lnTo>
                  <a:lnTo>
                    <a:pt x="1627999" y="1701175"/>
                  </a:lnTo>
                  <a:lnTo>
                    <a:pt x="1629573" y="1703929"/>
                  </a:lnTo>
                  <a:lnTo>
                    <a:pt x="1632326" y="1705503"/>
                  </a:lnTo>
                  <a:lnTo>
                    <a:pt x="1634294" y="1707077"/>
                  </a:lnTo>
                  <a:lnTo>
                    <a:pt x="1634687" y="1707470"/>
                  </a:lnTo>
                  <a:lnTo>
                    <a:pt x="1637835" y="1709437"/>
                  </a:lnTo>
                  <a:lnTo>
                    <a:pt x="1640588" y="1712191"/>
                  </a:lnTo>
                  <a:lnTo>
                    <a:pt x="1643343" y="1715339"/>
                  </a:lnTo>
                  <a:lnTo>
                    <a:pt x="1644523" y="1718093"/>
                  </a:lnTo>
                  <a:lnTo>
                    <a:pt x="1645703" y="1720847"/>
                  </a:lnTo>
                  <a:lnTo>
                    <a:pt x="1648457" y="1723601"/>
                  </a:lnTo>
                  <a:lnTo>
                    <a:pt x="1650424" y="1726748"/>
                  </a:lnTo>
                  <a:lnTo>
                    <a:pt x="1650817" y="1729109"/>
                  </a:lnTo>
                  <a:lnTo>
                    <a:pt x="1650031" y="1727142"/>
                  </a:lnTo>
                  <a:lnTo>
                    <a:pt x="1650424" y="1729896"/>
                  </a:lnTo>
                  <a:lnTo>
                    <a:pt x="1650817" y="1732650"/>
                  </a:lnTo>
                  <a:lnTo>
                    <a:pt x="1652784" y="1735404"/>
                  </a:lnTo>
                  <a:lnTo>
                    <a:pt x="1654358" y="1738157"/>
                  </a:lnTo>
                  <a:lnTo>
                    <a:pt x="1654358" y="1740912"/>
                  </a:lnTo>
                  <a:lnTo>
                    <a:pt x="1656719" y="1742092"/>
                  </a:lnTo>
                  <a:lnTo>
                    <a:pt x="1656325" y="1740912"/>
                  </a:lnTo>
                  <a:lnTo>
                    <a:pt x="1657899" y="1741698"/>
                  </a:lnTo>
                  <a:lnTo>
                    <a:pt x="1659866" y="1744846"/>
                  </a:lnTo>
                  <a:lnTo>
                    <a:pt x="1658293" y="1744059"/>
                  </a:lnTo>
                  <a:lnTo>
                    <a:pt x="1657113" y="1742485"/>
                  </a:lnTo>
                  <a:lnTo>
                    <a:pt x="1656719" y="1742485"/>
                  </a:lnTo>
                  <a:lnTo>
                    <a:pt x="1657506" y="1743666"/>
                  </a:lnTo>
                  <a:lnTo>
                    <a:pt x="1657113" y="1743272"/>
                  </a:lnTo>
                  <a:lnTo>
                    <a:pt x="1657899" y="1744452"/>
                  </a:lnTo>
                  <a:lnTo>
                    <a:pt x="1656719" y="1743666"/>
                  </a:lnTo>
                  <a:lnTo>
                    <a:pt x="1658293" y="1746419"/>
                  </a:lnTo>
                  <a:lnTo>
                    <a:pt x="1660260" y="1749174"/>
                  </a:lnTo>
                  <a:lnTo>
                    <a:pt x="1661440" y="1751141"/>
                  </a:lnTo>
                  <a:lnTo>
                    <a:pt x="1659473" y="1746813"/>
                  </a:lnTo>
                  <a:lnTo>
                    <a:pt x="1661047" y="1748780"/>
                  </a:lnTo>
                  <a:lnTo>
                    <a:pt x="1662620" y="1751534"/>
                  </a:lnTo>
                  <a:lnTo>
                    <a:pt x="1663801" y="1754681"/>
                  </a:lnTo>
                  <a:lnTo>
                    <a:pt x="1664194" y="1755862"/>
                  </a:lnTo>
                  <a:lnTo>
                    <a:pt x="1664587" y="1758616"/>
                  </a:lnTo>
                  <a:lnTo>
                    <a:pt x="1664981" y="1761763"/>
                  </a:lnTo>
                  <a:lnTo>
                    <a:pt x="1664981" y="1762157"/>
                  </a:lnTo>
                  <a:lnTo>
                    <a:pt x="1663801" y="1756649"/>
                  </a:lnTo>
                  <a:lnTo>
                    <a:pt x="1664194" y="1759403"/>
                  </a:lnTo>
                  <a:lnTo>
                    <a:pt x="1664587" y="1762550"/>
                  </a:lnTo>
                  <a:lnTo>
                    <a:pt x="1664587" y="1765304"/>
                  </a:lnTo>
                  <a:lnTo>
                    <a:pt x="1663407" y="1768058"/>
                  </a:lnTo>
                  <a:lnTo>
                    <a:pt x="1663014" y="1771205"/>
                  </a:lnTo>
                  <a:lnTo>
                    <a:pt x="1663014" y="1773959"/>
                  </a:lnTo>
                  <a:lnTo>
                    <a:pt x="1662620" y="1776713"/>
                  </a:lnTo>
                  <a:lnTo>
                    <a:pt x="1663014" y="1779861"/>
                  </a:lnTo>
                  <a:lnTo>
                    <a:pt x="1663801" y="1782615"/>
                  </a:lnTo>
                  <a:lnTo>
                    <a:pt x="1665374" y="1785369"/>
                  </a:lnTo>
                  <a:lnTo>
                    <a:pt x="1665768" y="1788123"/>
                  </a:lnTo>
                  <a:lnTo>
                    <a:pt x="1666161" y="1791270"/>
                  </a:lnTo>
                  <a:lnTo>
                    <a:pt x="1668128" y="1794024"/>
                  </a:lnTo>
                  <a:lnTo>
                    <a:pt x="1666948" y="1796778"/>
                  </a:lnTo>
                  <a:lnTo>
                    <a:pt x="1666554" y="1799532"/>
                  </a:lnTo>
                  <a:lnTo>
                    <a:pt x="1668128" y="1802680"/>
                  </a:lnTo>
                  <a:lnTo>
                    <a:pt x="1668915" y="1805433"/>
                  </a:lnTo>
                  <a:lnTo>
                    <a:pt x="1670882" y="1808581"/>
                  </a:lnTo>
                  <a:lnTo>
                    <a:pt x="1674030" y="1810941"/>
                  </a:lnTo>
                  <a:lnTo>
                    <a:pt x="1674817" y="1813302"/>
                  </a:lnTo>
                  <a:lnTo>
                    <a:pt x="1674030" y="1809761"/>
                  </a:lnTo>
                  <a:lnTo>
                    <a:pt x="1674423" y="1810155"/>
                  </a:lnTo>
                  <a:lnTo>
                    <a:pt x="1675210" y="1812515"/>
                  </a:lnTo>
                  <a:lnTo>
                    <a:pt x="1676784" y="1815269"/>
                  </a:lnTo>
                  <a:lnTo>
                    <a:pt x="1678357" y="1816843"/>
                  </a:lnTo>
                  <a:lnTo>
                    <a:pt x="1674817" y="1813302"/>
                  </a:lnTo>
                  <a:lnTo>
                    <a:pt x="1676390" y="1816056"/>
                  </a:lnTo>
                  <a:lnTo>
                    <a:pt x="1679144" y="1818810"/>
                  </a:lnTo>
                  <a:lnTo>
                    <a:pt x="1680718" y="1821564"/>
                  </a:lnTo>
                  <a:lnTo>
                    <a:pt x="1682291" y="1824318"/>
                  </a:lnTo>
                  <a:lnTo>
                    <a:pt x="1685046" y="1827465"/>
                  </a:lnTo>
                  <a:lnTo>
                    <a:pt x="1687406" y="1830219"/>
                  </a:lnTo>
                  <a:lnTo>
                    <a:pt x="1690160" y="1831793"/>
                  </a:lnTo>
                  <a:lnTo>
                    <a:pt x="1692914" y="1832186"/>
                  </a:lnTo>
                  <a:lnTo>
                    <a:pt x="1694488" y="1832580"/>
                  </a:lnTo>
                  <a:lnTo>
                    <a:pt x="1693308" y="1831400"/>
                  </a:lnTo>
                  <a:lnTo>
                    <a:pt x="1693308" y="1831400"/>
                  </a:lnTo>
                  <a:lnTo>
                    <a:pt x="1694881" y="1831793"/>
                  </a:lnTo>
                  <a:lnTo>
                    <a:pt x="1697635" y="1832186"/>
                  </a:lnTo>
                  <a:lnTo>
                    <a:pt x="1700783" y="1834547"/>
                  </a:lnTo>
                  <a:lnTo>
                    <a:pt x="1703143" y="1837301"/>
                  </a:lnTo>
                  <a:lnTo>
                    <a:pt x="1706291" y="1838875"/>
                  </a:lnTo>
                  <a:lnTo>
                    <a:pt x="1708651" y="1841235"/>
                  </a:lnTo>
                  <a:lnTo>
                    <a:pt x="1711012" y="1843989"/>
                  </a:lnTo>
                  <a:lnTo>
                    <a:pt x="1713372" y="1846743"/>
                  </a:lnTo>
                  <a:lnTo>
                    <a:pt x="1716127" y="1848317"/>
                  </a:lnTo>
                  <a:lnTo>
                    <a:pt x="1719274" y="1851071"/>
                  </a:lnTo>
                  <a:lnTo>
                    <a:pt x="1719274" y="1854218"/>
                  </a:lnTo>
                  <a:lnTo>
                    <a:pt x="1720847" y="1856972"/>
                  </a:lnTo>
                  <a:lnTo>
                    <a:pt x="1723995" y="1858153"/>
                  </a:lnTo>
                  <a:lnTo>
                    <a:pt x="1724388" y="1860907"/>
                  </a:lnTo>
                  <a:lnTo>
                    <a:pt x="1724782" y="1863661"/>
                  </a:lnTo>
                  <a:lnTo>
                    <a:pt x="1727142" y="1866415"/>
                  </a:lnTo>
                  <a:lnTo>
                    <a:pt x="1727535" y="1869562"/>
                  </a:lnTo>
                  <a:lnTo>
                    <a:pt x="1730290" y="1871922"/>
                  </a:lnTo>
                  <a:lnTo>
                    <a:pt x="1730683" y="1874676"/>
                  </a:lnTo>
                  <a:lnTo>
                    <a:pt x="1730683" y="1877824"/>
                  </a:lnTo>
                  <a:lnTo>
                    <a:pt x="1733437" y="1880578"/>
                  </a:lnTo>
                  <a:lnTo>
                    <a:pt x="1732650" y="1883332"/>
                  </a:lnTo>
                  <a:lnTo>
                    <a:pt x="1732650" y="1882938"/>
                  </a:lnTo>
                  <a:lnTo>
                    <a:pt x="1733044" y="1881365"/>
                  </a:lnTo>
                  <a:lnTo>
                    <a:pt x="1730290" y="1878611"/>
                  </a:lnTo>
                  <a:lnTo>
                    <a:pt x="1730290" y="1875463"/>
                  </a:lnTo>
                  <a:lnTo>
                    <a:pt x="1729896" y="1872709"/>
                  </a:lnTo>
                  <a:lnTo>
                    <a:pt x="1727142" y="1870349"/>
                  </a:lnTo>
                  <a:lnTo>
                    <a:pt x="1726355" y="1867201"/>
                  </a:lnTo>
                  <a:lnTo>
                    <a:pt x="1723995" y="1864447"/>
                  </a:lnTo>
                  <a:lnTo>
                    <a:pt x="1723601" y="1861693"/>
                  </a:lnTo>
                  <a:lnTo>
                    <a:pt x="1723208" y="1858939"/>
                  </a:lnTo>
                  <a:lnTo>
                    <a:pt x="1720061" y="1857759"/>
                  </a:lnTo>
                  <a:lnTo>
                    <a:pt x="1718487" y="1855005"/>
                  </a:lnTo>
                  <a:lnTo>
                    <a:pt x="1718487" y="1851858"/>
                  </a:lnTo>
                  <a:lnTo>
                    <a:pt x="1715339" y="1849104"/>
                  </a:lnTo>
                  <a:lnTo>
                    <a:pt x="1712586" y="1847530"/>
                  </a:lnTo>
                  <a:lnTo>
                    <a:pt x="1710225" y="1844776"/>
                  </a:lnTo>
                  <a:lnTo>
                    <a:pt x="1707864" y="1842022"/>
                  </a:lnTo>
                  <a:lnTo>
                    <a:pt x="1710225" y="1846350"/>
                  </a:lnTo>
                  <a:lnTo>
                    <a:pt x="1709831" y="1845956"/>
                  </a:lnTo>
                  <a:lnTo>
                    <a:pt x="1708258" y="1843202"/>
                  </a:lnTo>
                  <a:lnTo>
                    <a:pt x="1705504" y="1842022"/>
                  </a:lnTo>
                  <a:lnTo>
                    <a:pt x="1710618" y="1846350"/>
                  </a:lnTo>
                  <a:lnTo>
                    <a:pt x="1712586" y="1849891"/>
                  </a:lnTo>
                  <a:lnTo>
                    <a:pt x="1710225" y="1848317"/>
                  </a:lnTo>
                  <a:lnTo>
                    <a:pt x="1707471" y="1845956"/>
                  </a:lnTo>
                  <a:lnTo>
                    <a:pt x="1705110" y="1849104"/>
                  </a:lnTo>
                  <a:lnTo>
                    <a:pt x="1708258" y="1849497"/>
                  </a:lnTo>
                  <a:lnTo>
                    <a:pt x="1711012" y="1851858"/>
                  </a:lnTo>
                  <a:lnTo>
                    <a:pt x="1712586" y="1851464"/>
                  </a:lnTo>
                  <a:lnTo>
                    <a:pt x="1712586" y="1851071"/>
                  </a:lnTo>
                  <a:lnTo>
                    <a:pt x="1721241" y="1866808"/>
                  </a:lnTo>
                  <a:lnTo>
                    <a:pt x="1723601" y="1883725"/>
                  </a:lnTo>
                  <a:lnTo>
                    <a:pt x="1724388" y="1886479"/>
                  </a:lnTo>
                  <a:lnTo>
                    <a:pt x="1727142" y="1885692"/>
                  </a:lnTo>
                  <a:lnTo>
                    <a:pt x="1725568" y="1882545"/>
                  </a:lnTo>
                  <a:lnTo>
                    <a:pt x="1725175" y="1879791"/>
                  </a:lnTo>
                  <a:lnTo>
                    <a:pt x="1723995" y="1877037"/>
                  </a:lnTo>
                  <a:lnTo>
                    <a:pt x="1722421" y="1873890"/>
                  </a:lnTo>
                  <a:lnTo>
                    <a:pt x="1722028" y="1871136"/>
                  </a:lnTo>
                  <a:lnTo>
                    <a:pt x="1721634" y="1868382"/>
                  </a:lnTo>
                  <a:lnTo>
                    <a:pt x="1731076" y="1885692"/>
                  </a:lnTo>
                  <a:lnTo>
                    <a:pt x="1730683" y="1886479"/>
                  </a:lnTo>
                  <a:lnTo>
                    <a:pt x="1732257" y="1889627"/>
                  </a:lnTo>
                  <a:lnTo>
                    <a:pt x="1733831" y="1892381"/>
                  </a:lnTo>
                  <a:lnTo>
                    <a:pt x="1735011" y="1892381"/>
                  </a:lnTo>
                  <a:lnTo>
                    <a:pt x="1735011" y="1891987"/>
                  </a:lnTo>
                  <a:lnTo>
                    <a:pt x="1740912" y="1901036"/>
                  </a:lnTo>
                  <a:lnTo>
                    <a:pt x="1740912" y="1900643"/>
                  </a:lnTo>
                  <a:lnTo>
                    <a:pt x="1739732" y="1897495"/>
                  </a:lnTo>
                  <a:lnTo>
                    <a:pt x="1738945" y="1894741"/>
                  </a:lnTo>
                  <a:lnTo>
                    <a:pt x="1736978" y="1891987"/>
                  </a:lnTo>
                  <a:lnTo>
                    <a:pt x="1734617" y="1890807"/>
                  </a:lnTo>
                  <a:lnTo>
                    <a:pt x="1733831" y="1888053"/>
                  </a:lnTo>
                  <a:lnTo>
                    <a:pt x="1734224" y="1889627"/>
                  </a:lnTo>
                  <a:lnTo>
                    <a:pt x="1736978" y="1891200"/>
                  </a:lnTo>
                  <a:lnTo>
                    <a:pt x="1738945" y="1893954"/>
                  </a:lnTo>
                  <a:lnTo>
                    <a:pt x="1739732" y="1896708"/>
                  </a:lnTo>
                  <a:lnTo>
                    <a:pt x="1740912" y="1899856"/>
                  </a:lnTo>
                  <a:lnTo>
                    <a:pt x="1741699" y="1902610"/>
                  </a:lnTo>
                  <a:lnTo>
                    <a:pt x="1744060" y="1905364"/>
                  </a:lnTo>
                  <a:lnTo>
                    <a:pt x="1744846" y="1905757"/>
                  </a:lnTo>
                  <a:lnTo>
                    <a:pt x="1746420" y="1908511"/>
                  </a:lnTo>
                  <a:lnTo>
                    <a:pt x="1746813" y="1910085"/>
                  </a:lnTo>
                  <a:lnTo>
                    <a:pt x="1744453" y="1906544"/>
                  </a:lnTo>
                  <a:lnTo>
                    <a:pt x="1746027" y="1909298"/>
                  </a:lnTo>
                  <a:lnTo>
                    <a:pt x="1746813" y="1912445"/>
                  </a:lnTo>
                  <a:lnTo>
                    <a:pt x="1749961" y="1914806"/>
                  </a:lnTo>
                  <a:lnTo>
                    <a:pt x="1751141" y="1915593"/>
                  </a:lnTo>
                  <a:lnTo>
                    <a:pt x="1749174" y="1912839"/>
                  </a:lnTo>
                  <a:lnTo>
                    <a:pt x="1750354" y="1914019"/>
                  </a:lnTo>
                  <a:lnTo>
                    <a:pt x="1753108" y="1915986"/>
                  </a:lnTo>
                  <a:lnTo>
                    <a:pt x="1755862" y="1918740"/>
                  </a:lnTo>
                  <a:lnTo>
                    <a:pt x="1758616" y="1921101"/>
                  </a:lnTo>
                  <a:lnTo>
                    <a:pt x="1761371" y="1923855"/>
                  </a:lnTo>
                  <a:lnTo>
                    <a:pt x="1764124" y="1926215"/>
                  </a:lnTo>
                  <a:lnTo>
                    <a:pt x="1766485" y="1928969"/>
                  </a:lnTo>
                  <a:lnTo>
                    <a:pt x="1766878" y="1931723"/>
                  </a:lnTo>
                  <a:lnTo>
                    <a:pt x="1767272" y="1934477"/>
                  </a:lnTo>
                  <a:lnTo>
                    <a:pt x="1767665" y="1937231"/>
                  </a:lnTo>
                  <a:lnTo>
                    <a:pt x="1767665" y="1938412"/>
                  </a:lnTo>
                  <a:lnTo>
                    <a:pt x="1767272" y="1937625"/>
                  </a:lnTo>
                  <a:lnTo>
                    <a:pt x="1767272" y="1938018"/>
                  </a:lnTo>
                  <a:lnTo>
                    <a:pt x="1767665" y="1941166"/>
                  </a:lnTo>
                  <a:lnTo>
                    <a:pt x="1768059" y="1938805"/>
                  </a:lnTo>
                  <a:lnTo>
                    <a:pt x="1768059" y="1940379"/>
                  </a:lnTo>
                  <a:lnTo>
                    <a:pt x="1768059" y="1938805"/>
                  </a:lnTo>
                  <a:lnTo>
                    <a:pt x="1770419" y="1941952"/>
                  </a:lnTo>
                  <a:lnTo>
                    <a:pt x="1770026" y="1940772"/>
                  </a:lnTo>
                  <a:lnTo>
                    <a:pt x="1768452" y="1938412"/>
                  </a:lnTo>
                  <a:lnTo>
                    <a:pt x="1768452" y="1937231"/>
                  </a:lnTo>
                  <a:lnTo>
                    <a:pt x="1770419" y="1939985"/>
                  </a:lnTo>
                  <a:lnTo>
                    <a:pt x="1770812" y="1941166"/>
                  </a:lnTo>
                  <a:lnTo>
                    <a:pt x="1773567" y="1942739"/>
                  </a:lnTo>
                  <a:lnTo>
                    <a:pt x="1773960" y="1945493"/>
                  </a:lnTo>
                  <a:lnTo>
                    <a:pt x="1774747" y="1948247"/>
                  </a:lnTo>
                  <a:lnTo>
                    <a:pt x="1777894" y="1950214"/>
                  </a:lnTo>
                  <a:lnTo>
                    <a:pt x="1779468" y="1952968"/>
                  </a:lnTo>
                  <a:lnTo>
                    <a:pt x="1779861" y="1955722"/>
                  </a:lnTo>
                  <a:lnTo>
                    <a:pt x="1780255" y="1958476"/>
                  </a:lnTo>
                  <a:lnTo>
                    <a:pt x="1782222" y="1961230"/>
                  </a:lnTo>
                  <a:lnTo>
                    <a:pt x="1782222" y="1963591"/>
                  </a:lnTo>
                  <a:lnTo>
                    <a:pt x="1782222" y="1963984"/>
                  </a:lnTo>
                  <a:lnTo>
                    <a:pt x="1781829" y="1964378"/>
                  </a:lnTo>
                  <a:lnTo>
                    <a:pt x="1781829" y="1964378"/>
                  </a:lnTo>
                  <a:lnTo>
                    <a:pt x="1781829" y="1962411"/>
                  </a:lnTo>
                  <a:lnTo>
                    <a:pt x="1779861" y="1959656"/>
                  </a:lnTo>
                  <a:lnTo>
                    <a:pt x="1779468" y="1956903"/>
                  </a:lnTo>
                  <a:lnTo>
                    <a:pt x="1779075" y="1954149"/>
                  </a:lnTo>
                  <a:lnTo>
                    <a:pt x="1777501" y="1951395"/>
                  </a:lnTo>
                  <a:lnTo>
                    <a:pt x="1774353" y="1949427"/>
                  </a:lnTo>
                  <a:lnTo>
                    <a:pt x="1773567" y="1946673"/>
                  </a:lnTo>
                  <a:lnTo>
                    <a:pt x="1773173" y="1943919"/>
                  </a:lnTo>
                  <a:lnTo>
                    <a:pt x="1770419" y="1942346"/>
                  </a:lnTo>
                  <a:lnTo>
                    <a:pt x="1779861" y="1961230"/>
                  </a:lnTo>
                  <a:lnTo>
                    <a:pt x="1781042" y="1965558"/>
                  </a:lnTo>
                  <a:lnTo>
                    <a:pt x="1781042" y="1965165"/>
                  </a:lnTo>
                  <a:lnTo>
                    <a:pt x="1780648" y="1962804"/>
                  </a:lnTo>
                  <a:lnTo>
                    <a:pt x="1781829" y="1965558"/>
                  </a:lnTo>
                  <a:lnTo>
                    <a:pt x="1781829" y="1965558"/>
                  </a:lnTo>
                  <a:lnTo>
                    <a:pt x="1781829" y="1966345"/>
                  </a:lnTo>
                  <a:lnTo>
                    <a:pt x="1781435" y="1968705"/>
                  </a:lnTo>
                  <a:lnTo>
                    <a:pt x="1781042" y="1965951"/>
                  </a:lnTo>
                  <a:lnTo>
                    <a:pt x="1781435" y="1969886"/>
                  </a:lnTo>
                  <a:lnTo>
                    <a:pt x="1780648" y="1976574"/>
                  </a:lnTo>
                  <a:lnTo>
                    <a:pt x="1779861" y="1974213"/>
                  </a:lnTo>
                  <a:lnTo>
                    <a:pt x="1779075" y="1971459"/>
                  </a:lnTo>
                  <a:lnTo>
                    <a:pt x="1776320" y="1971459"/>
                  </a:lnTo>
                  <a:lnTo>
                    <a:pt x="1776714" y="1968705"/>
                  </a:lnTo>
                  <a:lnTo>
                    <a:pt x="1775140" y="1965558"/>
                  </a:lnTo>
                  <a:lnTo>
                    <a:pt x="1772386" y="1967132"/>
                  </a:lnTo>
                  <a:lnTo>
                    <a:pt x="1769239" y="1967525"/>
                  </a:lnTo>
                  <a:lnTo>
                    <a:pt x="1771206" y="1975000"/>
                  </a:lnTo>
                  <a:lnTo>
                    <a:pt x="1766878" y="1970673"/>
                  </a:lnTo>
                  <a:lnTo>
                    <a:pt x="1769239" y="1973820"/>
                  </a:lnTo>
                  <a:lnTo>
                    <a:pt x="1766485" y="1972246"/>
                  </a:lnTo>
                  <a:lnTo>
                    <a:pt x="1766485" y="1975000"/>
                  </a:lnTo>
                  <a:lnTo>
                    <a:pt x="1769632" y="1976574"/>
                  </a:lnTo>
                  <a:lnTo>
                    <a:pt x="1769239" y="1979721"/>
                  </a:lnTo>
                  <a:lnTo>
                    <a:pt x="1770026" y="1982475"/>
                  </a:lnTo>
                  <a:lnTo>
                    <a:pt x="1771600" y="1979328"/>
                  </a:lnTo>
                  <a:lnTo>
                    <a:pt x="1771600" y="1982475"/>
                  </a:lnTo>
                  <a:lnTo>
                    <a:pt x="1774353" y="1980508"/>
                  </a:lnTo>
                  <a:lnTo>
                    <a:pt x="1775534" y="1983262"/>
                  </a:lnTo>
                  <a:lnTo>
                    <a:pt x="1777108" y="1980508"/>
                  </a:lnTo>
                  <a:lnTo>
                    <a:pt x="1771600" y="1975000"/>
                  </a:lnTo>
                  <a:lnTo>
                    <a:pt x="1771993" y="1974213"/>
                  </a:lnTo>
                  <a:lnTo>
                    <a:pt x="1774747" y="1973426"/>
                  </a:lnTo>
                  <a:lnTo>
                    <a:pt x="1777894" y="1975000"/>
                  </a:lnTo>
                  <a:lnTo>
                    <a:pt x="1780648" y="1976574"/>
                  </a:lnTo>
                  <a:lnTo>
                    <a:pt x="1779861" y="1984836"/>
                  </a:lnTo>
                  <a:lnTo>
                    <a:pt x="1779861" y="1984836"/>
                  </a:lnTo>
                  <a:lnTo>
                    <a:pt x="1778681" y="1987983"/>
                  </a:lnTo>
                  <a:lnTo>
                    <a:pt x="1779075" y="1990737"/>
                  </a:lnTo>
                  <a:lnTo>
                    <a:pt x="1779468" y="1991524"/>
                  </a:lnTo>
                  <a:lnTo>
                    <a:pt x="1778288" y="2003720"/>
                  </a:lnTo>
                  <a:lnTo>
                    <a:pt x="1778288" y="2003720"/>
                  </a:lnTo>
                  <a:lnTo>
                    <a:pt x="1778681" y="2004900"/>
                  </a:lnTo>
                  <a:lnTo>
                    <a:pt x="1778681" y="2004900"/>
                  </a:lnTo>
                  <a:lnTo>
                    <a:pt x="1778681" y="2005294"/>
                  </a:lnTo>
                  <a:lnTo>
                    <a:pt x="1786549" y="2012376"/>
                  </a:lnTo>
                  <a:lnTo>
                    <a:pt x="1786549" y="2012769"/>
                  </a:lnTo>
                  <a:lnTo>
                    <a:pt x="1788517" y="2022998"/>
                  </a:lnTo>
                  <a:lnTo>
                    <a:pt x="1786943" y="2019064"/>
                  </a:lnTo>
                  <a:lnTo>
                    <a:pt x="1788123" y="2022211"/>
                  </a:lnTo>
                  <a:lnTo>
                    <a:pt x="1788910" y="2024178"/>
                  </a:lnTo>
                  <a:lnTo>
                    <a:pt x="1790484" y="2032440"/>
                  </a:lnTo>
                  <a:lnTo>
                    <a:pt x="1790484" y="2032834"/>
                  </a:lnTo>
                  <a:lnTo>
                    <a:pt x="1790878" y="2033227"/>
                  </a:lnTo>
                  <a:lnTo>
                    <a:pt x="1791271" y="2034801"/>
                  </a:lnTo>
                  <a:lnTo>
                    <a:pt x="1789697" y="2032440"/>
                  </a:lnTo>
                  <a:lnTo>
                    <a:pt x="1790878" y="2035194"/>
                  </a:lnTo>
                  <a:lnTo>
                    <a:pt x="1791271" y="2035588"/>
                  </a:lnTo>
                  <a:lnTo>
                    <a:pt x="1798746" y="2070603"/>
                  </a:lnTo>
                  <a:lnTo>
                    <a:pt x="1798746" y="2070996"/>
                  </a:lnTo>
                  <a:lnTo>
                    <a:pt x="1798746" y="2071390"/>
                  </a:lnTo>
                  <a:lnTo>
                    <a:pt x="1799926" y="2074144"/>
                  </a:lnTo>
                  <a:lnTo>
                    <a:pt x="1801500" y="2077291"/>
                  </a:lnTo>
                  <a:lnTo>
                    <a:pt x="1801893" y="2077684"/>
                  </a:lnTo>
                  <a:lnTo>
                    <a:pt x="1807008" y="2087914"/>
                  </a:lnTo>
                  <a:lnTo>
                    <a:pt x="1807008" y="2088307"/>
                  </a:lnTo>
                  <a:lnTo>
                    <a:pt x="1806615" y="2091061"/>
                  </a:lnTo>
                  <a:lnTo>
                    <a:pt x="1807008" y="2091061"/>
                  </a:lnTo>
                  <a:lnTo>
                    <a:pt x="1807008" y="2091454"/>
                  </a:lnTo>
                  <a:lnTo>
                    <a:pt x="1808975" y="2091454"/>
                  </a:lnTo>
                  <a:lnTo>
                    <a:pt x="1816056" y="2090668"/>
                  </a:lnTo>
                  <a:lnTo>
                    <a:pt x="1817630" y="2091454"/>
                  </a:lnTo>
                  <a:lnTo>
                    <a:pt x="1820385" y="2093028"/>
                  </a:lnTo>
                  <a:lnTo>
                    <a:pt x="1823532" y="2094208"/>
                  </a:lnTo>
                  <a:lnTo>
                    <a:pt x="1826286" y="2093421"/>
                  </a:lnTo>
                  <a:lnTo>
                    <a:pt x="1829040" y="2093028"/>
                  </a:lnTo>
                  <a:lnTo>
                    <a:pt x="1831793" y="2093421"/>
                  </a:lnTo>
                  <a:lnTo>
                    <a:pt x="1834941" y="2091848"/>
                  </a:lnTo>
                  <a:lnTo>
                    <a:pt x="1837695" y="2089094"/>
                  </a:lnTo>
                  <a:lnTo>
                    <a:pt x="1837695" y="2089094"/>
                  </a:lnTo>
                  <a:lnTo>
                    <a:pt x="1844777" y="2088307"/>
                  </a:lnTo>
                  <a:lnTo>
                    <a:pt x="1846351" y="2088700"/>
                  </a:lnTo>
                  <a:lnTo>
                    <a:pt x="1849498" y="2090274"/>
                  </a:lnTo>
                  <a:lnTo>
                    <a:pt x="1849498" y="2087127"/>
                  </a:lnTo>
                  <a:lnTo>
                    <a:pt x="1852252" y="2085946"/>
                  </a:lnTo>
                  <a:lnTo>
                    <a:pt x="1852252" y="2086733"/>
                  </a:lnTo>
                  <a:lnTo>
                    <a:pt x="1852252" y="2087520"/>
                  </a:lnTo>
                  <a:lnTo>
                    <a:pt x="1852645" y="2087127"/>
                  </a:lnTo>
                  <a:lnTo>
                    <a:pt x="1852645" y="2087127"/>
                  </a:lnTo>
                  <a:lnTo>
                    <a:pt x="1852645" y="2087914"/>
                  </a:lnTo>
                  <a:lnTo>
                    <a:pt x="1901430" y="2065488"/>
                  </a:lnTo>
                  <a:lnTo>
                    <a:pt x="1902217" y="2065488"/>
                  </a:lnTo>
                  <a:lnTo>
                    <a:pt x="1904971" y="2063914"/>
                  </a:lnTo>
                  <a:lnTo>
                    <a:pt x="1907725" y="2062341"/>
                  </a:lnTo>
                  <a:lnTo>
                    <a:pt x="1908905" y="2061947"/>
                  </a:lnTo>
                  <a:lnTo>
                    <a:pt x="1912053" y="2061161"/>
                  </a:lnTo>
                  <a:lnTo>
                    <a:pt x="1914807" y="2060374"/>
                  </a:lnTo>
                  <a:lnTo>
                    <a:pt x="1917561" y="2059980"/>
                  </a:lnTo>
                  <a:lnTo>
                    <a:pt x="1920314" y="2058800"/>
                  </a:lnTo>
                  <a:lnTo>
                    <a:pt x="1923462" y="2057620"/>
                  </a:lnTo>
                  <a:lnTo>
                    <a:pt x="1926216" y="2054866"/>
                  </a:lnTo>
                  <a:lnTo>
                    <a:pt x="1928970" y="2051718"/>
                  </a:lnTo>
                  <a:lnTo>
                    <a:pt x="1929757" y="2051325"/>
                  </a:lnTo>
                  <a:lnTo>
                    <a:pt x="1934084" y="2048964"/>
                  </a:lnTo>
                  <a:lnTo>
                    <a:pt x="1935265" y="2048571"/>
                  </a:lnTo>
                  <a:lnTo>
                    <a:pt x="1936839" y="2047391"/>
                  </a:lnTo>
                  <a:lnTo>
                    <a:pt x="1941953" y="2044637"/>
                  </a:lnTo>
                  <a:lnTo>
                    <a:pt x="1942347" y="2044637"/>
                  </a:lnTo>
                  <a:lnTo>
                    <a:pt x="1945101" y="2045817"/>
                  </a:lnTo>
                  <a:lnTo>
                    <a:pt x="1948248" y="2046604"/>
                  </a:lnTo>
                  <a:lnTo>
                    <a:pt x="1951002" y="2045817"/>
                  </a:lnTo>
                  <a:lnTo>
                    <a:pt x="1953756" y="2045817"/>
                  </a:lnTo>
                  <a:lnTo>
                    <a:pt x="1956903" y="2044637"/>
                  </a:lnTo>
                  <a:lnTo>
                    <a:pt x="1959657" y="2044637"/>
                  </a:lnTo>
                  <a:lnTo>
                    <a:pt x="1962411" y="2042670"/>
                  </a:lnTo>
                  <a:lnTo>
                    <a:pt x="1965558" y="2039916"/>
                  </a:lnTo>
                  <a:lnTo>
                    <a:pt x="1967526" y="2037162"/>
                  </a:lnTo>
                  <a:lnTo>
                    <a:pt x="1969493" y="2034407"/>
                  </a:lnTo>
                  <a:lnTo>
                    <a:pt x="1969887" y="2031654"/>
                  </a:lnTo>
                  <a:lnTo>
                    <a:pt x="1970280" y="2030867"/>
                  </a:lnTo>
                  <a:lnTo>
                    <a:pt x="1997820" y="2017884"/>
                  </a:lnTo>
                  <a:lnTo>
                    <a:pt x="1998606" y="2018277"/>
                  </a:lnTo>
                  <a:lnTo>
                    <a:pt x="1998606" y="2018277"/>
                  </a:lnTo>
                  <a:lnTo>
                    <a:pt x="1999000" y="2018670"/>
                  </a:lnTo>
                  <a:lnTo>
                    <a:pt x="2001754" y="2017884"/>
                  </a:lnTo>
                  <a:lnTo>
                    <a:pt x="2002934" y="2017097"/>
                  </a:lnTo>
                  <a:lnTo>
                    <a:pt x="2030868" y="2006868"/>
                  </a:lnTo>
                  <a:lnTo>
                    <a:pt x="2033621" y="2006081"/>
                  </a:lnTo>
                  <a:lnTo>
                    <a:pt x="2036375" y="2004507"/>
                  </a:lnTo>
                  <a:lnTo>
                    <a:pt x="2039130" y="2003720"/>
                  </a:lnTo>
                  <a:lnTo>
                    <a:pt x="2042277" y="2001753"/>
                  </a:lnTo>
                  <a:lnTo>
                    <a:pt x="2045031" y="2001360"/>
                  </a:lnTo>
                  <a:lnTo>
                    <a:pt x="2046605" y="1998606"/>
                  </a:lnTo>
                  <a:lnTo>
                    <a:pt x="2049359" y="1997032"/>
                  </a:lnTo>
                  <a:lnTo>
                    <a:pt x="2052112" y="1995065"/>
                  </a:lnTo>
                  <a:lnTo>
                    <a:pt x="2054867" y="1993885"/>
                  </a:lnTo>
                  <a:lnTo>
                    <a:pt x="2058014" y="1992311"/>
                  </a:lnTo>
                  <a:lnTo>
                    <a:pt x="2060768" y="1991524"/>
                  </a:lnTo>
                  <a:lnTo>
                    <a:pt x="2061555" y="1988770"/>
                  </a:lnTo>
                  <a:lnTo>
                    <a:pt x="2061161" y="1987196"/>
                  </a:lnTo>
                  <a:lnTo>
                    <a:pt x="2061555" y="1970279"/>
                  </a:lnTo>
                  <a:lnTo>
                    <a:pt x="2085160" y="1956509"/>
                  </a:lnTo>
                  <a:lnTo>
                    <a:pt x="2092635" y="1953362"/>
                  </a:lnTo>
                  <a:lnTo>
                    <a:pt x="2093816" y="1952968"/>
                  </a:lnTo>
                  <a:lnTo>
                    <a:pt x="2096570" y="1952182"/>
                  </a:lnTo>
                  <a:lnTo>
                    <a:pt x="2099324" y="1952575"/>
                  </a:lnTo>
                  <a:lnTo>
                    <a:pt x="2102471" y="1950214"/>
                  </a:lnTo>
                  <a:lnTo>
                    <a:pt x="2105225" y="1948641"/>
                  </a:lnTo>
                  <a:lnTo>
                    <a:pt x="2107979" y="1947854"/>
                  </a:lnTo>
                  <a:lnTo>
                    <a:pt x="2110733" y="1947067"/>
                  </a:lnTo>
                  <a:lnTo>
                    <a:pt x="2111913" y="1945100"/>
                  </a:lnTo>
                  <a:lnTo>
                    <a:pt x="2114667" y="1943919"/>
                  </a:lnTo>
                  <a:lnTo>
                    <a:pt x="2118208" y="1943133"/>
                  </a:lnTo>
                  <a:lnTo>
                    <a:pt x="2120175" y="1942739"/>
                  </a:lnTo>
                  <a:lnTo>
                    <a:pt x="2122929" y="1942739"/>
                  </a:lnTo>
                  <a:lnTo>
                    <a:pt x="2126077" y="1942346"/>
                  </a:lnTo>
                  <a:lnTo>
                    <a:pt x="2129224" y="1942739"/>
                  </a:lnTo>
                  <a:lnTo>
                    <a:pt x="2131978" y="1945100"/>
                  </a:lnTo>
                  <a:lnTo>
                    <a:pt x="2134732" y="1945493"/>
                  </a:lnTo>
                  <a:lnTo>
                    <a:pt x="2137880" y="1943919"/>
                  </a:lnTo>
                  <a:lnTo>
                    <a:pt x="2140633" y="1943133"/>
                  </a:lnTo>
                  <a:lnTo>
                    <a:pt x="2143388" y="1940772"/>
                  </a:lnTo>
                  <a:lnTo>
                    <a:pt x="2145748" y="1938018"/>
                  </a:lnTo>
                  <a:lnTo>
                    <a:pt x="2171714" y="1912052"/>
                  </a:lnTo>
                  <a:lnTo>
                    <a:pt x="2174468" y="1911265"/>
                  </a:lnTo>
                  <a:lnTo>
                    <a:pt x="2177615" y="1911659"/>
                  </a:lnTo>
                  <a:lnTo>
                    <a:pt x="2179976" y="1908905"/>
                  </a:lnTo>
                  <a:lnTo>
                    <a:pt x="2182730" y="1906151"/>
                  </a:lnTo>
                  <a:lnTo>
                    <a:pt x="2183517" y="1903397"/>
                  </a:lnTo>
                  <a:lnTo>
                    <a:pt x="2184697" y="1900249"/>
                  </a:lnTo>
                  <a:lnTo>
                    <a:pt x="2185877" y="1894741"/>
                  </a:lnTo>
                  <a:lnTo>
                    <a:pt x="2185484" y="1891594"/>
                  </a:lnTo>
                  <a:lnTo>
                    <a:pt x="2185877" y="1890807"/>
                  </a:lnTo>
                  <a:lnTo>
                    <a:pt x="2190205" y="1884512"/>
                  </a:lnTo>
                  <a:lnTo>
                    <a:pt x="2192959" y="1882545"/>
                  </a:lnTo>
                  <a:lnTo>
                    <a:pt x="2196107" y="1880971"/>
                  </a:lnTo>
                  <a:lnTo>
                    <a:pt x="2198861" y="1879791"/>
                  </a:lnTo>
                  <a:lnTo>
                    <a:pt x="2201614" y="1879004"/>
                  </a:lnTo>
                  <a:lnTo>
                    <a:pt x="2204369" y="1878217"/>
                  </a:lnTo>
                  <a:lnTo>
                    <a:pt x="2207516" y="1877824"/>
                  </a:lnTo>
                  <a:lnTo>
                    <a:pt x="2210663" y="1877431"/>
                  </a:lnTo>
                  <a:lnTo>
                    <a:pt x="2213417" y="1877824"/>
                  </a:lnTo>
                  <a:lnTo>
                    <a:pt x="2216171" y="1877824"/>
                  </a:lnTo>
                  <a:lnTo>
                    <a:pt x="2218925" y="1876250"/>
                  </a:lnTo>
                  <a:lnTo>
                    <a:pt x="2218532" y="1873496"/>
                  </a:lnTo>
                  <a:lnTo>
                    <a:pt x="2218139" y="1870349"/>
                  </a:lnTo>
                  <a:lnTo>
                    <a:pt x="2216171" y="1867595"/>
                  </a:lnTo>
                  <a:lnTo>
                    <a:pt x="2216171" y="1864841"/>
                  </a:lnTo>
                  <a:lnTo>
                    <a:pt x="2216565" y="1862087"/>
                  </a:lnTo>
                  <a:lnTo>
                    <a:pt x="2214991" y="1859333"/>
                  </a:lnTo>
                  <a:lnTo>
                    <a:pt x="2214598" y="1856185"/>
                  </a:lnTo>
                  <a:lnTo>
                    <a:pt x="2214598" y="1853431"/>
                  </a:lnTo>
                  <a:lnTo>
                    <a:pt x="2214204" y="1853431"/>
                  </a:lnTo>
                  <a:lnTo>
                    <a:pt x="2216565" y="1842022"/>
                  </a:lnTo>
                  <a:lnTo>
                    <a:pt x="2233482" y="1829826"/>
                  </a:lnTo>
                  <a:lnTo>
                    <a:pt x="2233876" y="1829826"/>
                  </a:lnTo>
                  <a:lnTo>
                    <a:pt x="2235056" y="1828646"/>
                  </a:lnTo>
                  <a:lnTo>
                    <a:pt x="2236629" y="1825892"/>
                  </a:lnTo>
                  <a:lnTo>
                    <a:pt x="2236629" y="1825498"/>
                  </a:lnTo>
                  <a:lnTo>
                    <a:pt x="2252367" y="1796385"/>
                  </a:lnTo>
                  <a:lnTo>
                    <a:pt x="2254727" y="1794811"/>
                  </a:lnTo>
                  <a:lnTo>
                    <a:pt x="2257481" y="1793237"/>
                  </a:lnTo>
                  <a:lnTo>
                    <a:pt x="2258661" y="1790483"/>
                  </a:lnTo>
                  <a:lnTo>
                    <a:pt x="2260235" y="1787729"/>
                  </a:lnTo>
                  <a:lnTo>
                    <a:pt x="2261022" y="1784975"/>
                  </a:lnTo>
                  <a:lnTo>
                    <a:pt x="2261416" y="1781828"/>
                  </a:lnTo>
                  <a:lnTo>
                    <a:pt x="2263383" y="1778680"/>
                  </a:lnTo>
                  <a:lnTo>
                    <a:pt x="2265350" y="1775926"/>
                  </a:lnTo>
                  <a:lnTo>
                    <a:pt x="2265743" y="1773173"/>
                  </a:lnTo>
                  <a:lnTo>
                    <a:pt x="2266924" y="1770419"/>
                  </a:lnTo>
                  <a:lnTo>
                    <a:pt x="2268891" y="1767271"/>
                  </a:lnTo>
                  <a:lnTo>
                    <a:pt x="2268891" y="1766091"/>
                  </a:lnTo>
                  <a:lnTo>
                    <a:pt x="2269284" y="1763337"/>
                  </a:lnTo>
                  <a:lnTo>
                    <a:pt x="2269284" y="1760583"/>
                  </a:lnTo>
                  <a:lnTo>
                    <a:pt x="2268497" y="1757829"/>
                  </a:lnTo>
                  <a:lnTo>
                    <a:pt x="2268104" y="1756649"/>
                  </a:lnTo>
                  <a:lnTo>
                    <a:pt x="2245285" y="1738551"/>
                  </a:lnTo>
                  <a:lnTo>
                    <a:pt x="2243711" y="1736190"/>
                  </a:lnTo>
                  <a:lnTo>
                    <a:pt x="2242531" y="1733436"/>
                  </a:lnTo>
                  <a:lnTo>
                    <a:pt x="2240957" y="1730682"/>
                  </a:lnTo>
                  <a:lnTo>
                    <a:pt x="2237810" y="1727929"/>
                  </a:lnTo>
                  <a:lnTo>
                    <a:pt x="2236236" y="1724781"/>
                  </a:lnTo>
                  <a:lnTo>
                    <a:pt x="2233089" y="1722420"/>
                  </a:lnTo>
                  <a:lnTo>
                    <a:pt x="2230335" y="1719667"/>
                  </a:lnTo>
                  <a:lnTo>
                    <a:pt x="2227581" y="1719273"/>
                  </a:lnTo>
                  <a:lnTo>
                    <a:pt x="2224433" y="1720060"/>
                  </a:lnTo>
                  <a:lnTo>
                    <a:pt x="2221680" y="1720060"/>
                  </a:lnTo>
                  <a:lnTo>
                    <a:pt x="2220106" y="1718880"/>
                  </a:lnTo>
                  <a:lnTo>
                    <a:pt x="2161485" y="1674029"/>
                  </a:lnTo>
                  <a:lnTo>
                    <a:pt x="2161092" y="1673242"/>
                  </a:lnTo>
                  <a:lnTo>
                    <a:pt x="2160698" y="1670882"/>
                  </a:lnTo>
                  <a:lnTo>
                    <a:pt x="2160698" y="1668128"/>
                  </a:lnTo>
                  <a:lnTo>
                    <a:pt x="2160698" y="1663406"/>
                  </a:lnTo>
                  <a:lnTo>
                    <a:pt x="2160698" y="1662620"/>
                  </a:lnTo>
                  <a:lnTo>
                    <a:pt x="2159911" y="1659866"/>
                  </a:lnTo>
                  <a:lnTo>
                    <a:pt x="2159518" y="1659472"/>
                  </a:lnTo>
                  <a:lnTo>
                    <a:pt x="2159518" y="1654358"/>
                  </a:lnTo>
                  <a:lnTo>
                    <a:pt x="2158731" y="1651604"/>
                  </a:lnTo>
                  <a:lnTo>
                    <a:pt x="2156370" y="1650030"/>
                  </a:lnTo>
                  <a:lnTo>
                    <a:pt x="2156370" y="1646883"/>
                  </a:lnTo>
                  <a:lnTo>
                    <a:pt x="2158338" y="1644522"/>
                  </a:lnTo>
                  <a:lnTo>
                    <a:pt x="2159125" y="1641375"/>
                  </a:lnTo>
                  <a:lnTo>
                    <a:pt x="2158731" y="1638621"/>
                  </a:lnTo>
                  <a:lnTo>
                    <a:pt x="2159518" y="1635867"/>
                  </a:lnTo>
                  <a:lnTo>
                    <a:pt x="2157158" y="1633113"/>
                  </a:lnTo>
                  <a:lnTo>
                    <a:pt x="2159911" y="1633113"/>
                  </a:lnTo>
                  <a:lnTo>
                    <a:pt x="2159911" y="1630359"/>
                  </a:lnTo>
                  <a:lnTo>
                    <a:pt x="2158338" y="1627605"/>
                  </a:lnTo>
                  <a:lnTo>
                    <a:pt x="2155977" y="1625638"/>
                  </a:lnTo>
                  <a:lnTo>
                    <a:pt x="2155977" y="1626031"/>
                  </a:lnTo>
                  <a:lnTo>
                    <a:pt x="2152043" y="1629572"/>
                  </a:lnTo>
                  <a:lnTo>
                    <a:pt x="2150469" y="1632719"/>
                  </a:lnTo>
                  <a:lnTo>
                    <a:pt x="2148896" y="1635473"/>
                  </a:lnTo>
                  <a:lnTo>
                    <a:pt x="2148896" y="1635867"/>
                  </a:lnTo>
                  <a:lnTo>
                    <a:pt x="2146141" y="1644129"/>
                  </a:lnTo>
                  <a:lnTo>
                    <a:pt x="2141420" y="1648850"/>
                  </a:lnTo>
                  <a:lnTo>
                    <a:pt x="2141027" y="1648850"/>
                  </a:lnTo>
                  <a:lnTo>
                    <a:pt x="2140240" y="1649637"/>
                  </a:lnTo>
                  <a:lnTo>
                    <a:pt x="2134732" y="1652784"/>
                  </a:lnTo>
                  <a:lnTo>
                    <a:pt x="2133945" y="1654751"/>
                  </a:lnTo>
                  <a:lnTo>
                    <a:pt x="2133945" y="1655145"/>
                  </a:lnTo>
                  <a:lnTo>
                    <a:pt x="2133552" y="1656718"/>
                  </a:lnTo>
                  <a:lnTo>
                    <a:pt x="2133552" y="1657112"/>
                  </a:lnTo>
                  <a:lnTo>
                    <a:pt x="2132371" y="1658685"/>
                  </a:lnTo>
                  <a:lnTo>
                    <a:pt x="2131978" y="1659079"/>
                  </a:lnTo>
                  <a:lnTo>
                    <a:pt x="2131191" y="1660259"/>
                  </a:lnTo>
                  <a:lnTo>
                    <a:pt x="2129224" y="1662226"/>
                  </a:lnTo>
                  <a:lnTo>
                    <a:pt x="2128831" y="1663800"/>
                  </a:lnTo>
                  <a:lnTo>
                    <a:pt x="2129224" y="1664193"/>
                  </a:lnTo>
                  <a:lnTo>
                    <a:pt x="2128831" y="1664587"/>
                  </a:lnTo>
                  <a:lnTo>
                    <a:pt x="2128437" y="1664587"/>
                  </a:lnTo>
                  <a:lnTo>
                    <a:pt x="2125683" y="1667341"/>
                  </a:lnTo>
                  <a:lnTo>
                    <a:pt x="2123716" y="1670095"/>
                  </a:lnTo>
                  <a:lnTo>
                    <a:pt x="2121749" y="1672455"/>
                  </a:lnTo>
                  <a:lnTo>
                    <a:pt x="2121356" y="1672455"/>
                  </a:lnTo>
                  <a:lnTo>
                    <a:pt x="2120569" y="1673242"/>
                  </a:lnTo>
                  <a:lnTo>
                    <a:pt x="2117422" y="1675603"/>
                  </a:lnTo>
                  <a:lnTo>
                    <a:pt x="2114274" y="1677963"/>
                  </a:lnTo>
                  <a:lnTo>
                    <a:pt x="2111520" y="1680324"/>
                  </a:lnTo>
                  <a:lnTo>
                    <a:pt x="2111126" y="1683471"/>
                  </a:lnTo>
                  <a:lnTo>
                    <a:pt x="2110733" y="1686225"/>
                  </a:lnTo>
                  <a:lnTo>
                    <a:pt x="2110340" y="1687406"/>
                  </a:lnTo>
                  <a:lnTo>
                    <a:pt x="2106799" y="1692520"/>
                  </a:lnTo>
                  <a:lnTo>
                    <a:pt x="2095389" y="1696848"/>
                  </a:lnTo>
                  <a:lnTo>
                    <a:pt x="2096176" y="1697635"/>
                  </a:lnTo>
                  <a:lnTo>
                    <a:pt x="2089094" y="1698422"/>
                  </a:lnTo>
                  <a:lnTo>
                    <a:pt x="2088701" y="1698422"/>
                  </a:lnTo>
                  <a:lnTo>
                    <a:pt x="2086734" y="1698422"/>
                  </a:lnTo>
                  <a:lnTo>
                    <a:pt x="2086341" y="1698815"/>
                  </a:lnTo>
                  <a:lnTo>
                    <a:pt x="2064702" y="1701569"/>
                  </a:lnTo>
                  <a:lnTo>
                    <a:pt x="2061555" y="1701175"/>
                  </a:lnTo>
                  <a:lnTo>
                    <a:pt x="2058801" y="1701175"/>
                  </a:lnTo>
                  <a:lnTo>
                    <a:pt x="2058408" y="1701569"/>
                  </a:lnTo>
                  <a:lnTo>
                    <a:pt x="2055260" y="1701175"/>
                  </a:lnTo>
                  <a:lnTo>
                    <a:pt x="2052112" y="1699602"/>
                  </a:lnTo>
                  <a:lnTo>
                    <a:pt x="2049752" y="1702356"/>
                  </a:lnTo>
                  <a:lnTo>
                    <a:pt x="2046998" y="1704716"/>
                  </a:lnTo>
                  <a:lnTo>
                    <a:pt x="2044638" y="1706290"/>
                  </a:lnTo>
                  <a:lnTo>
                    <a:pt x="2028901" y="1705503"/>
                  </a:lnTo>
                  <a:lnTo>
                    <a:pt x="2028507" y="1702356"/>
                  </a:lnTo>
                  <a:lnTo>
                    <a:pt x="2028113" y="1699208"/>
                  </a:lnTo>
                  <a:lnTo>
                    <a:pt x="2026540" y="1696454"/>
                  </a:lnTo>
                  <a:lnTo>
                    <a:pt x="2023786" y="1698815"/>
                  </a:lnTo>
                  <a:lnTo>
                    <a:pt x="2022999" y="1696061"/>
                  </a:lnTo>
                  <a:lnTo>
                    <a:pt x="2021425" y="1696454"/>
                  </a:lnTo>
                  <a:lnTo>
                    <a:pt x="2021425" y="1696454"/>
                  </a:lnTo>
                  <a:lnTo>
                    <a:pt x="2021425" y="1696454"/>
                  </a:lnTo>
                  <a:lnTo>
                    <a:pt x="2021425" y="1696061"/>
                  </a:lnTo>
                  <a:lnTo>
                    <a:pt x="2020245" y="1696454"/>
                  </a:lnTo>
                  <a:lnTo>
                    <a:pt x="2017098" y="1694487"/>
                  </a:lnTo>
                  <a:lnTo>
                    <a:pt x="2015524" y="1695274"/>
                  </a:lnTo>
                  <a:lnTo>
                    <a:pt x="2014343" y="1691733"/>
                  </a:lnTo>
                  <a:lnTo>
                    <a:pt x="2013557" y="1692520"/>
                  </a:lnTo>
                  <a:lnTo>
                    <a:pt x="2013163" y="1692127"/>
                  </a:lnTo>
                  <a:lnTo>
                    <a:pt x="2013950" y="1690946"/>
                  </a:lnTo>
                  <a:lnTo>
                    <a:pt x="2013950" y="1691340"/>
                  </a:lnTo>
                  <a:lnTo>
                    <a:pt x="2015524" y="1689373"/>
                  </a:lnTo>
                  <a:lnTo>
                    <a:pt x="2017884" y="1686619"/>
                  </a:lnTo>
                  <a:lnTo>
                    <a:pt x="2017491" y="1686619"/>
                  </a:lnTo>
                  <a:lnTo>
                    <a:pt x="2017884" y="1686225"/>
                  </a:lnTo>
                  <a:lnTo>
                    <a:pt x="2015131" y="1685438"/>
                  </a:lnTo>
                  <a:lnTo>
                    <a:pt x="2013163" y="1687799"/>
                  </a:lnTo>
                  <a:lnTo>
                    <a:pt x="2013163" y="1685438"/>
                  </a:lnTo>
                  <a:lnTo>
                    <a:pt x="2013163" y="1685438"/>
                  </a:lnTo>
                  <a:lnTo>
                    <a:pt x="2013163" y="1685045"/>
                  </a:lnTo>
                  <a:lnTo>
                    <a:pt x="2011196" y="1684652"/>
                  </a:lnTo>
                  <a:lnTo>
                    <a:pt x="2013163" y="1683865"/>
                  </a:lnTo>
                  <a:lnTo>
                    <a:pt x="2015917" y="1683865"/>
                  </a:lnTo>
                  <a:lnTo>
                    <a:pt x="2017098" y="1680717"/>
                  </a:lnTo>
                  <a:lnTo>
                    <a:pt x="2017491" y="1677963"/>
                  </a:lnTo>
                  <a:lnTo>
                    <a:pt x="2019065" y="1675209"/>
                  </a:lnTo>
                  <a:lnTo>
                    <a:pt x="2020245" y="1672455"/>
                  </a:lnTo>
                  <a:lnTo>
                    <a:pt x="2020638" y="1671668"/>
                  </a:lnTo>
                  <a:lnTo>
                    <a:pt x="2020245" y="1670095"/>
                  </a:lnTo>
                  <a:lnTo>
                    <a:pt x="2020245" y="1664587"/>
                  </a:lnTo>
                  <a:lnTo>
                    <a:pt x="2019458" y="1663800"/>
                  </a:lnTo>
                  <a:lnTo>
                    <a:pt x="2017491" y="1648456"/>
                  </a:lnTo>
                  <a:lnTo>
                    <a:pt x="2017884" y="1647669"/>
                  </a:lnTo>
                  <a:lnTo>
                    <a:pt x="2017491" y="1644916"/>
                  </a:lnTo>
                  <a:lnTo>
                    <a:pt x="2016704" y="1641768"/>
                  </a:lnTo>
                  <a:lnTo>
                    <a:pt x="2016311" y="1641375"/>
                  </a:lnTo>
                  <a:lnTo>
                    <a:pt x="2016311" y="1640981"/>
                  </a:lnTo>
                  <a:lnTo>
                    <a:pt x="2014343" y="1639408"/>
                  </a:lnTo>
                  <a:lnTo>
                    <a:pt x="2012770" y="1639801"/>
                  </a:lnTo>
                  <a:lnTo>
                    <a:pt x="2009229" y="1634686"/>
                  </a:lnTo>
                  <a:lnTo>
                    <a:pt x="2006475" y="1632719"/>
                  </a:lnTo>
                  <a:lnTo>
                    <a:pt x="2003721" y="1634293"/>
                  </a:lnTo>
                  <a:lnTo>
                    <a:pt x="2002147" y="1635867"/>
                  </a:lnTo>
                  <a:lnTo>
                    <a:pt x="2000180" y="1638621"/>
                  </a:lnTo>
                  <a:lnTo>
                    <a:pt x="1999394" y="1641375"/>
                  </a:lnTo>
                  <a:lnTo>
                    <a:pt x="1999394" y="1643342"/>
                  </a:lnTo>
                  <a:lnTo>
                    <a:pt x="1998606" y="1645309"/>
                  </a:lnTo>
                  <a:lnTo>
                    <a:pt x="1997426" y="1646883"/>
                  </a:lnTo>
                  <a:lnTo>
                    <a:pt x="1997426" y="1648063"/>
                  </a:lnTo>
                  <a:lnTo>
                    <a:pt x="1996639" y="1650423"/>
                  </a:lnTo>
                  <a:lnTo>
                    <a:pt x="1996246" y="1649637"/>
                  </a:lnTo>
                  <a:lnTo>
                    <a:pt x="1995853" y="1651997"/>
                  </a:lnTo>
                  <a:lnTo>
                    <a:pt x="1995065" y="1654751"/>
                  </a:lnTo>
                  <a:lnTo>
                    <a:pt x="1995065" y="1654358"/>
                  </a:lnTo>
                  <a:lnTo>
                    <a:pt x="1994279" y="1653964"/>
                  </a:lnTo>
                  <a:lnTo>
                    <a:pt x="1993885" y="1656718"/>
                  </a:lnTo>
                  <a:lnTo>
                    <a:pt x="1994279" y="1659866"/>
                  </a:lnTo>
                  <a:lnTo>
                    <a:pt x="1994279" y="1661833"/>
                  </a:lnTo>
                  <a:lnTo>
                    <a:pt x="1995065" y="1664587"/>
                  </a:lnTo>
                  <a:lnTo>
                    <a:pt x="1995459" y="1667341"/>
                  </a:lnTo>
                  <a:lnTo>
                    <a:pt x="1995853" y="1668521"/>
                  </a:lnTo>
                  <a:lnTo>
                    <a:pt x="1996246" y="1671275"/>
                  </a:lnTo>
                  <a:lnTo>
                    <a:pt x="1998606" y="1679144"/>
                  </a:lnTo>
                  <a:lnTo>
                    <a:pt x="1998213" y="1679537"/>
                  </a:lnTo>
                  <a:lnTo>
                    <a:pt x="1998213" y="1679144"/>
                  </a:lnTo>
                  <a:lnTo>
                    <a:pt x="1995853" y="1678750"/>
                  </a:lnTo>
                  <a:lnTo>
                    <a:pt x="1995459" y="1675996"/>
                  </a:lnTo>
                  <a:lnTo>
                    <a:pt x="1995459" y="1675996"/>
                  </a:lnTo>
                  <a:lnTo>
                    <a:pt x="1995459" y="1675603"/>
                  </a:lnTo>
                  <a:lnTo>
                    <a:pt x="1993492" y="1672849"/>
                  </a:lnTo>
                  <a:lnTo>
                    <a:pt x="1992312" y="1670488"/>
                  </a:lnTo>
                  <a:lnTo>
                    <a:pt x="1991918" y="1670095"/>
                  </a:lnTo>
                  <a:lnTo>
                    <a:pt x="1989558" y="1666161"/>
                  </a:lnTo>
                  <a:lnTo>
                    <a:pt x="1989558" y="1667734"/>
                  </a:lnTo>
                  <a:lnTo>
                    <a:pt x="1989558" y="1667734"/>
                  </a:lnTo>
                  <a:lnTo>
                    <a:pt x="1989558" y="1666161"/>
                  </a:lnTo>
                  <a:lnTo>
                    <a:pt x="1989558" y="1666161"/>
                  </a:lnTo>
                  <a:lnTo>
                    <a:pt x="1989558" y="1664587"/>
                  </a:lnTo>
                  <a:lnTo>
                    <a:pt x="1989558" y="1664587"/>
                  </a:lnTo>
                  <a:lnTo>
                    <a:pt x="1989558" y="1664587"/>
                  </a:lnTo>
                  <a:lnTo>
                    <a:pt x="1988377" y="1661833"/>
                  </a:lnTo>
                  <a:lnTo>
                    <a:pt x="1987984" y="1659079"/>
                  </a:lnTo>
                  <a:lnTo>
                    <a:pt x="1987984" y="1659079"/>
                  </a:lnTo>
                  <a:lnTo>
                    <a:pt x="1987984" y="1658685"/>
                  </a:lnTo>
                  <a:lnTo>
                    <a:pt x="1986410" y="1655931"/>
                  </a:lnTo>
                  <a:lnTo>
                    <a:pt x="1983656" y="1653571"/>
                  </a:lnTo>
                  <a:lnTo>
                    <a:pt x="1980509" y="1651604"/>
                  </a:lnTo>
                  <a:lnTo>
                    <a:pt x="1978148" y="1648456"/>
                  </a:lnTo>
                  <a:lnTo>
                    <a:pt x="1976575" y="1646489"/>
                  </a:lnTo>
                  <a:lnTo>
                    <a:pt x="1979328" y="1648850"/>
                  </a:lnTo>
                  <a:lnTo>
                    <a:pt x="1979328" y="1648456"/>
                  </a:lnTo>
                  <a:lnTo>
                    <a:pt x="1979328" y="1648456"/>
                  </a:lnTo>
                  <a:lnTo>
                    <a:pt x="1978148" y="1645702"/>
                  </a:lnTo>
                  <a:lnTo>
                    <a:pt x="1975788" y="1642948"/>
                  </a:lnTo>
                  <a:lnTo>
                    <a:pt x="1974607" y="1640194"/>
                  </a:lnTo>
                  <a:lnTo>
                    <a:pt x="1974214" y="1637047"/>
                  </a:lnTo>
                  <a:lnTo>
                    <a:pt x="1974214" y="1637047"/>
                  </a:lnTo>
                  <a:lnTo>
                    <a:pt x="1974214" y="1636654"/>
                  </a:lnTo>
                  <a:lnTo>
                    <a:pt x="1971067" y="1636654"/>
                  </a:lnTo>
                  <a:lnTo>
                    <a:pt x="1970673" y="1636260"/>
                  </a:lnTo>
                  <a:lnTo>
                    <a:pt x="1971067" y="1633900"/>
                  </a:lnTo>
                  <a:lnTo>
                    <a:pt x="1970673" y="1632719"/>
                  </a:lnTo>
                  <a:lnTo>
                    <a:pt x="1970673" y="1630752"/>
                  </a:lnTo>
                  <a:lnTo>
                    <a:pt x="1971067" y="1630752"/>
                  </a:lnTo>
                  <a:lnTo>
                    <a:pt x="1970673" y="1630752"/>
                  </a:lnTo>
                  <a:lnTo>
                    <a:pt x="1973427" y="1632326"/>
                  </a:lnTo>
                  <a:lnTo>
                    <a:pt x="1976181" y="1630752"/>
                  </a:lnTo>
                  <a:lnTo>
                    <a:pt x="1976575" y="1628785"/>
                  </a:lnTo>
                  <a:lnTo>
                    <a:pt x="1976575" y="1628785"/>
                  </a:lnTo>
                  <a:lnTo>
                    <a:pt x="1976575" y="1628392"/>
                  </a:lnTo>
                  <a:lnTo>
                    <a:pt x="1976575" y="1627998"/>
                  </a:lnTo>
                  <a:lnTo>
                    <a:pt x="1976575" y="1627998"/>
                  </a:lnTo>
                  <a:lnTo>
                    <a:pt x="1976181" y="1625244"/>
                  </a:lnTo>
                  <a:lnTo>
                    <a:pt x="1976181" y="1625244"/>
                  </a:lnTo>
                  <a:lnTo>
                    <a:pt x="1976181" y="1625244"/>
                  </a:lnTo>
                  <a:lnTo>
                    <a:pt x="1975001" y="1622490"/>
                  </a:lnTo>
                  <a:lnTo>
                    <a:pt x="1974607" y="1622097"/>
                  </a:lnTo>
                  <a:lnTo>
                    <a:pt x="1974214" y="1622097"/>
                  </a:lnTo>
                  <a:lnTo>
                    <a:pt x="1973821" y="1622097"/>
                  </a:lnTo>
                  <a:lnTo>
                    <a:pt x="1969887" y="1618556"/>
                  </a:lnTo>
                  <a:lnTo>
                    <a:pt x="1969887" y="1618162"/>
                  </a:lnTo>
                  <a:lnTo>
                    <a:pt x="1969493" y="1617769"/>
                  </a:lnTo>
                  <a:lnTo>
                    <a:pt x="1969493" y="1616982"/>
                  </a:lnTo>
                  <a:lnTo>
                    <a:pt x="1969887" y="1615015"/>
                  </a:lnTo>
                  <a:lnTo>
                    <a:pt x="1969493" y="1614622"/>
                  </a:lnTo>
                  <a:lnTo>
                    <a:pt x="1969099" y="1614228"/>
                  </a:lnTo>
                  <a:lnTo>
                    <a:pt x="1969493" y="1611868"/>
                  </a:lnTo>
                  <a:lnTo>
                    <a:pt x="1970673" y="1614228"/>
                  </a:lnTo>
                  <a:lnTo>
                    <a:pt x="1971460" y="1613835"/>
                  </a:lnTo>
                  <a:lnTo>
                    <a:pt x="1971854" y="1613835"/>
                  </a:lnTo>
                  <a:lnTo>
                    <a:pt x="1974214" y="1615409"/>
                  </a:lnTo>
                  <a:lnTo>
                    <a:pt x="1971854" y="1613048"/>
                  </a:lnTo>
                  <a:lnTo>
                    <a:pt x="1969493" y="1610294"/>
                  </a:lnTo>
                  <a:lnTo>
                    <a:pt x="1969099" y="1609901"/>
                  </a:lnTo>
                  <a:lnTo>
                    <a:pt x="1968706" y="1609507"/>
                  </a:lnTo>
                  <a:lnTo>
                    <a:pt x="1968313" y="1608720"/>
                  </a:lnTo>
                  <a:lnTo>
                    <a:pt x="1967526" y="1608327"/>
                  </a:lnTo>
                  <a:lnTo>
                    <a:pt x="1965952" y="1607933"/>
                  </a:lnTo>
                  <a:lnTo>
                    <a:pt x="1965558" y="1607933"/>
                  </a:lnTo>
                  <a:lnTo>
                    <a:pt x="1962805" y="1606360"/>
                  </a:lnTo>
                  <a:lnTo>
                    <a:pt x="1962018" y="1605966"/>
                  </a:lnTo>
                  <a:lnTo>
                    <a:pt x="1959264" y="1603212"/>
                  </a:lnTo>
                  <a:lnTo>
                    <a:pt x="1958870" y="1603212"/>
                  </a:lnTo>
                  <a:lnTo>
                    <a:pt x="1958870" y="1602819"/>
                  </a:lnTo>
                  <a:lnTo>
                    <a:pt x="1957297" y="1601245"/>
                  </a:lnTo>
                  <a:lnTo>
                    <a:pt x="1957297" y="1601245"/>
                  </a:lnTo>
                  <a:lnTo>
                    <a:pt x="1956117" y="1597311"/>
                  </a:lnTo>
                  <a:lnTo>
                    <a:pt x="1955723" y="1598491"/>
                  </a:lnTo>
                  <a:lnTo>
                    <a:pt x="1955723" y="1598491"/>
                  </a:lnTo>
                  <a:lnTo>
                    <a:pt x="1956117" y="1596917"/>
                  </a:lnTo>
                  <a:lnTo>
                    <a:pt x="1954936" y="1599278"/>
                  </a:lnTo>
                  <a:lnTo>
                    <a:pt x="1954543" y="1599278"/>
                  </a:lnTo>
                  <a:lnTo>
                    <a:pt x="1952576" y="1598885"/>
                  </a:lnTo>
                  <a:lnTo>
                    <a:pt x="1951002" y="1598491"/>
                  </a:lnTo>
                  <a:lnTo>
                    <a:pt x="1951395" y="1596524"/>
                  </a:lnTo>
                  <a:lnTo>
                    <a:pt x="1951395" y="1596524"/>
                  </a:lnTo>
                  <a:lnTo>
                    <a:pt x="1951395" y="1596524"/>
                  </a:lnTo>
                  <a:lnTo>
                    <a:pt x="1951395" y="1596524"/>
                  </a:lnTo>
                  <a:lnTo>
                    <a:pt x="1950609" y="1596131"/>
                  </a:lnTo>
                  <a:lnTo>
                    <a:pt x="1948641" y="1594950"/>
                  </a:lnTo>
                  <a:lnTo>
                    <a:pt x="1948641" y="1594557"/>
                  </a:lnTo>
                  <a:lnTo>
                    <a:pt x="1947854" y="1591803"/>
                  </a:lnTo>
                  <a:lnTo>
                    <a:pt x="1945101" y="1590229"/>
                  </a:lnTo>
                  <a:lnTo>
                    <a:pt x="1947461" y="1587082"/>
                  </a:lnTo>
                  <a:lnTo>
                    <a:pt x="1947461" y="1587082"/>
                  </a:lnTo>
                  <a:lnTo>
                    <a:pt x="1947461" y="1587082"/>
                  </a:lnTo>
                  <a:lnTo>
                    <a:pt x="1944707" y="1584721"/>
                  </a:lnTo>
                  <a:lnTo>
                    <a:pt x="1941560" y="1585115"/>
                  </a:lnTo>
                  <a:lnTo>
                    <a:pt x="1940380" y="1585508"/>
                  </a:lnTo>
                  <a:lnTo>
                    <a:pt x="1939986" y="1585115"/>
                  </a:lnTo>
                  <a:lnTo>
                    <a:pt x="1939199" y="1584328"/>
                  </a:lnTo>
                  <a:lnTo>
                    <a:pt x="1937625" y="1582754"/>
                  </a:lnTo>
                  <a:lnTo>
                    <a:pt x="1934872" y="1582754"/>
                  </a:lnTo>
                  <a:lnTo>
                    <a:pt x="1934084" y="1583148"/>
                  </a:lnTo>
                  <a:lnTo>
                    <a:pt x="1933691" y="1583148"/>
                  </a:lnTo>
                  <a:lnTo>
                    <a:pt x="1932904" y="1582754"/>
                  </a:lnTo>
                  <a:lnTo>
                    <a:pt x="1933298" y="1582361"/>
                  </a:lnTo>
                  <a:lnTo>
                    <a:pt x="1933298" y="1582361"/>
                  </a:lnTo>
                  <a:lnTo>
                    <a:pt x="1933298" y="1582361"/>
                  </a:lnTo>
                  <a:lnTo>
                    <a:pt x="1933298" y="1582361"/>
                  </a:lnTo>
                  <a:lnTo>
                    <a:pt x="1932511" y="1579607"/>
                  </a:lnTo>
                  <a:lnTo>
                    <a:pt x="1930937" y="1579213"/>
                  </a:lnTo>
                  <a:lnTo>
                    <a:pt x="1930544" y="1579607"/>
                  </a:lnTo>
                  <a:lnTo>
                    <a:pt x="1930150" y="1579213"/>
                  </a:lnTo>
                  <a:lnTo>
                    <a:pt x="1930544" y="1578820"/>
                  </a:lnTo>
                  <a:lnTo>
                    <a:pt x="1930937" y="1576066"/>
                  </a:lnTo>
                  <a:lnTo>
                    <a:pt x="1932117" y="1576459"/>
                  </a:lnTo>
                  <a:lnTo>
                    <a:pt x="1932904" y="1578427"/>
                  </a:lnTo>
                  <a:lnTo>
                    <a:pt x="1932904" y="1578820"/>
                  </a:lnTo>
                  <a:lnTo>
                    <a:pt x="1932904" y="1578427"/>
                  </a:lnTo>
                  <a:lnTo>
                    <a:pt x="1932904" y="1578427"/>
                  </a:lnTo>
                  <a:lnTo>
                    <a:pt x="1932904" y="1576853"/>
                  </a:lnTo>
                  <a:lnTo>
                    <a:pt x="1932904" y="1575672"/>
                  </a:lnTo>
                  <a:lnTo>
                    <a:pt x="1932904" y="1575672"/>
                  </a:lnTo>
                  <a:lnTo>
                    <a:pt x="1932904" y="1575672"/>
                  </a:lnTo>
                  <a:lnTo>
                    <a:pt x="1932511" y="1575279"/>
                  </a:lnTo>
                  <a:lnTo>
                    <a:pt x="1929757" y="1572525"/>
                  </a:lnTo>
                  <a:lnTo>
                    <a:pt x="1929363" y="1572132"/>
                  </a:lnTo>
                  <a:lnTo>
                    <a:pt x="1928970" y="1569771"/>
                  </a:lnTo>
                  <a:lnTo>
                    <a:pt x="1928183" y="1569378"/>
                  </a:lnTo>
                  <a:lnTo>
                    <a:pt x="1927790" y="1569378"/>
                  </a:lnTo>
                  <a:lnTo>
                    <a:pt x="1923855" y="1562689"/>
                  </a:lnTo>
                  <a:lnTo>
                    <a:pt x="1923855" y="1562296"/>
                  </a:lnTo>
                  <a:lnTo>
                    <a:pt x="1923855" y="1561903"/>
                  </a:lnTo>
                  <a:lnTo>
                    <a:pt x="1921495" y="1556395"/>
                  </a:lnTo>
                  <a:lnTo>
                    <a:pt x="1921495" y="1556001"/>
                  </a:lnTo>
                  <a:lnTo>
                    <a:pt x="1920314" y="1553247"/>
                  </a:lnTo>
                  <a:lnTo>
                    <a:pt x="1917561" y="1551280"/>
                  </a:lnTo>
                  <a:lnTo>
                    <a:pt x="1917561" y="1551280"/>
                  </a:lnTo>
                  <a:lnTo>
                    <a:pt x="1916774" y="1548526"/>
                  </a:lnTo>
                  <a:lnTo>
                    <a:pt x="1915987" y="1545379"/>
                  </a:lnTo>
                  <a:lnTo>
                    <a:pt x="1913626" y="1543018"/>
                  </a:lnTo>
                  <a:lnTo>
                    <a:pt x="1912446" y="1540264"/>
                  </a:lnTo>
                  <a:lnTo>
                    <a:pt x="1907725" y="1534756"/>
                  </a:lnTo>
                  <a:lnTo>
                    <a:pt x="1907332" y="1533969"/>
                  </a:lnTo>
                  <a:lnTo>
                    <a:pt x="1907332" y="1533182"/>
                  </a:lnTo>
                  <a:lnTo>
                    <a:pt x="1906545" y="1531609"/>
                  </a:lnTo>
                  <a:lnTo>
                    <a:pt x="1905365" y="1514691"/>
                  </a:lnTo>
                  <a:lnTo>
                    <a:pt x="1903791" y="1511544"/>
                  </a:lnTo>
                  <a:lnTo>
                    <a:pt x="1903791" y="1511544"/>
                  </a:lnTo>
                  <a:lnTo>
                    <a:pt x="1899856" y="1504462"/>
                  </a:lnTo>
                  <a:lnTo>
                    <a:pt x="1899856" y="1506036"/>
                  </a:lnTo>
                  <a:lnTo>
                    <a:pt x="1899070" y="1502889"/>
                  </a:lnTo>
                  <a:lnTo>
                    <a:pt x="1898676" y="1501708"/>
                  </a:lnTo>
                  <a:lnTo>
                    <a:pt x="1898283" y="1501315"/>
                  </a:lnTo>
                  <a:lnTo>
                    <a:pt x="1898283" y="1500921"/>
                  </a:lnTo>
                  <a:lnTo>
                    <a:pt x="1897889" y="1498561"/>
                  </a:lnTo>
                  <a:lnTo>
                    <a:pt x="1899070" y="1501315"/>
                  </a:lnTo>
                  <a:lnTo>
                    <a:pt x="1901824" y="1500528"/>
                  </a:lnTo>
                  <a:lnTo>
                    <a:pt x="1904184" y="1500921"/>
                  </a:lnTo>
                  <a:lnTo>
                    <a:pt x="1907725" y="1502102"/>
                  </a:lnTo>
                  <a:lnTo>
                    <a:pt x="1910479" y="1503676"/>
                  </a:lnTo>
                  <a:lnTo>
                    <a:pt x="1913626" y="1504462"/>
                  </a:lnTo>
                  <a:lnTo>
                    <a:pt x="1914020" y="1504462"/>
                  </a:lnTo>
                  <a:lnTo>
                    <a:pt x="1916380" y="1504462"/>
                  </a:lnTo>
                  <a:lnTo>
                    <a:pt x="1916380" y="1504069"/>
                  </a:lnTo>
                  <a:lnTo>
                    <a:pt x="1916774" y="1504069"/>
                  </a:lnTo>
                  <a:lnTo>
                    <a:pt x="1915987" y="1503676"/>
                  </a:lnTo>
                  <a:lnTo>
                    <a:pt x="1915987" y="1503282"/>
                  </a:lnTo>
                  <a:lnTo>
                    <a:pt x="1916380" y="1503282"/>
                  </a:lnTo>
                  <a:lnTo>
                    <a:pt x="1917954" y="1503676"/>
                  </a:lnTo>
                  <a:lnTo>
                    <a:pt x="1919528" y="1502102"/>
                  </a:lnTo>
                  <a:lnTo>
                    <a:pt x="1919134" y="1500528"/>
                  </a:lnTo>
                  <a:lnTo>
                    <a:pt x="1921495" y="1501315"/>
                  </a:lnTo>
                  <a:lnTo>
                    <a:pt x="1926216" y="1501315"/>
                  </a:lnTo>
                  <a:lnTo>
                    <a:pt x="1927003" y="1498561"/>
                  </a:lnTo>
                  <a:lnTo>
                    <a:pt x="1927003" y="1495807"/>
                  </a:lnTo>
                  <a:lnTo>
                    <a:pt x="1925036" y="1493053"/>
                  </a:lnTo>
                  <a:lnTo>
                    <a:pt x="1924249" y="1491479"/>
                  </a:lnTo>
                  <a:lnTo>
                    <a:pt x="1925429" y="1488725"/>
                  </a:lnTo>
                  <a:lnTo>
                    <a:pt x="1928183" y="1488332"/>
                  </a:lnTo>
                  <a:lnTo>
                    <a:pt x="1925823" y="1485971"/>
                  </a:lnTo>
                  <a:lnTo>
                    <a:pt x="1929363" y="1485184"/>
                  </a:lnTo>
                  <a:lnTo>
                    <a:pt x="1930150" y="1485184"/>
                  </a:lnTo>
                  <a:lnTo>
                    <a:pt x="1934084" y="1489119"/>
                  </a:lnTo>
                  <a:lnTo>
                    <a:pt x="1932117" y="1489512"/>
                  </a:lnTo>
                  <a:lnTo>
                    <a:pt x="1929363" y="1489119"/>
                  </a:lnTo>
                  <a:lnTo>
                    <a:pt x="1926216" y="1489119"/>
                  </a:lnTo>
                  <a:lnTo>
                    <a:pt x="1928577" y="1491873"/>
                  </a:lnTo>
                  <a:lnTo>
                    <a:pt x="1931724" y="1493840"/>
                  </a:lnTo>
                  <a:lnTo>
                    <a:pt x="1934478" y="1494233"/>
                  </a:lnTo>
                  <a:lnTo>
                    <a:pt x="1936052" y="1496987"/>
                  </a:lnTo>
                  <a:lnTo>
                    <a:pt x="1938806" y="1496594"/>
                  </a:lnTo>
                  <a:lnTo>
                    <a:pt x="1941560" y="1496594"/>
                  </a:lnTo>
                  <a:lnTo>
                    <a:pt x="1943920" y="1498954"/>
                  </a:lnTo>
                  <a:lnTo>
                    <a:pt x="1943920" y="1499741"/>
                  </a:lnTo>
                  <a:lnTo>
                    <a:pt x="1946674" y="1501708"/>
                  </a:lnTo>
                  <a:lnTo>
                    <a:pt x="1952182" y="1496987"/>
                  </a:lnTo>
                  <a:lnTo>
                    <a:pt x="1954150" y="1495807"/>
                  </a:lnTo>
                  <a:lnTo>
                    <a:pt x="1957297" y="1494627"/>
                  </a:lnTo>
                  <a:lnTo>
                    <a:pt x="1958477" y="1495020"/>
                  </a:lnTo>
                  <a:lnTo>
                    <a:pt x="1962018" y="1502102"/>
                  </a:lnTo>
                  <a:lnTo>
                    <a:pt x="1963198" y="1505249"/>
                  </a:lnTo>
                  <a:lnTo>
                    <a:pt x="1965952" y="1507610"/>
                  </a:lnTo>
                  <a:lnTo>
                    <a:pt x="1966346" y="1508003"/>
                  </a:lnTo>
                  <a:lnTo>
                    <a:pt x="1966346" y="1508397"/>
                  </a:lnTo>
                  <a:lnTo>
                    <a:pt x="1968706" y="1511151"/>
                  </a:lnTo>
                  <a:lnTo>
                    <a:pt x="1971067" y="1513904"/>
                  </a:lnTo>
                  <a:lnTo>
                    <a:pt x="1973034" y="1514691"/>
                  </a:lnTo>
                  <a:lnTo>
                    <a:pt x="1973427" y="1515478"/>
                  </a:lnTo>
                  <a:lnTo>
                    <a:pt x="1979328" y="1530428"/>
                  </a:lnTo>
                  <a:lnTo>
                    <a:pt x="1994672" y="1553247"/>
                  </a:lnTo>
                  <a:lnTo>
                    <a:pt x="2001361" y="1565050"/>
                  </a:lnTo>
                  <a:lnTo>
                    <a:pt x="2001754" y="1566624"/>
                  </a:lnTo>
                  <a:lnTo>
                    <a:pt x="2004508" y="1568984"/>
                  </a:lnTo>
                  <a:lnTo>
                    <a:pt x="2006082" y="1572132"/>
                  </a:lnTo>
                  <a:lnTo>
                    <a:pt x="2009229" y="1573312"/>
                  </a:lnTo>
                  <a:lnTo>
                    <a:pt x="2011983" y="1575672"/>
                  </a:lnTo>
                  <a:lnTo>
                    <a:pt x="2014737" y="1576066"/>
                  </a:lnTo>
                  <a:lnTo>
                    <a:pt x="2017884" y="1575672"/>
                  </a:lnTo>
                  <a:lnTo>
                    <a:pt x="2042670" y="1591803"/>
                  </a:lnTo>
                  <a:lnTo>
                    <a:pt x="2042670" y="1592196"/>
                  </a:lnTo>
                  <a:lnTo>
                    <a:pt x="2045424" y="1593770"/>
                  </a:lnTo>
                  <a:lnTo>
                    <a:pt x="2045818" y="1594164"/>
                  </a:lnTo>
                  <a:lnTo>
                    <a:pt x="2048572" y="1596131"/>
                  </a:lnTo>
                  <a:lnTo>
                    <a:pt x="2051719" y="1597704"/>
                  </a:lnTo>
                  <a:lnTo>
                    <a:pt x="2057227" y="1601639"/>
                  </a:lnTo>
                  <a:lnTo>
                    <a:pt x="2060375" y="1602425"/>
                  </a:lnTo>
                  <a:lnTo>
                    <a:pt x="2063128" y="1603606"/>
                  </a:lnTo>
                  <a:lnTo>
                    <a:pt x="2065882" y="1604786"/>
                  </a:lnTo>
                  <a:lnTo>
                    <a:pt x="2068637" y="1605966"/>
                  </a:lnTo>
                  <a:lnTo>
                    <a:pt x="2069423" y="1607540"/>
                  </a:lnTo>
                  <a:lnTo>
                    <a:pt x="2070997" y="1610687"/>
                  </a:lnTo>
                  <a:lnTo>
                    <a:pt x="2073751" y="1613048"/>
                  </a:lnTo>
                  <a:lnTo>
                    <a:pt x="2076898" y="1615409"/>
                  </a:lnTo>
                  <a:lnTo>
                    <a:pt x="2080046" y="1615409"/>
                  </a:lnTo>
                  <a:lnTo>
                    <a:pt x="2082800" y="1615015"/>
                  </a:lnTo>
                  <a:lnTo>
                    <a:pt x="2085947" y="1613835"/>
                  </a:lnTo>
                  <a:lnTo>
                    <a:pt x="2088701" y="1615015"/>
                  </a:lnTo>
                  <a:lnTo>
                    <a:pt x="2091849" y="1615015"/>
                  </a:lnTo>
                  <a:lnTo>
                    <a:pt x="2094996" y="1615409"/>
                  </a:lnTo>
                  <a:lnTo>
                    <a:pt x="2096570" y="1618556"/>
                  </a:lnTo>
                  <a:lnTo>
                    <a:pt x="2099717" y="1618949"/>
                  </a:lnTo>
                  <a:lnTo>
                    <a:pt x="2102471" y="1619736"/>
                  </a:lnTo>
                  <a:lnTo>
                    <a:pt x="2105225" y="1621703"/>
                  </a:lnTo>
                  <a:lnTo>
                    <a:pt x="2108373" y="1622097"/>
                  </a:lnTo>
                  <a:lnTo>
                    <a:pt x="2111520" y="1620523"/>
                  </a:lnTo>
                  <a:lnTo>
                    <a:pt x="2114274" y="1617769"/>
                  </a:lnTo>
                  <a:lnTo>
                    <a:pt x="2114667" y="1617769"/>
                  </a:lnTo>
                  <a:lnTo>
                    <a:pt x="2114667" y="1617769"/>
                  </a:lnTo>
                  <a:lnTo>
                    <a:pt x="2126863" y="1613441"/>
                  </a:lnTo>
                  <a:lnTo>
                    <a:pt x="2128437" y="1613048"/>
                  </a:lnTo>
                  <a:lnTo>
                    <a:pt x="2131191" y="1611474"/>
                  </a:lnTo>
                  <a:lnTo>
                    <a:pt x="2129618" y="1608720"/>
                  </a:lnTo>
                  <a:lnTo>
                    <a:pt x="2135519" y="1605179"/>
                  </a:lnTo>
                  <a:lnTo>
                    <a:pt x="2137093" y="1604786"/>
                  </a:lnTo>
                  <a:lnTo>
                    <a:pt x="2165026" y="1600065"/>
                  </a:lnTo>
                  <a:lnTo>
                    <a:pt x="2166206" y="1602032"/>
                  </a:lnTo>
                  <a:lnTo>
                    <a:pt x="2167387" y="1604786"/>
                  </a:lnTo>
                  <a:lnTo>
                    <a:pt x="2168173" y="1605179"/>
                  </a:lnTo>
                  <a:lnTo>
                    <a:pt x="2173681" y="1613441"/>
                  </a:lnTo>
                  <a:lnTo>
                    <a:pt x="2174075" y="1614622"/>
                  </a:lnTo>
                  <a:lnTo>
                    <a:pt x="2174862" y="1617769"/>
                  </a:lnTo>
                  <a:lnTo>
                    <a:pt x="2175255" y="1620523"/>
                  </a:lnTo>
                  <a:lnTo>
                    <a:pt x="2174862" y="1623671"/>
                  </a:lnTo>
                  <a:lnTo>
                    <a:pt x="2176436" y="1626424"/>
                  </a:lnTo>
                  <a:lnTo>
                    <a:pt x="2177222" y="1629178"/>
                  </a:lnTo>
                  <a:lnTo>
                    <a:pt x="2179189" y="1631932"/>
                  </a:lnTo>
                  <a:lnTo>
                    <a:pt x="2178796" y="1634686"/>
                  </a:lnTo>
                  <a:lnTo>
                    <a:pt x="2179583" y="1637834"/>
                  </a:lnTo>
                  <a:lnTo>
                    <a:pt x="2181943" y="1640588"/>
                  </a:lnTo>
                  <a:lnTo>
                    <a:pt x="2183124" y="1643735"/>
                  </a:lnTo>
                  <a:lnTo>
                    <a:pt x="2185877" y="1646489"/>
                  </a:lnTo>
                  <a:lnTo>
                    <a:pt x="2188632" y="1646883"/>
                  </a:lnTo>
                  <a:lnTo>
                    <a:pt x="2191779" y="1647276"/>
                  </a:lnTo>
                  <a:lnTo>
                    <a:pt x="2194533" y="1646883"/>
                  </a:lnTo>
                  <a:lnTo>
                    <a:pt x="2195320" y="1647276"/>
                  </a:lnTo>
                  <a:lnTo>
                    <a:pt x="2197680" y="1651210"/>
                  </a:lnTo>
                  <a:lnTo>
                    <a:pt x="2205155" y="1651997"/>
                  </a:lnTo>
                  <a:lnTo>
                    <a:pt x="2205942" y="1653178"/>
                  </a:lnTo>
                  <a:lnTo>
                    <a:pt x="2209090" y="1653964"/>
                  </a:lnTo>
                  <a:lnTo>
                    <a:pt x="2211844" y="1653571"/>
                  </a:lnTo>
                  <a:lnTo>
                    <a:pt x="2213811" y="1652784"/>
                  </a:lnTo>
                  <a:lnTo>
                    <a:pt x="2217745" y="1653178"/>
                  </a:lnTo>
                  <a:lnTo>
                    <a:pt x="2231121" y="1655931"/>
                  </a:lnTo>
                  <a:lnTo>
                    <a:pt x="2232302" y="1656718"/>
                  </a:lnTo>
                  <a:lnTo>
                    <a:pt x="2235449" y="1659079"/>
                  </a:lnTo>
                  <a:lnTo>
                    <a:pt x="2238203" y="1659079"/>
                  </a:lnTo>
                  <a:lnTo>
                    <a:pt x="2240957" y="1657899"/>
                  </a:lnTo>
                  <a:lnTo>
                    <a:pt x="2251187" y="1658685"/>
                  </a:lnTo>
                  <a:lnTo>
                    <a:pt x="2251580" y="1659079"/>
                  </a:lnTo>
                  <a:lnTo>
                    <a:pt x="2253547" y="1659079"/>
                  </a:lnTo>
                  <a:lnTo>
                    <a:pt x="2258661" y="1659472"/>
                  </a:lnTo>
                  <a:lnTo>
                    <a:pt x="2260628" y="1661046"/>
                  </a:lnTo>
                  <a:lnTo>
                    <a:pt x="2263383" y="1659866"/>
                  </a:lnTo>
                  <a:lnTo>
                    <a:pt x="2263776" y="1659866"/>
                  </a:lnTo>
                  <a:lnTo>
                    <a:pt x="2266924" y="1661046"/>
                  </a:lnTo>
                  <a:lnTo>
                    <a:pt x="2269677" y="1660259"/>
                  </a:lnTo>
                  <a:lnTo>
                    <a:pt x="2272038" y="1660653"/>
                  </a:lnTo>
                  <a:lnTo>
                    <a:pt x="2273612" y="1661439"/>
                  </a:lnTo>
                  <a:lnTo>
                    <a:pt x="2276759" y="1661439"/>
                  </a:lnTo>
                  <a:lnTo>
                    <a:pt x="2281480" y="1662226"/>
                  </a:lnTo>
                  <a:lnTo>
                    <a:pt x="2281874" y="1663406"/>
                  </a:lnTo>
                  <a:lnTo>
                    <a:pt x="2285021" y="1663800"/>
                  </a:lnTo>
                  <a:lnTo>
                    <a:pt x="2287775" y="1664193"/>
                  </a:lnTo>
                  <a:lnTo>
                    <a:pt x="2290529" y="1664980"/>
                  </a:lnTo>
                  <a:lnTo>
                    <a:pt x="2293676" y="1665374"/>
                  </a:lnTo>
                  <a:lnTo>
                    <a:pt x="2296431" y="1666161"/>
                  </a:lnTo>
                  <a:lnTo>
                    <a:pt x="2299578" y="1667734"/>
                  </a:lnTo>
                  <a:lnTo>
                    <a:pt x="2302332" y="1669308"/>
                  </a:lnTo>
                  <a:lnTo>
                    <a:pt x="2305086" y="1669701"/>
                  </a:lnTo>
                  <a:lnTo>
                    <a:pt x="2307840" y="1668521"/>
                  </a:lnTo>
                  <a:lnTo>
                    <a:pt x="2307840" y="1665374"/>
                  </a:lnTo>
                  <a:lnTo>
                    <a:pt x="2310987" y="1665767"/>
                  </a:lnTo>
                  <a:lnTo>
                    <a:pt x="2313348" y="1666161"/>
                  </a:lnTo>
                  <a:lnTo>
                    <a:pt x="2314921" y="1670488"/>
                  </a:lnTo>
                  <a:lnTo>
                    <a:pt x="2317675" y="1671668"/>
                  </a:lnTo>
                  <a:lnTo>
                    <a:pt x="2320036" y="1669701"/>
                  </a:lnTo>
                  <a:lnTo>
                    <a:pt x="2323183" y="1669308"/>
                  </a:lnTo>
                  <a:lnTo>
                    <a:pt x="2323970" y="1669308"/>
                  </a:lnTo>
                  <a:lnTo>
                    <a:pt x="2323970" y="1668915"/>
                  </a:lnTo>
                  <a:lnTo>
                    <a:pt x="2330658" y="1667734"/>
                  </a:lnTo>
                  <a:lnTo>
                    <a:pt x="2330658" y="1668915"/>
                  </a:lnTo>
                  <a:lnTo>
                    <a:pt x="2333412" y="1669701"/>
                  </a:lnTo>
                  <a:lnTo>
                    <a:pt x="2333019" y="1667341"/>
                  </a:lnTo>
                  <a:lnTo>
                    <a:pt x="2346789" y="1664980"/>
                  </a:lnTo>
                  <a:lnTo>
                    <a:pt x="2347576" y="1664980"/>
                  </a:lnTo>
                  <a:lnTo>
                    <a:pt x="2350723" y="1665374"/>
                  </a:lnTo>
                  <a:lnTo>
                    <a:pt x="2353477" y="1664980"/>
                  </a:lnTo>
                  <a:lnTo>
                    <a:pt x="2356625" y="1664193"/>
                  </a:lnTo>
                  <a:lnTo>
                    <a:pt x="2359379" y="1664980"/>
                  </a:lnTo>
                  <a:lnTo>
                    <a:pt x="2362133" y="1664980"/>
                  </a:lnTo>
                  <a:lnTo>
                    <a:pt x="2365280" y="1666161"/>
                  </a:lnTo>
                  <a:lnTo>
                    <a:pt x="2364886" y="1663406"/>
                  </a:lnTo>
                  <a:lnTo>
                    <a:pt x="2366460" y="1661046"/>
                  </a:lnTo>
                  <a:lnTo>
                    <a:pt x="2378263" y="1661439"/>
                  </a:lnTo>
                  <a:lnTo>
                    <a:pt x="2378263" y="1661439"/>
                  </a:lnTo>
                  <a:lnTo>
                    <a:pt x="2378656" y="1661439"/>
                  </a:lnTo>
                  <a:lnTo>
                    <a:pt x="2384164" y="1661439"/>
                  </a:lnTo>
                  <a:lnTo>
                    <a:pt x="2385738" y="1662226"/>
                  </a:lnTo>
                  <a:lnTo>
                    <a:pt x="2388492" y="1662620"/>
                  </a:lnTo>
                  <a:lnTo>
                    <a:pt x="2391640" y="1663406"/>
                  </a:lnTo>
                  <a:lnTo>
                    <a:pt x="2394393" y="1664587"/>
                  </a:lnTo>
                  <a:lnTo>
                    <a:pt x="2397148" y="1663800"/>
                  </a:lnTo>
                  <a:lnTo>
                    <a:pt x="2397934" y="1666554"/>
                  </a:lnTo>
                  <a:lnTo>
                    <a:pt x="2401082" y="1666554"/>
                  </a:lnTo>
                  <a:lnTo>
                    <a:pt x="2399508" y="1663800"/>
                  </a:lnTo>
                  <a:lnTo>
                    <a:pt x="2402262" y="1661833"/>
                  </a:lnTo>
                  <a:lnTo>
                    <a:pt x="2408950" y="1661833"/>
                  </a:lnTo>
                  <a:lnTo>
                    <a:pt x="2412098" y="1662226"/>
                  </a:lnTo>
                  <a:lnTo>
                    <a:pt x="2414852" y="1660653"/>
                  </a:lnTo>
                  <a:lnTo>
                    <a:pt x="2419179" y="1659866"/>
                  </a:lnTo>
                  <a:lnTo>
                    <a:pt x="2420753" y="1659866"/>
                  </a:lnTo>
                  <a:lnTo>
                    <a:pt x="2422327" y="1659472"/>
                  </a:lnTo>
                  <a:lnTo>
                    <a:pt x="2425081" y="1660259"/>
                  </a:lnTo>
                  <a:lnTo>
                    <a:pt x="2427835" y="1660653"/>
                  </a:lnTo>
                  <a:lnTo>
                    <a:pt x="2430982" y="1659472"/>
                  </a:lnTo>
                  <a:lnTo>
                    <a:pt x="2433736" y="1657899"/>
                  </a:lnTo>
                  <a:lnTo>
                    <a:pt x="2436490" y="1657899"/>
                  </a:lnTo>
                  <a:lnTo>
                    <a:pt x="2439637" y="1657112"/>
                  </a:lnTo>
                  <a:lnTo>
                    <a:pt x="2442392" y="1656718"/>
                  </a:lnTo>
                  <a:lnTo>
                    <a:pt x="2445145" y="1656325"/>
                  </a:lnTo>
                  <a:lnTo>
                    <a:pt x="2448293" y="1656718"/>
                  </a:lnTo>
                  <a:lnTo>
                    <a:pt x="2451047" y="1658292"/>
                  </a:lnTo>
                  <a:lnTo>
                    <a:pt x="2449080" y="1655145"/>
                  </a:lnTo>
                  <a:lnTo>
                    <a:pt x="2445933" y="1653571"/>
                  </a:lnTo>
                  <a:lnTo>
                    <a:pt x="2443178" y="1655931"/>
                  </a:lnTo>
                  <a:lnTo>
                    <a:pt x="2440425" y="1656325"/>
                  </a:lnTo>
                  <a:lnTo>
                    <a:pt x="2441211" y="1654358"/>
                  </a:lnTo>
                  <a:lnTo>
                    <a:pt x="2449867" y="1651997"/>
                  </a:lnTo>
                  <a:lnTo>
                    <a:pt x="2459309" y="1672062"/>
                  </a:lnTo>
                  <a:lnTo>
                    <a:pt x="2458915" y="1675209"/>
                  </a:lnTo>
                  <a:lnTo>
                    <a:pt x="2460096" y="1675603"/>
                  </a:lnTo>
                  <a:lnTo>
                    <a:pt x="2478980" y="1696454"/>
                  </a:lnTo>
                  <a:lnTo>
                    <a:pt x="2479767" y="1699208"/>
                  </a:lnTo>
                  <a:lnTo>
                    <a:pt x="2481341" y="1702356"/>
                  </a:lnTo>
                  <a:lnTo>
                    <a:pt x="2484095" y="1703929"/>
                  </a:lnTo>
                  <a:lnTo>
                    <a:pt x="2487242" y="1703929"/>
                  </a:lnTo>
                  <a:lnTo>
                    <a:pt x="2487242" y="1704323"/>
                  </a:lnTo>
                  <a:lnTo>
                    <a:pt x="2485275" y="1705897"/>
                  </a:lnTo>
                  <a:lnTo>
                    <a:pt x="2488029" y="1708257"/>
                  </a:lnTo>
                  <a:lnTo>
                    <a:pt x="2488422" y="1709831"/>
                  </a:lnTo>
                  <a:lnTo>
                    <a:pt x="2491570" y="1708651"/>
                  </a:lnTo>
                  <a:lnTo>
                    <a:pt x="2491570" y="1709044"/>
                  </a:lnTo>
                  <a:lnTo>
                    <a:pt x="2491570" y="1713372"/>
                  </a:lnTo>
                  <a:lnTo>
                    <a:pt x="2494717" y="1712191"/>
                  </a:lnTo>
                  <a:lnTo>
                    <a:pt x="2497471" y="1712585"/>
                  </a:lnTo>
                  <a:lnTo>
                    <a:pt x="2497471" y="1709437"/>
                  </a:lnTo>
                  <a:lnTo>
                    <a:pt x="2497865" y="1709831"/>
                  </a:lnTo>
                  <a:lnTo>
                    <a:pt x="2498258" y="1709831"/>
                  </a:lnTo>
                  <a:lnTo>
                    <a:pt x="2500225" y="1712191"/>
                  </a:lnTo>
                  <a:lnTo>
                    <a:pt x="2502979" y="1714159"/>
                  </a:lnTo>
                  <a:lnTo>
                    <a:pt x="2503373" y="1711405"/>
                  </a:lnTo>
                  <a:lnTo>
                    <a:pt x="2502192" y="1708651"/>
                  </a:lnTo>
                  <a:lnTo>
                    <a:pt x="2502586" y="1708651"/>
                  </a:lnTo>
                  <a:lnTo>
                    <a:pt x="2502979" y="1709044"/>
                  </a:lnTo>
                  <a:lnTo>
                    <a:pt x="2504159" y="1711798"/>
                  </a:lnTo>
                  <a:lnTo>
                    <a:pt x="2506914" y="1714552"/>
                  </a:lnTo>
                  <a:lnTo>
                    <a:pt x="2507307" y="1713372"/>
                  </a:lnTo>
                  <a:lnTo>
                    <a:pt x="2508487" y="1714552"/>
                  </a:lnTo>
                  <a:lnTo>
                    <a:pt x="2509274" y="1717699"/>
                  </a:lnTo>
                  <a:lnTo>
                    <a:pt x="2508094" y="1720453"/>
                  </a:lnTo>
                  <a:lnTo>
                    <a:pt x="2510848" y="1720847"/>
                  </a:lnTo>
                  <a:lnTo>
                    <a:pt x="2513602" y="1718880"/>
                  </a:lnTo>
                  <a:lnTo>
                    <a:pt x="2515962" y="1715732"/>
                  </a:lnTo>
                  <a:lnTo>
                    <a:pt x="2518717" y="1714552"/>
                  </a:lnTo>
                  <a:lnTo>
                    <a:pt x="2521864" y="1712191"/>
                  </a:lnTo>
                  <a:lnTo>
                    <a:pt x="2522651" y="1711798"/>
                  </a:lnTo>
                  <a:lnTo>
                    <a:pt x="2525011" y="1711405"/>
                  </a:lnTo>
                  <a:lnTo>
                    <a:pt x="2523831" y="1712191"/>
                  </a:lnTo>
                  <a:lnTo>
                    <a:pt x="2521077" y="1714552"/>
                  </a:lnTo>
                  <a:lnTo>
                    <a:pt x="2518323" y="1716913"/>
                  </a:lnTo>
                  <a:lnTo>
                    <a:pt x="2515176" y="1718486"/>
                  </a:lnTo>
                  <a:lnTo>
                    <a:pt x="2515962" y="1721240"/>
                  </a:lnTo>
                  <a:lnTo>
                    <a:pt x="2515962" y="1724388"/>
                  </a:lnTo>
                  <a:lnTo>
                    <a:pt x="2518717" y="1727142"/>
                  </a:lnTo>
                  <a:lnTo>
                    <a:pt x="2521864" y="1728322"/>
                  </a:lnTo>
                  <a:lnTo>
                    <a:pt x="2522257" y="1731469"/>
                  </a:lnTo>
                  <a:lnTo>
                    <a:pt x="2521864" y="1731863"/>
                  </a:lnTo>
                  <a:lnTo>
                    <a:pt x="2524224" y="1734617"/>
                  </a:lnTo>
                  <a:lnTo>
                    <a:pt x="2527372" y="1736977"/>
                  </a:lnTo>
                  <a:lnTo>
                    <a:pt x="2530125" y="1738551"/>
                  </a:lnTo>
                  <a:lnTo>
                    <a:pt x="2532880" y="1740125"/>
                  </a:lnTo>
                  <a:lnTo>
                    <a:pt x="2536027" y="1741698"/>
                  </a:lnTo>
                  <a:lnTo>
                    <a:pt x="2538781" y="1744059"/>
                  </a:lnTo>
                  <a:lnTo>
                    <a:pt x="2541535" y="1745239"/>
                  </a:lnTo>
                  <a:lnTo>
                    <a:pt x="2544289" y="1745633"/>
                  </a:lnTo>
                  <a:lnTo>
                    <a:pt x="2547436" y="1746419"/>
                  </a:lnTo>
                  <a:lnTo>
                    <a:pt x="2550191" y="1747206"/>
                  </a:lnTo>
                  <a:lnTo>
                    <a:pt x="2553338" y="1747600"/>
                  </a:lnTo>
                  <a:lnTo>
                    <a:pt x="2556092" y="1747993"/>
                  </a:lnTo>
                  <a:lnTo>
                    <a:pt x="2558059" y="1745239"/>
                  </a:lnTo>
                  <a:lnTo>
                    <a:pt x="2560813" y="1744059"/>
                  </a:lnTo>
                  <a:lnTo>
                    <a:pt x="2563961" y="1742879"/>
                  </a:lnTo>
                  <a:lnTo>
                    <a:pt x="2566714" y="1742485"/>
                  </a:lnTo>
                  <a:lnTo>
                    <a:pt x="2569862" y="1740912"/>
                  </a:lnTo>
                  <a:lnTo>
                    <a:pt x="2572616" y="1741305"/>
                  </a:lnTo>
                  <a:lnTo>
                    <a:pt x="2575370" y="1740912"/>
                  </a:lnTo>
                  <a:lnTo>
                    <a:pt x="2574976" y="1738157"/>
                  </a:lnTo>
                  <a:lnTo>
                    <a:pt x="2576943" y="1735010"/>
                  </a:lnTo>
                  <a:lnTo>
                    <a:pt x="2578517" y="1739338"/>
                  </a:lnTo>
                  <a:lnTo>
                    <a:pt x="2576157" y="1740912"/>
                  </a:lnTo>
                  <a:lnTo>
                    <a:pt x="2574190" y="1743666"/>
                  </a:lnTo>
                  <a:lnTo>
                    <a:pt x="2573796" y="1744846"/>
                  </a:lnTo>
                  <a:lnTo>
                    <a:pt x="2564747" y="1755468"/>
                  </a:lnTo>
                  <a:lnTo>
                    <a:pt x="2537994" y="1758222"/>
                  </a:lnTo>
                  <a:lnTo>
                    <a:pt x="2537994" y="1757829"/>
                  </a:lnTo>
                  <a:lnTo>
                    <a:pt x="2535240" y="1759796"/>
                  </a:lnTo>
                  <a:lnTo>
                    <a:pt x="2534454" y="1762943"/>
                  </a:lnTo>
                  <a:lnTo>
                    <a:pt x="2535634" y="1765697"/>
                  </a:lnTo>
                  <a:lnTo>
                    <a:pt x="2538388" y="1768451"/>
                  </a:lnTo>
                  <a:lnTo>
                    <a:pt x="2540748" y="1771599"/>
                  </a:lnTo>
                  <a:lnTo>
                    <a:pt x="2543502" y="1774353"/>
                  </a:lnTo>
                  <a:lnTo>
                    <a:pt x="2546650" y="1776713"/>
                  </a:lnTo>
                  <a:lnTo>
                    <a:pt x="2549403" y="1777500"/>
                  </a:lnTo>
                  <a:lnTo>
                    <a:pt x="2550584" y="1780254"/>
                  </a:lnTo>
                  <a:lnTo>
                    <a:pt x="2553338" y="1783008"/>
                  </a:lnTo>
                  <a:lnTo>
                    <a:pt x="2556485" y="1785369"/>
                  </a:lnTo>
                  <a:lnTo>
                    <a:pt x="2556879" y="1785369"/>
                  </a:lnTo>
                  <a:lnTo>
                    <a:pt x="2557665" y="1786156"/>
                  </a:lnTo>
                  <a:lnTo>
                    <a:pt x="2560420" y="1788910"/>
                  </a:lnTo>
                  <a:lnTo>
                    <a:pt x="2563173" y="1790877"/>
                  </a:lnTo>
                  <a:lnTo>
                    <a:pt x="2564747" y="1794024"/>
                  </a:lnTo>
                  <a:lnTo>
                    <a:pt x="2567108" y="1796778"/>
                  </a:lnTo>
                  <a:lnTo>
                    <a:pt x="2569862" y="1799532"/>
                  </a:lnTo>
                  <a:lnTo>
                    <a:pt x="2570255" y="1799925"/>
                  </a:lnTo>
                  <a:lnTo>
                    <a:pt x="2573009" y="1802286"/>
                  </a:lnTo>
                  <a:lnTo>
                    <a:pt x="2576157" y="1804647"/>
                  </a:lnTo>
                  <a:lnTo>
                    <a:pt x="2578910" y="1807007"/>
                  </a:lnTo>
                  <a:lnTo>
                    <a:pt x="2581665" y="1808974"/>
                  </a:lnTo>
                  <a:lnTo>
                    <a:pt x="2583238" y="1810155"/>
                  </a:lnTo>
                  <a:lnTo>
                    <a:pt x="2585992" y="1812122"/>
                  </a:lnTo>
                  <a:lnTo>
                    <a:pt x="2589139" y="1813695"/>
                  </a:lnTo>
                  <a:lnTo>
                    <a:pt x="2591894" y="1814876"/>
                  </a:lnTo>
                  <a:lnTo>
                    <a:pt x="2594648" y="1816056"/>
                  </a:lnTo>
                  <a:lnTo>
                    <a:pt x="2597795" y="1816056"/>
                  </a:lnTo>
                  <a:lnTo>
                    <a:pt x="2600549" y="1815269"/>
                  </a:lnTo>
                  <a:lnTo>
                    <a:pt x="2603303" y="1814482"/>
                  </a:lnTo>
                  <a:lnTo>
                    <a:pt x="2606057" y="1812908"/>
                  </a:lnTo>
                  <a:lnTo>
                    <a:pt x="2608811" y="1811335"/>
                  </a:lnTo>
                  <a:lnTo>
                    <a:pt x="2611565" y="1810548"/>
                  </a:lnTo>
                  <a:lnTo>
                    <a:pt x="2614712" y="1807794"/>
                  </a:lnTo>
                  <a:lnTo>
                    <a:pt x="2617466" y="1807007"/>
                  </a:lnTo>
                  <a:lnTo>
                    <a:pt x="2622975" y="1803466"/>
                  </a:lnTo>
                  <a:lnTo>
                    <a:pt x="2626122" y="1801893"/>
                  </a:lnTo>
                  <a:lnTo>
                    <a:pt x="2628482" y="1801106"/>
                  </a:lnTo>
                  <a:lnTo>
                    <a:pt x="2630843" y="1798352"/>
                  </a:lnTo>
                  <a:lnTo>
                    <a:pt x="2631236" y="1795598"/>
                  </a:lnTo>
                  <a:lnTo>
                    <a:pt x="2631630" y="1794811"/>
                  </a:lnTo>
                  <a:lnTo>
                    <a:pt x="2633597" y="1792057"/>
                  </a:lnTo>
                  <a:lnTo>
                    <a:pt x="2634777" y="1789303"/>
                  </a:lnTo>
                  <a:lnTo>
                    <a:pt x="2635171" y="1786549"/>
                  </a:lnTo>
                  <a:lnTo>
                    <a:pt x="2634777" y="1783402"/>
                  </a:lnTo>
                  <a:lnTo>
                    <a:pt x="2632023" y="1781041"/>
                  </a:lnTo>
                  <a:lnTo>
                    <a:pt x="2631236" y="1780648"/>
                  </a:lnTo>
                  <a:lnTo>
                    <a:pt x="2631236" y="1772386"/>
                  </a:lnTo>
                  <a:lnTo>
                    <a:pt x="2631630" y="1772386"/>
                  </a:lnTo>
                  <a:lnTo>
                    <a:pt x="2634384" y="1770812"/>
                  </a:lnTo>
                  <a:lnTo>
                    <a:pt x="2634777" y="1768058"/>
                  </a:lnTo>
                  <a:lnTo>
                    <a:pt x="2633990" y="1764911"/>
                  </a:lnTo>
                  <a:lnTo>
                    <a:pt x="2631236" y="1763730"/>
                  </a:lnTo>
                  <a:lnTo>
                    <a:pt x="2632810" y="1762550"/>
                  </a:lnTo>
                  <a:lnTo>
                    <a:pt x="2634777" y="1762943"/>
                  </a:lnTo>
                  <a:lnTo>
                    <a:pt x="2635957" y="1760189"/>
                  </a:lnTo>
                  <a:lnTo>
                    <a:pt x="2643039" y="1779074"/>
                  </a:lnTo>
                  <a:lnTo>
                    <a:pt x="2643039" y="1780648"/>
                  </a:lnTo>
                  <a:lnTo>
                    <a:pt x="2644613" y="1783402"/>
                  </a:lnTo>
                  <a:lnTo>
                    <a:pt x="2647367" y="1783795"/>
                  </a:lnTo>
                  <a:lnTo>
                    <a:pt x="2648941" y="1784188"/>
                  </a:lnTo>
                  <a:lnTo>
                    <a:pt x="2650514" y="1784188"/>
                  </a:lnTo>
                  <a:lnTo>
                    <a:pt x="2653268" y="1783795"/>
                  </a:lnTo>
                  <a:lnTo>
                    <a:pt x="2656416" y="1783008"/>
                  </a:lnTo>
                  <a:lnTo>
                    <a:pt x="2656809" y="1783008"/>
                  </a:lnTo>
                  <a:lnTo>
                    <a:pt x="2657202" y="1782615"/>
                  </a:lnTo>
                  <a:lnTo>
                    <a:pt x="2659956" y="1781041"/>
                  </a:lnTo>
                  <a:lnTo>
                    <a:pt x="2659956" y="1781434"/>
                  </a:lnTo>
                  <a:lnTo>
                    <a:pt x="2656416" y="1783402"/>
                  </a:lnTo>
                  <a:lnTo>
                    <a:pt x="2656022" y="1783402"/>
                  </a:lnTo>
                  <a:lnTo>
                    <a:pt x="2655235" y="1783795"/>
                  </a:lnTo>
                  <a:lnTo>
                    <a:pt x="2652482" y="1785369"/>
                  </a:lnTo>
                  <a:lnTo>
                    <a:pt x="2649727" y="1787729"/>
                  </a:lnTo>
                  <a:lnTo>
                    <a:pt x="2646580" y="1789303"/>
                  </a:lnTo>
                  <a:lnTo>
                    <a:pt x="2647760" y="1792450"/>
                  </a:lnTo>
                  <a:lnTo>
                    <a:pt x="2645006" y="1795204"/>
                  </a:lnTo>
                  <a:lnTo>
                    <a:pt x="2646973" y="1797958"/>
                  </a:lnTo>
                  <a:lnTo>
                    <a:pt x="2648547" y="1800712"/>
                  </a:lnTo>
                  <a:lnTo>
                    <a:pt x="2646973" y="1803860"/>
                  </a:lnTo>
                  <a:lnTo>
                    <a:pt x="2649727" y="1801499"/>
                  </a:lnTo>
                  <a:lnTo>
                    <a:pt x="2648941" y="1803860"/>
                  </a:lnTo>
                  <a:lnTo>
                    <a:pt x="2654449" y="1827465"/>
                  </a:lnTo>
                  <a:lnTo>
                    <a:pt x="2652875" y="1829826"/>
                  </a:lnTo>
                  <a:lnTo>
                    <a:pt x="2652482" y="1837301"/>
                  </a:lnTo>
                  <a:lnTo>
                    <a:pt x="2652482" y="1839662"/>
                  </a:lnTo>
                  <a:lnTo>
                    <a:pt x="2651694" y="1842809"/>
                  </a:lnTo>
                  <a:lnTo>
                    <a:pt x="2651694" y="1845563"/>
                  </a:lnTo>
                  <a:lnTo>
                    <a:pt x="2653661" y="1848317"/>
                  </a:lnTo>
                  <a:lnTo>
                    <a:pt x="2653661" y="1851071"/>
                  </a:lnTo>
                  <a:lnTo>
                    <a:pt x="2655235" y="1853825"/>
                  </a:lnTo>
                  <a:lnTo>
                    <a:pt x="2658383" y="1855399"/>
                  </a:lnTo>
                  <a:lnTo>
                    <a:pt x="2657989" y="1856185"/>
                  </a:lnTo>
                  <a:lnTo>
                    <a:pt x="2657596" y="1856579"/>
                  </a:lnTo>
                  <a:lnTo>
                    <a:pt x="2656022" y="1859333"/>
                  </a:lnTo>
                  <a:lnTo>
                    <a:pt x="2658776" y="1861693"/>
                  </a:lnTo>
                  <a:lnTo>
                    <a:pt x="2660350" y="1862874"/>
                  </a:lnTo>
                  <a:lnTo>
                    <a:pt x="2661137" y="1863267"/>
                  </a:lnTo>
                  <a:lnTo>
                    <a:pt x="2663890" y="1864054"/>
                  </a:lnTo>
                  <a:lnTo>
                    <a:pt x="2665071" y="1866021"/>
                  </a:lnTo>
                  <a:lnTo>
                    <a:pt x="2663497" y="1864841"/>
                  </a:lnTo>
                  <a:lnTo>
                    <a:pt x="2663104" y="1864054"/>
                  </a:lnTo>
                  <a:lnTo>
                    <a:pt x="2660350" y="1863661"/>
                  </a:lnTo>
                  <a:lnTo>
                    <a:pt x="2658776" y="1862874"/>
                  </a:lnTo>
                  <a:lnTo>
                    <a:pt x="2658383" y="1863267"/>
                  </a:lnTo>
                  <a:lnTo>
                    <a:pt x="2658383" y="1868775"/>
                  </a:lnTo>
                  <a:lnTo>
                    <a:pt x="2658776" y="1871529"/>
                  </a:lnTo>
                  <a:lnTo>
                    <a:pt x="2660350" y="1874283"/>
                  </a:lnTo>
                  <a:lnTo>
                    <a:pt x="2662710" y="1871529"/>
                  </a:lnTo>
                  <a:lnTo>
                    <a:pt x="2664284" y="1871136"/>
                  </a:lnTo>
                  <a:lnTo>
                    <a:pt x="2663104" y="1875857"/>
                  </a:lnTo>
                  <a:lnTo>
                    <a:pt x="2662317" y="1876644"/>
                  </a:lnTo>
                  <a:lnTo>
                    <a:pt x="2662710" y="1877431"/>
                  </a:lnTo>
                  <a:lnTo>
                    <a:pt x="2661923" y="1880578"/>
                  </a:lnTo>
                  <a:lnTo>
                    <a:pt x="2661530" y="1883332"/>
                  </a:lnTo>
                  <a:lnTo>
                    <a:pt x="2662710" y="1886479"/>
                  </a:lnTo>
                  <a:lnTo>
                    <a:pt x="2663890" y="1888053"/>
                  </a:lnTo>
                  <a:lnTo>
                    <a:pt x="2664678" y="1891987"/>
                  </a:lnTo>
                  <a:lnTo>
                    <a:pt x="2663104" y="1891594"/>
                  </a:lnTo>
                  <a:lnTo>
                    <a:pt x="2663497" y="1894348"/>
                  </a:lnTo>
                  <a:lnTo>
                    <a:pt x="2666251" y="1897889"/>
                  </a:lnTo>
                  <a:lnTo>
                    <a:pt x="2666645" y="1899856"/>
                  </a:lnTo>
                  <a:lnTo>
                    <a:pt x="2664678" y="1899462"/>
                  </a:lnTo>
                  <a:lnTo>
                    <a:pt x="2666251" y="1902610"/>
                  </a:lnTo>
                  <a:lnTo>
                    <a:pt x="2667825" y="1908118"/>
                  </a:lnTo>
                  <a:lnTo>
                    <a:pt x="2669005" y="1910872"/>
                  </a:lnTo>
                  <a:lnTo>
                    <a:pt x="2670186" y="1913232"/>
                  </a:lnTo>
                  <a:lnTo>
                    <a:pt x="2674120" y="1928576"/>
                  </a:lnTo>
                  <a:lnTo>
                    <a:pt x="2679234" y="1943133"/>
                  </a:lnTo>
                  <a:lnTo>
                    <a:pt x="2679234" y="1947067"/>
                  </a:lnTo>
                  <a:lnTo>
                    <a:pt x="2679628" y="1950214"/>
                  </a:lnTo>
                  <a:lnTo>
                    <a:pt x="2680808" y="1952968"/>
                  </a:lnTo>
                  <a:lnTo>
                    <a:pt x="2681201" y="1956116"/>
                  </a:lnTo>
                  <a:lnTo>
                    <a:pt x="2681595" y="1958870"/>
                  </a:lnTo>
                  <a:lnTo>
                    <a:pt x="2682775" y="1961624"/>
                  </a:lnTo>
                  <a:lnTo>
                    <a:pt x="2683956" y="1964771"/>
                  </a:lnTo>
                  <a:lnTo>
                    <a:pt x="2684742" y="1967525"/>
                  </a:lnTo>
                  <a:lnTo>
                    <a:pt x="2686709" y="1970279"/>
                  </a:lnTo>
                  <a:lnTo>
                    <a:pt x="2687103" y="1973033"/>
                  </a:lnTo>
                  <a:lnTo>
                    <a:pt x="2688283" y="1975787"/>
                  </a:lnTo>
                  <a:lnTo>
                    <a:pt x="2691037" y="1978541"/>
                  </a:lnTo>
                  <a:lnTo>
                    <a:pt x="2693004" y="1981295"/>
                  </a:lnTo>
                  <a:lnTo>
                    <a:pt x="2694971" y="1984836"/>
                  </a:lnTo>
                  <a:lnTo>
                    <a:pt x="2695365" y="1986803"/>
                  </a:lnTo>
                  <a:lnTo>
                    <a:pt x="2696545" y="1987196"/>
                  </a:lnTo>
                  <a:lnTo>
                    <a:pt x="2697726" y="1988770"/>
                  </a:lnTo>
                  <a:lnTo>
                    <a:pt x="2696938" y="1990344"/>
                  </a:lnTo>
                  <a:lnTo>
                    <a:pt x="2699693" y="1991917"/>
                  </a:lnTo>
                  <a:lnTo>
                    <a:pt x="2699693" y="1992311"/>
                  </a:lnTo>
                  <a:lnTo>
                    <a:pt x="2699299" y="1993885"/>
                  </a:lnTo>
                  <a:lnTo>
                    <a:pt x="2700479" y="1994672"/>
                  </a:lnTo>
                  <a:lnTo>
                    <a:pt x="2700873" y="1995852"/>
                  </a:lnTo>
                  <a:lnTo>
                    <a:pt x="2698906" y="1996245"/>
                  </a:lnTo>
                  <a:lnTo>
                    <a:pt x="2701660" y="1998212"/>
                  </a:lnTo>
                  <a:lnTo>
                    <a:pt x="2702446" y="2000966"/>
                  </a:lnTo>
                  <a:lnTo>
                    <a:pt x="2704020" y="2004114"/>
                  </a:lnTo>
                  <a:lnTo>
                    <a:pt x="2704414" y="2006868"/>
                  </a:lnTo>
                  <a:lnTo>
                    <a:pt x="2707167" y="2009622"/>
                  </a:lnTo>
                  <a:lnTo>
                    <a:pt x="2708741" y="2012769"/>
                  </a:lnTo>
                  <a:lnTo>
                    <a:pt x="2710315" y="2013949"/>
                  </a:lnTo>
                  <a:lnTo>
                    <a:pt x="2710315" y="2014343"/>
                  </a:lnTo>
                  <a:lnTo>
                    <a:pt x="2709528" y="2015917"/>
                  </a:lnTo>
                  <a:lnTo>
                    <a:pt x="2712282" y="2018277"/>
                  </a:lnTo>
                  <a:lnTo>
                    <a:pt x="2720937" y="2033227"/>
                  </a:lnTo>
                  <a:lnTo>
                    <a:pt x="2723298" y="2034407"/>
                  </a:lnTo>
                  <a:lnTo>
                    <a:pt x="2721331" y="2034014"/>
                  </a:lnTo>
                  <a:lnTo>
                    <a:pt x="2720937" y="2033621"/>
                  </a:lnTo>
                  <a:lnTo>
                    <a:pt x="2722511" y="2036375"/>
                  </a:lnTo>
                  <a:lnTo>
                    <a:pt x="2722904" y="2039522"/>
                  </a:lnTo>
                  <a:lnTo>
                    <a:pt x="2723692" y="2042276"/>
                  </a:lnTo>
                  <a:lnTo>
                    <a:pt x="2725659" y="2044637"/>
                  </a:lnTo>
                  <a:lnTo>
                    <a:pt x="2729200" y="2054079"/>
                  </a:lnTo>
                  <a:lnTo>
                    <a:pt x="2729593" y="2054472"/>
                  </a:lnTo>
                  <a:lnTo>
                    <a:pt x="2729593" y="2056046"/>
                  </a:lnTo>
                  <a:lnTo>
                    <a:pt x="2729986" y="2059194"/>
                  </a:lnTo>
                  <a:lnTo>
                    <a:pt x="2730380" y="2061947"/>
                  </a:lnTo>
                  <a:lnTo>
                    <a:pt x="2729986" y="2061161"/>
                  </a:lnTo>
                  <a:lnTo>
                    <a:pt x="2730773" y="2063914"/>
                  </a:lnTo>
                  <a:lnTo>
                    <a:pt x="2731560" y="2066668"/>
                  </a:lnTo>
                  <a:lnTo>
                    <a:pt x="2732347" y="2069816"/>
                  </a:lnTo>
                  <a:lnTo>
                    <a:pt x="2733134" y="2072570"/>
                  </a:lnTo>
                  <a:lnTo>
                    <a:pt x="2733527" y="2075324"/>
                  </a:lnTo>
                  <a:lnTo>
                    <a:pt x="2734707" y="2078078"/>
                  </a:lnTo>
                  <a:lnTo>
                    <a:pt x="2736281" y="2081225"/>
                  </a:lnTo>
                  <a:lnTo>
                    <a:pt x="2736674" y="2082012"/>
                  </a:lnTo>
                  <a:lnTo>
                    <a:pt x="2736281" y="2081619"/>
                  </a:lnTo>
                  <a:lnTo>
                    <a:pt x="2736674" y="2083586"/>
                  </a:lnTo>
                  <a:lnTo>
                    <a:pt x="2737462" y="2085553"/>
                  </a:lnTo>
                  <a:lnTo>
                    <a:pt x="2738642" y="2088700"/>
                  </a:lnTo>
                  <a:lnTo>
                    <a:pt x="2741396" y="2094208"/>
                  </a:lnTo>
                  <a:lnTo>
                    <a:pt x="2743363" y="2097356"/>
                  </a:lnTo>
                  <a:lnTo>
                    <a:pt x="2744543" y="2100110"/>
                  </a:lnTo>
                  <a:lnTo>
                    <a:pt x="2746117" y="2102864"/>
                  </a:lnTo>
                  <a:lnTo>
                    <a:pt x="2747297" y="2106011"/>
                  </a:lnTo>
                  <a:lnTo>
                    <a:pt x="2750051" y="2108765"/>
                  </a:lnTo>
                  <a:lnTo>
                    <a:pt x="2750444" y="2109159"/>
                  </a:lnTo>
                  <a:lnTo>
                    <a:pt x="2752018" y="2111519"/>
                  </a:lnTo>
                  <a:lnTo>
                    <a:pt x="2752411" y="2111519"/>
                  </a:lnTo>
                  <a:lnTo>
                    <a:pt x="2752805" y="2111913"/>
                  </a:lnTo>
                  <a:lnTo>
                    <a:pt x="2752018" y="2111913"/>
                  </a:lnTo>
                  <a:lnTo>
                    <a:pt x="2752018" y="2113486"/>
                  </a:lnTo>
                  <a:lnTo>
                    <a:pt x="2754772" y="2116240"/>
                  </a:lnTo>
                  <a:lnTo>
                    <a:pt x="2755952" y="2117814"/>
                  </a:lnTo>
                  <a:lnTo>
                    <a:pt x="2759100" y="2122142"/>
                  </a:lnTo>
                  <a:lnTo>
                    <a:pt x="2759493" y="2123715"/>
                  </a:lnTo>
                  <a:lnTo>
                    <a:pt x="2759887" y="2125289"/>
                  </a:lnTo>
                  <a:lnTo>
                    <a:pt x="2761067" y="2128043"/>
                  </a:lnTo>
                  <a:lnTo>
                    <a:pt x="2761854" y="2128830"/>
                  </a:lnTo>
                  <a:lnTo>
                    <a:pt x="2770116" y="2146928"/>
                  </a:lnTo>
                  <a:lnTo>
                    <a:pt x="2770509" y="2148501"/>
                  </a:lnTo>
                  <a:lnTo>
                    <a:pt x="2772083" y="2151649"/>
                  </a:lnTo>
                  <a:lnTo>
                    <a:pt x="2772477" y="2154403"/>
                  </a:lnTo>
                  <a:lnTo>
                    <a:pt x="2774050" y="2157157"/>
                  </a:lnTo>
                  <a:lnTo>
                    <a:pt x="2775624" y="2160304"/>
                  </a:lnTo>
                  <a:lnTo>
                    <a:pt x="2776411" y="2163058"/>
                  </a:lnTo>
                  <a:lnTo>
                    <a:pt x="2777984" y="2165812"/>
                  </a:lnTo>
                  <a:lnTo>
                    <a:pt x="2778771" y="2168566"/>
                  </a:lnTo>
                  <a:lnTo>
                    <a:pt x="2781132" y="2171320"/>
                  </a:lnTo>
                  <a:lnTo>
                    <a:pt x="2779951" y="2171713"/>
                  </a:lnTo>
                  <a:lnTo>
                    <a:pt x="2780345" y="2174861"/>
                  </a:lnTo>
                  <a:lnTo>
                    <a:pt x="2781918" y="2177615"/>
                  </a:lnTo>
                  <a:lnTo>
                    <a:pt x="2782312" y="2177615"/>
                  </a:lnTo>
                  <a:lnTo>
                    <a:pt x="2783492" y="2177615"/>
                  </a:lnTo>
                  <a:lnTo>
                    <a:pt x="2783886" y="2178402"/>
                  </a:lnTo>
                  <a:lnTo>
                    <a:pt x="2783886" y="2178795"/>
                  </a:lnTo>
                  <a:lnTo>
                    <a:pt x="2784673" y="2181549"/>
                  </a:lnTo>
                  <a:lnTo>
                    <a:pt x="2784279" y="2180762"/>
                  </a:lnTo>
                  <a:lnTo>
                    <a:pt x="2783492" y="2179189"/>
                  </a:lnTo>
                  <a:lnTo>
                    <a:pt x="2783099" y="2180369"/>
                  </a:lnTo>
                  <a:lnTo>
                    <a:pt x="2783886" y="2183516"/>
                  </a:lnTo>
                  <a:lnTo>
                    <a:pt x="2784279" y="2186270"/>
                  </a:lnTo>
                  <a:lnTo>
                    <a:pt x="2785066" y="2189024"/>
                  </a:lnTo>
                  <a:lnTo>
                    <a:pt x="2784673" y="2190204"/>
                  </a:lnTo>
                  <a:lnTo>
                    <a:pt x="2785066" y="2192959"/>
                  </a:lnTo>
                  <a:lnTo>
                    <a:pt x="2785459" y="2195712"/>
                  </a:lnTo>
                  <a:lnTo>
                    <a:pt x="2786640" y="2198860"/>
                  </a:lnTo>
                  <a:lnTo>
                    <a:pt x="2787820" y="2201614"/>
                  </a:lnTo>
                  <a:lnTo>
                    <a:pt x="2789787" y="2204368"/>
                  </a:lnTo>
                  <a:lnTo>
                    <a:pt x="2790181" y="2207515"/>
                  </a:lnTo>
                  <a:lnTo>
                    <a:pt x="2791754" y="2210269"/>
                  </a:lnTo>
                  <a:lnTo>
                    <a:pt x="2792935" y="2213023"/>
                  </a:lnTo>
                  <a:lnTo>
                    <a:pt x="2793328" y="2213417"/>
                  </a:lnTo>
                  <a:lnTo>
                    <a:pt x="2793721" y="2214990"/>
                  </a:lnTo>
                  <a:lnTo>
                    <a:pt x="2799623" y="2222072"/>
                  </a:lnTo>
                  <a:lnTo>
                    <a:pt x="2801196" y="2224433"/>
                  </a:lnTo>
                  <a:lnTo>
                    <a:pt x="2803164" y="2227186"/>
                  </a:lnTo>
                  <a:lnTo>
                    <a:pt x="2805524" y="2229940"/>
                  </a:lnTo>
                  <a:lnTo>
                    <a:pt x="2808278" y="2233088"/>
                  </a:lnTo>
                  <a:lnTo>
                    <a:pt x="2811032" y="2235449"/>
                  </a:lnTo>
                  <a:lnTo>
                    <a:pt x="2813393" y="2237809"/>
                  </a:lnTo>
                  <a:lnTo>
                    <a:pt x="2816147" y="2239776"/>
                  </a:lnTo>
                  <a:lnTo>
                    <a:pt x="2818901" y="2241350"/>
                  </a:lnTo>
                  <a:lnTo>
                    <a:pt x="2822048" y="2242530"/>
                  </a:lnTo>
                  <a:lnTo>
                    <a:pt x="2824802" y="2241350"/>
                  </a:lnTo>
                  <a:lnTo>
                    <a:pt x="2827950" y="2239776"/>
                  </a:lnTo>
                  <a:lnTo>
                    <a:pt x="2830703" y="2238989"/>
                  </a:lnTo>
                  <a:lnTo>
                    <a:pt x="2833458" y="2236629"/>
                  </a:lnTo>
                  <a:lnTo>
                    <a:pt x="2836211" y="2234268"/>
                  </a:lnTo>
                  <a:lnTo>
                    <a:pt x="2838965" y="2231514"/>
                  </a:lnTo>
                  <a:lnTo>
                    <a:pt x="2840932" y="2228367"/>
                  </a:lnTo>
                  <a:lnTo>
                    <a:pt x="2841326" y="2225613"/>
                  </a:lnTo>
                  <a:lnTo>
                    <a:pt x="2840146" y="2222466"/>
                  </a:lnTo>
                  <a:lnTo>
                    <a:pt x="2841720" y="2220105"/>
                  </a:lnTo>
                  <a:lnTo>
                    <a:pt x="2842113" y="2217351"/>
                  </a:lnTo>
                  <a:lnTo>
                    <a:pt x="2879882" y="2205942"/>
                  </a:lnTo>
                  <a:lnTo>
                    <a:pt x="2879882" y="2205548"/>
                  </a:lnTo>
                  <a:lnTo>
                    <a:pt x="2879882" y="2205548"/>
                  </a:lnTo>
                  <a:lnTo>
                    <a:pt x="2872013" y="2177221"/>
                  </a:lnTo>
                  <a:lnTo>
                    <a:pt x="2873194" y="2176041"/>
                  </a:lnTo>
                  <a:lnTo>
                    <a:pt x="2873194" y="2175648"/>
                  </a:lnTo>
                  <a:lnTo>
                    <a:pt x="2880275" y="2165419"/>
                  </a:lnTo>
                  <a:lnTo>
                    <a:pt x="2881456" y="2166992"/>
                  </a:lnTo>
                  <a:lnTo>
                    <a:pt x="2884209" y="2167779"/>
                  </a:lnTo>
                  <a:lnTo>
                    <a:pt x="2887357" y="2167386"/>
                  </a:lnTo>
                  <a:lnTo>
                    <a:pt x="2884209" y="2165812"/>
                  </a:lnTo>
                  <a:lnTo>
                    <a:pt x="2887357" y="2166205"/>
                  </a:lnTo>
                  <a:lnTo>
                    <a:pt x="2890111" y="2166599"/>
                  </a:lnTo>
                  <a:lnTo>
                    <a:pt x="2890111" y="2163452"/>
                  </a:lnTo>
                  <a:lnTo>
                    <a:pt x="2889717" y="2160698"/>
                  </a:lnTo>
                  <a:lnTo>
                    <a:pt x="2889324" y="2157943"/>
                  </a:lnTo>
                  <a:lnTo>
                    <a:pt x="2888931" y="2155189"/>
                  </a:lnTo>
                  <a:lnTo>
                    <a:pt x="2888537" y="2152435"/>
                  </a:lnTo>
                  <a:lnTo>
                    <a:pt x="2888144" y="2149288"/>
                  </a:lnTo>
                  <a:lnTo>
                    <a:pt x="2888144" y="2147321"/>
                  </a:lnTo>
                  <a:lnTo>
                    <a:pt x="2888144" y="2146141"/>
                  </a:lnTo>
                  <a:lnTo>
                    <a:pt x="2888144" y="2142600"/>
                  </a:lnTo>
                  <a:lnTo>
                    <a:pt x="2888144" y="2141420"/>
                  </a:lnTo>
                  <a:lnTo>
                    <a:pt x="2887750" y="2138666"/>
                  </a:lnTo>
                  <a:lnTo>
                    <a:pt x="2887357" y="2136698"/>
                  </a:lnTo>
                  <a:lnTo>
                    <a:pt x="2886570" y="2133945"/>
                  </a:lnTo>
                  <a:lnTo>
                    <a:pt x="2884603" y="2130797"/>
                  </a:lnTo>
                  <a:lnTo>
                    <a:pt x="2881849" y="2133158"/>
                  </a:lnTo>
                  <a:lnTo>
                    <a:pt x="2882242" y="2132764"/>
                  </a:lnTo>
                  <a:lnTo>
                    <a:pt x="2883816" y="2131191"/>
                  </a:lnTo>
                  <a:lnTo>
                    <a:pt x="2884996" y="2128437"/>
                  </a:lnTo>
                  <a:lnTo>
                    <a:pt x="2884209" y="2125682"/>
                  </a:lnTo>
                  <a:lnTo>
                    <a:pt x="2884209" y="2122535"/>
                  </a:lnTo>
                  <a:lnTo>
                    <a:pt x="2884603" y="2119781"/>
                  </a:lnTo>
                  <a:lnTo>
                    <a:pt x="2884603" y="2117421"/>
                  </a:lnTo>
                  <a:lnTo>
                    <a:pt x="2884996" y="2116240"/>
                  </a:lnTo>
                  <a:lnTo>
                    <a:pt x="2884996" y="2115847"/>
                  </a:lnTo>
                  <a:lnTo>
                    <a:pt x="2885783" y="2111519"/>
                  </a:lnTo>
                  <a:lnTo>
                    <a:pt x="2886176" y="2109945"/>
                  </a:lnTo>
                  <a:lnTo>
                    <a:pt x="2886570" y="2108372"/>
                  </a:lnTo>
                  <a:lnTo>
                    <a:pt x="2889717" y="2102470"/>
                  </a:lnTo>
                  <a:lnTo>
                    <a:pt x="2889717" y="2102077"/>
                  </a:lnTo>
                  <a:lnTo>
                    <a:pt x="2889717" y="2101290"/>
                  </a:lnTo>
                  <a:lnTo>
                    <a:pt x="2891684" y="2098536"/>
                  </a:lnTo>
                  <a:lnTo>
                    <a:pt x="2893258" y="2095782"/>
                  </a:lnTo>
                  <a:lnTo>
                    <a:pt x="2893652" y="2094208"/>
                  </a:lnTo>
                  <a:lnTo>
                    <a:pt x="2894439" y="2091454"/>
                  </a:lnTo>
                  <a:lnTo>
                    <a:pt x="2895619" y="2085946"/>
                  </a:lnTo>
                  <a:lnTo>
                    <a:pt x="2896406" y="2083192"/>
                  </a:lnTo>
                  <a:lnTo>
                    <a:pt x="2896406" y="2080045"/>
                  </a:lnTo>
                  <a:lnTo>
                    <a:pt x="2896012" y="2077291"/>
                  </a:lnTo>
                  <a:lnTo>
                    <a:pt x="2896406" y="2074537"/>
                  </a:lnTo>
                  <a:lnTo>
                    <a:pt x="2896799" y="2071783"/>
                  </a:lnTo>
                  <a:lnTo>
                    <a:pt x="2896799" y="2068636"/>
                  </a:lnTo>
                  <a:lnTo>
                    <a:pt x="2897586" y="2065882"/>
                  </a:lnTo>
                  <a:lnTo>
                    <a:pt x="2897193" y="2063128"/>
                  </a:lnTo>
                  <a:lnTo>
                    <a:pt x="2894832" y="2060374"/>
                  </a:lnTo>
                  <a:lnTo>
                    <a:pt x="2890111" y="2058800"/>
                  </a:lnTo>
                  <a:lnTo>
                    <a:pt x="2890505" y="2055259"/>
                  </a:lnTo>
                  <a:lnTo>
                    <a:pt x="2895225" y="2058800"/>
                  </a:lnTo>
                  <a:lnTo>
                    <a:pt x="2895619" y="2058407"/>
                  </a:lnTo>
                  <a:lnTo>
                    <a:pt x="2894045" y="2049751"/>
                  </a:lnTo>
                  <a:lnTo>
                    <a:pt x="2894045" y="2049751"/>
                  </a:lnTo>
                  <a:lnTo>
                    <a:pt x="2894045" y="2049751"/>
                  </a:lnTo>
                  <a:lnTo>
                    <a:pt x="2890111" y="2029687"/>
                  </a:lnTo>
                  <a:lnTo>
                    <a:pt x="2890111" y="2029293"/>
                  </a:lnTo>
                  <a:lnTo>
                    <a:pt x="2890111" y="2026146"/>
                  </a:lnTo>
                  <a:lnTo>
                    <a:pt x="2890505" y="2023392"/>
                  </a:lnTo>
                  <a:lnTo>
                    <a:pt x="2888931" y="2022998"/>
                  </a:lnTo>
                  <a:lnTo>
                    <a:pt x="2889324" y="2021031"/>
                  </a:lnTo>
                  <a:lnTo>
                    <a:pt x="2904274" y="1979721"/>
                  </a:lnTo>
                  <a:lnTo>
                    <a:pt x="2905061" y="1980508"/>
                  </a:lnTo>
                  <a:lnTo>
                    <a:pt x="2905061" y="1983656"/>
                  </a:lnTo>
                  <a:lnTo>
                    <a:pt x="2906242" y="1980508"/>
                  </a:lnTo>
                  <a:lnTo>
                    <a:pt x="2907422" y="1977754"/>
                  </a:lnTo>
                  <a:lnTo>
                    <a:pt x="2907028" y="1974607"/>
                  </a:lnTo>
                  <a:lnTo>
                    <a:pt x="2907815" y="1976967"/>
                  </a:lnTo>
                  <a:lnTo>
                    <a:pt x="2908209" y="1979721"/>
                  </a:lnTo>
                  <a:lnTo>
                    <a:pt x="2910962" y="1982082"/>
                  </a:lnTo>
                  <a:lnTo>
                    <a:pt x="2914503" y="1975394"/>
                  </a:lnTo>
                  <a:lnTo>
                    <a:pt x="2937322" y="1960837"/>
                  </a:lnTo>
                  <a:lnTo>
                    <a:pt x="2940469" y="1959263"/>
                  </a:lnTo>
                  <a:lnTo>
                    <a:pt x="2943223" y="1957689"/>
                  </a:lnTo>
                  <a:lnTo>
                    <a:pt x="2945978" y="1955329"/>
                  </a:lnTo>
                  <a:lnTo>
                    <a:pt x="2946371" y="1954149"/>
                  </a:lnTo>
                  <a:lnTo>
                    <a:pt x="2946371" y="1952968"/>
                  </a:lnTo>
                  <a:lnTo>
                    <a:pt x="2947945" y="1950214"/>
                  </a:lnTo>
                  <a:lnTo>
                    <a:pt x="2948338" y="1947067"/>
                  </a:lnTo>
                  <a:lnTo>
                    <a:pt x="2948338" y="1946673"/>
                  </a:lnTo>
                  <a:lnTo>
                    <a:pt x="2966829" y="1922675"/>
                  </a:lnTo>
                  <a:lnTo>
                    <a:pt x="2967616" y="1922281"/>
                  </a:lnTo>
                  <a:lnTo>
                    <a:pt x="2970763" y="1920707"/>
                  </a:lnTo>
                  <a:lnTo>
                    <a:pt x="2973124" y="1917953"/>
                  </a:lnTo>
                  <a:lnTo>
                    <a:pt x="2971550" y="1917166"/>
                  </a:lnTo>
                  <a:lnTo>
                    <a:pt x="2972337" y="1916773"/>
                  </a:lnTo>
                  <a:lnTo>
                    <a:pt x="2975485" y="1914806"/>
                  </a:lnTo>
                  <a:lnTo>
                    <a:pt x="2976271" y="1912445"/>
                  </a:lnTo>
                  <a:lnTo>
                    <a:pt x="2985714" y="1901823"/>
                  </a:lnTo>
                  <a:lnTo>
                    <a:pt x="2988861" y="1900249"/>
                  </a:lnTo>
                  <a:lnTo>
                    <a:pt x="2991615" y="1898675"/>
                  </a:lnTo>
                  <a:lnTo>
                    <a:pt x="2994369" y="1897102"/>
                  </a:lnTo>
                  <a:lnTo>
                    <a:pt x="2995549" y="1894741"/>
                  </a:lnTo>
                  <a:lnTo>
                    <a:pt x="2997516" y="1891987"/>
                  </a:lnTo>
                  <a:lnTo>
                    <a:pt x="2999483" y="1889233"/>
                  </a:lnTo>
                  <a:lnTo>
                    <a:pt x="3001844" y="1886479"/>
                  </a:lnTo>
                  <a:lnTo>
                    <a:pt x="3003811" y="1883332"/>
                  </a:lnTo>
                  <a:lnTo>
                    <a:pt x="3005778" y="1880578"/>
                  </a:lnTo>
                  <a:lnTo>
                    <a:pt x="3007352" y="1877824"/>
                  </a:lnTo>
                  <a:lnTo>
                    <a:pt x="3010893" y="1872316"/>
                  </a:lnTo>
                  <a:lnTo>
                    <a:pt x="3012467" y="1869562"/>
                  </a:lnTo>
                  <a:lnTo>
                    <a:pt x="3012467" y="1868775"/>
                  </a:lnTo>
                  <a:lnTo>
                    <a:pt x="3027023" y="1853038"/>
                  </a:lnTo>
                  <a:lnTo>
                    <a:pt x="3027417" y="1852645"/>
                  </a:lnTo>
                  <a:lnTo>
                    <a:pt x="3027023" y="1853038"/>
                  </a:lnTo>
                  <a:lnTo>
                    <a:pt x="3026237" y="1851464"/>
                  </a:lnTo>
                  <a:lnTo>
                    <a:pt x="3028204" y="1851071"/>
                  </a:lnTo>
                  <a:lnTo>
                    <a:pt x="3027810" y="1849891"/>
                  </a:lnTo>
                  <a:lnTo>
                    <a:pt x="3031744" y="1848317"/>
                  </a:lnTo>
                  <a:lnTo>
                    <a:pt x="3030171" y="1849497"/>
                  </a:lnTo>
                  <a:lnTo>
                    <a:pt x="3032925" y="1849104"/>
                  </a:lnTo>
                  <a:lnTo>
                    <a:pt x="3035678" y="1847924"/>
                  </a:lnTo>
                  <a:lnTo>
                    <a:pt x="3038826" y="1846350"/>
                  </a:lnTo>
                  <a:lnTo>
                    <a:pt x="3041580" y="1845563"/>
                  </a:lnTo>
                  <a:lnTo>
                    <a:pt x="3044727" y="1844383"/>
                  </a:lnTo>
                  <a:lnTo>
                    <a:pt x="3047481" y="1843989"/>
                  </a:lnTo>
                  <a:lnTo>
                    <a:pt x="3050629" y="1842809"/>
                  </a:lnTo>
                  <a:lnTo>
                    <a:pt x="3053383" y="1841235"/>
                  </a:lnTo>
                  <a:lnTo>
                    <a:pt x="3056137" y="1839662"/>
                  </a:lnTo>
                  <a:lnTo>
                    <a:pt x="3053776" y="1838088"/>
                  </a:lnTo>
                  <a:lnTo>
                    <a:pt x="3049055" y="1833367"/>
                  </a:lnTo>
                  <a:lnTo>
                    <a:pt x="3051809" y="1836121"/>
                  </a:lnTo>
                  <a:lnTo>
                    <a:pt x="3054170" y="1837301"/>
                  </a:lnTo>
                  <a:lnTo>
                    <a:pt x="3055350" y="1838088"/>
                  </a:lnTo>
                  <a:lnTo>
                    <a:pt x="3056530" y="1838088"/>
                  </a:lnTo>
                  <a:lnTo>
                    <a:pt x="3062825" y="1829826"/>
                  </a:lnTo>
                  <a:lnTo>
                    <a:pt x="3064399" y="1829039"/>
                  </a:lnTo>
                  <a:lnTo>
                    <a:pt x="3064399" y="1831400"/>
                  </a:lnTo>
                  <a:lnTo>
                    <a:pt x="3067153" y="1828646"/>
                  </a:lnTo>
                  <a:lnTo>
                    <a:pt x="3066366" y="1827859"/>
                  </a:lnTo>
                  <a:lnTo>
                    <a:pt x="3071087" y="1819597"/>
                  </a:lnTo>
                  <a:lnTo>
                    <a:pt x="3069514" y="1818023"/>
                  </a:lnTo>
                  <a:lnTo>
                    <a:pt x="3067546" y="1815663"/>
                  </a:lnTo>
                  <a:lnTo>
                    <a:pt x="3069120" y="1812908"/>
                  </a:lnTo>
                  <a:lnTo>
                    <a:pt x="3068726" y="1812515"/>
                  </a:lnTo>
                  <a:lnTo>
                    <a:pt x="3078169" y="1789303"/>
                  </a:lnTo>
                  <a:lnTo>
                    <a:pt x="3081710" y="1787336"/>
                  </a:lnTo>
                  <a:lnTo>
                    <a:pt x="3084463" y="1786942"/>
                  </a:lnTo>
                  <a:lnTo>
                    <a:pt x="3087218" y="1786549"/>
                  </a:lnTo>
                  <a:lnTo>
                    <a:pt x="3089972" y="1784975"/>
                  </a:lnTo>
                  <a:lnTo>
                    <a:pt x="3092725" y="1782221"/>
                  </a:lnTo>
                  <a:lnTo>
                    <a:pt x="3095480" y="1779467"/>
                  </a:lnTo>
                  <a:lnTo>
                    <a:pt x="3096660" y="1776713"/>
                  </a:lnTo>
                  <a:lnTo>
                    <a:pt x="3098233" y="1773959"/>
                  </a:lnTo>
                  <a:lnTo>
                    <a:pt x="3098627" y="1773566"/>
                  </a:lnTo>
                  <a:lnTo>
                    <a:pt x="3102561" y="1785369"/>
                  </a:lnTo>
                  <a:lnTo>
                    <a:pt x="3102561" y="1788123"/>
                  </a:lnTo>
                  <a:lnTo>
                    <a:pt x="3102955" y="1788516"/>
                  </a:lnTo>
                  <a:lnTo>
                    <a:pt x="3104528" y="1790483"/>
                  </a:lnTo>
                  <a:lnTo>
                    <a:pt x="3105315" y="1787729"/>
                  </a:lnTo>
                  <a:lnTo>
                    <a:pt x="3105315" y="1787336"/>
                  </a:lnTo>
                  <a:lnTo>
                    <a:pt x="3105315" y="1786942"/>
                  </a:lnTo>
                  <a:lnTo>
                    <a:pt x="3105315" y="1787336"/>
                  </a:lnTo>
                  <a:lnTo>
                    <a:pt x="3106102" y="1784975"/>
                  </a:lnTo>
                  <a:lnTo>
                    <a:pt x="3107676" y="1785369"/>
                  </a:lnTo>
                  <a:lnTo>
                    <a:pt x="3108069" y="1788516"/>
                  </a:lnTo>
                  <a:lnTo>
                    <a:pt x="3109643" y="1788516"/>
                  </a:lnTo>
                  <a:lnTo>
                    <a:pt x="3110036" y="1785762"/>
                  </a:lnTo>
                  <a:lnTo>
                    <a:pt x="3109643" y="1783008"/>
                  </a:lnTo>
                  <a:lnTo>
                    <a:pt x="3109250" y="1782221"/>
                  </a:lnTo>
                  <a:lnTo>
                    <a:pt x="3109643" y="1781041"/>
                  </a:lnTo>
                  <a:lnTo>
                    <a:pt x="3109250" y="1779074"/>
                  </a:lnTo>
                  <a:lnTo>
                    <a:pt x="3110823" y="1784582"/>
                  </a:lnTo>
                  <a:lnTo>
                    <a:pt x="3110823" y="1784975"/>
                  </a:lnTo>
                  <a:lnTo>
                    <a:pt x="3111610" y="1787336"/>
                  </a:lnTo>
                  <a:lnTo>
                    <a:pt x="3111610" y="1789303"/>
                  </a:lnTo>
                  <a:lnTo>
                    <a:pt x="3112397" y="1791664"/>
                  </a:lnTo>
                  <a:lnTo>
                    <a:pt x="3112003" y="1790090"/>
                  </a:lnTo>
                  <a:lnTo>
                    <a:pt x="3113184" y="1788516"/>
                  </a:lnTo>
                  <a:lnTo>
                    <a:pt x="3113184" y="1785762"/>
                  </a:lnTo>
                  <a:lnTo>
                    <a:pt x="3112790" y="1783402"/>
                  </a:lnTo>
                  <a:lnTo>
                    <a:pt x="3112397" y="1779074"/>
                  </a:lnTo>
                  <a:lnTo>
                    <a:pt x="3112790" y="1777894"/>
                  </a:lnTo>
                  <a:lnTo>
                    <a:pt x="3112790" y="1774746"/>
                  </a:lnTo>
                  <a:lnTo>
                    <a:pt x="3112003" y="1772386"/>
                  </a:lnTo>
                  <a:lnTo>
                    <a:pt x="3113184" y="1769238"/>
                  </a:lnTo>
                  <a:lnTo>
                    <a:pt x="3113184" y="1768845"/>
                  </a:lnTo>
                  <a:lnTo>
                    <a:pt x="3113577" y="1768845"/>
                  </a:lnTo>
                  <a:lnTo>
                    <a:pt x="3112790" y="1771599"/>
                  </a:lnTo>
                  <a:lnTo>
                    <a:pt x="3113577" y="1774353"/>
                  </a:lnTo>
                  <a:lnTo>
                    <a:pt x="3113184" y="1777500"/>
                  </a:lnTo>
                  <a:lnTo>
                    <a:pt x="3115544" y="1774353"/>
                  </a:lnTo>
                  <a:lnTo>
                    <a:pt x="3114758" y="1771599"/>
                  </a:lnTo>
                  <a:lnTo>
                    <a:pt x="3115938" y="1771205"/>
                  </a:lnTo>
                  <a:lnTo>
                    <a:pt x="3115938" y="1773959"/>
                  </a:lnTo>
                  <a:lnTo>
                    <a:pt x="3115544" y="1776713"/>
                  </a:lnTo>
                  <a:lnTo>
                    <a:pt x="3115151" y="1779861"/>
                  </a:lnTo>
                  <a:lnTo>
                    <a:pt x="3115544" y="1782615"/>
                  </a:lnTo>
                  <a:lnTo>
                    <a:pt x="3115544" y="1784975"/>
                  </a:lnTo>
                  <a:lnTo>
                    <a:pt x="3116725" y="1787729"/>
                  </a:lnTo>
                  <a:lnTo>
                    <a:pt x="3118298" y="1787336"/>
                  </a:lnTo>
                  <a:lnTo>
                    <a:pt x="3119085" y="1786156"/>
                  </a:lnTo>
                  <a:lnTo>
                    <a:pt x="3119872" y="1784188"/>
                  </a:lnTo>
                  <a:lnTo>
                    <a:pt x="3120265" y="1783402"/>
                  </a:lnTo>
                  <a:lnTo>
                    <a:pt x="3121052" y="1786549"/>
                  </a:lnTo>
                  <a:lnTo>
                    <a:pt x="3123019" y="1787729"/>
                  </a:lnTo>
                  <a:lnTo>
                    <a:pt x="3125773" y="1788123"/>
                  </a:lnTo>
                  <a:lnTo>
                    <a:pt x="3126167" y="1785369"/>
                  </a:lnTo>
                  <a:lnTo>
                    <a:pt x="3124593" y="1782221"/>
                  </a:lnTo>
                  <a:lnTo>
                    <a:pt x="3123806" y="1779467"/>
                  </a:lnTo>
                  <a:lnTo>
                    <a:pt x="3123413" y="1779074"/>
                  </a:lnTo>
                  <a:lnTo>
                    <a:pt x="3121052" y="1777500"/>
                  </a:lnTo>
                  <a:lnTo>
                    <a:pt x="3120659" y="1775926"/>
                  </a:lnTo>
                  <a:lnTo>
                    <a:pt x="3121052" y="1775926"/>
                  </a:lnTo>
                  <a:lnTo>
                    <a:pt x="3123806" y="1777894"/>
                  </a:lnTo>
                  <a:lnTo>
                    <a:pt x="3124593" y="1774746"/>
                  </a:lnTo>
                  <a:lnTo>
                    <a:pt x="3124987" y="1776320"/>
                  </a:lnTo>
                  <a:lnTo>
                    <a:pt x="3123806" y="1779467"/>
                  </a:lnTo>
                  <a:lnTo>
                    <a:pt x="3124199" y="1782221"/>
                  </a:lnTo>
                  <a:lnTo>
                    <a:pt x="3126167" y="1784975"/>
                  </a:lnTo>
                  <a:lnTo>
                    <a:pt x="3128134" y="1787729"/>
                  </a:lnTo>
                  <a:lnTo>
                    <a:pt x="3127347" y="1784582"/>
                  </a:lnTo>
                  <a:lnTo>
                    <a:pt x="3127347" y="1784582"/>
                  </a:lnTo>
                  <a:lnTo>
                    <a:pt x="3126954" y="1784188"/>
                  </a:lnTo>
                  <a:lnTo>
                    <a:pt x="3125773" y="1779861"/>
                  </a:lnTo>
                  <a:lnTo>
                    <a:pt x="3128134" y="1781434"/>
                  </a:lnTo>
                  <a:lnTo>
                    <a:pt x="3129707" y="1784188"/>
                  </a:lnTo>
                  <a:lnTo>
                    <a:pt x="3130101" y="1787336"/>
                  </a:lnTo>
                  <a:lnTo>
                    <a:pt x="3132068" y="1784188"/>
                  </a:lnTo>
                  <a:lnTo>
                    <a:pt x="3131675" y="1781434"/>
                  </a:lnTo>
                  <a:lnTo>
                    <a:pt x="3133642" y="1778680"/>
                  </a:lnTo>
                  <a:lnTo>
                    <a:pt x="3133248" y="1776320"/>
                  </a:lnTo>
                  <a:lnTo>
                    <a:pt x="3134822" y="1779074"/>
                  </a:lnTo>
                  <a:lnTo>
                    <a:pt x="3134429" y="1782221"/>
                  </a:lnTo>
                  <a:lnTo>
                    <a:pt x="3135609" y="1784975"/>
                  </a:lnTo>
                  <a:lnTo>
                    <a:pt x="3137576" y="1781828"/>
                  </a:lnTo>
                  <a:lnTo>
                    <a:pt x="3137576" y="1778680"/>
                  </a:lnTo>
                  <a:lnTo>
                    <a:pt x="3137969" y="1775926"/>
                  </a:lnTo>
                  <a:lnTo>
                    <a:pt x="3136789" y="1773959"/>
                  </a:lnTo>
                  <a:lnTo>
                    <a:pt x="3136789" y="1771205"/>
                  </a:lnTo>
                  <a:lnTo>
                    <a:pt x="3136002" y="1771599"/>
                  </a:lnTo>
                  <a:lnTo>
                    <a:pt x="3135216" y="1766878"/>
                  </a:lnTo>
                  <a:lnTo>
                    <a:pt x="3135216" y="1765304"/>
                  </a:lnTo>
                  <a:lnTo>
                    <a:pt x="3135609" y="1768058"/>
                  </a:lnTo>
                  <a:lnTo>
                    <a:pt x="3137183" y="1771205"/>
                  </a:lnTo>
                  <a:lnTo>
                    <a:pt x="3137576" y="1773959"/>
                  </a:lnTo>
                  <a:lnTo>
                    <a:pt x="3138363" y="1775140"/>
                  </a:lnTo>
                  <a:lnTo>
                    <a:pt x="3138756" y="1771992"/>
                  </a:lnTo>
                  <a:lnTo>
                    <a:pt x="3138756" y="1771599"/>
                  </a:lnTo>
                  <a:lnTo>
                    <a:pt x="3139150" y="1763730"/>
                  </a:lnTo>
                  <a:lnTo>
                    <a:pt x="3139150" y="1769632"/>
                  </a:lnTo>
                  <a:lnTo>
                    <a:pt x="3139150" y="1771205"/>
                  </a:lnTo>
                  <a:lnTo>
                    <a:pt x="3139150" y="1772779"/>
                  </a:lnTo>
                  <a:lnTo>
                    <a:pt x="3138756" y="1775140"/>
                  </a:lnTo>
                  <a:lnTo>
                    <a:pt x="3139543" y="1776713"/>
                  </a:lnTo>
                  <a:lnTo>
                    <a:pt x="3139150" y="1779861"/>
                  </a:lnTo>
                  <a:lnTo>
                    <a:pt x="3139150" y="1782615"/>
                  </a:lnTo>
                  <a:lnTo>
                    <a:pt x="3141510" y="1783008"/>
                  </a:lnTo>
                  <a:lnTo>
                    <a:pt x="3141904" y="1777500"/>
                  </a:lnTo>
                  <a:lnTo>
                    <a:pt x="3142297" y="1778287"/>
                  </a:lnTo>
                  <a:lnTo>
                    <a:pt x="3145445" y="1779861"/>
                  </a:lnTo>
                  <a:lnTo>
                    <a:pt x="3148199" y="1779074"/>
                  </a:lnTo>
                  <a:lnTo>
                    <a:pt x="3147805" y="1776320"/>
                  </a:lnTo>
                  <a:lnTo>
                    <a:pt x="3147018" y="1773173"/>
                  </a:lnTo>
                  <a:lnTo>
                    <a:pt x="3145445" y="1772386"/>
                  </a:lnTo>
                  <a:lnTo>
                    <a:pt x="3145838" y="1772386"/>
                  </a:lnTo>
                  <a:lnTo>
                    <a:pt x="3147412" y="1769632"/>
                  </a:lnTo>
                  <a:lnTo>
                    <a:pt x="3146232" y="1766878"/>
                  </a:lnTo>
                  <a:lnTo>
                    <a:pt x="3146625" y="1763730"/>
                  </a:lnTo>
                  <a:lnTo>
                    <a:pt x="3146232" y="1760976"/>
                  </a:lnTo>
                  <a:lnTo>
                    <a:pt x="3148985" y="1759403"/>
                  </a:lnTo>
                  <a:lnTo>
                    <a:pt x="3149379" y="1759009"/>
                  </a:lnTo>
                  <a:lnTo>
                    <a:pt x="3149772" y="1758616"/>
                  </a:lnTo>
                  <a:lnTo>
                    <a:pt x="3148592" y="1761370"/>
                  </a:lnTo>
                  <a:lnTo>
                    <a:pt x="3147412" y="1764124"/>
                  </a:lnTo>
                  <a:lnTo>
                    <a:pt x="3147412" y="1766878"/>
                  </a:lnTo>
                  <a:lnTo>
                    <a:pt x="3148199" y="1768845"/>
                  </a:lnTo>
                  <a:lnTo>
                    <a:pt x="3148985" y="1771992"/>
                  </a:lnTo>
                  <a:lnTo>
                    <a:pt x="3149772" y="1774746"/>
                  </a:lnTo>
                  <a:lnTo>
                    <a:pt x="3151346" y="1772779"/>
                  </a:lnTo>
                  <a:lnTo>
                    <a:pt x="3153313" y="1769238"/>
                  </a:lnTo>
                  <a:lnTo>
                    <a:pt x="3151346" y="1773566"/>
                  </a:lnTo>
                  <a:lnTo>
                    <a:pt x="3151739" y="1773959"/>
                  </a:lnTo>
                  <a:lnTo>
                    <a:pt x="3151739" y="1774353"/>
                  </a:lnTo>
                  <a:lnTo>
                    <a:pt x="3154494" y="1771992"/>
                  </a:lnTo>
                  <a:lnTo>
                    <a:pt x="3157247" y="1769238"/>
                  </a:lnTo>
                  <a:lnTo>
                    <a:pt x="3158034" y="1768058"/>
                  </a:lnTo>
                  <a:lnTo>
                    <a:pt x="3157247" y="1770812"/>
                  </a:lnTo>
                  <a:lnTo>
                    <a:pt x="3154494" y="1773173"/>
                  </a:lnTo>
                  <a:lnTo>
                    <a:pt x="3152920" y="1775926"/>
                  </a:lnTo>
                  <a:lnTo>
                    <a:pt x="3153313" y="1779074"/>
                  </a:lnTo>
                  <a:lnTo>
                    <a:pt x="3155674" y="1776713"/>
                  </a:lnTo>
                  <a:lnTo>
                    <a:pt x="3154887" y="1779861"/>
                  </a:lnTo>
                  <a:lnTo>
                    <a:pt x="3158034" y="1781434"/>
                  </a:lnTo>
                  <a:lnTo>
                    <a:pt x="3160395" y="1779074"/>
                  </a:lnTo>
                  <a:lnTo>
                    <a:pt x="3160788" y="1776320"/>
                  </a:lnTo>
                  <a:lnTo>
                    <a:pt x="3160788" y="1775926"/>
                  </a:lnTo>
                  <a:lnTo>
                    <a:pt x="3161182" y="1774746"/>
                  </a:lnTo>
                  <a:lnTo>
                    <a:pt x="3162362" y="1771599"/>
                  </a:lnTo>
                  <a:lnTo>
                    <a:pt x="3162362" y="1770419"/>
                  </a:lnTo>
                  <a:lnTo>
                    <a:pt x="3162362" y="1767664"/>
                  </a:lnTo>
                  <a:lnTo>
                    <a:pt x="3161969" y="1765304"/>
                  </a:lnTo>
                  <a:lnTo>
                    <a:pt x="3163149" y="1768058"/>
                  </a:lnTo>
                  <a:lnTo>
                    <a:pt x="3162755" y="1770812"/>
                  </a:lnTo>
                  <a:lnTo>
                    <a:pt x="3165509" y="1769632"/>
                  </a:lnTo>
                  <a:lnTo>
                    <a:pt x="3167476" y="1766878"/>
                  </a:lnTo>
                  <a:lnTo>
                    <a:pt x="3168263" y="1763730"/>
                  </a:lnTo>
                  <a:lnTo>
                    <a:pt x="3167476" y="1760976"/>
                  </a:lnTo>
                  <a:lnTo>
                    <a:pt x="3167083" y="1758222"/>
                  </a:lnTo>
                  <a:lnTo>
                    <a:pt x="3164723" y="1755468"/>
                  </a:lnTo>
                  <a:lnTo>
                    <a:pt x="3162362" y="1758222"/>
                  </a:lnTo>
                  <a:lnTo>
                    <a:pt x="3162755" y="1755075"/>
                  </a:lnTo>
                  <a:lnTo>
                    <a:pt x="3163149" y="1752321"/>
                  </a:lnTo>
                  <a:lnTo>
                    <a:pt x="3161575" y="1749567"/>
                  </a:lnTo>
                  <a:lnTo>
                    <a:pt x="3161182" y="1749960"/>
                  </a:lnTo>
                  <a:lnTo>
                    <a:pt x="3159214" y="1749174"/>
                  </a:lnTo>
                  <a:lnTo>
                    <a:pt x="3159608" y="1748780"/>
                  </a:lnTo>
                  <a:lnTo>
                    <a:pt x="3162362" y="1743666"/>
                  </a:lnTo>
                  <a:lnTo>
                    <a:pt x="3160788" y="1740518"/>
                  </a:lnTo>
                  <a:lnTo>
                    <a:pt x="3160395" y="1739338"/>
                  </a:lnTo>
                  <a:lnTo>
                    <a:pt x="3161969" y="1738551"/>
                  </a:lnTo>
                  <a:lnTo>
                    <a:pt x="3164329" y="1735797"/>
                  </a:lnTo>
                  <a:lnTo>
                    <a:pt x="3163936" y="1732650"/>
                  </a:lnTo>
                  <a:lnTo>
                    <a:pt x="3161182" y="1731076"/>
                  </a:lnTo>
                  <a:lnTo>
                    <a:pt x="3152920" y="1726355"/>
                  </a:lnTo>
                  <a:lnTo>
                    <a:pt x="3152133" y="1725961"/>
                  </a:lnTo>
                  <a:lnTo>
                    <a:pt x="3152526" y="1725961"/>
                  </a:lnTo>
                  <a:lnTo>
                    <a:pt x="3152526" y="1725568"/>
                  </a:lnTo>
                  <a:lnTo>
                    <a:pt x="3155280" y="1726748"/>
                  </a:lnTo>
                  <a:lnTo>
                    <a:pt x="3158034" y="1727535"/>
                  </a:lnTo>
                  <a:lnTo>
                    <a:pt x="3161182" y="1727929"/>
                  </a:lnTo>
                  <a:lnTo>
                    <a:pt x="3161575" y="1727535"/>
                  </a:lnTo>
                  <a:lnTo>
                    <a:pt x="3161969" y="1725174"/>
                  </a:lnTo>
                  <a:lnTo>
                    <a:pt x="3161969" y="1725174"/>
                  </a:lnTo>
                  <a:lnTo>
                    <a:pt x="3161969" y="1724781"/>
                  </a:lnTo>
                  <a:lnTo>
                    <a:pt x="3160788" y="1723601"/>
                  </a:lnTo>
                  <a:lnTo>
                    <a:pt x="3159608" y="1722420"/>
                  </a:lnTo>
                  <a:lnTo>
                    <a:pt x="3158821" y="1721634"/>
                  </a:lnTo>
                  <a:lnTo>
                    <a:pt x="3160395" y="1722420"/>
                  </a:lnTo>
                  <a:lnTo>
                    <a:pt x="3163149" y="1720847"/>
                  </a:lnTo>
                  <a:lnTo>
                    <a:pt x="3162755" y="1721240"/>
                  </a:lnTo>
                  <a:lnTo>
                    <a:pt x="3162362" y="1723994"/>
                  </a:lnTo>
                  <a:lnTo>
                    <a:pt x="3165116" y="1723601"/>
                  </a:lnTo>
                  <a:lnTo>
                    <a:pt x="3164723" y="1722027"/>
                  </a:lnTo>
                  <a:lnTo>
                    <a:pt x="3165116" y="1722027"/>
                  </a:lnTo>
                  <a:lnTo>
                    <a:pt x="3165509" y="1722420"/>
                  </a:lnTo>
                  <a:lnTo>
                    <a:pt x="3165116" y="1724781"/>
                  </a:lnTo>
                  <a:lnTo>
                    <a:pt x="3162755" y="1724781"/>
                  </a:lnTo>
                  <a:lnTo>
                    <a:pt x="3162755" y="1727929"/>
                  </a:lnTo>
                  <a:lnTo>
                    <a:pt x="3164723" y="1730289"/>
                  </a:lnTo>
                  <a:lnTo>
                    <a:pt x="3165116" y="1733043"/>
                  </a:lnTo>
                  <a:lnTo>
                    <a:pt x="3164723" y="1735797"/>
                  </a:lnTo>
                  <a:lnTo>
                    <a:pt x="3164723" y="1738551"/>
                  </a:lnTo>
                  <a:lnTo>
                    <a:pt x="3165509" y="1740125"/>
                  </a:lnTo>
                  <a:lnTo>
                    <a:pt x="3167083" y="1742485"/>
                  </a:lnTo>
                  <a:lnTo>
                    <a:pt x="3168657" y="1745239"/>
                  </a:lnTo>
                  <a:lnTo>
                    <a:pt x="3169837" y="1748387"/>
                  </a:lnTo>
                  <a:lnTo>
                    <a:pt x="3171804" y="1751141"/>
                  </a:lnTo>
                  <a:lnTo>
                    <a:pt x="3174558" y="1753895"/>
                  </a:lnTo>
                  <a:lnTo>
                    <a:pt x="3177312" y="1755468"/>
                  </a:lnTo>
                  <a:lnTo>
                    <a:pt x="3178099" y="1755075"/>
                  </a:lnTo>
                  <a:lnTo>
                    <a:pt x="3177312" y="1751927"/>
                  </a:lnTo>
                  <a:lnTo>
                    <a:pt x="3178099" y="1752714"/>
                  </a:lnTo>
                  <a:lnTo>
                    <a:pt x="3178099" y="1754288"/>
                  </a:lnTo>
                  <a:lnTo>
                    <a:pt x="3177706" y="1754681"/>
                  </a:lnTo>
                  <a:lnTo>
                    <a:pt x="3179279" y="1753501"/>
                  </a:lnTo>
                  <a:lnTo>
                    <a:pt x="3180066" y="1754288"/>
                  </a:lnTo>
                  <a:lnTo>
                    <a:pt x="3183213" y="1753895"/>
                  </a:lnTo>
                  <a:lnTo>
                    <a:pt x="3182820" y="1751141"/>
                  </a:lnTo>
                  <a:lnTo>
                    <a:pt x="3185574" y="1750747"/>
                  </a:lnTo>
                  <a:lnTo>
                    <a:pt x="3186361" y="1748387"/>
                  </a:lnTo>
                  <a:lnTo>
                    <a:pt x="3186754" y="1748387"/>
                  </a:lnTo>
                  <a:lnTo>
                    <a:pt x="3189509" y="1746026"/>
                  </a:lnTo>
                  <a:lnTo>
                    <a:pt x="3189902" y="1744059"/>
                  </a:lnTo>
                  <a:lnTo>
                    <a:pt x="3189902" y="1746813"/>
                  </a:lnTo>
                  <a:lnTo>
                    <a:pt x="3190689" y="1749960"/>
                  </a:lnTo>
                  <a:lnTo>
                    <a:pt x="3193443" y="1752321"/>
                  </a:lnTo>
                  <a:lnTo>
                    <a:pt x="3196197" y="1755075"/>
                  </a:lnTo>
                  <a:lnTo>
                    <a:pt x="3198164" y="1757829"/>
                  </a:lnTo>
                  <a:lnTo>
                    <a:pt x="3199738" y="1760583"/>
                  </a:lnTo>
                  <a:lnTo>
                    <a:pt x="3200918" y="1763337"/>
                  </a:lnTo>
                  <a:lnTo>
                    <a:pt x="3202098" y="1766484"/>
                  </a:lnTo>
                  <a:lnTo>
                    <a:pt x="3202491" y="1763337"/>
                  </a:lnTo>
                  <a:lnTo>
                    <a:pt x="3202885" y="1762943"/>
                  </a:lnTo>
                  <a:lnTo>
                    <a:pt x="3204065" y="1760976"/>
                  </a:lnTo>
                  <a:lnTo>
                    <a:pt x="3204065" y="1759796"/>
                  </a:lnTo>
                  <a:lnTo>
                    <a:pt x="3204852" y="1759796"/>
                  </a:lnTo>
                  <a:lnTo>
                    <a:pt x="3204459" y="1760976"/>
                  </a:lnTo>
                  <a:lnTo>
                    <a:pt x="3203279" y="1763337"/>
                  </a:lnTo>
                  <a:lnTo>
                    <a:pt x="3203279" y="1769238"/>
                  </a:lnTo>
                  <a:lnTo>
                    <a:pt x="3205246" y="1771992"/>
                  </a:lnTo>
                  <a:lnTo>
                    <a:pt x="3206032" y="1775140"/>
                  </a:lnTo>
                  <a:lnTo>
                    <a:pt x="3206819" y="1776713"/>
                  </a:lnTo>
                  <a:lnTo>
                    <a:pt x="3207606" y="1780254"/>
                  </a:lnTo>
                  <a:lnTo>
                    <a:pt x="3209180" y="1783008"/>
                  </a:lnTo>
                  <a:lnTo>
                    <a:pt x="3208393" y="1781434"/>
                  </a:lnTo>
                  <a:lnTo>
                    <a:pt x="3209180" y="1782615"/>
                  </a:lnTo>
                  <a:lnTo>
                    <a:pt x="3209573" y="1783795"/>
                  </a:lnTo>
                  <a:lnTo>
                    <a:pt x="3209180" y="1783008"/>
                  </a:lnTo>
                  <a:lnTo>
                    <a:pt x="3209967" y="1785762"/>
                  </a:lnTo>
                  <a:lnTo>
                    <a:pt x="3211147" y="1788910"/>
                  </a:lnTo>
                  <a:lnTo>
                    <a:pt x="3210753" y="1792057"/>
                  </a:lnTo>
                  <a:lnTo>
                    <a:pt x="3211147" y="1792844"/>
                  </a:lnTo>
                  <a:lnTo>
                    <a:pt x="3210753" y="1794024"/>
                  </a:lnTo>
                  <a:lnTo>
                    <a:pt x="3212327" y="1795991"/>
                  </a:lnTo>
                  <a:lnTo>
                    <a:pt x="3213901" y="1798745"/>
                  </a:lnTo>
                  <a:lnTo>
                    <a:pt x="3214294" y="1801893"/>
                  </a:lnTo>
                  <a:lnTo>
                    <a:pt x="3216655" y="1804647"/>
                  </a:lnTo>
                  <a:lnTo>
                    <a:pt x="3219016" y="1808187"/>
                  </a:lnTo>
                  <a:lnTo>
                    <a:pt x="3220589" y="1810941"/>
                  </a:lnTo>
                  <a:lnTo>
                    <a:pt x="3220589" y="1810941"/>
                  </a:lnTo>
                  <a:lnTo>
                    <a:pt x="3220589" y="1811335"/>
                  </a:lnTo>
                  <a:lnTo>
                    <a:pt x="3221376" y="1812515"/>
                  </a:lnTo>
                  <a:lnTo>
                    <a:pt x="3222950" y="1815269"/>
                  </a:lnTo>
                  <a:lnTo>
                    <a:pt x="3222556" y="1812515"/>
                  </a:lnTo>
                  <a:lnTo>
                    <a:pt x="3221376" y="1809761"/>
                  </a:lnTo>
                  <a:lnTo>
                    <a:pt x="3220983" y="1806614"/>
                  </a:lnTo>
                  <a:lnTo>
                    <a:pt x="3220983" y="1806220"/>
                  </a:lnTo>
                  <a:lnTo>
                    <a:pt x="3221769" y="1809368"/>
                  </a:lnTo>
                  <a:lnTo>
                    <a:pt x="3223343" y="1812122"/>
                  </a:lnTo>
                  <a:lnTo>
                    <a:pt x="3224917" y="1815269"/>
                  </a:lnTo>
                  <a:lnTo>
                    <a:pt x="3226097" y="1818023"/>
                  </a:lnTo>
                  <a:lnTo>
                    <a:pt x="3228851" y="1820384"/>
                  </a:lnTo>
                  <a:lnTo>
                    <a:pt x="3230818" y="1823138"/>
                  </a:lnTo>
                  <a:lnTo>
                    <a:pt x="3233179" y="1825498"/>
                  </a:lnTo>
                  <a:lnTo>
                    <a:pt x="3235933" y="1828252"/>
                  </a:lnTo>
                  <a:lnTo>
                    <a:pt x="3237113" y="1831006"/>
                  </a:lnTo>
                  <a:lnTo>
                    <a:pt x="3238293" y="1828252"/>
                  </a:lnTo>
                  <a:lnTo>
                    <a:pt x="3237506" y="1825105"/>
                  </a:lnTo>
                  <a:lnTo>
                    <a:pt x="3237113" y="1822351"/>
                  </a:lnTo>
                  <a:lnTo>
                    <a:pt x="3237900" y="1823925"/>
                  </a:lnTo>
                  <a:lnTo>
                    <a:pt x="3238687" y="1824318"/>
                  </a:lnTo>
                  <a:lnTo>
                    <a:pt x="3242621" y="1830219"/>
                  </a:lnTo>
                  <a:lnTo>
                    <a:pt x="3241441" y="1832580"/>
                  </a:lnTo>
                  <a:lnTo>
                    <a:pt x="3241047" y="1835334"/>
                  </a:lnTo>
                  <a:lnTo>
                    <a:pt x="3243801" y="1837694"/>
                  </a:lnTo>
                  <a:lnTo>
                    <a:pt x="3244588" y="1836121"/>
                  </a:lnTo>
                  <a:lnTo>
                    <a:pt x="3245768" y="1833367"/>
                  </a:lnTo>
                  <a:lnTo>
                    <a:pt x="3246949" y="1830219"/>
                  </a:lnTo>
                  <a:lnTo>
                    <a:pt x="3246555" y="1827465"/>
                  </a:lnTo>
                  <a:lnTo>
                    <a:pt x="3246949" y="1825105"/>
                  </a:lnTo>
                  <a:lnTo>
                    <a:pt x="3247735" y="1823138"/>
                  </a:lnTo>
                  <a:lnTo>
                    <a:pt x="3247342" y="1825498"/>
                  </a:lnTo>
                  <a:lnTo>
                    <a:pt x="3246949" y="1828646"/>
                  </a:lnTo>
                  <a:lnTo>
                    <a:pt x="3247735" y="1829432"/>
                  </a:lnTo>
                  <a:lnTo>
                    <a:pt x="3248129" y="1828252"/>
                  </a:lnTo>
                  <a:lnTo>
                    <a:pt x="3248916" y="1828646"/>
                  </a:lnTo>
                  <a:lnTo>
                    <a:pt x="3247342" y="1831793"/>
                  </a:lnTo>
                  <a:lnTo>
                    <a:pt x="3246162" y="1834547"/>
                  </a:lnTo>
                  <a:lnTo>
                    <a:pt x="3248916" y="1834940"/>
                  </a:lnTo>
                  <a:lnTo>
                    <a:pt x="3250096" y="1834547"/>
                  </a:lnTo>
                  <a:lnTo>
                    <a:pt x="3248523" y="1837301"/>
                  </a:lnTo>
                  <a:lnTo>
                    <a:pt x="3246949" y="1840448"/>
                  </a:lnTo>
                  <a:lnTo>
                    <a:pt x="3248523" y="1842022"/>
                  </a:lnTo>
                  <a:lnTo>
                    <a:pt x="3250096" y="1844776"/>
                  </a:lnTo>
                  <a:lnTo>
                    <a:pt x="3252063" y="1847530"/>
                  </a:lnTo>
                  <a:lnTo>
                    <a:pt x="3250490" y="1844776"/>
                  </a:lnTo>
                  <a:lnTo>
                    <a:pt x="3250883" y="1842022"/>
                  </a:lnTo>
                  <a:lnTo>
                    <a:pt x="3251276" y="1842022"/>
                  </a:lnTo>
                  <a:lnTo>
                    <a:pt x="3252850" y="1845170"/>
                  </a:lnTo>
                  <a:lnTo>
                    <a:pt x="3254424" y="1847924"/>
                  </a:lnTo>
                  <a:lnTo>
                    <a:pt x="3253243" y="1844776"/>
                  </a:lnTo>
                  <a:lnTo>
                    <a:pt x="3251670" y="1842022"/>
                  </a:lnTo>
                  <a:lnTo>
                    <a:pt x="3252457" y="1839662"/>
                  </a:lnTo>
                  <a:lnTo>
                    <a:pt x="3255211" y="1840055"/>
                  </a:lnTo>
                  <a:lnTo>
                    <a:pt x="3255604" y="1839662"/>
                  </a:lnTo>
                  <a:lnTo>
                    <a:pt x="3256391" y="1838088"/>
                  </a:lnTo>
                  <a:lnTo>
                    <a:pt x="3257964" y="1838481"/>
                  </a:lnTo>
                  <a:lnTo>
                    <a:pt x="3258752" y="1841235"/>
                  </a:lnTo>
                  <a:lnTo>
                    <a:pt x="3263866" y="1844776"/>
                  </a:lnTo>
                  <a:lnTo>
                    <a:pt x="3263866" y="1844776"/>
                  </a:lnTo>
                  <a:lnTo>
                    <a:pt x="3263866" y="1844776"/>
                  </a:lnTo>
                  <a:lnTo>
                    <a:pt x="3266620" y="1846743"/>
                  </a:lnTo>
                  <a:lnTo>
                    <a:pt x="3266620" y="1847137"/>
                  </a:lnTo>
                  <a:lnTo>
                    <a:pt x="3265833" y="1850284"/>
                  </a:lnTo>
                  <a:lnTo>
                    <a:pt x="3268587" y="1850677"/>
                  </a:lnTo>
                  <a:lnTo>
                    <a:pt x="3271341" y="1851858"/>
                  </a:lnTo>
                  <a:lnTo>
                    <a:pt x="3272521" y="1851464"/>
                  </a:lnTo>
                  <a:lnTo>
                    <a:pt x="3270161" y="1854218"/>
                  </a:lnTo>
                  <a:lnTo>
                    <a:pt x="3272915" y="1856579"/>
                  </a:lnTo>
                  <a:lnTo>
                    <a:pt x="3275669" y="1858546"/>
                  </a:lnTo>
                  <a:lnTo>
                    <a:pt x="3277242" y="1860513"/>
                  </a:lnTo>
                  <a:lnTo>
                    <a:pt x="3278423" y="1862480"/>
                  </a:lnTo>
                  <a:lnTo>
                    <a:pt x="3275669" y="1866808"/>
                  </a:lnTo>
                  <a:lnTo>
                    <a:pt x="3273308" y="1867201"/>
                  </a:lnTo>
                  <a:lnTo>
                    <a:pt x="3271734" y="1866808"/>
                  </a:lnTo>
                  <a:lnTo>
                    <a:pt x="3268981" y="1864447"/>
                  </a:lnTo>
                  <a:lnTo>
                    <a:pt x="3266620" y="1861693"/>
                  </a:lnTo>
                  <a:lnTo>
                    <a:pt x="3263866" y="1863661"/>
                  </a:lnTo>
                  <a:lnTo>
                    <a:pt x="3265833" y="1866415"/>
                  </a:lnTo>
                  <a:lnTo>
                    <a:pt x="3267800" y="1869169"/>
                  </a:lnTo>
                  <a:lnTo>
                    <a:pt x="3270554" y="1872316"/>
                  </a:lnTo>
                  <a:lnTo>
                    <a:pt x="3270948" y="1874676"/>
                  </a:lnTo>
                  <a:lnTo>
                    <a:pt x="3274095" y="1876250"/>
                  </a:lnTo>
                  <a:lnTo>
                    <a:pt x="3276849" y="1878611"/>
                  </a:lnTo>
                  <a:lnTo>
                    <a:pt x="3279603" y="1880184"/>
                  </a:lnTo>
                  <a:lnTo>
                    <a:pt x="3280390" y="1877431"/>
                  </a:lnTo>
                  <a:lnTo>
                    <a:pt x="3279210" y="1874676"/>
                  </a:lnTo>
                  <a:lnTo>
                    <a:pt x="3278816" y="1871922"/>
                  </a:lnTo>
                  <a:lnTo>
                    <a:pt x="3277242" y="1869169"/>
                  </a:lnTo>
                  <a:lnTo>
                    <a:pt x="3279997" y="1870349"/>
                  </a:lnTo>
                  <a:lnTo>
                    <a:pt x="3280390" y="1867595"/>
                  </a:lnTo>
                  <a:lnTo>
                    <a:pt x="3279997" y="1864447"/>
                  </a:lnTo>
                  <a:lnTo>
                    <a:pt x="3279997" y="1864054"/>
                  </a:lnTo>
                  <a:lnTo>
                    <a:pt x="3280390" y="1864447"/>
                  </a:lnTo>
                  <a:lnTo>
                    <a:pt x="3280390" y="1869955"/>
                  </a:lnTo>
                  <a:lnTo>
                    <a:pt x="3280783" y="1873103"/>
                  </a:lnTo>
                  <a:lnTo>
                    <a:pt x="3281570" y="1875857"/>
                  </a:lnTo>
                  <a:lnTo>
                    <a:pt x="3281570" y="1879004"/>
                  </a:lnTo>
                  <a:lnTo>
                    <a:pt x="3283144" y="1881758"/>
                  </a:lnTo>
                  <a:lnTo>
                    <a:pt x="3285898" y="1882938"/>
                  </a:lnTo>
                  <a:lnTo>
                    <a:pt x="3287078" y="1883725"/>
                  </a:lnTo>
                  <a:lnTo>
                    <a:pt x="3287471" y="1884905"/>
                  </a:lnTo>
                  <a:lnTo>
                    <a:pt x="3285898" y="1885299"/>
                  </a:lnTo>
                  <a:lnTo>
                    <a:pt x="3288259" y="1887266"/>
                  </a:lnTo>
                  <a:lnTo>
                    <a:pt x="3289439" y="1890414"/>
                  </a:lnTo>
                  <a:lnTo>
                    <a:pt x="3290226" y="1893168"/>
                  </a:lnTo>
                  <a:lnTo>
                    <a:pt x="3292586" y="1895922"/>
                  </a:lnTo>
                  <a:lnTo>
                    <a:pt x="3292979" y="1896315"/>
                  </a:lnTo>
                  <a:lnTo>
                    <a:pt x="3296520" y="1903790"/>
                  </a:lnTo>
                  <a:lnTo>
                    <a:pt x="3298488" y="1910872"/>
                  </a:lnTo>
                  <a:lnTo>
                    <a:pt x="3298488" y="1912839"/>
                  </a:lnTo>
                  <a:lnTo>
                    <a:pt x="3299668" y="1915593"/>
                  </a:lnTo>
                  <a:lnTo>
                    <a:pt x="3300061" y="1916773"/>
                  </a:lnTo>
                  <a:lnTo>
                    <a:pt x="3303208" y="1928182"/>
                  </a:lnTo>
                  <a:lnTo>
                    <a:pt x="3300848" y="1937625"/>
                  </a:lnTo>
                  <a:lnTo>
                    <a:pt x="3300848" y="1948247"/>
                  </a:lnTo>
                  <a:lnTo>
                    <a:pt x="3300455" y="1949034"/>
                  </a:lnTo>
                  <a:lnTo>
                    <a:pt x="3300848" y="1950608"/>
                  </a:lnTo>
                  <a:lnTo>
                    <a:pt x="3300061" y="1953362"/>
                  </a:lnTo>
                  <a:lnTo>
                    <a:pt x="3300061" y="1956509"/>
                  </a:lnTo>
                  <a:lnTo>
                    <a:pt x="3299668" y="1959263"/>
                  </a:lnTo>
                  <a:lnTo>
                    <a:pt x="3298094" y="1962017"/>
                  </a:lnTo>
                  <a:lnTo>
                    <a:pt x="3297701" y="1964771"/>
                  </a:lnTo>
                  <a:lnTo>
                    <a:pt x="3298094" y="1967919"/>
                  </a:lnTo>
                  <a:lnTo>
                    <a:pt x="3297701" y="1970673"/>
                  </a:lnTo>
                  <a:lnTo>
                    <a:pt x="3297701" y="1973820"/>
                  </a:lnTo>
                  <a:lnTo>
                    <a:pt x="3298094" y="1976574"/>
                  </a:lnTo>
                  <a:lnTo>
                    <a:pt x="3300848" y="1977361"/>
                  </a:lnTo>
                  <a:lnTo>
                    <a:pt x="3303602" y="1975000"/>
                  </a:lnTo>
                  <a:lnTo>
                    <a:pt x="3305176" y="1972246"/>
                  </a:lnTo>
                  <a:lnTo>
                    <a:pt x="3305963" y="1969099"/>
                  </a:lnTo>
                  <a:lnTo>
                    <a:pt x="3308323" y="1966345"/>
                  </a:lnTo>
                  <a:lnTo>
                    <a:pt x="3310684" y="1963591"/>
                  </a:lnTo>
                  <a:lnTo>
                    <a:pt x="3309897" y="1960837"/>
                  </a:lnTo>
                  <a:lnTo>
                    <a:pt x="3309504" y="1959263"/>
                  </a:lnTo>
                  <a:lnTo>
                    <a:pt x="3310290" y="1959656"/>
                  </a:lnTo>
                  <a:lnTo>
                    <a:pt x="3311077" y="1959263"/>
                  </a:lnTo>
                  <a:lnTo>
                    <a:pt x="3310684" y="1962411"/>
                  </a:lnTo>
                  <a:lnTo>
                    <a:pt x="3310684" y="1965165"/>
                  </a:lnTo>
                  <a:lnTo>
                    <a:pt x="3310290" y="1967919"/>
                  </a:lnTo>
                  <a:lnTo>
                    <a:pt x="3310684" y="1969886"/>
                  </a:lnTo>
                  <a:lnTo>
                    <a:pt x="3311077" y="1972640"/>
                  </a:lnTo>
                  <a:lnTo>
                    <a:pt x="3309897" y="1975394"/>
                  </a:lnTo>
                  <a:lnTo>
                    <a:pt x="3307930" y="1978541"/>
                  </a:lnTo>
                  <a:lnTo>
                    <a:pt x="3311077" y="1977361"/>
                  </a:lnTo>
                  <a:lnTo>
                    <a:pt x="3312651" y="1974607"/>
                  </a:lnTo>
                  <a:lnTo>
                    <a:pt x="3313831" y="1971853"/>
                  </a:lnTo>
                  <a:lnTo>
                    <a:pt x="3314225" y="1971066"/>
                  </a:lnTo>
                  <a:lnTo>
                    <a:pt x="3313438" y="1974213"/>
                  </a:lnTo>
                  <a:lnTo>
                    <a:pt x="3312651" y="1976967"/>
                  </a:lnTo>
                  <a:lnTo>
                    <a:pt x="3309504" y="1979328"/>
                  </a:lnTo>
                  <a:lnTo>
                    <a:pt x="3312651" y="1982082"/>
                  </a:lnTo>
                  <a:lnTo>
                    <a:pt x="3314225" y="1979328"/>
                  </a:lnTo>
                  <a:lnTo>
                    <a:pt x="3316585" y="1976180"/>
                  </a:lnTo>
                  <a:lnTo>
                    <a:pt x="3316192" y="1973033"/>
                  </a:lnTo>
                  <a:lnTo>
                    <a:pt x="3316585" y="1970279"/>
                  </a:lnTo>
                  <a:lnTo>
                    <a:pt x="3318159" y="1969492"/>
                  </a:lnTo>
                  <a:lnTo>
                    <a:pt x="3316585" y="1971066"/>
                  </a:lnTo>
                  <a:lnTo>
                    <a:pt x="3316585" y="1974213"/>
                  </a:lnTo>
                  <a:lnTo>
                    <a:pt x="3318159" y="1975787"/>
                  </a:lnTo>
                  <a:lnTo>
                    <a:pt x="3315798" y="1978541"/>
                  </a:lnTo>
                  <a:lnTo>
                    <a:pt x="3316585" y="1981295"/>
                  </a:lnTo>
                  <a:lnTo>
                    <a:pt x="3316978" y="1984049"/>
                  </a:lnTo>
                  <a:lnTo>
                    <a:pt x="3319733" y="1984836"/>
                  </a:lnTo>
                  <a:lnTo>
                    <a:pt x="3321306" y="1983656"/>
                  </a:lnTo>
                  <a:lnTo>
                    <a:pt x="3322880" y="1980508"/>
                  </a:lnTo>
                  <a:lnTo>
                    <a:pt x="3322880" y="1977754"/>
                  </a:lnTo>
                  <a:lnTo>
                    <a:pt x="3322880" y="1977361"/>
                  </a:lnTo>
                  <a:lnTo>
                    <a:pt x="3324060" y="1971853"/>
                  </a:lnTo>
                  <a:lnTo>
                    <a:pt x="3324060" y="1971853"/>
                  </a:lnTo>
                  <a:lnTo>
                    <a:pt x="3324060" y="1973033"/>
                  </a:lnTo>
                  <a:lnTo>
                    <a:pt x="3325241" y="1973426"/>
                  </a:lnTo>
                  <a:lnTo>
                    <a:pt x="3326027" y="1973820"/>
                  </a:lnTo>
                  <a:lnTo>
                    <a:pt x="3323667" y="1976574"/>
                  </a:lnTo>
                  <a:lnTo>
                    <a:pt x="3324847" y="1976967"/>
                  </a:lnTo>
                  <a:lnTo>
                    <a:pt x="3324847" y="1982869"/>
                  </a:lnTo>
                  <a:lnTo>
                    <a:pt x="3327601" y="1985623"/>
                  </a:lnTo>
                  <a:lnTo>
                    <a:pt x="3327601" y="1982869"/>
                  </a:lnTo>
                  <a:lnTo>
                    <a:pt x="3327995" y="1980115"/>
                  </a:lnTo>
                  <a:lnTo>
                    <a:pt x="3328781" y="1978148"/>
                  </a:lnTo>
                  <a:lnTo>
                    <a:pt x="3328388" y="1981295"/>
                  </a:lnTo>
                  <a:lnTo>
                    <a:pt x="3330748" y="1978541"/>
                  </a:lnTo>
                  <a:lnTo>
                    <a:pt x="3330355" y="1975394"/>
                  </a:lnTo>
                  <a:lnTo>
                    <a:pt x="3329962" y="1975394"/>
                  </a:lnTo>
                  <a:lnTo>
                    <a:pt x="3329962" y="1974607"/>
                  </a:lnTo>
                  <a:lnTo>
                    <a:pt x="3330748" y="1973426"/>
                  </a:lnTo>
                  <a:lnTo>
                    <a:pt x="3331535" y="1976574"/>
                  </a:lnTo>
                  <a:lnTo>
                    <a:pt x="3331535" y="1979721"/>
                  </a:lnTo>
                  <a:lnTo>
                    <a:pt x="3330748" y="1982475"/>
                  </a:lnTo>
                  <a:lnTo>
                    <a:pt x="3329962" y="1985229"/>
                  </a:lnTo>
                  <a:lnTo>
                    <a:pt x="3332322" y="1987983"/>
                  </a:lnTo>
                  <a:lnTo>
                    <a:pt x="3335470" y="1986803"/>
                  </a:lnTo>
                  <a:lnTo>
                    <a:pt x="3335863" y="1986410"/>
                  </a:lnTo>
                  <a:lnTo>
                    <a:pt x="3338224" y="1983656"/>
                  </a:lnTo>
                  <a:lnTo>
                    <a:pt x="3340584" y="1980902"/>
                  </a:lnTo>
                  <a:lnTo>
                    <a:pt x="3341371" y="1978148"/>
                  </a:lnTo>
                  <a:lnTo>
                    <a:pt x="3342158" y="1975394"/>
                  </a:lnTo>
                  <a:lnTo>
                    <a:pt x="3341764" y="1972640"/>
                  </a:lnTo>
                  <a:lnTo>
                    <a:pt x="3341764" y="1971459"/>
                  </a:lnTo>
                  <a:lnTo>
                    <a:pt x="3344912" y="1973033"/>
                  </a:lnTo>
                  <a:lnTo>
                    <a:pt x="3347666" y="1971066"/>
                  </a:lnTo>
                  <a:lnTo>
                    <a:pt x="3350420" y="1969886"/>
                  </a:lnTo>
                  <a:lnTo>
                    <a:pt x="3351207" y="1967132"/>
                  </a:lnTo>
                  <a:lnTo>
                    <a:pt x="3349633" y="1965558"/>
                  </a:lnTo>
                  <a:lnTo>
                    <a:pt x="3367337" y="1966738"/>
                  </a:lnTo>
                  <a:close/>
                  <a:moveTo>
                    <a:pt x="3993279" y="1491479"/>
                  </a:moveTo>
                  <a:lnTo>
                    <a:pt x="3990524" y="1492659"/>
                  </a:lnTo>
                  <a:lnTo>
                    <a:pt x="3987378" y="1494627"/>
                  </a:lnTo>
                  <a:lnTo>
                    <a:pt x="3986590" y="1495020"/>
                  </a:lnTo>
                  <a:lnTo>
                    <a:pt x="3987378" y="1494233"/>
                  </a:lnTo>
                  <a:lnTo>
                    <a:pt x="3990131" y="1491873"/>
                  </a:lnTo>
                  <a:lnTo>
                    <a:pt x="3991705" y="1489906"/>
                  </a:lnTo>
                  <a:lnTo>
                    <a:pt x="3996033" y="1489906"/>
                  </a:lnTo>
                  <a:lnTo>
                    <a:pt x="3993279" y="1491479"/>
                  </a:lnTo>
                  <a:close/>
                  <a:moveTo>
                    <a:pt x="3950002" y="1426564"/>
                  </a:moveTo>
                  <a:lnTo>
                    <a:pt x="3950002" y="1426564"/>
                  </a:lnTo>
                  <a:lnTo>
                    <a:pt x="3951182" y="1424203"/>
                  </a:lnTo>
                  <a:lnTo>
                    <a:pt x="3949214" y="1421449"/>
                  </a:lnTo>
                  <a:lnTo>
                    <a:pt x="3952362" y="1423810"/>
                  </a:lnTo>
                  <a:lnTo>
                    <a:pt x="3952362" y="1423810"/>
                  </a:lnTo>
                  <a:lnTo>
                    <a:pt x="3953149" y="1424203"/>
                  </a:lnTo>
                  <a:lnTo>
                    <a:pt x="3955116" y="1425777"/>
                  </a:lnTo>
                  <a:lnTo>
                    <a:pt x="3952362" y="1424597"/>
                  </a:lnTo>
                  <a:lnTo>
                    <a:pt x="3950002" y="1426564"/>
                  </a:lnTo>
                  <a:lnTo>
                    <a:pt x="3950002" y="1426564"/>
                  </a:lnTo>
                  <a:close/>
                  <a:moveTo>
                    <a:pt x="3951182" y="1422630"/>
                  </a:moveTo>
                  <a:lnTo>
                    <a:pt x="3948822" y="1421843"/>
                  </a:lnTo>
                  <a:lnTo>
                    <a:pt x="3948822" y="1421843"/>
                  </a:lnTo>
                  <a:lnTo>
                    <a:pt x="3951182" y="1422630"/>
                  </a:lnTo>
                  <a:close/>
                  <a:moveTo>
                    <a:pt x="742396" y="470144"/>
                  </a:moveTo>
                  <a:lnTo>
                    <a:pt x="744756" y="469358"/>
                  </a:lnTo>
                  <a:lnTo>
                    <a:pt x="745543" y="469358"/>
                  </a:lnTo>
                  <a:lnTo>
                    <a:pt x="744756" y="469751"/>
                  </a:lnTo>
                  <a:lnTo>
                    <a:pt x="742396" y="470144"/>
                  </a:lnTo>
                  <a:close/>
                  <a:moveTo>
                    <a:pt x="747904" y="468177"/>
                  </a:moveTo>
                  <a:lnTo>
                    <a:pt x="747904" y="468177"/>
                  </a:lnTo>
                  <a:lnTo>
                    <a:pt x="747904" y="468177"/>
                  </a:lnTo>
                  <a:lnTo>
                    <a:pt x="747510" y="468571"/>
                  </a:lnTo>
                  <a:lnTo>
                    <a:pt x="747117" y="468177"/>
                  </a:lnTo>
                  <a:lnTo>
                    <a:pt x="747904" y="468177"/>
                  </a:lnTo>
                  <a:close/>
                  <a:moveTo>
                    <a:pt x="740035" y="435130"/>
                  </a:moveTo>
                  <a:lnTo>
                    <a:pt x="738855" y="433949"/>
                  </a:lnTo>
                  <a:lnTo>
                    <a:pt x="742002" y="434736"/>
                  </a:lnTo>
                  <a:lnTo>
                    <a:pt x="740035" y="435130"/>
                  </a:lnTo>
                  <a:lnTo>
                    <a:pt x="740035" y="435130"/>
                  </a:lnTo>
                  <a:close/>
                  <a:moveTo>
                    <a:pt x="710135" y="448899"/>
                  </a:moveTo>
                  <a:lnTo>
                    <a:pt x="709348" y="448899"/>
                  </a:lnTo>
                  <a:lnTo>
                    <a:pt x="708561" y="448113"/>
                  </a:lnTo>
                  <a:lnTo>
                    <a:pt x="710135" y="448899"/>
                  </a:lnTo>
                  <a:close/>
                  <a:moveTo>
                    <a:pt x="714856" y="449686"/>
                  </a:moveTo>
                  <a:lnTo>
                    <a:pt x="714856" y="449686"/>
                  </a:lnTo>
                  <a:lnTo>
                    <a:pt x="713676" y="451653"/>
                  </a:lnTo>
                  <a:lnTo>
                    <a:pt x="713676" y="451653"/>
                  </a:lnTo>
                  <a:lnTo>
                    <a:pt x="714856" y="449686"/>
                  </a:lnTo>
                  <a:close/>
                  <a:moveTo>
                    <a:pt x="727446" y="470538"/>
                  </a:moveTo>
                  <a:lnTo>
                    <a:pt x="727839" y="468571"/>
                  </a:lnTo>
                  <a:lnTo>
                    <a:pt x="729413" y="468177"/>
                  </a:lnTo>
                  <a:lnTo>
                    <a:pt x="729806" y="468177"/>
                  </a:lnTo>
                  <a:lnTo>
                    <a:pt x="732954" y="468964"/>
                  </a:lnTo>
                  <a:lnTo>
                    <a:pt x="736101" y="469358"/>
                  </a:lnTo>
                  <a:lnTo>
                    <a:pt x="739248" y="468964"/>
                  </a:lnTo>
                  <a:lnTo>
                    <a:pt x="741216" y="467390"/>
                  </a:lnTo>
                  <a:lnTo>
                    <a:pt x="742002" y="467390"/>
                  </a:lnTo>
                  <a:lnTo>
                    <a:pt x="738855" y="469751"/>
                  </a:lnTo>
                  <a:lnTo>
                    <a:pt x="741216" y="470144"/>
                  </a:lnTo>
                  <a:lnTo>
                    <a:pt x="734134" y="470538"/>
                  </a:lnTo>
                  <a:lnTo>
                    <a:pt x="733740" y="470144"/>
                  </a:lnTo>
                  <a:lnTo>
                    <a:pt x="730199" y="469751"/>
                  </a:lnTo>
                  <a:lnTo>
                    <a:pt x="728626" y="470931"/>
                  </a:lnTo>
                  <a:lnTo>
                    <a:pt x="724692" y="470931"/>
                  </a:lnTo>
                  <a:lnTo>
                    <a:pt x="727446" y="470538"/>
                  </a:lnTo>
                  <a:close/>
                  <a:moveTo>
                    <a:pt x="706988" y="491389"/>
                  </a:moveTo>
                  <a:lnTo>
                    <a:pt x="707381" y="490209"/>
                  </a:lnTo>
                  <a:lnTo>
                    <a:pt x="707381" y="490209"/>
                  </a:lnTo>
                  <a:lnTo>
                    <a:pt x="706988" y="491389"/>
                  </a:lnTo>
                  <a:close/>
                  <a:moveTo>
                    <a:pt x="820294" y="625941"/>
                  </a:moveTo>
                  <a:lnTo>
                    <a:pt x="818720" y="623974"/>
                  </a:lnTo>
                  <a:lnTo>
                    <a:pt x="821081" y="624368"/>
                  </a:lnTo>
                  <a:lnTo>
                    <a:pt x="820294" y="625941"/>
                  </a:lnTo>
                  <a:close/>
                  <a:moveTo>
                    <a:pt x="277366" y="1207819"/>
                  </a:moveTo>
                  <a:lnTo>
                    <a:pt x="274612" y="1206639"/>
                  </a:lnTo>
                  <a:lnTo>
                    <a:pt x="277366" y="1207819"/>
                  </a:lnTo>
                  <a:lnTo>
                    <a:pt x="277366" y="1207819"/>
                  </a:lnTo>
                  <a:close/>
                  <a:moveTo>
                    <a:pt x="349363" y="1268013"/>
                  </a:moveTo>
                  <a:lnTo>
                    <a:pt x="349756" y="1266439"/>
                  </a:lnTo>
                  <a:lnTo>
                    <a:pt x="352510" y="1266833"/>
                  </a:lnTo>
                  <a:lnTo>
                    <a:pt x="349363" y="1268013"/>
                  </a:lnTo>
                  <a:close/>
                  <a:moveTo>
                    <a:pt x="1172804" y="1227097"/>
                  </a:moveTo>
                  <a:lnTo>
                    <a:pt x="1172804" y="1227097"/>
                  </a:lnTo>
                  <a:lnTo>
                    <a:pt x="1170050" y="1228670"/>
                  </a:lnTo>
                  <a:lnTo>
                    <a:pt x="1169657" y="1230244"/>
                  </a:lnTo>
                  <a:lnTo>
                    <a:pt x="1169657" y="1228670"/>
                  </a:lnTo>
                  <a:lnTo>
                    <a:pt x="1172804" y="1227097"/>
                  </a:lnTo>
                  <a:close/>
                  <a:moveTo>
                    <a:pt x="1169657" y="1231424"/>
                  </a:moveTo>
                  <a:lnTo>
                    <a:pt x="1168477" y="1230638"/>
                  </a:lnTo>
                  <a:lnTo>
                    <a:pt x="1169657" y="1231424"/>
                  </a:lnTo>
                  <a:lnTo>
                    <a:pt x="1169657" y="1231424"/>
                  </a:lnTo>
                  <a:close/>
                  <a:moveTo>
                    <a:pt x="791181" y="2574582"/>
                  </a:moveTo>
                  <a:lnTo>
                    <a:pt x="796295" y="2577336"/>
                  </a:lnTo>
                  <a:lnTo>
                    <a:pt x="791181" y="2574582"/>
                  </a:lnTo>
                  <a:lnTo>
                    <a:pt x="791181" y="2574582"/>
                  </a:lnTo>
                  <a:close/>
                  <a:moveTo>
                    <a:pt x="791574" y="2577729"/>
                  </a:moveTo>
                  <a:lnTo>
                    <a:pt x="790394" y="2577729"/>
                  </a:lnTo>
                  <a:cubicBezTo>
                    <a:pt x="791181" y="2577729"/>
                    <a:pt x="791181" y="2577729"/>
                    <a:pt x="791574" y="2577729"/>
                  </a:cubicBezTo>
                  <a:close/>
                  <a:moveTo>
                    <a:pt x="790001" y="2578123"/>
                  </a:moveTo>
                  <a:lnTo>
                    <a:pt x="787246" y="2578910"/>
                  </a:lnTo>
                  <a:cubicBezTo>
                    <a:pt x="788033" y="2578516"/>
                    <a:pt x="788820" y="2578123"/>
                    <a:pt x="790001" y="2578123"/>
                  </a:cubicBezTo>
                  <a:close/>
                  <a:moveTo>
                    <a:pt x="784492" y="2573008"/>
                  </a:moveTo>
                  <a:lnTo>
                    <a:pt x="783706" y="2571434"/>
                  </a:lnTo>
                  <a:cubicBezTo>
                    <a:pt x="784492" y="2572221"/>
                    <a:pt x="785279" y="2573402"/>
                    <a:pt x="785673" y="2574188"/>
                  </a:cubicBezTo>
                  <a:lnTo>
                    <a:pt x="784492" y="2573008"/>
                  </a:lnTo>
                  <a:close/>
                  <a:moveTo>
                    <a:pt x="790787" y="2587565"/>
                  </a:moveTo>
                  <a:cubicBezTo>
                    <a:pt x="791181" y="2587565"/>
                    <a:pt x="791574" y="2587958"/>
                    <a:pt x="791574" y="2587958"/>
                  </a:cubicBezTo>
                  <a:lnTo>
                    <a:pt x="790394" y="2585598"/>
                  </a:lnTo>
                  <a:lnTo>
                    <a:pt x="792361" y="2585598"/>
                  </a:lnTo>
                  <a:lnTo>
                    <a:pt x="793935" y="2588352"/>
                  </a:lnTo>
                  <a:lnTo>
                    <a:pt x="794721" y="2589532"/>
                  </a:lnTo>
                  <a:cubicBezTo>
                    <a:pt x="794721" y="2589926"/>
                    <a:pt x="795115" y="2590319"/>
                    <a:pt x="795115" y="2590712"/>
                  </a:cubicBezTo>
                  <a:cubicBezTo>
                    <a:pt x="793935" y="2589532"/>
                    <a:pt x="792754" y="2588352"/>
                    <a:pt x="791181" y="2587565"/>
                  </a:cubicBezTo>
                  <a:lnTo>
                    <a:pt x="792361" y="2589532"/>
                  </a:lnTo>
                  <a:lnTo>
                    <a:pt x="790787" y="2587565"/>
                  </a:lnTo>
                  <a:close/>
                  <a:moveTo>
                    <a:pt x="515782" y="2315314"/>
                  </a:moveTo>
                  <a:lnTo>
                    <a:pt x="515782" y="2315314"/>
                  </a:lnTo>
                  <a:lnTo>
                    <a:pt x="515782" y="2315314"/>
                  </a:lnTo>
                  <a:lnTo>
                    <a:pt x="515782" y="2315314"/>
                  </a:lnTo>
                  <a:close/>
                  <a:moveTo>
                    <a:pt x="44457" y="2063914"/>
                  </a:moveTo>
                  <a:lnTo>
                    <a:pt x="44457" y="2063914"/>
                  </a:lnTo>
                  <a:lnTo>
                    <a:pt x="44457" y="2063914"/>
                  </a:lnTo>
                  <a:lnTo>
                    <a:pt x="44457" y="2063914"/>
                  </a:lnTo>
                  <a:close/>
                  <a:moveTo>
                    <a:pt x="46425" y="2087914"/>
                  </a:moveTo>
                  <a:lnTo>
                    <a:pt x="47998" y="2086733"/>
                  </a:lnTo>
                  <a:lnTo>
                    <a:pt x="51145" y="2085553"/>
                  </a:lnTo>
                  <a:lnTo>
                    <a:pt x="46425" y="2087914"/>
                  </a:lnTo>
                  <a:lnTo>
                    <a:pt x="46425" y="2087914"/>
                  </a:lnTo>
                  <a:close/>
                  <a:moveTo>
                    <a:pt x="518930" y="2316888"/>
                  </a:moveTo>
                  <a:lnTo>
                    <a:pt x="518930" y="2316888"/>
                  </a:lnTo>
                  <a:lnTo>
                    <a:pt x="516569" y="2315707"/>
                  </a:lnTo>
                  <a:lnTo>
                    <a:pt x="518143" y="2316101"/>
                  </a:lnTo>
                  <a:lnTo>
                    <a:pt x="519716" y="2315707"/>
                  </a:lnTo>
                  <a:lnTo>
                    <a:pt x="521290" y="2316101"/>
                  </a:lnTo>
                  <a:lnTo>
                    <a:pt x="518930" y="2316888"/>
                  </a:lnTo>
                  <a:close/>
                  <a:moveTo>
                    <a:pt x="1548526" y="3247734"/>
                  </a:moveTo>
                  <a:cubicBezTo>
                    <a:pt x="1548920" y="3246947"/>
                    <a:pt x="1549314" y="3245767"/>
                    <a:pt x="1549707" y="3244980"/>
                  </a:cubicBezTo>
                  <a:lnTo>
                    <a:pt x="1548526" y="3247734"/>
                  </a:lnTo>
                  <a:close/>
                  <a:moveTo>
                    <a:pt x="1548133" y="3243407"/>
                  </a:moveTo>
                  <a:lnTo>
                    <a:pt x="1547740" y="3241833"/>
                  </a:lnTo>
                  <a:lnTo>
                    <a:pt x="1548526" y="3239473"/>
                  </a:lnTo>
                  <a:cubicBezTo>
                    <a:pt x="1548133" y="3240653"/>
                    <a:pt x="1548133" y="3241833"/>
                    <a:pt x="1548133" y="3243407"/>
                  </a:cubicBezTo>
                  <a:close/>
                  <a:moveTo>
                    <a:pt x="1525708" y="1565837"/>
                  </a:moveTo>
                  <a:lnTo>
                    <a:pt x="1525708" y="1565837"/>
                  </a:lnTo>
                  <a:lnTo>
                    <a:pt x="1528462" y="1565837"/>
                  </a:lnTo>
                  <a:lnTo>
                    <a:pt x="1527675" y="1565837"/>
                  </a:lnTo>
                  <a:lnTo>
                    <a:pt x="1525708" y="1565837"/>
                  </a:lnTo>
                  <a:close/>
                  <a:moveTo>
                    <a:pt x="2028113" y="1700389"/>
                  </a:moveTo>
                  <a:lnTo>
                    <a:pt x="2028507" y="1701569"/>
                  </a:lnTo>
                  <a:lnTo>
                    <a:pt x="2028507" y="1701569"/>
                  </a:lnTo>
                  <a:lnTo>
                    <a:pt x="2028113" y="1701175"/>
                  </a:lnTo>
                  <a:lnTo>
                    <a:pt x="2028113" y="1700389"/>
                  </a:lnTo>
                  <a:close/>
                  <a:moveTo>
                    <a:pt x="2790574" y="129831"/>
                  </a:moveTo>
                  <a:lnTo>
                    <a:pt x="2790574" y="129831"/>
                  </a:lnTo>
                  <a:lnTo>
                    <a:pt x="2792148" y="129437"/>
                  </a:lnTo>
                  <a:lnTo>
                    <a:pt x="2790574" y="129831"/>
                  </a:lnTo>
                  <a:close/>
                  <a:moveTo>
                    <a:pt x="2033228" y="1707864"/>
                  </a:moveTo>
                  <a:lnTo>
                    <a:pt x="2034408" y="1709437"/>
                  </a:lnTo>
                  <a:lnTo>
                    <a:pt x="2032441" y="1707077"/>
                  </a:lnTo>
                  <a:lnTo>
                    <a:pt x="2033228" y="1707864"/>
                  </a:lnTo>
                  <a:close/>
                  <a:moveTo>
                    <a:pt x="3516446" y="2258267"/>
                  </a:moveTo>
                  <a:lnTo>
                    <a:pt x="3516839" y="2261021"/>
                  </a:lnTo>
                  <a:lnTo>
                    <a:pt x="3516839" y="2263775"/>
                  </a:lnTo>
                  <a:lnTo>
                    <a:pt x="3519593" y="2266529"/>
                  </a:lnTo>
                  <a:lnTo>
                    <a:pt x="3519987" y="2269283"/>
                  </a:lnTo>
                  <a:lnTo>
                    <a:pt x="3520773" y="2272037"/>
                  </a:lnTo>
                  <a:lnTo>
                    <a:pt x="3520773" y="2274791"/>
                  </a:lnTo>
                  <a:lnTo>
                    <a:pt x="3519200" y="2273611"/>
                  </a:lnTo>
                  <a:lnTo>
                    <a:pt x="3513298" y="2257874"/>
                  </a:lnTo>
                  <a:lnTo>
                    <a:pt x="3516446" y="2257874"/>
                  </a:lnTo>
                  <a:close/>
                  <a:moveTo>
                    <a:pt x="4453194" y="433162"/>
                  </a:moveTo>
                  <a:lnTo>
                    <a:pt x="4455161" y="434343"/>
                  </a:lnTo>
                  <a:lnTo>
                    <a:pt x="4453194" y="433162"/>
                  </a:lnTo>
                  <a:lnTo>
                    <a:pt x="4453194" y="433162"/>
                  </a:lnTo>
                  <a:close/>
                  <a:moveTo>
                    <a:pt x="4772264" y="313954"/>
                  </a:moveTo>
                  <a:lnTo>
                    <a:pt x="4777377" y="317102"/>
                  </a:lnTo>
                  <a:lnTo>
                    <a:pt x="4773837" y="315528"/>
                  </a:lnTo>
                  <a:lnTo>
                    <a:pt x="4772264" y="313954"/>
                  </a:lnTo>
                  <a:close/>
                  <a:moveTo>
                    <a:pt x="4514175" y="233695"/>
                  </a:moveTo>
                  <a:lnTo>
                    <a:pt x="4511422" y="232908"/>
                  </a:lnTo>
                  <a:lnTo>
                    <a:pt x="4514175" y="233695"/>
                  </a:lnTo>
                  <a:lnTo>
                    <a:pt x="4516929" y="234089"/>
                  </a:lnTo>
                  <a:lnTo>
                    <a:pt x="4519683" y="234876"/>
                  </a:lnTo>
                  <a:lnTo>
                    <a:pt x="4522044" y="235662"/>
                  </a:lnTo>
                  <a:lnTo>
                    <a:pt x="4516929" y="234876"/>
                  </a:lnTo>
                  <a:lnTo>
                    <a:pt x="4514175" y="233695"/>
                  </a:lnTo>
                  <a:close/>
                  <a:moveTo>
                    <a:pt x="2465997" y="45244"/>
                  </a:moveTo>
                  <a:lnTo>
                    <a:pt x="2469144" y="44457"/>
                  </a:lnTo>
                  <a:lnTo>
                    <a:pt x="2471899" y="44851"/>
                  </a:lnTo>
                  <a:lnTo>
                    <a:pt x="2473079" y="45244"/>
                  </a:lnTo>
                  <a:lnTo>
                    <a:pt x="2468751" y="46031"/>
                  </a:lnTo>
                  <a:lnTo>
                    <a:pt x="2465997" y="45244"/>
                  </a:lnTo>
                  <a:close/>
                  <a:moveTo>
                    <a:pt x="2231909" y="167206"/>
                  </a:moveTo>
                  <a:lnTo>
                    <a:pt x="2234662" y="167600"/>
                  </a:lnTo>
                  <a:lnTo>
                    <a:pt x="2238203" y="169173"/>
                  </a:lnTo>
                  <a:lnTo>
                    <a:pt x="2240957" y="169960"/>
                  </a:lnTo>
                  <a:lnTo>
                    <a:pt x="2244105" y="170354"/>
                  </a:lnTo>
                  <a:lnTo>
                    <a:pt x="2244891" y="170354"/>
                  </a:lnTo>
                  <a:lnTo>
                    <a:pt x="2249613" y="174681"/>
                  </a:lnTo>
                  <a:lnTo>
                    <a:pt x="2229154" y="166813"/>
                  </a:lnTo>
                  <a:lnTo>
                    <a:pt x="2231909" y="167206"/>
                  </a:lnTo>
                  <a:close/>
                  <a:moveTo>
                    <a:pt x="2295643" y="269104"/>
                  </a:moveTo>
                  <a:lnTo>
                    <a:pt x="2298791" y="269497"/>
                  </a:lnTo>
                  <a:lnTo>
                    <a:pt x="2297217" y="266743"/>
                  </a:lnTo>
                  <a:lnTo>
                    <a:pt x="2295643" y="263596"/>
                  </a:lnTo>
                  <a:lnTo>
                    <a:pt x="2295643" y="262809"/>
                  </a:lnTo>
                  <a:lnTo>
                    <a:pt x="2303512" y="266743"/>
                  </a:lnTo>
                  <a:lnTo>
                    <a:pt x="2303512" y="266743"/>
                  </a:lnTo>
                  <a:lnTo>
                    <a:pt x="2303905" y="269497"/>
                  </a:lnTo>
                  <a:lnTo>
                    <a:pt x="2307053" y="272251"/>
                  </a:lnTo>
                  <a:lnTo>
                    <a:pt x="2310200" y="272644"/>
                  </a:lnTo>
                  <a:lnTo>
                    <a:pt x="2312954" y="272251"/>
                  </a:lnTo>
                  <a:lnTo>
                    <a:pt x="2315708" y="273038"/>
                  </a:lnTo>
                  <a:lnTo>
                    <a:pt x="2316889" y="273431"/>
                  </a:lnTo>
                  <a:lnTo>
                    <a:pt x="2320036" y="273825"/>
                  </a:lnTo>
                  <a:lnTo>
                    <a:pt x="2320823" y="273825"/>
                  </a:lnTo>
                  <a:lnTo>
                    <a:pt x="2332232" y="276579"/>
                  </a:lnTo>
                  <a:lnTo>
                    <a:pt x="2324757" y="276972"/>
                  </a:lnTo>
                  <a:lnTo>
                    <a:pt x="2323183" y="276972"/>
                  </a:lnTo>
                  <a:lnTo>
                    <a:pt x="2322790" y="276972"/>
                  </a:lnTo>
                  <a:lnTo>
                    <a:pt x="2317282" y="277366"/>
                  </a:lnTo>
                  <a:lnTo>
                    <a:pt x="2316495" y="276972"/>
                  </a:lnTo>
                  <a:lnTo>
                    <a:pt x="2316102" y="276972"/>
                  </a:lnTo>
                  <a:lnTo>
                    <a:pt x="2297611" y="271071"/>
                  </a:lnTo>
                  <a:lnTo>
                    <a:pt x="2295643" y="269104"/>
                  </a:lnTo>
                  <a:close/>
                  <a:moveTo>
                    <a:pt x="906061" y="700692"/>
                  </a:moveTo>
                  <a:lnTo>
                    <a:pt x="906061" y="700692"/>
                  </a:lnTo>
                  <a:lnTo>
                    <a:pt x="906061" y="700692"/>
                  </a:lnTo>
                  <a:lnTo>
                    <a:pt x="906061" y="700692"/>
                  </a:lnTo>
                  <a:close/>
                  <a:moveTo>
                    <a:pt x="884816" y="309627"/>
                  </a:moveTo>
                  <a:lnTo>
                    <a:pt x="882849" y="308446"/>
                  </a:lnTo>
                  <a:lnTo>
                    <a:pt x="885603" y="309233"/>
                  </a:lnTo>
                  <a:lnTo>
                    <a:pt x="884816" y="309627"/>
                  </a:lnTo>
                  <a:close/>
                  <a:moveTo>
                    <a:pt x="859243" y="350936"/>
                  </a:moveTo>
                  <a:lnTo>
                    <a:pt x="858457" y="351330"/>
                  </a:lnTo>
                  <a:lnTo>
                    <a:pt x="858850" y="350936"/>
                  </a:lnTo>
                  <a:lnTo>
                    <a:pt x="859243" y="350936"/>
                  </a:lnTo>
                  <a:close/>
                  <a:moveTo>
                    <a:pt x="842720" y="383591"/>
                  </a:moveTo>
                  <a:lnTo>
                    <a:pt x="844687" y="382804"/>
                  </a:lnTo>
                  <a:lnTo>
                    <a:pt x="843506" y="383591"/>
                  </a:lnTo>
                  <a:lnTo>
                    <a:pt x="842720" y="383591"/>
                  </a:lnTo>
                  <a:close/>
                  <a:moveTo>
                    <a:pt x="991041" y="411524"/>
                  </a:moveTo>
                  <a:lnTo>
                    <a:pt x="990648" y="410737"/>
                  </a:lnTo>
                  <a:lnTo>
                    <a:pt x="991041" y="411131"/>
                  </a:lnTo>
                  <a:lnTo>
                    <a:pt x="991041" y="411524"/>
                  </a:lnTo>
                  <a:close/>
                  <a:moveTo>
                    <a:pt x="919044" y="702659"/>
                  </a:moveTo>
                  <a:lnTo>
                    <a:pt x="921011" y="701086"/>
                  </a:lnTo>
                  <a:lnTo>
                    <a:pt x="920618" y="700692"/>
                  </a:lnTo>
                  <a:lnTo>
                    <a:pt x="919831" y="700299"/>
                  </a:lnTo>
                  <a:lnTo>
                    <a:pt x="922585" y="700692"/>
                  </a:lnTo>
                  <a:lnTo>
                    <a:pt x="924946" y="702266"/>
                  </a:lnTo>
                  <a:lnTo>
                    <a:pt x="917864" y="706200"/>
                  </a:lnTo>
                  <a:lnTo>
                    <a:pt x="907635" y="701479"/>
                  </a:lnTo>
                  <a:lnTo>
                    <a:pt x="909996" y="701479"/>
                  </a:lnTo>
                  <a:lnTo>
                    <a:pt x="911176" y="701086"/>
                  </a:lnTo>
                  <a:lnTo>
                    <a:pt x="915897" y="700692"/>
                  </a:lnTo>
                  <a:lnTo>
                    <a:pt x="919044" y="702659"/>
                  </a:lnTo>
                  <a:close/>
                  <a:moveTo>
                    <a:pt x="769936" y="610598"/>
                  </a:moveTo>
                  <a:lnTo>
                    <a:pt x="769936" y="610598"/>
                  </a:lnTo>
                  <a:lnTo>
                    <a:pt x="769936" y="610598"/>
                  </a:lnTo>
                  <a:lnTo>
                    <a:pt x="769936" y="610598"/>
                  </a:lnTo>
                  <a:close/>
                  <a:moveTo>
                    <a:pt x="775443" y="603516"/>
                  </a:moveTo>
                  <a:lnTo>
                    <a:pt x="777017" y="601942"/>
                  </a:lnTo>
                  <a:lnTo>
                    <a:pt x="779378" y="601549"/>
                  </a:lnTo>
                  <a:lnTo>
                    <a:pt x="778198" y="602336"/>
                  </a:lnTo>
                  <a:lnTo>
                    <a:pt x="775443" y="603516"/>
                  </a:lnTo>
                  <a:close/>
                  <a:moveTo>
                    <a:pt x="791968" y="615319"/>
                  </a:moveTo>
                  <a:lnTo>
                    <a:pt x="791968" y="614532"/>
                  </a:lnTo>
                  <a:lnTo>
                    <a:pt x="791968" y="613745"/>
                  </a:lnTo>
                  <a:lnTo>
                    <a:pt x="791968" y="615319"/>
                  </a:lnTo>
                  <a:close/>
                  <a:moveTo>
                    <a:pt x="797476" y="708954"/>
                  </a:moveTo>
                  <a:lnTo>
                    <a:pt x="795115" y="706200"/>
                  </a:lnTo>
                  <a:lnTo>
                    <a:pt x="793935" y="705020"/>
                  </a:lnTo>
                  <a:lnTo>
                    <a:pt x="798262" y="708167"/>
                  </a:lnTo>
                  <a:lnTo>
                    <a:pt x="799836" y="710135"/>
                  </a:lnTo>
                  <a:lnTo>
                    <a:pt x="802197" y="710921"/>
                  </a:lnTo>
                  <a:lnTo>
                    <a:pt x="804557" y="711315"/>
                  </a:lnTo>
                  <a:lnTo>
                    <a:pt x="804557" y="711708"/>
                  </a:lnTo>
                  <a:lnTo>
                    <a:pt x="802983" y="711315"/>
                  </a:lnTo>
                  <a:lnTo>
                    <a:pt x="798656" y="709741"/>
                  </a:lnTo>
                  <a:lnTo>
                    <a:pt x="797476" y="708954"/>
                  </a:lnTo>
                  <a:close/>
                  <a:moveTo>
                    <a:pt x="476439" y="874980"/>
                  </a:moveTo>
                  <a:lnTo>
                    <a:pt x="474472" y="876160"/>
                  </a:lnTo>
                  <a:lnTo>
                    <a:pt x="472899" y="874587"/>
                  </a:lnTo>
                  <a:lnTo>
                    <a:pt x="474472" y="875767"/>
                  </a:lnTo>
                  <a:lnTo>
                    <a:pt x="476439" y="874980"/>
                  </a:lnTo>
                  <a:close/>
                  <a:moveTo>
                    <a:pt x="494931" y="919044"/>
                  </a:moveTo>
                  <a:lnTo>
                    <a:pt x="494931" y="919044"/>
                  </a:lnTo>
                  <a:lnTo>
                    <a:pt x="497684" y="919437"/>
                  </a:lnTo>
                  <a:lnTo>
                    <a:pt x="494931" y="919044"/>
                  </a:lnTo>
                  <a:close/>
                  <a:moveTo>
                    <a:pt x="1343158" y="970583"/>
                  </a:moveTo>
                  <a:lnTo>
                    <a:pt x="1345519" y="965075"/>
                  </a:lnTo>
                  <a:lnTo>
                    <a:pt x="1345912" y="968616"/>
                  </a:lnTo>
                  <a:lnTo>
                    <a:pt x="1343158" y="970583"/>
                  </a:lnTo>
                  <a:close/>
                  <a:moveTo>
                    <a:pt x="1392730" y="927306"/>
                  </a:moveTo>
                  <a:lnTo>
                    <a:pt x="1392730" y="927306"/>
                  </a:lnTo>
                  <a:lnTo>
                    <a:pt x="1392336" y="925732"/>
                  </a:lnTo>
                  <a:lnTo>
                    <a:pt x="1393517" y="927306"/>
                  </a:lnTo>
                  <a:lnTo>
                    <a:pt x="1393910" y="929666"/>
                  </a:lnTo>
                  <a:lnTo>
                    <a:pt x="1392730" y="927306"/>
                  </a:lnTo>
                  <a:close/>
                  <a:moveTo>
                    <a:pt x="1483218" y="954059"/>
                  </a:moveTo>
                  <a:lnTo>
                    <a:pt x="1482038" y="954452"/>
                  </a:lnTo>
                  <a:lnTo>
                    <a:pt x="1484398" y="952485"/>
                  </a:lnTo>
                  <a:lnTo>
                    <a:pt x="1483218" y="954059"/>
                  </a:lnTo>
                  <a:close/>
                  <a:moveTo>
                    <a:pt x="1528462" y="1392336"/>
                  </a:moveTo>
                  <a:lnTo>
                    <a:pt x="1528462" y="1392336"/>
                  </a:lnTo>
                  <a:lnTo>
                    <a:pt x="1528462" y="1392336"/>
                  </a:lnTo>
                  <a:lnTo>
                    <a:pt x="1528462" y="1392336"/>
                  </a:lnTo>
                  <a:close/>
                  <a:moveTo>
                    <a:pt x="1654752" y="1734223"/>
                  </a:moveTo>
                  <a:lnTo>
                    <a:pt x="1655932" y="1736190"/>
                  </a:lnTo>
                  <a:lnTo>
                    <a:pt x="1655932" y="1736584"/>
                  </a:lnTo>
                  <a:lnTo>
                    <a:pt x="1654752" y="1734223"/>
                  </a:lnTo>
                  <a:close/>
                  <a:moveTo>
                    <a:pt x="2035195" y="1710618"/>
                  </a:moveTo>
                  <a:lnTo>
                    <a:pt x="2034408" y="1709831"/>
                  </a:lnTo>
                  <a:lnTo>
                    <a:pt x="2033228" y="1708257"/>
                  </a:lnTo>
                  <a:lnTo>
                    <a:pt x="2035195" y="1710618"/>
                  </a:lnTo>
                  <a:close/>
                  <a:moveTo>
                    <a:pt x="2894045" y="2010015"/>
                  </a:moveTo>
                  <a:lnTo>
                    <a:pt x="2894832" y="2006868"/>
                  </a:lnTo>
                  <a:lnTo>
                    <a:pt x="2894045" y="2010015"/>
                  </a:lnTo>
                  <a:lnTo>
                    <a:pt x="2894832" y="2012769"/>
                  </a:lnTo>
                  <a:lnTo>
                    <a:pt x="2894045" y="2010015"/>
                  </a:lnTo>
                  <a:close/>
                  <a:moveTo>
                    <a:pt x="3136396" y="1772779"/>
                  </a:moveTo>
                  <a:lnTo>
                    <a:pt x="3136789" y="1774746"/>
                  </a:lnTo>
                  <a:lnTo>
                    <a:pt x="3135609" y="1770025"/>
                  </a:lnTo>
                  <a:lnTo>
                    <a:pt x="3135216" y="1771992"/>
                  </a:lnTo>
                  <a:lnTo>
                    <a:pt x="3134822" y="1770419"/>
                  </a:lnTo>
                  <a:lnTo>
                    <a:pt x="3134822" y="1769238"/>
                  </a:lnTo>
                  <a:lnTo>
                    <a:pt x="3135609" y="1769632"/>
                  </a:lnTo>
                  <a:lnTo>
                    <a:pt x="3136396" y="1772779"/>
                  </a:lnTo>
                  <a:close/>
                  <a:moveTo>
                    <a:pt x="3223737" y="1785762"/>
                  </a:moveTo>
                  <a:lnTo>
                    <a:pt x="3224917" y="1787729"/>
                  </a:lnTo>
                  <a:lnTo>
                    <a:pt x="3224917" y="1788516"/>
                  </a:lnTo>
                  <a:lnTo>
                    <a:pt x="3223737" y="17857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10" name="Freeform: Shape 2504">
              <a:extLst>
                <a:ext uri="{FF2B5EF4-FFF2-40B4-BE49-F238E27FC236}">
                  <a16:creationId xmlns:a16="http://schemas.microsoft.com/office/drawing/2014/main" id="{A8DBB6F7-23C6-4416-9537-E476F0741E7E}"/>
                </a:ext>
              </a:extLst>
            </p:cNvPr>
            <p:cNvSpPr/>
            <p:nvPr/>
          </p:nvSpPr>
          <p:spPr>
            <a:xfrm>
              <a:off x="9331146" y="4092752"/>
              <a:ext cx="1188148" cy="959960"/>
            </a:xfrm>
            <a:custGeom>
              <a:avLst/>
              <a:gdLst>
                <a:gd name="connsiteX0" fmla="*/ 1191688 w 1188147"/>
                <a:gd name="connsiteY0" fmla="*/ 516569 h 959960"/>
                <a:gd name="connsiteX1" fmla="*/ 1189721 w 1188147"/>
                <a:gd name="connsiteY1" fmla="*/ 513815 h 959960"/>
                <a:gd name="connsiteX2" fmla="*/ 1186967 w 1188147"/>
                <a:gd name="connsiteY2" fmla="*/ 516569 h 959960"/>
                <a:gd name="connsiteX3" fmla="*/ 1187754 w 1188147"/>
                <a:gd name="connsiteY3" fmla="*/ 513815 h 959960"/>
                <a:gd name="connsiteX4" fmla="*/ 1187754 w 1188147"/>
                <a:gd name="connsiteY4" fmla="*/ 511061 h 959960"/>
                <a:gd name="connsiteX5" fmla="*/ 1187361 w 1188147"/>
                <a:gd name="connsiteY5" fmla="*/ 510274 h 959960"/>
                <a:gd name="connsiteX6" fmla="*/ 1186574 w 1188147"/>
                <a:gd name="connsiteY6" fmla="*/ 505160 h 959960"/>
                <a:gd name="connsiteX7" fmla="*/ 1186967 w 1188147"/>
                <a:gd name="connsiteY7" fmla="*/ 504373 h 959960"/>
                <a:gd name="connsiteX8" fmla="*/ 1189721 w 1188147"/>
                <a:gd name="connsiteY8" fmla="*/ 501619 h 959960"/>
                <a:gd name="connsiteX9" fmla="*/ 1189721 w 1188147"/>
                <a:gd name="connsiteY9" fmla="*/ 498865 h 959960"/>
                <a:gd name="connsiteX10" fmla="*/ 1190115 w 1188147"/>
                <a:gd name="connsiteY10" fmla="*/ 495717 h 959960"/>
                <a:gd name="connsiteX11" fmla="*/ 1188541 w 1188147"/>
                <a:gd name="connsiteY11" fmla="*/ 492963 h 959960"/>
                <a:gd name="connsiteX12" fmla="*/ 1185394 w 1188147"/>
                <a:gd name="connsiteY12" fmla="*/ 493357 h 959960"/>
                <a:gd name="connsiteX13" fmla="*/ 1183820 w 1188147"/>
                <a:gd name="connsiteY13" fmla="*/ 492176 h 959960"/>
                <a:gd name="connsiteX14" fmla="*/ 1181853 w 1188147"/>
                <a:gd name="connsiteY14" fmla="*/ 481160 h 959960"/>
                <a:gd name="connsiteX15" fmla="*/ 1182247 w 1188147"/>
                <a:gd name="connsiteY15" fmla="*/ 479587 h 959960"/>
                <a:gd name="connsiteX16" fmla="*/ 1181066 w 1188147"/>
                <a:gd name="connsiteY16" fmla="*/ 476833 h 959960"/>
                <a:gd name="connsiteX17" fmla="*/ 1181066 w 1188147"/>
                <a:gd name="connsiteY17" fmla="*/ 476439 h 959960"/>
                <a:gd name="connsiteX18" fmla="*/ 1180672 w 1188147"/>
                <a:gd name="connsiteY18" fmla="*/ 476046 h 959960"/>
                <a:gd name="connsiteX19" fmla="*/ 1170837 w 1188147"/>
                <a:gd name="connsiteY19" fmla="*/ 455588 h 959960"/>
                <a:gd name="connsiteX20" fmla="*/ 1168477 w 1188147"/>
                <a:gd name="connsiteY20" fmla="*/ 452440 h 959960"/>
                <a:gd name="connsiteX21" fmla="*/ 1165723 w 1188147"/>
                <a:gd name="connsiteY21" fmla="*/ 449686 h 959960"/>
                <a:gd name="connsiteX22" fmla="*/ 1165723 w 1188147"/>
                <a:gd name="connsiteY22" fmla="*/ 452440 h 959960"/>
                <a:gd name="connsiteX23" fmla="*/ 1162968 w 1188147"/>
                <a:gd name="connsiteY23" fmla="*/ 452047 h 959960"/>
                <a:gd name="connsiteX24" fmla="*/ 1162575 w 1188147"/>
                <a:gd name="connsiteY24" fmla="*/ 452047 h 959960"/>
                <a:gd name="connsiteX25" fmla="*/ 1159821 w 1188147"/>
                <a:gd name="connsiteY25" fmla="*/ 450080 h 959960"/>
                <a:gd name="connsiteX26" fmla="*/ 1158641 w 1188147"/>
                <a:gd name="connsiteY26" fmla="*/ 450473 h 959960"/>
                <a:gd name="connsiteX27" fmla="*/ 1158247 w 1188147"/>
                <a:gd name="connsiteY27" fmla="*/ 448899 h 959960"/>
                <a:gd name="connsiteX28" fmla="*/ 1156674 w 1188147"/>
                <a:gd name="connsiteY28" fmla="*/ 445752 h 959960"/>
                <a:gd name="connsiteX29" fmla="*/ 1153526 w 1188147"/>
                <a:gd name="connsiteY29" fmla="*/ 444178 h 959960"/>
                <a:gd name="connsiteX30" fmla="*/ 1152346 w 1188147"/>
                <a:gd name="connsiteY30" fmla="*/ 441424 h 959960"/>
                <a:gd name="connsiteX31" fmla="*/ 1151953 w 1188147"/>
                <a:gd name="connsiteY31" fmla="*/ 438670 h 959960"/>
                <a:gd name="connsiteX32" fmla="*/ 1153132 w 1188147"/>
                <a:gd name="connsiteY32" fmla="*/ 440637 h 959960"/>
                <a:gd name="connsiteX33" fmla="*/ 1154707 w 1188147"/>
                <a:gd name="connsiteY33" fmla="*/ 443392 h 959960"/>
                <a:gd name="connsiteX34" fmla="*/ 1156280 w 1188147"/>
                <a:gd name="connsiteY34" fmla="*/ 442605 h 959960"/>
                <a:gd name="connsiteX35" fmla="*/ 1157460 w 1188147"/>
                <a:gd name="connsiteY35" fmla="*/ 439457 h 959960"/>
                <a:gd name="connsiteX36" fmla="*/ 1156280 w 1188147"/>
                <a:gd name="connsiteY36" fmla="*/ 436703 h 959960"/>
                <a:gd name="connsiteX37" fmla="*/ 1155887 w 1188147"/>
                <a:gd name="connsiteY37" fmla="*/ 433556 h 959960"/>
                <a:gd name="connsiteX38" fmla="*/ 1152740 w 1188147"/>
                <a:gd name="connsiteY38" fmla="*/ 431589 h 959960"/>
                <a:gd name="connsiteX39" fmla="*/ 1151165 w 1188147"/>
                <a:gd name="connsiteY39" fmla="*/ 434343 h 959960"/>
                <a:gd name="connsiteX40" fmla="*/ 1151559 w 1188147"/>
                <a:gd name="connsiteY40" fmla="*/ 437097 h 959960"/>
                <a:gd name="connsiteX41" fmla="*/ 1150772 w 1188147"/>
                <a:gd name="connsiteY41" fmla="*/ 435523 h 959960"/>
                <a:gd name="connsiteX42" fmla="*/ 1148019 w 1188147"/>
                <a:gd name="connsiteY42" fmla="*/ 435129 h 959960"/>
                <a:gd name="connsiteX43" fmla="*/ 1144871 w 1188147"/>
                <a:gd name="connsiteY43" fmla="*/ 433556 h 959960"/>
                <a:gd name="connsiteX44" fmla="*/ 1146051 w 1188147"/>
                <a:gd name="connsiteY44" fmla="*/ 430802 h 959960"/>
                <a:gd name="connsiteX45" fmla="*/ 1145658 w 1188147"/>
                <a:gd name="connsiteY45" fmla="*/ 428048 h 959960"/>
                <a:gd name="connsiteX46" fmla="*/ 1145658 w 1188147"/>
                <a:gd name="connsiteY46" fmla="*/ 428048 h 959960"/>
                <a:gd name="connsiteX47" fmla="*/ 1147231 w 1188147"/>
                <a:gd name="connsiteY47" fmla="*/ 424900 h 959960"/>
                <a:gd name="connsiteX48" fmla="*/ 1146444 w 1188147"/>
                <a:gd name="connsiteY48" fmla="*/ 422146 h 959960"/>
                <a:gd name="connsiteX49" fmla="*/ 1147231 w 1188147"/>
                <a:gd name="connsiteY49" fmla="*/ 415852 h 959960"/>
                <a:gd name="connsiteX50" fmla="*/ 1148411 w 1188147"/>
                <a:gd name="connsiteY50" fmla="*/ 413098 h 959960"/>
                <a:gd name="connsiteX51" fmla="*/ 1149592 w 1188147"/>
                <a:gd name="connsiteY51" fmla="*/ 409950 h 959960"/>
                <a:gd name="connsiteX52" fmla="*/ 1150772 w 1188147"/>
                <a:gd name="connsiteY52" fmla="*/ 407196 h 959960"/>
                <a:gd name="connsiteX53" fmla="*/ 1150379 w 1188147"/>
                <a:gd name="connsiteY53" fmla="*/ 404049 h 959960"/>
                <a:gd name="connsiteX54" fmla="*/ 1149198 w 1188147"/>
                <a:gd name="connsiteY54" fmla="*/ 401295 h 959960"/>
                <a:gd name="connsiteX55" fmla="*/ 1149592 w 1188147"/>
                <a:gd name="connsiteY55" fmla="*/ 399721 h 959960"/>
                <a:gd name="connsiteX56" fmla="*/ 1149198 w 1188147"/>
                <a:gd name="connsiteY56" fmla="*/ 396574 h 959960"/>
                <a:gd name="connsiteX57" fmla="*/ 1147625 w 1188147"/>
                <a:gd name="connsiteY57" fmla="*/ 393820 h 959960"/>
                <a:gd name="connsiteX58" fmla="*/ 1144477 w 1188147"/>
                <a:gd name="connsiteY58" fmla="*/ 395393 h 959960"/>
                <a:gd name="connsiteX59" fmla="*/ 1144084 w 1188147"/>
                <a:gd name="connsiteY59" fmla="*/ 398147 h 959960"/>
                <a:gd name="connsiteX60" fmla="*/ 1130314 w 1188147"/>
                <a:gd name="connsiteY60" fmla="*/ 387525 h 959960"/>
                <a:gd name="connsiteX61" fmla="*/ 1130314 w 1188147"/>
                <a:gd name="connsiteY61" fmla="*/ 387918 h 959960"/>
                <a:gd name="connsiteX62" fmla="*/ 1128347 w 1188147"/>
                <a:gd name="connsiteY62" fmla="*/ 390672 h 959960"/>
                <a:gd name="connsiteX63" fmla="*/ 1127560 w 1188147"/>
                <a:gd name="connsiteY63" fmla="*/ 393426 h 959960"/>
                <a:gd name="connsiteX64" fmla="*/ 1127167 w 1188147"/>
                <a:gd name="connsiteY64" fmla="*/ 396180 h 959960"/>
                <a:gd name="connsiteX65" fmla="*/ 1127953 w 1188147"/>
                <a:gd name="connsiteY65" fmla="*/ 398934 h 959960"/>
                <a:gd name="connsiteX66" fmla="*/ 1127167 w 1188147"/>
                <a:gd name="connsiteY66" fmla="*/ 402475 h 959960"/>
                <a:gd name="connsiteX67" fmla="*/ 1118512 w 1188147"/>
                <a:gd name="connsiteY67" fmla="*/ 368641 h 959960"/>
                <a:gd name="connsiteX68" fmla="*/ 1120085 w 1188147"/>
                <a:gd name="connsiteY68" fmla="*/ 366280 h 959960"/>
                <a:gd name="connsiteX69" fmla="*/ 1118118 w 1188147"/>
                <a:gd name="connsiteY69" fmla="*/ 365886 h 959960"/>
                <a:gd name="connsiteX70" fmla="*/ 1116151 w 1188147"/>
                <a:gd name="connsiteY70" fmla="*/ 357231 h 959960"/>
                <a:gd name="connsiteX71" fmla="*/ 1115364 w 1188147"/>
                <a:gd name="connsiteY71" fmla="*/ 352510 h 959960"/>
                <a:gd name="connsiteX72" fmla="*/ 1116151 w 1188147"/>
                <a:gd name="connsiteY72" fmla="*/ 350543 h 959960"/>
                <a:gd name="connsiteX73" fmla="*/ 1114577 w 1188147"/>
                <a:gd name="connsiteY73" fmla="*/ 348969 h 959960"/>
                <a:gd name="connsiteX74" fmla="*/ 1111036 w 1188147"/>
                <a:gd name="connsiteY74" fmla="*/ 331265 h 959960"/>
                <a:gd name="connsiteX75" fmla="*/ 1111823 w 1188147"/>
                <a:gd name="connsiteY75" fmla="*/ 332052 h 959960"/>
                <a:gd name="connsiteX76" fmla="*/ 1110643 w 1188147"/>
                <a:gd name="connsiteY76" fmla="*/ 329298 h 959960"/>
                <a:gd name="connsiteX77" fmla="*/ 1109855 w 1188147"/>
                <a:gd name="connsiteY77" fmla="*/ 327724 h 959960"/>
                <a:gd name="connsiteX78" fmla="*/ 1109463 w 1188147"/>
                <a:gd name="connsiteY78" fmla="*/ 324970 h 959960"/>
                <a:gd name="connsiteX79" fmla="*/ 1109069 w 1188147"/>
                <a:gd name="connsiteY79" fmla="*/ 321823 h 959960"/>
                <a:gd name="connsiteX80" fmla="*/ 1105921 w 1188147"/>
                <a:gd name="connsiteY80" fmla="*/ 322216 h 959960"/>
                <a:gd name="connsiteX81" fmla="*/ 1103954 w 1188147"/>
                <a:gd name="connsiteY81" fmla="*/ 319069 h 959960"/>
                <a:gd name="connsiteX82" fmla="*/ 1103561 w 1188147"/>
                <a:gd name="connsiteY82" fmla="*/ 316315 h 959960"/>
                <a:gd name="connsiteX83" fmla="*/ 1100807 w 1188147"/>
                <a:gd name="connsiteY83" fmla="*/ 316315 h 959960"/>
                <a:gd name="connsiteX84" fmla="*/ 1100807 w 1188147"/>
                <a:gd name="connsiteY84" fmla="*/ 319069 h 959960"/>
                <a:gd name="connsiteX85" fmla="*/ 1100807 w 1188147"/>
                <a:gd name="connsiteY85" fmla="*/ 319069 h 959960"/>
                <a:gd name="connsiteX86" fmla="*/ 1096086 w 1188147"/>
                <a:gd name="connsiteY86" fmla="*/ 314348 h 959960"/>
                <a:gd name="connsiteX87" fmla="*/ 1095299 w 1188147"/>
                <a:gd name="connsiteY87" fmla="*/ 312774 h 959960"/>
                <a:gd name="connsiteX88" fmla="*/ 1092545 w 1188147"/>
                <a:gd name="connsiteY88" fmla="*/ 312381 h 959960"/>
                <a:gd name="connsiteX89" fmla="*/ 1089398 w 1188147"/>
                <a:gd name="connsiteY89" fmla="*/ 311200 h 959960"/>
                <a:gd name="connsiteX90" fmla="*/ 1088217 w 1188147"/>
                <a:gd name="connsiteY90" fmla="*/ 311200 h 959960"/>
                <a:gd name="connsiteX91" fmla="*/ 1085857 w 1188147"/>
                <a:gd name="connsiteY91" fmla="*/ 310020 h 959960"/>
                <a:gd name="connsiteX92" fmla="*/ 1085070 w 1188147"/>
                <a:gd name="connsiteY92" fmla="*/ 308053 h 959960"/>
                <a:gd name="connsiteX93" fmla="*/ 1085463 w 1188147"/>
                <a:gd name="connsiteY93" fmla="*/ 304905 h 959960"/>
                <a:gd name="connsiteX94" fmla="*/ 1082709 w 1188147"/>
                <a:gd name="connsiteY94" fmla="*/ 305692 h 959960"/>
                <a:gd name="connsiteX95" fmla="*/ 1081923 w 1188147"/>
                <a:gd name="connsiteY95" fmla="*/ 308053 h 959960"/>
                <a:gd name="connsiteX96" fmla="*/ 1078775 w 1188147"/>
                <a:gd name="connsiteY96" fmla="*/ 306479 h 959960"/>
                <a:gd name="connsiteX97" fmla="*/ 1078775 w 1188147"/>
                <a:gd name="connsiteY97" fmla="*/ 302938 h 959960"/>
                <a:gd name="connsiteX98" fmla="*/ 1078381 w 1188147"/>
                <a:gd name="connsiteY98" fmla="*/ 302545 h 959960"/>
                <a:gd name="connsiteX99" fmla="*/ 1078775 w 1188147"/>
                <a:gd name="connsiteY99" fmla="*/ 299791 h 959960"/>
                <a:gd name="connsiteX100" fmla="*/ 1078381 w 1188147"/>
                <a:gd name="connsiteY100" fmla="*/ 297037 h 959960"/>
                <a:gd name="connsiteX101" fmla="*/ 1077202 w 1188147"/>
                <a:gd name="connsiteY101" fmla="*/ 294283 h 959960"/>
                <a:gd name="connsiteX102" fmla="*/ 1075628 w 1188147"/>
                <a:gd name="connsiteY102" fmla="*/ 291135 h 959960"/>
                <a:gd name="connsiteX103" fmla="*/ 1075628 w 1188147"/>
                <a:gd name="connsiteY103" fmla="*/ 294283 h 959960"/>
                <a:gd name="connsiteX104" fmla="*/ 1072874 w 1188147"/>
                <a:gd name="connsiteY104" fmla="*/ 293890 h 959960"/>
                <a:gd name="connsiteX105" fmla="*/ 1072087 w 1188147"/>
                <a:gd name="connsiteY105" fmla="*/ 293890 h 959960"/>
                <a:gd name="connsiteX106" fmla="*/ 1049662 w 1188147"/>
                <a:gd name="connsiteY106" fmla="*/ 263989 h 959960"/>
                <a:gd name="connsiteX107" fmla="*/ 1049268 w 1188147"/>
                <a:gd name="connsiteY107" fmla="*/ 261629 h 959960"/>
                <a:gd name="connsiteX108" fmla="*/ 1050842 w 1188147"/>
                <a:gd name="connsiteY108" fmla="*/ 259661 h 959960"/>
                <a:gd name="connsiteX109" fmla="*/ 1049268 w 1188147"/>
                <a:gd name="connsiteY109" fmla="*/ 256907 h 959960"/>
                <a:gd name="connsiteX110" fmla="*/ 1048482 w 1188147"/>
                <a:gd name="connsiteY110" fmla="*/ 254547 h 959960"/>
                <a:gd name="connsiteX111" fmla="*/ 1046907 w 1188147"/>
                <a:gd name="connsiteY111" fmla="*/ 241957 h 959960"/>
                <a:gd name="connsiteX112" fmla="*/ 1047301 w 1188147"/>
                <a:gd name="connsiteY112" fmla="*/ 239597 h 959960"/>
                <a:gd name="connsiteX113" fmla="*/ 1048088 w 1188147"/>
                <a:gd name="connsiteY113" fmla="*/ 236843 h 959960"/>
                <a:gd name="connsiteX114" fmla="*/ 1049662 w 1188147"/>
                <a:gd name="connsiteY114" fmla="*/ 233695 h 959960"/>
                <a:gd name="connsiteX115" fmla="*/ 1048482 w 1188147"/>
                <a:gd name="connsiteY115" fmla="*/ 230941 h 959960"/>
                <a:gd name="connsiteX116" fmla="*/ 1048482 w 1188147"/>
                <a:gd name="connsiteY116" fmla="*/ 228187 h 959960"/>
                <a:gd name="connsiteX117" fmla="*/ 1048874 w 1188147"/>
                <a:gd name="connsiteY117" fmla="*/ 225040 h 959960"/>
                <a:gd name="connsiteX118" fmla="*/ 1047695 w 1188147"/>
                <a:gd name="connsiteY118" fmla="*/ 222286 h 959960"/>
                <a:gd name="connsiteX119" fmla="*/ 1046907 w 1188147"/>
                <a:gd name="connsiteY119" fmla="*/ 219532 h 959960"/>
                <a:gd name="connsiteX120" fmla="*/ 1046907 w 1188147"/>
                <a:gd name="connsiteY120" fmla="*/ 216778 h 959960"/>
                <a:gd name="connsiteX121" fmla="*/ 1045334 w 1188147"/>
                <a:gd name="connsiteY121" fmla="*/ 214024 h 959960"/>
                <a:gd name="connsiteX122" fmla="*/ 1047301 w 1188147"/>
                <a:gd name="connsiteY122" fmla="*/ 211270 h 959960"/>
                <a:gd name="connsiteX123" fmla="*/ 1048482 w 1188147"/>
                <a:gd name="connsiteY123" fmla="*/ 208123 h 959960"/>
                <a:gd name="connsiteX124" fmla="*/ 1045728 w 1188147"/>
                <a:gd name="connsiteY124" fmla="*/ 208909 h 959960"/>
                <a:gd name="connsiteX125" fmla="*/ 1042580 w 1188147"/>
                <a:gd name="connsiteY125" fmla="*/ 210876 h 959960"/>
                <a:gd name="connsiteX126" fmla="*/ 1043367 w 1188147"/>
                <a:gd name="connsiteY126" fmla="*/ 208516 h 959960"/>
                <a:gd name="connsiteX127" fmla="*/ 1042580 w 1188147"/>
                <a:gd name="connsiteY127" fmla="*/ 206942 h 959960"/>
                <a:gd name="connsiteX128" fmla="*/ 1042186 w 1188147"/>
                <a:gd name="connsiteY128" fmla="*/ 169960 h 959960"/>
                <a:gd name="connsiteX129" fmla="*/ 1043761 w 1188147"/>
                <a:gd name="connsiteY129" fmla="*/ 171140 h 959960"/>
                <a:gd name="connsiteX130" fmla="*/ 1044547 w 1188147"/>
                <a:gd name="connsiteY130" fmla="*/ 168780 h 959960"/>
                <a:gd name="connsiteX131" fmla="*/ 1042186 w 1188147"/>
                <a:gd name="connsiteY131" fmla="*/ 169173 h 959960"/>
                <a:gd name="connsiteX132" fmla="*/ 1041793 w 1188147"/>
                <a:gd name="connsiteY132" fmla="*/ 143207 h 959960"/>
                <a:gd name="connsiteX133" fmla="*/ 1039039 w 1188147"/>
                <a:gd name="connsiteY133" fmla="*/ 141240 h 959960"/>
                <a:gd name="connsiteX134" fmla="*/ 1038646 w 1188147"/>
                <a:gd name="connsiteY134" fmla="*/ 139666 h 959960"/>
                <a:gd name="connsiteX135" fmla="*/ 1036679 w 1188147"/>
                <a:gd name="connsiteY135" fmla="*/ 139666 h 959960"/>
                <a:gd name="connsiteX136" fmla="*/ 1031170 w 1188147"/>
                <a:gd name="connsiteY136" fmla="*/ 135339 h 959960"/>
                <a:gd name="connsiteX137" fmla="*/ 1031170 w 1188147"/>
                <a:gd name="connsiteY137" fmla="*/ 135339 h 959960"/>
                <a:gd name="connsiteX138" fmla="*/ 1029597 w 1188147"/>
                <a:gd name="connsiteY138" fmla="*/ 132191 h 959960"/>
                <a:gd name="connsiteX139" fmla="*/ 1026449 w 1188147"/>
                <a:gd name="connsiteY139" fmla="*/ 129831 h 959960"/>
                <a:gd name="connsiteX140" fmla="*/ 1023695 w 1188147"/>
                <a:gd name="connsiteY140" fmla="*/ 128650 h 959960"/>
                <a:gd name="connsiteX141" fmla="*/ 1022909 w 1188147"/>
                <a:gd name="connsiteY141" fmla="*/ 125503 h 959960"/>
                <a:gd name="connsiteX142" fmla="*/ 1022515 w 1188147"/>
                <a:gd name="connsiteY142" fmla="*/ 122749 h 959960"/>
                <a:gd name="connsiteX143" fmla="*/ 1022909 w 1188147"/>
                <a:gd name="connsiteY143" fmla="*/ 119995 h 959960"/>
                <a:gd name="connsiteX144" fmla="*/ 1020155 w 1188147"/>
                <a:gd name="connsiteY144" fmla="*/ 117635 h 959960"/>
                <a:gd name="connsiteX145" fmla="*/ 1017794 w 1188147"/>
                <a:gd name="connsiteY145" fmla="*/ 120388 h 959960"/>
                <a:gd name="connsiteX146" fmla="*/ 1014646 w 1188147"/>
                <a:gd name="connsiteY146" fmla="*/ 121962 h 959960"/>
                <a:gd name="connsiteX147" fmla="*/ 1011893 w 1188147"/>
                <a:gd name="connsiteY147" fmla="*/ 119995 h 959960"/>
                <a:gd name="connsiteX148" fmla="*/ 1011893 w 1188147"/>
                <a:gd name="connsiteY148" fmla="*/ 120782 h 959960"/>
                <a:gd name="connsiteX149" fmla="*/ 995762 w 1188147"/>
                <a:gd name="connsiteY149" fmla="*/ 108979 h 959960"/>
                <a:gd name="connsiteX150" fmla="*/ 995762 w 1188147"/>
                <a:gd name="connsiteY150" fmla="*/ 107405 h 959960"/>
                <a:gd name="connsiteX151" fmla="*/ 995762 w 1188147"/>
                <a:gd name="connsiteY151" fmla="*/ 107405 h 959960"/>
                <a:gd name="connsiteX152" fmla="*/ 995369 w 1188147"/>
                <a:gd name="connsiteY152" fmla="*/ 99537 h 959960"/>
                <a:gd name="connsiteX153" fmla="*/ 995762 w 1188147"/>
                <a:gd name="connsiteY153" fmla="*/ 98750 h 959960"/>
                <a:gd name="connsiteX154" fmla="*/ 997336 w 1188147"/>
                <a:gd name="connsiteY154" fmla="*/ 95996 h 959960"/>
                <a:gd name="connsiteX155" fmla="*/ 997729 w 1188147"/>
                <a:gd name="connsiteY155" fmla="*/ 92849 h 959960"/>
                <a:gd name="connsiteX156" fmla="*/ 997336 w 1188147"/>
                <a:gd name="connsiteY156" fmla="*/ 90095 h 959960"/>
                <a:gd name="connsiteX157" fmla="*/ 996156 w 1188147"/>
                <a:gd name="connsiteY157" fmla="*/ 87341 h 959960"/>
                <a:gd name="connsiteX158" fmla="*/ 996549 w 1188147"/>
                <a:gd name="connsiteY158" fmla="*/ 84193 h 959960"/>
                <a:gd name="connsiteX159" fmla="*/ 996549 w 1188147"/>
                <a:gd name="connsiteY159" fmla="*/ 81439 h 959960"/>
                <a:gd name="connsiteX160" fmla="*/ 996942 w 1188147"/>
                <a:gd name="connsiteY160" fmla="*/ 78292 h 959960"/>
                <a:gd name="connsiteX161" fmla="*/ 997336 w 1188147"/>
                <a:gd name="connsiteY161" fmla="*/ 75538 h 959960"/>
                <a:gd name="connsiteX162" fmla="*/ 996549 w 1188147"/>
                <a:gd name="connsiteY162" fmla="*/ 72391 h 959960"/>
                <a:gd name="connsiteX163" fmla="*/ 994582 w 1188147"/>
                <a:gd name="connsiteY163" fmla="*/ 72391 h 959960"/>
                <a:gd name="connsiteX164" fmla="*/ 994582 w 1188147"/>
                <a:gd name="connsiteY164" fmla="*/ 68063 h 959960"/>
                <a:gd name="connsiteX165" fmla="*/ 995369 w 1188147"/>
                <a:gd name="connsiteY165" fmla="*/ 66096 h 959960"/>
                <a:gd name="connsiteX166" fmla="*/ 995369 w 1188147"/>
                <a:gd name="connsiteY166" fmla="*/ 63342 h 959960"/>
                <a:gd name="connsiteX167" fmla="*/ 994582 w 1188147"/>
                <a:gd name="connsiteY167" fmla="*/ 62555 h 959960"/>
                <a:gd name="connsiteX168" fmla="*/ 994188 w 1188147"/>
                <a:gd name="connsiteY168" fmla="*/ 42490 h 959960"/>
                <a:gd name="connsiteX169" fmla="*/ 984747 w 1188147"/>
                <a:gd name="connsiteY169" fmla="*/ 23212 h 959960"/>
                <a:gd name="connsiteX170" fmla="*/ 985139 w 1188147"/>
                <a:gd name="connsiteY170" fmla="*/ 22819 h 959960"/>
                <a:gd name="connsiteX171" fmla="*/ 984353 w 1188147"/>
                <a:gd name="connsiteY171" fmla="*/ 20065 h 959960"/>
                <a:gd name="connsiteX172" fmla="*/ 983566 w 1188147"/>
                <a:gd name="connsiteY172" fmla="*/ 16917 h 959960"/>
                <a:gd name="connsiteX173" fmla="*/ 984353 w 1188147"/>
                <a:gd name="connsiteY173" fmla="*/ 14163 h 959960"/>
                <a:gd name="connsiteX174" fmla="*/ 983566 w 1188147"/>
                <a:gd name="connsiteY174" fmla="*/ 11409 h 959960"/>
                <a:gd name="connsiteX175" fmla="*/ 981205 w 1188147"/>
                <a:gd name="connsiteY175" fmla="*/ 8655 h 959960"/>
                <a:gd name="connsiteX176" fmla="*/ 979632 w 1188147"/>
                <a:gd name="connsiteY176" fmla="*/ 5508 h 959960"/>
                <a:gd name="connsiteX177" fmla="*/ 976878 w 1188147"/>
                <a:gd name="connsiteY177" fmla="*/ 7082 h 959960"/>
                <a:gd name="connsiteX178" fmla="*/ 976878 w 1188147"/>
                <a:gd name="connsiteY178" fmla="*/ 6688 h 959960"/>
                <a:gd name="connsiteX179" fmla="*/ 978451 w 1188147"/>
                <a:gd name="connsiteY179" fmla="*/ 3934 h 959960"/>
                <a:gd name="connsiteX180" fmla="*/ 980419 w 1188147"/>
                <a:gd name="connsiteY180" fmla="*/ 1180 h 959960"/>
                <a:gd name="connsiteX181" fmla="*/ 977271 w 1188147"/>
                <a:gd name="connsiteY181" fmla="*/ 0 h 959960"/>
                <a:gd name="connsiteX182" fmla="*/ 974517 w 1188147"/>
                <a:gd name="connsiteY182" fmla="*/ 1574 h 959960"/>
                <a:gd name="connsiteX183" fmla="*/ 972944 w 1188147"/>
                <a:gd name="connsiteY183" fmla="*/ 4721 h 959960"/>
                <a:gd name="connsiteX184" fmla="*/ 971370 w 1188147"/>
                <a:gd name="connsiteY184" fmla="*/ 6295 h 959960"/>
                <a:gd name="connsiteX185" fmla="*/ 968222 w 1188147"/>
                <a:gd name="connsiteY185" fmla="*/ 7082 h 959960"/>
                <a:gd name="connsiteX186" fmla="*/ 965468 w 1188147"/>
                <a:gd name="connsiteY186" fmla="*/ 8262 h 959960"/>
                <a:gd name="connsiteX187" fmla="*/ 965468 w 1188147"/>
                <a:gd name="connsiteY187" fmla="*/ 13770 h 959960"/>
                <a:gd name="connsiteX188" fmla="*/ 964681 w 1188147"/>
                <a:gd name="connsiteY188" fmla="*/ 16524 h 959960"/>
                <a:gd name="connsiteX189" fmla="*/ 964288 w 1188147"/>
                <a:gd name="connsiteY189" fmla="*/ 19671 h 959960"/>
                <a:gd name="connsiteX190" fmla="*/ 963501 w 1188147"/>
                <a:gd name="connsiteY190" fmla="*/ 22425 h 959960"/>
                <a:gd name="connsiteX191" fmla="*/ 962714 w 1188147"/>
                <a:gd name="connsiteY191" fmla="*/ 23999 h 959960"/>
                <a:gd name="connsiteX192" fmla="*/ 952879 w 1188147"/>
                <a:gd name="connsiteY192" fmla="*/ 43277 h 959960"/>
                <a:gd name="connsiteX193" fmla="*/ 950912 w 1188147"/>
                <a:gd name="connsiteY193" fmla="*/ 46031 h 959960"/>
                <a:gd name="connsiteX194" fmla="*/ 949731 w 1188147"/>
                <a:gd name="connsiteY194" fmla="*/ 48785 h 959960"/>
                <a:gd name="connsiteX195" fmla="*/ 949731 w 1188147"/>
                <a:gd name="connsiteY195" fmla="*/ 48785 h 959960"/>
                <a:gd name="connsiteX196" fmla="*/ 948158 w 1188147"/>
                <a:gd name="connsiteY196" fmla="*/ 51932 h 959960"/>
                <a:gd name="connsiteX197" fmla="*/ 947371 w 1188147"/>
                <a:gd name="connsiteY197" fmla="*/ 51932 h 959960"/>
                <a:gd name="connsiteX198" fmla="*/ 946583 w 1188147"/>
                <a:gd name="connsiteY198" fmla="*/ 54293 h 959960"/>
                <a:gd name="connsiteX199" fmla="*/ 945010 w 1188147"/>
                <a:gd name="connsiteY199" fmla="*/ 57047 h 959960"/>
                <a:gd name="connsiteX200" fmla="*/ 944616 w 1188147"/>
                <a:gd name="connsiteY200" fmla="*/ 57834 h 959960"/>
                <a:gd name="connsiteX201" fmla="*/ 943043 w 1188147"/>
                <a:gd name="connsiteY201" fmla="*/ 60588 h 959960"/>
                <a:gd name="connsiteX202" fmla="*/ 942256 w 1188147"/>
                <a:gd name="connsiteY202" fmla="*/ 73964 h 959960"/>
                <a:gd name="connsiteX203" fmla="*/ 941863 w 1188147"/>
                <a:gd name="connsiteY203" fmla="*/ 74358 h 959960"/>
                <a:gd name="connsiteX204" fmla="*/ 941076 w 1188147"/>
                <a:gd name="connsiteY204" fmla="*/ 77111 h 959960"/>
                <a:gd name="connsiteX205" fmla="*/ 941076 w 1188147"/>
                <a:gd name="connsiteY205" fmla="*/ 80259 h 959960"/>
                <a:gd name="connsiteX206" fmla="*/ 941470 w 1188147"/>
                <a:gd name="connsiteY206" fmla="*/ 83013 h 959960"/>
                <a:gd name="connsiteX207" fmla="*/ 941863 w 1188147"/>
                <a:gd name="connsiteY207" fmla="*/ 83800 h 959960"/>
                <a:gd name="connsiteX208" fmla="*/ 941470 w 1188147"/>
                <a:gd name="connsiteY208" fmla="*/ 88914 h 959960"/>
                <a:gd name="connsiteX209" fmla="*/ 941076 w 1188147"/>
                <a:gd name="connsiteY209" fmla="*/ 89308 h 959960"/>
                <a:gd name="connsiteX210" fmla="*/ 939895 w 1188147"/>
                <a:gd name="connsiteY210" fmla="*/ 90881 h 959960"/>
                <a:gd name="connsiteX211" fmla="*/ 937928 w 1188147"/>
                <a:gd name="connsiteY211" fmla="*/ 94029 h 959960"/>
                <a:gd name="connsiteX212" fmla="*/ 936355 w 1188147"/>
                <a:gd name="connsiteY212" fmla="*/ 96783 h 959960"/>
                <a:gd name="connsiteX213" fmla="*/ 935174 w 1188147"/>
                <a:gd name="connsiteY213" fmla="*/ 99537 h 959960"/>
                <a:gd name="connsiteX214" fmla="*/ 933994 w 1188147"/>
                <a:gd name="connsiteY214" fmla="*/ 102684 h 959960"/>
                <a:gd name="connsiteX215" fmla="*/ 933207 w 1188147"/>
                <a:gd name="connsiteY215" fmla="*/ 105438 h 959960"/>
                <a:gd name="connsiteX216" fmla="*/ 932814 w 1188147"/>
                <a:gd name="connsiteY216" fmla="*/ 108586 h 959960"/>
                <a:gd name="connsiteX217" fmla="*/ 933994 w 1188147"/>
                <a:gd name="connsiteY217" fmla="*/ 111340 h 959960"/>
                <a:gd name="connsiteX218" fmla="*/ 935568 w 1188147"/>
                <a:gd name="connsiteY218" fmla="*/ 114094 h 959960"/>
                <a:gd name="connsiteX219" fmla="*/ 935568 w 1188147"/>
                <a:gd name="connsiteY219" fmla="*/ 116848 h 959960"/>
                <a:gd name="connsiteX220" fmla="*/ 935174 w 1188147"/>
                <a:gd name="connsiteY220" fmla="*/ 119995 h 959960"/>
                <a:gd name="connsiteX221" fmla="*/ 933601 w 1188147"/>
                <a:gd name="connsiteY221" fmla="*/ 122749 h 959960"/>
                <a:gd name="connsiteX222" fmla="*/ 932421 w 1188147"/>
                <a:gd name="connsiteY222" fmla="*/ 125503 h 959960"/>
                <a:gd name="connsiteX223" fmla="*/ 932027 w 1188147"/>
                <a:gd name="connsiteY223" fmla="*/ 128650 h 959960"/>
                <a:gd name="connsiteX224" fmla="*/ 932027 w 1188147"/>
                <a:gd name="connsiteY224" fmla="*/ 137306 h 959960"/>
                <a:gd name="connsiteX225" fmla="*/ 932421 w 1188147"/>
                <a:gd name="connsiteY225" fmla="*/ 140060 h 959960"/>
                <a:gd name="connsiteX226" fmla="*/ 932421 w 1188147"/>
                <a:gd name="connsiteY226" fmla="*/ 140453 h 959960"/>
                <a:gd name="connsiteX227" fmla="*/ 930454 w 1188147"/>
                <a:gd name="connsiteY227" fmla="*/ 151469 h 959960"/>
                <a:gd name="connsiteX228" fmla="*/ 930060 w 1188147"/>
                <a:gd name="connsiteY228" fmla="*/ 151469 h 959960"/>
                <a:gd name="connsiteX229" fmla="*/ 928879 w 1188147"/>
                <a:gd name="connsiteY229" fmla="*/ 154617 h 959960"/>
                <a:gd name="connsiteX230" fmla="*/ 927306 w 1188147"/>
                <a:gd name="connsiteY230" fmla="*/ 157371 h 959960"/>
                <a:gd name="connsiteX231" fmla="*/ 925733 w 1188147"/>
                <a:gd name="connsiteY231" fmla="*/ 160125 h 959960"/>
                <a:gd name="connsiteX232" fmla="*/ 924158 w 1188147"/>
                <a:gd name="connsiteY232" fmla="*/ 163272 h 959960"/>
                <a:gd name="connsiteX233" fmla="*/ 923372 w 1188147"/>
                <a:gd name="connsiteY233" fmla="*/ 166026 h 959960"/>
                <a:gd name="connsiteX234" fmla="*/ 922585 w 1188147"/>
                <a:gd name="connsiteY234" fmla="*/ 168780 h 959960"/>
                <a:gd name="connsiteX235" fmla="*/ 921798 w 1188147"/>
                <a:gd name="connsiteY235" fmla="*/ 171927 h 959960"/>
                <a:gd name="connsiteX236" fmla="*/ 921011 w 1188147"/>
                <a:gd name="connsiteY236" fmla="*/ 174681 h 959960"/>
                <a:gd name="connsiteX237" fmla="*/ 920224 w 1188147"/>
                <a:gd name="connsiteY237" fmla="*/ 177435 h 959960"/>
                <a:gd name="connsiteX238" fmla="*/ 920618 w 1188147"/>
                <a:gd name="connsiteY238" fmla="*/ 180583 h 959960"/>
                <a:gd name="connsiteX239" fmla="*/ 920224 w 1188147"/>
                <a:gd name="connsiteY239" fmla="*/ 181369 h 959960"/>
                <a:gd name="connsiteX240" fmla="*/ 918257 w 1188147"/>
                <a:gd name="connsiteY240" fmla="*/ 184123 h 959960"/>
                <a:gd name="connsiteX241" fmla="*/ 917076 w 1188147"/>
                <a:gd name="connsiteY241" fmla="*/ 187271 h 959960"/>
                <a:gd name="connsiteX242" fmla="*/ 915503 w 1188147"/>
                <a:gd name="connsiteY242" fmla="*/ 190025 h 959960"/>
                <a:gd name="connsiteX243" fmla="*/ 914323 w 1188147"/>
                <a:gd name="connsiteY243" fmla="*/ 193172 h 959960"/>
                <a:gd name="connsiteX244" fmla="*/ 909996 w 1188147"/>
                <a:gd name="connsiteY244" fmla="*/ 201828 h 959960"/>
                <a:gd name="connsiteX245" fmla="*/ 909602 w 1188147"/>
                <a:gd name="connsiteY245" fmla="*/ 202221 h 959960"/>
                <a:gd name="connsiteX246" fmla="*/ 906848 w 1188147"/>
                <a:gd name="connsiteY246" fmla="*/ 204975 h 959960"/>
                <a:gd name="connsiteX247" fmla="*/ 904487 w 1188147"/>
                <a:gd name="connsiteY247" fmla="*/ 207729 h 959960"/>
                <a:gd name="connsiteX248" fmla="*/ 902127 w 1188147"/>
                <a:gd name="connsiteY248" fmla="*/ 210876 h 959960"/>
                <a:gd name="connsiteX249" fmla="*/ 900160 w 1188147"/>
                <a:gd name="connsiteY249" fmla="*/ 213630 h 959960"/>
                <a:gd name="connsiteX250" fmla="*/ 899766 w 1188147"/>
                <a:gd name="connsiteY250" fmla="*/ 216384 h 959960"/>
                <a:gd name="connsiteX251" fmla="*/ 898586 w 1188147"/>
                <a:gd name="connsiteY251" fmla="*/ 218352 h 959960"/>
                <a:gd name="connsiteX252" fmla="*/ 890717 w 1188147"/>
                <a:gd name="connsiteY252" fmla="*/ 230154 h 959960"/>
                <a:gd name="connsiteX253" fmla="*/ 867898 w 1188147"/>
                <a:gd name="connsiteY253" fmla="*/ 236449 h 959960"/>
                <a:gd name="connsiteX254" fmla="*/ 867112 w 1188147"/>
                <a:gd name="connsiteY254" fmla="*/ 235662 h 959960"/>
                <a:gd name="connsiteX255" fmla="*/ 865144 w 1188147"/>
                <a:gd name="connsiteY255" fmla="*/ 233302 h 959960"/>
                <a:gd name="connsiteX256" fmla="*/ 861997 w 1188147"/>
                <a:gd name="connsiteY256" fmla="*/ 231728 h 959960"/>
                <a:gd name="connsiteX257" fmla="*/ 856883 w 1188147"/>
                <a:gd name="connsiteY257" fmla="*/ 228974 h 959960"/>
                <a:gd name="connsiteX258" fmla="*/ 855309 w 1188147"/>
                <a:gd name="connsiteY258" fmla="*/ 227007 h 959960"/>
                <a:gd name="connsiteX259" fmla="*/ 852161 w 1188147"/>
                <a:gd name="connsiteY259" fmla="*/ 225040 h 959960"/>
                <a:gd name="connsiteX260" fmla="*/ 849014 w 1188147"/>
                <a:gd name="connsiteY260" fmla="*/ 224646 h 959960"/>
                <a:gd name="connsiteX261" fmla="*/ 847440 w 1188147"/>
                <a:gd name="connsiteY261" fmla="*/ 223466 h 959960"/>
                <a:gd name="connsiteX262" fmla="*/ 846260 w 1188147"/>
                <a:gd name="connsiteY262" fmla="*/ 220712 h 959960"/>
                <a:gd name="connsiteX263" fmla="*/ 845867 w 1188147"/>
                <a:gd name="connsiteY263" fmla="*/ 217958 h 959960"/>
                <a:gd name="connsiteX264" fmla="*/ 846260 w 1188147"/>
                <a:gd name="connsiteY264" fmla="*/ 214811 h 959960"/>
                <a:gd name="connsiteX265" fmla="*/ 844293 w 1188147"/>
                <a:gd name="connsiteY265" fmla="*/ 211663 h 959960"/>
                <a:gd name="connsiteX266" fmla="*/ 841539 w 1188147"/>
                <a:gd name="connsiteY266" fmla="*/ 208516 h 959960"/>
                <a:gd name="connsiteX267" fmla="*/ 838391 w 1188147"/>
                <a:gd name="connsiteY267" fmla="*/ 208516 h 959960"/>
                <a:gd name="connsiteX268" fmla="*/ 835245 w 1188147"/>
                <a:gd name="connsiteY268" fmla="*/ 206942 h 959960"/>
                <a:gd name="connsiteX269" fmla="*/ 832490 w 1188147"/>
                <a:gd name="connsiteY269" fmla="*/ 205369 h 959960"/>
                <a:gd name="connsiteX270" fmla="*/ 829343 w 1188147"/>
                <a:gd name="connsiteY270" fmla="*/ 205762 h 959960"/>
                <a:gd name="connsiteX271" fmla="*/ 826196 w 1188147"/>
                <a:gd name="connsiteY271" fmla="*/ 205369 h 959960"/>
                <a:gd name="connsiteX272" fmla="*/ 823835 w 1188147"/>
                <a:gd name="connsiteY272" fmla="*/ 204582 h 959960"/>
                <a:gd name="connsiteX273" fmla="*/ 815179 w 1188147"/>
                <a:gd name="connsiteY273" fmla="*/ 197500 h 959960"/>
                <a:gd name="connsiteX274" fmla="*/ 814786 w 1188147"/>
                <a:gd name="connsiteY274" fmla="*/ 196713 h 959960"/>
                <a:gd name="connsiteX275" fmla="*/ 812032 w 1188147"/>
                <a:gd name="connsiteY275" fmla="*/ 193959 h 959960"/>
                <a:gd name="connsiteX276" fmla="*/ 810851 w 1188147"/>
                <a:gd name="connsiteY276" fmla="*/ 190812 h 959960"/>
                <a:gd name="connsiteX277" fmla="*/ 809278 w 1188147"/>
                <a:gd name="connsiteY277" fmla="*/ 188058 h 959960"/>
                <a:gd name="connsiteX278" fmla="*/ 806524 w 1188147"/>
                <a:gd name="connsiteY278" fmla="*/ 185697 h 959960"/>
                <a:gd name="connsiteX279" fmla="*/ 803377 w 1188147"/>
                <a:gd name="connsiteY279" fmla="*/ 184517 h 959960"/>
                <a:gd name="connsiteX280" fmla="*/ 800623 w 1188147"/>
                <a:gd name="connsiteY280" fmla="*/ 184123 h 959960"/>
                <a:gd name="connsiteX281" fmla="*/ 794721 w 1188147"/>
                <a:gd name="connsiteY281" fmla="*/ 178616 h 959960"/>
                <a:gd name="connsiteX282" fmla="*/ 794721 w 1188147"/>
                <a:gd name="connsiteY282" fmla="*/ 177042 h 959960"/>
                <a:gd name="connsiteX283" fmla="*/ 791574 w 1188147"/>
                <a:gd name="connsiteY283" fmla="*/ 175468 h 959960"/>
                <a:gd name="connsiteX284" fmla="*/ 789213 w 1188147"/>
                <a:gd name="connsiteY284" fmla="*/ 172714 h 959960"/>
                <a:gd name="connsiteX285" fmla="*/ 788033 w 1188147"/>
                <a:gd name="connsiteY285" fmla="*/ 173894 h 959960"/>
                <a:gd name="connsiteX286" fmla="*/ 778591 w 1188147"/>
                <a:gd name="connsiteY286" fmla="*/ 169173 h 959960"/>
                <a:gd name="connsiteX287" fmla="*/ 778198 w 1188147"/>
                <a:gd name="connsiteY287" fmla="*/ 167600 h 959960"/>
                <a:gd name="connsiteX288" fmla="*/ 776623 w 1188147"/>
                <a:gd name="connsiteY288" fmla="*/ 167206 h 959960"/>
                <a:gd name="connsiteX289" fmla="*/ 769542 w 1188147"/>
                <a:gd name="connsiteY289" fmla="*/ 159338 h 959960"/>
                <a:gd name="connsiteX290" fmla="*/ 769542 w 1188147"/>
                <a:gd name="connsiteY290" fmla="*/ 158944 h 959960"/>
                <a:gd name="connsiteX291" fmla="*/ 767182 w 1188147"/>
                <a:gd name="connsiteY291" fmla="*/ 156190 h 959960"/>
                <a:gd name="connsiteX292" fmla="*/ 766001 w 1188147"/>
                <a:gd name="connsiteY292" fmla="*/ 155403 h 959960"/>
                <a:gd name="connsiteX293" fmla="*/ 747116 w 1188147"/>
                <a:gd name="connsiteY293" fmla="*/ 134158 h 959960"/>
                <a:gd name="connsiteX294" fmla="*/ 749477 w 1188147"/>
                <a:gd name="connsiteY294" fmla="*/ 134158 h 959960"/>
                <a:gd name="connsiteX295" fmla="*/ 752231 w 1188147"/>
                <a:gd name="connsiteY295" fmla="*/ 131404 h 959960"/>
                <a:gd name="connsiteX296" fmla="*/ 753018 w 1188147"/>
                <a:gd name="connsiteY296" fmla="*/ 128650 h 959960"/>
                <a:gd name="connsiteX297" fmla="*/ 754985 w 1188147"/>
                <a:gd name="connsiteY297" fmla="*/ 125896 h 959960"/>
                <a:gd name="connsiteX298" fmla="*/ 757739 w 1188147"/>
                <a:gd name="connsiteY298" fmla="*/ 123142 h 959960"/>
                <a:gd name="connsiteX299" fmla="*/ 759706 w 1188147"/>
                <a:gd name="connsiteY299" fmla="*/ 120388 h 959960"/>
                <a:gd name="connsiteX300" fmla="*/ 762461 w 1188147"/>
                <a:gd name="connsiteY300" fmla="*/ 117635 h 959960"/>
                <a:gd name="connsiteX301" fmla="*/ 765214 w 1188147"/>
                <a:gd name="connsiteY301" fmla="*/ 115667 h 959960"/>
                <a:gd name="connsiteX302" fmla="*/ 766001 w 1188147"/>
                <a:gd name="connsiteY302" fmla="*/ 112520 h 959960"/>
                <a:gd name="connsiteX303" fmla="*/ 766395 w 1188147"/>
                <a:gd name="connsiteY303" fmla="*/ 109766 h 959960"/>
                <a:gd name="connsiteX304" fmla="*/ 768755 w 1188147"/>
                <a:gd name="connsiteY304" fmla="*/ 106618 h 959960"/>
                <a:gd name="connsiteX305" fmla="*/ 769935 w 1188147"/>
                <a:gd name="connsiteY305" fmla="*/ 103865 h 959960"/>
                <a:gd name="connsiteX306" fmla="*/ 771116 w 1188147"/>
                <a:gd name="connsiteY306" fmla="*/ 101111 h 959960"/>
                <a:gd name="connsiteX307" fmla="*/ 772689 w 1188147"/>
                <a:gd name="connsiteY307" fmla="*/ 97963 h 959960"/>
                <a:gd name="connsiteX308" fmla="*/ 769935 w 1188147"/>
                <a:gd name="connsiteY308" fmla="*/ 100717 h 959960"/>
                <a:gd name="connsiteX309" fmla="*/ 769149 w 1188147"/>
                <a:gd name="connsiteY309" fmla="*/ 100324 h 959960"/>
                <a:gd name="connsiteX310" fmla="*/ 781738 w 1188147"/>
                <a:gd name="connsiteY310" fmla="*/ 81046 h 959960"/>
                <a:gd name="connsiteX311" fmla="*/ 784099 w 1188147"/>
                <a:gd name="connsiteY311" fmla="*/ 79472 h 959960"/>
                <a:gd name="connsiteX312" fmla="*/ 783705 w 1188147"/>
                <a:gd name="connsiteY312" fmla="*/ 82226 h 959960"/>
                <a:gd name="connsiteX313" fmla="*/ 783705 w 1188147"/>
                <a:gd name="connsiteY313" fmla="*/ 84980 h 959960"/>
                <a:gd name="connsiteX314" fmla="*/ 786459 w 1188147"/>
                <a:gd name="connsiteY314" fmla="*/ 83406 h 959960"/>
                <a:gd name="connsiteX315" fmla="*/ 788820 w 1188147"/>
                <a:gd name="connsiteY315" fmla="*/ 80652 h 959960"/>
                <a:gd name="connsiteX316" fmla="*/ 789213 w 1188147"/>
                <a:gd name="connsiteY316" fmla="*/ 77505 h 959960"/>
                <a:gd name="connsiteX317" fmla="*/ 789607 w 1188147"/>
                <a:gd name="connsiteY317" fmla="*/ 74751 h 959960"/>
                <a:gd name="connsiteX318" fmla="*/ 792754 w 1188147"/>
                <a:gd name="connsiteY318" fmla="*/ 76718 h 959960"/>
                <a:gd name="connsiteX319" fmla="*/ 791180 w 1188147"/>
                <a:gd name="connsiteY319" fmla="*/ 73571 h 959960"/>
                <a:gd name="connsiteX320" fmla="*/ 788820 w 1188147"/>
                <a:gd name="connsiteY320" fmla="*/ 70817 h 959960"/>
                <a:gd name="connsiteX321" fmla="*/ 790393 w 1188147"/>
                <a:gd name="connsiteY321" fmla="*/ 70030 h 959960"/>
                <a:gd name="connsiteX322" fmla="*/ 793147 w 1188147"/>
                <a:gd name="connsiteY322" fmla="*/ 68456 h 959960"/>
                <a:gd name="connsiteX323" fmla="*/ 795114 w 1188147"/>
                <a:gd name="connsiteY323" fmla="*/ 65702 h 959960"/>
                <a:gd name="connsiteX324" fmla="*/ 796689 w 1188147"/>
                <a:gd name="connsiteY324" fmla="*/ 62555 h 959960"/>
                <a:gd name="connsiteX325" fmla="*/ 799442 w 1188147"/>
                <a:gd name="connsiteY325" fmla="*/ 59801 h 959960"/>
                <a:gd name="connsiteX326" fmla="*/ 802196 w 1188147"/>
                <a:gd name="connsiteY326" fmla="*/ 57047 h 959960"/>
                <a:gd name="connsiteX327" fmla="*/ 804163 w 1188147"/>
                <a:gd name="connsiteY327" fmla="*/ 54293 h 959960"/>
                <a:gd name="connsiteX328" fmla="*/ 803377 w 1188147"/>
                <a:gd name="connsiteY328" fmla="*/ 51145 h 959960"/>
                <a:gd name="connsiteX329" fmla="*/ 800229 w 1188147"/>
                <a:gd name="connsiteY329" fmla="*/ 48785 h 959960"/>
                <a:gd name="connsiteX330" fmla="*/ 797475 w 1188147"/>
                <a:gd name="connsiteY330" fmla="*/ 48785 h 959960"/>
                <a:gd name="connsiteX331" fmla="*/ 798262 w 1188147"/>
                <a:gd name="connsiteY331" fmla="*/ 51539 h 959960"/>
                <a:gd name="connsiteX332" fmla="*/ 795508 w 1188147"/>
                <a:gd name="connsiteY332" fmla="*/ 49965 h 959960"/>
                <a:gd name="connsiteX333" fmla="*/ 794328 w 1188147"/>
                <a:gd name="connsiteY333" fmla="*/ 47211 h 959960"/>
                <a:gd name="connsiteX334" fmla="*/ 793541 w 1188147"/>
                <a:gd name="connsiteY334" fmla="*/ 44457 h 959960"/>
                <a:gd name="connsiteX335" fmla="*/ 791968 w 1188147"/>
                <a:gd name="connsiteY335" fmla="*/ 41703 h 959960"/>
                <a:gd name="connsiteX336" fmla="*/ 794721 w 1188147"/>
                <a:gd name="connsiteY336" fmla="*/ 38949 h 959960"/>
                <a:gd name="connsiteX337" fmla="*/ 791968 w 1188147"/>
                <a:gd name="connsiteY337" fmla="*/ 41310 h 959960"/>
                <a:gd name="connsiteX338" fmla="*/ 789213 w 1188147"/>
                <a:gd name="connsiteY338" fmla="*/ 42490 h 959960"/>
                <a:gd name="connsiteX339" fmla="*/ 786066 w 1188147"/>
                <a:gd name="connsiteY339" fmla="*/ 44851 h 959960"/>
                <a:gd name="connsiteX340" fmla="*/ 783312 w 1188147"/>
                <a:gd name="connsiteY340" fmla="*/ 47211 h 959960"/>
                <a:gd name="connsiteX341" fmla="*/ 784099 w 1188147"/>
                <a:gd name="connsiteY341" fmla="*/ 50359 h 959960"/>
                <a:gd name="connsiteX342" fmla="*/ 786853 w 1188147"/>
                <a:gd name="connsiteY342" fmla="*/ 51145 h 959960"/>
                <a:gd name="connsiteX343" fmla="*/ 785279 w 1188147"/>
                <a:gd name="connsiteY343" fmla="*/ 53899 h 959960"/>
                <a:gd name="connsiteX344" fmla="*/ 783705 w 1188147"/>
                <a:gd name="connsiteY344" fmla="*/ 56653 h 959960"/>
                <a:gd name="connsiteX345" fmla="*/ 780952 w 1188147"/>
                <a:gd name="connsiteY345" fmla="*/ 58227 h 959960"/>
                <a:gd name="connsiteX346" fmla="*/ 778198 w 1188147"/>
                <a:gd name="connsiteY346" fmla="*/ 57834 h 959960"/>
                <a:gd name="connsiteX347" fmla="*/ 775837 w 1188147"/>
                <a:gd name="connsiteY347" fmla="*/ 56260 h 959960"/>
                <a:gd name="connsiteX348" fmla="*/ 776231 w 1188147"/>
                <a:gd name="connsiteY348" fmla="*/ 53506 h 959960"/>
                <a:gd name="connsiteX349" fmla="*/ 777017 w 1188147"/>
                <a:gd name="connsiteY349" fmla="*/ 50752 h 959960"/>
                <a:gd name="connsiteX350" fmla="*/ 774263 w 1188147"/>
                <a:gd name="connsiteY350" fmla="*/ 50359 h 959960"/>
                <a:gd name="connsiteX351" fmla="*/ 775837 w 1188147"/>
                <a:gd name="connsiteY351" fmla="*/ 47604 h 959960"/>
                <a:gd name="connsiteX352" fmla="*/ 772689 w 1188147"/>
                <a:gd name="connsiteY352" fmla="*/ 47998 h 959960"/>
                <a:gd name="connsiteX353" fmla="*/ 769935 w 1188147"/>
                <a:gd name="connsiteY353" fmla="*/ 50752 h 959960"/>
                <a:gd name="connsiteX354" fmla="*/ 767574 w 1188147"/>
                <a:gd name="connsiteY354" fmla="*/ 53506 h 959960"/>
                <a:gd name="connsiteX355" fmla="*/ 766395 w 1188147"/>
                <a:gd name="connsiteY355" fmla="*/ 50752 h 959960"/>
                <a:gd name="connsiteX356" fmla="*/ 766788 w 1188147"/>
                <a:gd name="connsiteY356" fmla="*/ 47998 h 959960"/>
                <a:gd name="connsiteX357" fmla="*/ 769542 w 1188147"/>
                <a:gd name="connsiteY357" fmla="*/ 45244 h 959960"/>
                <a:gd name="connsiteX358" fmla="*/ 771903 w 1188147"/>
                <a:gd name="connsiteY358" fmla="*/ 42490 h 959960"/>
                <a:gd name="connsiteX359" fmla="*/ 769149 w 1188147"/>
                <a:gd name="connsiteY359" fmla="*/ 42490 h 959960"/>
                <a:gd name="connsiteX360" fmla="*/ 771903 w 1188147"/>
                <a:gd name="connsiteY360" fmla="*/ 40523 h 959960"/>
                <a:gd name="connsiteX361" fmla="*/ 775050 w 1188147"/>
                <a:gd name="connsiteY361" fmla="*/ 37769 h 959960"/>
                <a:gd name="connsiteX362" fmla="*/ 773870 w 1188147"/>
                <a:gd name="connsiteY362" fmla="*/ 35015 h 959960"/>
                <a:gd name="connsiteX363" fmla="*/ 773083 w 1188147"/>
                <a:gd name="connsiteY363" fmla="*/ 37769 h 959960"/>
                <a:gd name="connsiteX364" fmla="*/ 770329 w 1188147"/>
                <a:gd name="connsiteY364" fmla="*/ 40130 h 959960"/>
                <a:gd name="connsiteX365" fmla="*/ 767574 w 1188147"/>
                <a:gd name="connsiteY365" fmla="*/ 40916 h 959960"/>
                <a:gd name="connsiteX366" fmla="*/ 764428 w 1188147"/>
                <a:gd name="connsiteY366" fmla="*/ 41703 h 959960"/>
                <a:gd name="connsiteX367" fmla="*/ 766001 w 1188147"/>
                <a:gd name="connsiteY367" fmla="*/ 44457 h 959960"/>
                <a:gd name="connsiteX368" fmla="*/ 763247 w 1188147"/>
                <a:gd name="connsiteY368" fmla="*/ 46031 h 959960"/>
                <a:gd name="connsiteX369" fmla="*/ 760494 w 1188147"/>
                <a:gd name="connsiteY369" fmla="*/ 46424 h 959960"/>
                <a:gd name="connsiteX370" fmla="*/ 757739 w 1188147"/>
                <a:gd name="connsiteY370" fmla="*/ 46031 h 959960"/>
                <a:gd name="connsiteX371" fmla="*/ 754985 w 1188147"/>
                <a:gd name="connsiteY371" fmla="*/ 48391 h 959960"/>
                <a:gd name="connsiteX372" fmla="*/ 755772 w 1188147"/>
                <a:gd name="connsiteY372" fmla="*/ 51145 h 959960"/>
                <a:gd name="connsiteX373" fmla="*/ 742002 w 1188147"/>
                <a:gd name="connsiteY373" fmla="*/ 46818 h 959960"/>
                <a:gd name="connsiteX374" fmla="*/ 740822 w 1188147"/>
                <a:gd name="connsiteY374" fmla="*/ 44457 h 959960"/>
                <a:gd name="connsiteX375" fmla="*/ 740428 w 1188147"/>
                <a:gd name="connsiteY375" fmla="*/ 41703 h 959960"/>
                <a:gd name="connsiteX376" fmla="*/ 737675 w 1188147"/>
                <a:gd name="connsiteY376" fmla="*/ 42490 h 959960"/>
                <a:gd name="connsiteX377" fmla="*/ 735314 w 1188147"/>
                <a:gd name="connsiteY377" fmla="*/ 44851 h 959960"/>
                <a:gd name="connsiteX378" fmla="*/ 726265 w 1188147"/>
                <a:gd name="connsiteY378" fmla="*/ 42097 h 959960"/>
                <a:gd name="connsiteX379" fmla="*/ 714069 w 1188147"/>
                <a:gd name="connsiteY379" fmla="*/ 36589 h 959960"/>
                <a:gd name="connsiteX380" fmla="*/ 716036 w 1188147"/>
                <a:gd name="connsiteY380" fmla="*/ 33835 h 959960"/>
                <a:gd name="connsiteX381" fmla="*/ 713282 w 1188147"/>
                <a:gd name="connsiteY381" fmla="*/ 33441 h 959960"/>
                <a:gd name="connsiteX382" fmla="*/ 711315 w 1188147"/>
                <a:gd name="connsiteY382" fmla="*/ 35015 h 959960"/>
                <a:gd name="connsiteX383" fmla="*/ 701872 w 1188147"/>
                <a:gd name="connsiteY383" fmla="*/ 30687 h 959960"/>
                <a:gd name="connsiteX384" fmla="*/ 702659 w 1188147"/>
                <a:gd name="connsiteY384" fmla="*/ 29900 h 959960"/>
                <a:gd name="connsiteX385" fmla="*/ 701086 w 1188147"/>
                <a:gd name="connsiteY385" fmla="*/ 29507 h 959960"/>
                <a:gd name="connsiteX386" fmla="*/ 701086 w 1188147"/>
                <a:gd name="connsiteY386" fmla="*/ 30294 h 959960"/>
                <a:gd name="connsiteX387" fmla="*/ 691250 w 1188147"/>
                <a:gd name="connsiteY387" fmla="*/ 25966 h 959960"/>
                <a:gd name="connsiteX388" fmla="*/ 689677 w 1188147"/>
                <a:gd name="connsiteY388" fmla="*/ 22819 h 959960"/>
                <a:gd name="connsiteX389" fmla="*/ 686922 w 1188147"/>
                <a:gd name="connsiteY389" fmla="*/ 20065 h 959960"/>
                <a:gd name="connsiteX390" fmla="*/ 687316 w 1188147"/>
                <a:gd name="connsiteY390" fmla="*/ 23212 h 959960"/>
                <a:gd name="connsiteX391" fmla="*/ 685743 w 1188147"/>
                <a:gd name="connsiteY391" fmla="*/ 23606 h 959960"/>
                <a:gd name="connsiteX392" fmla="*/ 677480 w 1188147"/>
                <a:gd name="connsiteY392" fmla="*/ 20458 h 959960"/>
                <a:gd name="connsiteX393" fmla="*/ 676694 w 1188147"/>
                <a:gd name="connsiteY393" fmla="*/ 20458 h 959960"/>
                <a:gd name="connsiteX394" fmla="*/ 675907 w 1188147"/>
                <a:gd name="connsiteY394" fmla="*/ 17311 h 959960"/>
                <a:gd name="connsiteX395" fmla="*/ 673152 w 1188147"/>
                <a:gd name="connsiteY395" fmla="*/ 16130 h 959960"/>
                <a:gd name="connsiteX396" fmla="*/ 671579 w 1188147"/>
                <a:gd name="connsiteY396" fmla="*/ 13377 h 959960"/>
                <a:gd name="connsiteX397" fmla="*/ 668825 w 1188147"/>
                <a:gd name="connsiteY397" fmla="*/ 16130 h 959960"/>
                <a:gd name="connsiteX398" fmla="*/ 666071 w 1188147"/>
                <a:gd name="connsiteY398" fmla="*/ 12983 h 959960"/>
                <a:gd name="connsiteX399" fmla="*/ 667251 w 1188147"/>
                <a:gd name="connsiteY399" fmla="*/ 16130 h 959960"/>
                <a:gd name="connsiteX400" fmla="*/ 666858 w 1188147"/>
                <a:gd name="connsiteY400" fmla="*/ 18884 h 959960"/>
                <a:gd name="connsiteX401" fmla="*/ 666464 w 1188147"/>
                <a:gd name="connsiteY401" fmla="*/ 19671 h 959960"/>
                <a:gd name="connsiteX402" fmla="*/ 664891 w 1188147"/>
                <a:gd name="connsiteY402" fmla="*/ 19671 h 959960"/>
                <a:gd name="connsiteX403" fmla="*/ 664497 w 1188147"/>
                <a:gd name="connsiteY403" fmla="*/ 18491 h 959960"/>
                <a:gd name="connsiteX404" fmla="*/ 663710 w 1188147"/>
                <a:gd name="connsiteY404" fmla="*/ 15737 h 959960"/>
                <a:gd name="connsiteX405" fmla="*/ 661349 w 1188147"/>
                <a:gd name="connsiteY405" fmla="*/ 12983 h 959960"/>
                <a:gd name="connsiteX406" fmla="*/ 659382 w 1188147"/>
                <a:gd name="connsiteY406" fmla="*/ 15737 h 959960"/>
                <a:gd name="connsiteX407" fmla="*/ 656236 w 1188147"/>
                <a:gd name="connsiteY407" fmla="*/ 16524 h 959960"/>
                <a:gd name="connsiteX408" fmla="*/ 656236 w 1188147"/>
                <a:gd name="connsiteY408" fmla="*/ 19278 h 959960"/>
                <a:gd name="connsiteX409" fmla="*/ 669218 w 1188147"/>
                <a:gd name="connsiteY409" fmla="*/ 49965 h 959960"/>
                <a:gd name="connsiteX410" fmla="*/ 667251 w 1188147"/>
                <a:gd name="connsiteY410" fmla="*/ 49965 h 959960"/>
                <a:gd name="connsiteX411" fmla="*/ 664497 w 1188147"/>
                <a:gd name="connsiteY411" fmla="*/ 49572 h 959960"/>
                <a:gd name="connsiteX412" fmla="*/ 662530 w 1188147"/>
                <a:gd name="connsiteY412" fmla="*/ 50752 h 959960"/>
                <a:gd name="connsiteX413" fmla="*/ 656236 w 1188147"/>
                <a:gd name="connsiteY413" fmla="*/ 51539 h 959960"/>
                <a:gd name="connsiteX414" fmla="*/ 655448 w 1188147"/>
                <a:gd name="connsiteY414" fmla="*/ 51145 h 959960"/>
                <a:gd name="connsiteX415" fmla="*/ 652694 w 1188147"/>
                <a:gd name="connsiteY415" fmla="*/ 50752 h 959960"/>
                <a:gd name="connsiteX416" fmla="*/ 649547 w 1188147"/>
                <a:gd name="connsiteY416" fmla="*/ 51932 h 959960"/>
                <a:gd name="connsiteX417" fmla="*/ 646793 w 1188147"/>
                <a:gd name="connsiteY417" fmla="*/ 51932 h 959960"/>
                <a:gd name="connsiteX418" fmla="*/ 644039 w 1188147"/>
                <a:gd name="connsiteY418" fmla="*/ 52326 h 959960"/>
                <a:gd name="connsiteX419" fmla="*/ 640891 w 1188147"/>
                <a:gd name="connsiteY419" fmla="*/ 52326 h 959960"/>
                <a:gd name="connsiteX420" fmla="*/ 638138 w 1188147"/>
                <a:gd name="connsiteY420" fmla="*/ 49572 h 959960"/>
                <a:gd name="connsiteX421" fmla="*/ 636564 w 1188147"/>
                <a:gd name="connsiteY421" fmla="*/ 46424 h 959960"/>
                <a:gd name="connsiteX422" fmla="*/ 634203 w 1188147"/>
                <a:gd name="connsiteY422" fmla="*/ 49178 h 959960"/>
                <a:gd name="connsiteX423" fmla="*/ 631056 w 1188147"/>
                <a:gd name="connsiteY423" fmla="*/ 47604 h 959960"/>
                <a:gd name="connsiteX424" fmla="*/ 628302 w 1188147"/>
                <a:gd name="connsiteY424" fmla="*/ 48785 h 959960"/>
                <a:gd name="connsiteX425" fmla="*/ 628696 w 1188147"/>
                <a:gd name="connsiteY425" fmla="*/ 51539 h 959960"/>
                <a:gd name="connsiteX426" fmla="*/ 628302 w 1188147"/>
                <a:gd name="connsiteY426" fmla="*/ 54293 h 959960"/>
                <a:gd name="connsiteX427" fmla="*/ 625548 w 1188147"/>
                <a:gd name="connsiteY427" fmla="*/ 53506 h 959960"/>
                <a:gd name="connsiteX428" fmla="*/ 622794 w 1188147"/>
                <a:gd name="connsiteY428" fmla="*/ 55867 h 959960"/>
                <a:gd name="connsiteX429" fmla="*/ 622794 w 1188147"/>
                <a:gd name="connsiteY429" fmla="*/ 58227 h 959960"/>
                <a:gd name="connsiteX430" fmla="*/ 620827 w 1188147"/>
                <a:gd name="connsiteY430" fmla="*/ 59801 h 959960"/>
                <a:gd name="connsiteX431" fmla="*/ 620433 w 1188147"/>
                <a:gd name="connsiteY431" fmla="*/ 59407 h 959960"/>
                <a:gd name="connsiteX432" fmla="*/ 618860 w 1188147"/>
                <a:gd name="connsiteY432" fmla="*/ 56653 h 959960"/>
                <a:gd name="connsiteX433" fmla="*/ 615712 w 1188147"/>
                <a:gd name="connsiteY433" fmla="*/ 55473 h 959960"/>
                <a:gd name="connsiteX434" fmla="*/ 614532 w 1188147"/>
                <a:gd name="connsiteY434" fmla="*/ 58227 h 959960"/>
                <a:gd name="connsiteX435" fmla="*/ 614138 w 1188147"/>
                <a:gd name="connsiteY435" fmla="*/ 60981 h 959960"/>
                <a:gd name="connsiteX436" fmla="*/ 613745 w 1188147"/>
                <a:gd name="connsiteY436" fmla="*/ 64128 h 959960"/>
                <a:gd name="connsiteX437" fmla="*/ 614532 w 1188147"/>
                <a:gd name="connsiteY437" fmla="*/ 64522 h 959960"/>
                <a:gd name="connsiteX438" fmla="*/ 613351 w 1188147"/>
                <a:gd name="connsiteY438" fmla="*/ 65309 h 959960"/>
                <a:gd name="connsiteX439" fmla="*/ 612171 w 1188147"/>
                <a:gd name="connsiteY439" fmla="*/ 63342 h 959960"/>
                <a:gd name="connsiteX440" fmla="*/ 609417 w 1188147"/>
                <a:gd name="connsiteY440" fmla="*/ 63735 h 959960"/>
                <a:gd name="connsiteX441" fmla="*/ 606663 w 1188147"/>
                <a:gd name="connsiteY441" fmla="*/ 66882 h 959960"/>
                <a:gd name="connsiteX442" fmla="*/ 606270 w 1188147"/>
                <a:gd name="connsiteY442" fmla="*/ 69637 h 959960"/>
                <a:gd name="connsiteX443" fmla="*/ 605483 w 1188147"/>
                <a:gd name="connsiteY443" fmla="*/ 71604 h 959960"/>
                <a:gd name="connsiteX444" fmla="*/ 602335 w 1188147"/>
                <a:gd name="connsiteY444" fmla="*/ 73964 h 959960"/>
                <a:gd name="connsiteX445" fmla="*/ 599582 w 1188147"/>
                <a:gd name="connsiteY445" fmla="*/ 73571 h 959960"/>
                <a:gd name="connsiteX446" fmla="*/ 598795 w 1188147"/>
                <a:gd name="connsiteY446" fmla="*/ 76325 h 959960"/>
                <a:gd name="connsiteX447" fmla="*/ 598401 w 1188147"/>
                <a:gd name="connsiteY447" fmla="*/ 79079 h 959960"/>
                <a:gd name="connsiteX448" fmla="*/ 599582 w 1188147"/>
                <a:gd name="connsiteY448" fmla="*/ 82226 h 959960"/>
                <a:gd name="connsiteX449" fmla="*/ 601156 w 1188147"/>
                <a:gd name="connsiteY449" fmla="*/ 84980 h 959960"/>
                <a:gd name="connsiteX450" fmla="*/ 603516 w 1188147"/>
                <a:gd name="connsiteY450" fmla="*/ 87734 h 959960"/>
                <a:gd name="connsiteX451" fmla="*/ 601942 w 1188147"/>
                <a:gd name="connsiteY451" fmla="*/ 86947 h 959960"/>
                <a:gd name="connsiteX452" fmla="*/ 598795 w 1188147"/>
                <a:gd name="connsiteY452" fmla="*/ 89701 h 959960"/>
                <a:gd name="connsiteX453" fmla="*/ 596041 w 1188147"/>
                <a:gd name="connsiteY453" fmla="*/ 91668 h 959960"/>
                <a:gd name="connsiteX454" fmla="*/ 593287 w 1188147"/>
                <a:gd name="connsiteY454" fmla="*/ 93635 h 959960"/>
                <a:gd name="connsiteX455" fmla="*/ 592500 w 1188147"/>
                <a:gd name="connsiteY455" fmla="*/ 93635 h 959960"/>
                <a:gd name="connsiteX456" fmla="*/ 589746 w 1188147"/>
                <a:gd name="connsiteY456" fmla="*/ 92849 h 959960"/>
                <a:gd name="connsiteX457" fmla="*/ 587779 w 1188147"/>
                <a:gd name="connsiteY457" fmla="*/ 95603 h 959960"/>
                <a:gd name="connsiteX458" fmla="*/ 586205 w 1188147"/>
                <a:gd name="connsiteY458" fmla="*/ 98357 h 959960"/>
                <a:gd name="connsiteX459" fmla="*/ 586598 w 1188147"/>
                <a:gd name="connsiteY459" fmla="*/ 101111 h 959960"/>
                <a:gd name="connsiteX460" fmla="*/ 584238 w 1188147"/>
                <a:gd name="connsiteY460" fmla="*/ 103865 h 959960"/>
                <a:gd name="connsiteX461" fmla="*/ 584238 w 1188147"/>
                <a:gd name="connsiteY461" fmla="*/ 103865 h 959960"/>
                <a:gd name="connsiteX462" fmla="*/ 577550 w 1188147"/>
                <a:gd name="connsiteY462" fmla="*/ 111340 h 959960"/>
                <a:gd name="connsiteX463" fmla="*/ 575976 w 1188147"/>
                <a:gd name="connsiteY463" fmla="*/ 112127 h 959960"/>
                <a:gd name="connsiteX464" fmla="*/ 575189 w 1188147"/>
                <a:gd name="connsiteY464" fmla="*/ 114881 h 959960"/>
                <a:gd name="connsiteX465" fmla="*/ 572828 w 1188147"/>
                <a:gd name="connsiteY465" fmla="*/ 118028 h 959960"/>
                <a:gd name="connsiteX466" fmla="*/ 571255 w 1188147"/>
                <a:gd name="connsiteY466" fmla="*/ 120782 h 959960"/>
                <a:gd name="connsiteX467" fmla="*/ 570468 w 1188147"/>
                <a:gd name="connsiteY467" fmla="*/ 123536 h 959960"/>
                <a:gd name="connsiteX468" fmla="*/ 573616 w 1188147"/>
                <a:gd name="connsiteY468" fmla="*/ 125896 h 959960"/>
                <a:gd name="connsiteX469" fmla="*/ 576370 w 1188147"/>
                <a:gd name="connsiteY469" fmla="*/ 127864 h 959960"/>
                <a:gd name="connsiteX470" fmla="*/ 577943 w 1188147"/>
                <a:gd name="connsiteY470" fmla="*/ 128257 h 959960"/>
                <a:gd name="connsiteX471" fmla="*/ 577943 w 1188147"/>
                <a:gd name="connsiteY471" fmla="*/ 129831 h 959960"/>
                <a:gd name="connsiteX472" fmla="*/ 576370 w 1188147"/>
                <a:gd name="connsiteY472" fmla="*/ 130224 h 959960"/>
                <a:gd name="connsiteX473" fmla="*/ 577943 w 1188147"/>
                <a:gd name="connsiteY473" fmla="*/ 133372 h 959960"/>
                <a:gd name="connsiteX474" fmla="*/ 577943 w 1188147"/>
                <a:gd name="connsiteY474" fmla="*/ 133372 h 959960"/>
                <a:gd name="connsiteX475" fmla="*/ 577943 w 1188147"/>
                <a:gd name="connsiteY475" fmla="*/ 138093 h 959960"/>
                <a:gd name="connsiteX476" fmla="*/ 577156 w 1188147"/>
                <a:gd name="connsiteY476" fmla="*/ 138093 h 959960"/>
                <a:gd name="connsiteX477" fmla="*/ 575976 w 1188147"/>
                <a:gd name="connsiteY477" fmla="*/ 141240 h 959960"/>
                <a:gd name="connsiteX478" fmla="*/ 575976 w 1188147"/>
                <a:gd name="connsiteY478" fmla="*/ 143994 h 959960"/>
                <a:gd name="connsiteX479" fmla="*/ 578337 w 1188147"/>
                <a:gd name="connsiteY479" fmla="*/ 149502 h 959960"/>
                <a:gd name="connsiteX480" fmla="*/ 574403 w 1188147"/>
                <a:gd name="connsiteY480" fmla="*/ 147142 h 959960"/>
                <a:gd name="connsiteX481" fmla="*/ 574403 w 1188147"/>
                <a:gd name="connsiteY481" fmla="*/ 145568 h 959960"/>
                <a:gd name="connsiteX482" fmla="*/ 572828 w 1188147"/>
                <a:gd name="connsiteY482" fmla="*/ 142814 h 959960"/>
                <a:gd name="connsiteX483" fmla="*/ 570861 w 1188147"/>
                <a:gd name="connsiteY483" fmla="*/ 140060 h 959960"/>
                <a:gd name="connsiteX484" fmla="*/ 567715 w 1188147"/>
                <a:gd name="connsiteY484" fmla="*/ 138486 h 959960"/>
                <a:gd name="connsiteX485" fmla="*/ 564960 w 1188147"/>
                <a:gd name="connsiteY485" fmla="*/ 138093 h 959960"/>
                <a:gd name="connsiteX486" fmla="*/ 564960 w 1188147"/>
                <a:gd name="connsiteY486" fmla="*/ 140847 h 959960"/>
                <a:gd name="connsiteX487" fmla="*/ 564960 w 1188147"/>
                <a:gd name="connsiteY487" fmla="*/ 142420 h 959960"/>
                <a:gd name="connsiteX488" fmla="*/ 561419 w 1188147"/>
                <a:gd name="connsiteY488" fmla="*/ 140453 h 959960"/>
                <a:gd name="connsiteX489" fmla="*/ 561026 w 1188147"/>
                <a:gd name="connsiteY489" fmla="*/ 139666 h 959960"/>
                <a:gd name="connsiteX490" fmla="*/ 558272 w 1188147"/>
                <a:gd name="connsiteY490" fmla="*/ 138486 h 959960"/>
                <a:gd name="connsiteX491" fmla="*/ 555912 w 1188147"/>
                <a:gd name="connsiteY491" fmla="*/ 137306 h 959960"/>
                <a:gd name="connsiteX492" fmla="*/ 552764 w 1188147"/>
                <a:gd name="connsiteY492" fmla="*/ 136912 h 959960"/>
                <a:gd name="connsiteX493" fmla="*/ 550010 w 1188147"/>
                <a:gd name="connsiteY493" fmla="*/ 136125 h 959960"/>
                <a:gd name="connsiteX494" fmla="*/ 547256 w 1188147"/>
                <a:gd name="connsiteY494" fmla="*/ 135339 h 959960"/>
                <a:gd name="connsiteX495" fmla="*/ 544109 w 1188147"/>
                <a:gd name="connsiteY495" fmla="*/ 134945 h 959960"/>
                <a:gd name="connsiteX496" fmla="*/ 541354 w 1188147"/>
                <a:gd name="connsiteY496" fmla="*/ 137699 h 959960"/>
                <a:gd name="connsiteX497" fmla="*/ 540568 w 1188147"/>
                <a:gd name="connsiteY497" fmla="*/ 138486 h 959960"/>
                <a:gd name="connsiteX498" fmla="*/ 540568 w 1188147"/>
                <a:gd name="connsiteY498" fmla="*/ 139666 h 959960"/>
                <a:gd name="connsiteX499" fmla="*/ 540175 w 1188147"/>
                <a:gd name="connsiteY499" fmla="*/ 140847 h 959960"/>
                <a:gd name="connsiteX500" fmla="*/ 538994 w 1188147"/>
                <a:gd name="connsiteY500" fmla="*/ 138486 h 959960"/>
                <a:gd name="connsiteX501" fmla="*/ 538600 w 1188147"/>
                <a:gd name="connsiteY501" fmla="*/ 141240 h 959960"/>
                <a:gd name="connsiteX502" fmla="*/ 539781 w 1188147"/>
                <a:gd name="connsiteY502" fmla="*/ 142420 h 959960"/>
                <a:gd name="connsiteX503" fmla="*/ 538994 w 1188147"/>
                <a:gd name="connsiteY503" fmla="*/ 144388 h 959960"/>
                <a:gd name="connsiteX504" fmla="*/ 538600 w 1188147"/>
                <a:gd name="connsiteY504" fmla="*/ 144388 h 959960"/>
                <a:gd name="connsiteX505" fmla="*/ 535847 w 1188147"/>
                <a:gd name="connsiteY505" fmla="*/ 142027 h 959960"/>
                <a:gd name="connsiteX506" fmla="*/ 533093 w 1188147"/>
                <a:gd name="connsiteY506" fmla="*/ 144781 h 959960"/>
                <a:gd name="connsiteX507" fmla="*/ 533486 w 1188147"/>
                <a:gd name="connsiteY507" fmla="*/ 147535 h 959960"/>
                <a:gd name="connsiteX508" fmla="*/ 533486 w 1188147"/>
                <a:gd name="connsiteY508" fmla="*/ 150289 h 959960"/>
                <a:gd name="connsiteX509" fmla="*/ 535060 w 1188147"/>
                <a:gd name="connsiteY509" fmla="*/ 153436 h 959960"/>
                <a:gd name="connsiteX510" fmla="*/ 534666 w 1188147"/>
                <a:gd name="connsiteY510" fmla="*/ 156190 h 959960"/>
                <a:gd name="connsiteX511" fmla="*/ 534273 w 1188147"/>
                <a:gd name="connsiteY511" fmla="*/ 153436 h 959960"/>
                <a:gd name="connsiteX512" fmla="*/ 533093 w 1188147"/>
                <a:gd name="connsiteY512" fmla="*/ 150682 h 959960"/>
                <a:gd name="connsiteX513" fmla="*/ 529945 w 1188147"/>
                <a:gd name="connsiteY513" fmla="*/ 151076 h 959960"/>
                <a:gd name="connsiteX514" fmla="*/ 529945 w 1188147"/>
                <a:gd name="connsiteY514" fmla="*/ 153830 h 959960"/>
                <a:gd name="connsiteX515" fmla="*/ 528765 w 1188147"/>
                <a:gd name="connsiteY515" fmla="*/ 156977 h 959960"/>
                <a:gd name="connsiteX516" fmla="*/ 526011 w 1188147"/>
                <a:gd name="connsiteY516" fmla="*/ 158944 h 959960"/>
                <a:gd name="connsiteX517" fmla="*/ 527978 w 1188147"/>
                <a:gd name="connsiteY517" fmla="*/ 156190 h 959960"/>
                <a:gd name="connsiteX518" fmla="*/ 527584 w 1188147"/>
                <a:gd name="connsiteY518" fmla="*/ 153830 h 959960"/>
                <a:gd name="connsiteX519" fmla="*/ 534273 w 1188147"/>
                <a:gd name="connsiteY519" fmla="*/ 135732 h 959960"/>
                <a:gd name="connsiteX520" fmla="*/ 533880 w 1188147"/>
                <a:gd name="connsiteY520" fmla="*/ 134158 h 959960"/>
                <a:gd name="connsiteX521" fmla="*/ 533093 w 1188147"/>
                <a:gd name="connsiteY521" fmla="*/ 131011 h 959960"/>
                <a:gd name="connsiteX522" fmla="*/ 530339 w 1188147"/>
                <a:gd name="connsiteY522" fmla="*/ 128257 h 959960"/>
                <a:gd name="connsiteX523" fmla="*/ 527584 w 1188147"/>
                <a:gd name="connsiteY523" fmla="*/ 125896 h 959960"/>
                <a:gd name="connsiteX524" fmla="*/ 524438 w 1188147"/>
                <a:gd name="connsiteY524" fmla="*/ 123142 h 959960"/>
                <a:gd name="connsiteX525" fmla="*/ 524044 w 1188147"/>
                <a:gd name="connsiteY525" fmla="*/ 120388 h 959960"/>
                <a:gd name="connsiteX526" fmla="*/ 522471 w 1188147"/>
                <a:gd name="connsiteY526" fmla="*/ 117635 h 959960"/>
                <a:gd name="connsiteX527" fmla="*/ 520896 w 1188147"/>
                <a:gd name="connsiteY527" fmla="*/ 114487 h 959960"/>
                <a:gd name="connsiteX528" fmla="*/ 518142 w 1188147"/>
                <a:gd name="connsiteY528" fmla="*/ 112520 h 959960"/>
                <a:gd name="connsiteX529" fmla="*/ 514995 w 1188147"/>
                <a:gd name="connsiteY529" fmla="*/ 109766 h 959960"/>
                <a:gd name="connsiteX530" fmla="*/ 513814 w 1188147"/>
                <a:gd name="connsiteY530" fmla="*/ 107012 h 959960"/>
                <a:gd name="connsiteX531" fmla="*/ 511061 w 1188147"/>
                <a:gd name="connsiteY531" fmla="*/ 106618 h 959960"/>
                <a:gd name="connsiteX532" fmla="*/ 508307 w 1188147"/>
                <a:gd name="connsiteY532" fmla="*/ 106618 h 959960"/>
                <a:gd name="connsiteX533" fmla="*/ 501619 w 1188147"/>
                <a:gd name="connsiteY533" fmla="*/ 99143 h 959960"/>
                <a:gd name="connsiteX534" fmla="*/ 500044 w 1188147"/>
                <a:gd name="connsiteY534" fmla="*/ 100324 h 959960"/>
                <a:gd name="connsiteX535" fmla="*/ 497291 w 1188147"/>
                <a:gd name="connsiteY535" fmla="*/ 101111 h 959960"/>
                <a:gd name="connsiteX536" fmla="*/ 495717 w 1188147"/>
                <a:gd name="connsiteY536" fmla="*/ 103865 h 959960"/>
                <a:gd name="connsiteX537" fmla="*/ 498077 w 1188147"/>
                <a:gd name="connsiteY537" fmla="*/ 106618 h 959960"/>
                <a:gd name="connsiteX538" fmla="*/ 486275 w 1188147"/>
                <a:gd name="connsiteY538" fmla="*/ 112127 h 959960"/>
                <a:gd name="connsiteX539" fmla="*/ 485095 w 1188147"/>
                <a:gd name="connsiteY539" fmla="*/ 110946 h 959960"/>
                <a:gd name="connsiteX540" fmla="*/ 486275 w 1188147"/>
                <a:gd name="connsiteY540" fmla="*/ 108192 h 959960"/>
                <a:gd name="connsiteX541" fmla="*/ 483521 w 1188147"/>
                <a:gd name="connsiteY541" fmla="*/ 108586 h 959960"/>
                <a:gd name="connsiteX542" fmla="*/ 481947 w 1188147"/>
                <a:gd name="connsiteY542" fmla="*/ 110553 h 959960"/>
                <a:gd name="connsiteX543" fmla="*/ 477226 w 1188147"/>
                <a:gd name="connsiteY543" fmla="*/ 108979 h 959960"/>
                <a:gd name="connsiteX544" fmla="*/ 478013 w 1188147"/>
                <a:gd name="connsiteY544" fmla="*/ 107405 h 959960"/>
                <a:gd name="connsiteX545" fmla="*/ 475259 w 1188147"/>
                <a:gd name="connsiteY545" fmla="*/ 108979 h 959960"/>
                <a:gd name="connsiteX546" fmla="*/ 476833 w 1188147"/>
                <a:gd name="connsiteY546" fmla="*/ 105832 h 959960"/>
                <a:gd name="connsiteX547" fmla="*/ 474079 w 1188147"/>
                <a:gd name="connsiteY547" fmla="*/ 106618 h 959960"/>
                <a:gd name="connsiteX548" fmla="*/ 474472 w 1188147"/>
                <a:gd name="connsiteY548" fmla="*/ 109372 h 959960"/>
                <a:gd name="connsiteX549" fmla="*/ 471718 w 1188147"/>
                <a:gd name="connsiteY549" fmla="*/ 107799 h 959960"/>
                <a:gd name="connsiteX550" fmla="*/ 472112 w 1188147"/>
                <a:gd name="connsiteY550" fmla="*/ 110946 h 959960"/>
                <a:gd name="connsiteX551" fmla="*/ 475259 w 1188147"/>
                <a:gd name="connsiteY551" fmla="*/ 110553 h 959960"/>
                <a:gd name="connsiteX552" fmla="*/ 475652 w 1188147"/>
                <a:gd name="connsiteY552" fmla="*/ 111340 h 959960"/>
                <a:gd name="connsiteX553" fmla="*/ 460309 w 1188147"/>
                <a:gd name="connsiteY553" fmla="*/ 123536 h 959960"/>
                <a:gd name="connsiteX554" fmla="*/ 460309 w 1188147"/>
                <a:gd name="connsiteY554" fmla="*/ 123142 h 959960"/>
                <a:gd name="connsiteX555" fmla="*/ 460702 w 1188147"/>
                <a:gd name="connsiteY555" fmla="*/ 120388 h 959960"/>
                <a:gd name="connsiteX556" fmla="*/ 461489 w 1188147"/>
                <a:gd name="connsiteY556" fmla="*/ 117635 h 959960"/>
                <a:gd name="connsiteX557" fmla="*/ 458735 w 1188147"/>
                <a:gd name="connsiteY557" fmla="*/ 117241 h 959960"/>
                <a:gd name="connsiteX558" fmla="*/ 458342 w 1188147"/>
                <a:gd name="connsiteY558" fmla="*/ 119995 h 959960"/>
                <a:gd name="connsiteX559" fmla="*/ 458342 w 1188147"/>
                <a:gd name="connsiteY559" fmla="*/ 122749 h 959960"/>
                <a:gd name="connsiteX560" fmla="*/ 457555 w 1188147"/>
                <a:gd name="connsiteY560" fmla="*/ 125896 h 959960"/>
                <a:gd name="connsiteX561" fmla="*/ 457161 w 1188147"/>
                <a:gd name="connsiteY561" fmla="*/ 127077 h 959960"/>
                <a:gd name="connsiteX562" fmla="*/ 454408 w 1188147"/>
                <a:gd name="connsiteY562" fmla="*/ 126290 h 959960"/>
                <a:gd name="connsiteX563" fmla="*/ 452047 w 1188147"/>
                <a:gd name="connsiteY563" fmla="*/ 129044 h 959960"/>
                <a:gd name="connsiteX564" fmla="*/ 449293 w 1188147"/>
                <a:gd name="connsiteY564" fmla="*/ 127470 h 959960"/>
                <a:gd name="connsiteX565" fmla="*/ 448112 w 1188147"/>
                <a:gd name="connsiteY565" fmla="*/ 130224 h 959960"/>
                <a:gd name="connsiteX566" fmla="*/ 445359 w 1188147"/>
                <a:gd name="connsiteY566" fmla="*/ 131798 h 959960"/>
                <a:gd name="connsiteX567" fmla="*/ 443785 w 1188147"/>
                <a:gd name="connsiteY567" fmla="*/ 134945 h 959960"/>
                <a:gd name="connsiteX568" fmla="*/ 444178 w 1188147"/>
                <a:gd name="connsiteY568" fmla="*/ 137699 h 959960"/>
                <a:gd name="connsiteX569" fmla="*/ 446932 w 1188147"/>
                <a:gd name="connsiteY569" fmla="*/ 138486 h 959960"/>
                <a:gd name="connsiteX570" fmla="*/ 445752 w 1188147"/>
                <a:gd name="connsiteY570" fmla="*/ 141633 h 959960"/>
                <a:gd name="connsiteX571" fmla="*/ 447720 w 1188147"/>
                <a:gd name="connsiteY571" fmla="*/ 144388 h 959960"/>
                <a:gd name="connsiteX572" fmla="*/ 447720 w 1188147"/>
                <a:gd name="connsiteY572" fmla="*/ 144781 h 959960"/>
                <a:gd name="connsiteX573" fmla="*/ 446539 w 1188147"/>
                <a:gd name="connsiteY573" fmla="*/ 147535 h 959960"/>
                <a:gd name="connsiteX574" fmla="*/ 444572 w 1188147"/>
                <a:gd name="connsiteY574" fmla="*/ 145961 h 959960"/>
                <a:gd name="connsiteX575" fmla="*/ 441424 w 1188147"/>
                <a:gd name="connsiteY575" fmla="*/ 143601 h 959960"/>
                <a:gd name="connsiteX576" fmla="*/ 440638 w 1188147"/>
                <a:gd name="connsiteY576" fmla="*/ 146748 h 959960"/>
                <a:gd name="connsiteX577" fmla="*/ 439851 w 1188147"/>
                <a:gd name="connsiteY577" fmla="*/ 143601 h 959960"/>
                <a:gd name="connsiteX578" fmla="*/ 437096 w 1188147"/>
                <a:gd name="connsiteY578" fmla="*/ 143994 h 959960"/>
                <a:gd name="connsiteX579" fmla="*/ 435523 w 1188147"/>
                <a:gd name="connsiteY579" fmla="*/ 146748 h 959960"/>
                <a:gd name="connsiteX580" fmla="*/ 432769 w 1188147"/>
                <a:gd name="connsiteY580" fmla="*/ 148322 h 959960"/>
                <a:gd name="connsiteX581" fmla="*/ 432375 w 1188147"/>
                <a:gd name="connsiteY581" fmla="*/ 151469 h 959960"/>
                <a:gd name="connsiteX582" fmla="*/ 435129 w 1188147"/>
                <a:gd name="connsiteY582" fmla="*/ 149502 h 959960"/>
                <a:gd name="connsiteX583" fmla="*/ 437884 w 1188147"/>
                <a:gd name="connsiteY583" fmla="*/ 148715 h 959960"/>
                <a:gd name="connsiteX584" fmla="*/ 435129 w 1188147"/>
                <a:gd name="connsiteY584" fmla="*/ 150289 h 959960"/>
                <a:gd name="connsiteX585" fmla="*/ 432769 w 1188147"/>
                <a:gd name="connsiteY585" fmla="*/ 153043 h 959960"/>
                <a:gd name="connsiteX586" fmla="*/ 435523 w 1188147"/>
                <a:gd name="connsiteY586" fmla="*/ 153436 h 959960"/>
                <a:gd name="connsiteX587" fmla="*/ 438277 w 1188147"/>
                <a:gd name="connsiteY587" fmla="*/ 155010 h 959960"/>
                <a:gd name="connsiteX588" fmla="*/ 437490 w 1188147"/>
                <a:gd name="connsiteY588" fmla="*/ 157764 h 959960"/>
                <a:gd name="connsiteX589" fmla="*/ 440244 w 1188147"/>
                <a:gd name="connsiteY589" fmla="*/ 160911 h 959960"/>
                <a:gd name="connsiteX590" fmla="*/ 438671 w 1188147"/>
                <a:gd name="connsiteY590" fmla="*/ 159731 h 959960"/>
                <a:gd name="connsiteX591" fmla="*/ 435917 w 1188147"/>
                <a:gd name="connsiteY591" fmla="*/ 159731 h 959960"/>
                <a:gd name="connsiteX592" fmla="*/ 434342 w 1188147"/>
                <a:gd name="connsiteY592" fmla="*/ 156977 h 959960"/>
                <a:gd name="connsiteX593" fmla="*/ 431589 w 1188147"/>
                <a:gd name="connsiteY593" fmla="*/ 155010 h 959960"/>
                <a:gd name="connsiteX594" fmla="*/ 428835 w 1188147"/>
                <a:gd name="connsiteY594" fmla="*/ 153043 h 959960"/>
                <a:gd name="connsiteX595" fmla="*/ 426081 w 1188147"/>
                <a:gd name="connsiteY595" fmla="*/ 152649 h 959960"/>
                <a:gd name="connsiteX596" fmla="*/ 427654 w 1188147"/>
                <a:gd name="connsiteY596" fmla="*/ 155403 h 959960"/>
                <a:gd name="connsiteX597" fmla="*/ 424901 w 1188147"/>
                <a:gd name="connsiteY597" fmla="*/ 157764 h 959960"/>
                <a:gd name="connsiteX598" fmla="*/ 422147 w 1188147"/>
                <a:gd name="connsiteY598" fmla="*/ 160125 h 959960"/>
                <a:gd name="connsiteX599" fmla="*/ 418999 w 1188147"/>
                <a:gd name="connsiteY599" fmla="*/ 159731 h 959960"/>
                <a:gd name="connsiteX600" fmla="*/ 417032 w 1188147"/>
                <a:gd name="connsiteY600" fmla="*/ 162485 h 959960"/>
                <a:gd name="connsiteX601" fmla="*/ 417032 w 1188147"/>
                <a:gd name="connsiteY601" fmla="*/ 165239 h 959960"/>
                <a:gd name="connsiteX602" fmla="*/ 415852 w 1188147"/>
                <a:gd name="connsiteY602" fmla="*/ 165632 h 959960"/>
                <a:gd name="connsiteX603" fmla="*/ 415458 w 1188147"/>
                <a:gd name="connsiteY603" fmla="*/ 168386 h 959960"/>
                <a:gd name="connsiteX604" fmla="*/ 417032 w 1188147"/>
                <a:gd name="connsiteY604" fmla="*/ 171140 h 959960"/>
                <a:gd name="connsiteX605" fmla="*/ 418605 w 1188147"/>
                <a:gd name="connsiteY605" fmla="*/ 173108 h 959960"/>
                <a:gd name="connsiteX606" fmla="*/ 419786 w 1188147"/>
                <a:gd name="connsiteY606" fmla="*/ 179402 h 959960"/>
                <a:gd name="connsiteX607" fmla="*/ 417032 w 1188147"/>
                <a:gd name="connsiteY607" fmla="*/ 182156 h 959960"/>
                <a:gd name="connsiteX608" fmla="*/ 415065 w 1188147"/>
                <a:gd name="connsiteY608" fmla="*/ 179402 h 959960"/>
                <a:gd name="connsiteX609" fmla="*/ 414278 w 1188147"/>
                <a:gd name="connsiteY609" fmla="*/ 182156 h 959960"/>
                <a:gd name="connsiteX610" fmla="*/ 412704 w 1188147"/>
                <a:gd name="connsiteY610" fmla="*/ 184910 h 959960"/>
                <a:gd name="connsiteX611" fmla="*/ 412704 w 1188147"/>
                <a:gd name="connsiteY611" fmla="*/ 188058 h 959960"/>
                <a:gd name="connsiteX612" fmla="*/ 415458 w 1188147"/>
                <a:gd name="connsiteY612" fmla="*/ 188058 h 959960"/>
                <a:gd name="connsiteX613" fmla="*/ 418605 w 1188147"/>
                <a:gd name="connsiteY613" fmla="*/ 187271 h 959960"/>
                <a:gd name="connsiteX614" fmla="*/ 420966 w 1188147"/>
                <a:gd name="connsiteY614" fmla="*/ 188058 h 959960"/>
                <a:gd name="connsiteX615" fmla="*/ 421359 w 1188147"/>
                <a:gd name="connsiteY615" fmla="*/ 189632 h 959960"/>
                <a:gd name="connsiteX616" fmla="*/ 414278 w 1188147"/>
                <a:gd name="connsiteY616" fmla="*/ 189632 h 959960"/>
                <a:gd name="connsiteX617" fmla="*/ 412311 w 1188147"/>
                <a:gd name="connsiteY617" fmla="*/ 188451 h 959960"/>
                <a:gd name="connsiteX618" fmla="*/ 410737 w 1188147"/>
                <a:gd name="connsiteY618" fmla="*/ 189632 h 959960"/>
                <a:gd name="connsiteX619" fmla="*/ 406410 w 1188147"/>
                <a:gd name="connsiteY619" fmla="*/ 189632 h 959960"/>
                <a:gd name="connsiteX620" fmla="*/ 406016 w 1188147"/>
                <a:gd name="connsiteY620" fmla="*/ 186878 h 959960"/>
                <a:gd name="connsiteX621" fmla="*/ 402868 w 1188147"/>
                <a:gd name="connsiteY621" fmla="*/ 185304 h 959960"/>
                <a:gd name="connsiteX622" fmla="*/ 400115 w 1188147"/>
                <a:gd name="connsiteY622" fmla="*/ 185697 h 959960"/>
                <a:gd name="connsiteX623" fmla="*/ 398934 w 1188147"/>
                <a:gd name="connsiteY623" fmla="*/ 188451 h 959960"/>
                <a:gd name="connsiteX624" fmla="*/ 397361 w 1188147"/>
                <a:gd name="connsiteY624" fmla="*/ 189238 h 959960"/>
                <a:gd name="connsiteX625" fmla="*/ 396180 w 1188147"/>
                <a:gd name="connsiteY625" fmla="*/ 189238 h 959960"/>
                <a:gd name="connsiteX626" fmla="*/ 396574 w 1188147"/>
                <a:gd name="connsiteY626" fmla="*/ 187271 h 959960"/>
                <a:gd name="connsiteX627" fmla="*/ 393426 w 1188147"/>
                <a:gd name="connsiteY627" fmla="*/ 184910 h 959960"/>
                <a:gd name="connsiteX628" fmla="*/ 396180 w 1188147"/>
                <a:gd name="connsiteY628" fmla="*/ 184123 h 959960"/>
                <a:gd name="connsiteX629" fmla="*/ 393819 w 1188147"/>
                <a:gd name="connsiteY629" fmla="*/ 180976 h 959960"/>
                <a:gd name="connsiteX630" fmla="*/ 391066 w 1188147"/>
                <a:gd name="connsiteY630" fmla="*/ 181369 h 959960"/>
                <a:gd name="connsiteX631" fmla="*/ 388312 w 1188147"/>
                <a:gd name="connsiteY631" fmla="*/ 182943 h 959960"/>
                <a:gd name="connsiteX632" fmla="*/ 389885 w 1188147"/>
                <a:gd name="connsiteY632" fmla="*/ 186091 h 959960"/>
                <a:gd name="connsiteX633" fmla="*/ 391852 w 1188147"/>
                <a:gd name="connsiteY633" fmla="*/ 188845 h 959960"/>
                <a:gd name="connsiteX634" fmla="*/ 390279 w 1188147"/>
                <a:gd name="connsiteY634" fmla="*/ 190418 h 959960"/>
                <a:gd name="connsiteX635" fmla="*/ 387131 w 1188147"/>
                <a:gd name="connsiteY635" fmla="*/ 190418 h 959960"/>
                <a:gd name="connsiteX636" fmla="*/ 387131 w 1188147"/>
                <a:gd name="connsiteY636" fmla="*/ 193172 h 959960"/>
                <a:gd name="connsiteX637" fmla="*/ 384377 w 1188147"/>
                <a:gd name="connsiteY637" fmla="*/ 191599 h 959960"/>
                <a:gd name="connsiteX638" fmla="*/ 384771 w 1188147"/>
                <a:gd name="connsiteY638" fmla="*/ 194353 h 959960"/>
                <a:gd name="connsiteX639" fmla="*/ 387525 w 1188147"/>
                <a:gd name="connsiteY639" fmla="*/ 195139 h 959960"/>
                <a:gd name="connsiteX640" fmla="*/ 385951 w 1188147"/>
                <a:gd name="connsiteY640" fmla="*/ 197893 h 959960"/>
                <a:gd name="connsiteX641" fmla="*/ 388706 w 1188147"/>
                <a:gd name="connsiteY641" fmla="*/ 199861 h 959960"/>
                <a:gd name="connsiteX642" fmla="*/ 390279 w 1188147"/>
                <a:gd name="connsiteY642" fmla="*/ 203008 h 959960"/>
                <a:gd name="connsiteX643" fmla="*/ 392246 w 1188147"/>
                <a:gd name="connsiteY643" fmla="*/ 204582 h 959960"/>
                <a:gd name="connsiteX644" fmla="*/ 392246 w 1188147"/>
                <a:gd name="connsiteY644" fmla="*/ 208123 h 959960"/>
                <a:gd name="connsiteX645" fmla="*/ 391066 w 1188147"/>
                <a:gd name="connsiteY645" fmla="*/ 210090 h 959960"/>
                <a:gd name="connsiteX646" fmla="*/ 391459 w 1188147"/>
                <a:gd name="connsiteY646" fmla="*/ 213237 h 959960"/>
                <a:gd name="connsiteX647" fmla="*/ 393033 w 1188147"/>
                <a:gd name="connsiteY647" fmla="*/ 215991 h 959960"/>
                <a:gd name="connsiteX648" fmla="*/ 392640 w 1188147"/>
                <a:gd name="connsiteY648" fmla="*/ 216778 h 959960"/>
                <a:gd name="connsiteX649" fmla="*/ 390279 w 1188147"/>
                <a:gd name="connsiteY649" fmla="*/ 214024 h 959960"/>
                <a:gd name="connsiteX650" fmla="*/ 388706 w 1188147"/>
                <a:gd name="connsiteY650" fmla="*/ 211270 h 959960"/>
                <a:gd name="connsiteX651" fmla="*/ 385951 w 1188147"/>
                <a:gd name="connsiteY651" fmla="*/ 209303 h 959960"/>
                <a:gd name="connsiteX652" fmla="*/ 384771 w 1188147"/>
                <a:gd name="connsiteY652" fmla="*/ 212450 h 959960"/>
                <a:gd name="connsiteX653" fmla="*/ 385558 w 1188147"/>
                <a:gd name="connsiteY653" fmla="*/ 215204 h 959960"/>
                <a:gd name="connsiteX654" fmla="*/ 384771 w 1188147"/>
                <a:gd name="connsiteY654" fmla="*/ 217958 h 959960"/>
                <a:gd name="connsiteX655" fmla="*/ 383984 w 1188147"/>
                <a:gd name="connsiteY655" fmla="*/ 220712 h 959960"/>
                <a:gd name="connsiteX656" fmla="*/ 382410 w 1188147"/>
                <a:gd name="connsiteY656" fmla="*/ 223860 h 959960"/>
                <a:gd name="connsiteX657" fmla="*/ 382804 w 1188147"/>
                <a:gd name="connsiteY657" fmla="*/ 226613 h 959960"/>
                <a:gd name="connsiteX658" fmla="*/ 381230 w 1188147"/>
                <a:gd name="connsiteY658" fmla="*/ 229368 h 959960"/>
                <a:gd name="connsiteX659" fmla="*/ 381624 w 1188147"/>
                <a:gd name="connsiteY659" fmla="*/ 227794 h 959960"/>
                <a:gd name="connsiteX660" fmla="*/ 380049 w 1188147"/>
                <a:gd name="connsiteY660" fmla="*/ 224646 h 959960"/>
                <a:gd name="connsiteX661" fmla="*/ 378870 w 1188147"/>
                <a:gd name="connsiteY661" fmla="*/ 221893 h 959960"/>
                <a:gd name="connsiteX662" fmla="*/ 377689 w 1188147"/>
                <a:gd name="connsiteY662" fmla="*/ 219925 h 959960"/>
                <a:gd name="connsiteX663" fmla="*/ 376903 w 1188147"/>
                <a:gd name="connsiteY663" fmla="*/ 217958 h 959960"/>
                <a:gd name="connsiteX664" fmla="*/ 376509 w 1188147"/>
                <a:gd name="connsiteY664" fmla="*/ 216384 h 959960"/>
                <a:gd name="connsiteX665" fmla="*/ 375328 w 1188147"/>
                <a:gd name="connsiteY665" fmla="*/ 213237 h 959960"/>
                <a:gd name="connsiteX666" fmla="*/ 374936 w 1188147"/>
                <a:gd name="connsiteY666" fmla="*/ 210483 h 959960"/>
                <a:gd name="connsiteX667" fmla="*/ 373361 w 1188147"/>
                <a:gd name="connsiteY667" fmla="*/ 207729 h 959960"/>
                <a:gd name="connsiteX668" fmla="*/ 371001 w 1188147"/>
                <a:gd name="connsiteY668" fmla="*/ 202221 h 959960"/>
                <a:gd name="connsiteX669" fmla="*/ 372181 w 1188147"/>
                <a:gd name="connsiteY669" fmla="*/ 199467 h 959960"/>
                <a:gd name="connsiteX670" fmla="*/ 369427 w 1188147"/>
                <a:gd name="connsiteY670" fmla="*/ 199074 h 959960"/>
                <a:gd name="connsiteX671" fmla="*/ 368247 w 1188147"/>
                <a:gd name="connsiteY671" fmla="*/ 196320 h 959960"/>
                <a:gd name="connsiteX672" fmla="*/ 368247 w 1188147"/>
                <a:gd name="connsiteY672" fmla="*/ 196713 h 959960"/>
                <a:gd name="connsiteX673" fmla="*/ 371001 w 1188147"/>
                <a:gd name="connsiteY673" fmla="*/ 193959 h 959960"/>
                <a:gd name="connsiteX674" fmla="*/ 369821 w 1188147"/>
                <a:gd name="connsiteY674" fmla="*/ 191205 h 959960"/>
                <a:gd name="connsiteX675" fmla="*/ 366673 w 1188147"/>
                <a:gd name="connsiteY675" fmla="*/ 193566 h 959960"/>
                <a:gd name="connsiteX676" fmla="*/ 365100 w 1188147"/>
                <a:gd name="connsiteY676" fmla="*/ 196320 h 959960"/>
                <a:gd name="connsiteX677" fmla="*/ 362345 w 1188147"/>
                <a:gd name="connsiteY677" fmla="*/ 197893 h 959960"/>
                <a:gd name="connsiteX678" fmla="*/ 361166 w 1188147"/>
                <a:gd name="connsiteY678" fmla="*/ 201041 h 959960"/>
                <a:gd name="connsiteX679" fmla="*/ 361166 w 1188147"/>
                <a:gd name="connsiteY679" fmla="*/ 203008 h 959960"/>
                <a:gd name="connsiteX680" fmla="*/ 358018 w 1188147"/>
                <a:gd name="connsiteY680" fmla="*/ 204975 h 959960"/>
                <a:gd name="connsiteX681" fmla="*/ 355264 w 1188147"/>
                <a:gd name="connsiteY681" fmla="*/ 204975 h 959960"/>
                <a:gd name="connsiteX682" fmla="*/ 354477 w 1188147"/>
                <a:gd name="connsiteY682" fmla="*/ 207336 h 959960"/>
                <a:gd name="connsiteX683" fmla="*/ 352117 w 1188147"/>
                <a:gd name="connsiteY683" fmla="*/ 208909 h 959960"/>
                <a:gd name="connsiteX684" fmla="*/ 350936 w 1188147"/>
                <a:gd name="connsiteY684" fmla="*/ 210483 h 959960"/>
                <a:gd name="connsiteX685" fmla="*/ 348182 w 1188147"/>
                <a:gd name="connsiteY685" fmla="*/ 212844 h 959960"/>
                <a:gd name="connsiteX686" fmla="*/ 345035 w 1188147"/>
                <a:gd name="connsiteY686" fmla="*/ 215598 h 959960"/>
                <a:gd name="connsiteX687" fmla="*/ 343461 w 1188147"/>
                <a:gd name="connsiteY687" fmla="*/ 218352 h 959960"/>
                <a:gd name="connsiteX688" fmla="*/ 341101 w 1188147"/>
                <a:gd name="connsiteY688" fmla="*/ 221106 h 959960"/>
                <a:gd name="connsiteX689" fmla="*/ 339920 w 1188147"/>
                <a:gd name="connsiteY689" fmla="*/ 224253 h 959960"/>
                <a:gd name="connsiteX690" fmla="*/ 339527 w 1188147"/>
                <a:gd name="connsiteY690" fmla="*/ 227007 h 959960"/>
                <a:gd name="connsiteX691" fmla="*/ 338740 w 1188147"/>
                <a:gd name="connsiteY691" fmla="*/ 230154 h 959960"/>
                <a:gd name="connsiteX692" fmla="*/ 339133 w 1188147"/>
                <a:gd name="connsiteY692" fmla="*/ 232908 h 959960"/>
                <a:gd name="connsiteX693" fmla="*/ 339133 w 1188147"/>
                <a:gd name="connsiteY693" fmla="*/ 233695 h 959960"/>
                <a:gd name="connsiteX694" fmla="*/ 324183 w 1188147"/>
                <a:gd name="connsiteY694" fmla="*/ 262809 h 959960"/>
                <a:gd name="connsiteX695" fmla="*/ 323003 w 1188147"/>
                <a:gd name="connsiteY695" fmla="*/ 263202 h 959960"/>
                <a:gd name="connsiteX696" fmla="*/ 320643 w 1188147"/>
                <a:gd name="connsiteY696" fmla="*/ 265956 h 959960"/>
                <a:gd name="connsiteX697" fmla="*/ 321035 w 1188147"/>
                <a:gd name="connsiteY697" fmla="*/ 268710 h 959960"/>
                <a:gd name="connsiteX698" fmla="*/ 319462 w 1188147"/>
                <a:gd name="connsiteY698" fmla="*/ 269890 h 959960"/>
                <a:gd name="connsiteX699" fmla="*/ 316708 w 1188147"/>
                <a:gd name="connsiteY699" fmla="*/ 270284 h 959960"/>
                <a:gd name="connsiteX700" fmla="*/ 317101 w 1188147"/>
                <a:gd name="connsiteY700" fmla="*/ 271858 h 959960"/>
                <a:gd name="connsiteX701" fmla="*/ 262021 w 1188147"/>
                <a:gd name="connsiteY701" fmla="*/ 311987 h 959960"/>
                <a:gd name="connsiteX702" fmla="*/ 259268 w 1188147"/>
                <a:gd name="connsiteY702" fmla="*/ 311987 h 959960"/>
                <a:gd name="connsiteX703" fmla="*/ 256514 w 1188147"/>
                <a:gd name="connsiteY703" fmla="*/ 312774 h 959960"/>
                <a:gd name="connsiteX704" fmla="*/ 253366 w 1188147"/>
                <a:gd name="connsiteY704" fmla="*/ 313954 h 959960"/>
                <a:gd name="connsiteX705" fmla="*/ 243924 w 1188147"/>
                <a:gd name="connsiteY705" fmla="*/ 313954 h 959960"/>
                <a:gd name="connsiteX706" fmla="*/ 243138 w 1188147"/>
                <a:gd name="connsiteY706" fmla="*/ 313954 h 959960"/>
                <a:gd name="connsiteX707" fmla="*/ 239990 w 1188147"/>
                <a:gd name="connsiteY707" fmla="*/ 313167 h 959960"/>
                <a:gd name="connsiteX708" fmla="*/ 237236 w 1188147"/>
                <a:gd name="connsiteY708" fmla="*/ 313954 h 959960"/>
                <a:gd name="connsiteX709" fmla="*/ 236843 w 1188147"/>
                <a:gd name="connsiteY709" fmla="*/ 314348 h 959960"/>
                <a:gd name="connsiteX710" fmla="*/ 236843 w 1188147"/>
                <a:gd name="connsiteY710" fmla="*/ 313954 h 959960"/>
                <a:gd name="connsiteX711" fmla="*/ 234482 w 1188147"/>
                <a:gd name="connsiteY711" fmla="*/ 313954 h 959960"/>
                <a:gd name="connsiteX712" fmla="*/ 217958 w 1188147"/>
                <a:gd name="connsiteY712" fmla="*/ 324970 h 959960"/>
                <a:gd name="connsiteX713" fmla="*/ 216385 w 1188147"/>
                <a:gd name="connsiteY713" fmla="*/ 325364 h 959960"/>
                <a:gd name="connsiteX714" fmla="*/ 213631 w 1188147"/>
                <a:gd name="connsiteY714" fmla="*/ 325757 h 959960"/>
                <a:gd name="connsiteX715" fmla="*/ 210483 w 1188147"/>
                <a:gd name="connsiteY715" fmla="*/ 325364 h 959960"/>
                <a:gd name="connsiteX716" fmla="*/ 207729 w 1188147"/>
                <a:gd name="connsiteY716" fmla="*/ 326151 h 959960"/>
                <a:gd name="connsiteX717" fmla="*/ 204975 w 1188147"/>
                <a:gd name="connsiteY717" fmla="*/ 326544 h 959960"/>
                <a:gd name="connsiteX718" fmla="*/ 202221 w 1188147"/>
                <a:gd name="connsiteY718" fmla="*/ 328904 h 959960"/>
                <a:gd name="connsiteX719" fmla="*/ 164059 w 1188147"/>
                <a:gd name="connsiteY719" fmla="*/ 335986 h 959960"/>
                <a:gd name="connsiteX720" fmla="*/ 163665 w 1188147"/>
                <a:gd name="connsiteY720" fmla="*/ 333625 h 959960"/>
                <a:gd name="connsiteX721" fmla="*/ 160911 w 1188147"/>
                <a:gd name="connsiteY721" fmla="*/ 336380 h 959960"/>
                <a:gd name="connsiteX722" fmla="*/ 151469 w 1188147"/>
                <a:gd name="connsiteY722" fmla="*/ 341888 h 959960"/>
                <a:gd name="connsiteX723" fmla="*/ 151075 w 1188147"/>
                <a:gd name="connsiteY723" fmla="*/ 341888 h 959960"/>
                <a:gd name="connsiteX724" fmla="*/ 148322 w 1188147"/>
                <a:gd name="connsiteY724" fmla="*/ 343068 h 959960"/>
                <a:gd name="connsiteX725" fmla="*/ 145174 w 1188147"/>
                <a:gd name="connsiteY725" fmla="*/ 342674 h 959960"/>
                <a:gd name="connsiteX726" fmla="*/ 144387 w 1188147"/>
                <a:gd name="connsiteY726" fmla="*/ 345822 h 959960"/>
                <a:gd name="connsiteX727" fmla="*/ 141634 w 1188147"/>
                <a:gd name="connsiteY727" fmla="*/ 347395 h 959960"/>
                <a:gd name="connsiteX728" fmla="*/ 139273 w 1188147"/>
                <a:gd name="connsiteY728" fmla="*/ 348576 h 959960"/>
                <a:gd name="connsiteX729" fmla="*/ 136519 w 1188147"/>
                <a:gd name="connsiteY729" fmla="*/ 350149 h 959960"/>
                <a:gd name="connsiteX730" fmla="*/ 135338 w 1188147"/>
                <a:gd name="connsiteY730" fmla="*/ 351723 h 959960"/>
                <a:gd name="connsiteX731" fmla="*/ 103471 w 1188147"/>
                <a:gd name="connsiteY731" fmla="*/ 371395 h 959960"/>
                <a:gd name="connsiteX732" fmla="*/ 102684 w 1188147"/>
                <a:gd name="connsiteY732" fmla="*/ 372181 h 959960"/>
                <a:gd name="connsiteX733" fmla="*/ 99930 w 1188147"/>
                <a:gd name="connsiteY733" fmla="*/ 374148 h 959960"/>
                <a:gd name="connsiteX734" fmla="*/ 97176 w 1188147"/>
                <a:gd name="connsiteY734" fmla="*/ 375329 h 959960"/>
                <a:gd name="connsiteX735" fmla="*/ 94029 w 1188147"/>
                <a:gd name="connsiteY735" fmla="*/ 377689 h 959960"/>
                <a:gd name="connsiteX736" fmla="*/ 92455 w 1188147"/>
                <a:gd name="connsiteY736" fmla="*/ 380443 h 959960"/>
                <a:gd name="connsiteX737" fmla="*/ 90881 w 1188147"/>
                <a:gd name="connsiteY737" fmla="*/ 383197 h 959960"/>
                <a:gd name="connsiteX738" fmla="*/ 89308 w 1188147"/>
                <a:gd name="connsiteY738" fmla="*/ 383197 h 959960"/>
                <a:gd name="connsiteX739" fmla="*/ 89308 w 1188147"/>
                <a:gd name="connsiteY739" fmla="*/ 384378 h 959960"/>
                <a:gd name="connsiteX740" fmla="*/ 76324 w 1188147"/>
                <a:gd name="connsiteY740" fmla="*/ 392246 h 959960"/>
                <a:gd name="connsiteX741" fmla="*/ 76324 w 1188147"/>
                <a:gd name="connsiteY741" fmla="*/ 390279 h 959960"/>
                <a:gd name="connsiteX742" fmla="*/ 75931 w 1188147"/>
                <a:gd name="connsiteY742" fmla="*/ 387525 h 959960"/>
                <a:gd name="connsiteX743" fmla="*/ 78291 w 1188147"/>
                <a:gd name="connsiteY743" fmla="*/ 382017 h 959960"/>
                <a:gd name="connsiteX744" fmla="*/ 79078 w 1188147"/>
                <a:gd name="connsiteY744" fmla="*/ 378870 h 959960"/>
                <a:gd name="connsiteX745" fmla="*/ 78685 w 1188147"/>
                <a:gd name="connsiteY745" fmla="*/ 375722 h 959960"/>
                <a:gd name="connsiteX746" fmla="*/ 75931 w 1188147"/>
                <a:gd name="connsiteY746" fmla="*/ 377296 h 959960"/>
                <a:gd name="connsiteX747" fmla="*/ 73571 w 1188147"/>
                <a:gd name="connsiteY747" fmla="*/ 380443 h 959960"/>
                <a:gd name="connsiteX748" fmla="*/ 71997 w 1188147"/>
                <a:gd name="connsiteY748" fmla="*/ 383197 h 959960"/>
                <a:gd name="connsiteX749" fmla="*/ 70423 w 1188147"/>
                <a:gd name="connsiteY749" fmla="*/ 385951 h 959960"/>
                <a:gd name="connsiteX750" fmla="*/ 68850 w 1188147"/>
                <a:gd name="connsiteY750" fmla="*/ 389099 h 959960"/>
                <a:gd name="connsiteX751" fmla="*/ 67669 w 1188147"/>
                <a:gd name="connsiteY751" fmla="*/ 392246 h 959960"/>
                <a:gd name="connsiteX752" fmla="*/ 65702 w 1188147"/>
                <a:gd name="connsiteY752" fmla="*/ 395000 h 959960"/>
                <a:gd name="connsiteX753" fmla="*/ 64129 w 1188147"/>
                <a:gd name="connsiteY753" fmla="*/ 397754 h 959960"/>
                <a:gd name="connsiteX754" fmla="*/ 62162 w 1188147"/>
                <a:gd name="connsiteY754" fmla="*/ 400508 h 959960"/>
                <a:gd name="connsiteX755" fmla="*/ 60587 w 1188147"/>
                <a:gd name="connsiteY755" fmla="*/ 402869 h 959960"/>
                <a:gd name="connsiteX756" fmla="*/ 60587 w 1188147"/>
                <a:gd name="connsiteY756" fmla="*/ 406016 h 959960"/>
                <a:gd name="connsiteX757" fmla="*/ 60981 w 1188147"/>
                <a:gd name="connsiteY757" fmla="*/ 406409 h 959960"/>
                <a:gd name="connsiteX758" fmla="*/ 55080 w 1188147"/>
                <a:gd name="connsiteY758" fmla="*/ 436703 h 959960"/>
                <a:gd name="connsiteX759" fmla="*/ 54293 w 1188147"/>
                <a:gd name="connsiteY759" fmla="*/ 437097 h 959960"/>
                <a:gd name="connsiteX760" fmla="*/ 51932 w 1188147"/>
                <a:gd name="connsiteY760" fmla="*/ 439851 h 959960"/>
                <a:gd name="connsiteX761" fmla="*/ 49571 w 1188147"/>
                <a:gd name="connsiteY761" fmla="*/ 442998 h 959960"/>
                <a:gd name="connsiteX762" fmla="*/ 48392 w 1188147"/>
                <a:gd name="connsiteY762" fmla="*/ 445752 h 959960"/>
                <a:gd name="connsiteX763" fmla="*/ 46817 w 1188147"/>
                <a:gd name="connsiteY763" fmla="*/ 448506 h 959960"/>
                <a:gd name="connsiteX764" fmla="*/ 44850 w 1188147"/>
                <a:gd name="connsiteY764" fmla="*/ 451653 h 959960"/>
                <a:gd name="connsiteX765" fmla="*/ 44457 w 1188147"/>
                <a:gd name="connsiteY765" fmla="*/ 454407 h 959960"/>
                <a:gd name="connsiteX766" fmla="*/ 43277 w 1188147"/>
                <a:gd name="connsiteY766" fmla="*/ 457161 h 959960"/>
                <a:gd name="connsiteX767" fmla="*/ 42490 w 1188147"/>
                <a:gd name="connsiteY767" fmla="*/ 460309 h 959960"/>
                <a:gd name="connsiteX768" fmla="*/ 42096 w 1188147"/>
                <a:gd name="connsiteY768" fmla="*/ 463063 h 959960"/>
                <a:gd name="connsiteX769" fmla="*/ 41703 w 1188147"/>
                <a:gd name="connsiteY769" fmla="*/ 465817 h 959960"/>
                <a:gd name="connsiteX770" fmla="*/ 42883 w 1188147"/>
                <a:gd name="connsiteY770" fmla="*/ 468964 h 959960"/>
                <a:gd name="connsiteX771" fmla="*/ 44457 w 1188147"/>
                <a:gd name="connsiteY771" fmla="*/ 471718 h 959960"/>
                <a:gd name="connsiteX772" fmla="*/ 46031 w 1188147"/>
                <a:gd name="connsiteY772" fmla="*/ 474472 h 959960"/>
                <a:gd name="connsiteX773" fmla="*/ 46031 w 1188147"/>
                <a:gd name="connsiteY773" fmla="*/ 477226 h 959960"/>
                <a:gd name="connsiteX774" fmla="*/ 45637 w 1188147"/>
                <a:gd name="connsiteY774" fmla="*/ 479980 h 959960"/>
                <a:gd name="connsiteX775" fmla="*/ 46031 w 1188147"/>
                <a:gd name="connsiteY775" fmla="*/ 480373 h 959960"/>
                <a:gd name="connsiteX776" fmla="*/ 41310 w 1188147"/>
                <a:gd name="connsiteY776" fmla="*/ 510274 h 959960"/>
                <a:gd name="connsiteX777" fmla="*/ 39343 w 1188147"/>
                <a:gd name="connsiteY777" fmla="*/ 507913 h 959960"/>
                <a:gd name="connsiteX778" fmla="*/ 38949 w 1188147"/>
                <a:gd name="connsiteY778" fmla="*/ 505160 h 959960"/>
                <a:gd name="connsiteX779" fmla="*/ 36589 w 1188147"/>
                <a:gd name="connsiteY779" fmla="*/ 502405 h 959960"/>
                <a:gd name="connsiteX780" fmla="*/ 34228 w 1188147"/>
                <a:gd name="connsiteY780" fmla="*/ 505160 h 959960"/>
                <a:gd name="connsiteX781" fmla="*/ 33441 w 1188147"/>
                <a:gd name="connsiteY781" fmla="*/ 507913 h 959960"/>
                <a:gd name="connsiteX782" fmla="*/ 34228 w 1188147"/>
                <a:gd name="connsiteY782" fmla="*/ 510667 h 959960"/>
                <a:gd name="connsiteX783" fmla="*/ 35408 w 1188147"/>
                <a:gd name="connsiteY783" fmla="*/ 513815 h 959960"/>
                <a:gd name="connsiteX784" fmla="*/ 35801 w 1188147"/>
                <a:gd name="connsiteY784" fmla="*/ 516569 h 959960"/>
                <a:gd name="connsiteX785" fmla="*/ 35801 w 1188147"/>
                <a:gd name="connsiteY785" fmla="*/ 519716 h 959960"/>
                <a:gd name="connsiteX786" fmla="*/ 37376 w 1188147"/>
                <a:gd name="connsiteY786" fmla="*/ 522470 h 959960"/>
                <a:gd name="connsiteX787" fmla="*/ 38949 w 1188147"/>
                <a:gd name="connsiteY787" fmla="*/ 524044 h 959960"/>
                <a:gd name="connsiteX788" fmla="*/ 32655 w 1188147"/>
                <a:gd name="connsiteY788" fmla="*/ 532306 h 959960"/>
                <a:gd name="connsiteX789" fmla="*/ 33047 w 1188147"/>
                <a:gd name="connsiteY789" fmla="*/ 530732 h 959960"/>
                <a:gd name="connsiteX790" fmla="*/ 32261 w 1188147"/>
                <a:gd name="connsiteY790" fmla="*/ 527585 h 959960"/>
                <a:gd name="connsiteX791" fmla="*/ 31474 w 1188147"/>
                <a:gd name="connsiteY791" fmla="*/ 530339 h 959960"/>
                <a:gd name="connsiteX792" fmla="*/ 31867 w 1188147"/>
                <a:gd name="connsiteY792" fmla="*/ 527585 h 959960"/>
                <a:gd name="connsiteX793" fmla="*/ 31474 w 1188147"/>
                <a:gd name="connsiteY793" fmla="*/ 524831 h 959960"/>
                <a:gd name="connsiteX794" fmla="*/ 30294 w 1188147"/>
                <a:gd name="connsiteY794" fmla="*/ 522077 h 959960"/>
                <a:gd name="connsiteX795" fmla="*/ 30294 w 1188147"/>
                <a:gd name="connsiteY795" fmla="*/ 519323 h 959960"/>
                <a:gd name="connsiteX796" fmla="*/ 29900 w 1188147"/>
                <a:gd name="connsiteY796" fmla="*/ 522470 h 959960"/>
                <a:gd name="connsiteX797" fmla="*/ 29113 w 1188147"/>
                <a:gd name="connsiteY797" fmla="*/ 525224 h 959960"/>
                <a:gd name="connsiteX798" fmla="*/ 27146 w 1188147"/>
                <a:gd name="connsiteY798" fmla="*/ 527978 h 959960"/>
                <a:gd name="connsiteX799" fmla="*/ 28327 w 1188147"/>
                <a:gd name="connsiteY799" fmla="*/ 522470 h 959960"/>
                <a:gd name="connsiteX800" fmla="*/ 27933 w 1188147"/>
                <a:gd name="connsiteY800" fmla="*/ 519716 h 959960"/>
                <a:gd name="connsiteX801" fmla="*/ 27540 w 1188147"/>
                <a:gd name="connsiteY801" fmla="*/ 522470 h 959960"/>
                <a:gd name="connsiteX802" fmla="*/ 25179 w 1188147"/>
                <a:gd name="connsiteY802" fmla="*/ 525224 h 959960"/>
                <a:gd name="connsiteX803" fmla="*/ 25966 w 1188147"/>
                <a:gd name="connsiteY803" fmla="*/ 528372 h 959960"/>
                <a:gd name="connsiteX804" fmla="*/ 25573 w 1188147"/>
                <a:gd name="connsiteY804" fmla="*/ 531126 h 959960"/>
                <a:gd name="connsiteX805" fmla="*/ 27540 w 1188147"/>
                <a:gd name="connsiteY805" fmla="*/ 533880 h 959960"/>
                <a:gd name="connsiteX806" fmla="*/ 29507 w 1188147"/>
                <a:gd name="connsiteY806" fmla="*/ 537027 h 959960"/>
                <a:gd name="connsiteX807" fmla="*/ 40523 w 1188147"/>
                <a:gd name="connsiteY807" fmla="*/ 575583 h 959960"/>
                <a:gd name="connsiteX808" fmla="*/ 38949 w 1188147"/>
                <a:gd name="connsiteY808" fmla="*/ 577943 h 959960"/>
                <a:gd name="connsiteX809" fmla="*/ 37376 w 1188147"/>
                <a:gd name="connsiteY809" fmla="*/ 580697 h 959960"/>
                <a:gd name="connsiteX810" fmla="*/ 37376 w 1188147"/>
                <a:gd name="connsiteY810" fmla="*/ 589353 h 959960"/>
                <a:gd name="connsiteX811" fmla="*/ 38949 w 1188147"/>
                <a:gd name="connsiteY811" fmla="*/ 592107 h 959960"/>
                <a:gd name="connsiteX812" fmla="*/ 41310 w 1188147"/>
                <a:gd name="connsiteY812" fmla="*/ 594861 h 959960"/>
                <a:gd name="connsiteX813" fmla="*/ 42096 w 1188147"/>
                <a:gd name="connsiteY813" fmla="*/ 598008 h 959960"/>
                <a:gd name="connsiteX814" fmla="*/ 42490 w 1188147"/>
                <a:gd name="connsiteY814" fmla="*/ 599188 h 959960"/>
                <a:gd name="connsiteX815" fmla="*/ 43670 w 1188147"/>
                <a:gd name="connsiteY815" fmla="*/ 612565 h 959960"/>
                <a:gd name="connsiteX816" fmla="*/ 43277 w 1188147"/>
                <a:gd name="connsiteY816" fmla="*/ 653875 h 959960"/>
                <a:gd name="connsiteX817" fmla="*/ 42096 w 1188147"/>
                <a:gd name="connsiteY817" fmla="*/ 655842 h 959960"/>
                <a:gd name="connsiteX818" fmla="*/ 42490 w 1188147"/>
                <a:gd name="connsiteY818" fmla="*/ 658596 h 959960"/>
                <a:gd name="connsiteX819" fmla="*/ 41703 w 1188147"/>
                <a:gd name="connsiteY819" fmla="*/ 661743 h 959960"/>
                <a:gd name="connsiteX820" fmla="*/ 41703 w 1188147"/>
                <a:gd name="connsiteY820" fmla="*/ 667251 h 959960"/>
                <a:gd name="connsiteX821" fmla="*/ 41310 w 1188147"/>
                <a:gd name="connsiteY821" fmla="*/ 670005 h 959960"/>
                <a:gd name="connsiteX822" fmla="*/ 41310 w 1188147"/>
                <a:gd name="connsiteY822" fmla="*/ 673152 h 959960"/>
                <a:gd name="connsiteX823" fmla="*/ 41703 w 1188147"/>
                <a:gd name="connsiteY823" fmla="*/ 675906 h 959960"/>
                <a:gd name="connsiteX824" fmla="*/ 42096 w 1188147"/>
                <a:gd name="connsiteY824" fmla="*/ 678660 h 959960"/>
                <a:gd name="connsiteX825" fmla="*/ 41703 w 1188147"/>
                <a:gd name="connsiteY825" fmla="*/ 681808 h 959960"/>
                <a:gd name="connsiteX826" fmla="*/ 42490 w 1188147"/>
                <a:gd name="connsiteY826" fmla="*/ 683382 h 959960"/>
                <a:gd name="connsiteX827" fmla="*/ 41310 w 1188147"/>
                <a:gd name="connsiteY827" fmla="*/ 730986 h 959960"/>
                <a:gd name="connsiteX828" fmla="*/ 40916 w 1188147"/>
                <a:gd name="connsiteY828" fmla="*/ 731380 h 959960"/>
                <a:gd name="connsiteX829" fmla="*/ 41310 w 1188147"/>
                <a:gd name="connsiteY829" fmla="*/ 734527 h 959960"/>
                <a:gd name="connsiteX830" fmla="*/ 36982 w 1188147"/>
                <a:gd name="connsiteY830" fmla="*/ 741215 h 959960"/>
                <a:gd name="connsiteX831" fmla="*/ 35408 w 1188147"/>
                <a:gd name="connsiteY831" fmla="*/ 742789 h 959960"/>
                <a:gd name="connsiteX832" fmla="*/ 34622 w 1188147"/>
                <a:gd name="connsiteY832" fmla="*/ 744756 h 959960"/>
                <a:gd name="connsiteX833" fmla="*/ 12589 w 1188147"/>
                <a:gd name="connsiteY833" fmla="*/ 778197 h 959960"/>
                <a:gd name="connsiteX834" fmla="*/ 9836 w 1188147"/>
                <a:gd name="connsiteY834" fmla="*/ 776624 h 959960"/>
                <a:gd name="connsiteX835" fmla="*/ 7082 w 1188147"/>
                <a:gd name="connsiteY835" fmla="*/ 775837 h 959960"/>
                <a:gd name="connsiteX836" fmla="*/ 5115 w 1188147"/>
                <a:gd name="connsiteY836" fmla="*/ 778591 h 959960"/>
                <a:gd name="connsiteX837" fmla="*/ 4327 w 1188147"/>
                <a:gd name="connsiteY837" fmla="*/ 781345 h 959960"/>
                <a:gd name="connsiteX838" fmla="*/ 3148 w 1188147"/>
                <a:gd name="connsiteY838" fmla="*/ 784099 h 959960"/>
                <a:gd name="connsiteX839" fmla="*/ 2360 w 1188147"/>
                <a:gd name="connsiteY839" fmla="*/ 786853 h 959960"/>
                <a:gd name="connsiteX840" fmla="*/ 1573 w 1188147"/>
                <a:gd name="connsiteY840" fmla="*/ 790000 h 959960"/>
                <a:gd name="connsiteX841" fmla="*/ 787 w 1188147"/>
                <a:gd name="connsiteY841" fmla="*/ 792754 h 959960"/>
                <a:gd name="connsiteX842" fmla="*/ 393 w 1188147"/>
                <a:gd name="connsiteY842" fmla="*/ 795508 h 959960"/>
                <a:gd name="connsiteX843" fmla="*/ 0 w 1188147"/>
                <a:gd name="connsiteY843" fmla="*/ 798655 h 959960"/>
                <a:gd name="connsiteX844" fmla="*/ 1573 w 1188147"/>
                <a:gd name="connsiteY844" fmla="*/ 801409 h 959960"/>
                <a:gd name="connsiteX845" fmla="*/ 4327 w 1188147"/>
                <a:gd name="connsiteY845" fmla="*/ 799442 h 959960"/>
                <a:gd name="connsiteX846" fmla="*/ 7082 w 1188147"/>
                <a:gd name="connsiteY846" fmla="*/ 799442 h 959960"/>
                <a:gd name="connsiteX847" fmla="*/ 9836 w 1188147"/>
                <a:gd name="connsiteY847" fmla="*/ 801016 h 959960"/>
                <a:gd name="connsiteX848" fmla="*/ 12589 w 1188147"/>
                <a:gd name="connsiteY848" fmla="*/ 803377 h 959960"/>
                <a:gd name="connsiteX849" fmla="*/ 14950 w 1188147"/>
                <a:gd name="connsiteY849" fmla="*/ 806131 h 959960"/>
                <a:gd name="connsiteX850" fmla="*/ 16918 w 1188147"/>
                <a:gd name="connsiteY850" fmla="*/ 808491 h 959960"/>
                <a:gd name="connsiteX851" fmla="*/ 18491 w 1188147"/>
                <a:gd name="connsiteY851" fmla="*/ 811245 h 959960"/>
                <a:gd name="connsiteX852" fmla="*/ 19671 w 1188147"/>
                <a:gd name="connsiteY852" fmla="*/ 813999 h 959960"/>
                <a:gd name="connsiteX853" fmla="*/ 20852 w 1188147"/>
                <a:gd name="connsiteY853" fmla="*/ 816753 h 959960"/>
                <a:gd name="connsiteX854" fmla="*/ 23998 w 1188147"/>
                <a:gd name="connsiteY854" fmla="*/ 817147 h 959960"/>
                <a:gd name="connsiteX855" fmla="*/ 26753 w 1188147"/>
                <a:gd name="connsiteY855" fmla="*/ 818327 h 959960"/>
                <a:gd name="connsiteX856" fmla="*/ 29507 w 1188147"/>
                <a:gd name="connsiteY856" fmla="*/ 819901 h 959960"/>
                <a:gd name="connsiteX857" fmla="*/ 32655 w 1188147"/>
                <a:gd name="connsiteY857" fmla="*/ 819901 h 959960"/>
                <a:gd name="connsiteX858" fmla="*/ 31474 w 1188147"/>
                <a:gd name="connsiteY858" fmla="*/ 822654 h 959960"/>
                <a:gd name="connsiteX859" fmla="*/ 34622 w 1188147"/>
                <a:gd name="connsiteY859" fmla="*/ 823048 h 959960"/>
                <a:gd name="connsiteX860" fmla="*/ 37376 w 1188147"/>
                <a:gd name="connsiteY860" fmla="*/ 823441 h 959960"/>
                <a:gd name="connsiteX861" fmla="*/ 40129 w 1188147"/>
                <a:gd name="connsiteY861" fmla="*/ 823441 h 959960"/>
                <a:gd name="connsiteX862" fmla="*/ 42883 w 1188147"/>
                <a:gd name="connsiteY862" fmla="*/ 824228 h 959960"/>
                <a:gd name="connsiteX863" fmla="*/ 45637 w 1188147"/>
                <a:gd name="connsiteY863" fmla="*/ 823441 h 959960"/>
                <a:gd name="connsiteX864" fmla="*/ 48392 w 1188147"/>
                <a:gd name="connsiteY864" fmla="*/ 823835 h 959960"/>
                <a:gd name="connsiteX865" fmla="*/ 51538 w 1188147"/>
                <a:gd name="connsiteY865" fmla="*/ 823048 h 959960"/>
                <a:gd name="connsiteX866" fmla="*/ 54293 w 1188147"/>
                <a:gd name="connsiteY866" fmla="*/ 823835 h 959960"/>
                <a:gd name="connsiteX867" fmla="*/ 57047 w 1188147"/>
                <a:gd name="connsiteY867" fmla="*/ 824228 h 959960"/>
                <a:gd name="connsiteX868" fmla="*/ 60194 w 1188147"/>
                <a:gd name="connsiteY868" fmla="*/ 825408 h 959960"/>
                <a:gd name="connsiteX869" fmla="*/ 62948 w 1188147"/>
                <a:gd name="connsiteY869" fmla="*/ 825015 h 959960"/>
                <a:gd name="connsiteX870" fmla="*/ 64522 w 1188147"/>
                <a:gd name="connsiteY870" fmla="*/ 824622 h 959960"/>
                <a:gd name="connsiteX871" fmla="*/ 68850 w 1188147"/>
                <a:gd name="connsiteY871" fmla="*/ 826195 h 959960"/>
                <a:gd name="connsiteX872" fmla="*/ 69636 w 1188147"/>
                <a:gd name="connsiteY872" fmla="*/ 826589 h 959960"/>
                <a:gd name="connsiteX873" fmla="*/ 72784 w 1188147"/>
                <a:gd name="connsiteY873" fmla="*/ 825408 h 959960"/>
                <a:gd name="connsiteX874" fmla="*/ 70030 w 1188147"/>
                <a:gd name="connsiteY874" fmla="*/ 823441 h 959960"/>
                <a:gd name="connsiteX875" fmla="*/ 71603 w 1188147"/>
                <a:gd name="connsiteY875" fmla="*/ 823441 h 959960"/>
                <a:gd name="connsiteX876" fmla="*/ 74357 w 1188147"/>
                <a:gd name="connsiteY876" fmla="*/ 823048 h 959960"/>
                <a:gd name="connsiteX877" fmla="*/ 77111 w 1188147"/>
                <a:gd name="connsiteY877" fmla="*/ 822261 h 959960"/>
                <a:gd name="connsiteX878" fmla="*/ 80259 w 1188147"/>
                <a:gd name="connsiteY878" fmla="*/ 822654 h 959960"/>
                <a:gd name="connsiteX879" fmla="*/ 81833 w 1188147"/>
                <a:gd name="connsiteY879" fmla="*/ 819901 h 959960"/>
                <a:gd name="connsiteX880" fmla="*/ 84980 w 1188147"/>
                <a:gd name="connsiteY880" fmla="*/ 819507 h 959960"/>
                <a:gd name="connsiteX881" fmla="*/ 87734 w 1188147"/>
                <a:gd name="connsiteY881" fmla="*/ 817147 h 959960"/>
                <a:gd name="connsiteX882" fmla="*/ 90094 w 1188147"/>
                <a:gd name="connsiteY882" fmla="*/ 814393 h 959960"/>
                <a:gd name="connsiteX883" fmla="*/ 92848 w 1188147"/>
                <a:gd name="connsiteY883" fmla="*/ 812819 h 959960"/>
                <a:gd name="connsiteX884" fmla="*/ 95603 w 1188147"/>
                <a:gd name="connsiteY884" fmla="*/ 812032 h 959960"/>
                <a:gd name="connsiteX885" fmla="*/ 98357 w 1188147"/>
                <a:gd name="connsiteY885" fmla="*/ 810852 h 959960"/>
                <a:gd name="connsiteX886" fmla="*/ 100324 w 1188147"/>
                <a:gd name="connsiteY886" fmla="*/ 808491 h 959960"/>
                <a:gd name="connsiteX887" fmla="*/ 108979 w 1188147"/>
                <a:gd name="connsiteY887" fmla="*/ 804164 h 959960"/>
                <a:gd name="connsiteX888" fmla="*/ 108979 w 1188147"/>
                <a:gd name="connsiteY888" fmla="*/ 804164 h 959960"/>
                <a:gd name="connsiteX889" fmla="*/ 111733 w 1188147"/>
                <a:gd name="connsiteY889" fmla="*/ 804557 h 959960"/>
                <a:gd name="connsiteX890" fmla="*/ 114880 w 1188147"/>
                <a:gd name="connsiteY890" fmla="*/ 806524 h 959960"/>
                <a:gd name="connsiteX891" fmla="*/ 117634 w 1188147"/>
                <a:gd name="connsiteY891" fmla="*/ 804164 h 959960"/>
                <a:gd name="connsiteX892" fmla="*/ 120782 w 1188147"/>
                <a:gd name="connsiteY892" fmla="*/ 804557 h 959960"/>
                <a:gd name="connsiteX893" fmla="*/ 121568 w 1188147"/>
                <a:gd name="connsiteY893" fmla="*/ 801803 h 959960"/>
                <a:gd name="connsiteX894" fmla="*/ 124716 w 1188147"/>
                <a:gd name="connsiteY894" fmla="*/ 802590 h 959960"/>
                <a:gd name="connsiteX895" fmla="*/ 124716 w 1188147"/>
                <a:gd name="connsiteY895" fmla="*/ 799836 h 959960"/>
                <a:gd name="connsiteX896" fmla="*/ 127470 w 1188147"/>
                <a:gd name="connsiteY896" fmla="*/ 796688 h 959960"/>
                <a:gd name="connsiteX897" fmla="*/ 129437 w 1188147"/>
                <a:gd name="connsiteY897" fmla="*/ 794328 h 959960"/>
                <a:gd name="connsiteX898" fmla="*/ 144781 w 1188147"/>
                <a:gd name="connsiteY898" fmla="*/ 786853 h 959960"/>
                <a:gd name="connsiteX899" fmla="*/ 145174 w 1188147"/>
                <a:gd name="connsiteY899" fmla="*/ 786853 h 959960"/>
                <a:gd name="connsiteX900" fmla="*/ 148322 w 1188147"/>
                <a:gd name="connsiteY900" fmla="*/ 787640 h 959960"/>
                <a:gd name="connsiteX901" fmla="*/ 151075 w 1188147"/>
                <a:gd name="connsiteY901" fmla="*/ 787246 h 959960"/>
                <a:gd name="connsiteX902" fmla="*/ 153829 w 1188147"/>
                <a:gd name="connsiteY902" fmla="*/ 787640 h 959960"/>
                <a:gd name="connsiteX903" fmla="*/ 156977 w 1188147"/>
                <a:gd name="connsiteY903" fmla="*/ 788033 h 959960"/>
                <a:gd name="connsiteX904" fmla="*/ 159731 w 1188147"/>
                <a:gd name="connsiteY904" fmla="*/ 786459 h 959960"/>
                <a:gd name="connsiteX905" fmla="*/ 162878 w 1188147"/>
                <a:gd name="connsiteY905" fmla="*/ 785279 h 959960"/>
                <a:gd name="connsiteX906" fmla="*/ 165632 w 1188147"/>
                <a:gd name="connsiteY906" fmla="*/ 785279 h 959960"/>
                <a:gd name="connsiteX907" fmla="*/ 168387 w 1188147"/>
                <a:gd name="connsiteY907" fmla="*/ 784492 h 959960"/>
                <a:gd name="connsiteX908" fmla="*/ 171927 w 1188147"/>
                <a:gd name="connsiteY908" fmla="*/ 784099 h 959960"/>
                <a:gd name="connsiteX909" fmla="*/ 174288 w 1188147"/>
                <a:gd name="connsiteY909" fmla="*/ 784099 h 959960"/>
                <a:gd name="connsiteX910" fmla="*/ 175861 w 1188147"/>
                <a:gd name="connsiteY910" fmla="*/ 783705 h 959960"/>
                <a:gd name="connsiteX911" fmla="*/ 189238 w 1188147"/>
                <a:gd name="connsiteY911" fmla="*/ 782525 h 959960"/>
                <a:gd name="connsiteX912" fmla="*/ 191598 w 1188147"/>
                <a:gd name="connsiteY912" fmla="*/ 784492 h 959960"/>
                <a:gd name="connsiteX913" fmla="*/ 194352 w 1188147"/>
                <a:gd name="connsiteY913" fmla="*/ 784099 h 959960"/>
                <a:gd name="connsiteX914" fmla="*/ 197500 w 1188147"/>
                <a:gd name="connsiteY914" fmla="*/ 784492 h 959960"/>
                <a:gd name="connsiteX915" fmla="*/ 200254 w 1188147"/>
                <a:gd name="connsiteY915" fmla="*/ 782918 h 959960"/>
                <a:gd name="connsiteX916" fmla="*/ 203007 w 1188147"/>
                <a:gd name="connsiteY916" fmla="*/ 783312 h 959960"/>
                <a:gd name="connsiteX917" fmla="*/ 203795 w 1188147"/>
                <a:gd name="connsiteY917" fmla="*/ 786066 h 959960"/>
                <a:gd name="connsiteX918" fmla="*/ 204582 w 1188147"/>
                <a:gd name="connsiteY918" fmla="*/ 788820 h 959960"/>
                <a:gd name="connsiteX919" fmla="*/ 207729 w 1188147"/>
                <a:gd name="connsiteY919" fmla="*/ 788820 h 959960"/>
                <a:gd name="connsiteX920" fmla="*/ 210089 w 1188147"/>
                <a:gd name="connsiteY920" fmla="*/ 786066 h 959960"/>
                <a:gd name="connsiteX921" fmla="*/ 212843 w 1188147"/>
                <a:gd name="connsiteY921" fmla="*/ 785672 h 959960"/>
                <a:gd name="connsiteX922" fmla="*/ 215598 w 1188147"/>
                <a:gd name="connsiteY922" fmla="*/ 786459 h 959960"/>
                <a:gd name="connsiteX923" fmla="*/ 218352 w 1188147"/>
                <a:gd name="connsiteY923" fmla="*/ 784886 h 959960"/>
                <a:gd name="connsiteX924" fmla="*/ 224253 w 1188147"/>
                <a:gd name="connsiteY924" fmla="*/ 784886 h 959960"/>
                <a:gd name="connsiteX925" fmla="*/ 227007 w 1188147"/>
                <a:gd name="connsiteY925" fmla="*/ 784492 h 959960"/>
                <a:gd name="connsiteX926" fmla="*/ 230154 w 1188147"/>
                <a:gd name="connsiteY926" fmla="*/ 784099 h 959960"/>
                <a:gd name="connsiteX927" fmla="*/ 232908 w 1188147"/>
                <a:gd name="connsiteY927" fmla="*/ 786066 h 959960"/>
                <a:gd name="connsiteX928" fmla="*/ 232514 w 1188147"/>
                <a:gd name="connsiteY928" fmla="*/ 788820 h 959960"/>
                <a:gd name="connsiteX929" fmla="*/ 235269 w 1188147"/>
                <a:gd name="connsiteY929" fmla="*/ 788033 h 959960"/>
                <a:gd name="connsiteX930" fmla="*/ 238023 w 1188147"/>
                <a:gd name="connsiteY930" fmla="*/ 786066 h 959960"/>
                <a:gd name="connsiteX931" fmla="*/ 241171 w 1188147"/>
                <a:gd name="connsiteY931" fmla="*/ 784886 h 959960"/>
                <a:gd name="connsiteX932" fmla="*/ 243924 w 1188147"/>
                <a:gd name="connsiteY932" fmla="*/ 786459 h 959960"/>
                <a:gd name="connsiteX933" fmla="*/ 246678 w 1188147"/>
                <a:gd name="connsiteY933" fmla="*/ 784492 h 959960"/>
                <a:gd name="connsiteX934" fmla="*/ 249826 w 1188147"/>
                <a:gd name="connsiteY934" fmla="*/ 782525 h 959960"/>
                <a:gd name="connsiteX935" fmla="*/ 252186 w 1188147"/>
                <a:gd name="connsiteY935" fmla="*/ 779771 h 959960"/>
                <a:gd name="connsiteX936" fmla="*/ 334805 w 1188147"/>
                <a:gd name="connsiteY936" fmla="*/ 729806 h 959960"/>
                <a:gd name="connsiteX937" fmla="*/ 337166 w 1188147"/>
                <a:gd name="connsiteY937" fmla="*/ 730199 h 959960"/>
                <a:gd name="connsiteX938" fmla="*/ 337560 w 1188147"/>
                <a:gd name="connsiteY938" fmla="*/ 729806 h 959960"/>
                <a:gd name="connsiteX939" fmla="*/ 345035 w 1188147"/>
                <a:gd name="connsiteY939" fmla="*/ 730199 h 959960"/>
                <a:gd name="connsiteX940" fmla="*/ 345821 w 1188147"/>
                <a:gd name="connsiteY940" fmla="*/ 730593 h 959960"/>
                <a:gd name="connsiteX941" fmla="*/ 348969 w 1188147"/>
                <a:gd name="connsiteY941" fmla="*/ 730986 h 959960"/>
                <a:gd name="connsiteX942" fmla="*/ 351723 w 1188147"/>
                <a:gd name="connsiteY942" fmla="*/ 731773 h 959960"/>
                <a:gd name="connsiteX943" fmla="*/ 354870 w 1188147"/>
                <a:gd name="connsiteY943" fmla="*/ 731380 h 959960"/>
                <a:gd name="connsiteX944" fmla="*/ 360378 w 1188147"/>
                <a:gd name="connsiteY944" fmla="*/ 731380 h 959960"/>
                <a:gd name="connsiteX945" fmla="*/ 363526 w 1188147"/>
                <a:gd name="connsiteY945" fmla="*/ 730986 h 959960"/>
                <a:gd name="connsiteX946" fmla="*/ 366279 w 1188147"/>
                <a:gd name="connsiteY946" fmla="*/ 730986 h 959960"/>
                <a:gd name="connsiteX947" fmla="*/ 368640 w 1188147"/>
                <a:gd name="connsiteY947" fmla="*/ 730593 h 959960"/>
                <a:gd name="connsiteX948" fmla="*/ 371394 w 1188147"/>
                <a:gd name="connsiteY948" fmla="*/ 730199 h 959960"/>
                <a:gd name="connsiteX949" fmla="*/ 374542 w 1188147"/>
                <a:gd name="connsiteY949" fmla="*/ 729413 h 959960"/>
                <a:gd name="connsiteX950" fmla="*/ 377296 w 1188147"/>
                <a:gd name="connsiteY950" fmla="*/ 728626 h 959960"/>
                <a:gd name="connsiteX951" fmla="*/ 380049 w 1188147"/>
                <a:gd name="connsiteY951" fmla="*/ 727052 h 959960"/>
                <a:gd name="connsiteX952" fmla="*/ 382804 w 1188147"/>
                <a:gd name="connsiteY952" fmla="*/ 726265 h 959960"/>
                <a:gd name="connsiteX953" fmla="*/ 385558 w 1188147"/>
                <a:gd name="connsiteY953" fmla="*/ 725478 h 959960"/>
                <a:gd name="connsiteX954" fmla="*/ 388706 w 1188147"/>
                <a:gd name="connsiteY954" fmla="*/ 725085 h 959960"/>
                <a:gd name="connsiteX955" fmla="*/ 391459 w 1188147"/>
                <a:gd name="connsiteY955" fmla="*/ 724298 h 959960"/>
                <a:gd name="connsiteX956" fmla="*/ 394607 w 1188147"/>
                <a:gd name="connsiteY956" fmla="*/ 723904 h 959960"/>
                <a:gd name="connsiteX957" fmla="*/ 397361 w 1188147"/>
                <a:gd name="connsiteY957" fmla="*/ 722724 h 959960"/>
                <a:gd name="connsiteX958" fmla="*/ 400508 w 1188147"/>
                <a:gd name="connsiteY958" fmla="*/ 721544 h 959960"/>
                <a:gd name="connsiteX959" fmla="*/ 403262 w 1188147"/>
                <a:gd name="connsiteY959" fmla="*/ 720364 h 959960"/>
                <a:gd name="connsiteX960" fmla="*/ 406410 w 1188147"/>
                <a:gd name="connsiteY960" fmla="*/ 719183 h 959960"/>
                <a:gd name="connsiteX961" fmla="*/ 411917 w 1188147"/>
                <a:gd name="connsiteY961" fmla="*/ 716823 h 959960"/>
                <a:gd name="connsiteX962" fmla="*/ 414671 w 1188147"/>
                <a:gd name="connsiteY962" fmla="*/ 715249 h 959960"/>
                <a:gd name="connsiteX963" fmla="*/ 417819 w 1188147"/>
                <a:gd name="connsiteY963" fmla="*/ 713675 h 959960"/>
                <a:gd name="connsiteX964" fmla="*/ 420573 w 1188147"/>
                <a:gd name="connsiteY964" fmla="*/ 712102 h 959960"/>
                <a:gd name="connsiteX965" fmla="*/ 422540 w 1188147"/>
                <a:gd name="connsiteY965" fmla="*/ 711315 h 959960"/>
                <a:gd name="connsiteX966" fmla="*/ 426474 w 1188147"/>
                <a:gd name="connsiteY966" fmla="*/ 710135 h 959960"/>
                <a:gd name="connsiteX967" fmla="*/ 448506 w 1188147"/>
                <a:gd name="connsiteY967" fmla="*/ 707774 h 959960"/>
                <a:gd name="connsiteX968" fmla="*/ 450473 w 1188147"/>
                <a:gd name="connsiteY968" fmla="*/ 707774 h 959960"/>
                <a:gd name="connsiteX969" fmla="*/ 452833 w 1188147"/>
                <a:gd name="connsiteY969" fmla="*/ 707381 h 959960"/>
                <a:gd name="connsiteX970" fmla="*/ 456375 w 1188147"/>
                <a:gd name="connsiteY970" fmla="*/ 706987 h 959960"/>
                <a:gd name="connsiteX971" fmla="*/ 511847 w 1188147"/>
                <a:gd name="connsiteY971" fmla="*/ 717216 h 959960"/>
                <a:gd name="connsiteX972" fmla="*/ 513422 w 1188147"/>
                <a:gd name="connsiteY972" fmla="*/ 719970 h 959960"/>
                <a:gd name="connsiteX973" fmla="*/ 516175 w 1188147"/>
                <a:gd name="connsiteY973" fmla="*/ 722331 h 959960"/>
                <a:gd name="connsiteX974" fmla="*/ 518929 w 1188147"/>
                <a:gd name="connsiteY974" fmla="*/ 721544 h 959960"/>
                <a:gd name="connsiteX975" fmla="*/ 522077 w 1188147"/>
                <a:gd name="connsiteY975" fmla="*/ 722331 h 959960"/>
                <a:gd name="connsiteX976" fmla="*/ 523650 w 1188147"/>
                <a:gd name="connsiteY976" fmla="*/ 719970 h 959960"/>
                <a:gd name="connsiteX977" fmla="*/ 533486 w 1188147"/>
                <a:gd name="connsiteY977" fmla="*/ 721937 h 959960"/>
                <a:gd name="connsiteX978" fmla="*/ 535453 w 1188147"/>
                <a:gd name="connsiteY978" fmla="*/ 724691 h 959960"/>
                <a:gd name="connsiteX979" fmla="*/ 538600 w 1188147"/>
                <a:gd name="connsiteY979" fmla="*/ 726265 h 959960"/>
                <a:gd name="connsiteX980" fmla="*/ 541354 w 1188147"/>
                <a:gd name="connsiteY980" fmla="*/ 727839 h 959960"/>
                <a:gd name="connsiteX981" fmla="*/ 544502 w 1188147"/>
                <a:gd name="connsiteY981" fmla="*/ 728232 h 959960"/>
                <a:gd name="connsiteX982" fmla="*/ 547256 w 1188147"/>
                <a:gd name="connsiteY982" fmla="*/ 728232 h 959960"/>
                <a:gd name="connsiteX983" fmla="*/ 548830 w 1188147"/>
                <a:gd name="connsiteY983" fmla="*/ 725478 h 959960"/>
                <a:gd name="connsiteX984" fmla="*/ 551978 w 1188147"/>
                <a:gd name="connsiteY984" fmla="*/ 727052 h 959960"/>
                <a:gd name="connsiteX985" fmla="*/ 554731 w 1188147"/>
                <a:gd name="connsiteY985" fmla="*/ 725478 h 959960"/>
                <a:gd name="connsiteX986" fmla="*/ 555124 w 1188147"/>
                <a:gd name="connsiteY986" fmla="*/ 725478 h 959960"/>
                <a:gd name="connsiteX987" fmla="*/ 555518 w 1188147"/>
                <a:gd name="connsiteY987" fmla="*/ 725872 h 959960"/>
                <a:gd name="connsiteX988" fmla="*/ 555912 w 1188147"/>
                <a:gd name="connsiteY988" fmla="*/ 728626 h 959960"/>
                <a:gd name="connsiteX989" fmla="*/ 556698 w 1188147"/>
                <a:gd name="connsiteY989" fmla="*/ 729413 h 959960"/>
                <a:gd name="connsiteX990" fmla="*/ 558666 w 1188147"/>
                <a:gd name="connsiteY990" fmla="*/ 734920 h 959960"/>
                <a:gd name="connsiteX991" fmla="*/ 556698 w 1188147"/>
                <a:gd name="connsiteY991" fmla="*/ 736494 h 959960"/>
                <a:gd name="connsiteX992" fmla="*/ 555124 w 1188147"/>
                <a:gd name="connsiteY992" fmla="*/ 739248 h 959960"/>
                <a:gd name="connsiteX993" fmla="*/ 558272 w 1188147"/>
                <a:gd name="connsiteY993" fmla="*/ 738461 h 959960"/>
                <a:gd name="connsiteX994" fmla="*/ 559846 w 1188147"/>
                <a:gd name="connsiteY994" fmla="*/ 737674 h 959960"/>
                <a:gd name="connsiteX995" fmla="*/ 562993 w 1188147"/>
                <a:gd name="connsiteY995" fmla="*/ 746330 h 959960"/>
                <a:gd name="connsiteX996" fmla="*/ 560239 w 1188147"/>
                <a:gd name="connsiteY996" fmla="*/ 745543 h 959960"/>
                <a:gd name="connsiteX997" fmla="*/ 559452 w 1188147"/>
                <a:gd name="connsiteY997" fmla="*/ 748690 h 959960"/>
                <a:gd name="connsiteX998" fmla="*/ 557091 w 1188147"/>
                <a:gd name="connsiteY998" fmla="*/ 751444 h 959960"/>
                <a:gd name="connsiteX999" fmla="*/ 559846 w 1188147"/>
                <a:gd name="connsiteY999" fmla="*/ 754592 h 959960"/>
                <a:gd name="connsiteX1000" fmla="*/ 559846 w 1188147"/>
                <a:gd name="connsiteY1000" fmla="*/ 757346 h 959960"/>
                <a:gd name="connsiteX1001" fmla="*/ 559058 w 1188147"/>
                <a:gd name="connsiteY1001" fmla="*/ 760100 h 959960"/>
                <a:gd name="connsiteX1002" fmla="*/ 561813 w 1188147"/>
                <a:gd name="connsiteY1002" fmla="*/ 761280 h 959960"/>
                <a:gd name="connsiteX1003" fmla="*/ 564567 w 1188147"/>
                <a:gd name="connsiteY1003" fmla="*/ 760887 h 959960"/>
                <a:gd name="connsiteX1004" fmla="*/ 566534 w 1188147"/>
                <a:gd name="connsiteY1004" fmla="*/ 762067 h 959960"/>
                <a:gd name="connsiteX1005" fmla="*/ 569682 w 1188147"/>
                <a:gd name="connsiteY1005" fmla="*/ 775443 h 959960"/>
                <a:gd name="connsiteX1006" fmla="*/ 569288 w 1188147"/>
                <a:gd name="connsiteY1006" fmla="*/ 775837 h 959960"/>
                <a:gd name="connsiteX1007" fmla="*/ 569682 w 1188147"/>
                <a:gd name="connsiteY1007" fmla="*/ 778591 h 959960"/>
                <a:gd name="connsiteX1008" fmla="*/ 570468 w 1188147"/>
                <a:gd name="connsiteY1008" fmla="*/ 779377 h 959960"/>
                <a:gd name="connsiteX1009" fmla="*/ 574009 w 1188147"/>
                <a:gd name="connsiteY1009" fmla="*/ 793934 h 959960"/>
                <a:gd name="connsiteX1010" fmla="*/ 574009 w 1188147"/>
                <a:gd name="connsiteY1010" fmla="*/ 793934 h 959960"/>
                <a:gd name="connsiteX1011" fmla="*/ 574403 w 1188147"/>
                <a:gd name="connsiteY1011" fmla="*/ 796688 h 959960"/>
                <a:gd name="connsiteX1012" fmla="*/ 574009 w 1188147"/>
                <a:gd name="connsiteY1012" fmla="*/ 799836 h 959960"/>
                <a:gd name="connsiteX1013" fmla="*/ 573222 w 1188147"/>
                <a:gd name="connsiteY1013" fmla="*/ 802590 h 959960"/>
                <a:gd name="connsiteX1014" fmla="*/ 572828 w 1188147"/>
                <a:gd name="connsiteY1014" fmla="*/ 805737 h 959960"/>
                <a:gd name="connsiteX1015" fmla="*/ 571255 w 1188147"/>
                <a:gd name="connsiteY1015" fmla="*/ 808491 h 959960"/>
                <a:gd name="connsiteX1016" fmla="*/ 568107 w 1188147"/>
                <a:gd name="connsiteY1016" fmla="*/ 806917 h 959960"/>
                <a:gd name="connsiteX1017" fmla="*/ 567715 w 1188147"/>
                <a:gd name="connsiteY1017" fmla="*/ 803770 h 959960"/>
                <a:gd name="connsiteX1018" fmla="*/ 564960 w 1188147"/>
                <a:gd name="connsiteY1018" fmla="*/ 806524 h 959960"/>
                <a:gd name="connsiteX1019" fmla="*/ 562600 w 1188147"/>
                <a:gd name="connsiteY1019" fmla="*/ 809671 h 959960"/>
                <a:gd name="connsiteX1020" fmla="*/ 565354 w 1188147"/>
                <a:gd name="connsiteY1020" fmla="*/ 808884 h 959960"/>
                <a:gd name="connsiteX1021" fmla="*/ 568107 w 1188147"/>
                <a:gd name="connsiteY1021" fmla="*/ 810458 h 959960"/>
                <a:gd name="connsiteX1022" fmla="*/ 569288 w 1188147"/>
                <a:gd name="connsiteY1022" fmla="*/ 813212 h 959960"/>
                <a:gd name="connsiteX1023" fmla="*/ 570861 w 1188147"/>
                <a:gd name="connsiteY1023" fmla="*/ 816360 h 959960"/>
                <a:gd name="connsiteX1024" fmla="*/ 572436 w 1188147"/>
                <a:gd name="connsiteY1024" fmla="*/ 819114 h 959960"/>
                <a:gd name="connsiteX1025" fmla="*/ 575189 w 1188147"/>
                <a:gd name="connsiteY1025" fmla="*/ 819507 h 959960"/>
                <a:gd name="connsiteX1026" fmla="*/ 577943 w 1188147"/>
                <a:gd name="connsiteY1026" fmla="*/ 818327 h 959960"/>
                <a:gd name="connsiteX1027" fmla="*/ 579910 w 1188147"/>
                <a:gd name="connsiteY1027" fmla="*/ 821081 h 959960"/>
                <a:gd name="connsiteX1028" fmla="*/ 580697 w 1188147"/>
                <a:gd name="connsiteY1028" fmla="*/ 823441 h 959960"/>
                <a:gd name="connsiteX1029" fmla="*/ 623974 w 1188147"/>
                <a:gd name="connsiteY1029" fmla="*/ 782132 h 959960"/>
                <a:gd name="connsiteX1030" fmla="*/ 626335 w 1188147"/>
                <a:gd name="connsiteY1030" fmla="*/ 781345 h 959960"/>
                <a:gd name="connsiteX1031" fmla="*/ 627121 w 1188147"/>
                <a:gd name="connsiteY1031" fmla="*/ 778984 h 959960"/>
                <a:gd name="connsiteX1032" fmla="*/ 627515 w 1188147"/>
                <a:gd name="connsiteY1032" fmla="*/ 778591 h 959960"/>
                <a:gd name="connsiteX1033" fmla="*/ 629875 w 1188147"/>
                <a:gd name="connsiteY1033" fmla="*/ 779377 h 959960"/>
                <a:gd name="connsiteX1034" fmla="*/ 633023 w 1188147"/>
                <a:gd name="connsiteY1034" fmla="*/ 778984 h 959960"/>
                <a:gd name="connsiteX1035" fmla="*/ 635777 w 1188147"/>
                <a:gd name="connsiteY1035" fmla="*/ 776624 h 959960"/>
                <a:gd name="connsiteX1036" fmla="*/ 638531 w 1188147"/>
                <a:gd name="connsiteY1036" fmla="*/ 773870 h 959960"/>
                <a:gd name="connsiteX1037" fmla="*/ 640891 w 1188147"/>
                <a:gd name="connsiteY1037" fmla="*/ 771116 h 959960"/>
                <a:gd name="connsiteX1038" fmla="*/ 643645 w 1188147"/>
                <a:gd name="connsiteY1038" fmla="*/ 768362 h 959960"/>
                <a:gd name="connsiteX1039" fmla="*/ 645219 w 1188147"/>
                <a:gd name="connsiteY1039" fmla="*/ 765608 h 959960"/>
                <a:gd name="connsiteX1040" fmla="*/ 647973 w 1188147"/>
                <a:gd name="connsiteY1040" fmla="*/ 762460 h 959960"/>
                <a:gd name="connsiteX1041" fmla="*/ 650334 w 1188147"/>
                <a:gd name="connsiteY1041" fmla="*/ 759706 h 959960"/>
                <a:gd name="connsiteX1042" fmla="*/ 653088 w 1188147"/>
                <a:gd name="connsiteY1042" fmla="*/ 757739 h 959960"/>
                <a:gd name="connsiteX1043" fmla="*/ 655448 w 1188147"/>
                <a:gd name="connsiteY1043" fmla="*/ 754985 h 959960"/>
                <a:gd name="connsiteX1044" fmla="*/ 658203 w 1188147"/>
                <a:gd name="connsiteY1044" fmla="*/ 754198 h 959960"/>
                <a:gd name="connsiteX1045" fmla="*/ 660170 w 1188147"/>
                <a:gd name="connsiteY1045" fmla="*/ 753018 h 959960"/>
                <a:gd name="connsiteX1046" fmla="*/ 640498 w 1188147"/>
                <a:gd name="connsiteY1046" fmla="*/ 788426 h 959960"/>
                <a:gd name="connsiteX1047" fmla="*/ 639711 w 1188147"/>
                <a:gd name="connsiteY1047" fmla="*/ 788820 h 959960"/>
                <a:gd name="connsiteX1048" fmla="*/ 638924 w 1188147"/>
                <a:gd name="connsiteY1048" fmla="*/ 791180 h 959960"/>
                <a:gd name="connsiteX1049" fmla="*/ 638531 w 1188147"/>
                <a:gd name="connsiteY1049" fmla="*/ 791967 h 959960"/>
                <a:gd name="connsiteX1050" fmla="*/ 636170 w 1188147"/>
                <a:gd name="connsiteY1050" fmla="*/ 794328 h 959960"/>
                <a:gd name="connsiteX1051" fmla="*/ 634597 w 1188147"/>
                <a:gd name="connsiteY1051" fmla="*/ 797082 h 959960"/>
                <a:gd name="connsiteX1052" fmla="*/ 633417 w 1188147"/>
                <a:gd name="connsiteY1052" fmla="*/ 800229 h 959960"/>
                <a:gd name="connsiteX1053" fmla="*/ 631449 w 1188147"/>
                <a:gd name="connsiteY1053" fmla="*/ 802983 h 959960"/>
                <a:gd name="connsiteX1054" fmla="*/ 631056 w 1188147"/>
                <a:gd name="connsiteY1054" fmla="*/ 805737 h 959960"/>
                <a:gd name="connsiteX1055" fmla="*/ 629875 w 1188147"/>
                <a:gd name="connsiteY1055" fmla="*/ 808884 h 959960"/>
                <a:gd name="connsiteX1056" fmla="*/ 628696 w 1188147"/>
                <a:gd name="connsiteY1056" fmla="*/ 811638 h 959960"/>
                <a:gd name="connsiteX1057" fmla="*/ 627121 w 1188147"/>
                <a:gd name="connsiteY1057" fmla="*/ 814786 h 959960"/>
                <a:gd name="connsiteX1058" fmla="*/ 625154 w 1188147"/>
                <a:gd name="connsiteY1058" fmla="*/ 817540 h 959960"/>
                <a:gd name="connsiteX1059" fmla="*/ 623581 w 1188147"/>
                <a:gd name="connsiteY1059" fmla="*/ 820687 h 959960"/>
                <a:gd name="connsiteX1060" fmla="*/ 620827 w 1188147"/>
                <a:gd name="connsiteY1060" fmla="*/ 821474 h 959960"/>
                <a:gd name="connsiteX1061" fmla="*/ 618072 w 1188147"/>
                <a:gd name="connsiteY1061" fmla="*/ 820294 h 959960"/>
                <a:gd name="connsiteX1062" fmla="*/ 615319 w 1188147"/>
                <a:gd name="connsiteY1062" fmla="*/ 820687 h 959960"/>
                <a:gd name="connsiteX1063" fmla="*/ 612565 w 1188147"/>
                <a:gd name="connsiteY1063" fmla="*/ 820294 h 959960"/>
                <a:gd name="connsiteX1064" fmla="*/ 609811 w 1188147"/>
                <a:gd name="connsiteY1064" fmla="*/ 823048 h 959960"/>
                <a:gd name="connsiteX1065" fmla="*/ 608237 w 1188147"/>
                <a:gd name="connsiteY1065" fmla="*/ 825802 h 959960"/>
                <a:gd name="connsiteX1066" fmla="*/ 606270 w 1188147"/>
                <a:gd name="connsiteY1066" fmla="*/ 828949 h 959960"/>
                <a:gd name="connsiteX1067" fmla="*/ 603516 w 1188147"/>
                <a:gd name="connsiteY1067" fmla="*/ 830523 h 959960"/>
                <a:gd name="connsiteX1068" fmla="*/ 601942 w 1188147"/>
                <a:gd name="connsiteY1068" fmla="*/ 833277 h 959960"/>
                <a:gd name="connsiteX1069" fmla="*/ 604696 w 1188147"/>
                <a:gd name="connsiteY1069" fmla="*/ 832884 h 959960"/>
                <a:gd name="connsiteX1070" fmla="*/ 607844 w 1188147"/>
                <a:gd name="connsiteY1070" fmla="*/ 831310 h 959960"/>
                <a:gd name="connsiteX1071" fmla="*/ 610598 w 1188147"/>
                <a:gd name="connsiteY1071" fmla="*/ 831703 h 959960"/>
                <a:gd name="connsiteX1072" fmla="*/ 613351 w 1188147"/>
                <a:gd name="connsiteY1072" fmla="*/ 829736 h 959960"/>
                <a:gd name="connsiteX1073" fmla="*/ 616499 w 1188147"/>
                <a:gd name="connsiteY1073" fmla="*/ 829343 h 959960"/>
                <a:gd name="connsiteX1074" fmla="*/ 619253 w 1188147"/>
                <a:gd name="connsiteY1074" fmla="*/ 827769 h 959960"/>
                <a:gd name="connsiteX1075" fmla="*/ 622007 w 1188147"/>
                <a:gd name="connsiteY1075" fmla="*/ 827769 h 959960"/>
                <a:gd name="connsiteX1076" fmla="*/ 625154 w 1188147"/>
                <a:gd name="connsiteY1076" fmla="*/ 828949 h 959960"/>
                <a:gd name="connsiteX1077" fmla="*/ 627908 w 1188147"/>
                <a:gd name="connsiteY1077" fmla="*/ 828556 h 959960"/>
                <a:gd name="connsiteX1078" fmla="*/ 629875 w 1188147"/>
                <a:gd name="connsiteY1078" fmla="*/ 825408 h 959960"/>
                <a:gd name="connsiteX1079" fmla="*/ 632236 w 1188147"/>
                <a:gd name="connsiteY1079" fmla="*/ 822654 h 959960"/>
                <a:gd name="connsiteX1080" fmla="*/ 634597 w 1188147"/>
                <a:gd name="connsiteY1080" fmla="*/ 819507 h 959960"/>
                <a:gd name="connsiteX1081" fmla="*/ 636957 w 1188147"/>
                <a:gd name="connsiteY1081" fmla="*/ 816753 h 959960"/>
                <a:gd name="connsiteX1082" fmla="*/ 638924 w 1188147"/>
                <a:gd name="connsiteY1082" fmla="*/ 813999 h 959960"/>
                <a:gd name="connsiteX1083" fmla="*/ 640891 w 1188147"/>
                <a:gd name="connsiteY1083" fmla="*/ 810852 h 959960"/>
                <a:gd name="connsiteX1084" fmla="*/ 641285 w 1188147"/>
                <a:gd name="connsiteY1084" fmla="*/ 810458 h 959960"/>
                <a:gd name="connsiteX1085" fmla="*/ 636957 w 1188147"/>
                <a:gd name="connsiteY1085" fmla="*/ 840359 h 959960"/>
                <a:gd name="connsiteX1086" fmla="*/ 634203 w 1188147"/>
                <a:gd name="connsiteY1086" fmla="*/ 841539 h 959960"/>
                <a:gd name="connsiteX1087" fmla="*/ 631449 w 1188147"/>
                <a:gd name="connsiteY1087" fmla="*/ 844293 h 959960"/>
                <a:gd name="connsiteX1088" fmla="*/ 634203 w 1188147"/>
                <a:gd name="connsiteY1088" fmla="*/ 845867 h 959960"/>
                <a:gd name="connsiteX1089" fmla="*/ 636170 w 1188147"/>
                <a:gd name="connsiteY1089" fmla="*/ 845080 h 959960"/>
                <a:gd name="connsiteX1090" fmla="*/ 638924 w 1188147"/>
                <a:gd name="connsiteY1090" fmla="*/ 845473 h 959960"/>
                <a:gd name="connsiteX1091" fmla="*/ 642072 w 1188147"/>
                <a:gd name="connsiteY1091" fmla="*/ 845080 h 959960"/>
                <a:gd name="connsiteX1092" fmla="*/ 644826 w 1188147"/>
                <a:gd name="connsiteY1092" fmla="*/ 844293 h 959960"/>
                <a:gd name="connsiteX1093" fmla="*/ 647579 w 1188147"/>
                <a:gd name="connsiteY1093" fmla="*/ 841932 h 959960"/>
                <a:gd name="connsiteX1094" fmla="*/ 650334 w 1188147"/>
                <a:gd name="connsiteY1094" fmla="*/ 841145 h 959960"/>
                <a:gd name="connsiteX1095" fmla="*/ 653481 w 1188147"/>
                <a:gd name="connsiteY1095" fmla="*/ 841539 h 959960"/>
                <a:gd name="connsiteX1096" fmla="*/ 656236 w 1188147"/>
                <a:gd name="connsiteY1096" fmla="*/ 841932 h 959960"/>
                <a:gd name="connsiteX1097" fmla="*/ 653088 w 1188147"/>
                <a:gd name="connsiteY1097" fmla="*/ 840359 h 959960"/>
                <a:gd name="connsiteX1098" fmla="*/ 653481 w 1188147"/>
                <a:gd name="connsiteY1098" fmla="*/ 840359 h 959960"/>
                <a:gd name="connsiteX1099" fmla="*/ 656236 w 1188147"/>
                <a:gd name="connsiteY1099" fmla="*/ 839965 h 959960"/>
                <a:gd name="connsiteX1100" fmla="*/ 658989 w 1188147"/>
                <a:gd name="connsiteY1100" fmla="*/ 840752 h 959960"/>
                <a:gd name="connsiteX1101" fmla="*/ 658596 w 1188147"/>
                <a:gd name="connsiteY1101" fmla="*/ 839178 h 959960"/>
                <a:gd name="connsiteX1102" fmla="*/ 670792 w 1188147"/>
                <a:gd name="connsiteY1102" fmla="*/ 836031 h 959960"/>
                <a:gd name="connsiteX1103" fmla="*/ 669612 w 1188147"/>
                <a:gd name="connsiteY1103" fmla="*/ 838785 h 959960"/>
                <a:gd name="connsiteX1104" fmla="*/ 666464 w 1188147"/>
                <a:gd name="connsiteY1104" fmla="*/ 839572 h 959960"/>
                <a:gd name="connsiteX1105" fmla="*/ 666464 w 1188147"/>
                <a:gd name="connsiteY1105" fmla="*/ 842326 h 959960"/>
                <a:gd name="connsiteX1106" fmla="*/ 666071 w 1188147"/>
                <a:gd name="connsiteY1106" fmla="*/ 845080 h 959960"/>
                <a:gd name="connsiteX1107" fmla="*/ 662924 w 1188147"/>
                <a:gd name="connsiteY1107" fmla="*/ 846654 h 959960"/>
                <a:gd name="connsiteX1108" fmla="*/ 663316 w 1188147"/>
                <a:gd name="connsiteY1108" fmla="*/ 843899 h 959960"/>
                <a:gd name="connsiteX1109" fmla="*/ 663710 w 1188147"/>
                <a:gd name="connsiteY1109" fmla="*/ 840752 h 959960"/>
                <a:gd name="connsiteX1110" fmla="*/ 660563 w 1188147"/>
                <a:gd name="connsiteY1110" fmla="*/ 841145 h 959960"/>
                <a:gd name="connsiteX1111" fmla="*/ 658989 w 1188147"/>
                <a:gd name="connsiteY1111" fmla="*/ 843899 h 959960"/>
                <a:gd name="connsiteX1112" fmla="*/ 661349 w 1188147"/>
                <a:gd name="connsiteY1112" fmla="*/ 846654 h 959960"/>
                <a:gd name="connsiteX1113" fmla="*/ 663316 w 1188147"/>
                <a:gd name="connsiteY1113" fmla="*/ 849408 h 959960"/>
                <a:gd name="connsiteX1114" fmla="*/ 664891 w 1188147"/>
                <a:gd name="connsiteY1114" fmla="*/ 852161 h 959960"/>
                <a:gd name="connsiteX1115" fmla="*/ 666464 w 1188147"/>
                <a:gd name="connsiteY1115" fmla="*/ 855309 h 959960"/>
                <a:gd name="connsiteX1116" fmla="*/ 666464 w 1188147"/>
                <a:gd name="connsiteY1116" fmla="*/ 855702 h 959960"/>
                <a:gd name="connsiteX1117" fmla="*/ 665677 w 1188147"/>
                <a:gd name="connsiteY1117" fmla="*/ 859243 h 959960"/>
                <a:gd name="connsiteX1118" fmla="*/ 665284 w 1188147"/>
                <a:gd name="connsiteY1118" fmla="*/ 856096 h 959960"/>
                <a:gd name="connsiteX1119" fmla="*/ 664104 w 1188147"/>
                <a:gd name="connsiteY1119" fmla="*/ 853342 h 959960"/>
                <a:gd name="connsiteX1120" fmla="*/ 662137 w 1188147"/>
                <a:gd name="connsiteY1120" fmla="*/ 850194 h 959960"/>
                <a:gd name="connsiteX1121" fmla="*/ 660563 w 1188147"/>
                <a:gd name="connsiteY1121" fmla="*/ 847440 h 959960"/>
                <a:gd name="connsiteX1122" fmla="*/ 658203 w 1188147"/>
                <a:gd name="connsiteY1122" fmla="*/ 844686 h 959960"/>
                <a:gd name="connsiteX1123" fmla="*/ 655055 w 1188147"/>
                <a:gd name="connsiteY1123" fmla="*/ 841932 h 959960"/>
                <a:gd name="connsiteX1124" fmla="*/ 657809 w 1188147"/>
                <a:gd name="connsiteY1124" fmla="*/ 845080 h 959960"/>
                <a:gd name="connsiteX1125" fmla="*/ 660170 w 1188147"/>
                <a:gd name="connsiteY1125" fmla="*/ 847834 h 959960"/>
                <a:gd name="connsiteX1126" fmla="*/ 662137 w 1188147"/>
                <a:gd name="connsiteY1126" fmla="*/ 850588 h 959960"/>
                <a:gd name="connsiteX1127" fmla="*/ 663710 w 1188147"/>
                <a:gd name="connsiteY1127" fmla="*/ 853735 h 959960"/>
                <a:gd name="connsiteX1128" fmla="*/ 664497 w 1188147"/>
                <a:gd name="connsiteY1128" fmla="*/ 856489 h 959960"/>
                <a:gd name="connsiteX1129" fmla="*/ 665677 w 1188147"/>
                <a:gd name="connsiteY1129" fmla="*/ 859243 h 959960"/>
                <a:gd name="connsiteX1130" fmla="*/ 665677 w 1188147"/>
                <a:gd name="connsiteY1130" fmla="*/ 860030 h 959960"/>
                <a:gd name="connsiteX1131" fmla="*/ 661743 w 1188147"/>
                <a:gd name="connsiteY1131" fmla="*/ 884422 h 959960"/>
                <a:gd name="connsiteX1132" fmla="*/ 658596 w 1188147"/>
                <a:gd name="connsiteY1132" fmla="*/ 886783 h 959960"/>
                <a:gd name="connsiteX1133" fmla="*/ 655842 w 1188147"/>
                <a:gd name="connsiteY1133" fmla="*/ 888357 h 959960"/>
                <a:gd name="connsiteX1134" fmla="*/ 655448 w 1188147"/>
                <a:gd name="connsiteY1134" fmla="*/ 891111 h 959960"/>
                <a:gd name="connsiteX1135" fmla="*/ 655055 w 1188147"/>
                <a:gd name="connsiteY1135" fmla="*/ 893865 h 959960"/>
                <a:gd name="connsiteX1136" fmla="*/ 652694 w 1188147"/>
                <a:gd name="connsiteY1136" fmla="*/ 896619 h 959960"/>
                <a:gd name="connsiteX1137" fmla="*/ 653088 w 1188147"/>
                <a:gd name="connsiteY1137" fmla="*/ 899766 h 959960"/>
                <a:gd name="connsiteX1138" fmla="*/ 653481 w 1188147"/>
                <a:gd name="connsiteY1138" fmla="*/ 902520 h 959960"/>
                <a:gd name="connsiteX1139" fmla="*/ 654268 w 1188147"/>
                <a:gd name="connsiteY1139" fmla="*/ 905274 h 959960"/>
                <a:gd name="connsiteX1140" fmla="*/ 654661 w 1188147"/>
                <a:gd name="connsiteY1140" fmla="*/ 906848 h 959960"/>
                <a:gd name="connsiteX1141" fmla="*/ 656628 w 1188147"/>
                <a:gd name="connsiteY1141" fmla="*/ 909208 h 959960"/>
                <a:gd name="connsiteX1142" fmla="*/ 656628 w 1188147"/>
                <a:gd name="connsiteY1142" fmla="*/ 909602 h 959960"/>
                <a:gd name="connsiteX1143" fmla="*/ 658203 w 1188147"/>
                <a:gd name="connsiteY1143" fmla="*/ 912356 h 959960"/>
                <a:gd name="connsiteX1144" fmla="*/ 658596 w 1188147"/>
                <a:gd name="connsiteY1144" fmla="*/ 915503 h 959960"/>
                <a:gd name="connsiteX1145" fmla="*/ 658596 w 1188147"/>
                <a:gd name="connsiteY1145" fmla="*/ 918650 h 959960"/>
                <a:gd name="connsiteX1146" fmla="*/ 660563 w 1188147"/>
                <a:gd name="connsiteY1146" fmla="*/ 922191 h 959960"/>
                <a:gd name="connsiteX1147" fmla="*/ 663316 w 1188147"/>
                <a:gd name="connsiteY1147" fmla="*/ 925339 h 959960"/>
                <a:gd name="connsiteX1148" fmla="*/ 666464 w 1188147"/>
                <a:gd name="connsiteY1148" fmla="*/ 926126 h 959960"/>
                <a:gd name="connsiteX1149" fmla="*/ 669612 w 1188147"/>
                <a:gd name="connsiteY1149" fmla="*/ 925732 h 959960"/>
                <a:gd name="connsiteX1150" fmla="*/ 672365 w 1188147"/>
                <a:gd name="connsiteY1150" fmla="*/ 926126 h 959960"/>
                <a:gd name="connsiteX1151" fmla="*/ 675907 w 1188147"/>
                <a:gd name="connsiteY1151" fmla="*/ 928093 h 959960"/>
                <a:gd name="connsiteX1152" fmla="*/ 678267 w 1188147"/>
                <a:gd name="connsiteY1152" fmla="*/ 930847 h 959960"/>
                <a:gd name="connsiteX1153" fmla="*/ 679841 w 1188147"/>
                <a:gd name="connsiteY1153" fmla="*/ 933994 h 959960"/>
                <a:gd name="connsiteX1154" fmla="*/ 678267 w 1188147"/>
                <a:gd name="connsiteY1154" fmla="*/ 936748 h 959960"/>
                <a:gd name="connsiteX1155" fmla="*/ 681021 w 1188147"/>
                <a:gd name="connsiteY1155" fmla="*/ 936355 h 959960"/>
                <a:gd name="connsiteX1156" fmla="*/ 684168 w 1188147"/>
                <a:gd name="connsiteY1156" fmla="*/ 937142 h 959960"/>
                <a:gd name="connsiteX1157" fmla="*/ 686922 w 1188147"/>
                <a:gd name="connsiteY1157" fmla="*/ 933994 h 959960"/>
                <a:gd name="connsiteX1158" fmla="*/ 688102 w 1188147"/>
                <a:gd name="connsiteY1158" fmla="*/ 933601 h 959960"/>
                <a:gd name="connsiteX1159" fmla="*/ 730199 w 1188147"/>
                <a:gd name="connsiteY1159" fmla="*/ 952879 h 959960"/>
                <a:gd name="connsiteX1160" fmla="*/ 734527 w 1188147"/>
                <a:gd name="connsiteY1160" fmla="*/ 950518 h 959960"/>
                <a:gd name="connsiteX1161" fmla="*/ 736100 w 1188147"/>
                <a:gd name="connsiteY1161" fmla="*/ 949731 h 959960"/>
                <a:gd name="connsiteX1162" fmla="*/ 738855 w 1188147"/>
                <a:gd name="connsiteY1162" fmla="*/ 948157 h 959960"/>
                <a:gd name="connsiteX1163" fmla="*/ 741609 w 1188147"/>
                <a:gd name="connsiteY1163" fmla="*/ 947371 h 959960"/>
                <a:gd name="connsiteX1164" fmla="*/ 744363 w 1188147"/>
                <a:gd name="connsiteY1164" fmla="*/ 945403 h 959960"/>
                <a:gd name="connsiteX1165" fmla="*/ 747510 w 1188147"/>
                <a:gd name="connsiteY1165" fmla="*/ 943436 h 959960"/>
                <a:gd name="connsiteX1166" fmla="*/ 747510 w 1188147"/>
                <a:gd name="connsiteY1166" fmla="*/ 943436 h 959960"/>
                <a:gd name="connsiteX1167" fmla="*/ 762461 w 1188147"/>
                <a:gd name="connsiteY1167" fmla="*/ 935174 h 959960"/>
                <a:gd name="connsiteX1168" fmla="*/ 765214 w 1188147"/>
                <a:gd name="connsiteY1168" fmla="*/ 933994 h 959960"/>
                <a:gd name="connsiteX1169" fmla="*/ 768362 w 1188147"/>
                <a:gd name="connsiteY1169" fmla="*/ 933601 h 959960"/>
                <a:gd name="connsiteX1170" fmla="*/ 771116 w 1188147"/>
                <a:gd name="connsiteY1170" fmla="*/ 933601 h 959960"/>
                <a:gd name="connsiteX1171" fmla="*/ 773870 w 1188147"/>
                <a:gd name="connsiteY1171" fmla="*/ 930847 h 959960"/>
                <a:gd name="connsiteX1172" fmla="*/ 773083 w 1188147"/>
                <a:gd name="connsiteY1172" fmla="*/ 930453 h 959960"/>
                <a:gd name="connsiteX1173" fmla="*/ 787246 w 1188147"/>
                <a:gd name="connsiteY1173" fmla="*/ 924945 h 959960"/>
                <a:gd name="connsiteX1174" fmla="*/ 782525 w 1188147"/>
                <a:gd name="connsiteY1174" fmla="*/ 931634 h 959960"/>
                <a:gd name="connsiteX1175" fmla="*/ 779771 w 1188147"/>
                <a:gd name="connsiteY1175" fmla="*/ 933994 h 959960"/>
                <a:gd name="connsiteX1176" fmla="*/ 776623 w 1188147"/>
                <a:gd name="connsiteY1176" fmla="*/ 936355 h 959960"/>
                <a:gd name="connsiteX1177" fmla="*/ 773870 w 1188147"/>
                <a:gd name="connsiteY1177" fmla="*/ 936748 h 959960"/>
                <a:gd name="connsiteX1178" fmla="*/ 771116 w 1188147"/>
                <a:gd name="connsiteY1178" fmla="*/ 934781 h 959960"/>
                <a:gd name="connsiteX1179" fmla="*/ 772689 w 1188147"/>
                <a:gd name="connsiteY1179" fmla="*/ 937535 h 959960"/>
                <a:gd name="connsiteX1180" fmla="*/ 773870 w 1188147"/>
                <a:gd name="connsiteY1180" fmla="*/ 940682 h 959960"/>
                <a:gd name="connsiteX1181" fmla="*/ 777410 w 1188147"/>
                <a:gd name="connsiteY1181" fmla="*/ 940682 h 959960"/>
                <a:gd name="connsiteX1182" fmla="*/ 803377 w 1188147"/>
                <a:gd name="connsiteY1182" fmla="*/ 962321 h 959960"/>
                <a:gd name="connsiteX1183" fmla="*/ 806130 w 1188147"/>
                <a:gd name="connsiteY1183" fmla="*/ 960354 h 959960"/>
                <a:gd name="connsiteX1184" fmla="*/ 806130 w 1188147"/>
                <a:gd name="connsiteY1184" fmla="*/ 960354 h 959960"/>
                <a:gd name="connsiteX1185" fmla="*/ 824228 w 1188147"/>
                <a:gd name="connsiteY1185" fmla="*/ 947371 h 959960"/>
                <a:gd name="connsiteX1186" fmla="*/ 909602 w 1188147"/>
                <a:gd name="connsiteY1186" fmla="*/ 917077 h 959960"/>
                <a:gd name="connsiteX1187" fmla="*/ 912356 w 1188147"/>
                <a:gd name="connsiteY1187" fmla="*/ 916683 h 959960"/>
                <a:gd name="connsiteX1188" fmla="*/ 915109 w 1188147"/>
                <a:gd name="connsiteY1188" fmla="*/ 915896 h 959960"/>
                <a:gd name="connsiteX1189" fmla="*/ 918257 w 1188147"/>
                <a:gd name="connsiteY1189" fmla="*/ 914716 h 959960"/>
                <a:gd name="connsiteX1190" fmla="*/ 921011 w 1188147"/>
                <a:gd name="connsiteY1190" fmla="*/ 913536 h 959960"/>
                <a:gd name="connsiteX1191" fmla="*/ 923766 w 1188147"/>
                <a:gd name="connsiteY1191" fmla="*/ 911175 h 959960"/>
                <a:gd name="connsiteX1192" fmla="*/ 931634 w 1188147"/>
                <a:gd name="connsiteY1192" fmla="*/ 908028 h 959960"/>
                <a:gd name="connsiteX1193" fmla="*/ 931634 w 1188147"/>
                <a:gd name="connsiteY1193" fmla="*/ 908028 h 959960"/>
                <a:gd name="connsiteX1194" fmla="*/ 933207 w 1188147"/>
                <a:gd name="connsiteY1194" fmla="*/ 907635 h 959960"/>
                <a:gd name="connsiteX1195" fmla="*/ 938322 w 1188147"/>
                <a:gd name="connsiteY1195" fmla="*/ 898979 h 959960"/>
                <a:gd name="connsiteX1196" fmla="*/ 939895 w 1188147"/>
                <a:gd name="connsiteY1196" fmla="*/ 896225 h 959960"/>
                <a:gd name="connsiteX1197" fmla="*/ 939895 w 1188147"/>
                <a:gd name="connsiteY1197" fmla="*/ 895832 h 959960"/>
                <a:gd name="connsiteX1198" fmla="*/ 948551 w 1188147"/>
                <a:gd name="connsiteY1198" fmla="*/ 879308 h 959960"/>
                <a:gd name="connsiteX1199" fmla="*/ 951305 w 1188147"/>
                <a:gd name="connsiteY1199" fmla="*/ 876947 h 959960"/>
                <a:gd name="connsiteX1200" fmla="*/ 952092 w 1188147"/>
                <a:gd name="connsiteY1200" fmla="*/ 875767 h 959960"/>
                <a:gd name="connsiteX1201" fmla="*/ 993008 w 1188147"/>
                <a:gd name="connsiteY1201" fmla="*/ 829343 h 959960"/>
                <a:gd name="connsiteX1202" fmla="*/ 993795 w 1188147"/>
                <a:gd name="connsiteY1202" fmla="*/ 829343 h 959960"/>
                <a:gd name="connsiteX1203" fmla="*/ 994188 w 1188147"/>
                <a:gd name="connsiteY1203" fmla="*/ 828162 h 959960"/>
                <a:gd name="connsiteX1204" fmla="*/ 996942 w 1188147"/>
                <a:gd name="connsiteY1204" fmla="*/ 825015 h 959960"/>
                <a:gd name="connsiteX1205" fmla="*/ 997336 w 1188147"/>
                <a:gd name="connsiteY1205" fmla="*/ 826982 h 959960"/>
                <a:gd name="connsiteX1206" fmla="*/ 1000090 w 1188147"/>
                <a:gd name="connsiteY1206" fmla="*/ 824228 h 959960"/>
                <a:gd name="connsiteX1207" fmla="*/ 998517 w 1188147"/>
                <a:gd name="connsiteY1207" fmla="*/ 823441 h 959960"/>
                <a:gd name="connsiteX1208" fmla="*/ 1020548 w 1188147"/>
                <a:gd name="connsiteY1208" fmla="*/ 795508 h 959960"/>
                <a:gd name="connsiteX1209" fmla="*/ 1022515 w 1188147"/>
                <a:gd name="connsiteY1209" fmla="*/ 794328 h 959960"/>
                <a:gd name="connsiteX1210" fmla="*/ 1024876 w 1188147"/>
                <a:gd name="connsiteY1210" fmla="*/ 791574 h 959960"/>
                <a:gd name="connsiteX1211" fmla="*/ 1026449 w 1188147"/>
                <a:gd name="connsiteY1211" fmla="*/ 788820 h 959960"/>
                <a:gd name="connsiteX1212" fmla="*/ 1029203 w 1188147"/>
                <a:gd name="connsiteY1212" fmla="*/ 788426 h 959960"/>
                <a:gd name="connsiteX1213" fmla="*/ 1031170 w 1188147"/>
                <a:gd name="connsiteY1213" fmla="*/ 785672 h 959960"/>
                <a:gd name="connsiteX1214" fmla="*/ 1032744 w 1188147"/>
                <a:gd name="connsiteY1214" fmla="*/ 782525 h 959960"/>
                <a:gd name="connsiteX1215" fmla="*/ 1034712 w 1188147"/>
                <a:gd name="connsiteY1215" fmla="*/ 779771 h 959960"/>
                <a:gd name="connsiteX1216" fmla="*/ 1036679 w 1188147"/>
                <a:gd name="connsiteY1216" fmla="*/ 777017 h 959960"/>
                <a:gd name="connsiteX1217" fmla="*/ 1035104 w 1188147"/>
                <a:gd name="connsiteY1217" fmla="*/ 777410 h 959960"/>
                <a:gd name="connsiteX1218" fmla="*/ 1039433 w 1188147"/>
                <a:gd name="connsiteY1218" fmla="*/ 773870 h 959960"/>
                <a:gd name="connsiteX1219" fmla="*/ 1040219 w 1188147"/>
                <a:gd name="connsiteY1219" fmla="*/ 773476 h 959960"/>
                <a:gd name="connsiteX1220" fmla="*/ 1041006 w 1188147"/>
                <a:gd name="connsiteY1220" fmla="*/ 772296 h 959960"/>
                <a:gd name="connsiteX1221" fmla="*/ 1088217 w 1188147"/>
                <a:gd name="connsiteY1221" fmla="*/ 736494 h 959960"/>
                <a:gd name="connsiteX1222" fmla="*/ 1100414 w 1188147"/>
                <a:gd name="connsiteY1222" fmla="*/ 717610 h 959960"/>
                <a:gd name="connsiteX1223" fmla="*/ 1101200 w 1188147"/>
                <a:gd name="connsiteY1223" fmla="*/ 717216 h 959960"/>
                <a:gd name="connsiteX1224" fmla="*/ 1103954 w 1188147"/>
                <a:gd name="connsiteY1224" fmla="*/ 714462 h 959960"/>
                <a:gd name="connsiteX1225" fmla="*/ 1107102 w 1188147"/>
                <a:gd name="connsiteY1225" fmla="*/ 711708 h 959960"/>
                <a:gd name="connsiteX1226" fmla="*/ 1109463 w 1188147"/>
                <a:gd name="connsiteY1226" fmla="*/ 708561 h 959960"/>
                <a:gd name="connsiteX1227" fmla="*/ 1111036 w 1188147"/>
                <a:gd name="connsiteY1227" fmla="*/ 705807 h 959960"/>
                <a:gd name="connsiteX1228" fmla="*/ 1114184 w 1188147"/>
                <a:gd name="connsiteY1228" fmla="*/ 703446 h 959960"/>
                <a:gd name="connsiteX1229" fmla="*/ 1114970 w 1188147"/>
                <a:gd name="connsiteY1229" fmla="*/ 700692 h 959960"/>
                <a:gd name="connsiteX1230" fmla="*/ 1117331 w 1188147"/>
                <a:gd name="connsiteY1230" fmla="*/ 697938 h 959960"/>
                <a:gd name="connsiteX1231" fmla="*/ 1118118 w 1188147"/>
                <a:gd name="connsiteY1231" fmla="*/ 694791 h 959960"/>
                <a:gd name="connsiteX1232" fmla="*/ 1120479 w 1188147"/>
                <a:gd name="connsiteY1232" fmla="*/ 691643 h 959960"/>
                <a:gd name="connsiteX1233" fmla="*/ 1123233 w 1188147"/>
                <a:gd name="connsiteY1233" fmla="*/ 688889 h 959960"/>
                <a:gd name="connsiteX1234" fmla="*/ 1124019 w 1188147"/>
                <a:gd name="connsiteY1234" fmla="*/ 686136 h 959960"/>
                <a:gd name="connsiteX1235" fmla="*/ 1125593 w 1188147"/>
                <a:gd name="connsiteY1235" fmla="*/ 683382 h 959960"/>
                <a:gd name="connsiteX1236" fmla="*/ 1124413 w 1188147"/>
                <a:gd name="connsiteY1236" fmla="*/ 680234 h 959960"/>
                <a:gd name="connsiteX1237" fmla="*/ 1125593 w 1188147"/>
                <a:gd name="connsiteY1237" fmla="*/ 677874 h 959960"/>
                <a:gd name="connsiteX1238" fmla="*/ 1133855 w 1188147"/>
                <a:gd name="connsiteY1238" fmla="*/ 664891 h 959960"/>
                <a:gd name="connsiteX1239" fmla="*/ 1135428 w 1188147"/>
                <a:gd name="connsiteY1239" fmla="*/ 663317 h 959960"/>
                <a:gd name="connsiteX1240" fmla="*/ 1137395 w 1188147"/>
                <a:gd name="connsiteY1240" fmla="*/ 660563 h 959960"/>
                <a:gd name="connsiteX1241" fmla="*/ 1139362 w 1188147"/>
                <a:gd name="connsiteY1241" fmla="*/ 657415 h 959960"/>
                <a:gd name="connsiteX1242" fmla="*/ 1139756 w 1188147"/>
                <a:gd name="connsiteY1242" fmla="*/ 656235 h 959960"/>
                <a:gd name="connsiteX1243" fmla="*/ 1141330 w 1188147"/>
                <a:gd name="connsiteY1243" fmla="*/ 653875 h 959960"/>
                <a:gd name="connsiteX1244" fmla="*/ 1143691 w 1188147"/>
                <a:gd name="connsiteY1244" fmla="*/ 651121 h 959960"/>
                <a:gd name="connsiteX1245" fmla="*/ 1145264 w 1188147"/>
                <a:gd name="connsiteY1245" fmla="*/ 648367 h 959960"/>
                <a:gd name="connsiteX1246" fmla="*/ 1146444 w 1188147"/>
                <a:gd name="connsiteY1246" fmla="*/ 645219 h 959960"/>
                <a:gd name="connsiteX1247" fmla="*/ 1148411 w 1188147"/>
                <a:gd name="connsiteY1247" fmla="*/ 642465 h 959960"/>
                <a:gd name="connsiteX1248" fmla="*/ 1149592 w 1188147"/>
                <a:gd name="connsiteY1248" fmla="*/ 639711 h 959960"/>
                <a:gd name="connsiteX1249" fmla="*/ 1151559 w 1188147"/>
                <a:gd name="connsiteY1249" fmla="*/ 636564 h 959960"/>
                <a:gd name="connsiteX1250" fmla="*/ 1153132 w 1188147"/>
                <a:gd name="connsiteY1250" fmla="*/ 633810 h 959960"/>
                <a:gd name="connsiteX1251" fmla="*/ 1153526 w 1188147"/>
                <a:gd name="connsiteY1251" fmla="*/ 631056 h 959960"/>
                <a:gd name="connsiteX1252" fmla="*/ 1155887 w 1188147"/>
                <a:gd name="connsiteY1252" fmla="*/ 627908 h 959960"/>
                <a:gd name="connsiteX1253" fmla="*/ 1158641 w 1188147"/>
                <a:gd name="connsiteY1253" fmla="*/ 625548 h 959960"/>
                <a:gd name="connsiteX1254" fmla="*/ 1159428 w 1188147"/>
                <a:gd name="connsiteY1254" fmla="*/ 622794 h 959960"/>
                <a:gd name="connsiteX1255" fmla="*/ 1162181 w 1188147"/>
                <a:gd name="connsiteY1255" fmla="*/ 620040 h 959960"/>
                <a:gd name="connsiteX1256" fmla="*/ 1165329 w 1188147"/>
                <a:gd name="connsiteY1256" fmla="*/ 617286 h 959960"/>
                <a:gd name="connsiteX1257" fmla="*/ 1167690 w 1188147"/>
                <a:gd name="connsiteY1257" fmla="*/ 614532 h 959960"/>
                <a:gd name="connsiteX1258" fmla="*/ 1168869 w 1188147"/>
                <a:gd name="connsiteY1258" fmla="*/ 611385 h 959960"/>
                <a:gd name="connsiteX1259" fmla="*/ 1170444 w 1188147"/>
                <a:gd name="connsiteY1259" fmla="*/ 608631 h 959960"/>
                <a:gd name="connsiteX1260" fmla="*/ 1170050 w 1188147"/>
                <a:gd name="connsiteY1260" fmla="*/ 605483 h 959960"/>
                <a:gd name="connsiteX1261" fmla="*/ 1170837 w 1188147"/>
                <a:gd name="connsiteY1261" fmla="*/ 602729 h 959960"/>
                <a:gd name="connsiteX1262" fmla="*/ 1172411 w 1188147"/>
                <a:gd name="connsiteY1262" fmla="*/ 599582 h 959960"/>
                <a:gd name="connsiteX1263" fmla="*/ 1173984 w 1188147"/>
                <a:gd name="connsiteY1263" fmla="*/ 596828 h 959960"/>
                <a:gd name="connsiteX1264" fmla="*/ 1174771 w 1188147"/>
                <a:gd name="connsiteY1264" fmla="*/ 594074 h 959960"/>
                <a:gd name="connsiteX1265" fmla="*/ 1173591 w 1188147"/>
                <a:gd name="connsiteY1265" fmla="*/ 591320 h 959960"/>
                <a:gd name="connsiteX1266" fmla="*/ 1173591 w 1188147"/>
                <a:gd name="connsiteY1266" fmla="*/ 585418 h 959960"/>
                <a:gd name="connsiteX1267" fmla="*/ 1173984 w 1188147"/>
                <a:gd name="connsiteY1267" fmla="*/ 583845 h 959960"/>
                <a:gd name="connsiteX1268" fmla="*/ 1175165 w 1188147"/>
                <a:gd name="connsiteY1268" fmla="*/ 581091 h 959960"/>
                <a:gd name="connsiteX1269" fmla="*/ 1174378 w 1188147"/>
                <a:gd name="connsiteY1269" fmla="*/ 577943 h 959960"/>
                <a:gd name="connsiteX1270" fmla="*/ 1173984 w 1188147"/>
                <a:gd name="connsiteY1270" fmla="*/ 576370 h 959960"/>
                <a:gd name="connsiteX1271" fmla="*/ 1173984 w 1188147"/>
                <a:gd name="connsiteY1271" fmla="*/ 572042 h 959960"/>
                <a:gd name="connsiteX1272" fmla="*/ 1176738 w 1188147"/>
                <a:gd name="connsiteY1272" fmla="*/ 554731 h 959960"/>
                <a:gd name="connsiteX1273" fmla="*/ 1176738 w 1188147"/>
                <a:gd name="connsiteY1273" fmla="*/ 554731 h 959960"/>
                <a:gd name="connsiteX1274" fmla="*/ 1176738 w 1188147"/>
                <a:gd name="connsiteY1274" fmla="*/ 553944 h 959960"/>
                <a:gd name="connsiteX1275" fmla="*/ 1178312 w 1188147"/>
                <a:gd name="connsiteY1275" fmla="*/ 543322 h 959960"/>
                <a:gd name="connsiteX1276" fmla="*/ 1178312 w 1188147"/>
                <a:gd name="connsiteY1276" fmla="*/ 542928 h 959960"/>
                <a:gd name="connsiteX1277" fmla="*/ 1178312 w 1188147"/>
                <a:gd name="connsiteY1277" fmla="*/ 542928 h 959960"/>
                <a:gd name="connsiteX1278" fmla="*/ 1179099 w 1188147"/>
                <a:gd name="connsiteY1278" fmla="*/ 538601 h 959960"/>
                <a:gd name="connsiteX1279" fmla="*/ 1179493 w 1188147"/>
                <a:gd name="connsiteY1279" fmla="*/ 537420 h 959960"/>
                <a:gd name="connsiteX1280" fmla="*/ 1179886 w 1188147"/>
                <a:gd name="connsiteY1280" fmla="*/ 534666 h 959960"/>
                <a:gd name="connsiteX1281" fmla="*/ 1181460 w 1188147"/>
                <a:gd name="connsiteY1281" fmla="*/ 531519 h 959960"/>
                <a:gd name="connsiteX1282" fmla="*/ 1180672 w 1188147"/>
                <a:gd name="connsiteY1282" fmla="*/ 528765 h 959960"/>
                <a:gd name="connsiteX1283" fmla="*/ 1182247 w 1188147"/>
                <a:gd name="connsiteY1283" fmla="*/ 525617 h 959960"/>
                <a:gd name="connsiteX1284" fmla="*/ 1183820 w 1188147"/>
                <a:gd name="connsiteY1284" fmla="*/ 522864 h 959960"/>
                <a:gd name="connsiteX1285" fmla="*/ 1185394 w 1188147"/>
                <a:gd name="connsiteY1285" fmla="*/ 520110 h 959960"/>
                <a:gd name="connsiteX1286" fmla="*/ 1191688 w 1188147"/>
                <a:gd name="connsiteY1286" fmla="*/ 516569 h 959960"/>
                <a:gd name="connsiteX1287" fmla="*/ 37376 w 1188147"/>
                <a:gd name="connsiteY1287" fmla="*/ 522864 h 959960"/>
                <a:gd name="connsiteX1288" fmla="*/ 37768 w 1188147"/>
                <a:gd name="connsiteY1288" fmla="*/ 520110 h 959960"/>
                <a:gd name="connsiteX1289" fmla="*/ 38162 w 1188147"/>
                <a:gd name="connsiteY1289" fmla="*/ 518929 h 959960"/>
                <a:gd name="connsiteX1290" fmla="*/ 37376 w 1188147"/>
                <a:gd name="connsiteY1290" fmla="*/ 523650 h 959960"/>
                <a:gd name="connsiteX1291" fmla="*/ 37376 w 1188147"/>
                <a:gd name="connsiteY1291" fmla="*/ 522864 h 959960"/>
                <a:gd name="connsiteX1292" fmla="*/ 666464 w 1188147"/>
                <a:gd name="connsiteY1292" fmla="*/ 744363 h 959960"/>
                <a:gd name="connsiteX1293" fmla="*/ 669218 w 1188147"/>
                <a:gd name="connsiteY1293" fmla="*/ 741609 h 959960"/>
                <a:gd name="connsiteX1294" fmla="*/ 666464 w 1188147"/>
                <a:gd name="connsiteY1294" fmla="*/ 746330 h 959960"/>
                <a:gd name="connsiteX1295" fmla="*/ 666464 w 1188147"/>
                <a:gd name="connsiteY1295" fmla="*/ 744363 h 959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</a:cxnLst>
              <a:rect l="l" t="t" r="r" b="b"/>
              <a:pathLst>
                <a:path w="1188147" h="959960">
                  <a:moveTo>
                    <a:pt x="1191688" y="516569"/>
                  </a:moveTo>
                  <a:lnTo>
                    <a:pt x="1189721" y="513815"/>
                  </a:lnTo>
                  <a:lnTo>
                    <a:pt x="1186967" y="516569"/>
                  </a:lnTo>
                  <a:lnTo>
                    <a:pt x="1187754" y="513815"/>
                  </a:lnTo>
                  <a:lnTo>
                    <a:pt x="1187754" y="511061"/>
                  </a:lnTo>
                  <a:lnTo>
                    <a:pt x="1187361" y="510274"/>
                  </a:lnTo>
                  <a:lnTo>
                    <a:pt x="1186574" y="505160"/>
                  </a:lnTo>
                  <a:lnTo>
                    <a:pt x="1186967" y="504373"/>
                  </a:lnTo>
                  <a:lnTo>
                    <a:pt x="1189721" y="501619"/>
                  </a:lnTo>
                  <a:lnTo>
                    <a:pt x="1189721" y="498865"/>
                  </a:lnTo>
                  <a:lnTo>
                    <a:pt x="1190115" y="495717"/>
                  </a:lnTo>
                  <a:lnTo>
                    <a:pt x="1188541" y="492963"/>
                  </a:lnTo>
                  <a:lnTo>
                    <a:pt x="1185394" y="493357"/>
                  </a:lnTo>
                  <a:lnTo>
                    <a:pt x="1183820" y="492176"/>
                  </a:lnTo>
                  <a:lnTo>
                    <a:pt x="1181853" y="481160"/>
                  </a:lnTo>
                  <a:lnTo>
                    <a:pt x="1182247" y="479587"/>
                  </a:lnTo>
                  <a:lnTo>
                    <a:pt x="1181066" y="476833"/>
                  </a:lnTo>
                  <a:lnTo>
                    <a:pt x="1181066" y="476439"/>
                  </a:lnTo>
                  <a:lnTo>
                    <a:pt x="1180672" y="476046"/>
                  </a:lnTo>
                  <a:lnTo>
                    <a:pt x="1170837" y="455588"/>
                  </a:lnTo>
                  <a:lnTo>
                    <a:pt x="1168477" y="452440"/>
                  </a:lnTo>
                  <a:lnTo>
                    <a:pt x="1165723" y="449686"/>
                  </a:lnTo>
                  <a:lnTo>
                    <a:pt x="1165723" y="452440"/>
                  </a:lnTo>
                  <a:lnTo>
                    <a:pt x="1162968" y="452047"/>
                  </a:lnTo>
                  <a:lnTo>
                    <a:pt x="1162575" y="452047"/>
                  </a:lnTo>
                  <a:lnTo>
                    <a:pt x="1159821" y="450080"/>
                  </a:lnTo>
                  <a:lnTo>
                    <a:pt x="1158641" y="450473"/>
                  </a:lnTo>
                  <a:lnTo>
                    <a:pt x="1158247" y="448899"/>
                  </a:lnTo>
                  <a:lnTo>
                    <a:pt x="1156674" y="445752"/>
                  </a:lnTo>
                  <a:lnTo>
                    <a:pt x="1153526" y="444178"/>
                  </a:lnTo>
                  <a:lnTo>
                    <a:pt x="1152346" y="441424"/>
                  </a:lnTo>
                  <a:lnTo>
                    <a:pt x="1151953" y="438670"/>
                  </a:lnTo>
                  <a:lnTo>
                    <a:pt x="1153132" y="440637"/>
                  </a:lnTo>
                  <a:lnTo>
                    <a:pt x="1154707" y="443392"/>
                  </a:lnTo>
                  <a:lnTo>
                    <a:pt x="1156280" y="442605"/>
                  </a:lnTo>
                  <a:lnTo>
                    <a:pt x="1157460" y="439457"/>
                  </a:lnTo>
                  <a:lnTo>
                    <a:pt x="1156280" y="436703"/>
                  </a:lnTo>
                  <a:lnTo>
                    <a:pt x="1155887" y="433556"/>
                  </a:lnTo>
                  <a:lnTo>
                    <a:pt x="1152740" y="431589"/>
                  </a:lnTo>
                  <a:lnTo>
                    <a:pt x="1151165" y="434343"/>
                  </a:lnTo>
                  <a:lnTo>
                    <a:pt x="1151559" y="437097"/>
                  </a:lnTo>
                  <a:lnTo>
                    <a:pt x="1150772" y="435523"/>
                  </a:lnTo>
                  <a:lnTo>
                    <a:pt x="1148019" y="435129"/>
                  </a:lnTo>
                  <a:lnTo>
                    <a:pt x="1144871" y="433556"/>
                  </a:lnTo>
                  <a:lnTo>
                    <a:pt x="1146051" y="430802"/>
                  </a:lnTo>
                  <a:lnTo>
                    <a:pt x="1145658" y="428048"/>
                  </a:lnTo>
                  <a:lnTo>
                    <a:pt x="1145658" y="428048"/>
                  </a:lnTo>
                  <a:lnTo>
                    <a:pt x="1147231" y="424900"/>
                  </a:lnTo>
                  <a:lnTo>
                    <a:pt x="1146444" y="422146"/>
                  </a:lnTo>
                  <a:lnTo>
                    <a:pt x="1147231" y="415852"/>
                  </a:lnTo>
                  <a:lnTo>
                    <a:pt x="1148411" y="413098"/>
                  </a:lnTo>
                  <a:lnTo>
                    <a:pt x="1149592" y="409950"/>
                  </a:lnTo>
                  <a:lnTo>
                    <a:pt x="1150772" y="407196"/>
                  </a:lnTo>
                  <a:lnTo>
                    <a:pt x="1150379" y="404049"/>
                  </a:lnTo>
                  <a:lnTo>
                    <a:pt x="1149198" y="401295"/>
                  </a:lnTo>
                  <a:lnTo>
                    <a:pt x="1149592" y="399721"/>
                  </a:lnTo>
                  <a:lnTo>
                    <a:pt x="1149198" y="396574"/>
                  </a:lnTo>
                  <a:lnTo>
                    <a:pt x="1147625" y="393820"/>
                  </a:lnTo>
                  <a:lnTo>
                    <a:pt x="1144477" y="395393"/>
                  </a:lnTo>
                  <a:lnTo>
                    <a:pt x="1144084" y="398147"/>
                  </a:lnTo>
                  <a:lnTo>
                    <a:pt x="1130314" y="387525"/>
                  </a:lnTo>
                  <a:lnTo>
                    <a:pt x="1130314" y="387918"/>
                  </a:lnTo>
                  <a:lnTo>
                    <a:pt x="1128347" y="390672"/>
                  </a:lnTo>
                  <a:lnTo>
                    <a:pt x="1127560" y="393426"/>
                  </a:lnTo>
                  <a:lnTo>
                    <a:pt x="1127167" y="396180"/>
                  </a:lnTo>
                  <a:lnTo>
                    <a:pt x="1127953" y="398934"/>
                  </a:lnTo>
                  <a:lnTo>
                    <a:pt x="1127167" y="402475"/>
                  </a:lnTo>
                  <a:lnTo>
                    <a:pt x="1118512" y="368641"/>
                  </a:lnTo>
                  <a:lnTo>
                    <a:pt x="1120085" y="366280"/>
                  </a:lnTo>
                  <a:lnTo>
                    <a:pt x="1118118" y="365886"/>
                  </a:lnTo>
                  <a:lnTo>
                    <a:pt x="1116151" y="357231"/>
                  </a:lnTo>
                  <a:lnTo>
                    <a:pt x="1115364" y="352510"/>
                  </a:lnTo>
                  <a:lnTo>
                    <a:pt x="1116151" y="350543"/>
                  </a:lnTo>
                  <a:lnTo>
                    <a:pt x="1114577" y="348969"/>
                  </a:lnTo>
                  <a:lnTo>
                    <a:pt x="1111036" y="331265"/>
                  </a:lnTo>
                  <a:lnTo>
                    <a:pt x="1111823" y="332052"/>
                  </a:lnTo>
                  <a:lnTo>
                    <a:pt x="1110643" y="329298"/>
                  </a:lnTo>
                  <a:lnTo>
                    <a:pt x="1109855" y="327724"/>
                  </a:lnTo>
                  <a:lnTo>
                    <a:pt x="1109463" y="324970"/>
                  </a:lnTo>
                  <a:lnTo>
                    <a:pt x="1109069" y="321823"/>
                  </a:lnTo>
                  <a:lnTo>
                    <a:pt x="1105921" y="322216"/>
                  </a:lnTo>
                  <a:lnTo>
                    <a:pt x="1103954" y="319069"/>
                  </a:lnTo>
                  <a:lnTo>
                    <a:pt x="1103561" y="316315"/>
                  </a:lnTo>
                  <a:lnTo>
                    <a:pt x="1100807" y="316315"/>
                  </a:lnTo>
                  <a:lnTo>
                    <a:pt x="1100807" y="319069"/>
                  </a:lnTo>
                  <a:lnTo>
                    <a:pt x="1100807" y="319069"/>
                  </a:lnTo>
                  <a:lnTo>
                    <a:pt x="1096086" y="314348"/>
                  </a:lnTo>
                  <a:lnTo>
                    <a:pt x="1095299" y="312774"/>
                  </a:lnTo>
                  <a:lnTo>
                    <a:pt x="1092545" y="312381"/>
                  </a:lnTo>
                  <a:lnTo>
                    <a:pt x="1089398" y="311200"/>
                  </a:lnTo>
                  <a:lnTo>
                    <a:pt x="1088217" y="311200"/>
                  </a:lnTo>
                  <a:lnTo>
                    <a:pt x="1085857" y="310020"/>
                  </a:lnTo>
                  <a:lnTo>
                    <a:pt x="1085070" y="308053"/>
                  </a:lnTo>
                  <a:lnTo>
                    <a:pt x="1085463" y="304905"/>
                  </a:lnTo>
                  <a:lnTo>
                    <a:pt x="1082709" y="305692"/>
                  </a:lnTo>
                  <a:lnTo>
                    <a:pt x="1081923" y="308053"/>
                  </a:lnTo>
                  <a:lnTo>
                    <a:pt x="1078775" y="306479"/>
                  </a:lnTo>
                  <a:lnTo>
                    <a:pt x="1078775" y="302938"/>
                  </a:lnTo>
                  <a:lnTo>
                    <a:pt x="1078381" y="302545"/>
                  </a:lnTo>
                  <a:lnTo>
                    <a:pt x="1078775" y="299791"/>
                  </a:lnTo>
                  <a:lnTo>
                    <a:pt x="1078381" y="297037"/>
                  </a:lnTo>
                  <a:lnTo>
                    <a:pt x="1077202" y="294283"/>
                  </a:lnTo>
                  <a:lnTo>
                    <a:pt x="1075628" y="291135"/>
                  </a:lnTo>
                  <a:lnTo>
                    <a:pt x="1075628" y="294283"/>
                  </a:lnTo>
                  <a:lnTo>
                    <a:pt x="1072874" y="293890"/>
                  </a:lnTo>
                  <a:lnTo>
                    <a:pt x="1072087" y="293890"/>
                  </a:lnTo>
                  <a:lnTo>
                    <a:pt x="1049662" y="263989"/>
                  </a:lnTo>
                  <a:lnTo>
                    <a:pt x="1049268" y="261629"/>
                  </a:lnTo>
                  <a:lnTo>
                    <a:pt x="1050842" y="259661"/>
                  </a:lnTo>
                  <a:lnTo>
                    <a:pt x="1049268" y="256907"/>
                  </a:lnTo>
                  <a:lnTo>
                    <a:pt x="1048482" y="254547"/>
                  </a:lnTo>
                  <a:lnTo>
                    <a:pt x="1046907" y="241957"/>
                  </a:lnTo>
                  <a:lnTo>
                    <a:pt x="1047301" y="239597"/>
                  </a:lnTo>
                  <a:lnTo>
                    <a:pt x="1048088" y="236843"/>
                  </a:lnTo>
                  <a:lnTo>
                    <a:pt x="1049662" y="233695"/>
                  </a:lnTo>
                  <a:lnTo>
                    <a:pt x="1048482" y="230941"/>
                  </a:lnTo>
                  <a:lnTo>
                    <a:pt x="1048482" y="228187"/>
                  </a:lnTo>
                  <a:lnTo>
                    <a:pt x="1048874" y="225040"/>
                  </a:lnTo>
                  <a:lnTo>
                    <a:pt x="1047695" y="222286"/>
                  </a:lnTo>
                  <a:lnTo>
                    <a:pt x="1046907" y="219532"/>
                  </a:lnTo>
                  <a:lnTo>
                    <a:pt x="1046907" y="216778"/>
                  </a:lnTo>
                  <a:lnTo>
                    <a:pt x="1045334" y="214024"/>
                  </a:lnTo>
                  <a:lnTo>
                    <a:pt x="1047301" y="211270"/>
                  </a:lnTo>
                  <a:lnTo>
                    <a:pt x="1048482" y="208123"/>
                  </a:lnTo>
                  <a:lnTo>
                    <a:pt x="1045728" y="208909"/>
                  </a:lnTo>
                  <a:lnTo>
                    <a:pt x="1042580" y="210876"/>
                  </a:lnTo>
                  <a:lnTo>
                    <a:pt x="1043367" y="208516"/>
                  </a:lnTo>
                  <a:lnTo>
                    <a:pt x="1042580" y="206942"/>
                  </a:lnTo>
                  <a:lnTo>
                    <a:pt x="1042186" y="169960"/>
                  </a:lnTo>
                  <a:lnTo>
                    <a:pt x="1043761" y="171140"/>
                  </a:lnTo>
                  <a:lnTo>
                    <a:pt x="1044547" y="168780"/>
                  </a:lnTo>
                  <a:lnTo>
                    <a:pt x="1042186" y="169173"/>
                  </a:lnTo>
                  <a:lnTo>
                    <a:pt x="1041793" y="143207"/>
                  </a:lnTo>
                  <a:lnTo>
                    <a:pt x="1039039" y="141240"/>
                  </a:lnTo>
                  <a:lnTo>
                    <a:pt x="1038646" y="139666"/>
                  </a:lnTo>
                  <a:lnTo>
                    <a:pt x="1036679" y="139666"/>
                  </a:lnTo>
                  <a:lnTo>
                    <a:pt x="1031170" y="135339"/>
                  </a:lnTo>
                  <a:lnTo>
                    <a:pt x="1031170" y="135339"/>
                  </a:lnTo>
                  <a:lnTo>
                    <a:pt x="1029597" y="132191"/>
                  </a:lnTo>
                  <a:lnTo>
                    <a:pt x="1026449" y="129831"/>
                  </a:lnTo>
                  <a:lnTo>
                    <a:pt x="1023695" y="128650"/>
                  </a:lnTo>
                  <a:lnTo>
                    <a:pt x="1022909" y="125503"/>
                  </a:lnTo>
                  <a:lnTo>
                    <a:pt x="1022515" y="122749"/>
                  </a:lnTo>
                  <a:lnTo>
                    <a:pt x="1022909" y="119995"/>
                  </a:lnTo>
                  <a:lnTo>
                    <a:pt x="1020155" y="117635"/>
                  </a:lnTo>
                  <a:lnTo>
                    <a:pt x="1017794" y="120388"/>
                  </a:lnTo>
                  <a:lnTo>
                    <a:pt x="1014646" y="121962"/>
                  </a:lnTo>
                  <a:lnTo>
                    <a:pt x="1011893" y="119995"/>
                  </a:lnTo>
                  <a:lnTo>
                    <a:pt x="1011893" y="120782"/>
                  </a:lnTo>
                  <a:lnTo>
                    <a:pt x="995762" y="108979"/>
                  </a:lnTo>
                  <a:lnTo>
                    <a:pt x="995762" y="107405"/>
                  </a:lnTo>
                  <a:lnTo>
                    <a:pt x="995762" y="107405"/>
                  </a:lnTo>
                  <a:lnTo>
                    <a:pt x="995369" y="99537"/>
                  </a:lnTo>
                  <a:lnTo>
                    <a:pt x="995762" y="98750"/>
                  </a:lnTo>
                  <a:lnTo>
                    <a:pt x="997336" y="95996"/>
                  </a:lnTo>
                  <a:lnTo>
                    <a:pt x="997729" y="92849"/>
                  </a:lnTo>
                  <a:lnTo>
                    <a:pt x="997336" y="90095"/>
                  </a:lnTo>
                  <a:lnTo>
                    <a:pt x="996156" y="87341"/>
                  </a:lnTo>
                  <a:lnTo>
                    <a:pt x="996549" y="84193"/>
                  </a:lnTo>
                  <a:lnTo>
                    <a:pt x="996549" y="81439"/>
                  </a:lnTo>
                  <a:lnTo>
                    <a:pt x="996942" y="78292"/>
                  </a:lnTo>
                  <a:lnTo>
                    <a:pt x="997336" y="75538"/>
                  </a:lnTo>
                  <a:lnTo>
                    <a:pt x="996549" y="72391"/>
                  </a:lnTo>
                  <a:lnTo>
                    <a:pt x="994582" y="72391"/>
                  </a:lnTo>
                  <a:lnTo>
                    <a:pt x="994582" y="68063"/>
                  </a:lnTo>
                  <a:lnTo>
                    <a:pt x="995369" y="66096"/>
                  </a:lnTo>
                  <a:lnTo>
                    <a:pt x="995369" y="63342"/>
                  </a:lnTo>
                  <a:lnTo>
                    <a:pt x="994582" y="62555"/>
                  </a:lnTo>
                  <a:lnTo>
                    <a:pt x="994188" y="42490"/>
                  </a:lnTo>
                  <a:lnTo>
                    <a:pt x="984747" y="23212"/>
                  </a:lnTo>
                  <a:lnTo>
                    <a:pt x="985139" y="22819"/>
                  </a:lnTo>
                  <a:lnTo>
                    <a:pt x="984353" y="20065"/>
                  </a:lnTo>
                  <a:lnTo>
                    <a:pt x="983566" y="16917"/>
                  </a:lnTo>
                  <a:lnTo>
                    <a:pt x="984353" y="14163"/>
                  </a:lnTo>
                  <a:lnTo>
                    <a:pt x="983566" y="11409"/>
                  </a:lnTo>
                  <a:lnTo>
                    <a:pt x="981205" y="8655"/>
                  </a:lnTo>
                  <a:lnTo>
                    <a:pt x="979632" y="5508"/>
                  </a:lnTo>
                  <a:lnTo>
                    <a:pt x="976878" y="7082"/>
                  </a:lnTo>
                  <a:lnTo>
                    <a:pt x="976878" y="6688"/>
                  </a:lnTo>
                  <a:lnTo>
                    <a:pt x="978451" y="3934"/>
                  </a:lnTo>
                  <a:lnTo>
                    <a:pt x="980419" y="1180"/>
                  </a:lnTo>
                  <a:lnTo>
                    <a:pt x="977271" y="0"/>
                  </a:lnTo>
                  <a:lnTo>
                    <a:pt x="974517" y="1574"/>
                  </a:lnTo>
                  <a:lnTo>
                    <a:pt x="972944" y="4721"/>
                  </a:lnTo>
                  <a:lnTo>
                    <a:pt x="971370" y="6295"/>
                  </a:lnTo>
                  <a:lnTo>
                    <a:pt x="968222" y="7082"/>
                  </a:lnTo>
                  <a:lnTo>
                    <a:pt x="965468" y="8262"/>
                  </a:lnTo>
                  <a:lnTo>
                    <a:pt x="965468" y="13770"/>
                  </a:lnTo>
                  <a:lnTo>
                    <a:pt x="964681" y="16524"/>
                  </a:lnTo>
                  <a:lnTo>
                    <a:pt x="964288" y="19671"/>
                  </a:lnTo>
                  <a:lnTo>
                    <a:pt x="963501" y="22425"/>
                  </a:lnTo>
                  <a:lnTo>
                    <a:pt x="962714" y="23999"/>
                  </a:lnTo>
                  <a:lnTo>
                    <a:pt x="952879" y="43277"/>
                  </a:lnTo>
                  <a:lnTo>
                    <a:pt x="950912" y="46031"/>
                  </a:lnTo>
                  <a:lnTo>
                    <a:pt x="949731" y="48785"/>
                  </a:lnTo>
                  <a:lnTo>
                    <a:pt x="949731" y="48785"/>
                  </a:lnTo>
                  <a:lnTo>
                    <a:pt x="948158" y="51932"/>
                  </a:lnTo>
                  <a:lnTo>
                    <a:pt x="947371" y="51932"/>
                  </a:lnTo>
                  <a:lnTo>
                    <a:pt x="946583" y="54293"/>
                  </a:lnTo>
                  <a:lnTo>
                    <a:pt x="945010" y="57047"/>
                  </a:lnTo>
                  <a:lnTo>
                    <a:pt x="944616" y="57834"/>
                  </a:lnTo>
                  <a:lnTo>
                    <a:pt x="943043" y="60588"/>
                  </a:lnTo>
                  <a:lnTo>
                    <a:pt x="942256" y="73964"/>
                  </a:lnTo>
                  <a:lnTo>
                    <a:pt x="941863" y="74358"/>
                  </a:lnTo>
                  <a:lnTo>
                    <a:pt x="941076" y="77111"/>
                  </a:lnTo>
                  <a:lnTo>
                    <a:pt x="941076" y="80259"/>
                  </a:lnTo>
                  <a:lnTo>
                    <a:pt x="941470" y="83013"/>
                  </a:lnTo>
                  <a:lnTo>
                    <a:pt x="941863" y="83800"/>
                  </a:lnTo>
                  <a:lnTo>
                    <a:pt x="941470" y="88914"/>
                  </a:lnTo>
                  <a:lnTo>
                    <a:pt x="941076" y="89308"/>
                  </a:lnTo>
                  <a:lnTo>
                    <a:pt x="939895" y="90881"/>
                  </a:lnTo>
                  <a:lnTo>
                    <a:pt x="937928" y="94029"/>
                  </a:lnTo>
                  <a:lnTo>
                    <a:pt x="936355" y="96783"/>
                  </a:lnTo>
                  <a:lnTo>
                    <a:pt x="935174" y="99537"/>
                  </a:lnTo>
                  <a:lnTo>
                    <a:pt x="933994" y="102684"/>
                  </a:lnTo>
                  <a:lnTo>
                    <a:pt x="933207" y="105438"/>
                  </a:lnTo>
                  <a:lnTo>
                    <a:pt x="932814" y="108586"/>
                  </a:lnTo>
                  <a:lnTo>
                    <a:pt x="933994" y="111340"/>
                  </a:lnTo>
                  <a:lnTo>
                    <a:pt x="935568" y="114094"/>
                  </a:lnTo>
                  <a:lnTo>
                    <a:pt x="935568" y="116848"/>
                  </a:lnTo>
                  <a:lnTo>
                    <a:pt x="935174" y="119995"/>
                  </a:lnTo>
                  <a:lnTo>
                    <a:pt x="933601" y="122749"/>
                  </a:lnTo>
                  <a:lnTo>
                    <a:pt x="932421" y="125503"/>
                  </a:lnTo>
                  <a:lnTo>
                    <a:pt x="932027" y="128650"/>
                  </a:lnTo>
                  <a:lnTo>
                    <a:pt x="932027" y="137306"/>
                  </a:lnTo>
                  <a:lnTo>
                    <a:pt x="932421" y="140060"/>
                  </a:lnTo>
                  <a:lnTo>
                    <a:pt x="932421" y="140453"/>
                  </a:lnTo>
                  <a:lnTo>
                    <a:pt x="930454" y="151469"/>
                  </a:lnTo>
                  <a:lnTo>
                    <a:pt x="930060" y="151469"/>
                  </a:lnTo>
                  <a:lnTo>
                    <a:pt x="928879" y="154617"/>
                  </a:lnTo>
                  <a:lnTo>
                    <a:pt x="927306" y="157371"/>
                  </a:lnTo>
                  <a:lnTo>
                    <a:pt x="925733" y="160125"/>
                  </a:lnTo>
                  <a:lnTo>
                    <a:pt x="924158" y="163272"/>
                  </a:lnTo>
                  <a:lnTo>
                    <a:pt x="923372" y="166026"/>
                  </a:lnTo>
                  <a:lnTo>
                    <a:pt x="922585" y="168780"/>
                  </a:lnTo>
                  <a:lnTo>
                    <a:pt x="921798" y="171927"/>
                  </a:lnTo>
                  <a:lnTo>
                    <a:pt x="921011" y="174681"/>
                  </a:lnTo>
                  <a:lnTo>
                    <a:pt x="920224" y="177435"/>
                  </a:lnTo>
                  <a:lnTo>
                    <a:pt x="920618" y="180583"/>
                  </a:lnTo>
                  <a:lnTo>
                    <a:pt x="920224" y="181369"/>
                  </a:lnTo>
                  <a:lnTo>
                    <a:pt x="918257" y="184123"/>
                  </a:lnTo>
                  <a:lnTo>
                    <a:pt x="917076" y="187271"/>
                  </a:lnTo>
                  <a:lnTo>
                    <a:pt x="915503" y="190025"/>
                  </a:lnTo>
                  <a:lnTo>
                    <a:pt x="914323" y="193172"/>
                  </a:lnTo>
                  <a:lnTo>
                    <a:pt x="909996" y="201828"/>
                  </a:lnTo>
                  <a:lnTo>
                    <a:pt x="909602" y="202221"/>
                  </a:lnTo>
                  <a:lnTo>
                    <a:pt x="906848" y="204975"/>
                  </a:lnTo>
                  <a:lnTo>
                    <a:pt x="904487" y="207729"/>
                  </a:lnTo>
                  <a:lnTo>
                    <a:pt x="902127" y="210876"/>
                  </a:lnTo>
                  <a:lnTo>
                    <a:pt x="900160" y="213630"/>
                  </a:lnTo>
                  <a:lnTo>
                    <a:pt x="899766" y="216384"/>
                  </a:lnTo>
                  <a:lnTo>
                    <a:pt x="898586" y="218352"/>
                  </a:lnTo>
                  <a:lnTo>
                    <a:pt x="890717" y="230154"/>
                  </a:lnTo>
                  <a:lnTo>
                    <a:pt x="867898" y="236449"/>
                  </a:lnTo>
                  <a:lnTo>
                    <a:pt x="867112" y="235662"/>
                  </a:lnTo>
                  <a:lnTo>
                    <a:pt x="865144" y="233302"/>
                  </a:lnTo>
                  <a:lnTo>
                    <a:pt x="861997" y="231728"/>
                  </a:lnTo>
                  <a:lnTo>
                    <a:pt x="856883" y="228974"/>
                  </a:lnTo>
                  <a:lnTo>
                    <a:pt x="855309" y="227007"/>
                  </a:lnTo>
                  <a:lnTo>
                    <a:pt x="852161" y="225040"/>
                  </a:lnTo>
                  <a:lnTo>
                    <a:pt x="849014" y="224646"/>
                  </a:lnTo>
                  <a:lnTo>
                    <a:pt x="847440" y="223466"/>
                  </a:lnTo>
                  <a:lnTo>
                    <a:pt x="846260" y="220712"/>
                  </a:lnTo>
                  <a:lnTo>
                    <a:pt x="845867" y="217958"/>
                  </a:lnTo>
                  <a:lnTo>
                    <a:pt x="846260" y="214811"/>
                  </a:lnTo>
                  <a:lnTo>
                    <a:pt x="844293" y="211663"/>
                  </a:lnTo>
                  <a:lnTo>
                    <a:pt x="841539" y="208516"/>
                  </a:lnTo>
                  <a:lnTo>
                    <a:pt x="838391" y="208516"/>
                  </a:lnTo>
                  <a:lnTo>
                    <a:pt x="835245" y="206942"/>
                  </a:lnTo>
                  <a:lnTo>
                    <a:pt x="832490" y="205369"/>
                  </a:lnTo>
                  <a:lnTo>
                    <a:pt x="829343" y="205762"/>
                  </a:lnTo>
                  <a:lnTo>
                    <a:pt x="826196" y="205369"/>
                  </a:lnTo>
                  <a:lnTo>
                    <a:pt x="823835" y="204582"/>
                  </a:lnTo>
                  <a:lnTo>
                    <a:pt x="815179" y="197500"/>
                  </a:lnTo>
                  <a:lnTo>
                    <a:pt x="814786" y="196713"/>
                  </a:lnTo>
                  <a:lnTo>
                    <a:pt x="812032" y="193959"/>
                  </a:lnTo>
                  <a:lnTo>
                    <a:pt x="810851" y="190812"/>
                  </a:lnTo>
                  <a:lnTo>
                    <a:pt x="809278" y="188058"/>
                  </a:lnTo>
                  <a:lnTo>
                    <a:pt x="806524" y="185697"/>
                  </a:lnTo>
                  <a:lnTo>
                    <a:pt x="803377" y="184517"/>
                  </a:lnTo>
                  <a:lnTo>
                    <a:pt x="800623" y="184123"/>
                  </a:lnTo>
                  <a:lnTo>
                    <a:pt x="794721" y="178616"/>
                  </a:lnTo>
                  <a:lnTo>
                    <a:pt x="794721" y="177042"/>
                  </a:lnTo>
                  <a:lnTo>
                    <a:pt x="791574" y="175468"/>
                  </a:lnTo>
                  <a:lnTo>
                    <a:pt x="789213" y="172714"/>
                  </a:lnTo>
                  <a:lnTo>
                    <a:pt x="788033" y="173894"/>
                  </a:lnTo>
                  <a:lnTo>
                    <a:pt x="778591" y="169173"/>
                  </a:lnTo>
                  <a:lnTo>
                    <a:pt x="778198" y="167600"/>
                  </a:lnTo>
                  <a:lnTo>
                    <a:pt x="776623" y="167206"/>
                  </a:lnTo>
                  <a:lnTo>
                    <a:pt x="769542" y="159338"/>
                  </a:lnTo>
                  <a:lnTo>
                    <a:pt x="769542" y="158944"/>
                  </a:lnTo>
                  <a:lnTo>
                    <a:pt x="767182" y="156190"/>
                  </a:lnTo>
                  <a:lnTo>
                    <a:pt x="766001" y="155403"/>
                  </a:lnTo>
                  <a:lnTo>
                    <a:pt x="747116" y="134158"/>
                  </a:lnTo>
                  <a:lnTo>
                    <a:pt x="749477" y="134158"/>
                  </a:lnTo>
                  <a:lnTo>
                    <a:pt x="752231" y="131404"/>
                  </a:lnTo>
                  <a:lnTo>
                    <a:pt x="753018" y="128650"/>
                  </a:lnTo>
                  <a:lnTo>
                    <a:pt x="754985" y="125896"/>
                  </a:lnTo>
                  <a:lnTo>
                    <a:pt x="757739" y="123142"/>
                  </a:lnTo>
                  <a:lnTo>
                    <a:pt x="759706" y="120388"/>
                  </a:lnTo>
                  <a:lnTo>
                    <a:pt x="762461" y="117635"/>
                  </a:lnTo>
                  <a:lnTo>
                    <a:pt x="765214" y="115667"/>
                  </a:lnTo>
                  <a:lnTo>
                    <a:pt x="766001" y="112520"/>
                  </a:lnTo>
                  <a:lnTo>
                    <a:pt x="766395" y="109766"/>
                  </a:lnTo>
                  <a:lnTo>
                    <a:pt x="768755" y="106618"/>
                  </a:lnTo>
                  <a:lnTo>
                    <a:pt x="769935" y="103865"/>
                  </a:lnTo>
                  <a:lnTo>
                    <a:pt x="771116" y="101111"/>
                  </a:lnTo>
                  <a:lnTo>
                    <a:pt x="772689" y="97963"/>
                  </a:lnTo>
                  <a:lnTo>
                    <a:pt x="769935" y="100717"/>
                  </a:lnTo>
                  <a:lnTo>
                    <a:pt x="769149" y="100324"/>
                  </a:lnTo>
                  <a:lnTo>
                    <a:pt x="781738" y="81046"/>
                  </a:lnTo>
                  <a:lnTo>
                    <a:pt x="784099" y="79472"/>
                  </a:lnTo>
                  <a:lnTo>
                    <a:pt x="783705" y="82226"/>
                  </a:lnTo>
                  <a:lnTo>
                    <a:pt x="783705" y="84980"/>
                  </a:lnTo>
                  <a:lnTo>
                    <a:pt x="786459" y="83406"/>
                  </a:lnTo>
                  <a:lnTo>
                    <a:pt x="788820" y="80652"/>
                  </a:lnTo>
                  <a:lnTo>
                    <a:pt x="789213" y="77505"/>
                  </a:lnTo>
                  <a:lnTo>
                    <a:pt x="789607" y="74751"/>
                  </a:lnTo>
                  <a:lnTo>
                    <a:pt x="792754" y="76718"/>
                  </a:lnTo>
                  <a:lnTo>
                    <a:pt x="791180" y="73571"/>
                  </a:lnTo>
                  <a:lnTo>
                    <a:pt x="788820" y="70817"/>
                  </a:lnTo>
                  <a:lnTo>
                    <a:pt x="790393" y="70030"/>
                  </a:lnTo>
                  <a:lnTo>
                    <a:pt x="793147" y="68456"/>
                  </a:lnTo>
                  <a:lnTo>
                    <a:pt x="795114" y="65702"/>
                  </a:lnTo>
                  <a:lnTo>
                    <a:pt x="796689" y="62555"/>
                  </a:lnTo>
                  <a:lnTo>
                    <a:pt x="799442" y="59801"/>
                  </a:lnTo>
                  <a:lnTo>
                    <a:pt x="802196" y="57047"/>
                  </a:lnTo>
                  <a:lnTo>
                    <a:pt x="804163" y="54293"/>
                  </a:lnTo>
                  <a:lnTo>
                    <a:pt x="803377" y="51145"/>
                  </a:lnTo>
                  <a:lnTo>
                    <a:pt x="800229" y="48785"/>
                  </a:lnTo>
                  <a:lnTo>
                    <a:pt x="797475" y="48785"/>
                  </a:lnTo>
                  <a:lnTo>
                    <a:pt x="798262" y="51539"/>
                  </a:lnTo>
                  <a:lnTo>
                    <a:pt x="795508" y="49965"/>
                  </a:lnTo>
                  <a:lnTo>
                    <a:pt x="794328" y="47211"/>
                  </a:lnTo>
                  <a:lnTo>
                    <a:pt x="793541" y="44457"/>
                  </a:lnTo>
                  <a:lnTo>
                    <a:pt x="791968" y="41703"/>
                  </a:lnTo>
                  <a:lnTo>
                    <a:pt x="794721" y="38949"/>
                  </a:lnTo>
                  <a:lnTo>
                    <a:pt x="791968" y="41310"/>
                  </a:lnTo>
                  <a:lnTo>
                    <a:pt x="789213" y="42490"/>
                  </a:lnTo>
                  <a:lnTo>
                    <a:pt x="786066" y="44851"/>
                  </a:lnTo>
                  <a:lnTo>
                    <a:pt x="783312" y="47211"/>
                  </a:lnTo>
                  <a:lnTo>
                    <a:pt x="784099" y="50359"/>
                  </a:lnTo>
                  <a:lnTo>
                    <a:pt x="786853" y="51145"/>
                  </a:lnTo>
                  <a:lnTo>
                    <a:pt x="785279" y="53899"/>
                  </a:lnTo>
                  <a:lnTo>
                    <a:pt x="783705" y="56653"/>
                  </a:lnTo>
                  <a:lnTo>
                    <a:pt x="780952" y="58227"/>
                  </a:lnTo>
                  <a:lnTo>
                    <a:pt x="778198" y="57834"/>
                  </a:lnTo>
                  <a:lnTo>
                    <a:pt x="775837" y="56260"/>
                  </a:lnTo>
                  <a:lnTo>
                    <a:pt x="776231" y="53506"/>
                  </a:lnTo>
                  <a:lnTo>
                    <a:pt x="777017" y="50752"/>
                  </a:lnTo>
                  <a:lnTo>
                    <a:pt x="774263" y="50359"/>
                  </a:lnTo>
                  <a:lnTo>
                    <a:pt x="775837" y="47604"/>
                  </a:lnTo>
                  <a:lnTo>
                    <a:pt x="772689" y="47998"/>
                  </a:lnTo>
                  <a:lnTo>
                    <a:pt x="769935" y="50752"/>
                  </a:lnTo>
                  <a:lnTo>
                    <a:pt x="767574" y="53506"/>
                  </a:lnTo>
                  <a:lnTo>
                    <a:pt x="766395" y="50752"/>
                  </a:lnTo>
                  <a:lnTo>
                    <a:pt x="766788" y="47998"/>
                  </a:lnTo>
                  <a:lnTo>
                    <a:pt x="769542" y="45244"/>
                  </a:lnTo>
                  <a:lnTo>
                    <a:pt x="771903" y="42490"/>
                  </a:lnTo>
                  <a:lnTo>
                    <a:pt x="769149" y="42490"/>
                  </a:lnTo>
                  <a:lnTo>
                    <a:pt x="771903" y="40523"/>
                  </a:lnTo>
                  <a:lnTo>
                    <a:pt x="775050" y="37769"/>
                  </a:lnTo>
                  <a:lnTo>
                    <a:pt x="773870" y="35015"/>
                  </a:lnTo>
                  <a:lnTo>
                    <a:pt x="773083" y="37769"/>
                  </a:lnTo>
                  <a:lnTo>
                    <a:pt x="770329" y="40130"/>
                  </a:lnTo>
                  <a:lnTo>
                    <a:pt x="767574" y="40916"/>
                  </a:lnTo>
                  <a:lnTo>
                    <a:pt x="764428" y="41703"/>
                  </a:lnTo>
                  <a:lnTo>
                    <a:pt x="766001" y="44457"/>
                  </a:lnTo>
                  <a:lnTo>
                    <a:pt x="763247" y="46031"/>
                  </a:lnTo>
                  <a:lnTo>
                    <a:pt x="760494" y="46424"/>
                  </a:lnTo>
                  <a:lnTo>
                    <a:pt x="757739" y="46031"/>
                  </a:lnTo>
                  <a:lnTo>
                    <a:pt x="754985" y="48391"/>
                  </a:lnTo>
                  <a:lnTo>
                    <a:pt x="755772" y="51145"/>
                  </a:lnTo>
                  <a:lnTo>
                    <a:pt x="742002" y="46818"/>
                  </a:lnTo>
                  <a:lnTo>
                    <a:pt x="740822" y="44457"/>
                  </a:lnTo>
                  <a:lnTo>
                    <a:pt x="740428" y="41703"/>
                  </a:lnTo>
                  <a:lnTo>
                    <a:pt x="737675" y="42490"/>
                  </a:lnTo>
                  <a:lnTo>
                    <a:pt x="735314" y="44851"/>
                  </a:lnTo>
                  <a:lnTo>
                    <a:pt x="726265" y="42097"/>
                  </a:lnTo>
                  <a:lnTo>
                    <a:pt x="714069" y="36589"/>
                  </a:lnTo>
                  <a:lnTo>
                    <a:pt x="716036" y="33835"/>
                  </a:lnTo>
                  <a:lnTo>
                    <a:pt x="713282" y="33441"/>
                  </a:lnTo>
                  <a:lnTo>
                    <a:pt x="711315" y="35015"/>
                  </a:lnTo>
                  <a:lnTo>
                    <a:pt x="701872" y="30687"/>
                  </a:lnTo>
                  <a:lnTo>
                    <a:pt x="702659" y="29900"/>
                  </a:lnTo>
                  <a:lnTo>
                    <a:pt x="701086" y="29507"/>
                  </a:lnTo>
                  <a:lnTo>
                    <a:pt x="701086" y="30294"/>
                  </a:lnTo>
                  <a:lnTo>
                    <a:pt x="691250" y="25966"/>
                  </a:lnTo>
                  <a:lnTo>
                    <a:pt x="689677" y="22819"/>
                  </a:lnTo>
                  <a:lnTo>
                    <a:pt x="686922" y="20065"/>
                  </a:lnTo>
                  <a:lnTo>
                    <a:pt x="687316" y="23212"/>
                  </a:lnTo>
                  <a:lnTo>
                    <a:pt x="685743" y="23606"/>
                  </a:lnTo>
                  <a:lnTo>
                    <a:pt x="677480" y="20458"/>
                  </a:lnTo>
                  <a:lnTo>
                    <a:pt x="676694" y="20458"/>
                  </a:lnTo>
                  <a:lnTo>
                    <a:pt x="675907" y="17311"/>
                  </a:lnTo>
                  <a:lnTo>
                    <a:pt x="673152" y="16130"/>
                  </a:lnTo>
                  <a:lnTo>
                    <a:pt x="671579" y="13377"/>
                  </a:lnTo>
                  <a:lnTo>
                    <a:pt x="668825" y="16130"/>
                  </a:lnTo>
                  <a:lnTo>
                    <a:pt x="666071" y="12983"/>
                  </a:lnTo>
                  <a:lnTo>
                    <a:pt x="667251" y="16130"/>
                  </a:lnTo>
                  <a:lnTo>
                    <a:pt x="666858" y="18884"/>
                  </a:lnTo>
                  <a:lnTo>
                    <a:pt x="666464" y="19671"/>
                  </a:lnTo>
                  <a:lnTo>
                    <a:pt x="664891" y="19671"/>
                  </a:lnTo>
                  <a:lnTo>
                    <a:pt x="664497" y="18491"/>
                  </a:lnTo>
                  <a:lnTo>
                    <a:pt x="663710" y="15737"/>
                  </a:lnTo>
                  <a:lnTo>
                    <a:pt x="661349" y="12983"/>
                  </a:lnTo>
                  <a:lnTo>
                    <a:pt x="659382" y="15737"/>
                  </a:lnTo>
                  <a:lnTo>
                    <a:pt x="656236" y="16524"/>
                  </a:lnTo>
                  <a:lnTo>
                    <a:pt x="656236" y="19278"/>
                  </a:lnTo>
                  <a:lnTo>
                    <a:pt x="669218" y="49965"/>
                  </a:lnTo>
                  <a:lnTo>
                    <a:pt x="667251" y="49965"/>
                  </a:lnTo>
                  <a:lnTo>
                    <a:pt x="664497" y="49572"/>
                  </a:lnTo>
                  <a:lnTo>
                    <a:pt x="662530" y="50752"/>
                  </a:lnTo>
                  <a:lnTo>
                    <a:pt x="656236" y="51539"/>
                  </a:lnTo>
                  <a:lnTo>
                    <a:pt x="655448" y="51145"/>
                  </a:lnTo>
                  <a:lnTo>
                    <a:pt x="652694" y="50752"/>
                  </a:lnTo>
                  <a:lnTo>
                    <a:pt x="649547" y="51932"/>
                  </a:lnTo>
                  <a:lnTo>
                    <a:pt x="646793" y="51932"/>
                  </a:lnTo>
                  <a:lnTo>
                    <a:pt x="644039" y="52326"/>
                  </a:lnTo>
                  <a:lnTo>
                    <a:pt x="640891" y="52326"/>
                  </a:lnTo>
                  <a:lnTo>
                    <a:pt x="638138" y="49572"/>
                  </a:lnTo>
                  <a:lnTo>
                    <a:pt x="636564" y="46424"/>
                  </a:lnTo>
                  <a:lnTo>
                    <a:pt x="634203" y="49178"/>
                  </a:lnTo>
                  <a:lnTo>
                    <a:pt x="631056" y="47604"/>
                  </a:lnTo>
                  <a:lnTo>
                    <a:pt x="628302" y="48785"/>
                  </a:lnTo>
                  <a:lnTo>
                    <a:pt x="628696" y="51539"/>
                  </a:lnTo>
                  <a:lnTo>
                    <a:pt x="628302" y="54293"/>
                  </a:lnTo>
                  <a:lnTo>
                    <a:pt x="625548" y="53506"/>
                  </a:lnTo>
                  <a:lnTo>
                    <a:pt x="622794" y="55867"/>
                  </a:lnTo>
                  <a:lnTo>
                    <a:pt x="622794" y="58227"/>
                  </a:lnTo>
                  <a:lnTo>
                    <a:pt x="620827" y="59801"/>
                  </a:lnTo>
                  <a:lnTo>
                    <a:pt x="620433" y="59407"/>
                  </a:lnTo>
                  <a:lnTo>
                    <a:pt x="618860" y="56653"/>
                  </a:lnTo>
                  <a:lnTo>
                    <a:pt x="615712" y="55473"/>
                  </a:lnTo>
                  <a:lnTo>
                    <a:pt x="614532" y="58227"/>
                  </a:lnTo>
                  <a:lnTo>
                    <a:pt x="614138" y="60981"/>
                  </a:lnTo>
                  <a:lnTo>
                    <a:pt x="613745" y="64128"/>
                  </a:lnTo>
                  <a:lnTo>
                    <a:pt x="614532" y="64522"/>
                  </a:lnTo>
                  <a:lnTo>
                    <a:pt x="613351" y="65309"/>
                  </a:lnTo>
                  <a:lnTo>
                    <a:pt x="612171" y="63342"/>
                  </a:lnTo>
                  <a:lnTo>
                    <a:pt x="609417" y="63735"/>
                  </a:lnTo>
                  <a:lnTo>
                    <a:pt x="606663" y="66882"/>
                  </a:lnTo>
                  <a:lnTo>
                    <a:pt x="606270" y="69637"/>
                  </a:lnTo>
                  <a:lnTo>
                    <a:pt x="605483" y="71604"/>
                  </a:lnTo>
                  <a:lnTo>
                    <a:pt x="602335" y="73964"/>
                  </a:lnTo>
                  <a:lnTo>
                    <a:pt x="599582" y="73571"/>
                  </a:lnTo>
                  <a:lnTo>
                    <a:pt x="598795" y="76325"/>
                  </a:lnTo>
                  <a:lnTo>
                    <a:pt x="598401" y="79079"/>
                  </a:lnTo>
                  <a:lnTo>
                    <a:pt x="599582" y="82226"/>
                  </a:lnTo>
                  <a:lnTo>
                    <a:pt x="601156" y="84980"/>
                  </a:lnTo>
                  <a:lnTo>
                    <a:pt x="603516" y="87734"/>
                  </a:lnTo>
                  <a:lnTo>
                    <a:pt x="601942" y="86947"/>
                  </a:lnTo>
                  <a:lnTo>
                    <a:pt x="598795" y="89701"/>
                  </a:lnTo>
                  <a:lnTo>
                    <a:pt x="596041" y="91668"/>
                  </a:lnTo>
                  <a:lnTo>
                    <a:pt x="593287" y="93635"/>
                  </a:lnTo>
                  <a:lnTo>
                    <a:pt x="592500" y="93635"/>
                  </a:lnTo>
                  <a:lnTo>
                    <a:pt x="589746" y="92849"/>
                  </a:lnTo>
                  <a:lnTo>
                    <a:pt x="587779" y="95603"/>
                  </a:lnTo>
                  <a:lnTo>
                    <a:pt x="586205" y="98357"/>
                  </a:lnTo>
                  <a:lnTo>
                    <a:pt x="586598" y="101111"/>
                  </a:lnTo>
                  <a:lnTo>
                    <a:pt x="584238" y="103865"/>
                  </a:lnTo>
                  <a:lnTo>
                    <a:pt x="584238" y="103865"/>
                  </a:lnTo>
                  <a:lnTo>
                    <a:pt x="577550" y="111340"/>
                  </a:lnTo>
                  <a:lnTo>
                    <a:pt x="575976" y="112127"/>
                  </a:lnTo>
                  <a:lnTo>
                    <a:pt x="575189" y="114881"/>
                  </a:lnTo>
                  <a:lnTo>
                    <a:pt x="572828" y="118028"/>
                  </a:lnTo>
                  <a:lnTo>
                    <a:pt x="571255" y="120782"/>
                  </a:lnTo>
                  <a:lnTo>
                    <a:pt x="570468" y="123536"/>
                  </a:lnTo>
                  <a:lnTo>
                    <a:pt x="573616" y="125896"/>
                  </a:lnTo>
                  <a:lnTo>
                    <a:pt x="576370" y="127864"/>
                  </a:lnTo>
                  <a:lnTo>
                    <a:pt x="577943" y="128257"/>
                  </a:lnTo>
                  <a:lnTo>
                    <a:pt x="577943" y="129831"/>
                  </a:lnTo>
                  <a:lnTo>
                    <a:pt x="576370" y="130224"/>
                  </a:lnTo>
                  <a:lnTo>
                    <a:pt x="577943" y="133372"/>
                  </a:lnTo>
                  <a:lnTo>
                    <a:pt x="577943" y="133372"/>
                  </a:lnTo>
                  <a:lnTo>
                    <a:pt x="577943" y="138093"/>
                  </a:lnTo>
                  <a:lnTo>
                    <a:pt x="577156" y="138093"/>
                  </a:lnTo>
                  <a:lnTo>
                    <a:pt x="575976" y="141240"/>
                  </a:lnTo>
                  <a:lnTo>
                    <a:pt x="575976" y="143994"/>
                  </a:lnTo>
                  <a:lnTo>
                    <a:pt x="578337" y="149502"/>
                  </a:lnTo>
                  <a:lnTo>
                    <a:pt x="574403" y="147142"/>
                  </a:lnTo>
                  <a:lnTo>
                    <a:pt x="574403" y="145568"/>
                  </a:lnTo>
                  <a:lnTo>
                    <a:pt x="572828" y="142814"/>
                  </a:lnTo>
                  <a:lnTo>
                    <a:pt x="570861" y="140060"/>
                  </a:lnTo>
                  <a:lnTo>
                    <a:pt x="567715" y="138486"/>
                  </a:lnTo>
                  <a:lnTo>
                    <a:pt x="564960" y="138093"/>
                  </a:lnTo>
                  <a:lnTo>
                    <a:pt x="564960" y="140847"/>
                  </a:lnTo>
                  <a:lnTo>
                    <a:pt x="564960" y="142420"/>
                  </a:lnTo>
                  <a:lnTo>
                    <a:pt x="561419" y="140453"/>
                  </a:lnTo>
                  <a:lnTo>
                    <a:pt x="561026" y="139666"/>
                  </a:lnTo>
                  <a:lnTo>
                    <a:pt x="558272" y="138486"/>
                  </a:lnTo>
                  <a:lnTo>
                    <a:pt x="555912" y="137306"/>
                  </a:lnTo>
                  <a:lnTo>
                    <a:pt x="552764" y="136912"/>
                  </a:lnTo>
                  <a:lnTo>
                    <a:pt x="550010" y="136125"/>
                  </a:lnTo>
                  <a:lnTo>
                    <a:pt x="547256" y="135339"/>
                  </a:lnTo>
                  <a:lnTo>
                    <a:pt x="544109" y="134945"/>
                  </a:lnTo>
                  <a:lnTo>
                    <a:pt x="541354" y="137699"/>
                  </a:lnTo>
                  <a:lnTo>
                    <a:pt x="540568" y="138486"/>
                  </a:lnTo>
                  <a:lnTo>
                    <a:pt x="540568" y="139666"/>
                  </a:lnTo>
                  <a:lnTo>
                    <a:pt x="540175" y="140847"/>
                  </a:lnTo>
                  <a:lnTo>
                    <a:pt x="538994" y="138486"/>
                  </a:lnTo>
                  <a:lnTo>
                    <a:pt x="538600" y="141240"/>
                  </a:lnTo>
                  <a:lnTo>
                    <a:pt x="539781" y="142420"/>
                  </a:lnTo>
                  <a:lnTo>
                    <a:pt x="538994" y="144388"/>
                  </a:lnTo>
                  <a:lnTo>
                    <a:pt x="538600" y="144388"/>
                  </a:lnTo>
                  <a:lnTo>
                    <a:pt x="535847" y="142027"/>
                  </a:lnTo>
                  <a:lnTo>
                    <a:pt x="533093" y="144781"/>
                  </a:lnTo>
                  <a:lnTo>
                    <a:pt x="533486" y="147535"/>
                  </a:lnTo>
                  <a:lnTo>
                    <a:pt x="533486" y="150289"/>
                  </a:lnTo>
                  <a:lnTo>
                    <a:pt x="535060" y="153436"/>
                  </a:lnTo>
                  <a:lnTo>
                    <a:pt x="534666" y="156190"/>
                  </a:lnTo>
                  <a:lnTo>
                    <a:pt x="534273" y="153436"/>
                  </a:lnTo>
                  <a:lnTo>
                    <a:pt x="533093" y="150682"/>
                  </a:lnTo>
                  <a:lnTo>
                    <a:pt x="529945" y="151076"/>
                  </a:lnTo>
                  <a:lnTo>
                    <a:pt x="529945" y="153830"/>
                  </a:lnTo>
                  <a:lnTo>
                    <a:pt x="528765" y="156977"/>
                  </a:lnTo>
                  <a:lnTo>
                    <a:pt x="526011" y="158944"/>
                  </a:lnTo>
                  <a:lnTo>
                    <a:pt x="527978" y="156190"/>
                  </a:lnTo>
                  <a:lnTo>
                    <a:pt x="527584" y="153830"/>
                  </a:lnTo>
                  <a:lnTo>
                    <a:pt x="534273" y="135732"/>
                  </a:lnTo>
                  <a:lnTo>
                    <a:pt x="533880" y="134158"/>
                  </a:lnTo>
                  <a:lnTo>
                    <a:pt x="533093" y="131011"/>
                  </a:lnTo>
                  <a:lnTo>
                    <a:pt x="530339" y="128257"/>
                  </a:lnTo>
                  <a:lnTo>
                    <a:pt x="527584" y="125896"/>
                  </a:lnTo>
                  <a:lnTo>
                    <a:pt x="524438" y="123142"/>
                  </a:lnTo>
                  <a:lnTo>
                    <a:pt x="524044" y="120388"/>
                  </a:lnTo>
                  <a:lnTo>
                    <a:pt x="522471" y="117635"/>
                  </a:lnTo>
                  <a:lnTo>
                    <a:pt x="520896" y="114487"/>
                  </a:lnTo>
                  <a:lnTo>
                    <a:pt x="518142" y="112520"/>
                  </a:lnTo>
                  <a:lnTo>
                    <a:pt x="514995" y="109766"/>
                  </a:lnTo>
                  <a:lnTo>
                    <a:pt x="513814" y="107012"/>
                  </a:lnTo>
                  <a:lnTo>
                    <a:pt x="511061" y="106618"/>
                  </a:lnTo>
                  <a:lnTo>
                    <a:pt x="508307" y="106618"/>
                  </a:lnTo>
                  <a:lnTo>
                    <a:pt x="501619" y="99143"/>
                  </a:lnTo>
                  <a:lnTo>
                    <a:pt x="500044" y="100324"/>
                  </a:lnTo>
                  <a:lnTo>
                    <a:pt x="497291" y="101111"/>
                  </a:lnTo>
                  <a:lnTo>
                    <a:pt x="495717" y="103865"/>
                  </a:lnTo>
                  <a:lnTo>
                    <a:pt x="498077" y="106618"/>
                  </a:lnTo>
                  <a:lnTo>
                    <a:pt x="486275" y="112127"/>
                  </a:lnTo>
                  <a:lnTo>
                    <a:pt x="485095" y="110946"/>
                  </a:lnTo>
                  <a:lnTo>
                    <a:pt x="486275" y="108192"/>
                  </a:lnTo>
                  <a:lnTo>
                    <a:pt x="483521" y="108586"/>
                  </a:lnTo>
                  <a:lnTo>
                    <a:pt x="481947" y="110553"/>
                  </a:lnTo>
                  <a:lnTo>
                    <a:pt x="477226" y="108979"/>
                  </a:lnTo>
                  <a:lnTo>
                    <a:pt x="478013" y="107405"/>
                  </a:lnTo>
                  <a:lnTo>
                    <a:pt x="475259" y="108979"/>
                  </a:lnTo>
                  <a:lnTo>
                    <a:pt x="476833" y="105832"/>
                  </a:lnTo>
                  <a:lnTo>
                    <a:pt x="474079" y="106618"/>
                  </a:lnTo>
                  <a:lnTo>
                    <a:pt x="474472" y="109372"/>
                  </a:lnTo>
                  <a:lnTo>
                    <a:pt x="471718" y="107799"/>
                  </a:lnTo>
                  <a:lnTo>
                    <a:pt x="472112" y="110946"/>
                  </a:lnTo>
                  <a:lnTo>
                    <a:pt x="475259" y="110553"/>
                  </a:lnTo>
                  <a:lnTo>
                    <a:pt x="475652" y="111340"/>
                  </a:lnTo>
                  <a:lnTo>
                    <a:pt x="460309" y="123536"/>
                  </a:lnTo>
                  <a:lnTo>
                    <a:pt x="460309" y="123142"/>
                  </a:lnTo>
                  <a:lnTo>
                    <a:pt x="460702" y="120388"/>
                  </a:lnTo>
                  <a:lnTo>
                    <a:pt x="461489" y="117635"/>
                  </a:lnTo>
                  <a:lnTo>
                    <a:pt x="458735" y="117241"/>
                  </a:lnTo>
                  <a:lnTo>
                    <a:pt x="458342" y="119995"/>
                  </a:lnTo>
                  <a:lnTo>
                    <a:pt x="458342" y="122749"/>
                  </a:lnTo>
                  <a:lnTo>
                    <a:pt x="457555" y="125896"/>
                  </a:lnTo>
                  <a:lnTo>
                    <a:pt x="457161" y="127077"/>
                  </a:lnTo>
                  <a:lnTo>
                    <a:pt x="454408" y="126290"/>
                  </a:lnTo>
                  <a:lnTo>
                    <a:pt x="452047" y="129044"/>
                  </a:lnTo>
                  <a:lnTo>
                    <a:pt x="449293" y="127470"/>
                  </a:lnTo>
                  <a:lnTo>
                    <a:pt x="448112" y="130224"/>
                  </a:lnTo>
                  <a:lnTo>
                    <a:pt x="445359" y="131798"/>
                  </a:lnTo>
                  <a:lnTo>
                    <a:pt x="443785" y="134945"/>
                  </a:lnTo>
                  <a:lnTo>
                    <a:pt x="444178" y="137699"/>
                  </a:lnTo>
                  <a:lnTo>
                    <a:pt x="446932" y="138486"/>
                  </a:lnTo>
                  <a:lnTo>
                    <a:pt x="445752" y="141633"/>
                  </a:lnTo>
                  <a:lnTo>
                    <a:pt x="447720" y="144388"/>
                  </a:lnTo>
                  <a:lnTo>
                    <a:pt x="447720" y="144781"/>
                  </a:lnTo>
                  <a:lnTo>
                    <a:pt x="446539" y="147535"/>
                  </a:lnTo>
                  <a:lnTo>
                    <a:pt x="444572" y="145961"/>
                  </a:lnTo>
                  <a:lnTo>
                    <a:pt x="441424" y="143601"/>
                  </a:lnTo>
                  <a:lnTo>
                    <a:pt x="440638" y="146748"/>
                  </a:lnTo>
                  <a:lnTo>
                    <a:pt x="439851" y="143601"/>
                  </a:lnTo>
                  <a:lnTo>
                    <a:pt x="437096" y="143994"/>
                  </a:lnTo>
                  <a:lnTo>
                    <a:pt x="435523" y="146748"/>
                  </a:lnTo>
                  <a:lnTo>
                    <a:pt x="432769" y="148322"/>
                  </a:lnTo>
                  <a:lnTo>
                    <a:pt x="432375" y="151469"/>
                  </a:lnTo>
                  <a:lnTo>
                    <a:pt x="435129" y="149502"/>
                  </a:lnTo>
                  <a:lnTo>
                    <a:pt x="437884" y="148715"/>
                  </a:lnTo>
                  <a:lnTo>
                    <a:pt x="435129" y="150289"/>
                  </a:lnTo>
                  <a:lnTo>
                    <a:pt x="432769" y="153043"/>
                  </a:lnTo>
                  <a:lnTo>
                    <a:pt x="435523" y="153436"/>
                  </a:lnTo>
                  <a:lnTo>
                    <a:pt x="438277" y="155010"/>
                  </a:lnTo>
                  <a:lnTo>
                    <a:pt x="437490" y="157764"/>
                  </a:lnTo>
                  <a:lnTo>
                    <a:pt x="440244" y="160911"/>
                  </a:lnTo>
                  <a:lnTo>
                    <a:pt x="438671" y="159731"/>
                  </a:lnTo>
                  <a:lnTo>
                    <a:pt x="435917" y="159731"/>
                  </a:lnTo>
                  <a:lnTo>
                    <a:pt x="434342" y="156977"/>
                  </a:lnTo>
                  <a:lnTo>
                    <a:pt x="431589" y="155010"/>
                  </a:lnTo>
                  <a:lnTo>
                    <a:pt x="428835" y="153043"/>
                  </a:lnTo>
                  <a:lnTo>
                    <a:pt x="426081" y="152649"/>
                  </a:lnTo>
                  <a:lnTo>
                    <a:pt x="427654" y="155403"/>
                  </a:lnTo>
                  <a:lnTo>
                    <a:pt x="424901" y="157764"/>
                  </a:lnTo>
                  <a:lnTo>
                    <a:pt x="422147" y="160125"/>
                  </a:lnTo>
                  <a:lnTo>
                    <a:pt x="418999" y="159731"/>
                  </a:lnTo>
                  <a:lnTo>
                    <a:pt x="417032" y="162485"/>
                  </a:lnTo>
                  <a:lnTo>
                    <a:pt x="417032" y="165239"/>
                  </a:lnTo>
                  <a:lnTo>
                    <a:pt x="415852" y="165632"/>
                  </a:lnTo>
                  <a:lnTo>
                    <a:pt x="415458" y="168386"/>
                  </a:lnTo>
                  <a:lnTo>
                    <a:pt x="417032" y="171140"/>
                  </a:lnTo>
                  <a:lnTo>
                    <a:pt x="418605" y="173108"/>
                  </a:lnTo>
                  <a:lnTo>
                    <a:pt x="419786" y="179402"/>
                  </a:lnTo>
                  <a:lnTo>
                    <a:pt x="417032" y="182156"/>
                  </a:lnTo>
                  <a:lnTo>
                    <a:pt x="415065" y="179402"/>
                  </a:lnTo>
                  <a:lnTo>
                    <a:pt x="414278" y="182156"/>
                  </a:lnTo>
                  <a:lnTo>
                    <a:pt x="412704" y="184910"/>
                  </a:lnTo>
                  <a:lnTo>
                    <a:pt x="412704" y="188058"/>
                  </a:lnTo>
                  <a:lnTo>
                    <a:pt x="415458" y="188058"/>
                  </a:lnTo>
                  <a:lnTo>
                    <a:pt x="418605" y="187271"/>
                  </a:lnTo>
                  <a:lnTo>
                    <a:pt x="420966" y="188058"/>
                  </a:lnTo>
                  <a:lnTo>
                    <a:pt x="421359" y="189632"/>
                  </a:lnTo>
                  <a:lnTo>
                    <a:pt x="414278" y="189632"/>
                  </a:lnTo>
                  <a:lnTo>
                    <a:pt x="412311" y="188451"/>
                  </a:lnTo>
                  <a:lnTo>
                    <a:pt x="410737" y="189632"/>
                  </a:lnTo>
                  <a:lnTo>
                    <a:pt x="406410" y="189632"/>
                  </a:lnTo>
                  <a:lnTo>
                    <a:pt x="406016" y="186878"/>
                  </a:lnTo>
                  <a:lnTo>
                    <a:pt x="402868" y="185304"/>
                  </a:lnTo>
                  <a:lnTo>
                    <a:pt x="400115" y="185697"/>
                  </a:lnTo>
                  <a:lnTo>
                    <a:pt x="398934" y="188451"/>
                  </a:lnTo>
                  <a:lnTo>
                    <a:pt x="397361" y="189238"/>
                  </a:lnTo>
                  <a:lnTo>
                    <a:pt x="396180" y="189238"/>
                  </a:lnTo>
                  <a:lnTo>
                    <a:pt x="396574" y="187271"/>
                  </a:lnTo>
                  <a:lnTo>
                    <a:pt x="393426" y="184910"/>
                  </a:lnTo>
                  <a:lnTo>
                    <a:pt x="396180" y="184123"/>
                  </a:lnTo>
                  <a:lnTo>
                    <a:pt x="393819" y="180976"/>
                  </a:lnTo>
                  <a:lnTo>
                    <a:pt x="391066" y="181369"/>
                  </a:lnTo>
                  <a:lnTo>
                    <a:pt x="388312" y="182943"/>
                  </a:lnTo>
                  <a:lnTo>
                    <a:pt x="389885" y="186091"/>
                  </a:lnTo>
                  <a:lnTo>
                    <a:pt x="391852" y="188845"/>
                  </a:lnTo>
                  <a:lnTo>
                    <a:pt x="390279" y="190418"/>
                  </a:lnTo>
                  <a:lnTo>
                    <a:pt x="387131" y="190418"/>
                  </a:lnTo>
                  <a:lnTo>
                    <a:pt x="387131" y="193172"/>
                  </a:lnTo>
                  <a:lnTo>
                    <a:pt x="384377" y="191599"/>
                  </a:lnTo>
                  <a:lnTo>
                    <a:pt x="384771" y="194353"/>
                  </a:lnTo>
                  <a:lnTo>
                    <a:pt x="387525" y="195139"/>
                  </a:lnTo>
                  <a:lnTo>
                    <a:pt x="385951" y="197893"/>
                  </a:lnTo>
                  <a:lnTo>
                    <a:pt x="388706" y="199861"/>
                  </a:lnTo>
                  <a:lnTo>
                    <a:pt x="390279" y="203008"/>
                  </a:lnTo>
                  <a:lnTo>
                    <a:pt x="392246" y="204582"/>
                  </a:lnTo>
                  <a:lnTo>
                    <a:pt x="392246" y="208123"/>
                  </a:lnTo>
                  <a:lnTo>
                    <a:pt x="391066" y="210090"/>
                  </a:lnTo>
                  <a:lnTo>
                    <a:pt x="391459" y="213237"/>
                  </a:lnTo>
                  <a:lnTo>
                    <a:pt x="393033" y="215991"/>
                  </a:lnTo>
                  <a:lnTo>
                    <a:pt x="392640" y="216778"/>
                  </a:lnTo>
                  <a:lnTo>
                    <a:pt x="390279" y="214024"/>
                  </a:lnTo>
                  <a:lnTo>
                    <a:pt x="388706" y="211270"/>
                  </a:lnTo>
                  <a:lnTo>
                    <a:pt x="385951" y="209303"/>
                  </a:lnTo>
                  <a:lnTo>
                    <a:pt x="384771" y="212450"/>
                  </a:lnTo>
                  <a:lnTo>
                    <a:pt x="385558" y="215204"/>
                  </a:lnTo>
                  <a:lnTo>
                    <a:pt x="384771" y="217958"/>
                  </a:lnTo>
                  <a:lnTo>
                    <a:pt x="383984" y="220712"/>
                  </a:lnTo>
                  <a:lnTo>
                    <a:pt x="382410" y="223860"/>
                  </a:lnTo>
                  <a:lnTo>
                    <a:pt x="382804" y="226613"/>
                  </a:lnTo>
                  <a:lnTo>
                    <a:pt x="381230" y="229368"/>
                  </a:lnTo>
                  <a:lnTo>
                    <a:pt x="381624" y="227794"/>
                  </a:lnTo>
                  <a:lnTo>
                    <a:pt x="380049" y="224646"/>
                  </a:lnTo>
                  <a:lnTo>
                    <a:pt x="378870" y="221893"/>
                  </a:lnTo>
                  <a:lnTo>
                    <a:pt x="377689" y="219925"/>
                  </a:lnTo>
                  <a:lnTo>
                    <a:pt x="376903" y="217958"/>
                  </a:lnTo>
                  <a:lnTo>
                    <a:pt x="376509" y="216384"/>
                  </a:lnTo>
                  <a:lnTo>
                    <a:pt x="375328" y="213237"/>
                  </a:lnTo>
                  <a:lnTo>
                    <a:pt x="374936" y="210483"/>
                  </a:lnTo>
                  <a:lnTo>
                    <a:pt x="373361" y="207729"/>
                  </a:lnTo>
                  <a:lnTo>
                    <a:pt x="371001" y="202221"/>
                  </a:lnTo>
                  <a:lnTo>
                    <a:pt x="372181" y="199467"/>
                  </a:lnTo>
                  <a:lnTo>
                    <a:pt x="369427" y="199074"/>
                  </a:lnTo>
                  <a:lnTo>
                    <a:pt x="368247" y="196320"/>
                  </a:lnTo>
                  <a:lnTo>
                    <a:pt x="368247" y="196713"/>
                  </a:lnTo>
                  <a:lnTo>
                    <a:pt x="371001" y="193959"/>
                  </a:lnTo>
                  <a:lnTo>
                    <a:pt x="369821" y="191205"/>
                  </a:lnTo>
                  <a:lnTo>
                    <a:pt x="366673" y="193566"/>
                  </a:lnTo>
                  <a:lnTo>
                    <a:pt x="365100" y="196320"/>
                  </a:lnTo>
                  <a:lnTo>
                    <a:pt x="362345" y="197893"/>
                  </a:lnTo>
                  <a:lnTo>
                    <a:pt x="361166" y="201041"/>
                  </a:lnTo>
                  <a:lnTo>
                    <a:pt x="361166" y="203008"/>
                  </a:lnTo>
                  <a:lnTo>
                    <a:pt x="358018" y="204975"/>
                  </a:lnTo>
                  <a:lnTo>
                    <a:pt x="355264" y="204975"/>
                  </a:lnTo>
                  <a:lnTo>
                    <a:pt x="354477" y="207336"/>
                  </a:lnTo>
                  <a:lnTo>
                    <a:pt x="352117" y="208909"/>
                  </a:lnTo>
                  <a:lnTo>
                    <a:pt x="350936" y="210483"/>
                  </a:lnTo>
                  <a:lnTo>
                    <a:pt x="348182" y="212844"/>
                  </a:lnTo>
                  <a:lnTo>
                    <a:pt x="345035" y="215598"/>
                  </a:lnTo>
                  <a:lnTo>
                    <a:pt x="343461" y="218352"/>
                  </a:lnTo>
                  <a:lnTo>
                    <a:pt x="341101" y="221106"/>
                  </a:lnTo>
                  <a:lnTo>
                    <a:pt x="339920" y="224253"/>
                  </a:lnTo>
                  <a:lnTo>
                    <a:pt x="339527" y="227007"/>
                  </a:lnTo>
                  <a:lnTo>
                    <a:pt x="338740" y="230154"/>
                  </a:lnTo>
                  <a:lnTo>
                    <a:pt x="339133" y="232908"/>
                  </a:lnTo>
                  <a:lnTo>
                    <a:pt x="339133" y="233695"/>
                  </a:lnTo>
                  <a:lnTo>
                    <a:pt x="324183" y="262809"/>
                  </a:lnTo>
                  <a:lnTo>
                    <a:pt x="323003" y="263202"/>
                  </a:lnTo>
                  <a:lnTo>
                    <a:pt x="320643" y="265956"/>
                  </a:lnTo>
                  <a:lnTo>
                    <a:pt x="321035" y="268710"/>
                  </a:lnTo>
                  <a:lnTo>
                    <a:pt x="319462" y="269890"/>
                  </a:lnTo>
                  <a:lnTo>
                    <a:pt x="316708" y="270284"/>
                  </a:lnTo>
                  <a:lnTo>
                    <a:pt x="317101" y="271858"/>
                  </a:lnTo>
                  <a:lnTo>
                    <a:pt x="262021" y="311987"/>
                  </a:lnTo>
                  <a:lnTo>
                    <a:pt x="259268" y="311987"/>
                  </a:lnTo>
                  <a:lnTo>
                    <a:pt x="256514" y="312774"/>
                  </a:lnTo>
                  <a:lnTo>
                    <a:pt x="253366" y="313954"/>
                  </a:lnTo>
                  <a:lnTo>
                    <a:pt x="243924" y="313954"/>
                  </a:lnTo>
                  <a:lnTo>
                    <a:pt x="243138" y="313954"/>
                  </a:lnTo>
                  <a:lnTo>
                    <a:pt x="239990" y="313167"/>
                  </a:lnTo>
                  <a:lnTo>
                    <a:pt x="237236" y="313954"/>
                  </a:lnTo>
                  <a:lnTo>
                    <a:pt x="236843" y="314348"/>
                  </a:lnTo>
                  <a:lnTo>
                    <a:pt x="236843" y="313954"/>
                  </a:lnTo>
                  <a:lnTo>
                    <a:pt x="234482" y="313954"/>
                  </a:lnTo>
                  <a:lnTo>
                    <a:pt x="217958" y="324970"/>
                  </a:lnTo>
                  <a:lnTo>
                    <a:pt x="216385" y="325364"/>
                  </a:lnTo>
                  <a:lnTo>
                    <a:pt x="213631" y="325757"/>
                  </a:lnTo>
                  <a:lnTo>
                    <a:pt x="210483" y="325364"/>
                  </a:lnTo>
                  <a:lnTo>
                    <a:pt x="207729" y="326151"/>
                  </a:lnTo>
                  <a:lnTo>
                    <a:pt x="204975" y="326544"/>
                  </a:lnTo>
                  <a:lnTo>
                    <a:pt x="202221" y="328904"/>
                  </a:lnTo>
                  <a:lnTo>
                    <a:pt x="164059" y="335986"/>
                  </a:lnTo>
                  <a:lnTo>
                    <a:pt x="163665" y="333625"/>
                  </a:lnTo>
                  <a:lnTo>
                    <a:pt x="160911" y="336380"/>
                  </a:lnTo>
                  <a:lnTo>
                    <a:pt x="151469" y="341888"/>
                  </a:lnTo>
                  <a:lnTo>
                    <a:pt x="151075" y="341888"/>
                  </a:lnTo>
                  <a:lnTo>
                    <a:pt x="148322" y="343068"/>
                  </a:lnTo>
                  <a:lnTo>
                    <a:pt x="145174" y="342674"/>
                  </a:lnTo>
                  <a:lnTo>
                    <a:pt x="144387" y="345822"/>
                  </a:lnTo>
                  <a:lnTo>
                    <a:pt x="141634" y="347395"/>
                  </a:lnTo>
                  <a:lnTo>
                    <a:pt x="139273" y="348576"/>
                  </a:lnTo>
                  <a:lnTo>
                    <a:pt x="136519" y="350149"/>
                  </a:lnTo>
                  <a:lnTo>
                    <a:pt x="135338" y="351723"/>
                  </a:lnTo>
                  <a:lnTo>
                    <a:pt x="103471" y="371395"/>
                  </a:lnTo>
                  <a:lnTo>
                    <a:pt x="102684" y="372181"/>
                  </a:lnTo>
                  <a:lnTo>
                    <a:pt x="99930" y="374148"/>
                  </a:lnTo>
                  <a:lnTo>
                    <a:pt x="97176" y="375329"/>
                  </a:lnTo>
                  <a:lnTo>
                    <a:pt x="94029" y="377689"/>
                  </a:lnTo>
                  <a:lnTo>
                    <a:pt x="92455" y="380443"/>
                  </a:lnTo>
                  <a:lnTo>
                    <a:pt x="90881" y="383197"/>
                  </a:lnTo>
                  <a:lnTo>
                    <a:pt x="89308" y="383197"/>
                  </a:lnTo>
                  <a:lnTo>
                    <a:pt x="89308" y="384378"/>
                  </a:lnTo>
                  <a:lnTo>
                    <a:pt x="76324" y="392246"/>
                  </a:lnTo>
                  <a:lnTo>
                    <a:pt x="76324" y="390279"/>
                  </a:lnTo>
                  <a:lnTo>
                    <a:pt x="75931" y="387525"/>
                  </a:lnTo>
                  <a:lnTo>
                    <a:pt x="78291" y="382017"/>
                  </a:lnTo>
                  <a:lnTo>
                    <a:pt x="79078" y="378870"/>
                  </a:lnTo>
                  <a:lnTo>
                    <a:pt x="78685" y="375722"/>
                  </a:lnTo>
                  <a:lnTo>
                    <a:pt x="75931" y="377296"/>
                  </a:lnTo>
                  <a:lnTo>
                    <a:pt x="73571" y="380443"/>
                  </a:lnTo>
                  <a:lnTo>
                    <a:pt x="71997" y="383197"/>
                  </a:lnTo>
                  <a:lnTo>
                    <a:pt x="70423" y="385951"/>
                  </a:lnTo>
                  <a:lnTo>
                    <a:pt x="68850" y="389099"/>
                  </a:lnTo>
                  <a:lnTo>
                    <a:pt x="67669" y="392246"/>
                  </a:lnTo>
                  <a:lnTo>
                    <a:pt x="65702" y="395000"/>
                  </a:lnTo>
                  <a:lnTo>
                    <a:pt x="64129" y="397754"/>
                  </a:lnTo>
                  <a:lnTo>
                    <a:pt x="62162" y="400508"/>
                  </a:lnTo>
                  <a:lnTo>
                    <a:pt x="60587" y="402869"/>
                  </a:lnTo>
                  <a:lnTo>
                    <a:pt x="60587" y="406016"/>
                  </a:lnTo>
                  <a:lnTo>
                    <a:pt x="60981" y="406409"/>
                  </a:lnTo>
                  <a:lnTo>
                    <a:pt x="55080" y="436703"/>
                  </a:lnTo>
                  <a:lnTo>
                    <a:pt x="54293" y="437097"/>
                  </a:lnTo>
                  <a:lnTo>
                    <a:pt x="51932" y="439851"/>
                  </a:lnTo>
                  <a:lnTo>
                    <a:pt x="49571" y="442998"/>
                  </a:lnTo>
                  <a:lnTo>
                    <a:pt x="48392" y="445752"/>
                  </a:lnTo>
                  <a:lnTo>
                    <a:pt x="46817" y="448506"/>
                  </a:lnTo>
                  <a:lnTo>
                    <a:pt x="44850" y="451653"/>
                  </a:lnTo>
                  <a:lnTo>
                    <a:pt x="44457" y="454407"/>
                  </a:lnTo>
                  <a:lnTo>
                    <a:pt x="43277" y="457161"/>
                  </a:lnTo>
                  <a:lnTo>
                    <a:pt x="42490" y="460309"/>
                  </a:lnTo>
                  <a:lnTo>
                    <a:pt x="42096" y="463063"/>
                  </a:lnTo>
                  <a:lnTo>
                    <a:pt x="41703" y="465817"/>
                  </a:lnTo>
                  <a:lnTo>
                    <a:pt x="42883" y="468964"/>
                  </a:lnTo>
                  <a:lnTo>
                    <a:pt x="44457" y="471718"/>
                  </a:lnTo>
                  <a:lnTo>
                    <a:pt x="46031" y="474472"/>
                  </a:lnTo>
                  <a:lnTo>
                    <a:pt x="46031" y="477226"/>
                  </a:lnTo>
                  <a:lnTo>
                    <a:pt x="45637" y="479980"/>
                  </a:lnTo>
                  <a:lnTo>
                    <a:pt x="46031" y="480373"/>
                  </a:lnTo>
                  <a:lnTo>
                    <a:pt x="41310" y="510274"/>
                  </a:lnTo>
                  <a:lnTo>
                    <a:pt x="39343" y="507913"/>
                  </a:lnTo>
                  <a:lnTo>
                    <a:pt x="38949" y="505160"/>
                  </a:lnTo>
                  <a:lnTo>
                    <a:pt x="36589" y="502405"/>
                  </a:lnTo>
                  <a:lnTo>
                    <a:pt x="34228" y="505160"/>
                  </a:lnTo>
                  <a:lnTo>
                    <a:pt x="33441" y="507913"/>
                  </a:lnTo>
                  <a:lnTo>
                    <a:pt x="34228" y="510667"/>
                  </a:lnTo>
                  <a:lnTo>
                    <a:pt x="35408" y="513815"/>
                  </a:lnTo>
                  <a:lnTo>
                    <a:pt x="35801" y="516569"/>
                  </a:lnTo>
                  <a:lnTo>
                    <a:pt x="35801" y="519716"/>
                  </a:lnTo>
                  <a:lnTo>
                    <a:pt x="37376" y="522470"/>
                  </a:lnTo>
                  <a:lnTo>
                    <a:pt x="38949" y="524044"/>
                  </a:lnTo>
                  <a:lnTo>
                    <a:pt x="32655" y="532306"/>
                  </a:lnTo>
                  <a:lnTo>
                    <a:pt x="33047" y="530732"/>
                  </a:lnTo>
                  <a:lnTo>
                    <a:pt x="32261" y="527585"/>
                  </a:lnTo>
                  <a:lnTo>
                    <a:pt x="31474" y="530339"/>
                  </a:lnTo>
                  <a:lnTo>
                    <a:pt x="31867" y="527585"/>
                  </a:lnTo>
                  <a:lnTo>
                    <a:pt x="31474" y="524831"/>
                  </a:lnTo>
                  <a:lnTo>
                    <a:pt x="30294" y="522077"/>
                  </a:lnTo>
                  <a:lnTo>
                    <a:pt x="30294" y="519323"/>
                  </a:lnTo>
                  <a:lnTo>
                    <a:pt x="29900" y="522470"/>
                  </a:lnTo>
                  <a:lnTo>
                    <a:pt x="29113" y="525224"/>
                  </a:lnTo>
                  <a:lnTo>
                    <a:pt x="27146" y="527978"/>
                  </a:lnTo>
                  <a:lnTo>
                    <a:pt x="28327" y="522470"/>
                  </a:lnTo>
                  <a:lnTo>
                    <a:pt x="27933" y="519716"/>
                  </a:lnTo>
                  <a:lnTo>
                    <a:pt x="27540" y="522470"/>
                  </a:lnTo>
                  <a:lnTo>
                    <a:pt x="25179" y="525224"/>
                  </a:lnTo>
                  <a:lnTo>
                    <a:pt x="25966" y="528372"/>
                  </a:lnTo>
                  <a:lnTo>
                    <a:pt x="25573" y="531126"/>
                  </a:lnTo>
                  <a:lnTo>
                    <a:pt x="27540" y="533880"/>
                  </a:lnTo>
                  <a:lnTo>
                    <a:pt x="29507" y="537027"/>
                  </a:lnTo>
                  <a:lnTo>
                    <a:pt x="40523" y="575583"/>
                  </a:lnTo>
                  <a:lnTo>
                    <a:pt x="38949" y="577943"/>
                  </a:lnTo>
                  <a:lnTo>
                    <a:pt x="37376" y="580697"/>
                  </a:lnTo>
                  <a:lnTo>
                    <a:pt x="37376" y="589353"/>
                  </a:lnTo>
                  <a:lnTo>
                    <a:pt x="38949" y="592107"/>
                  </a:lnTo>
                  <a:lnTo>
                    <a:pt x="41310" y="594861"/>
                  </a:lnTo>
                  <a:lnTo>
                    <a:pt x="42096" y="598008"/>
                  </a:lnTo>
                  <a:lnTo>
                    <a:pt x="42490" y="599188"/>
                  </a:lnTo>
                  <a:lnTo>
                    <a:pt x="43670" y="612565"/>
                  </a:lnTo>
                  <a:lnTo>
                    <a:pt x="43277" y="653875"/>
                  </a:lnTo>
                  <a:lnTo>
                    <a:pt x="42096" y="655842"/>
                  </a:lnTo>
                  <a:lnTo>
                    <a:pt x="42490" y="658596"/>
                  </a:lnTo>
                  <a:lnTo>
                    <a:pt x="41703" y="661743"/>
                  </a:lnTo>
                  <a:lnTo>
                    <a:pt x="41703" y="667251"/>
                  </a:lnTo>
                  <a:lnTo>
                    <a:pt x="41310" y="670005"/>
                  </a:lnTo>
                  <a:lnTo>
                    <a:pt x="41310" y="673152"/>
                  </a:lnTo>
                  <a:lnTo>
                    <a:pt x="41703" y="675906"/>
                  </a:lnTo>
                  <a:lnTo>
                    <a:pt x="42096" y="678660"/>
                  </a:lnTo>
                  <a:lnTo>
                    <a:pt x="41703" y="681808"/>
                  </a:lnTo>
                  <a:lnTo>
                    <a:pt x="42490" y="683382"/>
                  </a:lnTo>
                  <a:lnTo>
                    <a:pt x="41310" y="730986"/>
                  </a:lnTo>
                  <a:lnTo>
                    <a:pt x="40916" y="731380"/>
                  </a:lnTo>
                  <a:lnTo>
                    <a:pt x="41310" y="734527"/>
                  </a:lnTo>
                  <a:lnTo>
                    <a:pt x="36982" y="741215"/>
                  </a:lnTo>
                  <a:lnTo>
                    <a:pt x="35408" y="742789"/>
                  </a:lnTo>
                  <a:lnTo>
                    <a:pt x="34622" y="744756"/>
                  </a:lnTo>
                  <a:lnTo>
                    <a:pt x="12589" y="778197"/>
                  </a:lnTo>
                  <a:lnTo>
                    <a:pt x="9836" y="776624"/>
                  </a:lnTo>
                  <a:lnTo>
                    <a:pt x="7082" y="775837"/>
                  </a:lnTo>
                  <a:lnTo>
                    <a:pt x="5115" y="778591"/>
                  </a:lnTo>
                  <a:lnTo>
                    <a:pt x="4327" y="781345"/>
                  </a:lnTo>
                  <a:lnTo>
                    <a:pt x="3148" y="784099"/>
                  </a:lnTo>
                  <a:lnTo>
                    <a:pt x="2360" y="786853"/>
                  </a:lnTo>
                  <a:lnTo>
                    <a:pt x="1573" y="790000"/>
                  </a:lnTo>
                  <a:lnTo>
                    <a:pt x="787" y="792754"/>
                  </a:lnTo>
                  <a:lnTo>
                    <a:pt x="393" y="795508"/>
                  </a:lnTo>
                  <a:lnTo>
                    <a:pt x="0" y="798655"/>
                  </a:lnTo>
                  <a:lnTo>
                    <a:pt x="1573" y="801409"/>
                  </a:lnTo>
                  <a:lnTo>
                    <a:pt x="4327" y="799442"/>
                  </a:lnTo>
                  <a:lnTo>
                    <a:pt x="7082" y="799442"/>
                  </a:lnTo>
                  <a:lnTo>
                    <a:pt x="9836" y="801016"/>
                  </a:lnTo>
                  <a:lnTo>
                    <a:pt x="12589" y="803377"/>
                  </a:lnTo>
                  <a:lnTo>
                    <a:pt x="14950" y="806131"/>
                  </a:lnTo>
                  <a:lnTo>
                    <a:pt x="16918" y="808491"/>
                  </a:lnTo>
                  <a:lnTo>
                    <a:pt x="18491" y="811245"/>
                  </a:lnTo>
                  <a:lnTo>
                    <a:pt x="19671" y="813999"/>
                  </a:lnTo>
                  <a:lnTo>
                    <a:pt x="20852" y="816753"/>
                  </a:lnTo>
                  <a:lnTo>
                    <a:pt x="23998" y="817147"/>
                  </a:lnTo>
                  <a:lnTo>
                    <a:pt x="26753" y="818327"/>
                  </a:lnTo>
                  <a:lnTo>
                    <a:pt x="29507" y="819901"/>
                  </a:lnTo>
                  <a:lnTo>
                    <a:pt x="32655" y="819901"/>
                  </a:lnTo>
                  <a:lnTo>
                    <a:pt x="31474" y="822654"/>
                  </a:lnTo>
                  <a:lnTo>
                    <a:pt x="34622" y="823048"/>
                  </a:lnTo>
                  <a:lnTo>
                    <a:pt x="37376" y="823441"/>
                  </a:lnTo>
                  <a:lnTo>
                    <a:pt x="40129" y="823441"/>
                  </a:lnTo>
                  <a:lnTo>
                    <a:pt x="42883" y="824228"/>
                  </a:lnTo>
                  <a:lnTo>
                    <a:pt x="45637" y="823441"/>
                  </a:lnTo>
                  <a:lnTo>
                    <a:pt x="48392" y="823835"/>
                  </a:lnTo>
                  <a:lnTo>
                    <a:pt x="51538" y="823048"/>
                  </a:lnTo>
                  <a:lnTo>
                    <a:pt x="54293" y="823835"/>
                  </a:lnTo>
                  <a:lnTo>
                    <a:pt x="57047" y="824228"/>
                  </a:lnTo>
                  <a:lnTo>
                    <a:pt x="60194" y="825408"/>
                  </a:lnTo>
                  <a:lnTo>
                    <a:pt x="62948" y="825015"/>
                  </a:lnTo>
                  <a:lnTo>
                    <a:pt x="64522" y="824622"/>
                  </a:lnTo>
                  <a:lnTo>
                    <a:pt x="68850" y="826195"/>
                  </a:lnTo>
                  <a:lnTo>
                    <a:pt x="69636" y="826589"/>
                  </a:lnTo>
                  <a:lnTo>
                    <a:pt x="72784" y="825408"/>
                  </a:lnTo>
                  <a:lnTo>
                    <a:pt x="70030" y="823441"/>
                  </a:lnTo>
                  <a:lnTo>
                    <a:pt x="71603" y="823441"/>
                  </a:lnTo>
                  <a:lnTo>
                    <a:pt x="74357" y="823048"/>
                  </a:lnTo>
                  <a:lnTo>
                    <a:pt x="77111" y="822261"/>
                  </a:lnTo>
                  <a:lnTo>
                    <a:pt x="80259" y="822654"/>
                  </a:lnTo>
                  <a:lnTo>
                    <a:pt x="81833" y="819901"/>
                  </a:lnTo>
                  <a:lnTo>
                    <a:pt x="84980" y="819507"/>
                  </a:lnTo>
                  <a:lnTo>
                    <a:pt x="87734" y="817147"/>
                  </a:lnTo>
                  <a:lnTo>
                    <a:pt x="90094" y="814393"/>
                  </a:lnTo>
                  <a:lnTo>
                    <a:pt x="92848" y="812819"/>
                  </a:lnTo>
                  <a:lnTo>
                    <a:pt x="95603" y="812032"/>
                  </a:lnTo>
                  <a:lnTo>
                    <a:pt x="98357" y="810852"/>
                  </a:lnTo>
                  <a:lnTo>
                    <a:pt x="100324" y="808491"/>
                  </a:lnTo>
                  <a:lnTo>
                    <a:pt x="108979" y="804164"/>
                  </a:lnTo>
                  <a:lnTo>
                    <a:pt x="108979" y="804164"/>
                  </a:lnTo>
                  <a:lnTo>
                    <a:pt x="111733" y="804557"/>
                  </a:lnTo>
                  <a:lnTo>
                    <a:pt x="114880" y="806524"/>
                  </a:lnTo>
                  <a:lnTo>
                    <a:pt x="117634" y="804164"/>
                  </a:lnTo>
                  <a:lnTo>
                    <a:pt x="120782" y="804557"/>
                  </a:lnTo>
                  <a:lnTo>
                    <a:pt x="121568" y="801803"/>
                  </a:lnTo>
                  <a:lnTo>
                    <a:pt x="124716" y="802590"/>
                  </a:lnTo>
                  <a:lnTo>
                    <a:pt x="124716" y="799836"/>
                  </a:lnTo>
                  <a:lnTo>
                    <a:pt x="127470" y="796688"/>
                  </a:lnTo>
                  <a:lnTo>
                    <a:pt x="129437" y="794328"/>
                  </a:lnTo>
                  <a:lnTo>
                    <a:pt x="144781" y="786853"/>
                  </a:lnTo>
                  <a:lnTo>
                    <a:pt x="145174" y="786853"/>
                  </a:lnTo>
                  <a:lnTo>
                    <a:pt x="148322" y="787640"/>
                  </a:lnTo>
                  <a:lnTo>
                    <a:pt x="151075" y="787246"/>
                  </a:lnTo>
                  <a:lnTo>
                    <a:pt x="153829" y="787640"/>
                  </a:lnTo>
                  <a:lnTo>
                    <a:pt x="156977" y="788033"/>
                  </a:lnTo>
                  <a:lnTo>
                    <a:pt x="159731" y="786459"/>
                  </a:lnTo>
                  <a:lnTo>
                    <a:pt x="162878" y="785279"/>
                  </a:lnTo>
                  <a:lnTo>
                    <a:pt x="165632" y="785279"/>
                  </a:lnTo>
                  <a:lnTo>
                    <a:pt x="168387" y="784492"/>
                  </a:lnTo>
                  <a:lnTo>
                    <a:pt x="171927" y="784099"/>
                  </a:lnTo>
                  <a:lnTo>
                    <a:pt x="174288" y="784099"/>
                  </a:lnTo>
                  <a:lnTo>
                    <a:pt x="175861" y="783705"/>
                  </a:lnTo>
                  <a:lnTo>
                    <a:pt x="189238" y="782525"/>
                  </a:lnTo>
                  <a:lnTo>
                    <a:pt x="191598" y="784492"/>
                  </a:lnTo>
                  <a:lnTo>
                    <a:pt x="194352" y="784099"/>
                  </a:lnTo>
                  <a:lnTo>
                    <a:pt x="197500" y="784492"/>
                  </a:lnTo>
                  <a:lnTo>
                    <a:pt x="200254" y="782918"/>
                  </a:lnTo>
                  <a:lnTo>
                    <a:pt x="203007" y="783312"/>
                  </a:lnTo>
                  <a:lnTo>
                    <a:pt x="203795" y="786066"/>
                  </a:lnTo>
                  <a:lnTo>
                    <a:pt x="204582" y="788820"/>
                  </a:lnTo>
                  <a:lnTo>
                    <a:pt x="207729" y="788820"/>
                  </a:lnTo>
                  <a:lnTo>
                    <a:pt x="210089" y="786066"/>
                  </a:lnTo>
                  <a:lnTo>
                    <a:pt x="212843" y="785672"/>
                  </a:lnTo>
                  <a:lnTo>
                    <a:pt x="215598" y="786459"/>
                  </a:lnTo>
                  <a:lnTo>
                    <a:pt x="218352" y="784886"/>
                  </a:lnTo>
                  <a:lnTo>
                    <a:pt x="224253" y="784886"/>
                  </a:lnTo>
                  <a:lnTo>
                    <a:pt x="227007" y="784492"/>
                  </a:lnTo>
                  <a:lnTo>
                    <a:pt x="230154" y="784099"/>
                  </a:lnTo>
                  <a:lnTo>
                    <a:pt x="232908" y="786066"/>
                  </a:lnTo>
                  <a:lnTo>
                    <a:pt x="232514" y="788820"/>
                  </a:lnTo>
                  <a:lnTo>
                    <a:pt x="235269" y="788033"/>
                  </a:lnTo>
                  <a:lnTo>
                    <a:pt x="238023" y="786066"/>
                  </a:lnTo>
                  <a:lnTo>
                    <a:pt x="241171" y="784886"/>
                  </a:lnTo>
                  <a:lnTo>
                    <a:pt x="243924" y="786459"/>
                  </a:lnTo>
                  <a:lnTo>
                    <a:pt x="246678" y="784492"/>
                  </a:lnTo>
                  <a:lnTo>
                    <a:pt x="249826" y="782525"/>
                  </a:lnTo>
                  <a:lnTo>
                    <a:pt x="252186" y="779771"/>
                  </a:lnTo>
                  <a:lnTo>
                    <a:pt x="334805" y="729806"/>
                  </a:lnTo>
                  <a:lnTo>
                    <a:pt x="337166" y="730199"/>
                  </a:lnTo>
                  <a:lnTo>
                    <a:pt x="337560" y="729806"/>
                  </a:lnTo>
                  <a:lnTo>
                    <a:pt x="345035" y="730199"/>
                  </a:lnTo>
                  <a:lnTo>
                    <a:pt x="345821" y="730593"/>
                  </a:lnTo>
                  <a:lnTo>
                    <a:pt x="348969" y="730986"/>
                  </a:lnTo>
                  <a:lnTo>
                    <a:pt x="351723" y="731773"/>
                  </a:lnTo>
                  <a:lnTo>
                    <a:pt x="354870" y="731380"/>
                  </a:lnTo>
                  <a:lnTo>
                    <a:pt x="360378" y="731380"/>
                  </a:lnTo>
                  <a:lnTo>
                    <a:pt x="363526" y="730986"/>
                  </a:lnTo>
                  <a:lnTo>
                    <a:pt x="366279" y="730986"/>
                  </a:lnTo>
                  <a:lnTo>
                    <a:pt x="368640" y="730593"/>
                  </a:lnTo>
                  <a:lnTo>
                    <a:pt x="371394" y="730199"/>
                  </a:lnTo>
                  <a:lnTo>
                    <a:pt x="374542" y="729413"/>
                  </a:lnTo>
                  <a:lnTo>
                    <a:pt x="377296" y="728626"/>
                  </a:lnTo>
                  <a:lnTo>
                    <a:pt x="380049" y="727052"/>
                  </a:lnTo>
                  <a:lnTo>
                    <a:pt x="382804" y="726265"/>
                  </a:lnTo>
                  <a:lnTo>
                    <a:pt x="385558" y="725478"/>
                  </a:lnTo>
                  <a:lnTo>
                    <a:pt x="388706" y="725085"/>
                  </a:lnTo>
                  <a:lnTo>
                    <a:pt x="391459" y="724298"/>
                  </a:lnTo>
                  <a:lnTo>
                    <a:pt x="394607" y="723904"/>
                  </a:lnTo>
                  <a:lnTo>
                    <a:pt x="397361" y="722724"/>
                  </a:lnTo>
                  <a:lnTo>
                    <a:pt x="400508" y="721544"/>
                  </a:lnTo>
                  <a:lnTo>
                    <a:pt x="403262" y="720364"/>
                  </a:lnTo>
                  <a:lnTo>
                    <a:pt x="406410" y="719183"/>
                  </a:lnTo>
                  <a:lnTo>
                    <a:pt x="411917" y="716823"/>
                  </a:lnTo>
                  <a:lnTo>
                    <a:pt x="414671" y="715249"/>
                  </a:lnTo>
                  <a:lnTo>
                    <a:pt x="417819" y="713675"/>
                  </a:lnTo>
                  <a:lnTo>
                    <a:pt x="420573" y="712102"/>
                  </a:lnTo>
                  <a:lnTo>
                    <a:pt x="422540" y="711315"/>
                  </a:lnTo>
                  <a:lnTo>
                    <a:pt x="426474" y="710135"/>
                  </a:lnTo>
                  <a:lnTo>
                    <a:pt x="448506" y="707774"/>
                  </a:lnTo>
                  <a:lnTo>
                    <a:pt x="450473" y="707774"/>
                  </a:lnTo>
                  <a:lnTo>
                    <a:pt x="452833" y="707381"/>
                  </a:lnTo>
                  <a:lnTo>
                    <a:pt x="456375" y="706987"/>
                  </a:lnTo>
                  <a:lnTo>
                    <a:pt x="511847" y="717216"/>
                  </a:lnTo>
                  <a:lnTo>
                    <a:pt x="513422" y="719970"/>
                  </a:lnTo>
                  <a:lnTo>
                    <a:pt x="516175" y="722331"/>
                  </a:lnTo>
                  <a:lnTo>
                    <a:pt x="518929" y="721544"/>
                  </a:lnTo>
                  <a:lnTo>
                    <a:pt x="522077" y="722331"/>
                  </a:lnTo>
                  <a:lnTo>
                    <a:pt x="523650" y="719970"/>
                  </a:lnTo>
                  <a:lnTo>
                    <a:pt x="533486" y="721937"/>
                  </a:lnTo>
                  <a:lnTo>
                    <a:pt x="535453" y="724691"/>
                  </a:lnTo>
                  <a:lnTo>
                    <a:pt x="538600" y="726265"/>
                  </a:lnTo>
                  <a:lnTo>
                    <a:pt x="541354" y="727839"/>
                  </a:lnTo>
                  <a:lnTo>
                    <a:pt x="544502" y="728232"/>
                  </a:lnTo>
                  <a:lnTo>
                    <a:pt x="547256" y="728232"/>
                  </a:lnTo>
                  <a:lnTo>
                    <a:pt x="548830" y="725478"/>
                  </a:lnTo>
                  <a:lnTo>
                    <a:pt x="551978" y="727052"/>
                  </a:lnTo>
                  <a:lnTo>
                    <a:pt x="554731" y="725478"/>
                  </a:lnTo>
                  <a:lnTo>
                    <a:pt x="555124" y="725478"/>
                  </a:lnTo>
                  <a:lnTo>
                    <a:pt x="555518" y="725872"/>
                  </a:lnTo>
                  <a:lnTo>
                    <a:pt x="555912" y="728626"/>
                  </a:lnTo>
                  <a:lnTo>
                    <a:pt x="556698" y="729413"/>
                  </a:lnTo>
                  <a:lnTo>
                    <a:pt x="558666" y="734920"/>
                  </a:lnTo>
                  <a:lnTo>
                    <a:pt x="556698" y="736494"/>
                  </a:lnTo>
                  <a:lnTo>
                    <a:pt x="555124" y="739248"/>
                  </a:lnTo>
                  <a:lnTo>
                    <a:pt x="558272" y="738461"/>
                  </a:lnTo>
                  <a:lnTo>
                    <a:pt x="559846" y="737674"/>
                  </a:lnTo>
                  <a:lnTo>
                    <a:pt x="562993" y="746330"/>
                  </a:lnTo>
                  <a:lnTo>
                    <a:pt x="560239" y="745543"/>
                  </a:lnTo>
                  <a:lnTo>
                    <a:pt x="559452" y="748690"/>
                  </a:lnTo>
                  <a:lnTo>
                    <a:pt x="557091" y="751444"/>
                  </a:lnTo>
                  <a:lnTo>
                    <a:pt x="559846" y="754592"/>
                  </a:lnTo>
                  <a:lnTo>
                    <a:pt x="559846" y="757346"/>
                  </a:lnTo>
                  <a:lnTo>
                    <a:pt x="559058" y="760100"/>
                  </a:lnTo>
                  <a:lnTo>
                    <a:pt x="561813" y="761280"/>
                  </a:lnTo>
                  <a:lnTo>
                    <a:pt x="564567" y="760887"/>
                  </a:lnTo>
                  <a:lnTo>
                    <a:pt x="566534" y="762067"/>
                  </a:lnTo>
                  <a:lnTo>
                    <a:pt x="569682" y="775443"/>
                  </a:lnTo>
                  <a:lnTo>
                    <a:pt x="569288" y="775837"/>
                  </a:lnTo>
                  <a:lnTo>
                    <a:pt x="569682" y="778591"/>
                  </a:lnTo>
                  <a:lnTo>
                    <a:pt x="570468" y="779377"/>
                  </a:lnTo>
                  <a:lnTo>
                    <a:pt x="574009" y="793934"/>
                  </a:lnTo>
                  <a:lnTo>
                    <a:pt x="574009" y="793934"/>
                  </a:lnTo>
                  <a:lnTo>
                    <a:pt x="574403" y="796688"/>
                  </a:lnTo>
                  <a:lnTo>
                    <a:pt x="574009" y="799836"/>
                  </a:lnTo>
                  <a:lnTo>
                    <a:pt x="573222" y="802590"/>
                  </a:lnTo>
                  <a:lnTo>
                    <a:pt x="572828" y="805737"/>
                  </a:lnTo>
                  <a:lnTo>
                    <a:pt x="571255" y="808491"/>
                  </a:lnTo>
                  <a:lnTo>
                    <a:pt x="568107" y="806917"/>
                  </a:lnTo>
                  <a:lnTo>
                    <a:pt x="567715" y="803770"/>
                  </a:lnTo>
                  <a:lnTo>
                    <a:pt x="564960" y="806524"/>
                  </a:lnTo>
                  <a:lnTo>
                    <a:pt x="562600" y="809671"/>
                  </a:lnTo>
                  <a:lnTo>
                    <a:pt x="565354" y="808884"/>
                  </a:lnTo>
                  <a:lnTo>
                    <a:pt x="568107" y="810458"/>
                  </a:lnTo>
                  <a:lnTo>
                    <a:pt x="569288" y="813212"/>
                  </a:lnTo>
                  <a:lnTo>
                    <a:pt x="570861" y="816360"/>
                  </a:lnTo>
                  <a:lnTo>
                    <a:pt x="572436" y="819114"/>
                  </a:lnTo>
                  <a:lnTo>
                    <a:pt x="575189" y="819507"/>
                  </a:lnTo>
                  <a:lnTo>
                    <a:pt x="577943" y="818327"/>
                  </a:lnTo>
                  <a:lnTo>
                    <a:pt x="579910" y="821081"/>
                  </a:lnTo>
                  <a:lnTo>
                    <a:pt x="580697" y="823441"/>
                  </a:lnTo>
                  <a:lnTo>
                    <a:pt x="623974" y="782132"/>
                  </a:lnTo>
                  <a:lnTo>
                    <a:pt x="626335" y="781345"/>
                  </a:lnTo>
                  <a:lnTo>
                    <a:pt x="627121" y="778984"/>
                  </a:lnTo>
                  <a:lnTo>
                    <a:pt x="627515" y="778591"/>
                  </a:lnTo>
                  <a:lnTo>
                    <a:pt x="629875" y="779377"/>
                  </a:lnTo>
                  <a:lnTo>
                    <a:pt x="633023" y="778984"/>
                  </a:lnTo>
                  <a:lnTo>
                    <a:pt x="635777" y="776624"/>
                  </a:lnTo>
                  <a:lnTo>
                    <a:pt x="638531" y="773870"/>
                  </a:lnTo>
                  <a:lnTo>
                    <a:pt x="640891" y="771116"/>
                  </a:lnTo>
                  <a:lnTo>
                    <a:pt x="643645" y="768362"/>
                  </a:lnTo>
                  <a:lnTo>
                    <a:pt x="645219" y="765608"/>
                  </a:lnTo>
                  <a:lnTo>
                    <a:pt x="647973" y="762460"/>
                  </a:lnTo>
                  <a:lnTo>
                    <a:pt x="650334" y="759706"/>
                  </a:lnTo>
                  <a:lnTo>
                    <a:pt x="653088" y="757739"/>
                  </a:lnTo>
                  <a:lnTo>
                    <a:pt x="655448" y="754985"/>
                  </a:lnTo>
                  <a:lnTo>
                    <a:pt x="658203" y="754198"/>
                  </a:lnTo>
                  <a:lnTo>
                    <a:pt x="660170" y="753018"/>
                  </a:lnTo>
                  <a:lnTo>
                    <a:pt x="640498" y="788426"/>
                  </a:lnTo>
                  <a:lnTo>
                    <a:pt x="639711" y="788820"/>
                  </a:lnTo>
                  <a:lnTo>
                    <a:pt x="638924" y="791180"/>
                  </a:lnTo>
                  <a:lnTo>
                    <a:pt x="638531" y="791967"/>
                  </a:lnTo>
                  <a:lnTo>
                    <a:pt x="636170" y="794328"/>
                  </a:lnTo>
                  <a:lnTo>
                    <a:pt x="634597" y="797082"/>
                  </a:lnTo>
                  <a:lnTo>
                    <a:pt x="633417" y="800229"/>
                  </a:lnTo>
                  <a:lnTo>
                    <a:pt x="631449" y="802983"/>
                  </a:lnTo>
                  <a:lnTo>
                    <a:pt x="631056" y="805737"/>
                  </a:lnTo>
                  <a:lnTo>
                    <a:pt x="629875" y="808884"/>
                  </a:lnTo>
                  <a:lnTo>
                    <a:pt x="628696" y="811638"/>
                  </a:lnTo>
                  <a:lnTo>
                    <a:pt x="627121" y="814786"/>
                  </a:lnTo>
                  <a:lnTo>
                    <a:pt x="625154" y="817540"/>
                  </a:lnTo>
                  <a:lnTo>
                    <a:pt x="623581" y="820687"/>
                  </a:lnTo>
                  <a:lnTo>
                    <a:pt x="620827" y="821474"/>
                  </a:lnTo>
                  <a:lnTo>
                    <a:pt x="618072" y="820294"/>
                  </a:lnTo>
                  <a:lnTo>
                    <a:pt x="615319" y="820687"/>
                  </a:lnTo>
                  <a:lnTo>
                    <a:pt x="612565" y="820294"/>
                  </a:lnTo>
                  <a:lnTo>
                    <a:pt x="609811" y="823048"/>
                  </a:lnTo>
                  <a:lnTo>
                    <a:pt x="608237" y="825802"/>
                  </a:lnTo>
                  <a:lnTo>
                    <a:pt x="606270" y="828949"/>
                  </a:lnTo>
                  <a:lnTo>
                    <a:pt x="603516" y="830523"/>
                  </a:lnTo>
                  <a:lnTo>
                    <a:pt x="601942" y="833277"/>
                  </a:lnTo>
                  <a:lnTo>
                    <a:pt x="604696" y="832884"/>
                  </a:lnTo>
                  <a:lnTo>
                    <a:pt x="607844" y="831310"/>
                  </a:lnTo>
                  <a:lnTo>
                    <a:pt x="610598" y="831703"/>
                  </a:lnTo>
                  <a:lnTo>
                    <a:pt x="613351" y="829736"/>
                  </a:lnTo>
                  <a:lnTo>
                    <a:pt x="616499" y="829343"/>
                  </a:lnTo>
                  <a:lnTo>
                    <a:pt x="619253" y="827769"/>
                  </a:lnTo>
                  <a:lnTo>
                    <a:pt x="622007" y="827769"/>
                  </a:lnTo>
                  <a:lnTo>
                    <a:pt x="625154" y="828949"/>
                  </a:lnTo>
                  <a:lnTo>
                    <a:pt x="627908" y="828556"/>
                  </a:lnTo>
                  <a:lnTo>
                    <a:pt x="629875" y="825408"/>
                  </a:lnTo>
                  <a:lnTo>
                    <a:pt x="632236" y="822654"/>
                  </a:lnTo>
                  <a:lnTo>
                    <a:pt x="634597" y="819507"/>
                  </a:lnTo>
                  <a:lnTo>
                    <a:pt x="636957" y="816753"/>
                  </a:lnTo>
                  <a:lnTo>
                    <a:pt x="638924" y="813999"/>
                  </a:lnTo>
                  <a:lnTo>
                    <a:pt x="640891" y="810852"/>
                  </a:lnTo>
                  <a:lnTo>
                    <a:pt x="641285" y="810458"/>
                  </a:lnTo>
                  <a:lnTo>
                    <a:pt x="636957" y="840359"/>
                  </a:lnTo>
                  <a:lnTo>
                    <a:pt x="634203" y="841539"/>
                  </a:lnTo>
                  <a:lnTo>
                    <a:pt x="631449" y="844293"/>
                  </a:lnTo>
                  <a:lnTo>
                    <a:pt x="634203" y="845867"/>
                  </a:lnTo>
                  <a:lnTo>
                    <a:pt x="636170" y="845080"/>
                  </a:lnTo>
                  <a:lnTo>
                    <a:pt x="638924" y="845473"/>
                  </a:lnTo>
                  <a:lnTo>
                    <a:pt x="642072" y="845080"/>
                  </a:lnTo>
                  <a:lnTo>
                    <a:pt x="644826" y="844293"/>
                  </a:lnTo>
                  <a:lnTo>
                    <a:pt x="647579" y="841932"/>
                  </a:lnTo>
                  <a:lnTo>
                    <a:pt x="650334" y="841145"/>
                  </a:lnTo>
                  <a:lnTo>
                    <a:pt x="653481" y="841539"/>
                  </a:lnTo>
                  <a:lnTo>
                    <a:pt x="656236" y="841932"/>
                  </a:lnTo>
                  <a:lnTo>
                    <a:pt x="653088" y="840359"/>
                  </a:lnTo>
                  <a:lnTo>
                    <a:pt x="653481" y="840359"/>
                  </a:lnTo>
                  <a:lnTo>
                    <a:pt x="656236" y="839965"/>
                  </a:lnTo>
                  <a:lnTo>
                    <a:pt x="658989" y="840752"/>
                  </a:lnTo>
                  <a:lnTo>
                    <a:pt x="658596" y="839178"/>
                  </a:lnTo>
                  <a:lnTo>
                    <a:pt x="670792" y="836031"/>
                  </a:lnTo>
                  <a:lnTo>
                    <a:pt x="669612" y="838785"/>
                  </a:lnTo>
                  <a:lnTo>
                    <a:pt x="666464" y="839572"/>
                  </a:lnTo>
                  <a:lnTo>
                    <a:pt x="666464" y="842326"/>
                  </a:lnTo>
                  <a:lnTo>
                    <a:pt x="666071" y="845080"/>
                  </a:lnTo>
                  <a:lnTo>
                    <a:pt x="662924" y="846654"/>
                  </a:lnTo>
                  <a:lnTo>
                    <a:pt x="663316" y="843899"/>
                  </a:lnTo>
                  <a:lnTo>
                    <a:pt x="663710" y="840752"/>
                  </a:lnTo>
                  <a:lnTo>
                    <a:pt x="660563" y="841145"/>
                  </a:lnTo>
                  <a:lnTo>
                    <a:pt x="658989" y="843899"/>
                  </a:lnTo>
                  <a:lnTo>
                    <a:pt x="661349" y="846654"/>
                  </a:lnTo>
                  <a:lnTo>
                    <a:pt x="663316" y="849408"/>
                  </a:lnTo>
                  <a:lnTo>
                    <a:pt x="664891" y="852161"/>
                  </a:lnTo>
                  <a:lnTo>
                    <a:pt x="666464" y="855309"/>
                  </a:lnTo>
                  <a:lnTo>
                    <a:pt x="666464" y="855702"/>
                  </a:lnTo>
                  <a:lnTo>
                    <a:pt x="665677" y="859243"/>
                  </a:lnTo>
                  <a:lnTo>
                    <a:pt x="665284" y="856096"/>
                  </a:lnTo>
                  <a:lnTo>
                    <a:pt x="664104" y="853342"/>
                  </a:lnTo>
                  <a:lnTo>
                    <a:pt x="662137" y="850194"/>
                  </a:lnTo>
                  <a:lnTo>
                    <a:pt x="660563" y="847440"/>
                  </a:lnTo>
                  <a:lnTo>
                    <a:pt x="658203" y="844686"/>
                  </a:lnTo>
                  <a:lnTo>
                    <a:pt x="655055" y="841932"/>
                  </a:lnTo>
                  <a:lnTo>
                    <a:pt x="657809" y="845080"/>
                  </a:lnTo>
                  <a:lnTo>
                    <a:pt x="660170" y="847834"/>
                  </a:lnTo>
                  <a:lnTo>
                    <a:pt x="662137" y="850588"/>
                  </a:lnTo>
                  <a:lnTo>
                    <a:pt x="663710" y="853735"/>
                  </a:lnTo>
                  <a:lnTo>
                    <a:pt x="664497" y="856489"/>
                  </a:lnTo>
                  <a:lnTo>
                    <a:pt x="665677" y="859243"/>
                  </a:lnTo>
                  <a:lnTo>
                    <a:pt x="665677" y="860030"/>
                  </a:lnTo>
                  <a:lnTo>
                    <a:pt x="661743" y="884422"/>
                  </a:lnTo>
                  <a:lnTo>
                    <a:pt x="658596" y="886783"/>
                  </a:lnTo>
                  <a:lnTo>
                    <a:pt x="655842" y="888357"/>
                  </a:lnTo>
                  <a:lnTo>
                    <a:pt x="655448" y="891111"/>
                  </a:lnTo>
                  <a:lnTo>
                    <a:pt x="655055" y="893865"/>
                  </a:lnTo>
                  <a:lnTo>
                    <a:pt x="652694" y="896619"/>
                  </a:lnTo>
                  <a:lnTo>
                    <a:pt x="653088" y="899766"/>
                  </a:lnTo>
                  <a:lnTo>
                    <a:pt x="653481" y="902520"/>
                  </a:lnTo>
                  <a:lnTo>
                    <a:pt x="654268" y="905274"/>
                  </a:lnTo>
                  <a:lnTo>
                    <a:pt x="654661" y="906848"/>
                  </a:lnTo>
                  <a:lnTo>
                    <a:pt x="656628" y="909208"/>
                  </a:lnTo>
                  <a:lnTo>
                    <a:pt x="656628" y="909602"/>
                  </a:lnTo>
                  <a:lnTo>
                    <a:pt x="658203" y="912356"/>
                  </a:lnTo>
                  <a:lnTo>
                    <a:pt x="658596" y="915503"/>
                  </a:lnTo>
                  <a:lnTo>
                    <a:pt x="658596" y="918650"/>
                  </a:lnTo>
                  <a:lnTo>
                    <a:pt x="660563" y="922191"/>
                  </a:lnTo>
                  <a:lnTo>
                    <a:pt x="663316" y="925339"/>
                  </a:lnTo>
                  <a:lnTo>
                    <a:pt x="666464" y="926126"/>
                  </a:lnTo>
                  <a:lnTo>
                    <a:pt x="669612" y="925732"/>
                  </a:lnTo>
                  <a:lnTo>
                    <a:pt x="672365" y="926126"/>
                  </a:lnTo>
                  <a:lnTo>
                    <a:pt x="675907" y="928093"/>
                  </a:lnTo>
                  <a:lnTo>
                    <a:pt x="678267" y="930847"/>
                  </a:lnTo>
                  <a:lnTo>
                    <a:pt x="679841" y="933994"/>
                  </a:lnTo>
                  <a:lnTo>
                    <a:pt x="678267" y="936748"/>
                  </a:lnTo>
                  <a:lnTo>
                    <a:pt x="681021" y="936355"/>
                  </a:lnTo>
                  <a:lnTo>
                    <a:pt x="684168" y="937142"/>
                  </a:lnTo>
                  <a:lnTo>
                    <a:pt x="686922" y="933994"/>
                  </a:lnTo>
                  <a:lnTo>
                    <a:pt x="688102" y="933601"/>
                  </a:lnTo>
                  <a:lnTo>
                    <a:pt x="730199" y="952879"/>
                  </a:lnTo>
                  <a:lnTo>
                    <a:pt x="734527" y="950518"/>
                  </a:lnTo>
                  <a:lnTo>
                    <a:pt x="736100" y="949731"/>
                  </a:lnTo>
                  <a:lnTo>
                    <a:pt x="738855" y="948157"/>
                  </a:lnTo>
                  <a:lnTo>
                    <a:pt x="741609" y="947371"/>
                  </a:lnTo>
                  <a:lnTo>
                    <a:pt x="744363" y="945403"/>
                  </a:lnTo>
                  <a:lnTo>
                    <a:pt x="747510" y="943436"/>
                  </a:lnTo>
                  <a:lnTo>
                    <a:pt x="747510" y="943436"/>
                  </a:lnTo>
                  <a:lnTo>
                    <a:pt x="762461" y="935174"/>
                  </a:lnTo>
                  <a:lnTo>
                    <a:pt x="765214" y="933994"/>
                  </a:lnTo>
                  <a:lnTo>
                    <a:pt x="768362" y="933601"/>
                  </a:lnTo>
                  <a:lnTo>
                    <a:pt x="771116" y="933601"/>
                  </a:lnTo>
                  <a:lnTo>
                    <a:pt x="773870" y="930847"/>
                  </a:lnTo>
                  <a:lnTo>
                    <a:pt x="773083" y="930453"/>
                  </a:lnTo>
                  <a:lnTo>
                    <a:pt x="787246" y="924945"/>
                  </a:lnTo>
                  <a:lnTo>
                    <a:pt x="782525" y="931634"/>
                  </a:lnTo>
                  <a:lnTo>
                    <a:pt x="779771" y="933994"/>
                  </a:lnTo>
                  <a:lnTo>
                    <a:pt x="776623" y="936355"/>
                  </a:lnTo>
                  <a:lnTo>
                    <a:pt x="773870" y="936748"/>
                  </a:lnTo>
                  <a:lnTo>
                    <a:pt x="771116" y="934781"/>
                  </a:lnTo>
                  <a:lnTo>
                    <a:pt x="772689" y="937535"/>
                  </a:lnTo>
                  <a:lnTo>
                    <a:pt x="773870" y="940682"/>
                  </a:lnTo>
                  <a:lnTo>
                    <a:pt x="777410" y="940682"/>
                  </a:lnTo>
                  <a:lnTo>
                    <a:pt x="803377" y="962321"/>
                  </a:lnTo>
                  <a:lnTo>
                    <a:pt x="806130" y="960354"/>
                  </a:lnTo>
                  <a:lnTo>
                    <a:pt x="806130" y="960354"/>
                  </a:lnTo>
                  <a:lnTo>
                    <a:pt x="824228" y="947371"/>
                  </a:lnTo>
                  <a:lnTo>
                    <a:pt x="909602" y="917077"/>
                  </a:lnTo>
                  <a:lnTo>
                    <a:pt x="912356" y="916683"/>
                  </a:lnTo>
                  <a:lnTo>
                    <a:pt x="915109" y="915896"/>
                  </a:lnTo>
                  <a:lnTo>
                    <a:pt x="918257" y="914716"/>
                  </a:lnTo>
                  <a:lnTo>
                    <a:pt x="921011" y="913536"/>
                  </a:lnTo>
                  <a:lnTo>
                    <a:pt x="923766" y="911175"/>
                  </a:lnTo>
                  <a:lnTo>
                    <a:pt x="931634" y="908028"/>
                  </a:lnTo>
                  <a:lnTo>
                    <a:pt x="931634" y="908028"/>
                  </a:lnTo>
                  <a:lnTo>
                    <a:pt x="933207" y="907635"/>
                  </a:lnTo>
                  <a:lnTo>
                    <a:pt x="938322" y="898979"/>
                  </a:lnTo>
                  <a:lnTo>
                    <a:pt x="939895" y="896225"/>
                  </a:lnTo>
                  <a:lnTo>
                    <a:pt x="939895" y="895832"/>
                  </a:lnTo>
                  <a:lnTo>
                    <a:pt x="948551" y="879308"/>
                  </a:lnTo>
                  <a:lnTo>
                    <a:pt x="951305" y="876947"/>
                  </a:lnTo>
                  <a:lnTo>
                    <a:pt x="952092" y="875767"/>
                  </a:lnTo>
                  <a:lnTo>
                    <a:pt x="993008" y="829343"/>
                  </a:lnTo>
                  <a:lnTo>
                    <a:pt x="993795" y="829343"/>
                  </a:lnTo>
                  <a:lnTo>
                    <a:pt x="994188" y="828162"/>
                  </a:lnTo>
                  <a:lnTo>
                    <a:pt x="996942" y="825015"/>
                  </a:lnTo>
                  <a:lnTo>
                    <a:pt x="997336" y="826982"/>
                  </a:lnTo>
                  <a:lnTo>
                    <a:pt x="1000090" y="824228"/>
                  </a:lnTo>
                  <a:lnTo>
                    <a:pt x="998517" y="823441"/>
                  </a:lnTo>
                  <a:lnTo>
                    <a:pt x="1020548" y="795508"/>
                  </a:lnTo>
                  <a:lnTo>
                    <a:pt x="1022515" y="794328"/>
                  </a:lnTo>
                  <a:lnTo>
                    <a:pt x="1024876" y="791574"/>
                  </a:lnTo>
                  <a:lnTo>
                    <a:pt x="1026449" y="788820"/>
                  </a:lnTo>
                  <a:lnTo>
                    <a:pt x="1029203" y="788426"/>
                  </a:lnTo>
                  <a:lnTo>
                    <a:pt x="1031170" y="785672"/>
                  </a:lnTo>
                  <a:lnTo>
                    <a:pt x="1032744" y="782525"/>
                  </a:lnTo>
                  <a:lnTo>
                    <a:pt x="1034712" y="779771"/>
                  </a:lnTo>
                  <a:lnTo>
                    <a:pt x="1036679" y="777017"/>
                  </a:lnTo>
                  <a:lnTo>
                    <a:pt x="1035104" y="777410"/>
                  </a:lnTo>
                  <a:lnTo>
                    <a:pt x="1039433" y="773870"/>
                  </a:lnTo>
                  <a:lnTo>
                    <a:pt x="1040219" y="773476"/>
                  </a:lnTo>
                  <a:lnTo>
                    <a:pt x="1041006" y="772296"/>
                  </a:lnTo>
                  <a:lnTo>
                    <a:pt x="1088217" y="736494"/>
                  </a:lnTo>
                  <a:lnTo>
                    <a:pt x="1100414" y="717610"/>
                  </a:lnTo>
                  <a:lnTo>
                    <a:pt x="1101200" y="717216"/>
                  </a:lnTo>
                  <a:lnTo>
                    <a:pt x="1103954" y="714462"/>
                  </a:lnTo>
                  <a:lnTo>
                    <a:pt x="1107102" y="711708"/>
                  </a:lnTo>
                  <a:lnTo>
                    <a:pt x="1109463" y="708561"/>
                  </a:lnTo>
                  <a:lnTo>
                    <a:pt x="1111036" y="705807"/>
                  </a:lnTo>
                  <a:lnTo>
                    <a:pt x="1114184" y="703446"/>
                  </a:lnTo>
                  <a:lnTo>
                    <a:pt x="1114970" y="700692"/>
                  </a:lnTo>
                  <a:lnTo>
                    <a:pt x="1117331" y="697938"/>
                  </a:lnTo>
                  <a:lnTo>
                    <a:pt x="1118118" y="694791"/>
                  </a:lnTo>
                  <a:lnTo>
                    <a:pt x="1120479" y="691643"/>
                  </a:lnTo>
                  <a:lnTo>
                    <a:pt x="1123233" y="688889"/>
                  </a:lnTo>
                  <a:lnTo>
                    <a:pt x="1124019" y="686136"/>
                  </a:lnTo>
                  <a:lnTo>
                    <a:pt x="1125593" y="683382"/>
                  </a:lnTo>
                  <a:lnTo>
                    <a:pt x="1124413" y="680234"/>
                  </a:lnTo>
                  <a:lnTo>
                    <a:pt x="1125593" y="677874"/>
                  </a:lnTo>
                  <a:lnTo>
                    <a:pt x="1133855" y="664891"/>
                  </a:lnTo>
                  <a:lnTo>
                    <a:pt x="1135428" y="663317"/>
                  </a:lnTo>
                  <a:lnTo>
                    <a:pt x="1137395" y="660563"/>
                  </a:lnTo>
                  <a:lnTo>
                    <a:pt x="1139362" y="657415"/>
                  </a:lnTo>
                  <a:lnTo>
                    <a:pt x="1139756" y="656235"/>
                  </a:lnTo>
                  <a:lnTo>
                    <a:pt x="1141330" y="653875"/>
                  </a:lnTo>
                  <a:lnTo>
                    <a:pt x="1143691" y="651121"/>
                  </a:lnTo>
                  <a:lnTo>
                    <a:pt x="1145264" y="648367"/>
                  </a:lnTo>
                  <a:lnTo>
                    <a:pt x="1146444" y="645219"/>
                  </a:lnTo>
                  <a:lnTo>
                    <a:pt x="1148411" y="642465"/>
                  </a:lnTo>
                  <a:lnTo>
                    <a:pt x="1149592" y="639711"/>
                  </a:lnTo>
                  <a:lnTo>
                    <a:pt x="1151559" y="636564"/>
                  </a:lnTo>
                  <a:lnTo>
                    <a:pt x="1153132" y="633810"/>
                  </a:lnTo>
                  <a:lnTo>
                    <a:pt x="1153526" y="631056"/>
                  </a:lnTo>
                  <a:lnTo>
                    <a:pt x="1155887" y="627908"/>
                  </a:lnTo>
                  <a:lnTo>
                    <a:pt x="1158641" y="625548"/>
                  </a:lnTo>
                  <a:lnTo>
                    <a:pt x="1159428" y="622794"/>
                  </a:lnTo>
                  <a:lnTo>
                    <a:pt x="1162181" y="620040"/>
                  </a:lnTo>
                  <a:lnTo>
                    <a:pt x="1165329" y="617286"/>
                  </a:lnTo>
                  <a:lnTo>
                    <a:pt x="1167690" y="614532"/>
                  </a:lnTo>
                  <a:lnTo>
                    <a:pt x="1168869" y="611385"/>
                  </a:lnTo>
                  <a:lnTo>
                    <a:pt x="1170444" y="608631"/>
                  </a:lnTo>
                  <a:lnTo>
                    <a:pt x="1170050" y="605483"/>
                  </a:lnTo>
                  <a:lnTo>
                    <a:pt x="1170837" y="602729"/>
                  </a:lnTo>
                  <a:lnTo>
                    <a:pt x="1172411" y="599582"/>
                  </a:lnTo>
                  <a:lnTo>
                    <a:pt x="1173984" y="596828"/>
                  </a:lnTo>
                  <a:lnTo>
                    <a:pt x="1174771" y="594074"/>
                  </a:lnTo>
                  <a:lnTo>
                    <a:pt x="1173591" y="591320"/>
                  </a:lnTo>
                  <a:lnTo>
                    <a:pt x="1173591" y="585418"/>
                  </a:lnTo>
                  <a:lnTo>
                    <a:pt x="1173984" y="583845"/>
                  </a:lnTo>
                  <a:lnTo>
                    <a:pt x="1175165" y="581091"/>
                  </a:lnTo>
                  <a:lnTo>
                    <a:pt x="1174378" y="577943"/>
                  </a:lnTo>
                  <a:lnTo>
                    <a:pt x="1173984" y="576370"/>
                  </a:lnTo>
                  <a:lnTo>
                    <a:pt x="1173984" y="572042"/>
                  </a:lnTo>
                  <a:lnTo>
                    <a:pt x="1176738" y="554731"/>
                  </a:lnTo>
                  <a:lnTo>
                    <a:pt x="1176738" y="554731"/>
                  </a:lnTo>
                  <a:lnTo>
                    <a:pt x="1176738" y="553944"/>
                  </a:lnTo>
                  <a:lnTo>
                    <a:pt x="1178312" y="543322"/>
                  </a:lnTo>
                  <a:lnTo>
                    <a:pt x="1178312" y="542928"/>
                  </a:lnTo>
                  <a:lnTo>
                    <a:pt x="1178312" y="542928"/>
                  </a:lnTo>
                  <a:lnTo>
                    <a:pt x="1179099" y="538601"/>
                  </a:lnTo>
                  <a:lnTo>
                    <a:pt x="1179493" y="537420"/>
                  </a:lnTo>
                  <a:lnTo>
                    <a:pt x="1179886" y="534666"/>
                  </a:lnTo>
                  <a:lnTo>
                    <a:pt x="1181460" y="531519"/>
                  </a:lnTo>
                  <a:lnTo>
                    <a:pt x="1180672" y="528765"/>
                  </a:lnTo>
                  <a:lnTo>
                    <a:pt x="1182247" y="525617"/>
                  </a:lnTo>
                  <a:lnTo>
                    <a:pt x="1183820" y="522864"/>
                  </a:lnTo>
                  <a:lnTo>
                    <a:pt x="1185394" y="520110"/>
                  </a:lnTo>
                  <a:lnTo>
                    <a:pt x="1191688" y="516569"/>
                  </a:lnTo>
                  <a:close/>
                  <a:moveTo>
                    <a:pt x="37376" y="522864"/>
                  </a:moveTo>
                  <a:lnTo>
                    <a:pt x="37768" y="520110"/>
                  </a:lnTo>
                  <a:lnTo>
                    <a:pt x="38162" y="518929"/>
                  </a:lnTo>
                  <a:lnTo>
                    <a:pt x="37376" y="523650"/>
                  </a:lnTo>
                  <a:lnTo>
                    <a:pt x="37376" y="522864"/>
                  </a:lnTo>
                  <a:close/>
                  <a:moveTo>
                    <a:pt x="666464" y="744363"/>
                  </a:moveTo>
                  <a:lnTo>
                    <a:pt x="669218" y="741609"/>
                  </a:lnTo>
                  <a:lnTo>
                    <a:pt x="666464" y="746330"/>
                  </a:lnTo>
                  <a:lnTo>
                    <a:pt x="666464" y="74436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11" name="Freeform: Shape 2505">
              <a:extLst>
                <a:ext uri="{FF2B5EF4-FFF2-40B4-BE49-F238E27FC236}">
                  <a16:creationId xmlns:a16="http://schemas.microsoft.com/office/drawing/2014/main" id="{420739E5-0657-470B-9FEF-822AA1D1EDD7}"/>
                </a:ext>
              </a:extLst>
            </p:cNvPr>
            <p:cNvSpPr/>
            <p:nvPr/>
          </p:nvSpPr>
          <p:spPr>
            <a:xfrm>
              <a:off x="3716950" y="1248280"/>
              <a:ext cx="11803" cy="3934"/>
            </a:xfrm>
            <a:custGeom>
              <a:avLst/>
              <a:gdLst>
                <a:gd name="connsiteX0" fmla="*/ 6295 w 11802"/>
                <a:gd name="connsiteY0" fmla="*/ 2361 h 3934"/>
                <a:gd name="connsiteX1" fmla="*/ 3147 w 11802"/>
                <a:gd name="connsiteY1" fmla="*/ 3147 h 3934"/>
                <a:gd name="connsiteX2" fmla="*/ 0 w 11802"/>
                <a:gd name="connsiteY2" fmla="*/ 5508 h 3934"/>
                <a:gd name="connsiteX3" fmla="*/ 3147 w 11802"/>
                <a:gd name="connsiteY3" fmla="*/ 4721 h 3934"/>
                <a:gd name="connsiteX4" fmla="*/ 5901 w 11802"/>
                <a:gd name="connsiteY4" fmla="*/ 3541 h 3934"/>
                <a:gd name="connsiteX5" fmla="*/ 9442 w 11802"/>
                <a:gd name="connsiteY5" fmla="*/ 2361 h 3934"/>
                <a:gd name="connsiteX6" fmla="*/ 12196 w 11802"/>
                <a:gd name="connsiteY6" fmla="*/ 393 h 3934"/>
                <a:gd name="connsiteX7" fmla="*/ 12196 w 11802"/>
                <a:gd name="connsiteY7" fmla="*/ 0 h 3934"/>
                <a:gd name="connsiteX8" fmla="*/ 9049 w 11802"/>
                <a:gd name="connsiteY8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 h="3934">
                  <a:moveTo>
                    <a:pt x="6295" y="2361"/>
                  </a:moveTo>
                  <a:lnTo>
                    <a:pt x="3147" y="3147"/>
                  </a:lnTo>
                  <a:lnTo>
                    <a:pt x="0" y="5508"/>
                  </a:lnTo>
                  <a:lnTo>
                    <a:pt x="3147" y="4721"/>
                  </a:lnTo>
                  <a:lnTo>
                    <a:pt x="5901" y="3541"/>
                  </a:lnTo>
                  <a:lnTo>
                    <a:pt x="9442" y="2361"/>
                  </a:lnTo>
                  <a:lnTo>
                    <a:pt x="12196" y="393"/>
                  </a:lnTo>
                  <a:lnTo>
                    <a:pt x="12196" y="0"/>
                  </a:lnTo>
                  <a:lnTo>
                    <a:pt x="9049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12" name="Freeform: Shape 2506">
              <a:extLst>
                <a:ext uri="{FF2B5EF4-FFF2-40B4-BE49-F238E27FC236}">
                  <a16:creationId xmlns:a16="http://schemas.microsoft.com/office/drawing/2014/main" id="{99184544-DB23-4C6C-9247-346F3400DC88}"/>
                </a:ext>
              </a:extLst>
            </p:cNvPr>
            <p:cNvSpPr/>
            <p:nvPr/>
          </p:nvSpPr>
          <p:spPr>
            <a:xfrm>
              <a:off x="3693738" y="1248673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393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393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13" name="Freeform: Shape 2507">
              <a:extLst>
                <a:ext uri="{FF2B5EF4-FFF2-40B4-BE49-F238E27FC236}">
                  <a16:creationId xmlns:a16="http://schemas.microsoft.com/office/drawing/2014/main" id="{E5C4E425-C367-4F3B-8791-423270ED53A7}"/>
                </a:ext>
              </a:extLst>
            </p:cNvPr>
            <p:cNvSpPr/>
            <p:nvPr/>
          </p:nvSpPr>
          <p:spPr>
            <a:xfrm>
              <a:off x="3373882" y="1391487"/>
              <a:ext cx="3934" cy="3934"/>
            </a:xfrm>
            <a:custGeom>
              <a:avLst/>
              <a:gdLst>
                <a:gd name="connsiteX0" fmla="*/ 6295 w 3934"/>
                <a:gd name="connsiteY0" fmla="*/ 1574 h 0"/>
                <a:gd name="connsiteX1" fmla="*/ 5901 w 3934"/>
                <a:gd name="connsiteY1" fmla="*/ 0 h 0"/>
                <a:gd name="connsiteX2" fmla="*/ 2754 w 3934"/>
                <a:gd name="connsiteY2" fmla="*/ 1574 h 0"/>
                <a:gd name="connsiteX3" fmla="*/ 0 w 3934"/>
                <a:gd name="connsiteY3" fmla="*/ 3147 h 0"/>
                <a:gd name="connsiteX4" fmla="*/ 3148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1574"/>
                  </a:moveTo>
                  <a:lnTo>
                    <a:pt x="5901" y="0"/>
                  </a:lnTo>
                  <a:lnTo>
                    <a:pt x="2754" y="1574"/>
                  </a:lnTo>
                  <a:lnTo>
                    <a:pt x="0" y="3147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14" name="Freeform: Shape 2508">
              <a:extLst>
                <a:ext uri="{FF2B5EF4-FFF2-40B4-BE49-F238E27FC236}">
                  <a16:creationId xmlns:a16="http://schemas.microsoft.com/office/drawing/2014/main" id="{33A956B2-520B-4F9F-899A-A5F1300E4BD3}"/>
                </a:ext>
              </a:extLst>
            </p:cNvPr>
            <p:cNvSpPr/>
            <p:nvPr/>
          </p:nvSpPr>
          <p:spPr>
            <a:xfrm>
              <a:off x="2923016" y="1394634"/>
              <a:ext cx="3934" cy="3934"/>
            </a:xfrm>
            <a:custGeom>
              <a:avLst/>
              <a:gdLst>
                <a:gd name="connsiteX0" fmla="*/ 5901 w 3934"/>
                <a:gd name="connsiteY0" fmla="*/ 1967 h 0"/>
                <a:gd name="connsiteX1" fmla="*/ 3147 w 3934"/>
                <a:gd name="connsiteY1" fmla="*/ 787 h 0"/>
                <a:gd name="connsiteX2" fmla="*/ 0 w 3934"/>
                <a:gd name="connsiteY2" fmla="*/ 0 h 0"/>
                <a:gd name="connsiteX3" fmla="*/ 7082 w 3934"/>
                <a:gd name="connsiteY3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1967"/>
                  </a:moveTo>
                  <a:lnTo>
                    <a:pt x="3147" y="787"/>
                  </a:lnTo>
                  <a:lnTo>
                    <a:pt x="0" y="0"/>
                  </a:lnTo>
                  <a:lnTo>
                    <a:pt x="7082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15" name="Freeform: Shape 2509">
              <a:extLst>
                <a:ext uri="{FF2B5EF4-FFF2-40B4-BE49-F238E27FC236}">
                  <a16:creationId xmlns:a16="http://schemas.microsoft.com/office/drawing/2014/main" id="{B48B96FE-EC77-4882-8657-4B650CF3626A}"/>
                </a:ext>
              </a:extLst>
            </p:cNvPr>
            <p:cNvSpPr/>
            <p:nvPr/>
          </p:nvSpPr>
          <p:spPr>
            <a:xfrm>
              <a:off x="2611422" y="1407618"/>
              <a:ext cx="3934" cy="3934"/>
            </a:xfrm>
            <a:custGeom>
              <a:avLst/>
              <a:gdLst>
                <a:gd name="connsiteX0" fmla="*/ 5508 w 3934"/>
                <a:gd name="connsiteY0" fmla="*/ 0 h 0"/>
                <a:gd name="connsiteX1" fmla="*/ 2754 w 3934"/>
                <a:gd name="connsiteY1" fmla="*/ 1180 h 0"/>
                <a:gd name="connsiteX2" fmla="*/ 0 w 3934"/>
                <a:gd name="connsiteY2" fmla="*/ 2361 h 0"/>
                <a:gd name="connsiteX3" fmla="*/ 6688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508" y="0"/>
                  </a:moveTo>
                  <a:lnTo>
                    <a:pt x="2754" y="1180"/>
                  </a:lnTo>
                  <a:lnTo>
                    <a:pt x="0" y="2361"/>
                  </a:lnTo>
                  <a:lnTo>
                    <a:pt x="668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16" name="Freeform: Shape 2510">
              <a:extLst>
                <a:ext uri="{FF2B5EF4-FFF2-40B4-BE49-F238E27FC236}">
                  <a16:creationId xmlns:a16="http://schemas.microsoft.com/office/drawing/2014/main" id="{ADD22482-812D-4493-A1FA-AD7C22D1198F}"/>
                </a:ext>
              </a:extLst>
            </p:cNvPr>
            <p:cNvSpPr/>
            <p:nvPr/>
          </p:nvSpPr>
          <p:spPr>
            <a:xfrm>
              <a:off x="2618897" y="1402896"/>
              <a:ext cx="11803" cy="3934"/>
            </a:xfrm>
            <a:custGeom>
              <a:avLst/>
              <a:gdLst>
                <a:gd name="connsiteX0" fmla="*/ 12196 w 11802"/>
                <a:gd name="connsiteY0" fmla="*/ 393 h 3934"/>
                <a:gd name="connsiteX1" fmla="*/ 9049 w 11802"/>
                <a:gd name="connsiteY1" fmla="*/ 1180 h 3934"/>
                <a:gd name="connsiteX2" fmla="*/ 5508 w 11802"/>
                <a:gd name="connsiteY2" fmla="*/ 2361 h 3934"/>
                <a:gd name="connsiteX3" fmla="*/ 2754 w 11802"/>
                <a:gd name="connsiteY3" fmla="*/ 3147 h 3934"/>
                <a:gd name="connsiteX4" fmla="*/ 0 w 11802"/>
                <a:gd name="connsiteY4" fmla="*/ 4328 h 3934"/>
                <a:gd name="connsiteX5" fmla="*/ 14557 w 11802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02" h="3934">
                  <a:moveTo>
                    <a:pt x="12196" y="393"/>
                  </a:moveTo>
                  <a:lnTo>
                    <a:pt x="9049" y="1180"/>
                  </a:lnTo>
                  <a:lnTo>
                    <a:pt x="5508" y="2361"/>
                  </a:lnTo>
                  <a:lnTo>
                    <a:pt x="2754" y="3147"/>
                  </a:lnTo>
                  <a:lnTo>
                    <a:pt x="0" y="4328"/>
                  </a:lnTo>
                  <a:lnTo>
                    <a:pt x="1455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17" name="Freeform: Shape 2511">
              <a:extLst>
                <a:ext uri="{FF2B5EF4-FFF2-40B4-BE49-F238E27FC236}">
                  <a16:creationId xmlns:a16="http://schemas.microsoft.com/office/drawing/2014/main" id="{B8555E1D-BBC1-4563-AF46-F377D9735368}"/>
                </a:ext>
              </a:extLst>
            </p:cNvPr>
            <p:cNvSpPr/>
            <p:nvPr/>
          </p:nvSpPr>
          <p:spPr>
            <a:xfrm>
              <a:off x="2633454" y="1402503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393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393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18" name="Freeform: Shape 2512">
              <a:extLst>
                <a:ext uri="{FF2B5EF4-FFF2-40B4-BE49-F238E27FC236}">
                  <a16:creationId xmlns:a16="http://schemas.microsoft.com/office/drawing/2014/main" id="{53CDAFCA-5CCA-4A7C-AD3D-FAF34834653D}"/>
                </a:ext>
              </a:extLst>
            </p:cNvPr>
            <p:cNvSpPr/>
            <p:nvPr/>
          </p:nvSpPr>
          <p:spPr>
            <a:xfrm>
              <a:off x="4382628" y="1131432"/>
              <a:ext cx="15737" cy="3934"/>
            </a:xfrm>
            <a:custGeom>
              <a:avLst/>
              <a:gdLst>
                <a:gd name="connsiteX0" fmla="*/ 6295 w 15737"/>
                <a:gd name="connsiteY0" fmla="*/ 787 h 0"/>
                <a:gd name="connsiteX1" fmla="*/ 9442 w 15737"/>
                <a:gd name="connsiteY1" fmla="*/ 1180 h 0"/>
                <a:gd name="connsiteX2" fmla="*/ 12590 w 15737"/>
                <a:gd name="connsiteY2" fmla="*/ 1574 h 0"/>
                <a:gd name="connsiteX3" fmla="*/ 16130 w 15737"/>
                <a:gd name="connsiteY3" fmla="*/ 1574 h 0"/>
                <a:gd name="connsiteX4" fmla="*/ 19278 w 15737"/>
                <a:gd name="connsiteY4" fmla="*/ 1180 h 0"/>
                <a:gd name="connsiteX5" fmla="*/ 18884 w 15737"/>
                <a:gd name="connsiteY5" fmla="*/ 0 h 0"/>
                <a:gd name="connsiteX6" fmla="*/ 16130 w 15737"/>
                <a:gd name="connsiteY6" fmla="*/ 0 h 0"/>
                <a:gd name="connsiteX7" fmla="*/ 3147 w 15737"/>
                <a:gd name="connsiteY7" fmla="*/ 0 h 0"/>
                <a:gd name="connsiteX8" fmla="*/ 0 w 15737"/>
                <a:gd name="connsiteY8" fmla="*/ 0 h 0"/>
                <a:gd name="connsiteX9" fmla="*/ 3147 w 15737"/>
                <a:gd name="connsiteY9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37">
                  <a:moveTo>
                    <a:pt x="6295" y="787"/>
                  </a:moveTo>
                  <a:lnTo>
                    <a:pt x="9442" y="1180"/>
                  </a:lnTo>
                  <a:lnTo>
                    <a:pt x="12590" y="1574"/>
                  </a:lnTo>
                  <a:lnTo>
                    <a:pt x="16130" y="1574"/>
                  </a:lnTo>
                  <a:lnTo>
                    <a:pt x="19278" y="1180"/>
                  </a:lnTo>
                  <a:lnTo>
                    <a:pt x="18884" y="0"/>
                  </a:lnTo>
                  <a:lnTo>
                    <a:pt x="16130" y="0"/>
                  </a:lnTo>
                  <a:lnTo>
                    <a:pt x="3147" y="0"/>
                  </a:lnTo>
                  <a:lnTo>
                    <a:pt x="0" y="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19" name="Freeform: Shape 2513">
              <a:extLst>
                <a:ext uri="{FF2B5EF4-FFF2-40B4-BE49-F238E27FC236}">
                  <a16:creationId xmlns:a16="http://schemas.microsoft.com/office/drawing/2014/main" id="{F3001719-AFD5-4B2A-BB2A-D7FA877ED50E}"/>
                </a:ext>
              </a:extLst>
            </p:cNvPr>
            <p:cNvSpPr/>
            <p:nvPr/>
          </p:nvSpPr>
          <p:spPr>
            <a:xfrm>
              <a:off x="3437617" y="1404077"/>
              <a:ext cx="3934" cy="3934"/>
            </a:xfrm>
            <a:custGeom>
              <a:avLst/>
              <a:gdLst>
                <a:gd name="connsiteX0" fmla="*/ 5901 w 3934"/>
                <a:gd name="connsiteY0" fmla="*/ 0 h 0"/>
                <a:gd name="connsiteX1" fmla="*/ 2754 w 3934"/>
                <a:gd name="connsiteY1" fmla="*/ 393 h 0"/>
                <a:gd name="connsiteX2" fmla="*/ 0 w 3934"/>
                <a:gd name="connsiteY2" fmla="*/ 1180 h 0"/>
                <a:gd name="connsiteX3" fmla="*/ 2754 w 3934"/>
                <a:gd name="connsiteY3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0"/>
                  </a:moveTo>
                  <a:lnTo>
                    <a:pt x="2754" y="393"/>
                  </a:lnTo>
                  <a:lnTo>
                    <a:pt x="0" y="1180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20" name="Freeform: Shape 2514">
              <a:extLst>
                <a:ext uri="{FF2B5EF4-FFF2-40B4-BE49-F238E27FC236}">
                  <a16:creationId xmlns:a16="http://schemas.microsoft.com/office/drawing/2014/main" id="{4C197745-6D94-4422-B4DB-84976F28BDD8}"/>
                </a:ext>
              </a:extLst>
            </p:cNvPr>
            <p:cNvSpPr/>
            <p:nvPr/>
          </p:nvSpPr>
          <p:spPr>
            <a:xfrm>
              <a:off x="3477354" y="1284475"/>
              <a:ext cx="275399" cy="94422"/>
            </a:xfrm>
            <a:custGeom>
              <a:avLst/>
              <a:gdLst>
                <a:gd name="connsiteX0" fmla="*/ 5901 w 275398"/>
                <a:gd name="connsiteY0" fmla="*/ 70423 h 94422"/>
                <a:gd name="connsiteX1" fmla="*/ 9049 w 275398"/>
                <a:gd name="connsiteY1" fmla="*/ 70423 h 94422"/>
                <a:gd name="connsiteX2" fmla="*/ 15343 w 275398"/>
                <a:gd name="connsiteY2" fmla="*/ 70423 h 94422"/>
                <a:gd name="connsiteX3" fmla="*/ 18098 w 275398"/>
                <a:gd name="connsiteY3" fmla="*/ 70817 h 94422"/>
                <a:gd name="connsiteX4" fmla="*/ 15343 w 275398"/>
                <a:gd name="connsiteY4" fmla="*/ 71997 h 94422"/>
                <a:gd name="connsiteX5" fmla="*/ 18098 w 275398"/>
                <a:gd name="connsiteY5" fmla="*/ 73964 h 94422"/>
                <a:gd name="connsiteX6" fmla="*/ 20852 w 275398"/>
                <a:gd name="connsiteY6" fmla="*/ 75538 h 94422"/>
                <a:gd name="connsiteX7" fmla="*/ 23999 w 275398"/>
                <a:gd name="connsiteY7" fmla="*/ 76325 h 94422"/>
                <a:gd name="connsiteX8" fmla="*/ 27146 w 275398"/>
                <a:gd name="connsiteY8" fmla="*/ 77112 h 94422"/>
                <a:gd name="connsiteX9" fmla="*/ 29900 w 275398"/>
                <a:gd name="connsiteY9" fmla="*/ 79472 h 94422"/>
                <a:gd name="connsiteX10" fmla="*/ 28720 w 275398"/>
                <a:gd name="connsiteY10" fmla="*/ 82226 h 94422"/>
                <a:gd name="connsiteX11" fmla="*/ 29507 w 275398"/>
                <a:gd name="connsiteY11" fmla="*/ 84980 h 94422"/>
                <a:gd name="connsiteX12" fmla="*/ 27540 w 275398"/>
                <a:gd name="connsiteY12" fmla="*/ 88127 h 94422"/>
                <a:gd name="connsiteX13" fmla="*/ 25573 w 275398"/>
                <a:gd name="connsiteY13" fmla="*/ 90881 h 94422"/>
                <a:gd name="connsiteX14" fmla="*/ 25573 w 275398"/>
                <a:gd name="connsiteY14" fmla="*/ 93635 h 94422"/>
                <a:gd name="connsiteX15" fmla="*/ 28327 w 275398"/>
                <a:gd name="connsiteY15" fmla="*/ 95209 h 94422"/>
                <a:gd name="connsiteX16" fmla="*/ 31867 w 275398"/>
                <a:gd name="connsiteY16" fmla="*/ 94816 h 94422"/>
                <a:gd name="connsiteX17" fmla="*/ 34621 w 275398"/>
                <a:gd name="connsiteY17" fmla="*/ 94816 h 94422"/>
                <a:gd name="connsiteX18" fmla="*/ 40523 w 275398"/>
                <a:gd name="connsiteY18" fmla="*/ 92849 h 94422"/>
                <a:gd name="connsiteX19" fmla="*/ 43277 w 275398"/>
                <a:gd name="connsiteY19" fmla="*/ 92062 h 94422"/>
                <a:gd name="connsiteX20" fmla="*/ 46424 w 275398"/>
                <a:gd name="connsiteY20" fmla="*/ 91275 h 94422"/>
                <a:gd name="connsiteX21" fmla="*/ 49178 w 275398"/>
                <a:gd name="connsiteY21" fmla="*/ 90881 h 94422"/>
                <a:gd name="connsiteX22" fmla="*/ 52326 w 275398"/>
                <a:gd name="connsiteY22" fmla="*/ 90488 h 94422"/>
                <a:gd name="connsiteX23" fmla="*/ 55080 w 275398"/>
                <a:gd name="connsiteY23" fmla="*/ 89701 h 94422"/>
                <a:gd name="connsiteX24" fmla="*/ 57833 w 275398"/>
                <a:gd name="connsiteY24" fmla="*/ 88914 h 94422"/>
                <a:gd name="connsiteX25" fmla="*/ 60981 w 275398"/>
                <a:gd name="connsiteY25" fmla="*/ 87734 h 94422"/>
                <a:gd name="connsiteX26" fmla="*/ 63735 w 275398"/>
                <a:gd name="connsiteY26" fmla="*/ 86554 h 94422"/>
                <a:gd name="connsiteX27" fmla="*/ 66882 w 275398"/>
                <a:gd name="connsiteY27" fmla="*/ 85374 h 94422"/>
                <a:gd name="connsiteX28" fmla="*/ 70030 w 275398"/>
                <a:gd name="connsiteY28" fmla="*/ 84587 h 94422"/>
                <a:gd name="connsiteX29" fmla="*/ 72784 w 275398"/>
                <a:gd name="connsiteY29" fmla="*/ 86554 h 94422"/>
                <a:gd name="connsiteX30" fmla="*/ 75931 w 275398"/>
                <a:gd name="connsiteY30" fmla="*/ 86554 h 94422"/>
                <a:gd name="connsiteX31" fmla="*/ 79079 w 275398"/>
                <a:gd name="connsiteY31" fmla="*/ 86160 h 94422"/>
                <a:gd name="connsiteX32" fmla="*/ 82226 w 275398"/>
                <a:gd name="connsiteY32" fmla="*/ 85767 h 94422"/>
                <a:gd name="connsiteX33" fmla="*/ 85373 w 275398"/>
                <a:gd name="connsiteY33" fmla="*/ 85374 h 94422"/>
                <a:gd name="connsiteX34" fmla="*/ 88521 w 275398"/>
                <a:gd name="connsiteY34" fmla="*/ 84587 h 94422"/>
                <a:gd name="connsiteX35" fmla="*/ 91275 w 275398"/>
                <a:gd name="connsiteY35" fmla="*/ 84193 h 94422"/>
                <a:gd name="connsiteX36" fmla="*/ 94029 w 275398"/>
                <a:gd name="connsiteY36" fmla="*/ 83800 h 94422"/>
                <a:gd name="connsiteX37" fmla="*/ 97176 w 275398"/>
                <a:gd name="connsiteY37" fmla="*/ 82620 h 94422"/>
                <a:gd name="connsiteX38" fmla="*/ 100324 w 275398"/>
                <a:gd name="connsiteY38" fmla="*/ 81833 h 94422"/>
                <a:gd name="connsiteX39" fmla="*/ 106225 w 275398"/>
                <a:gd name="connsiteY39" fmla="*/ 78292 h 94422"/>
                <a:gd name="connsiteX40" fmla="*/ 109373 w 275398"/>
                <a:gd name="connsiteY40" fmla="*/ 75538 h 94422"/>
                <a:gd name="connsiteX41" fmla="*/ 112520 w 275398"/>
                <a:gd name="connsiteY41" fmla="*/ 73571 h 94422"/>
                <a:gd name="connsiteX42" fmla="*/ 115274 w 275398"/>
                <a:gd name="connsiteY42" fmla="*/ 70423 h 94422"/>
                <a:gd name="connsiteX43" fmla="*/ 118028 w 275398"/>
                <a:gd name="connsiteY43" fmla="*/ 69636 h 94422"/>
                <a:gd name="connsiteX44" fmla="*/ 124323 w 275398"/>
                <a:gd name="connsiteY44" fmla="*/ 67669 h 94422"/>
                <a:gd name="connsiteX45" fmla="*/ 127077 w 275398"/>
                <a:gd name="connsiteY45" fmla="*/ 65702 h 94422"/>
                <a:gd name="connsiteX46" fmla="*/ 130224 w 275398"/>
                <a:gd name="connsiteY46" fmla="*/ 63342 h 94422"/>
                <a:gd name="connsiteX47" fmla="*/ 133371 w 275398"/>
                <a:gd name="connsiteY47" fmla="*/ 63342 h 94422"/>
                <a:gd name="connsiteX48" fmla="*/ 136125 w 275398"/>
                <a:gd name="connsiteY48" fmla="*/ 63342 h 94422"/>
                <a:gd name="connsiteX49" fmla="*/ 139273 w 275398"/>
                <a:gd name="connsiteY49" fmla="*/ 62948 h 94422"/>
                <a:gd name="connsiteX50" fmla="*/ 142420 w 275398"/>
                <a:gd name="connsiteY50" fmla="*/ 62161 h 94422"/>
                <a:gd name="connsiteX51" fmla="*/ 145174 w 275398"/>
                <a:gd name="connsiteY51" fmla="*/ 61375 h 94422"/>
                <a:gd name="connsiteX52" fmla="*/ 148322 w 275398"/>
                <a:gd name="connsiteY52" fmla="*/ 60588 h 94422"/>
                <a:gd name="connsiteX53" fmla="*/ 151076 w 275398"/>
                <a:gd name="connsiteY53" fmla="*/ 60194 h 94422"/>
                <a:gd name="connsiteX54" fmla="*/ 153436 w 275398"/>
                <a:gd name="connsiteY54" fmla="*/ 58621 h 94422"/>
                <a:gd name="connsiteX55" fmla="*/ 263596 w 275398"/>
                <a:gd name="connsiteY55" fmla="*/ 31868 h 94422"/>
                <a:gd name="connsiteX56" fmla="*/ 265563 w 275398"/>
                <a:gd name="connsiteY56" fmla="*/ 31474 h 94422"/>
                <a:gd name="connsiteX57" fmla="*/ 267923 w 275398"/>
                <a:gd name="connsiteY57" fmla="*/ 30687 h 94422"/>
                <a:gd name="connsiteX58" fmla="*/ 274218 w 275398"/>
                <a:gd name="connsiteY58" fmla="*/ 29114 h 94422"/>
                <a:gd name="connsiteX59" fmla="*/ 276185 w 275398"/>
                <a:gd name="connsiteY59" fmla="*/ 26753 h 94422"/>
                <a:gd name="connsiteX60" fmla="*/ 275399 w 275398"/>
                <a:gd name="connsiteY60" fmla="*/ 23999 h 94422"/>
                <a:gd name="connsiteX61" fmla="*/ 272251 w 275398"/>
                <a:gd name="connsiteY61" fmla="*/ 22819 h 94422"/>
                <a:gd name="connsiteX62" fmla="*/ 270284 w 275398"/>
                <a:gd name="connsiteY62" fmla="*/ 20065 h 94422"/>
                <a:gd name="connsiteX63" fmla="*/ 267530 w 275398"/>
                <a:gd name="connsiteY63" fmla="*/ 18098 h 94422"/>
                <a:gd name="connsiteX64" fmla="*/ 265956 w 275398"/>
                <a:gd name="connsiteY64" fmla="*/ 14950 h 94422"/>
                <a:gd name="connsiteX65" fmla="*/ 263596 w 275398"/>
                <a:gd name="connsiteY65" fmla="*/ 11803 h 94422"/>
                <a:gd name="connsiteX66" fmla="*/ 260448 w 275398"/>
                <a:gd name="connsiteY66" fmla="*/ 9836 h 94422"/>
                <a:gd name="connsiteX67" fmla="*/ 257694 w 275398"/>
                <a:gd name="connsiteY67" fmla="*/ 8655 h 94422"/>
                <a:gd name="connsiteX68" fmla="*/ 254547 w 275398"/>
                <a:gd name="connsiteY68" fmla="*/ 8262 h 94422"/>
                <a:gd name="connsiteX69" fmla="*/ 254153 w 275398"/>
                <a:gd name="connsiteY69" fmla="*/ 8262 h 94422"/>
                <a:gd name="connsiteX70" fmla="*/ 251006 w 275398"/>
                <a:gd name="connsiteY70" fmla="*/ 7869 h 94422"/>
                <a:gd name="connsiteX71" fmla="*/ 247859 w 275398"/>
                <a:gd name="connsiteY71" fmla="*/ 7475 h 94422"/>
                <a:gd name="connsiteX72" fmla="*/ 244711 w 275398"/>
                <a:gd name="connsiteY72" fmla="*/ 7475 h 94422"/>
                <a:gd name="connsiteX73" fmla="*/ 241564 w 275398"/>
                <a:gd name="connsiteY73" fmla="*/ 7869 h 94422"/>
                <a:gd name="connsiteX74" fmla="*/ 238810 w 275398"/>
                <a:gd name="connsiteY74" fmla="*/ 8262 h 94422"/>
                <a:gd name="connsiteX75" fmla="*/ 235662 w 275398"/>
                <a:gd name="connsiteY75" fmla="*/ 8655 h 94422"/>
                <a:gd name="connsiteX76" fmla="*/ 232908 w 275398"/>
                <a:gd name="connsiteY76" fmla="*/ 8655 h 94422"/>
                <a:gd name="connsiteX77" fmla="*/ 229761 w 275398"/>
                <a:gd name="connsiteY77" fmla="*/ 9442 h 94422"/>
                <a:gd name="connsiteX78" fmla="*/ 226220 w 275398"/>
                <a:gd name="connsiteY78" fmla="*/ 11409 h 94422"/>
                <a:gd name="connsiteX79" fmla="*/ 219138 w 275398"/>
                <a:gd name="connsiteY79" fmla="*/ 12590 h 94422"/>
                <a:gd name="connsiteX80" fmla="*/ 220319 w 275398"/>
                <a:gd name="connsiteY80" fmla="*/ 11803 h 94422"/>
                <a:gd name="connsiteX81" fmla="*/ 221892 w 275398"/>
                <a:gd name="connsiteY81" fmla="*/ 9049 h 94422"/>
                <a:gd name="connsiteX82" fmla="*/ 218745 w 275398"/>
                <a:gd name="connsiteY82" fmla="*/ 9049 h 94422"/>
                <a:gd name="connsiteX83" fmla="*/ 215598 w 275398"/>
                <a:gd name="connsiteY83" fmla="*/ 8655 h 94422"/>
                <a:gd name="connsiteX84" fmla="*/ 212844 w 275398"/>
                <a:gd name="connsiteY84" fmla="*/ 9836 h 94422"/>
                <a:gd name="connsiteX85" fmla="*/ 209696 w 275398"/>
                <a:gd name="connsiteY85" fmla="*/ 11409 h 94422"/>
                <a:gd name="connsiteX86" fmla="*/ 206549 w 275398"/>
                <a:gd name="connsiteY86" fmla="*/ 11803 h 94422"/>
                <a:gd name="connsiteX87" fmla="*/ 203401 w 275398"/>
                <a:gd name="connsiteY87" fmla="*/ 14163 h 94422"/>
                <a:gd name="connsiteX88" fmla="*/ 205368 w 275398"/>
                <a:gd name="connsiteY88" fmla="*/ 11803 h 94422"/>
                <a:gd name="connsiteX89" fmla="*/ 208516 w 275398"/>
                <a:gd name="connsiteY89" fmla="*/ 11016 h 94422"/>
                <a:gd name="connsiteX90" fmla="*/ 211663 w 275398"/>
                <a:gd name="connsiteY90" fmla="*/ 9836 h 94422"/>
                <a:gd name="connsiteX91" fmla="*/ 214417 w 275398"/>
                <a:gd name="connsiteY91" fmla="*/ 8655 h 94422"/>
                <a:gd name="connsiteX92" fmla="*/ 211270 w 275398"/>
                <a:gd name="connsiteY92" fmla="*/ 8655 h 94422"/>
                <a:gd name="connsiteX93" fmla="*/ 208122 w 275398"/>
                <a:gd name="connsiteY93" fmla="*/ 7869 h 94422"/>
                <a:gd name="connsiteX94" fmla="*/ 206942 w 275398"/>
                <a:gd name="connsiteY94" fmla="*/ 7869 h 94422"/>
                <a:gd name="connsiteX95" fmla="*/ 206155 w 275398"/>
                <a:gd name="connsiteY95" fmla="*/ 7869 h 94422"/>
                <a:gd name="connsiteX96" fmla="*/ 203401 w 275398"/>
                <a:gd name="connsiteY96" fmla="*/ 7475 h 94422"/>
                <a:gd name="connsiteX97" fmla="*/ 200254 w 275398"/>
                <a:gd name="connsiteY97" fmla="*/ 6295 h 94422"/>
                <a:gd name="connsiteX98" fmla="*/ 197500 w 275398"/>
                <a:gd name="connsiteY98" fmla="*/ 5115 h 94422"/>
                <a:gd name="connsiteX99" fmla="*/ 194353 w 275398"/>
                <a:gd name="connsiteY99" fmla="*/ 3934 h 94422"/>
                <a:gd name="connsiteX100" fmla="*/ 191598 w 275398"/>
                <a:gd name="connsiteY100" fmla="*/ 1180 h 94422"/>
                <a:gd name="connsiteX101" fmla="*/ 188451 w 275398"/>
                <a:gd name="connsiteY101" fmla="*/ 787 h 94422"/>
                <a:gd name="connsiteX102" fmla="*/ 185304 w 275398"/>
                <a:gd name="connsiteY102" fmla="*/ 0 h 94422"/>
                <a:gd name="connsiteX103" fmla="*/ 182156 w 275398"/>
                <a:gd name="connsiteY103" fmla="*/ 0 h 94422"/>
                <a:gd name="connsiteX104" fmla="*/ 179009 w 275398"/>
                <a:gd name="connsiteY104" fmla="*/ 787 h 94422"/>
                <a:gd name="connsiteX105" fmla="*/ 176255 w 275398"/>
                <a:gd name="connsiteY105" fmla="*/ 787 h 94422"/>
                <a:gd name="connsiteX106" fmla="*/ 173108 w 275398"/>
                <a:gd name="connsiteY106" fmla="*/ 1574 h 94422"/>
                <a:gd name="connsiteX107" fmla="*/ 169960 w 275398"/>
                <a:gd name="connsiteY107" fmla="*/ 1574 h 94422"/>
                <a:gd name="connsiteX108" fmla="*/ 167206 w 275398"/>
                <a:gd name="connsiteY108" fmla="*/ 1967 h 94422"/>
                <a:gd name="connsiteX109" fmla="*/ 164059 w 275398"/>
                <a:gd name="connsiteY109" fmla="*/ 2361 h 94422"/>
                <a:gd name="connsiteX110" fmla="*/ 160911 w 275398"/>
                <a:gd name="connsiteY110" fmla="*/ 2754 h 94422"/>
                <a:gd name="connsiteX111" fmla="*/ 157371 w 275398"/>
                <a:gd name="connsiteY111" fmla="*/ 2754 h 94422"/>
                <a:gd name="connsiteX112" fmla="*/ 154223 w 275398"/>
                <a:gd name="connsiteY112" fmla="*/ 2754 h 94422"/>
                <a:gd name="connsiteX113" fmla="*/ 147535 w 275398"/>
                <a:gd name="connsiteY113" fmla="*/ 2754 h 94422"/>
                <a:gd name="connsiteX114" fmla="*/ 144387 w 275398"/>
                <a:gd name="connsiteY114" fmla="*/ 3147 h 94422"/>
                <a:gd name="connsiteX115" fmla="*/ 141240 w 275398"/>
                <a:gd name="connsiteY115" fmla="*/ 3541 h 94422"/>
                <a:gd name="connsiteX116" fmla="*/ 138486 w 275398"/>
                <a:gd name="connsiteY116" fmla="*/ 3541 h 94422"/>
                <a:gd name="connsiteX117" fmla="*/ 135339 w 275398"/>
                <a:gd name="connsiteY117" fmla="*/ 3934 h 94422"/>
                <a:gd name="connsiteX118" fmla="*/ 132191 w 275398"/>
                <a:gd name="connsiteY118" fmla="*/ 3934 h 94422"/>
                <a:gd name="connsiteX119" fmla="*/ 128650 w 275398"/>
                <a:gd name="connsiteY119" fmla="*/ 3934 h 94422"/>
                <a:gd name="connsiteX120" fmla="*/ 125896 w 275398"/>
                <a:gd name="connsiteY120" fmla="*/ 4721 h 94422"/>
                <a:gd name="connsiteX121" fmla="*/ 123142 w 275398"/>
                <a:gd name="connsiteY121" fmla="*/ 4721 h 94422"/>
                <a:gd name="connsiteX122" fmla="*/ 119601 w 275398"/>
                <a:gd name="connsiteY122" fmla="*/ 4721 h 94422"/>
                <a:gd name="connsiteX123" fmla="*/ 116454 w 275398"/>
                <a:gd name="connsiteY123" fmla="*/ 5115 h 94422"/>
                <a:gd name="connsiteX124" fmla="*/ 113700 w 275398"/>
                <a:gd name="connsiteY124" fmla="*/ 7475 h 94422"/>
                <a:gd name="connsiteX125" fmla="*/ 111340 w 275398"/>
                <a:gd name="connsiteY125" fmla="*/ 10229 h 94422"/>
                <a:gd name="connsiteX126" fmla="*/ 108586 w 275398"/>
                <a:gd name="connsiteY126" fmla="*/ 13376 h 94422"/>
                <a:gd name="connsiteX127" fmla="*/ 107799 w 275398"/>
                <a:gd name="connsiteY127" fmla="*/ 16130 h 94422"/>
                <a:gd name="connsiteX128" fmla="*/ 107405 w 275398"/>
                <a:gd name="connsiteY128" fmla="*/ 18884 h 94422"/>
                <a:gd name="connsiteX129" fmla="*/ 110553 w 275398"/>
                <a:gd name="connsiteY129" fmla="*/ 21245 h 94422"/>
                <a:gd name="connsiteX130" fmla="*/ 107405 w 275398"/>
                <a:gd name="connsiteY130" fmla="*/ 22819 h 94422"/>
                <a:gd name="connsiteX131" fmla="*/ 104258 w 275398"/>
                <a:gd name="connsiteY131" fmla="*/ 23212 h 94422"/>
                <a:gd name="connsiteX132" fmla="*/ 101504 w 275398"/>
                <a:gd name="connsiteY132" fmla="*/ 23999 h 94422"/>
                <a:gd name="connsiteX133" fmla="*/ 98750 w 275398"/>
                <a:gd name="connsiteY133" fmla="*/ 25966 h 94422"/>
                <a:gd name="connsiteX134" fmla="*/ 98357 w 275398"/>
                <a:gd name="connsiteY134" fmla="*/ 25966 h 94422"/>
                <a:gd name="connsiteX135" fmla="*/ 95603 w 275398"/>
                <a:gd name="connsiteY135" fmla="*/ 27540 h 94422"/>
                <a:gd name="connsiteX136" fmla="*/ 94422 w 275398"/>
                <a:gd name="connsiteY136" fmla="*/ 27933 h 94422"/>
                <a:gd name="connsiteX137" fmla="*/ 92062 w 275398"/>
                <a:gd name="connsiteY137" fmla="*/ 29114 h 94422"/>
                <a:gd name="connsiteX138" fmla="*/ 88914 w 275398"/>
                <a:gd name="connsiteY138" fmla="*/ 29114 h 94422"/>
                <a:gd name="connsiteX139" fmla="*/ 86160 w 275398"/>
                <a:gd name="connsiteY139" fmla="*/ 29900 h 94422"/>
                <a:gd name="connsiteX140" fmla="*/ 83013 w 275398"/>
                <a:gd name="connsiteY140" fmla="*/ 31868 h 94422"/>
                <a:gd name="connsiteX141" fmla="*/ 80259 w 275398"/>
                <a:gd name="connsiteY141" fmla="*/ 32654 h 94422"/>
                <a:gd name="connsiteX142" fmla="*/ 77505 w 275398"/>
                <a:gd name="connsiteY142" fmla="*/ 34228 h 94422"/>
                <a:gd name="connsiteX143" fmla="*/ 74357 w 275398"/>
                <a:gd name="connsiteY143" fmla="*/ 35408 h 94422"/>
                <a:gd name="connsiteX144" fmla="*/ 71210 w 275398"/>
                <a:gd name="connsiteY144" fmla="*/ 36589 h 94422"/>
                <a:gd name="connsiteX145" fmla="*/ 68456 w 275398"/>
                <a:gd name="connsiteY145" fmla="*/ 38162 h 94422"/>
                <a:gd name="connsiteX146" fmla="*/ 65309 w 275398"/>
                <a:gd name="connsiteY146" fmla="*/ 38949 h 94422"/>
                <a:gd name="connsiteX147" fmla="*/ 62161 w 275398"/>
                <a:gd name="connsiteY147" fmla="*/ 40916 h 94422"/>
                <a:gd name="connsiteX148" fmla="*/ 64915 w 275398"/>
                <a:gd name="connsiteY148" fmla="*/ 41310 h 94422"/>
                <a:gd name="connsiteX149" fmla="*/ 56653 w 275398"/>
                <a:gd name="connsiteY149" fmla="*/ 45244 h 94422"/>
                <a:gd name="connsiteX150" fmla="*/ 54686 w 275398"/>
                <a:gd name="connsiteY150" fmla="*/ 45244 h 94422"/>
                <a:gd name="connsiteX151" fmla="*/ 51932 w 275398"/>
                <a:gd name="connsiteY151" fmla="*/ 45637 h 94422"/>
                <a:gd name="connsiteX152" fmla="*/ 48785 w 275398"/>
                <a:gd name="connsiteY152" fmla="*/ 46424 h 94422"/>
                <a:gd name="connsiteX153" fmla="*/ 47998 w 275398"/>
                <a:gd name="connsiteY153" fmla="*/ 49178 h 94422"/>
                <a:gd name="connsiteX154" fmla="*/ 47998 w 275398"/>
                <a:gd name="connsiteY154" fmla="*/ 49178 h 94422"/>
                <a:gd name="connsiteX155" fmla="*/ 33048 w 275398"/>
                <a:gd name="connsiteY155" fmla="*/ 55867 h 94422"/>
                <a:gd name="connsiteX156" fmla="*/ 30294 w 275398"/>
                <a:gd name="connsiteY156" fmla="*/ 57047 h 94422"/>
                <a:gd name="connsiteX157" fmla="*/ 27146 w 275398"/>
                <a:gd name="connsiteY157" fmla="*/ 57834 h 94422"/>
                <a:gd name="connsiteX158" fmla="*/ 23999 w 275398"/>
                <a:gd name="connsiteY158" fmla="*/ 59407 h 94422"/>
                <a:gd name="connsiteX159" fmla="*/ 20852 w 275398"/>
                <a:gd name="connsiteY159" fmla="*/ 61375 h 94422"/>
                <a:gd name="connsiteX160" fmla="*/ 18098 w 275398"/>
                <a:gd name="connsiteY160" fmla="*/ 62555 h 94422"/>
                <a:gd name="connsiteX161" fmla="*/ 14950 w 275398"/>
                <a:gd name="connsiteY161" fmla="*/ 62948 h 94422"/>
                <a:gd name="connsiteX162" fmla="*/ 12196 w 275398"/>
                <a:gd name="connsiteY162" fmla="*/ 64915 h 94422"/>
                <a:gd name="connsiteX163" fmla="*/ 9049 w 275398"/>
                <a:gd name="connsiteY163" fmla="*/ 65702 h 94422"/>
                <a:gd name="connsiteX164" fmla="*/ 6295 w 275398"/>
                <a:gd name="connsiteY164" fmla="*/ 68456 h 94422"/>
                <a:gd name="connsiteX165" fmla="*/ 3147 w 275398"/>
                <a:gd name="connsiteY165" fmla="*/ 70030 h 94422"/>
                <a:gd name="connsiteX166" fmla="*/ 0 w 275398"/>
                <a:gd name="connsiteY166" fmla="*/ 70423 h 94422"/>
                <a:gd name="connsiteX167" fmla="*/ 3147 w 275398"/>
                <a:gd name="connsiteY167" fmla="*/ 70817 h 94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275398" h="94422">
                  <a:moveTo>
                    <a:pt x="5901" y="70423"/>
                  </a:moveTo>
                  <a:lnTo>
                    <a:pt x="9049" y="70423"/>
                  </a:lnTo>
                  <a:lnTo>
                    <a:pt x="15343" y="70423"/>
                  </a:lnTo>
                  <a:lnTo>
                    <a:pt x="18098" y="70817"/>
                  </a:lnTo>
                  <a:lnTo>
                    <a:pt x="15343" y="71997"/>
                  </a:lnTo>
                  <a:lnTo>
                    <a:pt x="18098" y="73964"/>
                  </a:lnTo>
                  <a:lnTo>
                    <a:pt x="20852" y="75538"/>
                  </a:lnTo>
                  <a:lnTo>
                    <a:pt x="23999" y="76325"/>
                  </a:lnTo>
                  <a:lnTo>
                    <a:pt x="27146" y="77112"/>
                  </a:lnTo>
                  <a:lnTo>
                    <a:pt x="29900" y="79472"/>
                  </a:lnTo>
                  <a:lnTo>
                    <a:pt x="28720" y="82226"/>
                  </a:lnTo>
                  <a:lnTo>
                    <a:pt x="29507" y="84980"/>
                  </a:lnTo>
                  <a:lnTo>
                    <a:pt x="27540" y="88127"/>
                  </a:lnTo>
                  <a:lnTo>
                    <a:pt x="25573" y="90881"/>
                  </a:lnTo>
                  <a:lnTo>
                    <a:pt x="25573" y="93635"/>
                  </a:lnTo>
                  <a:lnTo>
                    <a:pt x="28327" y="95209"/>
                  </a:lnTo>
                  <a:lnTo>
                    <a:pt x="31867" y="94816"/>
                  </a:lnTo>
                  <a:lnTo>
                    <a:pt x="34621" y="94816"/>
                  </a:lnTo>
                  <a:lnTo>
                    <a:pt x="40523" y="92849"/>
                  </a:lnTo>
                  <a:lnTo>
                    <a:pt x="43277" y="92062"/>
                  </a:lnTo>
                  <a:lnTo>
                    <a:pt x="46424" y="91275"/>
                  </a:lnTo>
                  <a:lnTo>
                    <a:pt x="49178" y="90881"/>
                  </a:lnTo>
                  <a:lnTo>
                    <a:pt x="52326" y="90488"/>
                  </a:lnTo>
                  <a:lnTo>
                    <a:pt x="55080" y="89701"/>
                  </a:lnTo>
                  <a:lnTo>
                    <a:pt x="57833" y="88914"/>
                  </a:lnTo>
                  <a:lnTo>
                    <a:pt x="60981" y="87734"/>
                  </a:lnTo>
                  <a:lnTo>
                    <a:pt x="63735" y="86554"/>
                  </a:lnTo>
                  <a:lnTo>
                    <a:pt x="66882" y="85374"/>
                  </a:lnTo>
                  <a:lnTo>
                    <a:pt x="70030" y="84587"/>
                  </a:lnTo>
                  <a:lnTo>
                    <a:pt x="72784" y="86554"/>
                  </a:lnTo>
                  <a:lnTo>
                    <a:pt x="75931" y="86554"/>
                  </a:lnTo>
                  <a:lnTo>
                    <a:pt x="79079" y="86160"/>
                  </a:lnTo>
                  <a:lnTo>
                    <a:pt x="82226" y="85767"/>
                  </a:lnTo>
                  <a:lnTo>
                    <a:pt x="85373" y="85374"/>
                  </a:lnTo>
                  <a:lnTo>
                    <a:pt x="88521" y="84587"/>
                  </a:lnTo>
                  <a:lnTo>
                    <a:pt x="91275" y="84193"/>
                  </a:lnTo>
                  <a:lnTo>
                    <a:pt x="94029" y="83800"/>
                  </a:lnTo>
                  <a:lnTo>
                    <a:pt x="97176" y="82620"/>
                  </a:lnTo>
                  <a:lnTo>
                    <a:pt x="100324" y="81833"/>
                  </a:lnTo>
                  <a:lnTo>
                    <a:pt x="106225" y="78292"/>
                  </a:lnTo>
                  <a:lnTo>
                    <a:pt x="109373" y="75538"/>
                  </a:lnTo>
                  <a:lnTo>
                    <a:pt x="112520" y="73571"/>
                  </a:lnTo>
                  <a:lnTo>
                    <a:pt x="115274" y="70423"/>
                  </a:lnTo>
                  <a:lnTo>
                    <a:pt x="118028" y="69636"/>
                  </a:lnTo>
                  <a:lnTo>
                    <a:pt x="124323" y="67669"/>
                  </a:lnTo>
                  <a:lnTo>
                    <a:pt x="127077" y="65702"/>
                  </a:lnTo>
                  <a:lnTo>
                    <a:pt x="130224" y="63342"/>
                  </a:lnTo>
                  <a:lnTo>
                    <a:pt x="133371" y="63342"/>
                  </a:lnTo>
                  <a:lnTo>
                    <a:pt x="136125" y="63342"/>
                  </a:lnTo>
                  <a:lnTo>
                    <a:pt x="139273" y="62948"/>
                  </a:lnTo>
                  <a:lnTo>
                    <a:pt x="142420" y="62161"/>
                  </a:lnTo>
                  <a:lnTo>
                    <a:pt x="145174" y="61375"/>
                  </a:lnTo>
                  <a:lnTo>
                    <a:pt x="148322" y="60588"/>
                  </a:lnTo>
                  <a:lnTo>
                    <a:pt x="151076" y="60194"/>
                  </a:lnTo>
                  <a:lnTo>
                    <a:pt x="153436" y="58621"/>
                  </a:lnTo>
                  <a:lnTo>
                    <a:pt x="263596" y="31868"/>
                  </a:lnTo>
                  <a:lnTo>
                    <a:pt x="265563" y="31474"/>
                  </a:lnTo>
                  <a:lnTo>
                    <a:pt x="267923" y="30687"/>
                  </a:lnTo>
                  <a:lnTo>
                    <a:pt x="274218" y="29114"/>
                  </a:lnTo>
                  <a:lnTo>
                    <a:pt x="276185" y="26753"/>
                  </a:lnTo>
                  <a:lnTo>
                    <a:pt x="275399" y="23999"/>
                  </a:lnTo>
                  <a:lnTo>
                    <a:pt x="272251" y="22819"/>
                  </a:lnTo>
                  <a:lnTo>
                    <a:pt x="270284" y="20065"/>
                  </a:lnTo>
                  <a:lnTo>
                    <a:pt x="267530" y="18098"/>
                  </a:lnTo>
                  <a:lnTo>
                    <a:pt x="265956" y="14950"/>
                  </a:lnTo>
                  <a:lnTo>
                    <a:pt x="263596" y="11803"/>
                  </a:lnTo>
                  <a:lnTo>
                    <a:pt x="260448" y="9836"/>
                  </a:lnTo>
                  <a:lnTo>
                    <a:pt x="257694" y="8655"/>
                  </a:lnTo>
                  <a:lnTo>
                    <a:pt x="254547" y="8262"/>
                  </a:lnTo>
                  <a:lnTo>
                    <a:pt x="254153" y="8262"/>
                  </a:lnTo>
                  <a:lnTo>
                    <a:pt x="251006" y="7869"/>
                  </a:lnTo>
                  <a:lnTo>
                    <a:pt x="247859" y="7475"/>
                  </a:lnTo>
                  <a:lnTo>
                    <a:pt x="244711" y="7475"/>
                  </a:lnTo>
                  <a:lnTo>
                    <a:pt x="241564" y="7869"/>
                  </a:lnTo>
                  <a:lnTo>
                    <a:pt x="238810" y="8262"/>
                  </a:lnTo>
                  <a:lnTo>
                    <a:pt x="235662" y="8655"/>
                  </a:lnTo>
                  <a:lnTo>
                    <a:pt x="232908" y="8655"/>
                  </a:lnTo>
                  <a:lnTo>
                    <a:pt x="229761" y="9442"/>
                  </a:lnTo>
                  <a:lnTo>
                    <a:pt x="226220" y="11409"/>
                  </a:lnTo>
                  <a:lnTo>
                    <a:pt x="219138" y="12590"/>
                  </a:lnTo>
                  <a:lnTo>
                    <a:pt x="220319" y="11803"/>
                  </a:lnTo>
                  <a:lnTo>
                    <a:pt x="221892" y="9049"/>
                  </a:lnTo>
                  <a:lnTo>
                    <a:pt x="218745" y="9049"/>
                  </a:lnTo>
                  <a:lnTo>
                    <a:pt x="215598" y="8655"/>
                  </a:lnTo>
                  <a:lnTo>
                    <a:pt x="212844" y="9836"/>
                  </a:lnTo>
                  <a:lnTo>
                    <a:pt x="209696" y="11409"/>
                  </a:lnTo>
                  <a:lnTo>
                    <a:pt x="206549" y="11803"/>
                  </a:lnTo>
                  <a:lnTo>
                    <a:pt x="203401" y="14163"/>
                  </a:lnTo>
                  <a:lnTo>
                    <a:pt x="205368" y="11803"/>
                  </a:lnTo>
                  <a:lnTo>
                    <a:pt x="208516" y="11016"/>
                  </a:lnTo>
                  <a:lnTo>
                    <a:pt x="211663" y="9836"/>
                  </a:lnTo>
                  <a:lnTo>
                    <a:pt x="214417" y="8655"/>
                  </a:lnTo>
                  <a:lnTo>
                    <a:pt x="211270" y="8655"/>
                  </a:lnTo>
                  <a:lnTo>
                    <a:pt x="208122" y="7869"/>
                  </a:lnTo>
                  <a:lnTo>
                    <a:pt x="206942" y="7869"/>
                  </a:lnTo>
                  <a:lnTo>
                    <a:pt x="206155" y="7869"/>
                  </a:lnTo>
                  <a:lnTo>
                    <a:pt x="203401" y="7475"/>
                  </a:lnTo>
                  <a:lnTo>
                    <a:pt x="200254" y="6295"/>
                  </a:lnTo>
                  <a:lnTo>
                    <a:pt x="197500" y="5115"/>
                  </a:lnTo>
                  <a:lnTo>
                    <a:pt x="194353" y="3934"/>
                  </a:lnTo>
                  <a:lnTo>
                    <a:pt x="191598" y="1180"/>
                  </a:lnTo>
                  <a:lnTo>
                    <a:pt x="188451" y="787"/>
                  </a:lnTo>
                  <a:lnTo>
                    <a:pt x="185304" y="0"/>
                  </a:lnTo>
                  <a:lnTo>
                    <a:pt x="182156" y="0"/>
                  </a:lnTo>
                  <a:lnTo>
                    <a:pt x="179009" y="787"/>
                  </a:lnTo>
                  <a:lnTo>
                    <a:pt x="176255" y="787"/>
                  </a:lnTo>
                  <a:lnTo>
                    <a:pt x="173108" y="1574"/>
                  </a:lnTo>
                  <a:lnTo>
                    <a:pt x="169960" y="1574"/>
                  </a:lnTo>
                  <a:lnTo>
                    <a:pt x="167206" y="1967"/>
                  </a:lnTo>
                  <a:lnTo>
                    <a:pt x="164059" y="2361"/>
                  </a:lnTo>
                  <a:lnTo>
                    <a:pt x="160911" y="2754"/>
                  </a:lnTo>
                  <a:lnTo>
                    <a:pt x="157371" y="2754"/>
                  </a:lnTo>
                  <a:lnTo>
                    <a:pt x="154223" y="2754"/>
                  </a:lnTo>
                  <a:lnTo>
                    <a:pt x="147535" y="2754"/>
                  </a:lnTo>
                  <a:lnTo>
                    <a:pt x="144387" y="3147"/>
                  </a:lnTo>
                  <a:lnTo>
                    <a:pt x="141240" y="3541"/>
                  </a:lnTo>
                  <a:lnTo>
                    <a:pt x="138486" y="3541"/>
                  </a:lnTo>
                  <a:lnTo>
                    <a:pt x="135339" y="3934"/>
                  </a:lnTo>
                  <a:lnTo>
                    <a:pt x="132191" y="3934"/>
                  </a:lnTo>
                  <a:lnTo>
                    <a:pt x="128650" y="3934"/>
                  </a:lnTo>
                  <a:lnTo>
                    <a:pt x="125896" y="4721"/>
                  </a:lnTo>
                  <a:lnTo>
                    <a:pt x="123142" y="4721"/>
                  </a:lnTo>
                  <a:lnTo>
                    <a:pt x="119601" y="4721"/>
                  </a:lnTo>
                  <a:lnTo>
                    <a:pt x="116454" y="5115"/>
                  </a:lnTo>
                  <a:lnTo>
                    <a:pt x="113700" y="7475"/>
                  </a:lnTo>
                  <a:lnTo>
                    <a:pt x="111340" y="10229"/>
                  </a:lnTo>
                  <a:lnTo>
                    <a:pt x="108586" y="13376"/>
                  </a:lnTo>
                  <a:lnTo>
                    <a:pt x="107799" y="16130"/>
                  </a:lnTo>
                  <a:lnTo>
                    <a:pt x="107405" y="18884"/>
                  </a:lnTo>
                  <a:lnTo>
                    <a:pt x="110553" y="21245"/>
                  </a:lnTo>
                  <a:lnTo>
                    <a:pt x="107405" y="22819"/>
                  </a:lnTo>
                  <a:lnTo>
                    <a:pt x="104258" y="23212"/>
                  </a:lnTo>
                  <a:lnTo>
                    <a:pt x="101504" y="23999"/>
                  </a:lnTo>
                  <a:lnTo>
                    <a:pt x="98750" y="25966"/>
                  </a:lnTo>
                  <a:lnTo>
                    <a:pt x="98357" y="25966"/>
                  </a:lnTo>
                  <a:lnTo>
                    <a:pt x="95603" y="27540"/>
                  </a:lnTo>
                  <a:lnTo>
                    <a:pt x="94422" y="27933"/>
                  </a:lnTo>
                  <a:lnTo>
                    <a:pt x="92062" y="29114"/>
                  </a:lnTo>
                  <a:lnTo>
                    <a:pt x="88914" y="29114"/>
                  </a:lnTo>
                  <a:lnTo>
                    <a:pt x="86160" y="29900"/>
                  </a:lnTo>
                  <a:lnTo>
                    <a:pt x="83013" y="31868"/>
                  </a:lnTo>
                  <a:lnTo>
                    <a:pt x="80259" y="32654"/>
                  </a:lnTo>
                  <a:lnTo>
                    <a:pt x="77505" y="34228"/>
                  </a:lnTo>
                  <a:lnTo>
                    <a:pt x="74357" y="35408"/>
                  </a:lnTo>
                  <a:lnTo>
                    <a:pt x="71210" y="36589"/>
                  </a:lnTo>
                  <a:lnTo>
                    <a:pt x="68456" y="38162"/>
                  </a:lnTo>
                  <a:lnTo>
                    <a:pt x="65309" y="38949"/>
                  </a:lnTo>
                  <a:lnTo>
                    <a:pt x="62161" y="40916"/>
                  </a:lnTo>
                  <a:lnTo>
                    <a:pt x="64915" y="41310"/>
                  </a:lnTo>
                  <a:lnTo>
                    <a:pt x="56653" y="45244"/>
                  </a:lnTo>
                  <a:lnTo>
                    <a:pt x="54686" y="45244"/>
                  </a:lnTo>
                  <a:lnTo>
                    <a:pt x="51932" y="45637"/>
                  </a:lnTo>
                  <a:lnTo>
                    <a:pt x="48785" y="46424"/>
                  </a:lnTo>
                  <a:lnTo>
                    <a:pt x="47998" y="49178"/>
                  </a:lnTo>
                  <a:lnTo>
                    <a:pt x="47998" y="49178"/>
                  </a:lnTo>
                  <a:lnTo>
                    <a:pt x="33048" y="55867"/>
                  </a:lnTo>
                  <a:lnTo>
                    <a:pt x="30294" y="57047"/>
                  </a:lnTo>
                  <a:lnTo>
                    <a:pt x="27146" y="57834"/>
                  </a:lnTo>
                  <a:lnTo>
                    <a:pt x="23999" y="59407"/>
                  </a:lnTo>
                  <a:lnTo>
                    <a:pt x="20852" y="61375"/>
                  </a:lnTo>
                  <a:lnTo>
                    <a:pt x="18098" y="62555"/>
                  </a:lnTo>
                  <a:lnTo>
                    <a:pt x="14950" y="62948"/>
                  </a:lnTo>
                  <a:lnTo>
                    <a:pt x="12196" y="64915"/>
                  </a:lnTo>
                  <a:lnTo>
                    <a:pt x="9049" y="65702"/>
                  </a:lnTo>
                  <a:lnTo>
                    <a:pt x="6295" y="68456"/>
                  </a:lnTo>
                  <a:lnTo>
                    <a:pt x="3147" y="70030"/>
                  </a:lnTo>
                  <a:lnTo>
                    <a:pt x="0" y="70423"/>
                  </a:lnTo>
                  <a:lnTo>
                    <a:pt x="3147" y="7081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21" name="Freeform: Shape 2515">
              <a:extLst>
                <a:ext uri="{FF2B5EF4-FFF2-40B4-BE49-F238E27FC236}">
                  <a16:creationId xmlns:a16="http://schemas.microsoft.com/office/drawing/2014/main" id="{6E414A9F-F4B2-433F-BFAC-B0DE602F087D}"/>
                </a:ext>
              </a:extLst>
            </p:cNvPr>
            <p:cNvSpPr/>
            <p:nvPr/>
          </p:nvSpPr>
          <p:spPr>
            <a:xfrm>
              <a:off x="3692558" y="1206970"/>
              <a:ext cx="196713" cy="43277"/>
            </a:xfrm>
            <a:custGeom>
              <a:avLst/>
              <a:gdLst>
                <a:gd name="connsiteX0" fmla="*/ 6295 w 196713"/>
                <a:gd name="connsiteY0" fmla="*/ 35802 h 43276"/>
                <a:gd name="connsiteX1" fmla="*/ 9442 w 196713"/>
                <a:gd name="connsiteY1" fmla="*/ 35408 h 43276"/>
                <a:gd name="connsiteX2" fmla="*/ 12590 w 196713"/>
                <a:gd name="connsiteY2" fmla="*/ 35015 h 43276"/>
                <a:gd name="connsiteX3" fmla="*/ 9442 w 196713"/>
                <a:gd name="connsiteY3" fmla="*/ 36195 h 43276"/>
                <a:gd name="connsiteX4" fmla="*/ 12590 w 196713"/>
                <a:gd name="connsiteY4" fmla="*/ 36195 h 43276"/>
                <a:gd name="connsiteX5" fmla="*/ 9442 w 196713"/>
                <a:gd name="connsiteY5" fmla="*/ 37769 h 43276"/>
                <a:gd name="connsiteX6" fmla="*/ 6295 w 196713"/>
                <a:gd name="connsiteY6" fmla="*/ 38949 h 43276"/>
                <a:gd name="connsiteX7" fmla="*/ 3148 w 196713"/>
                <a:gd name="connsiteY7" fmla="*/ 39736 h 43276"/>
                <a:gd name="connsiteX8" fmla="*/ 6295 w 196713"/>
                <a:gd name="connsiteY8" fmla="*/ 41310 h 43276"/>
                <a:gd name="connsiteX9" fmla="*/ 9442 w 196713"/>
                <a:gd name="connsiteY9" fmla="*/ 40916 h 43276"/>
                <a:gd name="connsiteX10" fmla="*/ 12590 w 196713"/>
                <a:gd name="connsiteY10" fmla="*/ 39736 h 43276"/>
                <a:gd name="connsiteX11" fmla="*/ 15344 w 196713"/>
                <a:gd name="connsiteY11" fmla="*/ 38949 h 43276"/>
                <a:gd name="connsiteX12" fmla="*/ 18491 w 196713"/>
                <a:gd name="connsiteY12" fmla="*/ 38556 h 43276"/>
                <a:gd name="connsiteX13" fmla="*/ 21638 w 196713"/>
                <a:gd name="connsiteY13" fmla="*/ 38556 h 43276"/>
                <a:gd name="connsiteX14" fmla="*/ 24786 w 196713"/>
                <a:gd name="connsiteY14" fmla="*/ 38949 h 43276"/>
                <a:gd name="connsiteX15" fmla="*/ 27540 w 196713"/>
                <a:gd name="connsiteY15" fmla="*/ 41310 h 43276"/>
                <a:gd name="connsiteX16" fmla="*/ 30687 w 196713"/>
                <a:gd name="connsiteY16" fmla="*/ 40523 h 43276"/>
                <a:gd name="connsiteX17" fmla="*/ 33835 w 196713"/>
                <a:gd name="connsiteY17" fmla="*/ 39736 h 43276"/>
                <a:gd name="connsiteX18" fmla="*/ 36589 w 196713"/>
                <a:gd name="connsiteY18" fmla="*/ 39736 h 43276"/>
                <a:gd name="connsiteX19" fmla="*/ 39736 w 196713"/>
                <a:gd name="connsiteY19" fmla="*/ 37769 h 43276"/>
                <a:gd name="connsiteX20" fmla="*/ 42490 w 196713"/>
                <a:gd name="connsiteY20" fmla="*/ 35802 h 43276"/>
                <a:gd name="connsiteX21" fmla="*/ 46031 w 196713"/>
                <a:gd name="connsiteY21" fmla="*/ 34622 h 43276"/>
                <a:gd name="connsiteX22" fmla="*/ 48785 w 196713"/>
                <a:gd name="connsiteY22" fmla="*/ 35015 h 43276"/>
                <a:gd name="connsiteX23" fmla="*/ 46031 w 196713"/>
                <a:gd name="connsiteY23" fmla="*/ 37769 h 43276"/>
                <a:gd name="connsiteX24" fmla="*/ 48785 w 196713"/>
                <a:gd name="connsiteY24" fmla="*/ 39343 h 43276"/>
                <a:gd name="connsiteX25" fmla="*/ 46031 w 196713"/>
                <a:gd name="connsiteY25" fmla="*/ 40916 h 43276"/>
                <a:gd name="connsiteX26" fmla="*/ 42884 w 196713"/>
                <a:gd name="connsiteY26" fmla="*/ 42883 h 43276"/>
                <a:gd name="connsiteX27" fmla="*/ 46031 w 196713"/>
                <a:gd name="connsiteY27" fmla="*/ 43670 h 43276"/>
                <a:gd name="connsiteX28" fmla="*/ 48785 w 196713"/>
                <a:gd name="connsiteY28" fmla="*/ 42490 h 43276"/>
                <a:gd name="connsiteX29" fmla="*/ 51145 w 196713"/>
                <a:gd name="connsiteY29" fmla="*/ 43670 h 43276"/>
                <a:gd name="connsiteX30" fmla="*/ 54293 w 196713"/>
                <a:gd name="connsiteY30" fmla="*/ 42883 h 43276"/>
                <a:gd name="connsiteX31" fmla="*/ 57047 w 196713"/>
                <a:gd name="connsiteY31" fmla="*/ 42490 h 43276"/>
                <a:gd name="connsiteX32" fmla="*/ 60194 w 196713"/>
                <a:gd name="connsiteY32" fmla="*/ 41703 h 43276"/>
                <a:gd name="connsiteX33" fmla="*/ 62948 w 196713"/>
                <a:gd name="connsiteY33" fmla="*/ 40129 h 43276"/>
                <a:gd name="connsiteX34" fmla="*/ 66096 w 196713"/>
                <a:gd name="connsiteY34" fmla="*/ 40523 h 43276"/>
                <a:gd name="connsiteX35" fmla="*/ 67669 w 196713"/>
                <a:gd name="connsiteY35" fmla="*/ 37376 h 43276"/>
                <a:gd name="connsiteX36" fmla="*/ 70423 w 196713"/>
                <a:gd name="connsiteY36" fmla="*/ 36589 h 43276"/>
                <a:gd name="connsiteX37" fmla="*/ 73177 w 196713"/>
                <a:gd name="connsiteY37" fmla="*/ 33835 h 43276"/>
                <a:gd name="connsiteX38" fmla="*/ 76325 w 196713"/>
                <a:gd name="connsiteY38" fmla="*/ 31474 h 43276"/>
                <a:gd name="connsiteX39" fmla="*/ 79472 w 196713"/>
                <a:gd name="connsiteY39" fmla="*/ 30687 h 43276"/>
                <a:gd name="connsiteX40" fmla="*/ 78685 w 196713"/>
                <a:gd name="connsiteY40" fmla="*/ 33835 h 43276"/>
                <a:gd name="connsiteX41" fmla="*/ 76718 w 196713"/>
                <a:gd name="connsiteY41" fmla="*/ 36589 h 43276"/>
                <a:gd name="connsiteX42" fmla="*/ 79866 w 196713"/>
                <a:gd name="connsiteY42" fmla="*/ 36589 h 43276"/>
                <a:gd name="connsiteX43" fmla="*/ 83013 w 196713"/>
                <a:gd name="connsiteY43" fmla="*/ 36195 h 43276"/>
                <a:gd name="connsiteX44" fmla="*/ 85767 w 196713"/>
                <a:gd name="connsiteY44" fmla="*/ 35015 h 43276"/>
                <a:gd name="connsiteX45" fmla="*/ 88521 w 196713"/>
                <a:gd name="connsiteY45" fmla="*/ 32654 h 43276"/>
                <a:gd name="connsiteX46" fmla="*/ 91669 w 196713"/>
                <a:gd name="connsiteY46" fmla="*/ 32261 h 43276"/>
                <a:gd name="connsiteX47" fmla="*/ 94422 w 196713"/>
                <a:gd name="connsiteY47" fmla="*/ 32261 h 43276"/>
                <a:gd name="connsiteX48" fmla="*/ 97570 w 196713"/>
                <a:gd name="connsiteY48" fmla="*/ 31081 h 43276"/>
                <a:gd name="connsiteX49" fmla="*/ 100324 w 196713"/>
                <a:gd name="connsiteY49" fmla="*/ 29114 h 43276"/>
                <a:gd name="connsiteX50" fmla="*/ 97570 w 196713"/>
                <a:gd name="connsiteY50" fmla="*/ 27146 h 43276"/>
                <a:gd name="connsiteX51" fmla="*/ 100324 w 196713"/>
                <a:gd name="connsiteY51" fmla="*/ 25966 h 43276"/>
                <a:gd name="connsiteX52" fmla="*/ 103471 w 196713"/>
                <a:gd name="connsiteY52" fmla="*/ 25573 h 43276"/>
                <a:gd name="connsiteX53" fmla="*/ 106225 w 196713"/>
                <a:gd name="connsiteY53" fmla="*/ 26753 h 43276"/>
                <a:gd name="connsiteX54" fmla="*/ 109373 w 196713"/>
                <a:gd name="connsiteY54" fmla="*/ 25573 h 43276"/>
                <a:gd name="connsiteX55" fmla="*/ 112127 w 196713"/>
                <a:gd name="connsiteY55" fmla="*/ 25179 h 43276"/>
                <a:gd name="connsiteX56" fmla="*/ 114881 w 196713"/>
                <a:gd name="connsiteY56" fmla="*/ 23212 h 43276"/>
                <a:gd name="connsiteX57" fmla="*/ 118028 w 196713"/>
                <a:gd name="connsiteY57" fmla="*/ 21638 h 43276"/>
                <a:gd name="connsiteX58" fmla="*/ 120782 w 196713"/>
                <a:gd name="connsiteY58" fmla="*/ 19671 h 43276"/>
                <a:gd name="connsiteX59" fmla="*/ 123929 w 196713"/>
                <a:gd name="connsiteY59" fmla="*/ 19671 h 43276"/>
                <a:gd name="connsiteX60" fmla="*/ 127077 w 196713"/>
                <a:gd name="connsiteY60" fmla="*/ 19671 h 43276"/>
                <a:gd name="connsiteX61" fmla="*/ 130224 w 196713"/>
                <a:gd name="connsiteY61" fmla="*/ 18491 h 43276"/>
                <a:gd name="connsiteX62" fmla="*/ 127077 w 196713"/>
                <a:gd name="connsiteY62" fmla="*/ 21638 h 43276"/>
                <a:gd name="connsiteX63" fmla="*/ 124323 w 196713"/>
                <a:gd name="connsiteY63" fmla="*/ 22425 h 43276"/>
                <a:gd name="connsiteX64" fmla="*/ 121176 w 196713"/>
                <a:gd name="connsiteY64" fmla="*/ 23999 h 43276"/>
                <a:gd name="connsiteX65" fmla="*/ 118028 w 196713"/>
                <a:gd name="connsiteY65" fmla="*/ 26360 h 43276"/>
                <a:gd name="connsiteX66" fmla="*/ 114881 w 196713"/>
                <a:gd name="connsiteY66" fmla="*/ 27540 h 43276"/>
                <a:gd name="connsiteX67" fmla="*/ 111733 w 196713"/>
                <a:gd name="connsiteY67" fmla="*/ 28720 h 43276"/>
                <a:gd name="connsiteX68" fmla="*/ 115274 w 196713"/>
                <a:gd name="connsiteY68" fmla="*/ 31081 h 43276"/>
                <a:gd name="connsiteX69" fmla="*/ 118422 w 196713"/>
                <a:gd name="connsiteY69" fmla="*/ 32654 h 43276"/>
                <a:gd name="connsiteX70" fmla="*/ 121176 w 196713"/>
                <a:gd name="connsiteY70" fmla="*/ 32654 h 43276"/>
                <a:gd name="connsiteX71" fmla="*/ 124323 w 196713"/>
                <a:gd name="connsiteY71" fmla="*/ 32261 h 43276"/>
                <a:gd name="connsiteX72" fmla="*/ 127470 w 196713"/>
                <a:gd name="connsiteY72" fmla="*/ 31474 h 43276"/>
                <a:gd name="connsiteX73" fmla="*/ 130618 w 196713"/>
                <a:gd name="connsiteY73" fmla="*/ 30687 h 43276"/>
                <a:gd name="connsiteX74" fmla="*/ 133372 w 196713"/>
                <a:gd name="connsiteY74" fmla="*/ 28720 h 43276"/>
                <a:gd name="connsiteX75" fmla="*/ 136519 w 196713"/>
                <a:gd name="connsiteY75" fmla="*/ 25573 h 43276"/>
                <a:gd name="connsiteX76" fmla="*/ 139666 w 196713"/>
                <a:gd name="connsiteY76" fmla="*/ 25573 h 43276"/>
                <a:gd name="connsiteX77" fmla="*/ 142814 w 196713"/>
                <a:gd name="connsiteY77" fmla="*/ 24786 h 43276"/>
                <a:gd name="connsiteX78" fmla="*/ 145961 w 196713"/>
                <a:gd name="connsiteY78" fmla="*/ 24786 h 43276"/>
                <a:gd name="connsiteX79" fmla="*/ 149109 w 196713"/>
                <a:gd name="connsiteY79" fmla="*/ 24786 h 43276"/>
                <a:gd name="connsiteX80" fmla="*/ 152256 w 196713"/>
                <a:gd name="connsiteY80" fmla="*/ 24786 h 43276"/>
                <a:gd name="connsiteX81" fmla="*/ 155403 w 196713"/>
                <a:gd name="connsiteY81" fmla="*/ 23999 h 43276"/>
                <a:gd name="connsiteX82" fmla="*/ 158944 w 196713"/>
                <a:gd name="connsiteY82" fmla="*/ 23606 h 43276"/>
                <a:gd name="connsiteX83" fmla="*/ 162092 w 196713"/>
                <a:gd name="connsiteY83" fmla="*/ 22425 h 43276"/>
                <a:gd name="connsiteX84" fmla="*/ 165633 w 196713"/>
                <a:gd name="connsiteY84" fmla="*/ 21638 h 43276"/>
                <a:gd name="connsiteX85" fmla="*/ 167993 w 196713"/>
                <a:gd name="connsiteY85" fmla="*/ 18491 h 43276"/>
                <a:gd name="connsiteX86" fmla="*/ 165239 w 196713"/>
                <a:gd name="connsiteY86" fmla="*/ 16524 h 43276"/>
                <a:gd name="connsiteX87" fmla="*/ 168387 w 196713"/>
                <a:gd name="connsiteY87" fmla="*/ 15344 h 43276"/>
                <a:gd name="connsiteX88" fmla="*/ 171141 w 196713"/>
                <a:gd name="connsiteY88" fmla="*/ 16524 h 43276"/>
                <a:gd name="connsiteX89" fmla="*/ 174288 w 196713"/>
                <a:gd name="connsiteY89" fmla="*/ 16524 h 43276"/>
                <a:gd name="connsiteX90" fmla="*/ 177435 w 196713"/>
                <a:gd name="connsiteY90" fmla="*/ 15737 h 43276"/>
                <a:gd name="connsiteX91" fmla="*/ 174288 w 196713"/>
                <a:gd name="connsiteY91" fmla="*/ 13377 h 43276"/>
                <a:gd name="connsiteX92" fmla="*/ 173501 w 196713"/>
                <a:gd name="connsiteY92" fmla="*/ 10623 h 43276"/>
                <a:gd name="connsiteX93" fmla="*/ 176255 w 196713"/>
                <a:gd name="connsiteY93" fmla="*/ 9836 h 43276"/>
                <a:gd name="connsiteX94" fmla="*/ 179403 w 196713"/>
                <a:gd name="connsiteY94" fmla="*/ 9049 h 43276"/>
                <a:gd name="connsiteX95" fmla="*/ 182550 w 196713"/>
                <a:gd name="connsiteY95" fmla="*/ 8655 h 43276"/>
                <a:gd name="connsiteX96" fmla="*/ 185304 w 196713"/>
                <a:gd name="connsiteY96" fmla="*/ 8262 h 43276"/>
                <a:gd name="connsiteX97" fmla="*/ 188845 w 196713"/>
                <a:gd name="connsiteY97" fmla="*/ 7475 h 43276"/>
                <a:gd name="connsiteX98" fmla="*/ 191992 w 196713"/>
                <a:gd name="connsiteY98" fmla="*/ 7475 h 43276"/>
                <a:gd name="connsiteX99" fmla="*/ 195533 w 196713"/>
                <a:gd name="connsiteY99" fmla="*/ 7082 h 43276"/>
                <a:gd name="connsiteX100" fmla="*/ 198287 w 196713"/>
                <a:gd name="connsiteY100" fmla="*/ 6295 h 43276"/>
                <a:gd name="connsiteX101" fmla="*/ 196713 w 196713"/>
                <a:gd name="connsiteY101" fmla="*/ 3147 h 43276"/>
                <a:gd name="connsiteX102" fmla="*/ 193566 w 196713"/>
                <a:gd name="connsiteY102" fmla="*/ 2361 h 43276"/>
                <a:gd name="connsiteX103" fmla="*/ 190419 w 196713"/>
                <a:gd name="connsiteY103" fmla="*/ 787 h 43276"/>
                <a:gd name="connsiteX104" fmla="*/ 187664 w 196713"/>
                <a:gd name="connsiteY104" fmla="*/ 0 h 43276"/>
                <a:gd name="connsiteX105" fmla="*/ 184517 w 196713"/>
                <a:gd name="connsiteY105" fmla="*/ 393 h 43276"/>
                <a:gd name="connsiteX106" fmla="*/ 178616 w 196713"/>
                <a:gd name="connsiteY106" fmla="*/ 393 h 43276"/>
                <a:gd name="connsiteX107" fmla="*/ 175468 w 196713"/>
                <a:gd name="connsiteY107" fmla="*/ 1967 h 43276"/>
                <a:gd name="connsiteX108" fmla="*/ 172321 w 196713"/>
                <a:gd name="connsiteY108" fmla="*/ 1967 h 43276"/>
                <a:gd name="connsiteX109" fmla="*/ 175468 w 196713"/>
                <a:gd name="connsiteY109" fmla="*/ 3934 h 43276"/>
                <a:gd name="connsiteX110" fmla="*/ 172714 w 196713"/>
                <a:gd name="connsiteY110" fmla="*/ 5508 h 43276"/>
                <a:gd name="connsiteX111" fmla="*/ 169567 w 196713"/>
                <a:gd name="connsiteY111" fmla="*/ 5508 h 43276"/>
                <a:gd name="connsiteX112" fmla="*/ 166813 w 196713"/>
                <a:gd name="connsiteY112" fmla="*/ 4721 h 43276"/>
                <a:gd name="connsiteX113" fmla="*/ 163666 w 196713"/>
                <a:gd name="connsiteY113" fmla="*/ 6295 h 43276"/>
                <a:gd name="connsiteX114" fmla="*/ 160912 w 196713"/>
                <a:gd name="connsiteY114" fmla="*/ 5901 h 43276"/>
                <a:gd name="connsiteX115" fmla="*/ 157764 w 196713"/>
                <a:gd name="connsiteY115" fmla="*/ 5508 h 43276"/>
                <a:gd name="connsiteX116" fmla="*/ 155010 w 196713"/>
                <a:gd name="connsiteY116" fmla="*/ 5115 h 43276"/>
                <a:gd name="connsiteX117" fmla="*/ 151469 w 196713"/>
                <a:gd name="connsiteY117" fmla="*/ 4721 h 43276"/>
                <a:gd name="connsiteX118" fmla="*/ 148322 w 196713"/>
                <a:gd name="connsiteY118" fmla="*/ 4328 h 43276"/>
                <a:gd name="connsiteX119" fmla="*/ 145174 w 196713"/>
                <a:gd name="connsiteY119" fmla="*/ 4721 h 43276"/>
                <a:gd name="connsiteX120" fmla="*/ 135732 w 196713"/>
                <a:gd name="connsiteY120" fmla="*/ 4721 h 43276"/>
                <a:gd name="connsiteX121" fmla="*/ 132978 w 196713"/>
                <a:gd name="connsiteY121" fmla="*/ 5508 h 43276"/>
                <a:gd name="connsiteX122" fmla="*/ 129831 w 196713"/>
                <a:gd name="connsiteY122" fmla="*/ 5508 h 43276"/>
                <a:gd name="connsiteX123" fmla="*/ 126683 w 196713"/>
                <a:gd name="connsiteY123" fmla="*/ 5508 h 43276"/>
                <a:gd name="connsiteX124" fmla="*/ 123929 w 196713"/>
                <a:gd name="connsiteY124" fmla="*/ 6295 h 43276"/>
                <a:gd name="connsiteX125" fmla="*/ 120782 w 196713"/>
                <a:gd name="connsiteY125" fmla="*/ 7082 h 43276"/>
                <a:gd name="connsiteX126" fmla="*/ 97570 w 196713"/>
                <a:gd name="connsiteY126" fmla="*/ 13377 h 43276"/>
                <a:gd name="connsiteX127" fmla="*/ 94422 w 196713"/>
                <a:gd name="connsiteY127" fmla="*/ 14163 h 43276"/>
                <a:gd name="connsiteX128" fmla="*/ 91275 w 196713"/>
                <a:gd name="connsiteY128" fmla="*/ 15344 h 43276"/>
                <a:gd name="connsiteX129" fmla="*/ 88128 w 196713"/>
                <a:gd name="connsiteY129" fmla="*/ 16524 h 43276"/>
                <a:gd name="connsiteX130" fmla="*/ 85374 w 196713"/>
                <a:gd name="connsiteY130" fmla="*/ 16524 h 43276"/>
                <a:gd name="connsiteX131" fmla="*/ 82226 w 196713"/>
                <a:gd name="connsiteY131" fmla="*/ 18491 h 43276"/>
                <a:gd name="connsiteX132" fmla="*/ 79079 w 196713"/>
                <a:gd name="connsiteY132" fmla="*/ 19278 h 43276"/>
                <a:gd name="connsiteX133" fmla="*/ 75931 w 196713"/>
                <a:gd name="connsiteY133" fmla="*/ 20065 h 43276"/>
                <a:gd name="connsiteX134" fmla="*/ 72784 w 196713"/>
                <a:gd name="connsiteY134" fmla="*/ 20458 h 43276"/>
                <a:gd name="connsiteX135" fmla="*/ 69637 w 196713"/>
                <a:gd name="connsiteY135" fmla="*/ 20458 h 43276"/>
                <a:gd name="connsiteX136" fmla="*/ 66882 w 196713"/>
                <a:gd name="connsiteY136" fmla="*/ 21638 h 43276"/>
                <a:gd name="connsiteX137" fmla="*/ 63342 w 196713"/>
                <a:gd name="connsiteY137" fmla="*/ 22032 h 43276"/>
                <a:gd name="connsiteX138" fmla="*/ 60588 w 196713"/>
                <a:gd name="connsiteY138" fmla="*/ 22032 h 43276"/>
                <a:gd name="connsiteX139" fmla="*/ 57834 w 196713"/>
                <a:gd name="connsiteY139" fmla="*/ 23606 h 43276"/>
                <a:gd name="connsiteX140" fmla="*/ 54686 w 196713"/>
                <a:gd name="connsiteY140" fmla="*/ 24392 h 43276"/>
                <a:gd name="connsiteX141" fmla="*/ 51145 w 196713"/>
                <a:gd name="connsiteY141" fmla="*/ 25179 h 43276"/>
                <a:gd name="connsiteX142" fmla="*/ 47998 w 196713"/>
                <a:gd name="connsiteY142" fmla="*/ 26753 h 43276"/>
                <a:gd name="connsiteX143" fmla="*/ 45244 w 196713"/>
                <a:gd name="connsiteY143" fmla="*/ 27540 h 43276"/>
                <a:gd name="connsiteX144" fmla="*/ 42097 w 196713"/>
                <a:gd name="connsiteY144" fmla="*/ 28327 h 43276"/>
                <a:gd name="connsiteX145" fmla="*/ 38949 w 196713"/>
                <a:gd name="connsiteY145" fmla="*/ 28720 h 43276"/>
                <a:gd name="connsiteX146" fmla="*/ 35802 w 196713"/>
                <a:gd name="connsiteY146" fmla="*/ 27933 h 43276"/>
                <a:gd name="connsiteX147" fmla="*/ 32655 w 196713"/>
                <a:gd name="connsiteY147" fmla="*/ 28720 h 43276"/>
                <a:gd name="connsiteX148" fmla="*/ 29901 w 196713"/>
                <a:gd name="connsiteY148" fmla="*/ 28720 h 43276"/>
                <a:gd name="connsiteX149" fmla="*/ 26753 w 196713"/>
                <a:gd name="connsiteY149" fmla="*/ 29114 h 43276"/>
                <a:gd name="connsiteX150" fmla="*/ 23999 w 196713"/>
                <a:gd name="connsiteY150" fmla="*/ 29507 h 43276"/>
                <a:gd name="connsiteX151" fmla="*/ 21245 w 196713"/>
                <a:gd name="connsiteY151" fmla="*/ 29900 h 43276"/>
                <a:gd name="connsiteX152" fmla="*/ 18491 w 196713"/>
                <a:gd name="connsiteY152" fmla="*/ 30687 h 43276"/>
                <a:gd name="connsiteX153" fmla="*/ 15344 w 196713"/>
                <a:gd name="connsiteY153" fmla="*/ 32654 h 43276"/>
                <a:gd name="connsiteX154" fmla="*/ 12196 w 196713"/>
                <a:gd name="connsiteY154" fmla="*/ 33441 h 43276"/>
                <a:gd name="connsiteX155" fmla="*/ 9442 w 196713"/>
                <a:gd name="connsiteY155" fmla="*/ 33835 h 43276"/>
                <a:gd name="connsiteX156" fmla="*/ 6295 w 196713"/>
                <a:gd name="connsiteY156" fmla="*/ 34622 h 43276"/>
                <a:gd name="connsiteX157" fmla="*/ 3541 w 196713"/>
                <a:gd name="connsiteY157" fmla="*/ 36195 h 43276"/>
                <a:gd name="connsiteX158" fmla="*/ 0 w 196713"/>
                <a:gd name="connsiteY158" fmla="*/ 37376 h 43276"/>
                <a:gd name="connsiteX159" fmla="*/ 3541 w 196713"/>
                <a:gd name="connsiteY159" fmla="*/ 36589 h 43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</a:cxnLst>
              <a:rect l="l" t="t" r="r" b="b"/>
              <a:pathLst>
                <a:path w="196713" h="43276">
                  <a:moveTo>
                    <a:pt x="6295" y="35802"/>
                  </a:moveTo>
                  <a:lnTo>
                    <a:pt x="9442" y="35408"/>
                  </a:lnTo>
                  <a:lnTo>
                    <a:pt x="12590" y="35015"/>
                  </a:lnTo>
                  <a:lnTo>
                    <a:pt x="9442" y="36195"/>
                  </a:lnTo>
                  <a:lnTo>
                    <a:pt x="12590" y="36195"/>
                  </a:lnTo>
                  <a:lnTo>
                    <a:pt x="9442" y="37769"/>
                  </a:lnTo>
                  <a:lnTo>
                    <a:pt x="6295" y="38949"/>
                  </a:lnTo>
                  <a:lnTo>
                    <a:pt x="3148" y="39736"/>
                  </a:lnTo>
                  <a:lnTo>
                    <a:pt x="6295" y="41310"/>
                  </a:lnTo>
                  <a:lnTo>
                    <a:pt x="9442" y="40916"/>
                  </a:lnTo>
                  <a:lnTo>
                    <a:pt x="12590" y="39736"/>
                  </a:lnTo>
                  <a:lnTo>
                    <a:pt x="15344" y="38949"/>
                  </a:lnTo>
                  <a:lnTo>
                    <a:pt x="18491" y="38556"/>
                  </a:lnTo>
                  <a:lnTo>
                    <a:pt x="21638" y="38556"/>
                  </a:lnTo>
                  <a:lnTo>
                    <a:pt x="24786" y="38949"/>
                  </a:lnTo>
                  <a:lnTo>
                    <a:pt x="27540" y="41310"/>
                  </a:lnTo>
                  <a:lnTo>
                    <a:pt x="30687" y="40523"/>
                  </a:lnTo>
                  <a:lnTo>
                    <a:pt x="33835" y="39736"/>
                  </a:lnTo>
                  <a:lnTo>
                    <a:pt x="36589" y="39736"/>
                  </a:lnTo>
                  <a:lnTo>
                    <a:pt x="39736" y="37769"/>
                  </a:lnTo>
                  <a:lnTo>
                    <a:pt x="42490" y="35802"/>
                  </a:lnTo>
                  <a:lnTo>
                    <a:pt x="46031" y="34622"/>
                  </a:lnTo>
                  <a:lnTo>
                    <a:pt x="48785" y="35015"/>
                  </a:lnTo>
                  <a:lnTo>
                    <a:pt x="46031" y="37769"/>
                  </a:lnTo>
                  <a:lnTo>
                    <a:pt x="48785" y="39343"/>
                  </a:lnTo>
                  <a:lnTo>
                    <a:pt x="46031" y="40916"/>
                  </a:lnTo>
                  <a:lnTo>
                    <a:pt x="42884" y="42883"/>
                  </a:lnTo>
                  <a:lnTo>
                    <a:pt x="46031" y="43670"/>
                  </a:lnTo>
                  <a:lnTo>
                    <a:pt x="48785" y="42490"/>
                  </a:lnTo>
                  <a:lnTo>
                    <a:pt x="51145" y="43670"/>
                  </a:lnTo>
                  <a:lnTo>
                    <a:pt x="54293" y="42883"/>
                  </a:lnTo>
                  <a:lnTo>
                    <a:pt x="57047" y="42490"/>
                  </a:lnTo>
                  <a:lnTo>
                    <a:pt x="60194" y="41703"/>
                  </a:lnTo>
                  <a:lnTo>
                    <a:pt x="62948" y="40129"/>
                  </a:lnTo>
                  <a:lnTo>
                    <a:pt x="66096" y="40523"/>
                  </a:lnTo>
                  <a:lnTo>
                    <a:pt x="67669" y="37376"/>
                  </a:lnTo>
                  <a:lnTo>
                    <a:pt x="70423" y="36589"/>
                  </a:lnTo>
                  <a:lnTo>
                    <a:pt x="73177" y="33835"/>
                  </a:lnTo>
                  <a:lnTo>
                    <a:pt x="76325" y="31474"/>
                  </a:lnTo>
                  <a:lnTo>
                    <a:pt x="79472" y="30687"/>
                  </a:lnTo>
                  <a:lnTo>
                    <a:pt x="78685" y="33835"/>
                  </a:lnTo>
                  <a:lnTo>
                    <a:pt x="76718" y="36589"/>
                  </a:lnTo>
                  <a:lnTo>
                    <a:pt x="79866" y="36589"/>
                  </a:lnTo>
                  <a:lnTo>
                    <a:pt x="83013" y="36195"/>
                  </a:lnTo>
                  <a:lnTo>
                    <a:pt x="85767" y="35015"/>
                  </a:lnTo>
                  <a:lnTo>
                    <a:pt x="88521" y="32654"/>
                  </a:lnTo>
                  <a:lnTo>
                    <a:pt x="91669" y="32261"/>
                  </a:lnTo>
                  <a:lnTo>
                    <a:pt x="94422" y="32261"/>
                  </a:lnTo>
                  <a:lnTo>
                    <a:pt x="97570" y="31081"/>
                  </a:lnTo>
                  <a:lnTo>
                    <a:pt x="100324" y="29114"/>
                  </a:lnTo>
                  <a:lnTo>
                    <a:pt x="97570" y="27146"/>
                  </a:lnTo>
                  <a:lnTo>
                    <a:pt x="100324" y="25966"/>
                  </a:lnTo>
                  <a:lnTo>
                    <a:pt x="103471" y="25573"/>
                  </a:lnTo>
                  <a:lnTo>
                    <a:pt x="106225" y="26753"/>
                  </a:lnTo>
                  <a:lnTo>
                    <a:pt x="109373" y="25573"/>
                  </a:lnTo>
                  <a:lnTo>
                    <a:pt x="112127" y="25179"/>
                  </a:lnTo>
                  <a:lnTo>
                    <a:pt x="114881" y="23212"/>
                  </a:lnTo>
                  <a:lnTo>
                    <a:pt x="118028" y="21638"/>
                  </a:lnTo>
                  <a:lnTo>
                    <a:pt x="120782" y="19671"/>
                  </a:lnTo>
                  <a:lnTo>
                    <a:pt x="123929" y="19671"/>
                  </a:lnTo>
                  <a:lnTo>
                    <a:pt x="127077" y="19671"/>
                  </a:lnTo>
                  <a:lnTo>
                    <a:pt x="130224" y="18491"/>
                  </a:lnTo>
                  <a:lnTo>
                    <a:pt x="127077" y="21638"/>
                  </a:lnTo>
                  <a:lnTo>
                    <a:pt x="124323" y="22425"/>
                  </a:lnTo>
                  <a:lnTo>
                    <a:pt x="121176" y="23999"/>
                  </a:lnTo>
                  <a:lnTo>
                    <a:pt x="118028" y="26360"/>
                  </a:lnTo>
                  <a:lnTo>
                    <a:pt x="114881" y="27540"/>
                  </a:lnTo>
                  <a:lnTo>
                    <a:pt x="111733" y="28720"/>
                  </a:lnTo>
                  <a:lnTo>
                    <a:pt x="115274" y="31081"/>
                  </a:lnTo>
                  <a:lnTo>
                    <a:pt x="118422" y="32654"/>
                  </a:lnTo>
                  <a:lnTo>
                    <a:pt x="121176" y="32654"/>
                  </a:lnTo>
                  <a:lnTo>
                    <a:pt x="124323" y="32261"/>
                  </a:lnTo>
                  <a:lnTo>
                    <a:pt x="127470" y="31474"/>
                  </a:lnTo>
                  <a:lnTo>
                    <a:pt x="130618" y="30687"/>
                  </a:lnTo>
                  <a:lnTo>
                    <a:pt x="133372" y="28720"/>
                  </a:lnTo>
                  <a:lnTo>
                    <a:pt x="136519" y="25573"/>
                  </a:lnTo>
                  <a:lnTo>
                    <a:pt x="139666" y="25573"/>
                  </a:lnTo>
                  <a:lnTo>
                    <a:pt x="142814" y="24786"/>
                  </a:lnTo>
                  <a:lnTo>
                    <a:pt x="145961" y="24786"/>
                  </a:lnTo>
                  <a:lnTo>
                    <a:pt x="149109" y="24786"/>
                  </a:lnTo>
                  <a:lnTo>
                    <a:pt x="152256" y="24786"/>
                  </a:lnTo>
                  <a:lnTo>
                    <a:pt x="155403" y="23999"/>
                  </a:lnTo>
                  <a:lnTo>
                    <a:pt x="158944" y="23606"/>
                  </a:lnTo>
                  <a:lnTo>
                    <a:pt x="162092" y="22425"/>
                  </a:lnTo>
                  <a:lnTo>
                    <a:pt x="165633" y="21638"/>
                  </a:lnTo>
                  <a:lnTo>
                    <a:pt x="167993" y="18491"/>
                  </a:lnTo>
                  <a:lnTo>
                    <a:pt x="165239" y="16524"/>
                  </a:lnTo>
                  <a:lnTo>
                    <a:pt x="168387" y="15344"/>
                  </a:lnTo>
                  <a:lnTo>
                    <a:pt x="171141" y="16524"/>
                  </a:lnTo>
                  <a:lnTo>
                    <a:pt x="174288" y="16524"/>
                  </a:lnTo>
                  <a:lnTo>
                    <a:pt x="177435" y="15737"/>
                  </a:lnTo>
                  <a:lnTo>
                    <a:pt x="174288" y="13377"/>
                  </a:lnTo>
                  <a:lnTo>
                    <a:pt x="173501" y="10623"/>
                  </a:lnTo>
                  <a:lnTo>
                    <a:pt x="176255" y="9836"/>
                  </a:lnTo>
                  <a:lnTo>
                    <a:pt x="179403" y="9049"/>
                  </a:lnTo>
                  <a:lnTo>
                    <a:pt x="182550" y="8655"/>
                  </a:lnTo>
                  <a:lnTo>
                    <a:pt x="185304" y="8262"/>
                  </a:lnTo>
                  <a:lnTo>
                    <a:pt x="188845" y="7475"/>
                  </a:lnTo>
                  <a:lnTo>
                    <a:pt x="191992" y="7475"/>
                  </a:lnTo>
                  <a:lnTo>
                    <a:pt x="195533" y="7082"/>
                  </a:lnTo>
                  <a:lnTo>
                    <a:pt x="198287" y="6295"/>
                  </a:lnTo>
                  <a:lnTo>
                    <a:pt x="196713" y="3147"/>
                  </a:lnTo>
                  <a:lnTo>
                    <a:pt x="193566" y="2361"/>
                  </a:lnTo>
                  <a:lnTo>
                    <a:pt x="190419" y="787"/>
                  </a:lnTo>
                  <a:lnTo>
                    <a:pt x="187664" y="0"/>
                  </a:lnTo>
                  <a:lnTo>
                    <a:pt x="184517" y="393"/>
                  </a:lnTo>
                  <a:lnTo>
                    <a:pt x="178616" y="393"/>
                  </a:lnTo>
                  <a:lnTo>
                    <a:pt x="175468" y="1967"/>
                  </a:lnTo>
                  <a:lnTo>
                    <a:pt x="172321" y="1967"/>
                  </a:lnTo>
                  <a:lnTo>
                    <a:pt x="175468" y="3934"/>
                  </a:lnTo>
                  <a:lnTo>
                    <a:pt x="172714" y="5508"/>
                  </a:lnTo>
                  <a:lnTo>
                    <a:pt x="169567" y="5508"/>
                  </a:lnTo>
                  <a:lnTo>
                    <a:pt x="166813" y="4721"/>
                  </a:lnTo>
                  <a:lnTo>
                    <a:pt x="163666" y="6295"/>
                  </a:lnTo>
                  <a:lnTo>
                    <a:pt x="160912" y="5901"/>
                  </a:lnTo>
                  <a:lnTo>
                    <a:pt x="157764" y="5508"/>
                  </a:lnTo>
                  <a:lnTo>
                    <a:pt x="155010" y="5115"/>
                  </a:lnTo>
                  <a:lnTo>
                    <a:pt x="151469" y="4721"/>
                  </a:lnTo>
                  <a:lnTo>
                    <a:pt x="148322" y="4328"/>
                  </a:lnTo>
                  <a:lnTo>
                    <a:pt x="145174" y="4721"/>
                  </a:lnTo>
                  <a:lnTo>
                    <a:pt x="135732" y="4721"/>
                  </a:lnTo>
                  <a:lnTo>
                    <a:pt x="132978" y="5508"/>
                  </a:lnTo>
                  <a:lnTo>
                    <a:pt x="129831" y="5508"/>
                  </a:lnTo>
                  <a:lnTo>
                    <a:pt x="126683" y="5508"/>
                  </a:lnTo>
                  <a:lnTo>
                    <a:pt x="123929" y="6295"/>
                  </a:lnTo>
                  <a:lnTo>
                    <a:pt x="120782" y="7082"/>
                  </a:lnTo>
                  <a:lnTo>
                    <a:pt x="97570" y="13377"/>
                  </a:lnTo>
                  <a:lnTo>
                    <a:pt x="94422" y="14163"/>
                  </a:lnTo>
                  <a:lnTo>
                    <a:pt x="91275" y="15344"/>
                  </a:lnTo>
                  <a:lnTo>
                    <a:pt x="88128" y="16524"/>
                  </a:lnTo>
                  <a:lnTo>
                    <a:pt x="85374" y="16524"/>
                  </a:lnTo>
                  <a:lnTo>
                    <a:pt x="82226" y="18491"/>
                  </a:lnTo>
                  <a:lnTo>
                    <a:pt x="79079" y="19278"/>
                  </a:lnTo>
                  <a:lnTo>
                    <a:pt x="75931" y="20065"/>
                  </a:lnTo>
                  <a:lnTo>
                    <a:pt x="72784" y="20458"/>
                  </a:lnTo>
                  <a:lnTo>
                    <a:pt x="69637" y="20458"/>
                  </a:lnTo>
                  <a:lnTo>
                    <a:pt x="66882" y="21638"/>
                  </a:lnTo>
                  <a:lnTo>
                    <a:pt x="63342" y="22032"/>
                  </a:lnTo>
                  <a:lnTo>
                    <a:pt x="60588" y="22032"/>
                  </a:lnTo>
                  <a:lnTo>
                    <a:pt x="57834" y="23606"/>
                  </a:lnTo>
                  <a:lnTo>
                    <a:pt x="54686" y="24392"/>
                  </a:lnTo>
                  <a:lnTo>
                    <a:pt x="51145" y="25179"/>
                  </a:lnTo>
                  <a:lnTo>
                    <a:pt x="47998" y="26753"/>
                  </a:lnTo>
                  <a:lnTo>
                    <a:pt x="45244" y="27540"/>
                  </a:lnTo>
                  <a:lnTo>
                    <a:pt x="42097" y="28327"/>
                  </a:lnTo>
                  <a:lnTo>
                    <a:pt x="38949" y="28720"/>
                  </a:lnTo>
                  <a:lnTo>
                    <a:pt x="35802" y="27933"/>
                  </a:lnTo>
                  <a:lnTo>
                    <a:pt x="32655" y="28720"/>
                  </a:lnTo>
                  <a:lnTo>
                    <a:pt x="29901" y="28720"/>
                  </a:lnTo>
                  <a:lnTo>
                    <a:pt x="26753" y="29114"/>
                  </a:lnTo>
                  <a:lnTo>
                    <a:pt x="23999" y="29507"/>
                  </a:lnTo>
                  <a:lnTo>
                    <a:pt x="21245" y="29900"/>
                  </a:lnTo>
                  <a:lnTo>
                    <a:pt x="18491" y="30687"/>
                  </a:lnTo>
                  <a:lnTo>
                    <a:pt x="15344" y="32654"/>
                  </a:lnTo>
                  <a:lnTo>
                    <a:pt x="12196" y="33441"/>
                  </a:lnTo>
                  <a:lnTo>
                    <a:pt x="9442" y="33835"/>
                  </a:lnTo>
                  <a:lnTo>
                    <a:pt x="6295" y="34622"/>
                  </a:lnTo>
                  <a:lnTo>
                    <a:pt x="3541" y="36195"/>
                  </a:lnTo>
                  <a:lnTo>
                    <a:pt x="0" y="37376"/>
                  </a:lnTo>
                  <a:lnTo>
                    <a:pt x="3541" y="3658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22" name="Freeform: Shape 2516">
              <a:extLst>
                <a:ext uri="{FF2B5EF4-FFF2-40B4-BE49-F238E27FC236}">
                  <a16:creationId xmlns:a16="http://schemas.microsoft.com/office/drawing/2014/main" id="{13BBD6B6-8ECC-48C7-9680-AE0130BD14FD}"/>
                </a:ext>
              </a:extLst>
            </p:cNvPr>
            <p:cNvSpPr/>
            <p:nvPr/>
          </p:nvSpPr>
          <p:spPr>
            <a:xfrm>
              <a:off x="3748031" y="1243559"/>
              <a:ext cx="51145" cy="15737"/>
            </a:xfrm>
            <a:custGeom>
              <a:avLst/>
              <a:gdLst>
                <a:gd name="connsiteX0" fmla="*/ 11803 w 51145"/>
                <a:gd name="connsiteY0" fmla="*/ 15344 h 15737"/>
                <a:gd name="connsiteX1" fmla="*/ 14950 w 51145"/>
                <a:gd name="connsiteY1" fmla="*/ 14950 h 15737"/>
                <a:gd name="connsiteX2" fmla="*/ 17704 w 51145"/>
                <a:gd name="connsiteY2" fmla="*/ 14163 h 15737"/>
                <a:gd name="connsiteX3" fmla="*/ 20852 w 51145"/>
                <a:gd name="connsiteY3" fmla="*/ 13377 h 15737"/>
                <a:gd name="connsiteX4" fmla="*/ 23606 w 51145"/>
                <a:gd name="connsiteY4" fmla="*/ 12196 h 15737"/>
                <a:gd name="connsiteX5" fmla="*/ 26753 w 51145"/>
                <a:gd name="connsiteY5" fmla="*/ 11409 h 15737"/>
                <a:gd name="connsiteX6" fmla="*/ 29900 w 51145"/>
                <a:gd name="connsiteY6" fmla="*/ 10623 h 15737"/>
                <a:gd name="connsiteX7" fmla="*/ 33048 w 51145"/>
                <a:gd name="connsiteY7" fmla="*/ 9836 h 15737"/>
                <a:gd name="connsiteX8" fmla="*/ 35802 w 51145"/>
                <a:gd name="connsiteY8" fmla="*/ 8262 h 15737"/>
                <a:gd name="connsiteX9" fmla="*/ 38949 w 51145"/>
                <a:gd name="connsiteY9" fmla="*/ 7082 h 15737"/>
                <a:gd name="connsiteX10" fmla="*/ 42097 w 51145"/>
                <a:gd name="connsiteY10" fmla="*/ 5508 h 15737"/>
                <a:gd name="connsiteX11" fmla="*/ 44850 w 51145"/>
                <a:gd name="connsiteY11" fmla="*/ 5115 h 15737"/>
                <a:gd name="connsiteX12" fmla="*/ 47998 w 51145"/>
                <a:gd name="connsiteY12" fmla="*/ 3934 h 15737"/>
                <a:gd name="connsiteX13" fmla="*/ 50752 w 51145"/>
                <a:gd name="connsiteY13" fmla="*/ 2754 h 15737"/>
                <a:gd name="connsiteX14" fmla="*/ 53506 w 51145"/>
                <a:gd name="connsiteY14" fmla="*/ 0 h 15737"/>
                <a:gd name="connsiteX15" fmla="*/ 52326 w 51145"/>
                <a:gd name="connsiteY15" fmla="*/ 0 h 15737"/>
                <a:gd name="connsiteX16" fmla="*/ 49178 w 51145"/>
                <a:gd name="connsiteY16" fmla="*/ 0 h 15737"/>
                <a:gd name="connsiteX17" fmla="*/ 46031 w 51145"/>
                <a:gd name="connsiteY17" fmla="*/ 1180 h 15737"/>
                <a:gd name="connsiteX18" fmla="*/ 42883 w 51145"/>
                <a:gd name="connsiteY18" fmla="*/ 1967 h 15737"/>
                <a:gd name="connsiteX19" fmla="*/ 40130 w 51145"/>
                <a:gd name="connsiteY19" fmla="*/ 2361 h 15737"/>
                <a:gd name="connsiteX20" fmla="*/ 36982 w 51145"/>
                <a:gd name="connsiteY20" fmla="*/ 3541 h 15737"/>
                <a:gd name="connsiteX21" fmla="*/ 34228 w 51145"/>
                <a:gd name="connsiteY21" fmla="*/ 3541 h 15737"/>
                <a:gd name="connsiteX22" fmla="*/ 31081 w 51145"/>
                <a:gd name="connsiteY22" fmla="*/ 4328 h 15737"/>
                <a:gd name="connsiteX23" fmla="*/ 28327 w 51145"/>
                <a:gd name="connsiteY23" fmla="*/ 4721 h 15737"/>
                <a:gd name="connsiteX24" fmla="*/ 25179 w 51145"/>
                <a:gd name="connsiteY24" fmla="*/ 5115 h 15737"/>
                <a:gd name="connsiteX25" fmla="*/ 15737 w 51145"/>
                <a:gd name="connsiteY25" fmla="*/ 7869 h 15737"/>
                <a:gd name="connsiteX26" fmla="*/ 12983 w 51145"/>
                <a:gd name="connsiteY26" fmla="*/ 9049 h 15737"/>
                <a:gd name="connsiteX27" fmla="*/ 9442 w 51145"/>
                <a:gd name="connsiteY27" fmla="*/ 9836 h 15737"/>
                <a:gd name="connsiteX28" fmla="*/ 6688 w 51145"/>
                <a:gd name="connsiteY28" fmla="*/ 10623 h 15737"/>
                <a:gd name="connsiteX29" fmla="*/ 3147 w 51145"/>
                <a:gd name="connsiteY29" fmla="*/ 11409 h 15737"/>
                <a:gd name="connsiteX30" fmla="*/ 0 w 51145"/>
                <a:gd name="connsiteY30" fmla="*/ 13770 h 15737"/>
                <a:gd name="connsiteX31" fmla="*/ 3147 w 51145"/>
                <a:gd name="connsiteY31" fmla="*/ 14163 h 15737"/>
                <a:gd name="connsiteX32" fmla="*/ 5901 w 51145"/>
                <a:gd name="connsiteY32" fmla="*/ 14950 h 15737"/>
                <a:gd name="connsiteX33" fmla="*/ 9049 w 51145"/>
                <a:gd name="connsiteY33" fmla="*/ 1573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51145" h="15737">
                  <a:moveTo>
                    <a:pt x="11803" y="15344"/>
                  </a:moveTo>
                  <a:lnTo>
                    <a:pt x="14950" y="14950"/>
                  </a:lnTo>
                  <a:lnTo>
                    <a:pt x="17704" y="14163"/>
                  </a:lnTo>
                  <a:lnTo>
                    <a:pt x="20852" y="13377"/>
                  </a:lnTo>
                  <a:lnTo>
                    <a:pt x="23606" y="12196"/>
                  </a:lnTo>
                  <a:lnTo>
                    <a:pt x="26753" y="11409"/>
                  </a:lnTo>
                  <a:lnTo>
                    <a:pt x="29900" y="10623"/>
                  </a:lnTo>
                  <a:lnTo>
                    <a:pt x="33048" y="9836"/>
                  </a:lnTo>
                  <a:lnTo>
                    <a:pt x="35802" y="8262"/>
                  </a:lnTo>
                  <a:lnTo>
                    <a:pt x="38949" y="7082"/>
                  </a:lnTo>
                  <a:lnTo>
                    <a:pt x="42097" y="5508"/>
                  </a:lnTo>
                  <a:lnTo>
                    <a:pt x="44850" y="5115"/>
                  </a:lnTo>
                  <a:lnTo>
                    <a:pt x="47998" y="3934"/>
                  </a:lnTo>
                  <a:lnTo>
                    <a:pt x="50752" y="2754"/>
                  </a:lnTo>
                  <a:lnTo>
                    <a:pt x="53506" y="0"/>
                  </a:lnTo>
                  <a:lnTo>
                    <a:pt x="52326" y="0"/>
                  </a:lnTo>
                  <a:lnTo>
                    <a:pt x="49178" y="0"/>
                  </a:lnTo>
                  <a:lnTo>
                    <a:pt x="46031" y="1180"/>
                  </a:lnTo>
                  <a:lnTo>
                    <a:pt x="42883" y="1967"/>
                  </a:lnTo>
                  <a:lnTo>
                    <a:pt x="40130" y="2361"/>
                  </a:lnTo>
                  <a:lnTo>
                    <a:pt x="36982" y="3541"/>
                  </a:lnTo>
                  <a:lnTo>
                    <a:pt x="34228" y="3541"/>
                  </a:lnTo>
                  <a:lnTo>
                    <a:pt x="31081" y="4328"/>
                  </a:lnTo>
                  <a:lnTo>
                    <a:pt x="28327" y="4721"/>
                  </a:lnTo>
                  <a:lnTo>
                    <a:pt x="25179" y="5115"/>
                  </a:lnTo>
                  <a:lnTo>
                    <a:pt x="15737" y="7869"/>
                  </a:lnTo>
                  <a:lnTo>
                    <a:pt x="12983" y="9049"/>
                  </a:lnTo>
                  <a:lnTo>
                    <a:pt x="9442" y="9836"/>
                  </a:lnTo>
                  <a:lnTo>
                    <a:pt x="6688" y="10623"/>
                  </a:lnTo>
                  <a:lnTo>
                    <a:pt x="3147" y="11409"/>
                  </a:lnTo>
                  <a:lnTo>
                    <a:pt x="0" y="13770"/>
                  </a:lnTo>
                  <a:lnTo>
                    <a:pt x="3147" y="14163"/>
                  </a:lnTo>
                  <a:lnTo>
                    <a:pt x="5901" y="14950"/>
                  </a:lnTo>
                  <a:lnTo>
                    <a:pt x="9049" y="1573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23" name="Freeform: Shape 2517">
              <a:extLst>
                <a:ext uri="{FF2B5EF4-FFF2-40B4-BE49-F238E27FC236}">
                  <a16:creationId xmlns:a16="http://schemas.microsoft.com/office/drawing/2014/main" id="{903CB43E-C074-4994-B3FE-8A957177DB3A}"/>
                </a:ext>
              </a:extLst>
            </p:cNvPr>
            <p:cNvSpPr/>
            <p:nvPr/>
          </p:nvSpPr>
          <p:spPr>
            <a:xfrm>
              <a:off x="3882189" y="1223494"/>
              <a:ext cx="27540" cy="3934"/>
            </a:xfrm>
            <a:custGeom>
              <a:avLst/>
              <a:gdLst>
                <a:gd name="connsiteX0" fmla="*/ 3147 w 27539"/>
                <a:gd name="connsiteY0" fmla="*/ 1967 h 3934"/>
                <a:gd name="connsiteX1" fmla="*/ 0 w 27539"/>
                <a:gd name="connsiteY1" fmla="*/ 3541 h 3934"/>
                <a:gd name="connsiteX2" fmla="*/ 3147 w 27539"/>
                <a:gd name="connsiteY2" fmla="*/ 3934 h 3934"/>
                <a:gd name="connsiteX3" fmla="*/ 6295 w 27539"/>
                <a:gd name="connsiteY3" fmla="*/ 3934 h 3934"/>
                <a:gd name="connsiteX4" fmla="*/ 9836 w 27539"/>
                <a:gd name="connsiteY4" fmla="*/ 4328 h 3934"/>
                <a:gd name="connsiteX5" fmla="*/ 12590 w 27539"/>
                <a:gd name="connsiteY5" fmla="*/ 5115 h 3934"/>
                <a:gd name="connsiteX6" fmla="*/ 15344 w 27539"/>
                <a:gd name="connsiteY6" fmla="*/ 4721 h 3934"/>
                <a:gd name="connsiteX7" fmla="*/ 18491 w 27539"/>
                <a:gd name="connsiteY7" fmla="*/ 4328 h 3934"/>
                <a:gd name="connsiteX8" fmla="*/ 21638 w 27539"/>
                <a:gd name="connsiteY8" fmla="*/ 4721 h 3934"/>
                <a:gd name="connsiteX9" fmla="*/ 24786 w 27539"/>
                <a:gd name="connsiteY9" fmla="*/ 3541 h 3934"/>
                <a:gd name="connsiteX10" fmla="*/ 28327 w 27539"/>
                <a:gd name="connsiteY10" fmla="*/ 1574 h 3934"/>
                <a:gd name="connsiteX11" fmla="*/ 25179 w 27539"/>
                <a:gd name="connsiteY11" fmla="*/ 0 h 3934"/>
                <a:gd name="connsiteX12" fmla="*/ 19278 w 27539"/>
                <a:gd name="connsiteY12" fmla="*/ 0 h 3934"/>
                <a:gd name="connsiteX13" fmla="*/ 15737 w 27539"/>
                <a:gd name="connsiteY13" fmla="*/ 393 h 3934"/>
                <a:gd name="connsiteX14" fmla="*/ 12590 w 27539"/>
                <a:gd name="connsiteY14" fmla="*/ 393 h 3934"/>
                <a:gd name="connsiteX15" fmla="*/ 9442 w 27539"/>
                <a:gd name="connsiteY15" fmla="*/ 787 h 3934"/>
                <a:gd name="connsiteX16" fmla="*/ 6295 w 27539"/>
                <a:gd name="connsiteY16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539" h="3934">
                  <a:moveTo>
                    <a:pt x="3147" y="1967"/>
                  </a:moveTo>
                  <a:lnTo>
                    <a:pt x="0" y="3541"/>
                  </a:lnTo>
                  <a:lnTo>
                    <a:pt x="3147" y="3934"/>
                  </a:lnTo>
                  <a:lnTo>
                    <a:pt x="6295" y="3934"/>
                  </a:lnTo>
                  <a:lnTo>
                    <a:pt x="9836" y="4328"/>
                  </a:lnTo>
                  <a:lnTo>
                    <a:pt x="12590" y="5115"/>
                  </a:lnTo>
                  <a:lnTo>
                    <a:pt x="15344" y="4721"/>
                  </a:lnTo>
                  <a:lnTo>
                    <a:pt x="18491" y="4328"/>
                  </a:lnTo>
                  <a:lnTo>
                    <a:pt x="21638" y="4721"/>
                  </a:lnTo>
                  <a:lnTo>
                    <a:pt x="24786" y="3541"/>
                  </a:lnTo>
                  <a:lnTo>
                    <a:pt x="28327" y="1574"/>
                  </a:lnTo>
                  <a:lnTo>
                    <a:pt x="25179" y="0"/>
                  </a:lnTo>
                  <a:lnTo>
                    <a:pt x="19278" y="0"/>
                  </a:lnTo>
                  <a:lnTo>
                    <a:pt x="15737" y="393"/>
                  </a:lnTo>
                  <a:lnTo>
                    <a:pt x="12590" y="393"/>
                  </a:lnTo>
                  <a:lnTo>
                    <a:pt x="9442" y="787"/>
                  </a:lnTo>
                  <a:lnTo>
                    <a:pt x="6295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24" name="Freeform: Shape 2518">
              <a:extLst>
                <a:ext uri="{FF2B5EF4-FFF2-40B4-BE49-F238E27FC236}">
                  <a16:creationId xmlns:a16="http://schemas.microsoft.com/office/drawing/2014/main" id="{8238433A-F791-43CD-9F37-9F1007C2A960}"/>
                </a:ext>
              </a:extLst>
            </p:cNvPr>
            <p:cNvSpPr/>
            <p:nvPr/>
          </p:nvSpPr>
          <p:spPr>
            <a:xfrm>
              <a:off x="3906975" y="1249460"/>
              <a:ext cx="3934" cy="3934"/>
            </a:xfrm>
            <a:custGeom>
              <a:avLst/>
              <a:gdLst>
                <a:gd name="connsiteX0" fmla="*/ 0 w 3934"/>
                <a:gd name="connsiteY0" fmla="*/ 1180 h 0"/>
                <a:gd name="connsiteX1" fmla="*/ 3148 w 3934"/>
                <a:gd name="connsiteY1" fmla="*/ 787 h 0"/>
                <a:gd name="connsiteX2" fmla="*/ 5901 w 3934"/>
                <a:gd name="connsiteY2" fmla="*/ 393 h 0"/>
                <a:gd name="connsiteX3" fmla="*/ 6295 w 3934"/>
                <a:gd name="connsiteY3" fmla="*/ 0 h 0"/>
                <a:gd name="connsiteX4" fmla="*/ 3541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180"/>
                  </a:moveTo>
                  <a:lnTo>
                    <a:pt x="3148" y="787"/>
                  </a:lnTo>
                  <a:lnTo>
                    <a:pt x="5901" y="393"/>
                  </a:lnTo>
                  <a:lnTo>
                    <a:pt x="6295" y="0"/>
                  </a:lnTo>
                  <a:lnTo>
                    <a:pt x="354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25" name="Freeform: Shape 2519">
              <a:extLst>
                <a:ext uri="{FF2B5EF4-FFF2-40B4-BE49-F238E27FC236}">
                  <a16:creationId xmlns:a16="http://schemas.microsoft.com/office/drawing/2014/main" id="{DF87EC18-25FE-453A-A547-151A986CBE3A}"/>
                </a:ext>
              </a:extLst>
            </p:cNvPr>
            <p:cNvSpPr/>
            <p:nvPr/>
          </p:nvSpPr>
          <p:spPr>
            <a:xfrm>
              <a:off x="3612692" y="1393848"/>
              <a:ext cx="3934" cy="3934"/>
            </a:xfrm>
            <a:custGeom>
              <a:avLst/>
              <a:gdLst>
                <a:gd name="connsiteX0" fmla="*/ 5508 w 3934"/>
                <a:gd name="connsiteY0" fmla="*/ 393 h 0"/>
                <a:gd name="connsiteX1" fmla="*/ 2754 w 3934"/>
                <a:gd name="connsiteY1" fmla="*/ 0 h 0"/>
                <a:gd name="connsiteX2" fmla="*/ 0 w 3934"/>
                <a:gd name="connsiteY2" fmla="*/ 787 h 0"/>
                <a:gd name="connsiteX3" fmla="*/ 2754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508" y="393"/>
                  </a:moveTo>
                  <a:lnTo>
                    <a:pt x="2754" y="0"/>
                  </a:lnTo>
                  <a:lnTo>
                    <a:pt x="0" y="787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26" name="Freeform: Shape 2520">
              <a:extLst>
                <a:ext uri="{FF2B5EF4-FFF2-40B4-BE49-F238E27FC236}">
                  <a16:creationId xmlns:a16="http://schemas.microsoft.com/office/drawing/2014/main" id="{F45553ED-1034-489F-83B0-BFD75123D98A}"/>
                </a:ext>
              </a:extLst>
            </p:cNvPr>
            <p:cNvSpPr/>
            <p:nvPr/>
          </p:nvSpPr>
          <p:spPr>
            <a:xfrm>
              <a:off x="3620167" y="139542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18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27" name="Freeform: Shape 2521">
              <a:extLst>
                <a:ext uri="{FF2B5EF4-FFF2-40B4-BE49-F238E27FC236}">
                  <a16:creationId xmlns:a16="http://schemas.microsoft.com/office/drawing/2014/main" id="{922A61B2-BF9D-4C2B-B3FE-6B9874FB7A69}"/>
                </a:ext>
              </a:extLst>
            </p:cNvPr>
            <p:cNvSpPr/>
            <p:nvPr/>
          </p:nvSpPr>
          <p:spPr>
            <a:xfrm>
              <a:off x="3622921" y="139424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393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393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28" name="Freeform: Shape 2522">
              <a:extLst>
                <a:ext uri="{FF2B5EF4-FFF2-40B4-BE49-F238E27FC236}">
                  <a16:creationId xmlns:a16="http://schemas.microsoft.com/office/drawing/2014/main" id="{54CA4CE1-5504-42AE-AF31-C1AC0786438D}"/>
                </a:ext>
              </a:extLst>
            </p:cNvPr>
            <p:cNvSpPr/>
            <p:nvPr/>
          </p:nvSpPr>
          <p:spPr>
            <a:xfrm>
              <a:off x="3626856" y="1394634"/>
              <a:ext cx="3934" cy="3934"/>
            </a:xfrm>
            <a:custGeom>
              <a:avLst/>
              <a:gdLst>
                <a:gd name="connsiteX0" fmla="*/ 5901 w 3934"/>
                <a:gd name="connsiteY0" fmla="*/ 0 h 0"/>
                <a:gd name="connsiteX1" fmla="*/ 2754 w 3934"/>
                <a:gd name="connsiteY1" fmla="*/ 393 h 0"/>
                <a:gd name="connsiteX2" fmla="*/ 0 w 3934"/>
                <a:gd name="connsiteY2" fmla="*/ 787 h 0"/>
                <a:gd name="connsiteX3" fmla="*/ 3147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0"/>
                  </a:moveTo>
                  <a:lnTo>
                    <a:pt x="2754" y="393"/>
                  </a:lnTo>
                  <a:lnTo>
                    <a:pt x="0" y="787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29" name="Freeform: Shape 2523">
              <a:extLst>
                <a:ext uri="{FF2B5EF4-FFF2-40B4-BE49-F238E27FC236}">
                  <a16:creationId xmlns:a16="http://schemas.microsoft.com/office/drawing/2014/main" id="{7F43106D-B58A-4992-84DF-459CC1F90CA2}"/>
                </a:ext>
              </a:extLst>
            </p:cNvPr>
            <p:cNvSpPr/>
            <p:nvPr/>
          </p:nvSpPr>
          <p:spPr>
            <a:xfrm>
              <a:off x="3639052" y="1393454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0 w 0"/>
                <a:gd name="connsiteY1" fmla="*/ 1180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0" y="118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0" name="Freeform: Shape 2524">
              <a:extLst>
                <a:ext uri="{FF2B5EF4-FFF2-40B4-BE49-F238E27FC236}">
                  <a16:creationId xmlns:a16="http://schemas.microsoft.com/office/drawing/2014/main" id="{C0067299-0123-448B-A679-75CF6711EB41}"/>
                </a:ext>
              </a:extLst>
            </p:cNvPr>
            <p:cNvSpPr/>
            <p:nvPr/>
          </p:nvSpPr>
          <p:spPr>
            <a:xfrm>
              <a:off x="3945138" y="1192807"/>
              <a:ext cx="86554" cy="19671"/>
            </a:xfrm>
            <a:custGeom>
              <a:avLst/>
              <a:gdLst>
                <a:gd name="connsiteX0" fmla="*/ 3541 w 86553"/>
                <a:gd name="connsiteY0" fmla="*/ 16524 h 19671"/>
                <a:gd name="connsiteX1" fmla="*/ 6688 w 86553"/>
                <a:gd name="connsiteY1" fmla="*/ 16524 h 19671"/>
                <a:gd name="connsiteX2" fmla="*/ 8655 w 86553"/>
                <a:gd name="connsiteY2" fmla="*/ 19671 h 19671"/>
                <a:gd name="connsiteX3" fmla="*/ 11803 w 86553"/>
                <a:gd name="connsiteY3" fmla="*/ 19671 h 19671"/>
                <a:gd name="connsiteX4" fmla="*/ 14950 w 86553"/>
                <a:gd name="connsiteY4" fmla="*/ 19671 h 19671"/>
                <a:gd name="connsiteX5" fmla="*/ 17704 w 86553"/>
                <a:gd name="connsiteY5" fmla="*/ 19278 h 19671"/>
                <a:gd name="connsiteX6" fmla="*/ 20852 w 86553"/>
                <a:gd name="connsiteY6" fmla="*/ 18884 h 19671"/>
                <a:gd name="connsiteX7" fmla="*/ 23999 w 86553"/>
                <a:gd name="connsiteY7" fmla="*/ 18491 h 19671"/>
                <a:gd name="connsiteX8" fmla="*/ 27147 w 86553"/>
                <a:gd name="connsiteY8" fmla="*/ 18098 h 19671"/>
                <a:gd name="connsiteX9" fmla="*/ 30294 w 86553"/>
                <a:gd name="connsiteY9" fmla="*/ 17704 h 19671"/>
                <a:gd name="connsiteX10" fmla="*/ 33048 w 86553"/>
                <a:gd name="connsiteY10" fmla="*/ 17704 h 19671"/>
                <a:gd name="connsiteX11" fmla="*/ 36195 w 86553"/>
                <a:gd name="connsiteY11" fmla="*/ 17704 h 19671"/>
                <a:gd name="connsiteX12" fmla="*/ 39343 w 86553"/>
                <a:gd name="connsiteY12" fmla="*/ 17704 h 19671"/>
                <a:gd name="connsiteX13" fmla="*/ 42884 w 86553"/>
                <a:gd name="connsiteY13" fmla="*/ 16524 h 19671"/>
                <a:gd name="connsiteX14" fmla="*/ 46031 w 86553"/>
                <a:gd name="connsiteY14" fmla="*/ 16524 h 19671"/>
                <a:gd name="connsiteX15" fmla="*/ 49178 w 86553"/>
                <a:gd name="connsiteY15" fmla="*/ 16130 h 19671"/>
                <a:gd name="connsiteX16" fmla="*/ 52326 w 86553"/>
                <a:gd name="connsiteY16" fmla="*/ 15344 h 19671"/>
                <a:gd name="connsiteX17" fmla="*/ 55867 w 86553"/>
                <a:gd name="connsiteY17" fmla="*/ 14950 h 19671"/>
                <a:gd name="connsiteX18" fmla="*/ 59014 w 86553"/>
                <a:gd name="connsiteY18" fmla="*/ 14163 h 19671"/>
                <a:gd name="connsiteX19" fmla="*/ 62161 w 86553"/>
                <a:gd name="connsiteY19" fmla="*/ 12590 h 19671"/>
                <a:gd name="connsiteX20" fmla="*/ 64915 w 86553"/>
                <a:gd name="connsiteY20" fmla="*/ 10229 h 19671"/>
                <a:gd name="connsiteX21" fmla="*/ 62161 w 86553"/>
                <a:gd name="connsiteY21" fmla="*/ 8262 h 19671"/>
                <a:gd name="connsiteX22" fmla="*/ 58227 w 86553"/>
                <a:gd name="connsiteY22" fmla="*/ 8655 h 19671"/>
                <a:gd name="connsiteX23" fmla="*/ 55473 w 86553"/>
                <a:gd name="connsiteY23" fmla="*/ 8655 h 19671"/>
                <a:gd name="connsiteX24" fmla="*/ 58227 w 86553"/>
                <a:gd name="connsiteY24" fmla="*/ 5901 h 19671"/>
                <a:gd name="connsiteX25" fmla="*/ 61768 w 86553"/>
                <a:gd name="connsiteY25" fmla="*/ 5901 h 19671"/>
                <a:gd name="connsiteX26" fmla="*/ 64522 w 86553"/>
                <a:gd name="connsiteY26" fmla="*/ 5508 h 19671"/>
                <a:gd name="connsiteX27" fmla="*/ 67669 w 86553"/>
                <a:gd name="connsiteY27" fmla="*/ 5508 h 19671"/>
                <a:gd name="connsiteX28" fmla="*/ 71210 w 86553"/>
                <a:gd name="connsiteY28" fmla="*/ 5508 h 19671"/>
                <a:gd name="connsiteX29" fmla="*/ 74358 w 86553"/>
                <a:gd name="connsiteY29" fmla="*/ 4721 h 19671"/>
                <a:gd name="connsiteX30" fmla="*/ 75145 w 86553"/>
                <a:gd name="connsiteY30" fmla="*/ 4721 h 19671"/>
                <a:gd name="connsiteX31" fmla="*/ 78292 w 86553"/>
                <a:gd name="connsiteY31" fmla="*/ 4328 h 19671"/>
                <a:gd name="connsiteX32" fmla="*/ 81439 w 86553"/>
                <a:gd name="connsiteY32" fmla="*/ 3934 h 19671"/>
                <a:gd name="connsiteX33" fmla="*/ 84587 w 86553"/>
                <a:gd name="connsiteY33" fmla="*/ 3147 h 19671"/>
                <a:gd name="connsiteX34" fmla="*/ 87734 w 86553"/>
                <a:gd name="connsiteY34" fmla="*/ 1967 h 19671"/>
                <a:gd name="connsiteX35" fmla="*/ 84587 w 86553"/>
                <a:gd name="connsiteY35" fmla="*/ 393 h 19671"/>
                <a:gd name="connsiteX36" fmla="*/ 82226 w 86553"/>
                <a:gd name="connsiteY36" fmla="*/ 393 h 19671"/>
                <a:gd name="connsiteX37" fmla="*/ 79472 w 86553"/>
                <a:gd name="connsiteY37" fmla="*/ 393 h 19671"/>
                <a:gd name="connsiteX38" fmla="*/ 76325 w 86553"/>
                <a:gd name="connsiteY38" fmla="*/ 0 h 19671"/>
                <a:gd name="connsiteX39" fmla="*/ 72391 w 86553"/>
                <a:gd name="connsiteY39" fmla="*/ 393 h 19671"/>
                <a:gd name="connsiteX40" fmla="*/ 69637 w 86553"/>
                <a:gd name="connsiteY40" fmla="*/ 393 h 19671"/>
                <a:gd name="connsiteX41" fmla="*/ 66882 w 86553"/>
                <a:gd name="connsiteY41" fmla="*/ 393 h 19671"/>
                <a:gd name="connsiteX42" fmla="*/ 63735 w 86553"/>
                <a:gd name="connsiteY42" fmla="*/ 1180 h 19671"/>
                <a:gd name="connsiteX43" fmla="*/ 60588 w 86553"/>
                <a:gd name="connsiteY43" fmla="*/ 393 h 19671"/>
                <a:gd name="connsiteX44" fmla="*/ 57440 w 86553"/>
                <a:gd name="connsiteY44" fmla="*/ 787 h 19671"/>
                <a:gd name="connsiteX45" fmla="*/ 54686 w 86553"/>
                <a:gd name="connsiteY45" fmla="*/ 1180 h 19671"/>
                <a:gd name="connsiteX46" fmla="*/ 51145 w 86553"/>
                <a:gd name="connsiteY46" fmla="*/ 1180 h 19671"/>
                <a:gd name="connsiteX47" fmla="*/ 48391 w 86553"/>
                <a:gd name="connsiteY47" fmla="*/ 1967 h 19671"/>
                <a:gd name="connsiteX48" fmla="*/ 45244 w 86553"/>
                <a:gd name="connsiteY48" fmla="*/ 2361 h 19671"/>
                <a:gd name="connsiteX49" fmla="*/ 39343 w 86553"/>
                <a:gd name="connsiteY49" fmla="*/ 2361 h 19671"/>
                <a:gd name="connsiteX50" fmla="*/ 36195 w 86553"/>
                <a:gd name="connsiteY50" fmla="*/ 2754 h 19671"/>
                <a:gd name="connsiteX51" fmla="*/ 33048 w 86553"/>
                <a:gd name="connsiteY51" fmla="*/ 2754 h 19671"/>
                <a:gd name="connsiteX52" fmla="*/ 29901 w 86553"/>
                <a:gd name="connsiteY52" fmla="*/ 3147 h 19671"/>
                <a:gd name="connsiteX53" fmla="*/ 27147 w 86553"/>
                <a:gd name="connsiteY53" fmla="*/ 3541 h 19671"/>
                <a:gd name="connsiteX54" fmla="*/ 20852 w 86553"/>
                <a:gd name="connsiteY54" fmla="*/ 4328 h 19671"/>
                <a:gd name="connsiteX55" fmla="*/ 17704 w 86553"/>
                <a:gd name="connsiteY55" fmla="*/ 5115 h 19671"/>
                <a:gd name="connsiteX56" fmla="*/ 14950 w 86553"/>
                <a:gd name="connsiteY56" fmla="*/ 5115 h 19671"/>
                <a:gd name="connsiteX57" fmla="*/ 11803 w 86553"/>
                <a:gd name="connsiteY57" fmla="*/ 5508 h 19671"/>
                <a:gd name="connsiteX58" fmla="*/ 9049 w 86553"/>
                <a:gd name="connsiteY58" fmla="*/ 6295 h 19671"/>
                <a:gd name="connsiteX59" fmla="*/ 5901 w 86553"/>
                <a:gd name="connsiteY59" fmla="*/ 7869 h 19671"/>
                <a:gd name="connsiteX60" fmla="*/ 3147 w 86553"/>
                <a:gd name="connsiteY60" fmla="*/ 11016 h 19671"/>
                <a:gd name="connsiteX61" fmla="*/ 0 w 86553"/>
                <a:gd name="connsiteY61" fmla="*/ 12983 h 19671"/>
                <a:gd name="connsiteX62" fmla="*/ 787 w 86553"/>
                <a:gd name="connsiteY62" fmla="*/ 16130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86553" h="19671">
                  <a:moveTo>
                    <a:pt x="3541" y="16524"/>
                  </a:moveTo>
                  <a:lnTo>
                    <a:pt x="6688" y="16524"/>
                  </a:lnTo>
                  <a:lnTo>
                    <a:pt x="8655" y="19671"/>
                  </a:lnTo>
                  <a:lnTo>
                    <a:pt x="11803" y="19671"/>
                  </a:lnTo>
                  <a:lnTo>
                    <a:pt x="14950" y="19671"/>
                  </a:lnTo>
                  <a:lnTo>
                    <a:pt x="17704" y="19278"/>
                  </a:lnTo>
                  <a:lnTo>
                    <a:pt x="20852" y="18884"/>
                  </a:lnTo>
                  <a:lnTo>
                    <a:pt x="23999" y="18491"/>
                  </a:lnTo>
                  <a:lnTo>
                    <a:pt x="27147" y="18098"/>
                  </a:lnTo>
                  <a:lnTo>
                    <a:pt x="30294" y="17704"/>
                  </a:lnTo>
                  <a:lnTo>
                    <a:pt x="33048" y="17704"/>
                  </a:lnTo>
                  <a:lnTo>
                    <a:pt x="36195" y="17704"/>
                  </a:lnTo>
                  <a:lnTo>
                    <a:pt x="39343" y="17704"/>
                  </a:lnTo>
                  <a:lnTo>
                    <a:pt x="42884" y="16524"/>
                  </a:lnTo>
                  <a:lnTo>
                    <a:pt x="46031" y="16524"/>
                  </a:lnTo>
                  <a:lnTo>
                    <a:pt x="49178" y="16130"/>
                  </a:lnTo>
                  <a:lnTo>
                    <a:pt x="52326" y="15344"/>
                  </a:lnTo>
                  <a:lnTo>
                    <a:pt x="55867" y="14950"/>
                  </a:lnTo>
                  <a:lnTo>
                    <a:pt x="59014" y="14163"/>
                  </a:lnTo>
                  <a:lnTo>
                    <a:pt x="62161" y="12590"/>
                  </a:lnTo>
                  <a:lnTo>
                    <a:pt x="64915" y="10229"/>
                  </a:lnTo>
                  <a:lnTo>
                    <a:pt x="62161" y="8262"/>
                  </a:lnTo>
                  <a:lnTo>
                    <a:pt x="58227" y="8655"/>
                  </a:lnTo>
                  <a:lnTo>
                    <a:pt x="55473" y="8655"/>
                  </a:lnTo>
                  <a:lnTo>
                    <a:pt x="58227" y="5901"/>
                  </a:lnTo>
                  <a:lnTo>
                    <a:pt x="61768" y="5901"/>
                  </a:lnTo>
                  <a:lnTo>
                    <a:pt x="64522" y="5508"/>
                  </a:lnTo>
                  <a:lnTo>
                    <a:pt x="67669" y="5508"/>
                  </a:lnTo>
                  <a:lnTo>
                    <a:pt x="71210" y="5508"/>
                  </a:lnTo>
                  <a:lnTo>
                    <a:pt x="74358" y="4721"/>
                  </a:lnTo>
                  <a:lnTo>
                    <a:pt x="75145" y="4721"/>
                  </a:lnTo>
                  <a:lnTo>
                    <a:pt x="78292" y="4328"/>
                  </a:lnTo>
                  <a:lnTo>
                    <a:pt x="81439" y="3934"/>
                  </a:lnTo>
                  <a:lnTo>
                    <a:pt x="84587" y="3147"/>
                  </a:lnTo>
                  <a:lnTo>
                    <a:pt x="87734" y="1967"/>
                  </a:lnTo>
                  <a:lnTo>
                    <a:pt x="84587" y="393"/>
                  </a:lnTo>
                  <a:lnTo>
                    <a:pt x="82226" y="393"/>
                  </a:lnTo>
                  <a:lnTo>
                    <a:pt x="79472" y="393"/>
                  </a:lnTo>
                  <a:lnTo>
                    <a:pt x="76325" y="0"/>
                  </a:lnTo>
                  <a:lnTo>
                    <a:pt x="72391" y="393"/>
                  </a:lnTo>
                  <a:lnTo>
                    <a:pt x="69637" y="393"/>
                  </a:lnTo>
                  <a:lnTo>
                    <a:pt x="66882" y="393"/>
                  </a:lnTo>
                  <a:lnTo>
                    <a:pt x="63735" y="1180"/>
                  </a:lnTo>
                  <a:lnTo>
                    <a:pt x="60588" y="393"/>
                  </a:lnTo>
                  <a:lnTo>
                    <a:pt x="57440" y="787"/>
                  </a:lnTo>
                  <a:lnTo>
                    <a:pt x="54686" y="1180"/>
                  </a:lnTo>
                  <a:lnTo>
                    <a:pt x="51145" y="1180"/>
                  </a:lnTo>
                  <a:lnTo>
                    <a:pt x="48391" y="1967"/>
                  </a:lnTo>
                  <a:lnTo>
                    <a:pt x="45244" y="2361"/>
                  </a:lnTo>
                  <a:lnTo>
                    <a:pt x="39343" y="2361"/>
                  </a:lnTo>
                  <a:lnTo>
                    <a:pt x="36195" y="2754"/>
                  </a:lnTo>
                  <a:lnTo>
                    <a:pt x="33048" y="2754"/>
                  </a:lnTo>
                  <a:lnTo>
                    <a:pt x="29901" y="3147"/>
                  </a:lnTo>
                  <a:lnTo>
                    <a:pt x="27147" y="3541"/>
                  </a:lnTo>
                  <a:lnTo>
                    <a:pt x="20852" y="4328"/>
                  </a:lnTo>
                  <a:lnTo>
                    <a:pt x="17704" y="5115"/>
                  </a:lnTo>
                  <a:lnTo>
                    <a:pt x="14950" y="5115"/>
                  </a:lnTo>
                  <a:lnTo>
                    <a:pt x="11803" y="5508"/>
                  </a:lnTo>
                  <a:lnTo>
                    <a:pt x="9049" y="6295"/>
                  </a:lnTo>
                  <a:lnTo>
                    <a:pt x="5901" y="7869"/>
                  </a:lnTo>
                  <a:lnTo>
                    <a:pt x="3147" y="11016"/>
                  </a:lnTo>
                  <a:lnTo>
                    <a:pt x="0" y="12983"/>
                  </a:lnTo>
                  <a:lnTo>
                    <a:pt x="787" y="1613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1" name="Freeform: Shape 2525">
              <a:extLst>
                <a:ext uri="{FF2B5EF4-FFF2-40B4-BE49-F238E27FC236}">
                  <a16:creationId xmlns:a16="http://schemas.microsoft.com/office/drawing/2014/main" id="{091FC9E4-4175-4814-9D1F-69E2D6ED017F}"/>
                </a:ext>
              </a:extLst>
            </p:cNvPr>
            <p:cNvSpPr/>
            <p:nvPr/>
          </p:nvSpPr>
          <p:spPr>
            <a:xfrm>
              <a:off x="3974251" y="1177070"/>
              <a:ext cx="78685" cy="11803"/>
            </a:xfrm>
            <a:custGeom>
              <a:avLst/>
              <a:gdLst>
                <a:gd name="connsiteX0" fmla="*/ 6295 w 78685"/>
                <a:gd name="connsiteY0" fmla="*/ 11016 h 11802"/>
                <a:gd name="connsiteX1" fmla="*/ 9442 w 78685"/>
                <a:gd name="connsiteY1" fmla="*/ 10229 h 11802"/>
                <a:gd name="connsiteX2" fmla="*/ 12590 w 78685"/>
                <a:gd name="connsiteY2" fmla="*/ 9836 h 11802"/>
                <a:gd name="connsiteX3" fmla="*/ 15737 w 78685"/>
                <a:gd name="connsiteY3" fmla="*/ 9836 h 11802"/>
                <a:gd name="connsiteX4" fmla="*/ 18491 w 78685"/>
                <a:gd name="connsiteY4" fmla="*/ 9836 h 11802"/>
                <a:gd name="connsiteX5" fmla="*/ 21638 w 78685"/>
                <a:gd name="connsiteY5" fmla="*/ 9442 h 11802"/>
                <a:gd name="connsiteX6" fmla="*/ 24786 w 78685"/>
                <a:gd name="connsiteY6" fmla="*/ 9836 h 11802"/>
                <a:gd name="connsiteX7" fmla="*/ 27540 w 78685"/>
                <a:gd name="connsiteY7" fmla="*/ 11803 h 11802"/>
                <a:gd name="connsiteX8" fmla="*/ 30687 w 78685"/>
                <a:gd name="connsiteY8" fmla="*/ 12196 h 11802"/>
                <a:gd name="connsiteX9" fmla="*/ 33441 w 78685"/>
                <a:gd name="connsiteY9" fmla="*/ 10623 h 11802"/>
                <a:gd name="connsiteX10" fmla="*/ 36589 w 78685"/>
                <a:gd name="connsiteY10" fmla="*/ 10623 h 11802"/>
                <a:gd name="connsiteX11" fmla="*/ 39736 w 78685"/>
                <a:gd name="connsiteY11" fmla="*/ 9049 h 11802"/>
                <a:gd name="connsiteX12" fmla="*/ 42883 w 78685"/>
                <a:gd name="connsiteY12" fmla="*/ 9442 h 11802"/>
                <a:gd name="connsiteX13" fmla="*/ 45637 w 78685"/>
                <a:gd name="connsiteY13" fmla="*/ 11016 h 11802"/>
                <a:gd name="connsiteX14" fmla="*/ 49178 w 78685"/>
                <a:gd name="connsiteY14" fmla="*/ 11409 h 11802"/>
                <a:gd name="connsiteX15" fmla="*/ 52326 w 78685"/>
                <a:gd name="connsiteY15" fmla="*/ 11803 h 11802"/>
                <a:gd name="connsiteX16" fmla="*/ 55473 w 78685"/>
                <a:gd name="connsiteY16" fmla="*/ 11016 h 11802"/>
                <a:gd name="connsiteX17" fmla="*/ 58620 w 78685"/>
                <a:gd name="connsiteY17" fmla="*/ 11016 h 11802"/>
                <a:gd name="connsiteX18" fmla="*/ 61374 w 78685"/>
                <a:gd name="connsiteY18" fmla="*/ 10623 h 11802"/>
                <a:gd name="connsiteX19" fmla="*/ 64522 w 78685"/>
                <a:gd name="connsiteY19" fmla="*/ 11016 h 11802"/>
                <a:gd name="connsiteX20" fmla="*/ 67669 w 78685"/>
                <a:gd name="connsiteY20" fmla="*/ 11016 h 11802"/>
                <a:gd name="connsiteX21" fmla="*/ 70817 w 78685"/>
                <a:gd name="connsiteY21" fmla="*/ 11016 h 11802"/>
                <a:gd name="connsiteX22" fmla="*/ 73571 w 78685"/>
                <a:gd name="connsiteY22" fmla="*/ 10229 h 11802"/>
                <a:gd name="connsiteX23" fmla="*/ 76718 w 78685"/>
                <a:gd name="connsiteY23" fmla="*/ 8655 h 11802"/>
                <a:gd name="connsiteX24" fmla="*/ 79866 w 78685"/>
                <a:gd name="connsiteY24" fmla="*/ 7475 h 11802"/>
                <a:gd name="connsiteX25" fmla="*/ 80652 w 78685"/>
                <a:gd name="connsiteY25" fmla="*/ 4721 h 11802"/>
                <a:gd name="connsiteX26" fmla="*/ 77898 w 78685"/>
                <a:gd name="connsiteY26" fmla="*/ 3934 h 11802"/>
                <a:gd name="connsiteX27" fmla="*/ 75144 w 78685"/>
                <a:gd name="connsiteY27" fmla="*/ 1574 h 11802"/>
                <a:gd name="connsiteX28" fmla="*/ 71997 w 78685"/>
                <a:gd name="connsiteY28" fmla="*/ 787 h 11802"/>
                <a:gd name="connsiteX29" fmla="*/ 69243 w 78685"/>
                <a:gd name="connsiteY29" fmla="*/ 0 h 11802"/>
                <a:gd name="connsiteX30" fmla="*/ 66096 w 78685"/>
                <a:gd name="connsiteY30" fmla="*/ 0 h 11802"/>
                <a:gd name="connsiteX31" fmla="*/ 62948 w 78685"/>
                <a:gd name="connsiteY31" fmla="*/ 0 h 11802"/>
                <a:gd name="connsiteX32" fmla="*/ 60194 w 78685"/>
                <a:gd name="connsiteY32" fmla="*/ 787 h 11802"/>
                <a:gd name="connsiteX33" fmla="*/ 57047 w 78685"/>
                <a:gd name="connsiteY33" fmla="*/ 787 h 11802"/>
                <a:gd name="connsiteX34" fmla="*/ 53899 w 78685"/>
                <a:gd name="connsiteY34" fmla="*/ 1180 h 11802"/>
                <a:gd name="connsiteX35" fmla="*/ 50359 w 78685"/>
                <a:gd name="connsiteY35" fmla="*/ 1967 h 11802"/>
                <a:gd name="connsiteX36" fmla="*/ 47605 w 78685"/>
                <a:gd name="connsiteY36" fmla="*/ 2754 h 11802"/>
                <a:gd name="connsiteX37" fmla="*/ 44457 w 78685"/>
                <a:gd name="connsiteY37" fmla="*/ 3934 h 11802"/>
                <a:gd name="connsiteX38" fmla="*/ 41310 w 78685"/>
                <a:gd name="connsiteY38" fmla="*/ 3934 h 11802"/>
                <a:gd name="connsiteX39" fmla="*/ 38162 w 78685"/>
                <a:gd name="connsiteY39" fmla="*/ 4721 h 11802"/>
                <a:gd name="connsiteX40" fmla="*/ 35408 w 78685"/>
                <a:gd name="connsiteY40" fmla="*/ 5115 h 11802"/>
                <a:gd name="connsiteX41" fmla="*/ 28720 w 78685"/>
                <a:gd name="connsiteY41" fmla="*/ 5115 h 11802"/>
                <a:gd name="connsiteX42" fmla="*/ 25179 w 78685"/>
                <a:gd name="connsiteY42" fmla="*/ 5115 h 11802"/>
                <a:gd name="connsiteX43" fmla="*/ 22032 w 78685"/>
                <a:gd name="connsiteY43" fmla="*/ 5901 h 11802"/>
                <a:gd name="connsiteX44" fmla="*/ 19278 w 78685"/>
                <a:gd name="connsiteY44" fmla="*/ 5901 h 11802"/>
                <a:gd name="connsiteX45" fmla="*/ 16130 w 78685"/>
                <a:gd name="connsiteY45" fmla="*/ 6295 h 11802"/>
                <a:gd name="connsiteX46" fmla="*/ 9836 w 78685"/>
                <a:gd name="connsiteY46" fmla="*/ 7475 h 11802"/>
                <a:gd name="connsiteX47" fmla="*/ 6688 w 78685"/>
                <a:gd name="connsiteY47" fmla="*/ 7869 h 11802"/>
                <a:gd name="connsiteX48" fmla="*/ 3541 w 78685"/>
                <a:gd name="connsiteY48" fmla="*/ 8655 h 11802"/>
                <a:gd name="connsiteX49" fmla="*/ 0 w 78685"/>
                <a:gd name="connsiteY49" fmla="*/ 9836 h 11802"/>
                <a:gd name="connsiteX50" fmla="*/ 3147 w 78685"/>
                <a:gd name="connsiteY50" fmla="*/ 1140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78685" h="11802">
                  <a:moveTo>
                    <a:pt x="6295" y="11016"/>
                  </a:moveTo>
                  <a:lnTo>
                    <a:pt x="9442" y="10229"/>
                  </a:lnTo>
                  <a:lnTo>
                    <a:pt x="12590" y="9836"/>
                  </a:lnTo>
                  <a:lnTo>
                    <a:pt x="15737" y="9836"/>
                  </a:lnTo>
                  <a:lnTo>
                    <a:pt x="18491" y="9836"/>
                  </a:lnTo>
                  <a:lnTo>
                    <a:pt x="21638" y="9442"/>
                  </a:lnTo>
                  <a:lnTo>
                    <a:pt x="24786" y="9836"/>
                  </a:lnTo>
                  <a:lnTo>
                    <a:pt x="27540" y="11803"/>
                  </a:lnTo>
                  <a:lnTo>
                    <a:pt x="30687" y="12196"/>
                  </a:lnTo>
                  <a:lnTo>
                    <a:pt x="33441" y="10623"/>
                  </a:lnTo>
                  <a:lnTo>
                    <a:pt x="36589" y="10623"/>
                  </a:lnTo>
                  <a:lnTo>
                    <a:pt x="39736" y="9049"/>
                  </a:lnTo>
                  <a:lnTo>
                    <a:pt x="42883" y="9442"/>
                  </a:lnTo>
                  <a:lnTo>
                    <a:pt x="45637" y="11016"/>
                  </a:lnTo>
                  <a:lnTo>
                    <a:pt x="49178" y="11409"/>
                  </a:lnTo>
                  <a:lnTo>
                    <a:pt x="52326" y="11803"/>
                  </a:lnTo>
                  <a:lnTo>
                    <a:pt x="55473" y="11016"/>
                  </a:lnTo>
                  <a:lnTo>
                    <a:pt x="58620" y="11016"/>
                  </a:lnTo>
                  <a:lnTo>
                    <a:pt x="61374" y="10623"/>
                  </a:lnTo>
                  <a:lnTo>
                    <a:pt x="64522" y="11016"/>
                  </a:lnTo>
                  <a:lnTo>
                    <a:pt x="67669" y="11016"/>
                  </a:lnTo>
                  <a:lnTo>
                    <a:pt x="70817" y="11016"/>
                  </a:lnTo>
                  <a:lnTo>
                    <a:pt x="73571" y="10229"/>
                  </a:lnTo>
                  <a:lnTo>
                    <a:pt x="76718" y="8655"/>
                  </a:lnTo>
                  <a:lnTo>
                    <a:pt x="79866" y="7475"/>
                  </a:lnTo>
                  <a:lnTo>
                    <a:pt x="80652" y="4721"/>
                  </a:lnTo>
                  <a:lnTo>
                    <a:pt x="77898" y="3934"/>
                  </a:lnTo>
                  <a:lnTo>
                    <a:pt x="75144" y="1574"/>
                  </a:lnTo>
                  <a:lnTo>
                    <a:pt x="71997" y="787"/>
                  </a:lnTo>
                  <a:lnTo>
                    <a:pt x="69243" y="0"/>
                  </a:lnTo>
                  <a:lnTo>
                    <a:pt x="66096" y="0"/>
                  </a:lnTo>
                  <a:lnTo>
                    <a:pt x="62948" y="0"/>
                  </a:lnTo>
                  <a:lnTo>
                    <a:pt x="60194" y="787"/>
                  </a:lnTo>
                  <a:lnTo>
                    <a:pt x="57047" y="787"/>
                  </a:lnTo>
                  <a:lnTo>
                    <a:pt x="53899" y="1180"/>
                  </a:lnTo>
                  <a:lnTo>
                    <a:pt x="50359" y="1967"/>
                  </a:lnTo>
                  <a:lnTo>
                    <a:pt x="47605" y="2754"/>
                  </a:lnTo>
                  <a:lnTo>
                    <a:pt x="44457" y="3934"/>
                  </a:lnTo>
                  <a:lnTo>
                    <a:pt x="41310" y="3934"/>
                  </a:lnTo>
                  <a:lnTo>
                    <a:pt x="38162" y="4721"/>
                  </a:lnTo>
                  <a:lnTo>
                    <a:pt x="35408" y="5115"/>
                  </a:lnTo>
                  <a:lnTo>
                    <a:pt x="28720" y="5115"/>
                  </a:lnTo>
                  <a:lnTo>
                    <a:pt x="25179" y="5115"/>
                  </a:lnTo>
                  <a:lnTo>
                    <a:pt x="22032" y="5901"/>
                  </a:lnTo>
                  <a:lnTo>
                    <a:pt x="19278" y="5901"/>
                  </a:lnTo>
                  <a:lnTo>
                    <a:pt x="16130" y="6295"/>
                  </a:lnTo>
                  <a:lnTo>
                    <a:pt x="9836" y="7475"/>
                  </a:lnTo>
                  <a:lnTo>
                    <a:pt x="6688" y="7869"/>
                  </a:lnTo>
                  <a:lnTo>
                    <a:pt x="3541" y="8655"/>
                  </a:lnTo>
                  <a:lnTo>
                    <a:pt x="0" y="9836"/>
                  </a:lnTo>
                  <a:lnTo>
                    <a:pt x="3147" y="1140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2" name="Freeform: Shape 2526">
              <a:extLst>
                <a:ext uri="{FF2B5EF4-FFF2-40B4-BE49-F238E27FC236}">
                  <a16:creationId xmlns:a16="http://schemas.microsoft.com/office/drawing/2014/main" id="{361119D5-DE5D-4C25-89BC-91EB084C52F3}"/>
                </a:ext>
              </a:extLst>
            </p:cNvPr>
            <p:cNvSpPr/>
            <p:nvPr/>
          </p:nvSpPr>
          <p:spPr>
            <a:xfrm>
              <a:off x="3768489" y="1225461"/>
              <a:ext cx="263596" cy="62948"/>
            </a:xfrm>
            <a:custGeom>
              <a:avLst/>
              <a:gdLst>
                <a:gd name="connsiteX0" fmla="*/ 136912 w 263595"/>
                <a:gd name="connsiteY0" fmla="*/ 20458 h 62948"/>
                <a:gd name="connsiteX1" fmla="*/ 135732 w 263595"/>
                <a:gd name="connsiteY1" fmla="*/ 17311 h 62948"/>
                <a:gd name="connsiteX2" fmla="*/ 132978 w 263595"/>
                <a:gd name="connsiteY2" fmla="*/ 15344 h 62948"/>
                <a:gd name="connsiteX3" fmla="*/ 129831 w 263595"/>
                <a:gd name="connsiteY3" fmla="*/ 14163 h 62948"/>
                <a:gd name="connsiteX4" fmla="*/ 127077 w 263595"/>
                <a:gd name="connsiteY4" fmla="*/ 14557 h 62948"/>
                <a:gd name="connsiteX5" fmla="*/ 123536 w 263595"/>
                <a:gd name="connsiteY5" fmla="*/ 14163 h 62948"/>
                <a:gd name="connsiteX6" fmla="*/ 120782 w 263595"/>
                <a:gd name="connsiteY6" fmla="*/ 14950 h 62948"/>
                <a:gd name="connsiteX7" fmla="*/ 117634 w 263595"/>
                <a:gd name="connsiteY7" fmla="*/ 15344 h 62948"/>
                <a:gd name="connsiteX8" fmla="*/ 114487 w 263595"/>
                <a:gd name="connsiteY8" fmla="*/ 15737 h 62948"/>
                <a:gd name="connsiteX9" fmla="*/ 111733 w 263595"/>
                <a:gd name="connsiteY9" fmla="*/ 15737 h 62948"/>
                <a:gd name="connsiteX10" fmla="*/ 108586 w 263595"/>
                <a:gd name="connsiteY10" fmla="*/ 16130 h 62948"/>
                <a:gd name="connsiteX11" fmla="*/ 110159 w 263595"/>
                <a:gd name="connsiteY11" fmla="*/ 13376 h 62948"/>
                <a:gd name="connsiteX12" fmla="*/ 113307 w 263595"/>
                <a:gd name="connsiteY12" fmla="*/ 11016 h 62948"/>
                <a:gd name="connsiteX13" fmla="*/ 110946 w 263595"/>
                <a:gd name="connsiteY13" fmla="*/ 8262 h 62948"/>
                <a:gd name="connsiteX14" fmla="*/ 104651 w 263595"/>
                <a:gd name="connsiteY14" fmla="*/ 8262 h 62948"/>
                <a:gd name="connsiteX15" fmla="*/ 101504 w 263595"/>
                <a:gd name="connsiteY15" fmla="*/ 7869 h 62948"/>
                <a:gd name="connsiteX16" fmla="*/ 98357 w 263595"/>
                <a:gd name="connsiteY16" fmla="*/ 8655 h 62948"/>
                <a:gd name="connsiteX17" fmla="*/ 95209 w 263595"/>
                <a:gd name="connsiteY17" fmla="*/ 8655 h 62948"/>
                <a:gd name="connsiteX18" fmla="*/ 92455 w 263595"/>
                <a:gd name="connsiteY18" fmla="*/ 9049 h 62948"/>
                <a:gd name="connsiteX19" fmla="*/ 89308 w 263595"/>
                <a:gd name="connsiteY19" fmla="*/ 9049 h 62948"/>
                <a:gd name="connsiteX20" fmla="*/ 86160 w 263595"/>
                <a:gd name="connsiteY20" fmla="*/ 9836 h 62948"/>
                <a:gd name="connsiteX21" fmla="*/ 83406 w 263595"/>
                <a:gd name="connsiteY21" fmla="*/ 10229 h 62948"/>
                <a:gd name="connsiteX22" fmla="*/ 80259 w 263595"/>
                <a:gd name="connsiteY22" fmla="*/ 11016 h 62948"/>
                <a:gd name="connsiteX23" fmla="*/ 77111 w 263595"/>
                <a:gd name="connsiteY23" fmla="*/ 11803 h 62948"/>
                <a:gd name="connsiteX24" fmla="*/ 73964 w 263595"/>
                <a:gd name="connsiteY24" fmla="*/ 13376 h 62948"/>
                <a:gd name="connsiteX25" fmla="*/ 76718 w 263595"/>
                <a:gd name="connsiteY25" fmla="*/ 14950 h 62948"/>
                <a:gd name="connsiteX26" fmla="*/ 83406 w 263595"/>
                <a:gd name="connsiteY26" fmla="*/ 14950 h 62948"/>
                <a:gd name="connsiteX27" fmla="*/ 86160 w 263595"/>
                <a:gd name="connsiteY27" fmla="*/ 15344 h 62948"/>
                <a:gd name="connsiteX28" fmla="*/ 89701 w 263595"/>
                <a:gd name="connsiteY28" fmla="*/ 16524 h 62948"/>
                <a:gd name="connsiteX29" fmla="*/ 92849 w 263595"/>
                <a:gd name="connsiteY29" fmla="*/ 16524 h 62948"/>
                <a:gd name="connsiteX30" fmla="*/ 89701 w 263595"/>
                <a:gd name="connsiteY30" fmla="*/ 17311 h 62948"/>
                <a:gd name="connsiteX31" fmla="*/ 86554 w 263595"/>
                <a:gd name="connsiteY31" fmla="*/ 16917 h 62948"/>
                <a:gd name="connsiteX32" fmla="*/ 83800 w 263595"/>
                <a:gd name="connsiteY32" fmla="*/ 16130 h 62948"/>
                <a:gd name="connsiteX33" fmla="*/ 80652 w 263595"/>
                <a:gd name="connsiteY33" fmla="*/ 16130 h 62948"/>
                <a:gd name="connsiteX34" fmla="*/ 77505 w 263595"/>
                <a:gd name="connsiteY34" fmla="*/ 16130 h 62948"/>
                <a:gd name="connsiteX35" fmla="*/ 68456 w 263595"/>
                <a:gd name="connsiteY35" fmla="*/ 16130 h 62948"/>
                <a:gd name="connsiteX36" fmla="*/ 65702 w 263595"/>
                <a:gd name="connsiteY36" fmla="*/ 15737 h 62948"/>
                <a:gd name="connsiteX37" fmla="*/ 62555 w 263595"/>
                <a:gd name="connsiteY37" fmla="*/ 16130 h 62948"/>
                <a:gd name="connsiteX38" fmla="*/ 59014 w 263595"/>
                <a:gd name="connsiteY38" fmla="*/ 16524 h 62948"/>
                <a:gd name="connsiteX39" fmla="*/ 55866 w 263595"/>
                <a:gd name="connsiteY39" fmla="*/ 17311 h 62948"/>
                <a:gd name="connsiteX40" fmla="*/ 52719 w 263595"/>
                <a:gd name="connsiteY40" fmla="*/ 18098 h 62948"/>
                <a:gd name="connsiteX41" fmla="*/ 49965 w 263595"/>
                <a:gd name="connsiteY41" fmla="*/ 19278 h 62948"/>
                <a:gd name="connsiteX42" fmla="*/ 46818 w 263595"/>
                <a:gd name="connsiteY42" fmla="*/ 21638 h 62948"/>
                <a:gd name="connsiteX43" fmla="*/ 43670 w 263595"/>
                <a:gd name="connsiteY43" fmla="*/ 22819 h 62948"/>
                <a:gd name="connsiteX44" fmla="*/ 46818 w 263595"/>
                <a:gd name="connsiteY44" fmla="*/ 24392 h 62948"/>
                <a:gd name="connsiteX45" fmla="*/ 49572 w 263595"/>
                <a:gd name="connsiteY45" fmla="*/ 24392 h 62948"/>
                <a:gd name="connsiteX46" fmla="*/ 52719 w 263595"/>
                <a:gd name="connsiteY46" fmla="*/ 24392 h 62948"/>
                <a:gd name="connsiteX47" fmla="*/ 55473 w 263595"/>
                <a:gd name="connsiteY47" fmla="*/ 24392 h 62948"/>
                <a:gd name="connsiteX48" fmla="*/ 59014 w 263595"/>
                <a:gd name="connsiteY48" fmla="*/ 23999 h 62948"/>
                <a:gd name="connsiteX49" fmla="*/ 62161 w 263595"/>
                <a:gd name="connsiteY49" fmla="*/ 23606 h 62948"/>
                <a:gd name="connsiteX50" fmla="*/ 64915 w 263595"/>
                <a:gd name="connsiteY50" fmla="*/ 23999 h 62948"/>
                <a:gd name="connsiteX51" fmla="*/ 73964 w 263595"/>
                <a:gd name="connsiteY51" fmla="*/ 23999 h 62948"/>
                <a:gd name="connsiteX52" fmla="*/ 77111 w 263595"/>
                <a:gd name="connsiteY52" fmla="*/ 23606 h 62948"/>
                <a:gd name="connsiteX53" fmla="*/ 80259 w 263595"/>
                <a:gd name="connsiteY53" fmla="*/ 23212 h 62948"/>
                <a:gd name="connsiteX54" fmla="*/ 77111 w 263595"/>
                <a:gd name="connsiteY54" fmla="*/ 24392 h 62948"/>
                <a:gd name="connsiteX55" fmla="*/ 73964 w 263595"/>
                <a:gd name="connsiteY55" fmla="*/ 24392 h 62948"/>
                <a:gd name="connsiteX56" fmla="*/ 70817 w 263595"/>
                <a:gd name="connsiteY56" fmla="*/ 24786 h 62948"/>
                <a:gd name="connsiteX57" fmla="*/ 67276 w 263595"/>
                <a:gd name="connsiteY57" fmla="*/ 25179 h 62948"/>
                <a:gd name="connsiteX58" fmla="*/ 64128 w 263595"/>
                <a:gd name="connsiteY58" fmla="*/ 25179 h 62948"/>
                <a:gd name="connsiteX59" fmla="*/ 61374 w 263595"/>
                <a:gd name="connsiteY59" fmla="*/ 24786 h 62948"/>
                <a:gd name="connsiteX60" fmla="*/ 58227 w 263595"/>
                <a:gd name="connsiteY60" fmla="*/ 25179 h 62948"/>
                <a:gd name="connsiteX61" fmla="*/ 55473 w 263595"/>
                <a:gd name="connsiteY61" fmla="*/ 25573 h 62948"/>
                <a:gd name="connsiteX62" fmla="*/ 51932 w 263595"/>
                <a:gd name="connsiteY62" fmla="*/ 25966 h 62948"/>
                <a:gd name="connsiteX63" fmla="*/ 40129 w 263595"/>
                <a:gd name="connsiteY63" fmla="*/ 25966 h 62948"/>
                <a:gd name="connsiteX64" fmla="*/ 36982 w 263595"/>
                <a:gd name="connsiteY64" fmla="*/ 26360 h 62948"/>
                <a:gd name="connsiteX65" fmla="*/ 34228 w 263595"/>
                <a:gd name="connsiteY65" fmla="*/ 26753 h 62948"/>
                <a:gd name="connsiteX66" fmla="*/ 30687 w 263595"/>
                <a:gd name="connsiteY66" fmla="*/ 27540 h 62948"/>
                <a:gd name="connsiteX67" fmla="*/ 27540 w 263595"/>
                <a:gd name="connsiteY67" fmla="*/ 28720 h 62948"/>
                <a:gd name="connsiteX68" fmla="*/ 24392 w 263595"/>
                <a:gd name="connsiteY68" fmla="*/ 29900 h 62948"/>
                <a:gd name="connsiteX69" fmla="*/ 21638 w 263595"/>
                <a:gd name="connsiteY69" fmla="*/ 31081 h 62948"/>
                <a:gd name="connsiteX70" fmla="*/ 24392 w 263595"/>
                <a:gd name="connsiteY70" fmla="*/ 32261 h 62948"/>
                <a:gd name="connsiteX71" fmla="*/ 30687 w 263595"/>
                <a:gd name="connsiteY71" fmla="*/ 32261 h 62948"/>
                <a:gd name="connsiteX72" fmla="*/ 33835 w 263595"/>
                <a:gd name="connsiteY72" fmla="*/ 32261 h 62948"/>
                <a:gd name="connsiteX73" fmla="*/ 36589 w 263595"/>
                <a:gd name="connsiteY73" fmla="*/ 32261 h 62948"/>
                <a:gd name="connsiteX74" fmla="*/ 39736 w 263595"/>
                <a:gd name="connsiteY74" fmla="*/ 32261 h 62948"/>
                <a:gd name="connsiteX75" fmla="*/ 42883 w 263595"/>
                <a:gd name="connsiteY75" fmla="*/ 32261 h 62948"/>
                <a:gd name="connsiteX76" fmla="*/ 44850 w 263595"/>
                <a:gd name="connsiteY76" fmla="*/ 31474 h 62948"/>
                <a:gd name="connsiteX77" fmla="*/ 50359 w 263595"/>
                <a:gd name="connsiteY77" fmla="*/ 32261 h 62948"/>
                <a:gd name="connsiteX78" fmla="*/ 48785 w 263595"/>
                <a:gd name="connsiteY78" fmla="*/ 32654 h 62948"/>
                <a:gd name="connsiteX79" fmla="*/ 45637 w 263595"/>
                <a:gd name="connsiteY79" fmla="*/ 33441 h 62948"/>
                <a:gd name="connsiteX80" fmla="*/ 42883 w 263595"/>
                <a:gd name="connsiteY80" fmla="*/ 34228 h 62948"/>
                <a:gd name="connsiteX81" fmla="*/ 39736 w 263595"/>
                <a:gd name="connsiteY81" fmla="*/ 34622 h 62948"/>
                <a:gd name="connsiteX82" fmla="*/ 18491 w 263595"/>
                <a:gd name="connsiteY82" fmla="*/ 34622 h 62948"/>
                <a:gd name="connsiteX83" fmla="*/ 15343 w 263595"/>
                <a:gd name="connsiteY83" fmla="*/ 35015 h 62948"/>
                <a:gd name="connsiteX84" fmla="*/ 12589 w 263595"/>
                <a:gd name="connsiteY84" fmla="*/ 35408 h 62948"/>
                <a:gd name="connsiteX85" fmla="*/ 9442 w 263595"/>
                <a:gd name="connsiteY85" fmla="*/ 36589 h 62948"/>
                <a:gd name="connsiteX86" fmla="*/ 6295 w 263595"/>
                <a:gd name="connsiteY86" fmla="*/ 37376 h 62948"/>
                <a:gd name="connsiteX87" fmla="*/ 3147 w 263595"/>
                <a:gd name="connsiteY87" fmla="*/ 38949 h 62948"/>
                <a:gd name="connsiteX88" fmla="*/ 0 w 263595"/>
                <a:gd name="connsiteY88" fmla="*/ 40129 h 62948"/>
                <a:gd name="connsiteX89" fmla="*/ 2754 w 263595"/>
                <a:gd name="connsiteY89" fmla="*/ 42490 h 62948"/>
                <a:gd name="connsiteX90" fmla="*/ 5901 w 263595"/>
                <a:gd name="connsiteY90" fmla="*/ 42883 h 62948"/>
                <a:gd name="connsiteX91" fmla="*/ 9049 w 263595"/>
                <a:gd name="connsiteY91" fmla="*/ 43277 h 62948"/>
                <a:gd name="connsiteX92" fmla="*/ 12196 w 263595"/>
                <a:gd name="connsiteY92" fmla="*/ 43670 h 62948"/>
                <a:gd name="connsiteX93" fmla="*/ 14950 w 263595"/>
                <a:gd name="connsiteY93" fmla="*/ 43670 h 62948"/>
                <a:gd name="connsiteX94" fmla="*/ 18098 w 263595"/>
                <a:gd name="connsiteY94" fmla="*/ 42490 h 62948"/>
                <a:gd name="connsiteX95" fmla="*/ 21245 w 263595"/>
                <a:gd name="connsiteY95" fmla="*/ 42490 h 62948"/>
                <a:gd name="connsiteX96" fmla="*/ 24392 w 263595"/>
                <a:gd name="connsiteY96" fmla="*/ 41703 h 62948"/>
                <a:gd name="connsiteX97" fmla="*/ 21245 w 263595"/>
                <a:gd name="connsiteY97" fmla="*/ 44064 h 62948"/>
                <a:gd name="connsiteX98" fmla="*/ 24392 w 263595"/>
                <a:gd name="connsiteY98" fmla="*/ 44457 h 62948"/>
                <a:gd name="connsiteX99" fmla="*/ 27146 w 263595"/>
                <a:gd name="connsiteY99" fmla="*/ 43670 h 62948"/>
                <a:gd name="connsiteX100" fmla="*/ 24392 w 263595"/>
                <a:gd name="connsiteY100" fmla="*/ 44851 h 62948"/>
                <a:gd name="connsiteX101" fmla="*/ 21638 w 263595"/>
                <a:gd name="connsiteY101" fmla="*/ 45244 h 62948"/>
                <a:gd name="connsiteX102" fmla="*/ 24392 w 263595"/>
                <a:gd name="connsiteY102" fmla="*/ 46424 h 62948"/>
                <a:gd name="connsiteX103" fmla="*/ 27540 w 263595"/>
                <a:gd name="connsiteY103" fmla="*/ 47605 h 62948"/>
                <a:gd name="connsiteX104" fmla="*/ 30687 w 263595"/>
                <a:gd name="connsiteY104" fmla="*/ 47605 h 62948"/>
                <a:gd name="connsiteX105" fmla="*/ 33835 w 263595"/>
                <a:gd name="connsiteY105" fmla="*/ 46424 h 62948"/>
                <a:gd name="connsiteX106" fmla="*/ 35408 w 263595"/>
                <a:gd name="connsiteY106" fmla="*/ 43670 h 62948"/>
                <a:gd name="connsiteX107" fmla="*/ 38162 w 263595"/>
                <a:gd name="connsiteY107" fmla="*/ 44457 h 62948"/>
                <a:gd name="connsiteX108" fmla="*/ 41703 w 263595"/>
                <a:gd name="connsiteY108" fmla="*/ 44064 h 62948"/>
                <a:gd name="connsiteX109" fmla="*/ 44850 w 263595"/>
                <a:gd name="connsiteY109" fmla="*/ 42883 h 62948"/>
                <a:gd name="connsiteX110" fmla="*/ 41703 w 263595"/>
                <a:gd name="connsiteY110" fmla="*/ 45637 h 62948"/>
                <a:gd name="connsiteX111" fmla="*/ 44457 w 263595"/>
                <a:gd name="connsiteY111" fmla="*/ 47605 h 62948"/>
                <a:gd name="connsiteX112" fmla="*/ 51145 w 263595"/>
                <a:gd name="connsiteY112" fmla="*/ 46424 h 62948"/>
                <a:gd name="connsiteX113" fmla="*/ 53899 w 263595"/>
                <a:gd name="connsiteY113" fmla="*/ 45637 h 62948"/>
                <a:gd name="connsiteX114" fmla="*/ 57047 w 263595"/>
                <a:gd name="connsiteY114" fmla="*/ 45637 h 62948"/>
                <a:gd name="connsiteX115" fmla="*/ 59801 w 263595"/>
                <a:gd name="connsiteY115" fmla="*/ 44457 h 62948"/>
                <a:gd name="connsiteX116" fmla="*/ 62948 w 263595"/>
                <a:gd name="connsiteY116" fmla="*/ 43277 h 62948"/>
                <a:gd name="connsiteX117" fmla="*/ 64915 w 263595"/>
                <a:gd name="connsiteY117" fmla="*/ 40523 h 62948"/>
                <a:gd name="connsiteX118" fmla="*/ 61768 w 263595"/>
                <a:gd name="connsiteY118" fmla="*/ 40129 h 62948"/>
                <a:gd name="connsiteX119" fmla="*/ 64915 w 263595"/>
                <a:gd name="connsiteY119" fmla="*/ 38556 h 62948"/>
                <a:gd name="connsiteX120" fmla="*/ 67669 w 263595"/>
                <a:gd name="connsiteY120" fmla="*/ 40916 h 62948"/>
                <a:gd name="connsiteX121" fmla="*/ 70817 w 263595"/>
                <a:gd name="connsiteY121" fmla="*/ 40523 h 62948"/>
                <a:gd name="connsiteX122" fmla="*/ 73571 w 263595"/>
                <a:gd name="connsiteY122" fmla="*/ 38949 h 62948"/>
                <a:gd name="connsiteX123" fmla="*/ 76718 w 263595"/>
                <a:gd name="connsiteY123" fmla="*/ 37376 h 62948"/>
                <a:gd name="connsiteX124" fmla="*/ 77505 w 263595"/>
                <a:gd name="connsiteY124" fmla="*/ 36589 h 62948"/>
                <a:gd name="connsiteX125" fmla="*/ 83800 w 263595"/>
                <a:gd name="connsiteY125" fmla="*/ 37769 h 62948"/>
                <a:gd name="connsiteX126" fmla="*/ 83013 w 263595"/>
                <a:gd name="connsiteY126" fmla="*/ 37769 h 62948"/>
                <a:gd name="connsiteX127" fmla="*/ 79866 w 263595"/>
                <a:gd name="connsiteY127" fmla="*/ 38556 h 62948"/>
                <a:gd name="connsiteX128" fmla="*/ 76718 w 263595"/>
                <a:gd name="connsiteY128" fmla="*/ 40129 h 62948"/>
                <a:gd name="connsiteX129" fmla="*/ 73964 w 263595"/>
                <a:gd name="connsiteY129" fmla="*/ 41703 h 62948"/>
                <a:gd name="connsiteX130" fmla="*/ 76718 w 263595"/>
                <a:gd name="connsiteY130" fmla="*/ 42097 h 62948"/>
                <a:gd name="connsiteX131" fmla="*/ 73177 w 263595"/>
                <a:gd name="connsiteY131" fmla="*/ 42883 h 62948"/>
                <a:gd name="connsiteX132" fmla="*/ 70030 w 263595"/>
                <a:gd name="connsiteY132" fmla="*/ 43670 h 62948"/>
                <a:gd name="connsiteX133" fmla="*/ 73177 w 263595"/>
                <a:gd name="connsiteY133" fmla="*/ 45637 h 62948"/>
                <a:gd name="connsiteX134" fmla="*/ 76325 w 263595"/>
                <a:gd name="connsiteY134" fmla="*/ 45244 h 62948"/>
                <a:gd name="connsiteX135" fmla="*/ 79079 w 263595"/>
                <a:gd name="connsiteY135" fmla="*/ 45244 h 62948"/>
                <a:gd name="connsiteX136" fmla="*/ 82620 w 263595"/>
                <a:gd name="connsiteY136" fmla="*/ 44851 h 62948"/>
                <a:gd name="connsiteX137" fmla="*/ 85373 w 263595"/>
                <a:gd name="connsiteY137" fmla="*/ 44064 h 62948"/>
                <a:gd name="connsiteX138" fmla="*/ 88914 w 263595"/>
                <a:gd name="connsiteY138" fmla="*/ 44457 h 62948"/>
                <a:gd name="connsiteX139" fmla="*/ 92062 w 263595"/>
                <a:gd name="connsiteY139" fmla="*/ 44064 h 62948"/>
                <a:gd name="connsiteX140" fmla="*/ 95209 w 263595"/>
                <a:gd name="connsiteY140" fmla="*/ 43670 h 62948"/>
                <a:gd name="connsiteX141" fmla="*/ 97963 w 263595"/>
                <a:gd name="connsiteY141" fmla="*/ 41310 h 62948"/>
                <a:gd name="connsiteX142" fmla="*/ 100324 w 263595"/>
                <a:gd name="connsiteY142" fmla="*/ 40523 h 62948"/>
                <a:gd name="connsiteX143" fmla="*/ 104258 w 263595"/>
                <a:gd name="connsiteY143" fmla="*/ 40916 h 62948"/>
                <a:gd name="connsiteX144" fmla="*/ 101110 w 263595"/>
                <a:gd name="connsiteY144" fmla="*/ 42883 h 62948"/>
                <a:gd name="connsiteX145" fmla="*/ 104258 w 263595"/>
                <a:gd name="connsiteY145" fmla="*/ 43670 h 62948"/>
                <a:gd name="connsiteX146" fmla="*/ 107405 w 263595"/>
                <a:gd name="connsiteY146" fmla="*/ 43670 h 62948"/>
                <a:gd name="connsiteX147" fmla="*/ 110553 w 263595"/>
                <a:gd name="connsiteY147" fmla="*/ 43670 h 62948"/>
                <a:gd name="connsiteX148" fmla="*/ 112127 w 263595"/>
                <a:gd name="connsiteY148" fmla="*/ 43277 h 62948"/>
                <a:gd name="connsiteX149" fmla="*/ 119601 w 263595"/>
                <a:gd name="connsiteY149" fmla="*/ 45244 h 62948"/>
                <a:gd name="connsiteX150" fmla="*/ 119208 w 263595"/>
                <a:gd name="connsiteY150" fmla="*/ 45637 h 62948"/>
                <a:gd name="connsiteX151" fmla="*/ 116061 w 263595"/>
                <a:gd name="connsiteY151" fmla="*/ 45637 h 62948"/>
                <a:gd name="connsiteX152" fmla="*/ 113307 w 263595"/>
                <a:gd name="connsiteY152" fmla="*/ 46818 h 62948"/>
                <a:gd name="connsiteX153" fmla="*/ 107405 w 263595"/>
                <a:gd name="connsiteY153" fmla="*/ 47605 h 62948"/>
                <a:gd name="connsiteX154" fmla="*/ 104651 w 263595"/>
                <a:gd name="connsiteY154" fmla="*/ 46818 h 62948"/>
                <a:gd name="connsiteX155" fmla="*/ 101504 w 263595"/>
                <a:gd name="connsiteY155" fmla="*/ 47211 h 62948"/>
                <a:gd name="connsiteX156" fmla="*/ 92455 w 263595"/>
                <a:gd name="connsiteY156" fmla="*/ 47211 h 62948"/>
                <a:gd name="connsiteX157" fmla="*/ 89308 w 263595"/>
                <a:gd name="connsiteY157" fmla="*/ 47605 h 62948"/>
                <a:gd name="connsiteX158" fmla="*/ 86160 w 263595"/>
                <a:gd name="connsiteY158" fmla="*/ 47605 h 62948"/>
                <a:gd name="connsiteX159" fmla="*/ 83406 w 263595"/>
                <a:gd name="connsiteY159" fmla="*/ 47998 h 62948"/>
                <a:gd name="connsiteX160" fmla="*/ 80259 w 263595"/>
                <a:gd name="connsiteY160" fmla="*/ 48785 h 62948"/>
                <a:gd name="connsiteX161" fmla="*/ 77111 w 263595"/>
                <a:gd name="connsiteY161" fmla="*/ 49572 h 62948"/>
                <a:gd name="connsiteX162" fmla="*/ 73964 w 263595"/>
                <a:gd name="connsiteY162" fmla="*/ 49965 h 62948"/>
                <a:gd name="connsiteX163" fmla="*/ 71210 w 263595"/>
                <a:gd name="connsiteY163" fmla="*/ 51145 h 62948"/>
                <a:gd name="connsiteX164" fmla="*/ 68063 w 263595"/>
                <a:gd name="connsiteY164" fmla="*/ 51539 h 62948"/>
                <a:gd name="connsiteX165" fmla="*/ 64915 w 263595"/>
                <a:gd name="connsiteY165" fmla="*/ 51539 h 62948"/>
                <a:gd name="connsiteX166" fmla="*/ 61768 w 263595"/>
                <a:gd name="connsiteY166" fmla="*/ 51932 h 62948"/>
                <a:gd name="connsiteX167" fmla="*/ 58620 w 263595"/>
                <a:gd name="connsiteY167" fmla="*/ 52326 h 62948"/>
                <a:gd name="connsiteX168" fmla="*/ 55866 w 263595"/>
                <a:gd name="connsiteY168" fmla="*/ 52719 h 62948"/>
                <a:gd name="connsiteX169" fmla="*/ 52326 w 263595"/>
                <a:gd name="connsiteY169" fmla="*/ 53506 h 62948"/>
                <a:gd name="connsiteX170" fmla="*/ 49572 w 263595"/>
                <a:gd name="connsiteY170" fmla="*/ 53899 h 62948"/>
                <a:gd name="connsiteX171" fmla="*/ 46424 w 263595"/>
                <a:gd name="connsiteY171" fmla="*/ 54686 h 62948"/>
                <a:gd name="connsiteX172" fmla="*/ 43670 w 263595"/>
                <a:gd name="connsiteY172" fmla="*/ 55867 h 62948"/>
                <a:gd name="connsiteX173" fmla="*/ 45637 w 263595"/>
                <a:gd name="connsiteY173" fmla="*/ 58621 h 62948"/>
                <a:gd name="connsiteX174" fmla="*/ 48391 w 263595"/>
                <a:gd name="connsiteY174" fmla="*/ 60588 h 62948"/>
                <a:gd name="connsiteX175" fmla="*/ 51539 w 263595"/>
                <a:gd name="connsiteY175" fmla="*/ 61768 h 62948"/>
                <a:gd name="connsiteX176" fmla="*/ 54293 w 263595"/>
                <a:gd name="connsiteY176" fmla="*/ 62555 h 62948"/>
                <a:gd name="connsiteX177" fmla="*/ 57047 w 263595"/>
                <a:gd name="connsiteY177" fmla="*/ 62948 h 62948"/>
                <a:gd name="connsiteX178" fmla="*/ 59801 w 263595"/>
                <a:gd name="connsiteY178" fmla="*/ 62948 h 62948"/>
                <a:gd name="connsiteX179" fmla="*/ 69636 w 263595"/>
                <a:gd name="connsiteY179" fmla="*/ 62948 h 62948"/>
                <a:gd name="connsiteX180" fmla="*/ 72784 w 263595"/>
                <a:gd name="connsiteY180" fmla="*/ 62948 h 62948"/>
                <a:gd name="connsiteX181" fmla="*/ 75931 w 263595"/>
                <a:gd name="connsiteY181" fmla="*/ 62948 h 62948"/>
                <a:gd name="connsiteX182" fmla="*/ 79079 w 263595"/>
                <a:gd name="connsiteY182" fmla="*/ 62555 h 62948"/>
                <a:gd name="connsiteX183" fmla="*/ 81833 w 263595"/>
                <a:gd name="connsiteY183" fmla="*/ 61768 h 62948"/>
                <a:gd name="connsiteX184" fmla="*/ 85373 w 263595"/>
                <a:gd name="connsiteY184" fmla="*/ 61768 h 62948"/>
                <a:gd name="connsiteX185" fmla="*/ 88127 w 263595"/>
                <a:gd name="connsiteY185" fmla="*/ 60981 h 62948"/>
                <a:gd name="connsiteX186" fmla="*/ 90881 w 263595"/>
                <a:gd name="connsiteY186" fmla="*/ 60588 h 62948"/>
                <a:gd name="connsiteX187" fmla="*/ 94029 w 263595"/>
                <a:gd name="connsiteY187" fmla="*/ 60588 h 62948"/>
                <a:gd name="connsiteX188" fmla="*/ 97570 w 263595"/>
                <a:gd name="connsiteY188" fmla="*/ 59801 h 62948"/>
                <a:gd name="connsiteX189" fmla="*/ 100324 w 263595"/>
                <a:gd name="connsiteY189" fmla="*/ 59014 h 62948"/>
                <a:gd name="connsiteX190" fmla="*/ 103471 w 263595"/>
                <a:gd name="connsiteY190" fmla="*/ 58621 h 62948"/>
                <a:gd name="connsiteX191" fmla="*/ 106618 w 263595"/>
                <a:gd name="connsiteY191" fmla="*/ 57834 h 62948"/>
                <a:gd name="connsiteX192" fmla="*/ 109373 w 263595"/>
                <a:gd name="connsiteY192" fmla="*/ 57834 h 62948"/>
                <a:gd name="connsiteX193" fmla="*/ 115274 w 263595"/>
                <a:gd name="connsiteY193" fmla="*/ 56653 h 62948"/>
                <a:gd name="connsiteX194" fmla="*/ 118028 w 263595"/>
                <a:gd name="connsiteY194" fmla="*/ 55867 h 62948"/>
                <a:gd name="connsiteX195" fmla="*/ 121175 w 263595"/>
                <a:gd name="connsiteY195" fmla="*/ 55080 h 62948"/>
                <a:gd name="connsiteX196" fmla="*/ 123929 w 263595"/>
                <a:gd name="connsiteY196" fmla="*/ 52719 h 62948"/>
                <a:gd name="connsiteX197" fmla="*/ 127077 w 263595"/>
                <a:gd name="connsiteY197" fmla="*/ 52719 h 62948"/>
                <a:gd name="connsiteX198" fmla="*/ 130224 w 263595"/>
                <a:gd name="connsiteY198" fmla="*/ 52326 h 62948"/>
                <a:gd name="connsiteX199" fmla="*/ 133371 w 263595"/>
                <a:gd name="connsiteY199" fmla="*/ 51145 h 62948"/>
                <a:gd name="connsiteX200" fmla="*/ 136125 w 263595"/>
                <a:gd name="connsiteY200" fmla="*/ 51539 h 62948"/>
                <a:gd name="connsiteX201" fmla="*/ 139666 w 263595"/>
                <a:gd name="connsiteY201" fmla="*/ 51145 h 62948"/>
                <a:gd name="connsiteX202" fmla="*/ 140060 w 263595"/>
                <a:gd name="connsiteY202" fmla="*/ 51145 h 62948"/>
                <a:gd name="connsiteX203" fmla="*/ 143994 w 263595"/>
                <a:gd name="connsiteY203" fmla="*/ 50752 h 62948"/>
                <a:gd name="connsiteX204" fmla="*/ 145961 w 263595"/>
                <a:gd name="connsiteY204" fmla="*/ 50752 h 62948"/>
                <a:gd name="connsiteX205" fmla="*/ 149108 w 263595"/>
                <a:gd name="connsiteY205" fmla="*/ 50752 h 62948"/>
                <a:gd name="connsiteX206" fmla="*/ 151863 w 263595"/>
                <a:gd name="connsiteY206" fmla="*/ 49965 h 62948"/>
                <a:gd name="connsiteX207" fmla="*/ 154223 w 263595"/>
                <a:gd name="connsiteY207" fmla="*/ 49572 h 62948"/>
                <a:gd name="connsiteX208" fmla="*/ 170354 w 263595"/>
                <a:gd name="connsiteY208" fmla="*/ 47605 h 62948"/>
                <a:gd name="connsiteX209" fmla="*/ 173108 w 263595"/>
                <a:gd name="connsiteY209" fmla="*/ 47998 h 62948"/>
                <a:gd name="connsiteX210" fmla="*/ 176255 w 263595"/>
                <a:gd name="connsiteY210" fmla="*/ 49178 h 62948"/>
                <a:gd name="connsiteX211" fmla="*/ 179402 w 263595"/>
                <a:gd name="connsiteY211" fmla="*/ 49178 h 62948"/>
                <a:gd name="connsiteX212" fmla="*/ 182550 w 263595"/>
                <a:gd name="connsiteY212" fmla="*/ 48785 h 62948"/>
                <a:gd name="connsiteX213" fmla="*/ 185304 w 263595"/>
                <a:gd name="connsiteY213" fmla="*/ 47998 h 62948"/>
                <a:gd name="connsiteX214" fmla="*/ 188451 w 263595"/>
                <a:gd name="connsiteY214" fmla="*/ 46818 h 62948"/>
                <a:gd name="connsiteX215" fmla="*/ 191992 w 263595"/>
                <a:gd name="connsiteY215" fmla="*/ 46031 h 62948"/>
                <a:gd name="connsiteX216" fmla="*/ 193566 w 263595"/>
                <a:gd name="connsiteY216" fmla="*/ 44457 h 62948"/>
                <a:gd name="connsiteX217" fmla="*/ 191598 w 263595"/>
                <a:gd name="connsiteY217" fmla="*/ 47605 h 62948"/>
                <a:gd name="connsiteX218" fmla="*/ 194353 w 263595"/>
                <a:gd name="connsiteY218" fmla="*/ 48785 h 62948"/>
                <a:gd name="connsiteX219" fmla="*/ 197500 w 263595"/>
                <a:gd name="connsiteY219" fmla="*/ 48785 h 62948"/>
                <a:gd name="connsiteX220" fmla="*/ 200254 w 263595"/>
                <a:gd name="connsiteY220" fmla="*/ 49572 h 62948"/>
                <a:gd name="connsiteX221" fmla="*/ 203401 w 263595"/>
                <a:gd name="connsiteY221" fmla="*/ 49178 h 62948"/>
                <a:gd name="connsiteX222" fmla="*/ 206155 w 263595"/>
                <a:gd name="connsiteY222" fmla="*/ 48785 h 62948"/>
                <a:gd name="connsiteX223" fmla="*/ 209303 w 263595"/>
                <a:gd name="connsiteY223" fmla="*/ 47605 h 62948"/>
                <a:gd name="connsiteX224" fmla="*/ 212844 w 263595"/>
                <a:gd name="connsiteY224" fmla="*/ 46818 h 62948"/>
                <a:gd name="connsiteX225" fmla="*/ 215598 w 263595"/>
                <a:gd name="connsiteY225" fmla="*/ 46818 h 62948"/>
                <a:gd name="connsiteX226" fmla="*/ 218745 w 263595"/>
                <a:gd name="connsiteY226" fmla="*/ 46424 h 62948"/>
                <a:gd name="connsiteX227" fmla="*/ 221892 w 263595"/>
                <a:gd name="connsiteY227" fmla="*/ 46424 h 62948"/>
                <a:gd name="connsiteX228" fmla="*/ 225040 w 263595"/>
                <a:gd name="connsiteY228" fmla="*/ 46031 h 62948"/>
                <a:gd name="connsiteX229" fmla="*/ 227794 w 263595"/>
                <a:gd name="connsiteY229" fmla="*/ 45637 h 62948"/>
                <a:gd name="connsiteX230" fmla="*/ 230941 w 263595"/>
                <a:gd name="connsiteY230" fmla="*/ 43670 h 62948"/>
                <a:gd name="connsiteX231" fmla="*/ 233695 w 263595"/>
                <a:gd name="connsiteY231" fmla="*/ 43277 h 62948"/>
                <a:gd name="connsiteX232" fmla="*/ 236843 w 263595"/>
                <a:gd name="connsiteY232" fmla="*/ 40523 h 62948"/>
                <a:gd name="connsiteX233" fmla="*/ 239990 w 263595"/>
                <a:gd name="connsiteY233" fmla="*/ 39343 h 62948"/>
                <a:gd name="connsiteX234" fmla="*/ 243138 w 263595"/>
                <a:gd name="connsiteY234" fmla="*/ 38556 h 62948"/>
                <a:gd name="connsiteX235" fmla="*/ 245892 w 263595"/>
                <a:gd name="connsiteY235" fmla="*/ 37376 h 62948"/>
                <a:gd name="connsiteX236" fmla="*/ 249039 w 263595"/>
                <a:gd name="connsiteY236" fmla="*/ 35408 h 62948"/>
                <a:gd name="connsiteX237" fmla="*/ 251793 w 263595"/>
                <a:gd name="connsiteY237" fmla="*/ 33048 h 62948"/>
                <a:gd name="connsiteX238" fmla="*/ 254940 w 263595"/>
                <a:gd name="connsiteY238" fmla="*/ 32654 h 62948"/>
                <a:gd name="connsiteX239" fmla="*/ 257694 w 263595"/>
                <a:gd name="connsiteY239" fmla="*/ 31081 h 62948"/>
                <a:gd name="connsiteX240" fmla="*/ 260448 w 263595"/>
                <a:gd name="connsiteY240" fmla="*/ 30294 h 62948"/>
                <a:gd name="connsiteX241" fmla="*/ 266350 w 263595"/>
                <a:gd name="connsiteY241" fmla="*/ 24392 h 62948"/>
                <a:gd name="connsiteX242" fmla="*/ 265169 w 263595"/>
                <a:gd name="connsiteY242" fmla="*/ 21638 h 62948"/>
                <a:gd name="connsiteX243" fmla="*/ 262022 w 263595"/>
                <a:gd name="connsiteY243" fmla="*/ 20458 h 62948"/>
                <a:gd name="connsiteX244" fmla="*/ 261629 w 263595"/>
                <a:gd name="connsiteY244" fmla="*/ 20458 h 62948"/>
                <a:gd name="connsiteX245" fmla="*/ 227400 w 263595"/>
                <a:gd name="connsiteY245" fmla="*/ 9049 h 62948"/>
                <a:gd name="connsiteX246" fmla="*/ 229368 w 263595"/>
                <a:gd name="connsiteY246" fmla="*/ 6295 h 62948"/>
                <a:gd name="connsiteX247" fmla="*/ 232515 w 263595"/>
                <a:gd name="connsiteY247" fmla="*/ 4328 h 62948"/>
                <a:gd name="connsiteX248" fmla="*/ 235662 w 263595"/>
                <a:gd name="connsiteY248" fmla="*/ 3541 h 62948"/>
                <a:gd name="connsiteX249" fmla="*/ 236056 w 263595"/>
                <a:gd name="connsiteY249" fmla="*/ 393 h 62948"/>
                <a:gd name="connsiteX250" fmla="*/ 232908 w 263595"/>
                <a:gd name="connsiteY250" fmla="*/ 0 h 62948"/>
                <a:gd name="connsiteX251" fmla="*/ 227007 w 263595"/>
                <a:gd name="connsiteY251" fmla="*/ 0 h 62948"/>
                <a:gd name="connsiteX252" fmla="*/ 223860 w 263595"/>
                <a:gd name="connsiteY252" fmla="*/ 393 h 62948"/>
                <a:gd name="connsiteX253" fmla="*/ 220712 w 263595"/>
                <a:gd name="connsiteY253" fmla="*/ 1574 h 62948"/>
                <a:gd name="connsiteX254" fmla="*/ 217958 w 263595"/>
                <a:gd name="connsiteY254" fmla="*/ 1967 h 62948"/>
                <a:gd name="connsiteX255" fmla="*/ 214811 w 263595"/>
                <a:gd name="connsiteY255" fmla="*/ 3147 h 62948"/>
                <a:gd name="connsiteX256" fmla="*/ 211663 w 263595"/>
                <a:gd name="connsiteY256" fmla="*/ 5115 h 62948"/>
                <a:gd name="connsiteX257" fmla="*/ 208516 w 263595"/>
                <a:gd name="connsiteY257" fmla="*/ 5901 h 62948"/>
                <a:gd name="connsiteX258" fmla="*/ 205762 w 263595"/>
                <a:gd name="connsiteY258" fmla="*/ 6688 h 62948"/>
                <a:gd name="connsiteX259" fmla="*/ 202615 w 263595"/>
                <a:gd name="connsiteY259" fmla="*/ 8262 h 62948"/>
                <a:gd name="connsiteX260" fmla="*/ 199467 w 263595"/>
                <a:gd name="connsiteY260" fmla="*/ 8655 h 62948"/>
                <a:gd name="connsiteX261" fmla="*/ 198287 w 263595"/>
                <a:gd name="connsiteY261" fmla="*/ 8655 h 62948"/>
                <a:gd name="connsiteX262" fmla="*/ 195533 w 263595"/>
                <a:gd name="connsiteY262" fmla="*/ 9049 h 62948"/>
                <a:gd name="connsiteX263" fmla="*/ 191992 w 263595"/>
                <a:gd name="connsiteY263" fmla="*/ 9836 h 62948"/>
                <a:gd name="connsiteX264" fmla="*/ 189238 w 263595"/>
                <a:gd name="connsiteY264" fmla="*/ 9836 h 62948"/>
                <a:gd name="connsiteX265" fmla="*/ 186484 w 263595"/>
                <a:gd name="connsiteY265" fmla="*/ 11803 h 62948"/>
                <a:gd name="connsiteX266" fmla="*/ 188451 w 263595"/>
                <a:gd name="connsiteY266" fmla="*/ 14950 h 62948"/>
                <a:gd name="connsiteX267" fmla="*/ 188845 w 263595"/>
                <a:gd name="connsiteY267" fmla="*/ 15344 h 62948"/>
                <a:gd name="connsiteX268" fmla="*/ 177435 w 263595"/>
                <a:gd name="connsiteY268" fmla="*/ 23212 h 62948"/>
                <a:gd name="connsiteX269" fmla="*/ 176255 w 263595"/>
                <a:gd name="connsiteY269" fmla="*/ 24392 h 62948"/>
                <a:gd name="connsiteX270" fmla="*/ 164059 w 263595"/>
                <a:gd name="connsiteY270" fmla="*/ 33048 h 62948"/>
                <a:gd name="connsiteX271" fmla="*/ 157371 w 263595"/>
                <a:gd name="connsiteY271" fmla="*/ 32654 h 62948"/>
                <a:gd name="connsiteX272" fmla="*/ 155010 w 263595"/>
                <a:gd name="connsiteY272" fmla="*/ 32261 h 62948"/>
                <a:gd name="connsiteX273" fmla="*/ 151863 w 263595"/>
                <a:gd name="connsiteY273" fmla="*/ 32261 h 62948"/>
                <a:gd name="connsiteX274" fmla="*/ 149108 w 263595"/>
                <a:gd name="connsiteY274" fmla="*/ 32261 h 62948"/>
                <a:gd name="connsiteX275" fmla="*/ 147141 w 263595"/>
                <a:gd name="connsiteY275" fmla="*/ 32654 h 62948"/>
                <a:gd name="connsiteX276" fmla="*/ 139666 w 263595"/>
                <a:gd name="connsiteY276" fmla="*/ 32261 h 62948"/>
                <a:gd name="connsiteX277" fmla="*/ 140060 w 263595"/>
                <a:gd name="connsiteY277" fmla="*/ 30294 h 62948"/>
                <a:gd name="connsiteX278" fmla="*/ 142814 w 263595"/>
                <a:gd name="connsiteY278" fmla="*/ 28720 h 62948"/>
                <a:gd name="connsiteX279" fmla="*/ 142420 w 263595"/>
                <a:gd name="connsiteY279" fmla="*/ 25573 h 62948"/>
                <a:gd name="connsiteX280" fmla="*/ 145568 w 263595"/>
                <a:gd name="connsiteY280" fmla="*/ 25573 h 62948"/>
                <a:gd name="connsiteX281" fmla="*/ 142420 w 263595"/>
                <a:gd name="connsiteY281" fmla="*/ 25179 h 62948"/>
                <a:gd name="connsiteX282" fmla="*/ 139273 w 263595"/>
                <a:gd name="connsiteY282" fmla="*/ 25179 h 62948"/>
                <a:gd name="connsiteX283" fmla="*/ 136125 w 263595"/>
                <a:gd name="connsiteY283" fmla="*/ 25573 h 62948"/>
                <a:gd name="connsiteX284" fmla="*/ 132978 w 263595"/>
                <a:gd name="connsiteY284" fmla="*/ 25179 h 62948"/>
                <a:gd name="connsiteX285" fmla="*/ 130224 w 263595"/>
                <a:gd name="connsiteY285" fmla="*/ 25966 h 62948"/>
                <a:gd name="connsiteX286" fmla="*/ 133371 w 263595"/>
                <a:gd name="connsiteY286" fmla="*/ 24392 h 62948"/>
                <a:gd name="connsiteX287" fmla="*/ 136519 w 263595"/>
                <a:gd name="connsiteY287" fmla="*/ 23999 h 62948"/>
                <a:gd name="connsiteX288" fmla="*/ 139273 w 263595"/>
                <a:gd name="connsiteY288" fmla="*/ 23999 h 62948"/>
                <a:gd name="connsiteX289" fmla="*/ 142814 w 263595"/>
                <a:gd name="connsiteY289" fmla="*/ 23212 h 62948"/>
                <a:gd name="connsiteX290" fmla="*/ 139666 w 263595"/>
                <a:gd name="connsiteY290" fmla="*/ 20852 h 62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</a:cxnLst>
              <a:rect l="l" t="t" r="r" b="b"/>
              <a:pathLst>
                <a:path w="263595" h="62948">
                  <a:moveTo>
                    <a:pt x="136912" y="20458"/>
                  </a:moveTo>
                  <a:lnTo>
                    <a:pt x="135732" y="17311"/>
                  </a:lnTo>
                  <a:lnTo>
                    <a:pt x="132978" y="15344"/>
                  </a:lnTo>
                  <a:lnTo>
                    <a:pt x="129831" y="14163"/>
                  </a:lnTo>
                  <a:lnTo>
                    <a:pt x="127077" y="14557"/>
                  </a:lnTo>
                  <a:lnTo>
                    <a:pt x="123536" y="14163"/>
                  </a:lnTo>
                  <a:lnTo>
                    <a:pt x="120782" y="14950"/>
                  </a:lnTo>
                  <a:lnTo>
                    <a:pt x="117634" y="15344"/>
                  </a:lnTo>
                  <a:lnTo>
                    <a:pt x="114487" y="15737"/>
                  </a:lnTo>
                  <a:lnTo>
                    <a:pt x="111733" y="15737"/>
                  </a:lnTo>
                  <a:lnTo>
                    <a:pt x="108586" y="16130"/>
                  </a:lnTo>
                  <a:lnTo>
                    <a:pt x="110159" y="13376"/>
                  </a:lnTo>
                  <a:lnTo>
                    <a:pt x="113307" y="11016"/>
                  </a:lnTo>
                  <a:lnTo>
                    <a:pt x="110946" y="8262"/>
                  </a:lnTo>
                  <a:lnTo>
                    <a:pt x="104651" y="8262"/>
                  </a:lnTo>
                  <a:lnTo>
                    <a:pt x="101504" y="7869"/>
                  </a:lnTo>
                  <a:lnTo>
                    <a:pt x="98357" y="8655"/>
                  </a:lnTo>
                  <a:lnTo>
                    <a:pt x="95209" y="8655"/>
                  </a:lnTo>
                  <a:lnTo>
                    <a:pt x="92455" y="9049"/>
                  </a:lnTo>
                  <a:lnTo>
                    <a:pt x="89308" y="9049"/>
                  </a:lnTo>
                  <a:lnTo>
                    <a:pt x="86160" y="9836"/>
                  </a:lnTo>
                  <a:lnTo>
                    <a:pt x="83406" y="10229"/>
                  </a:lnTo>
                  <a:lnTo>
                    <a:pt x="80259" y="11016"/>
                  </a:lnTo>
                  <a:lnTo>
                    <a:pt x="77111" y="11803"/>
                  </a:lnTo>
                  <a:lnTo>
                    <a:pt x="73964" y="13376"/>
                  </a:lnTo>
                  <a:lnTo>
                    <a:pt x="76718" y="14950"/>
                  </a:lnTo>
                  <a:lnTo>
                    <a:pt x="83406" y="14950"/>
                  </a:lnTo>
                  <a:lnTo>
                    <a:pt x="86160" y="15344"/>
                  </a:lnTo>
                  <a:lnTo>
                    <a:pt x="89701" y="16524"/>
                  </a:lnTo>
                  <a:lnTo>
                    <a:pt x="92849" y="16524"/>
                  </a:lnTo>
                  <a:lnTo>
                    <a:pt x="89701" y="17311"/>
                  </a:lnTo>
                  <a:lnTo>
                    <a:pt x="86554" y="16917"/>
                  </a:lnTo>
                  <a:lnTo>
                    <a:pt x="83800" y="16130"/>
                  </a:lnTo>
                  <a:lnTo>
                    <a:pt x="80652" y="16130"/>
                  </a:lnTo>
                  <a:lnTo>
                    <a:pt x="77505" y="16130"/>
                  </a:lnTo>
                  <a:lnTo>
                    <a:pt x="68456" y="16130"/>
                  </a:lnTo>
                  <a:lnTo>
                    <a:pt x="65702" y="15737"/>
                  </a:lnTo>
                  <a:lnTo>
                    <a:pt x="62555" y="16130"/>
                  </a:lnTo>
                  <a:lnTo>
                    <a:pt x="59014" y="16524"/>
                  </a:lnTo>
                  <a:lnTo>
                    <a:pt x="55866" y="17311"/>
                  </a:lnTo>
                  <a:lnTo>
                    <a:pt x="52719" y="18098"/>
                  </a:lnTo>
                  <a:lnTo>
                    <a:pt x="49965" y="19278"/>
                  </a:lnTo>
                  <a:lnTo>
                    <a:pt x="46818" y="21638"/>
                  </a:lnTo>
                  <a:lnTo>
                    <a:pt x="43670" y="22819"/>
                  </a:lnTo>
                  <a:lnTo>
                    <a:pt x="46818" y="24392"/>
                  </a:lnTo>
                  <a:lnTo>
                    <a:pt x="49572" y="24392"/>
                  </a:lnTo>
                  <a:lnTo>
                    <a:pt x="52719" y="24392"/>
                  </a:lnTo>
                  <a:lnTo>
                    <a:pt x="55473" y="24392"/>
                  </a:lnTo>
                  <a:lnTo>
                    <a:pt x="59014" y="23999"/>
                  </a:lnTo>
                  <a:lnTo>
                    <a:pt x="62161" y="23606"/>
                  </a:lnTo>
                  <a:lnTo>
                    <a:pt x="64915" y="23999"/>
                  </a:lnTo>
                  <a:lnTo>
                    <a:pt x="73964" y="23999"/>
                  </a:lnTo>
                  <a:lnTo>
                    <a:pt x="77111" y="23606"/>
                  </a:lnTo>
                  <a:lnTo>
                    <a:pt x="80259" y="23212"/>
                  </a:lnTo>
                  <a:lnTo>
                    <a:pt x="77111" y="24392"/>
                  </a:lnTo>
                  <a:lnTo>
                    <a:pt x="73964" y="24392"/>
                  </a:lnTo>
                  <a:lnTo>
                    <a:pt x="70817" y="24786"/>
                  </a:lnTo>
                  <a:lnTo>
                    <a:pt x="67276" y="25179"/>
                  </a:lnTo>
                  <a:lnTo>
                    <a:pt x="64128" y="25179"/>
                  </a:lnTo>
                  <a:lnTo>
                    <a:pt x="61374" y="24786"/>
                  </a:lnTo>
                  <a:lnTo>
                    <a:pt x="58227" y="25179"/>
                  </a:lnTo>
                  <a:lnTo>
                    <a:pt x="55473" y="25573"/>
                  </a:lnTo>
                  <a:lnTo>
                    <a:pt x="51932" y="25966"/>
                  </a:lnTo>
                  <a:lnTo>
                    <a:pt x="40129" y="25966"/>
                  </a:lnTo>
                  <a:lnTo>
                    <a:pt x="36982" y="26360"/>
                  </a:lnTo>
                  <a:lnTo>
                    <a:pt x="34228" y="26753"/>
                  </a:lnTo>
                  <a:lnTo>
                    <a:pt x="30687" y="27540"/>
                  </a:lnTo>
                  <a:lnTo>
                    <a:pt x="27540" y="28720"/>
                  </a:lnTo>
                  <a:lnTo>
                    <a:pt x="24392" y="29900"/>
                  </a:lnTo>
                  <a:lnTo>
                    <a:pt x="21638" y="31081"/>
                  </a:lnTo>
                  <a:lnTo>
                    <a:pt x="24392" y="32261"/>
                  </a:lnTo>
                  <a:lnTo>
                    <a:pt x="30687" y="32261"/>
                  </a:lnTo>
                  <a:lnTo>
                    <a:pt x="33835" y="32261"/>
                  </a:lnTo>
                  <a:lnTo>
                    <a:pt x="36589" y="32261"/>
                  </a:lnTo>
                  <a:lnTo>
                    <a:pt x="39736" y="32261"/>
                  </a:lnTo>
                  <a:lnTo>
                    <a:pt x="42883" y="32261"/>
                  </a:lnTo>
                  <a:lnTo>
                    <a:pt x="44850" y="31474"/>
                  </a:lnTo>
                  <a:lnTo>
                    <a:pt x="50359" y="32261"/>
                  </a:lnTo>
                  <a:lnTo>
                    <a:pt x="48785" y="32654"/>
                  </a:lnTo>
                  <a:lnTo>
                    <a:pt x="45637" y="33441"/>
                  </a:lnTo>
                  <a:lnTo>
                    <a:pt x="42883" y="34228"/>
                  </a:lnTo>
                  <a:lnTo>
                    <a:pt x="39736" y="34622"/>
                  </a:lnTo>
                  <a:lnTo>
                    <a:pt x="18491" y="34622"/>
                  </a:lnTo>
                  <a:lnTo>
                    <a:pt x="15343" y="35015"/>
                  </a:lnTo>
                  <a:lnTo>
                    <a:pt x="12589" y="35408"/>
                  </a:lnTo>
                  <a:lnTo>
                    <a:pt x="9442" y="36589"/>
                  </a:lnTo>
                  <a:lnTo>
                    <a:pt x="6295" y="37376"/>
                  </a:lnTo>
                  <a:lnTo>
                    <a:pt x="3147" y="38949"/>
                  </a:lnTo>
                  <a:lnTo>
                    <a:pt x="0" y="40129"/>
                  </a:lnTo>
                  <a:lnTo>
                    <a:pt x="2754" y="42490"/>
                  </a:lnTo>
                  <a:lnTo>
                    <a:pt x="5901" y="42883"/>
                  </a:lnTo>
                  <a:lnTo>
                    <a:pt x="9049" y="43277"/>
                  </a:lnTo>
                  <a:lnTo>
                    <a:pt x="12196" y="43670"/>
                  </a:lnTo>
                  <a:lnTo>
                    <a:pt x="14950" y="43670"/>
                  </a:lnTo>
                  <a:lnTo>
                    <a:pt x="18098" y="42490"/>
                  </a:lnTo>
                  <a:lnTo>
                    <a:pt x="21245" y="42490"/>
                  </a:lnTo>
                  <a:lnTo>
                    <a:pt x="24392" y="41703"/>
                  </a:lnTo>
                  <a:lnTo>
                    <a:pt x="21245" y="44064"/>
                  </a:lnTo>
                  <a:lnTo>
                    <a:pt x="24392" y="44457"/>
                  </a:lnTo>
                  <a:lnTo>
                    <a:pt x="27146" y="43670"/>
                  </a:lnTo>
                  <a:lnTo>
                    <a:pt x="24392" y="44851"/>
                  </a:lnTo>
                  <a:lnTo>
                    <a:pt x="21638" y="45244"/>
                  </a:lnTo>
                  <a:lnTo>
                    <a:pt x="24392" y="46424"/>
                  </a:lnTo>
                  <a:lnTo>
                    <a:pt x="27540" y="47605"/>
                  </a:lnTo>
                  <a:lnTo>
                    <a:pt x="30687" y="47605"/>
                  </a:lnTo>
                  <a:lnTo>
                    <a:pt x="33835" y="46424"/>
                  </a:lnTo>
                  <a:lnTo>
                    <a:pt x="35408" y="43670"/>
                  </a:lnTo>
                  <a:lnTo>
                    <a:pt x="38162" y="44457"/>
                  </a:lnTo>
                  <a:lnTo>
                    <a:pt x="41703" y="44064"/>
                  </a:lnTo>
                  <a:lnTo>
                    <a:pt x="44850" y="42883"/>
                  </a:lnTo>
                  <a:lnTo>
                    <a:pt x="41703" y="45637"/>
                  </a:lnTo>
                  <a:lnTo>
                    <a:pt x="44457" y="47605"/>
                  </a:lnTo>
                  <a:lnTo>
                    <a:pt x="51145" y="46424"/>
                  </a:lnTo>
                  <a:lnTo>
                    <a:pt x="53899" y="45637"/>
                  </a:lnTo>
                  <a:lnTo>
                    <a:pt x="57047" y="45637"/>
                  </a:lnTo>
                  <a:lnTo>
                    <a:pt x="59801" y="44457"/>
                  </a:lnTo>
                  <a:lnTo>
                    <a:pt x="62948" y="43277"/>
                  </a:lnTo>
                  <a:lnTo>
                    <a:pt x="64915" y="40523"/>
                  </a:lnTo>
                  <a:lnTo>
                    <a:pt x="61768" y="40129"/>
                  </a:lnTo>
                  <a:lnTo>
                    <a:pt x="64915" y="38556"/>
                  </a:lnTo>
                  <a:lnTo>
                    <a:pt x="67669" y="40916"/>
                  </a:lnTo>
                  <a:lnTo>
                    <a:pt x="70817" y="40523"/>
                  </a:lnTo>
                  <a:lnTo>
                    <a:pt x="73571" y="38949"/>
                  </a:lnTo>
                  <a:lnTo>
                    <a:pt x="76718" y="37376"/>
                  </a:lnTo>
                  <a:lnTo>
                    <a:pt x="77505" y="36589"/>
                  </a:lnTo>
                  <a:lnTo>
                    <a:pt x="83800" y="37769"/>
                  </a:lnTo>
                  <a:lnTo>
                    <a:pt x="83013" y="37769"/>
                  </a:lnTo>
                  <a:lnTo>
                    <a:pt x="79866" y="38556"/>
                  </a:lnTo>
                  <a:lnTo>
                    <a:pt x="76718" y="40129"/>
                  </a:lnTo>
                  <a:lnTo>
                    <a:pt x="73964" y="41703"/>
                  </a:lnTo>
                  <a:lnTo>
                    <a:pt x="76718" y="42097"/>
                  </a:lnTo>
                  <a:lnTo>
                    <a:pt x="73177" y="42883"/>
                  </a:lnTo>
                  <a:lnTo>
                    <a:pt x="70030" y="43670"/>
                  </a:lnTo>
                  <a:lnTo>
                    <a:pt x="73177" y="45637"/>
                  </a:lnTo>
                  <a:lnTo>
                    <a:pt x="76325" y="45244"/>
                  </a:lnTo>
                  <a:lnTo>
                    <a:pt x="79079" y="45244"/>
                  </a:lnTo>
                  <a:lnTo>
                    <a:pt x="82620" y="44851"/>
                  </a:lnTo>
                  <a:lnTo>
                    <a:pt x="85373" y="44064"/>
                  </a:lnTo>
                  <a:lnTo>
                    <a:pt x="88914" y="44457"/>
                  </a:lnTo>
                  <a:lnTo>
                    <a:pt x="92062" y="44064"/>
                  </a:lnTo>
                  <a:lnTo>
                    <a:pt x="95209" y="43670"/>
                  </a:lnTo>
                  <a:lnTo>
                    <a:pt x="97963" y="41310"/>
                  </a:lnTo>
                  <a:lnTo>
                    <a:pt x="100324" y="40523"/>
                  </a:lnTo>
                  <a:lnTo>
                    <a:pt x="104258" y="40916"/>
                  </a:lnTo>
                  <a:lnTo>
                    <a:pt x="101110" y="42883"/>
                  </a:lnTo>
                  <a:lnTo>
                    <a:pt x="104258" y="43670"/>
                  </a:lnTo>
                  <a:lnTo>
                    <a:pt x="107405" y="43670"/>
                  </a:lnTo>
                  <a:lnTo>
                    <a:pt x="110553" y="43670"/>
                  </a:lnTo>
                  <a:lnTo>
                    <a:pt x="112127" y="43277"/>
                  </a:lnTo>
                  <a:lnTo>
                    <a:pt x="119601" y="45244"/>
                  </a:lnTo>
                  <a:lnTo>
                    <a:pt x="119208" y="45637"/>
                  </a:lnTo>
                  <a:lnTo>
                    <a:pt x="116061" y="45637"/>
                  </a:lnTo>
                  <a:lnTo>
                    <a:pt x="113307" y="46818"/>
                  </a:lnTo>
                  <a:lnTo>
                    <a:pt x="107405" y="47605"/>
                  </a:lnTo>
                  <a:lnTo>
                    <a:pt x="104651" y="46818"/>
                  </a:lnTo>
                  <a:lnTo>
                    <a:pt x="101504" y="47211"/>
                  </a:lnTo>
                  <a:lnTo>
                    <a:pt x="92455" y="47211"/>
                  </a:lnTo>
                  <a:lnTo>
                    <a:pt x="89308" y="47605"/>
                  </a:lnTo>
                  <a:lnTo>
                    <a:pt x="86160" y="47605"/>
                  </a:lnTo>
                  <a:lnTo>
                    <a:pt x="83406" y="47998"/>
                  </a:lnTo>
                  <a:lnTo>
                    <a:pt x="80259" y="48785"/>
                  </a:lnTo>
                  <a:lnTo>
                    <a:pt x="77111" y="49572"/>
                  </a:lnTo>
                  <a:lnTo>
                    <a:pt x="73964" y="49965"/>
                  </a:lnTo>
                  <a:lnTo>
                    <a:pt x="71210" y="51145"/>
                  </a:lnTo>
                  <a:lnTo>
                    <a:pt x="68063" y="51539"/>
                  </a:lnTo>
                  <a:lnTo>
                    <a:pt x="64915" y="51539"/>
                  </a:lnTo>
                  <a:lnTo>
                    <a:pt x="61768" y="51932"/>
                  </a:lnTo>
                  <a:lnTo>
                    <a:pt x="58620" y="52326"/>
                  </a:lnTo>
                  <a:lnTo>
                    <a:pt x="55866" y="52719"/>
                  </a:lnTo>
                  <a:lnTo>
                    <a:pt x="52326" y="53506"/>
                  </a:lnTo>
                  <a:lnTo>
                    <a:pt x="49572" y="53899"/>
                  </a:lnTo>
                  <a:lnTo>
                    <a:pt x="46424" y="54686"/>
                  </a:lnTo>
                  <a:lnTo>
                    <a:pt x="43670" y="55867"/>
                  </a:lnTo>
                  <a:lnTo>
                    <a:pt x="45637" y="58621"/>
                  </a:lnTo>
                  <a:lnTo>
                    <a:pt x="48391" y="60588"/>
                  </a:lnTo>
                  <a:lnTo>
                    <a:pt x="51539" y="61768"/>
                  </a:lnTo>
                  <a:lnTo>
                    <a:pt x="54293" y="62555"/>
                  </a:lnTo>
                  <a:lnTo>
                    <a:pt x="57047" y="62948"/>
                  </a:lnTo>
                  <a:lnTo>
                    <a:pt x="59801" y="62948"/>
                  </a:lnTo>
                  <a:lnTo>
                    <a:pt x="69636" y="62948"/>
                  </a:lnTo>
                  <a:lnTo>
                    <a:pt x="72784" y="62948"/>
                  </a:lnTo>
                  <a:lnTo>
                    <a:pt x="75931" y="62948"/>
                  </a:lnTo>
                  <a:lnTo>
                    <a:pt x="79079" y="62555"/>
                  </a:lnTo>
                  <a:lnTo>
                    <a:pt x="81833" y="61768"/>
                  </a:lnTo>
                  <a:lnTo>
                    <a:pt x="85373" y="61768"/>
                  </a:lnTo>
                  <a:lnTo>
                    <a:pt x="88127" y="60981"/>
                  </a:lnTo>
                  <a:lnTo>
                    <a:pt x="90881" y="60588"/>
                  </a:lnTo>
                  <a:lnTo>
                    <a:pt x="94029" y="60588"/>
                  </a:lnTo>
                  <a:lnTo>
                    <a:pt x="97570" y="59801"/>
                  </a:lnTo>
                  <a:lnTo>
                    <a:pt x="100324" y="59014"/>
                  </a:lnTo>
                  <a:lnTo>
                    <a:pt x="103471" y="58621"/>
                  </a:lnTo>
                  <a:lnTo>
                    <a:pt x="106618" y="57834"/>
                  </a:lnTo>
                  <a:lnTo>
                    <a:pt x="109373" y="57834"/>
                  </a:lnTo>
                  <a:lnTo>
                    <a:pt x="115274" y="56653"/>
                  </a:lnTo>
                  <a:lnTo>
                    <a:pt x="118028" y="55867"/>
                  </a:lnTo>
                  <a:lnTo>
                    <a:pt x="121175" y="55080"/>
                  </a:lnTo>
                  <a:lnTo>
                    <a:pt x="123929" y="52719"/>
                  </a:lnTo>
                  <a:lnTo>
                    <a:pt x="127077" y="52719"/>
                  </a:lnTo>
                  <a:lnTo>
                    <a:pt x="130224" y="52326"/>
                  </a:lnTo>
                  <a:lnTo>
                    <a:pt x="133371" y="51145"/>
                  </a:lnTo>
                  <a:lnTo>
                    <a:pt x="136125" y="51539"/>
                  </a:lnTo>
                  <a:lnTo>
                    <a:pt x="139666" y="51145"/>
                  </a:lnTo>
                  <a:lnTo>
                    <a:pt x="140060" y="51145"/>
                  </a:lnTo>
                  <a:lnTo>
                    <a:pt x="143994" y="50752"/>
                  </a:lnTo>
                  <a:lnTo>
                    <a:pt x="145961" y="50752"/>
                  </a:lnTo>
                  <a:lnTo>
                    <a:pt x="149108" y="50752"/>
                  </a:lnTo>
                  <a:lnTo>
                    <a:pt x="151863" y="49965"/>
                  </a:lnTo>
                  <a:lnTo>
                    <a:pt x="154223" y="49572"/>
                  </a:lnTo>
                  <a:lnTo>
                    <a:pt x="170354" y="47605"/>
                  </a:lnTo>
                  <a:lnTo>
                    <a:pt x="173108" y="47998"/>
                  </a:lnTo>
                  <a:lnTo>
                    <a:pt x="176255" y="49178"/>
                  </a:lnTo>
                  <a:lnTo>
                    <a:pt x="179402" y="49178"/>
                  </a:lnTo>
                  <a:lnTo>
                    <a:pt x="182550" y="48785"/>
                  </a:lnTo>
                  <a:lnTo>
                    <a:pt x="185304" y="47998"/>
                  </a:lnTo>
                  <a:lnTo>
                    <a:pt x="188451" y="46818"/>
                  </a:lnTo>
                  <a:lnTo>
                    <a:pt x="191992" y="46031"/>
                  </a:lnTo>
                  <a:lnTo>
                    <a:pt x="193566" y="44457"/>
                  </a:lnTo>
                  <a:lnTo>
                    <a:pt x="191598" y="47605"/>
                  </a:lnTo>
                  <a:lnTo>
                    <a:pt x="194353" y="48785"/>
                  </a:lnTo>
                  <a:lnTo>
                    <a:pt x="197500" y="48785"/>
                  </a:lnTo>
                  <a:lnTo>
                    <a:pt x="200254" y="49572"/>
                  </a:lnTo>
                  <a:lnTo>
                    <a:pt x="203401" y="49178"/>
                  </a:lnTo>
                  <a:lnTo>
                    <a:pt x="206155" y="48785"/>
                  </a:lnTo>
                  <a:lnTo>
                    <a:pt x="209303" y="47605"/>
                  </a:lnTo>
                  <a:lnTo>
                    <a:pt x="212844" y="46818"/>
                  </a:lnTo>
                  <a:lnTo>
                    <a:pt x="215598" y="46818"/>
                  </a:lnTo>
                  <a:lnTo>
                    <a:pt x="218745" y="46424"/>
                  </a:lnTo>
                  <a:lnTo>
                    <a:pt x="221892" y="46424"/>
                  </a:lnTo>
                  <a:lnTo>
                    <a:pt x="225040" y="46031"/>
                  </a:lnTo>
                  <a:lnTo>
                    <a:pt x="227794" y="45637"/>
                  </a:lnTo>
                  <a:lnTo>
                    <a:pt x="230941" y="43670"/>
                  </a:lnTo>
                  <a:lnTo>
                    <a:pt x="233695" y="43277"/>
                  </a:lnTo>
                  <a:lnTo>
                    <a:pt x="236843" y="40523"/>
                  </a:lnTo>
                  <a:lnTo>
                    <a:pt x="239990" y="39343"/>
                  </a:lnTo>
                  <a:lnTo>
                    <a:pt x="243138" y="38556"/>
                  </a:lnTo>
                  <a:lnTo>
                    <a:pt x="245892" y="37376"/>
                  </a:lnTo>
                  <a:lnTo>
                    <a:pt x="249039" y="35408"/>
                  </a:lnTo>
                  <a:lnTo>
                    <a:pt x="251793" y="33048"/>
                  </a:lnTo>
                  <a:lnTo>
                    <a:pt x="254940" y="32654"/>
                  </a:lnTo>
                  <a:lnTo>
                    <a:pt x="257694" y="31081"/>
                  </a:lnTo>
                  <a:lnTo>
                    <a:pt x="260448" y="30294"/>
                  </a:lnTo>
                  <a:lnTo>
                    <a:pt x="266350" y="24392"/>
                  </a:lnTo>
                  <a:lnTo>
                    <a:pt x="265169" y="21638"/>
                  </a:lnTo>
                  <a:lnTo>
                    <a:pt x="262022" y="20458"/>
                  </a:lnTo>
                  <a:lnTo>
                    <a:pt x="261629" y="20458"/>
                  </a:lnTo>
                  <a:lnTo>
                    <a:pt x="227400" y="9049"/>
                  </a:lnTo>
                  <a:lnTo>
                    <a:pt x="229368" y="6295"/>
                  </a:lnTo>
                  <a:lnTo>
                    <a:pt x="232515" y="4328"/>
                  </a:lnTo>
                  <a:lnTo>
                    <a:pt x="235662" y="3541"/>
                  </a:lnTo>
                  <a:lnTo>
                    <a:pt x="236056" y="393"/>
                  </a:lnTo>
                  <a:lnTo>
                    <a:pt x="232908" y="0"/>
                  </a:lnTo>
                  <a:lnTo>
                    <a:pt x="227007" y="0"/>
                  </a:lnTo>
                  <a:lnTo>
                    <a:pt x="223860" y="393"/>
                  </a:lnTo>
                  <a:lnTo>
                    <a:pt x="220712" y="1574"/>
                  </a:lnTo>
                  <a:lnTo>
                    <a:pt x="217958" y="1967"/>
                  </a:lnTo>
                  <a:lnTo>
                    <a:pt x="214811" y="3147"/>
                  </a:lnTo>
                  <a:lnTo>
                    <a:pt x="211663" y="5115"/>
                  </a:lnTo>
                  <a:lnTo>
                    <a:pt x="208516" y="5901"/>
                  </a:lnTo>
                  <a:lnTo>
                    <a:pt x="205762" y="6688"/>
                  </a:lnTo>
                  <a:lnTo>
                    <a:pt x="202615" y="8262"/>
                  </a:lnTo>
                  <a:lnTo>
                    <a:pt x="199467" y="8655"/>
                  </a:lnTo>
                  <a:lnTo>
                    <a:pt x="198287" y="8655"/>
                  </a:lnTo>
                  <a:lnTo>
                    <a:pt x="195533" y="9049"/>
                  </a:lnTo>
                  <a:lnTo>
                    <a:pt x="191992" y="9836"/>
                  </a:lnTo>
                  <a:lnTo>
                    <a:pt x="189238" y="9836"/>
                  </a:lnTo>
                  <a:lnTo>
                    <a:pt x="186484" y="11803"/>
                  </a:lnTo>
                  <a:lnTo>
                    <a:pt x="188451" y="14950"/>
                  </a:lnTo>
                  <a:lnTo>
                    <a:pt x="188845" y="15344"/>
                  </a:lnTo>
                  <a:lnTo>
                    <a:pt x="177435" y="23212"/>
                  </a:lnTo>
                  <a:lnTo>
                    <a:pt x="176255" y="24392"/>
                  </a:lnTo>
                  <a:lnTo>
                    <a:pt x="164059" y="33048"/>
                  </a:lnTo>
                  <a:lnTo>
                    <a:pt x="157371" y="32654"/>
                  </a:lnTo>
                  <a:lnTo>
                    <a:pt x="155010" y="32261"/>
                  </a:lnTo>
                  <a:lnTo>
                    <a:pt x="151863" y="32261"/>
                  </a:lnTo>
                  <a:lnTo>
                    <a:pt x="149108" y="32261"/>
                  </a:lnTo>
                  <a:lnTo>
                    <a:pt x="147141" y="32654"/>
                  </a:lnTo>
                  <a:lnTo>
                    <a:pt x="139666" y="32261"/>
                  </a:lnTo>
                  <a:lnTo>
                    <a:pt x="140060" y="30294"/>
                  </a:lnTo>
                  <a:lnTo>
                    <a:pt x="142814" y="28720"/>
                  </a:lnTo>
                  <a:lnTo>
                    <a:pt x="142420" y="25573"/>
                  </a:lnTo>
                  <a:lnTo>
                    <a:pt x="145568" y="25573"/>
                  </a:lnTo>
                  <a:lnTo>
                    <a:pt x="142420" y="25179"/>
                  </a:lnTo>
                  <a:lnTo>
                    <a:pt x="139273" y="25179"/>
                  </a:lnTo>
                  <a:lnTo>
                    <a:pt x="136125" y="25573"/>
                  </a:lnTo>
                  <a:lnTo>
                    <a:pt x="132978" y="25179"/>
                  </a:lnTo>
                  <a:lnTo>
                    <a:pt x="130224" y="25966"/>
                  </a:lnTo>
                  <a:lnTo>
                    <a:pt x="133371" y="24392"/>
                  </a:lnTo>
                  <a:lnTo>
                    <a:pt x="136519" y="23999"/>
                  </a:lnTo>
                  <a:lnTo>
                    <a:pt x="139273" y="23999"/>
                  </a:lnTo>
                  <a:lnTo>
                    <a:pt x="142814" y="23212"/>
                  </a:lnTo>
                  <a:lnTo>
                    <a:pt x="139666" y="2085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3" name="Freeform: Shape 2527">
              <a:extLst>
                <a:ext uri="{FF2B5EF4-FFF2-40B4-BE49-F238E27FC236}">
                  <a16:creationId xmlns:a16="http://schemas.microsoft.com/office/drawing/2014/main" id="{A1609BF7-0125-4EA4-B1AF-7DDFF0A1937B}"/>
                </a:ext>
              </a:extLst>
            </p:cNvPr>
            <p:cNvSpPr/>
            <p:nvPr/>
          </p:nvSpPr>
          <p:spPr>
            <a:xfrm>
              <a:off x="4063952" y="1238444"/>
              <a:ext cx="39343" cy="3934"/>
            </a:xfrm>
            <a:custGeom>
              <a:avLst/>
              <a:gdLst>
                <a:gd name="connsiteX0" fmla="*/ 5508 w 39342"/>
                <a:gd name="connsiteY0" fmla="*/ 6295 h 3934"/>
                <a:gd name="connsiteX1" fmla="*/ 8655 w 39342"/>
                <a:gd name="connsiteY1" fmla="*/ 7475 h 3934"/>
                <a:gd name="connsiteX2" fmla="*/ 11409 w 39342"/>
                <a:gd name="connsiteY2" fmla="*/ 7082 h 3934"/>
                <a:gd name="connsiteX3" fmla="*/ 20458 w 39342"/>
                <a:gd name="connsiteY3" fmla="*/ 7082 h 3934"/>
                <a:gd name="connsiteX4" fmla="*/ 23606 w 39342"/>
                <a:gd name="connsiteY4" fmla="*/ 6295 h 3934"/>
                <a:gd name="connsiteX5" fmla="*/ 27147 w 39342"/>
                <a:gd name="connsiteY5" fmla="*/ 6295 h 3934"/>
                <a:gd name="connsiteX6" fmla="*/ 29900 w 39342"/>
                <a:gd name="connsiteY6" fmla="*/ 5901 h 3934"/>
                <a:gd name="connsiteX7" fmla="*/ 33048 w 39342"/>
                <a:gd name="connsiteY7" fmla="*/ 5508 h 3934"/>
                <a:gd name="connsiteX8" fmla="*/ 35802 w 39342"/>
                <a:gd name="connsiteY8" fmla="*/ 4721 h 3934"/>
                <a:gd name="connsiteX9" fmla="*/ 39343 w 39342"/>
                <a:gd name="connsiteY9" fmla="*/ 3541 h 3934"/>
                <a:gd name="connsiteX10" fmla="*/ 41703 w 39342"/>
                <a:gd name="connsiteY10" fmla="*/ 393 h 3934"/>
                <a:gd name="connsiteX11" fmla="*/ 41310 w 39342"/>
                <a:gd name="connsiteY11" fmla="*/ 393 h 3934"/>
                <a:gd name="connsiteX12" fmla="*/ 38162 w 39342"/>
                <a:gd name="connsiteY12" fmla="*/ 0 h 3934"/>
                <a:gd name="connsiteX13" fmla="*/ 35408 w 39342"/>
                <a:gd name="connsiteY13" fmla="*/ 0 h 3934"/>
                <a:gd name="connsiteX14" fmla="*/ 32261 w 39342"/>
                <a:gd name="connsiteY14" fmla="*/ 393 h 3934"/>
                <a:gd name="connsiteX15" fmla="*/ 28720 w 39342"/>
                <a:gd name="connsiteY15" fmla="*/ 787 h 3934"/>
                <a:gd name="connsiteX16" fmla="*/ 25573 w 39342"/>
                <a:gd name="connsiteY16" fmla="*/ 787 h 3934"/>
                <a:gd name="connsiteX17" fmla="*/ 22425 w 39342"/>
                <a:gd name="connsiteY17" fmla="*/ 1180 h 3934"/>
                <a:gd name="connsiteX18" fmla="*/ 19671 w 39342"/>
                <a:gd name="connsiteY18" fmla="*/ 1180 h 3934"/>
                <a:gd name="connsiteX19" fmla="*/ 16524 w 39342"/>
                <a:gd name="connsiteY19" fmla="*/ 1574 h 3934"/>
                <a:gd name="connsiteX20" fmla="*/ 13770 w 39342"/>
                <a:gd name="connsiteY20" fmla="*/ 1967 h 3934"/>
                <a:gd name="connsiteX21" fmla="*/ 7475 w 39342"/>
                <a:gd name="connsiteY21" fmla="*/ 2361 h 3934"/>
                <a:gd name="connsiteX22" fmla="*/ 5901 w 39342"/>
                <a:gd name="connsiteY22" fmla="*/ 2361 h 3934"/>
                <a:gd name="connsiteX23" fmla="*/ 3147 w 39342"/>
                <a:gd name="connsiteY23" fmla="*/ 3541 h 3934"/>
                <a:gd name="connsiteX24" fmla="*/ 0 w 39342"/>
                <a:gd name="connsiteY24" fmla="*/ 5901 h 3934"/>
                <a:gd name="connsiteX25" fmla="*/ 2360 w 39342"/>
                <a:gd name="connsiteY25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9342" h="3934">
                  <a:moveTo>
                    <a:pt x="5508" y="6295"/>
                  </a:moveTo>
                  <a:lnTo>
                    <a:pt x="8655" y="7475"/>
                  </a:lnTo>
                  <a:lnTo>
                    <a:pt x="11409" y="7082"/>
                  </a:lnTo>
                  <a:lnTo>
                    <a:pt x="20458" y="7082"/>
                  </a:lnTo>
                  <a:lnTo>
                    <a:pt x="23606" y="6295"/>
                  </a:lnTo>
                  <a:lnTo>
                    <a:pt x="27147" y="6295"/>
                  </a:lnTo>
                  <a:lnTo>
                    <a:pt x="29900" y="5901"/>
                  </a:lnTo>
                  <a:lnTo>
                    <a:pt x="33048" y="5508"/>
                  </a:lnTo>
                  <a:lnTo>
                    <a:pt x="35802" y="4721"/>
                  </a:lnTo>
                  <a:lnTo>
                    <a:pt x="39343" y="3541"/>
                  </a:lnTo>
                  <a:lnTo>
                    <a:pt x="41703" y="393"/>
                  </a:lnTo>
                  <a:lnTo>
                    <a:pt x="41310" y="393"/>
                  </a:lnTo>
                  <a:lnTo>
                    <a:pt x="38162" y="0"/>
                  </a:lnTo>
                  <a:lnTo>
                    <a:pt x="35408" y="0"/>
                  </a:lnTo>
                  <a:lnTo>
                    <a:pt x="32261" y="393"/>
                  </a:lnTo>
                  <a:lnTo>
                    <a:pt x="28720" y="787"/>
                  </a:lnTo>
                  <a:lnTo>
                    <a:pt x="25573" y="787"/>
                  </a:lnTo>
                  <a:lnTo>
                    <a:pt x="22425" y="1180"/>
                  </a:lnTo>
                  <a:lnTo>
                    <a:pt x="19671" y="1180"/>
                  </a:lnTo>
                  <a:lnTo>
                    <a:pt x="16524" y="1574"/>
                  </a:lnTo>
                  <a:lnTo>
                    <a:pt x="13770" y="1967"/>
                  </a:lnTo>
                  <a:lnTo>
                    <a:pt x="7475" y="2361"/>
                  </a:lnTo>
                  <a:lnTo>
                    <a:pt x="5901" y="2361"/>
                  </a:lnTo>
                  <a:lnTo>
                    <a:pt x="3147" y="3541"/>
                  </a:lnTo>
                  <a:lnTo>
                    <a:pt x="0" y="5901"/>
                  </a:lnTo>
                  <a:lnTo>
                    <a:pt x="2360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4" name="Freeform: Shape 2528">
              <a:extLst>
                <a:ext uri="{FF2B5EF4-FFF2-40B4-BE49-F238E27FC236}">
                  <a16:creationId xmlns:a16="http://schemas.microsoft.com/office/drawing/2014/main" id="{6F09C97C-8118-4AB8-8C60-7932281D0257}"/>
                </a:ext>
              </a:extLst>
            </p:cNvPr>
            <p:cNvSpPr/>
            <p:nvPr/>
          </p:nvSpPr>
          <p:spPr>
            <a:xfrm>
              <a:off x="4067887" y="1243952"/>
              <a:ext cx="35408" cy="3934"/>
            </a:xfrm>
            <a:custGeom>
              <a:avLst/>
              <a:gdLst>
                <a:gd name="connsiteX0" fmla="*/ 8655 w 35408"/>
                <a:gd name="connsiteY0" fmla="*/ 4721 h 3934"/>
                <a:gd name="connsiteX1" fmla="*/ 11803 w 35408"/>
                <a:gd name="connsiteY1" fmla="*/ 4721 h 3934"/>
                <a:gd name="connsiteX2" fmla="*/ 14557 w 35408"/>
                <a:gd name="connsiteY2" fmla="*/ 4328 h 3934"/>
                <a:gd name="connsiteX3" fmla="*/ 17704 w 35408"/>
                <a:gd name="connsiteY3" fmla="*/ 3934 h 3934"/>
                <a:gd name="connsiteX4" fmla="*/ 21245 w 35408"/>
                <a:gd name="connsiteY4" fmla="*/ 3934 h 3934"/>
                <a:gd name="connsiteX5" fmla="*/ 24786 w 35408"/>
                <a:gd name="connsiteY5" fmla="*/ 3541 h 3934"/>
                <a:gd name="connsiteX6" fmla="*/ 27540 w 35408"/>
                <a:gd name="connsiteY6" fmla="*/ 2754 h 3934"/>
                <a:gd name="connsiteX7" fmla="*/ 30294 w 35408"/>
                <a:gd name="connsiteY7" fmla="*/ 2754 h 3934"/>
                <a:gd name="connsiteX8" fmla="*/ 33441 w 35408"/>
                <a:gd name="connsiteY8" fmla="*/ 2361 h 3934"/>
                <a:gd name="connsiteX9" fmla="*/ 36589 w 35408"/>
                <a:gd name="connsiteY9" fmla="*/ 787 h 3934"/>
                <a:gd name="connsiteX10" fmla="*/ 34228 w 35408"/>
                <a:gd name="connsiteY10" fmla="*/ 0 h 3934"/>
                <a:gd name="connsiteX11" fmla="*/ 31081 w 35408"/>
                <a:gd name="connsiteY11" fmla="*/ 393 h 3934"/>
                <a:gd name="connsiteX12" fmla="*/ 27933 w 35408"/>
                <a:gd name="connsiteY12" fmla="*/ 787 h 3934"/>
                <a:gd name="connsiteX13" fmla="*/ 24786 w 35408"/>
                <a:gd name="connsiteY13" fmla="*/ 787 h 3934"/>
                <a:gd name="connsiteX14" fmla="*/ 21638 w 35408"/>
                <a:gd name="connsiteY14" fmla="*/ 1180 h 3934"/>
                <a:gd name="connsiteX15" fmla="*/ 18491 w 35408"/>
                <a:gd name="connsiteY15" fmla="*/ 1967 h 3934"/>
                <a:gd name="connsiteX16" fmla="*/ 15344 w 35408"/>
                <a:gd name="connsiteY16" fmla="*/ 1967 h 3934"/>
                <a:gd name="connsiteX17" fmla="*/ 12196 w 35408"/>
                <a:gd name="connsiteY17" fmla="*/ 2754 h 3934"/>
                <a:gd name="connsiteX18" fmla="*/ 9049 w 35408"/>
                <a:gd name="connsiteY18" fmla="*/ 3147 h 3934"/>
                <a:gd name="connsiteX19" fmla="*/ 5901 w 35408"/>
                <a:gd name="connsiteY19" fmla="*/ 3147 h 3934"/>
                <a:gd name="connsiteX20" fmla="*/ 2754 w 35408"/>
                <a:gd name="connsiteY20" fmla="*/ 3934 h 3934"/>
                <a:gd name="connsiteX21" fmla="*/ 0 w 35408"/>
                <a:gd name="connsiteY21" fmla="*/ 5115 h 3934"/>
                <a:gd name="connsiteX22" fmla="*/ 5508 w 35408"/>
                <a:gd name="connsiteY22" fmla="*/ 511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5408" h="3934">
                  <a:moveTo>
                    <a:pt x="8655" y="4721"/>
                  </a:moveTo>
                  <a:lnTo>
                    <a:pt x="11803" y="4721"/>
                  </a:lnTo>
                  <a:lnTo>
                    <a:pt x="14557" y="4328"/>
                  </a:lnTo>
                  <a:lnTo>
                    <a:pt x="17704" y="3934"/>
                  </a:lnTo>
                  <a:lnTo>
                    <a:pt x="21245" y="3934"/>
                  </a:lnTo>
                  <a:lnTo>
                    <a:pt x="24786" y="3541"/>
                  </a:lnTo>
                  <a:lnTo>
                    <a:pt x="27540" y="2754"/>
                  </a:lnTo>
                  <a:lnTo>
                    <a:pt x="30294" y="2754"/>
                  </a:lnTo>
                  <a:lnTo>
                    <a:pt x="33441" y="2361"/>
                  </a:lnTo>
                  <a:lnTo>
                    <a:pt x="36589" y="787"/>
                  </a:lnTo>
                  <a:lnTo>
                    <a:pt x="34228" y="0"/>
                  </a:lnTo>
                  <a:lnTo>
                    <a:pt x="31081" y="393"/>
                  </a:lnTo>
                  <a:lnTo>
                    <a:pt x="27933" y="787"/>
                  </a:lnTo>
                  <a:lnTo>
                    <a:pt x="24786" y="787"/>
                  </a:lnTo>
                  <a:lnTo>
                    <a:pt x="21638" y="1180"/>
                  </a:lnTo>
                  <a:lnTo>
                    <a:pt x="18491" y="1967"/>
                  </a:lnTo>
                  <a:lnTo>
                    <a:pt x="15344" y="1967"/>
                  </a:lnTo>
                  <a:lnTo>
                    <a:pt x="12196" y="2754"/>
                  </a:lnTo>
                  <a:lnTo>
                    <a:pt x="9049" y="3147"/>
                  </a:lnTo>
                  <a:lnTo>
                    <a:pt x="5901" y="3147"/>
                  </a:lnTo>
                  <a:lnTo>
                    <a:pt x="2754" y="3934"/>
                  </a:lnTo>
                  <a:lnTo>
                    <a:pt x="0" y="5115"/>
                  </a:lnTo>
                  <a:lnTo>
                    <a:pt x="5508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5" name="Freeform: Shape 2529">
              <a:extLst>
                <a:ext uri="{FF2B5EF4-FFF2-40B4-BE49-F238E27FC236}">
                  <a16:creationId xmlns:a16="http://schemas.microsoft.com/office/drawing/2014/main" id="{9E61FB7C-614C-4800-B0EF-09DDE8E48211}"/>
                </a:ext>
              </a:extLst>
            </p:cNvPr>
            <p:cNvSpPr/>
            <p:nvPr/>
          </p:nvSpPr>
          <p:spPr>
            <a:xfrm>
              <a:off x="4072608" y="1229395"/>
              <a:ext cx="27540" cy="7869"/>
            </a:xfrm>
            <a:custGeom>
              <a:avLst/>
              <a:gdLst>
                <a:gd name="connsiteX0" fmla="*/ 9836 w 27539"/>
                <a:gd name="connsiteY0" fmla="*/ 9049 h 7868"/>
                <a:gd name="connsiteX1" fmla="*/ 13376 w 27539"/>
                <a:gd name="connsiteY1" fmla="*/ 9442 h 7868"/>
                <a:gd name="connsiteX2" fmla="*/ 16130 w 27539"/>
                <a:gd name="connsiteY2" fmla="*/ 9049 h 7868"/>
                <a:gd name="connsiteX3" fmla="*/ 19278 w 27539"/>
                <a:gd name="connsiteY3" fmla="*/ 8655 h 7868"/>
                <a:gd name="connsiteX4" fmla="*/ 22032 w 27539"/>
                <a:gd name="connsiteY4" fmla="*/ 8262 h 7868"/>
                <a:gd name="connsiteX5" fmla="*/ 28327 w 27539"/>
                <a:gd name="connsiteY5" fmla="*/ 6688 h 7868"/>
                <a:gd name="connsiteX6" fmla="*/ 31081 w 27539"/>
                <a:gd name="connsiteY6" fmla="*/ 5508 h 7868"/>
                <a:gd name="connsiteX7" fmla="*/ 28327 w 27539"/>
                <a:gd name="connsiteY7" fmla="*/ 4328 h 7868"/>
                <a:gd name="connsiteX8" fmla="*/ 25573 w 27539"/>
                <a:gd name="connsiteY8" fmla="*/ 4328 h 7868"/>
                <a:gd name="connsiteX9" fmla="*/ 22819 w 27539"/>
                <a:gd name="connsiteY9" fmla="*/ 2361 h 7868"/>
                <a:gd name="connsiteX10" fmla="*/ 20065 w 27539"/>
                <a:gd name="connsiteY10" fmla="*/ 1574 h 7868"/>
                <a:gd name="connsiteX11" fmla="*/ 16917 w 27539"/>
                <a:gd name="connsiteY11" fmla="*/ 1967 h 7868"/>
                <a:gd name="connsiteX12" fmla="*/ 20065 w 27539"/>
                <a:gd name="connsiteY12" fmla="*/ 393 h 7868"/>
                <a:gd name="connsiteX13" fmla="*/ 16917 w 27539"/>
                <a:gd name="connsiteY13" fmla="*/ 0 h 7868"/>
                <a:gd name="connsiteX14" fmla="*/ 13770 w 27539"/>
                <a:gd name="connsiteY14" fmla="*/ 0 h 7868"/>
                <a:gd name="connsiteX15" fmla="*/ 10623 w 27539"/>
                <a:gd name="connsiteY15" fmla="*/ 393 h 7868"/>
                <a:gd name="connsiteX16" fmla="*/ 9836 w 27539"/>
                <a:gd name="connsiteY16" fmla="*/ 787 h 7868"/>
                <a:gd name="connsiteX17" fmla="*/ 6295 w 27539"/>
                <a:gd name="connsiteY17" fmla="*/ 1180 h 7868"/>
                <a:gd name="connsiteX18" fmla="*/ 3147 w 27539"/>
                <a:gd name="connsiteY18" fmla="*/ 3147 h 7868"/>
                <a:gd name="connsiteX19" fmla="*/ 3147 w 27539"/>
                <a:gd name="connsiteY19" fmla="*/ 6295 h 7868"/>
                <a:gd name="connsiteX20" fmla="*/ 0 w 27539"/>
                <a:gd name="connsiteY20" fmla="*/ 8655 h 7868"/>
                <a:gd name="connsiteX21" fmla="*/ 7082 w 27539"/>
                <a:gd name="connsiteY21" fmla="*/ 865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7539" h="7868">
                  <a:moveTo>
                    <a:pt x="9836" y="9049"/>
                  </a:moveTo>
                  <a:lnTo>
                    <a:pt x="13376" y="9442"/>
                  </a:lnTo>
                  <a:lnTo>
                    <a:pt x="16130" y="9049"/>
                  </a:lnTo>
                  <a:lnTo>
                    <a:pt x="19278" y="8655"/>
                  </a:lnTo>
                  <a:lnTo>
                    <a:pt x="22032" y="8262"/>
                  </a:lnTo>
                  <a:lnTo>
                    <a:pt x="28327" y="6688"/>
                  </a:lnTo>
                  <a:lnTo>
                    <a:pt x="31081" y="5508"/>
                  </a:lnTo>
                  <a:lnTo>
                    <a:pt x="28327" y="4328"/>
                  </a:lnTo>
                  <a:lnTo>
                    <a:pt x="25573" y="4328"/>
                  </a:lnTo>
                  <a:lnTo>
                    <a:pt x="22819" y="2361"/>
                  </a:lnTo>
                  <a:lnTo>
                    <a:pt x="20065" y="1574"/>
                  </a:lnTo>
                  <a:lnTo>
                    <a:pt x="16917" y="1967"/>
                  </a:lnTo>
                  <a:lnTo>
                    <a:pt x="20065" y="393"/>
                  </a:lnTo>
                  <a:lnTo>
                    <a:pt x="16917" y="0"/>
                  </a:lnTo>
                  <a:lnTo>
                    <a:pt x="13770" y="0"/>
                  </a:lnTo>
                  <a:lnTo>
                    <a:pt x="10623" y="393"/>
                  </a:lnTo>
                  <a:lnTo>
                    <a:pt x="9836" y="787"/>
                  </a:lnTo>
                  <a:lnTo>
                    <a:pt x="6295" y="1180"/>
                  </a:lnTo>
                  <a:lnTo>
                    <a:pt x="3147" y="3147"/>
                  </a:lnTo>
                  <a:lnTo>
                    <a:pt x="3147" y="6295"/>
                  </a:lnTo>
                  <a:lnTo>
                    <a:pt x="0" y="8655"/>
                  </a:lnTo>
                  <a:lnTo>
                    <a:pt x="7082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6" name="Freeform: Shape 2530">
              <a:extLst>
                <a:ext uri="{FF2B5EF4-FFF2-40B4-BE49-F238E27FC236}">
                  <a16:creationId xmlns:a16="http://schemas.microsoft.com/office/drawing/2014/main" id="{16A558BA-B21E-4283-BB83-22D653FB92FE}"/>
                </a:ext>
              </a:extLst>
            </p:cNvPr>
            <p:cNvSpPr/>
            <p:nvPr/>
          </p:nvSpPr>
          <p:spPr>
            <a:xfrm>
              <a:off x="4101328" y="1216412"/>
              <a:ext cx="3934" cy="3934"/>
            </a:xfrm>
            <a:custGeom>
              <a:avLst/>
              <a:gdLst>
                <a:gd name="connsiteX0" fmla="*/ 0 w 3934"/>
                <a:gd name="connsiteY0" fmla="*/ 2361 h 0"/>
                <a:gd name="connsiteX1" fmla="*/ 3147 w 3934"/>
                <a:gd name="connsiteY1" fmla="*/ 1967 h 0"/>
                <a:gd name="connsiteX2" fmla="*/ 6688 w 3934"/>
                <a:gd name="connsiteY2" fmla="*/ 0 h 0"/>
                <a:gd name="connsiteX3" fmla="*/ 314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361"/>
                  </a:moveTo>
                  <a:lnTo>
                    <a:pt x="3147" y="1967"/>
                  </a:lnTo>
                  <a:lnTo>
                    <a:pt x="6688" y="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7" name="Freeform: Shape 2531">
              <a:extLst>
                <a:ext uri="{FF2B5EF4-FFF2-40B4-BE49-F238E27FC236}">
                  <a16:creationId xmlns:a16="http://schemas.microsoft.com/office/drawing/2014/main" id="{3A272E52-585C-46DF-AE10-ABD15748974F}"/>
                </a:ext>
              </a:extLst>
            </p:cNvPr>
            <p:cNvSpPr/>
            <p:nvPr/>
          </p:nvSpPr>
          <p:spPr>
            <a:xfrm>
              <a:off x="4137130" y="1227035"/>
              <a:ext cx="27540" cy="3934"/>
            </a:xfrm>
            <a:custGeom>
              <a:avLst/>
              <a:gdLst>
                <a:gd name="connsiteX0" fmla="*/ 21245 w 27539"/>
                <a:gd name="connsiteY0" fmla="*/ 0 h 3934"/>
                <a:gd name="connsiteX1" fmla="*/ 18491 w 27539"/>
                <a:gd name="connsiteY1" fmla="*/ 393 h 3934"/>
                <a:gd name="connsiteX2" fmla="*/ 15344 w 27539"/>
                <a:gd name="connsiteY2" fmla="*/ 1180 h 3934"/>
                <a:gd name="connsiteX3" fmla="*/ 12590 w 27539"/>
                <a:gd name="connsiteY3" fmla="*/ 1967 h 3934"/>
                <a:gd name="connsiteX4" fmla="*/ 9442 w 27539"/>
                <a:gd name="connsiteY4" fmla="*/ 2361 h 3934"/>
                <a:gd name="connsiteX5" fmla="*/ 6688 w 27539"/>
                <a:gd name="connsiteY5" fmla="*/ 2754 h 3934"/>
                <a:gd name="connsiteX6" fmla="*/ 3541 w 27539"/>
                <a:gd name="connsiteY6" fmla="*/ 3147 h 3934"/>
                <a:gd name="connsiteX7" fmla="*/ 0 w 27539"/>
                <a:gd name="connsiteY7" fmla="*/ 5115 h 3934"/>
                <a:gd name="connsiteX8" fmla="*/ 3148 w 27539"/>
                <a:gd name="connsiteY8" fmla="*/ 5115 h 3934"/>
                <a:gd name="connsiteX9" fmla="*/ 6295 w 27539"/>
                <a:gd name="connsiteY9" fmla="*/ 4721 h 3934"/>
                <a:gd name="connsiteX10" fmla="*/ 9836 w 27539"/>
                <a:gd name="connsiteY10" fmla="*/ 4328 h 3934"/>
                <a:gd name="connsiteX11" fmla="*/ 12983 w 27539"/>
                <a:gd name="connsiteY11" fmla="*/ 3541 h 3934"/>
                <a:gd name="connsiteX12" fmla="*/ 16524 w 27539"/>
                <a:gd name="connsiteY12" fmla="*/ 3147 h 3934"/>
                <a:gd name="connsiteX13" fmla="*/ 20065 w 27539"/>
                <a:gd name="connsiteY13" fmla="*/ 2361 h 3934"/>
                <a:gd name="connsiteX14" fmla="*/ 23212 w 27539"/>
                <a:gd name="connsiteY14" fmla="*/ 1967 h 3934"/>
                <a:gd name="connsiteX15" fmla="*/ 26360 w 27539"/>
                <a:gd name="connsiteY15" fmla="*/ 1574 h 3934"/>
                <a:gd name="connsiteX16" fmla="*/ 29901 w 27539"/>
                <a:gd name="connsiteY16" fmla="*/ 787 h 3934"/>
                <a:gd name="connsiteX17" fmla="*/ 31081 w 27539"/>
                <a:gd name="connsiteY17" fmla="*/ 393 h 3934"/>
                <a:gd name="connsiteX18" fmla="*/ 27540 w 27539"/>
                <a:gd name="connsiteY18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539" h="3934">
                  <a:moveTo>
                    <a:pt x="21245" y="0"/>
                  </a:moveTo>
                  <a:lnTo>
                    <a:pt x="18491" y="393"/>
                  </a:lnTo>
                  <a:lnTo>
                    <a:pt x="15344" y="1180"/>
                  </a:lnTo>
                  <a:lnTo>
                    <a:pt x="12590" y="1967"/>
                  </a:lnTo>
                  <a:lnTo>
                    <a:pt x="9442" y="2361"/>
                  </a:lnTo>
                  <a:lnTo>
                    <a:pt x="6688" y="2754"/>
                  </a:lnTo>
                  <a:lnTo>
                    <a:pt x="3541" y="3147"/>
                  </a:lnTo>
                  <a:lnTo>
                    <a:pt x="0" y="5115"/>
                  </a:lnTo>
                  <a:lnTo>
                    <a:pt x="3148" y="5115"/>
                  </a:lnTo>
                  <a:lnTo>
                    <a:pt x="6295" y="4721"/>
                  </a:lnTo>
                  <a:lnTo>
                    <a:pt x="9836" y="4328"/>
                  </a:lnTo>
                  <a:lnTo>
                    <a:pt x="12983" y="3541"/>
                  </a:lnTo>
                  <a:lnTo>
                    <a:pt x="16524" y="3147"/>
                  </a:lnTo>
                  <a:lnTo>
                    <a:pt x="20065" y="2361"/>
                  </a:lnTo>
                  <a:lnTo>
                    <a:pt x="23212" y="1967"/>
                  </a:lnTo>
                  <a:lnTo>
                    <a:pt x="26360" y="1574"/>
                  </a:lnTo>
                  <a:lnTo>
                    <a:pt x="29901" y="787"/>
                  </a:lnTo>
                  <a:lnTo>
                    <a:pt x="31081" y="393"/>
                  </a:lnTo>
                  <a:lnTo>
                    <a:pt x="2754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8" name="Freeform: Shape 2532">
              <a:extLst>
                <a:ext uri="{FF2B5EF4-FFF2-40B4-BE49-F238E27FC236}">
                  <a16:creationId xmlns:a16="http://schemas.microsoft.com/office/drawing/2014/main" id="{2A02DDC4-A61F-41D2-B28D-95025A357153}"/>
                </a:ext>
              </a:extLst>
            </p:cNvPr>
            <p:cNvSpPr/>
            <p:nvPr/>
          </p:nvSpPr>
          <p:spPr>
            <a:xfrm>
              <a:off x="3956153" y="1400929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9" name="Freeform: Shape 2533">
              <a:extLst>
                <a:ext uri="{FF2B5EF4-FFF2-40B4-BE49-F238E27FC236}">
                  <a16:creationId xmlns:a16="http://schemas.microsoft.com/office/drawing/2014/main" id="{BDCD3A25-7F50-4F4B-8298-C516127C3C14}"/>
                </a:ext>
              </a:extLst>
            </p:cNvPr>
            <p:cNvSpPr/>
            <p:nvPr/>
          </p:nvSpPr>
          <p:spPr>
            <a:xfrm>
              <a:off x="4114705" y="1256148"/>
              <a:ext cx="15737" cy="3934"/>
            </a:xfrm>
            <a:custGeom>
              <a:avLst/>
              <a:gdLst>
                <a:gd name="connsiteX0" fmla="*/ 12196 w 15737"/>
                <a:gd name="connsiteY0" fmla="*/ 1574 h 0"/>
                <a:gd name="connsiteX1" fmla="*/ 15737 w 15737"/>
                <a:gd name="connsiteY1" fmla="*/ 0 h 0"/>
                <a:gd name="connsiteX2" fmla="*/ 12196 w 15737"/>
                <a:gd name="connsiteY2" fmla="*/ 393 h 0"/>
                <a:gd name="connsiteX3" fmla="*/ 9049 w 15737"/>
                <a:gd name="connsiteY3" fmla="*/ 393 h 0"/>
                <a:gd name="connsiteX4" fmla="*/ 6295 w 15737"/>
                <a:gd name="connsiteY4" fmla="*/ 787 h 0"/>
                <a:gd name="connsiteX5" fmla="*/ 3147 w 15737"/>
                <a:gd name="connsiteY5" fmla="*/ 1180 h 0"/>
                <a:gd name="connsiteX6" fmla="*/ 0 w 15737"/>
                <a:gd name="connsiteY6" fmla="*/ 1574 h 0"/>
                <a:gd name="connsiteX7" fmla="*/ 3147 w 15737"/>
                <a:gd name="connsiteY7" fmla="*/ 1574 h 0"/>
                <a:gd name="connsiteX8" fmla="*/ 6295 w 15737"/>
                <a:gd name="connsiteY8" fmla="*/ 1574 h 0"/>
                <a:gd name="connsiteX9" fmla="*/ 9442 w 15737"/>
                <a:gd name="connsiteY9" fmla="*/ 1180 h 0"/>
                <a:gd name="connsiteX10" fmla="*/ 12589 w 15737"/>
                <a:gd name="connsiteY10" fmla="*/ 1574 h 0"/>
                <a:gd name="connsiteX11" fmla="*/ 9442 w 15737"/>
                <a:gd name="connsiteY11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737">
                  <a:moveTo>
                    <a:pt x="12196" y="1574"/>
                  </a:moveTo>
                  <a:lnTo>
                    <a:pt x="15737" y="0"/>
                  </a:lnTo>
                  <a:lnTo>
                    <a:pt x="12196" y="393"/>
                  </a:lnTo>
                  <a:lnTo>
                    <a:pt x="9049" y="393"/>
                  </a:lnTo>
                  <a:lnTo>
                    <a:pt x="6295" y="787"/>
                  </a:lnTo>
                  <a:lnTo>
                    <a:pt x="3147" y="1180"/>
                  </a:lnTo>
                  <a:lnTo>
                    <a:pt x="0" y="1574"/>
                  </a:lnTo>
                  <a:lnTo>
                    <a:pt x="3147" y="1574"/>
                  </a:lnTo>
                  <a:lnTo>
                    <a:pt x="6295" y="1574"/>
                  </a:lnTo>
                  <a:lnTo>
                    <a:pt x="9442" y="1180"/>
                  </a:lnTo>
                  <a:lnTo>
                    <a:pt x="12589" y="1574"/>
                  </a:lnTo>
                  <a:lnTo>
                    <a:pt x="9442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0" name="Freeform: Shape 2534">
              <a:extLst>
                <a:ext uri="{FF2B5EF4-FFF2-40B4-BE49-F238E27FC236}">
                  <a16:creationId xmlns:a16="http://schemas.microsoft.com/office/drawing/2014/main" id="{CD1D8110-11C7-4333-BF8C-10AE4513C008}"/>
                </a:ext>
              </a:extLst>
            </p:cNvPr>
            <p:cNvSpPr/>
            <p:nvPr/>
          </p:nvSpPr>
          <p:spPr>
            <a:xfrm>
              <a:off x="3907762" y="1309654"/>
              <a:ext cx="3934" cy="3934"/>
            </a:xfrm>
            <a:custGeom>
              <a:avLst/>
              <a:gdLst>
                <a:gd name="connsiteX0" fmla="*/ 6295 w 3934"/>
                <a:gd name="connsiteY0" fmla="*/ 1180 h 0"/>
                <a:gd name="connsiteX1" fmla="*/ 5901 w 3934"/>
                <a:gd name="connsiteY1" fmla="*/ 0 h 0"/>
                <a:gd name="connsiteX2" fmla="*/ 3147 w 3934"/>
                <a:gd name="connsiteY2" fmla="*/ 0 h 0"/>
                <a:gd name="connsiteX3" fmla="*/ 0 w 3934"/>
                <a:gd name="connsiteY3" fmla="*/ 1967 h 0"/>
                <a:gd name="connsiteX4" fmla="*/ 3147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1180"/>
                  </a:moveTo>
                  <a:lnTo>
                    <a:pt x="5901" y="0"/>
                  </a:lnTo>
                  <a:lnTo>
                    <a:pt x="3147" y="0"/>
                  </a:lnTo>
                  <a:lnTo>
                    <a:pt x="0" y="1967"/>
                  </a:lnTo>
                  <a:lnTo>
                    <a:pt x="314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1" name="Freeform: Shape 2535">
              <a:extLst>
                <a:ext uri="{FF2B5EF4-FFF2-40B4-BE49-F238E27FC236}">
                  <a16:creationId xmlns:a16="http://schemas.microsoft.com/office/drawing/2014/main" id="{FE165669-E88E-4835-A25C-E579986E96A2}"/>
                </a:ext>
              </a:extLst>
            </p:cNvPr>
            <p:cNvSpPr/>
            <p:nvPr/>
          </p:nvSpPr>
          <p:spPr>
            <a:xfrm>
              <a:off x="3968743" y="1391487"/>
              <a:ext cx="7869" cy="3934"/>
            </a:xfrm>
            <a:custGeom>
              <a:avLst/>
              <a:gdLst>
                <a:gd name="connsiteX0" fmla="*/ 4328 w 7868"/>
                <a:gd name="connsiteY0" fmla="*/ 0 h 3934"/>
                <a:gd name="connsiteX1" fmla="*/ 1180 w 7868"/>
                <a:gd name="connsiteY1" fmla="*/ 787 h 3934"/>
                <a:gd name="connsiteX2" fmla="*/ 0 w 7868"/>
                <a:gd name="connsiteY2" fmla="*/ 3541 h 3934"/>
                <a:gd name="connsiteX3" fmla="*/ 3147 w 7868"/>
                <a:gd name="connsiteY3" fmla="*/ 4721 h 3934"/>
                <a:gd name="connsiteX4" fmla="*/ 5901 w 7868"/>
                <a:gd name="connsiteY4" fmla="*/ 5115 h 3934"/>
                <a:gd name="connsiteX5" fmla="*/ 6295 w 7868"/>
                <a:gd name="connsiteY5" fmla="*/ 1967 h 3934"/>
                <a:gd name="connsiteX6" fmla="*/ 9442 w 7868"/>
                <a:gd name="connsiteY6" fmla="*/ 1967 h 3934"/>
                <a:gd name="connsiteX7" fmla="*/ 6295 w 7868"/>
                <a:gd name="connsiteY7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4328" y="0"/>
                  </a:moveTo>
                  <a:lnTo>
                    <a:pt x="1180" y="787"/>
                  </a:lnTo>
                  <a:lnTo>
                    <a:pt x="0" y="3541"/>
                  </a:lnTo>
                  <a:lnTo>
                    <a:pt x="3147" y="4721"/>
                  </a:lnTo>
                  <a:lnTo>
                    <a:pt x="5901" y="5115"/>
                  </a:lnTo>
                  <a:lnTo>
                    <a:pt x="6295" y="1967"/>
                  </a:lnTo>
                  <a:lnTo>
                    <a:pt x="9442" y="1967"/>
                  </a:lnTo>
                  <a:lnTo>
                    <a:pt x="629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2" name="Freeform: Shape 2536">
              <a:extLst>
                <a:ext uri="{FF2B5EF4-FFF2-40B4-BE49-F238E27FC236}">
                  <a16:creationId xmlns:a16="http://schemas.microsoft.com/office/drawing/2014/main" id="{8D3AB64E-06E0-4559-A8BE-9F65A50293D7}"/>
                </a:ext>
              </a:extLst>
            </p:cNvPr>
            <p:cNvSpPr/>
            <p:nvPr/>
          </p:nvSpPr>
          <p:spPr>
            <a:xfrm>
              <a:off x="4073395" y="1246706"/>
              <a:ext cx="31474" cy="3934"/>
            </a:xfrm>
            <a:custGeom>
              <a:avLst/>
              <a:gdLst>
                <a:gd name="connsiteX0" fmla="*/ 8655 w 31474"/>
                <a:gd name="connsiteY0" fmla="*/ 6295 h 3934"/>
                <a:gd name="connsiteX1" fmla="*/ 11803 w 31474"/>
                <a:gd name="connsiteY1" fmla="*/ 6295 h 3934"/>
                <a:gd name="connsiteX2" fmla="*/ 14950 w 31474"/>
                <a:gd name="connsiteY2" fmla="*/ 5901 h 3934"/>
                <a:gd name="connsiteX3" fmla="*/ 18098 w 31474"/>
                <a:gd name="connsiteY3" fmla="*/ 5115 h 3934"/>
                <a:gd name="connsiteX4" fmla="*/ 21245 w 31474"/>
                <a:gd name="connsiteY4" fmla="*/ 3541 h 3934"/>
                <a:gd name="connsiteX5" fmla="*/ 23999 w 31474"/>
                <a:gd name="connsiteY5" fmla="*/ 2754 h 3934"/>
                <a:gd name="connsiteX6" fmla="*/ 27540 w 31474"/>
                <a:gd name="connsiteY6" fmla="*/ 2361 h 3934"/>
                <a:gd name="connsiteX7" fmla="*/ 30687 w 31474"/>
                <a:gd name="connsiteY7" fmla="*/ 1967 h 3934"/>
                <a:gd name="connsiteX8" fmla="*/ 33441 w 31474"/>
                <a:gd name="connsiteY8" fmla="*/ 1180 h 3934"/>
                <a:gd name="connsiteX9" fmla="*/ 33048 w 31474"/>
                <a:gd name="connsiteY9" fmla="*/ 393 h 3934"/>
                <a:gd name="connsiteX10" fmla="*/ 30294 w 31474"/>
                <a:gd name="connsiteY10" fmla="*/ 0 h 3934"/>
                <a:gd name="connsiteX11" fmla="*/ 27146 w 31474"/>
                <a:gd name="connsiteY11" fmla="*/ 393 h 3934"/>
                <a:gd name="connsiteX12" fmla="*/ 23999 w 31474"/>
                <a:gd name="connsiteY12" fmla="*/ 787 h 3934"/>
                <a:gd name="connsiteX13" fmla="*/ 20852 w 31474"/>
                <a:gd name="connsiteY13" fmla="*/ 1180 h 3934"/>
                <a:gd name="connsiteX14" fmla="*/ 18098 w 31474"/>
                <a:gd name="connsiteY14" fmla="*/ 1180 h 3934"/>
                <a:gd name="connsiteX15" fmla="*/ 14950 w 31474"/>
                <a:gd name="connsiteY15" fmla="*/ 1967 h 3934"/>
                <a:gd name="connsiteX16" fmla="*/ 12196 w 31474"/>
                <a:gd name="connsiteY16" fmla="*/ 1967 h 3934"/>
                <a:gd name="connsiteX17" fmla="*/ 9049 w 31474"/>
                <a:gd name="connsiteY17" fmla="*/ 3147 h 3934"/>
                <a:gd name="connsiteX18" fmla="*/ 6295 w 31474"/>
                <a:gd name="connsiteY18" fmla="*/ 3934 h 3934"/>
                <a:gd name="connsiteX19" fmla="*/ 3147 w 31474"/>
                <a:gd name="connsiteY19" fmla="*/ 5115 h 3934"/>
                <a:gd name="connsiteX20" fmla="*/ 0 w 31474"/>
                <a:gd name="connsiteY20" fmla="*/ 6295 h 3934"/>
                <a:gd name="connsiteX21" fmla="*/ 2754 w 31474"/>
                <a:gd name="connsiteY21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1474" h="3934">
                  <a:moveTo>
                    <a:pt x="8655" y="6295"/>
                  </a:moveTo>
                  <a:lnTo>
                    <a:pt x="11803" y="6295"/>
                  </a:lnTo>
                  <a:lnTo>
                    <a:pt x="14950" y="5901"/>
                  </a:lnTo>
                  <a:lnTo>
                    <a:pt x="18098" y="5115"/>
                  </a:lnTo>
                  <a:lnTo>
                    <a:pt x="21245" y="3541"/>
                  </a:lnTo>
                  <a:lnTo>
                    <a:pt x="23999" y="2754"/>
                  </a:lnTo>
                  <a:lnTo>
                    <a:pt x="27540" y="2361"/>
                  </a:lnTo>
                  <a:lnTo>
                    <a:pt x="30687" y="1967"/>
                  </a:lnTo>
                  <a:lnTo>
                    <a:pt x="33441" y="1180"/>
                  </a:lnTo>
                  <a:lnTo>
                    <a:pt x="33048" y="393"/>
                  </a:lnTo>
                  <a:lnTo>
                    <a:pt x="30294" y="0"/>
                  </a:lnTo>
                  <a:lnTo>
                    <a:pt x="27146" y="393"/>
                  </a:lnTo>
                  <a:lnTo>
                    <a:pt x="23999" y="787"/>
                  </a:lnTo>
                  <a:lnTo>
                    <a:pt x="20852" y="1180"/>
                  </a:lnTo>
                  <a:lnTo>
                    <a:pt x="18098" y="1180"/>
                  </a:lnTo>
                  <a:lnTo>
                    <a:pt x="14950" y="1967"/>
                  </a:lnTo>
                  <a:lnTo>
                    <a:pt x="12196" y="1967"/>
                  </a:lnTo>
                  <a:lnTo>
                    <a:pt x="9049" y="3147"/>
                  </a:lnTo>
                  <a:lnTo>
                    <a:pt x="6295" y="3934"/>
                  </a:lnTo>
                  <a:lnTo>
                    <a:pt x="3147" y="5115"/>
                  </a:lnTo>
                  <a:lnTo>
                    <a:pt x="0" y="6295"/>
                  </a:lnTo>
                  <a:lnTo>
                    <a:pt x="2754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3" name="Freeform: Shape 2537">
              <a:extLst>
                <a:ext uri="{FF2B5EF4-FFF2-40B4-BE49-F238E27FC236}">
                  <a16:creationId xmlns:a16="http://schemas.microsoft.com/office/drawing/2014/main" id="{06143F79-2D22-4A0D-8873-29FD5D2F467F}"/>
                </a:ext>
              </a:extLst>
            </p:cNvPr>
            <p:cNvSpPr/>
            <p:nvPr/>
          </p:nvSpPr>
          <p:spPr>
            <a:xfrm>
              <a:off x="4084411" y="1201462"/>
              <a:ext cx="19671" cy="15737"/>
            </a:xfrm>
            <a:custGeom>
              <a:avLst/>
              <a:gdLst>
                <a:gd name="connsiteX0" fmla="*/ 5114 w 19671"/>
                <a:gd name="connsiteY0" fmla="*/ 14950 h 15737"/>
                <a:gd name="connsiteX1" fmla="*/ 7475 w 19671"/>
                <a:gd name="connsiteY1" fmla="*/ 16524 h 15737"/>
                <a:gd name="connsiteX2" fmla="*/ 11016 w 19671"/>
                <a:gd name="connsiteY2" fmla="*/ 16130 h 15737"/>
                <a:gd name="connsiteX3" fmla="*/ 13770 w 19671"/>
                <a:gd name="connsiteY3" fmla="*/ 16130 h 15737"/>
                <a:gd name="connsiteX4" fmla="*/ 16917 w 19671"/>
                <a:gd name="connsiteY4" fmla="*/ 14950 h 15737"/>
                <a:gd name="connsiteX5" fmla="*/ 20065 w 19671"/>
                <a:gd name="connsiteY5" fmla="*/ 13770 h 15737"/>
                <a:gd name="connsiteX6" fmla="*/ 20852 w 19671"/>
                <a:gd name="connsiteY6" fmla="*/ 11016 h 15737"/>
                <a:gd name="connsiteX7" fmla="*/ 17704 w 19671"/>
                <a:gd name="connsiteY7" fmla="*/ 9049 h 15737"/>
                <a:gd name="connsiteX8" fmla="*/ 14950 w 19671"/>
                <a:gd name="connsiteY8" fmla="*/ 9049 h 15737"/>
                <a:gd name="connsiteX9" fmla="*/ 17704 w 19671"/>
                <a:gd name="connsiteY9" fmla="*/ 7082 h 15737"/>
                <a:gd name="connsiteX10" fmla="*/ 18098 w 19671"/>
                <a:gd name="connsiteY10" fmla="*/ 4328 h 15737"/>
                <a:gd name="connsiteX11" fmla="*/ 15737 w 19671"/>
                <a:gd name="connsiteY11" fmla="*/ 1574 h 15737"/>
                <a:gd name="connsiteX12" fmla="*/ 13770 w 19671"/>
                <a:gd name="connsiteY12" fmla="*/ 393 h 15737"/>
                <a:gd name="connsiteX13" fmla="*/ 10623 w 19671"/>
                <a:gd name="connsiteY13" fmla="*/ 0 h 15737"/>
                <a:gd name="connsiteX14" fmla="*/ 9049 w 19671"/>
                <a:gd name="connsiteY14" fmla="*/ 0 h 15737"/>
                <a:gd name="connsiteX15" fmla="*/ 5901 w 19671"/>
                <a:gd name="connsiteY15" fmla="*/ 787 h 15737"/>
                <a:gd name="connsiteX16" fmla="*/ 5114 w 19671"/>
                <a:gd name="connsiteY16" fmla="*/ 3541 h 15737"/>
                <a:gd name="connsiteX17" fmla="*/ 2360 w 19671"/>
                <a:gd name="connsiteY17" fmla="*/ 5508 h 15737"/>
                <a:gd name="connsiteX18" fmla="*/ 1967 w 19671"/>
                <a:gd name="connsiteY18" fmla="*/ 8655 h 15737"/>
                <a:gd name="connsiteX19" fmla="*/ 0 w 19671"/>
                <a:gd name="connsiteY19" fmla="*/ 11409 h 15737"/>
                <a:gd name="connsiteX20" fmla="*/ 1574 w 19671"/>
                <a:gd name="connsiteY20" fmla="*/ 1455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671" h="15737">
                  <a:moveTo>
                    <a:pt x="5114" y="14950"/>
                  </a:moveTo>
                  <a:lnTo>
                    <a:pt x="7475" y="16524"/>
                  </a:lnTo>
                  <a:lnTo>
                    <a:pt x="11016" y="16130"/>
                  </a:lnTo>
                  <a:lnTo>
                    <a:pt x="13770" y="16130"/>
                  </a:lnTo>
                  <a:lnTo>
                    <a:pt x="16917" y="14950"/>
                  </a:lnTo>
                  <a:lnTo>
                    <a:pt x="20065" y="13770"/>
                  </a:lnTo>
                  <a:lnTo>
                    <a:pt x="20852" y="11016"/>
                  </a:lnTo>
                  <a:lnTo>
                    <a:pt x="17704" y="9049"/>
                  </a:lnTo>
                  <a:lnTo>
                    <a:pt x="14950" y="9049"/>
                  </a:lnTo>
                  <a:lnTo>
                    <a:pt x="17704" y="7082"/>
                  </a:lnTo>
                  <a:lnTo>
                    <a:pt x="18098" y="4328"/>
                  </a:lnTo>
                  <a:lnTo>
                    <a:pt x="15737" y="1574"/>
                  </a:lnTo>
                  <a:lnTo>
                    <a:pt x="13770" y="393"/>
                  </a:lnTo>
                  <a:lnTo>
                    <a:pt x="10623" y="0"/>
                  </a:lnTo>
                  <a:lnTo>
                    <a:pt x="9049" y="0"/>
                  </a:lnTo>
                  <a:lnTo>
                    <a:pt x="5901" y="787"/>
                  </a:lnTo>
                  <a:lnTo>
                    <a:pt x="5114" y="3541"/>
                  </a:lnTo>
                  <a:lnTo>
                    <a:pt x="2360" y="5508"/>
                  </a:lnTo>
                  <a:lnTo>
                    <a:pt x="1967" y="8655"/>
                  </a:lnTo>
                  <a:lnTo>
                    <a:pt x="0" y="11409"/>
                  </a:lnTo>
                  <a:lnTo>
                    <a:pt x="1574" y="1455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4" name="Freeform: Shape 2538">
              <a:extLst>
                <a:ext uri="{FF2B5EF4-FFF2-40B4-BE49-F238E27FC236}">
                  <a16:creationId xmlns:a16="http://schemas.microsoft.com/office/drawing/2014/main" id="{6CDB3171-23DB-4A4C-902E-0315DD34EB57}"/>
                </a:ext>
              </a:extLst>
            </p:cNvPr>
            <p:cNvSpPr/>
            <p:nvPr/>
          </p:nvSpPr>
          <p:spPr>
            <a:xfrm>
              <a:off x="4136736" y="1161726"/>
              <a:ext cx="106225" cy="39343"/>
            </a:xfrm>
            <a:custGeom>
              <a:avLst/>
              <a:gdLst>
                <a:gd name="connsiteX0" fmla="*/ 6295 w 106225"/>
                <a:gd name="connsiteY0" fmla="*/ 27540 h 39342"/>
                <a:gd name="connsiteX1" fmla="*/ 9442 w 106225"/>
                <a:gd name="connsiteY1" fmla="*/ 27933 h 39342"/>
                <a:gd name="connsiteX2" fmla="*/ 12983 w 106225"/>
                <a:gd name="connsiteY2" fmla="*/ 27933 h 39342"/>
                <a:gd name="connsiteX3" fmla="*/ 16130 w 106225"/>
                <a:gd name="connsiteY3" fmla="*/ 26753 h 39342"/>
                <a:gd name="connsiteX4" fmla="*/ 19278 w 106225"/>
                <a:gd name="connsiteY4" fmla="*/ 26360 h 39342"/>
                <a:gd name="connsiteX5" fmla="*/ 27147 w 106225"/>
                <a:gd name="connsiteY5" fmla="*/ 28327 h 39342"/>
                <a:gd name="connsiteX6" fmla="*/ 26753 w 106225"/>
                <a:gd name="connsiteY6" fmla="*/ 28327 h 39342"/>
                <a:gd name="connsiteX7" fmla="*/ 23606 w 106225"/>
                <a:gd name="connsiteY7" fmla="*/ 31081 h 39342"/>
                <a:gd name="connsiteX8" fmla="*/ 27147 w 106225"/>
                <a:gd name="connsiteY8" fmla="*/ 30294 h 39342"/>
                <a:gd name="connsiteX9" fmla="*/ 30294 w 106225"/>
                <a:gd name="connsiteY9" fmla="*/ 29900 h 39342"/>
                <a:gd name="connsiteX10" fmla="*/ 31081 w 106225"/>
                <a:gd name="connsiteY10" fmla="*/ 29507 h 39342"/>
                <a:gd name="connsiteX11" fmla="*/ 66096 w 106225"/>
                <a:gd name="connsiteY11" fmla="*/ 37769 h 39342"/>
                <a:gd name="connsiteX12" fmla="*/ 67276 w 106225"/>
                <a:gd name="connsiteY12" fmla="*/ 38949 h 39342"/>
                <a:gd name="connsiteX13" fmla="*/ 70423 w 106225"/>
                <a:gd name="connsiteY13" fmla="*/ 38949 h 39342"/>
                <a:gd name="connsiteX14" fmla="*/ 72784 w 106225"/>
                <a:gd name="connsiteY14" fmla="*/ 39343 h 39342"/>
                <a:gd name="connsiteX15" fmla="*/ 75931 w 106225"/>
                <a:gd name="connsiteY15" fmla="*/ 39343 h 39342"/>
                <a:gd name="connsiteX16" fmla="*/ 79079 w 106225"/>
                <a:gd name="connsiteY16" fmla="*/ 38949 h 39342"/>
                <a:gd name="connsiteX17" fmla="*/ 82226 w 106225"/>
                <a:gd name="connsiteY17" fmla="*/ 38949 h 39342"/>
                <a:gd name="connsiteX18" fmla="*/ 85767 w 106225"/>
                <a:gd name="connsiteY18" fmla="*/ 38556 h 39342"/>
                <a:gd name="connsiteX19" fmla="*/ 88521 w 106225"/>
                <a:gd name="connsiteY19" fmla="*/ 38162 h 39342"/>
                <a:gd name="connsiteX20" fmla="*/ 92062 w 106225"/>
                <a:gd name="connsiteY20" fmla="*/ 37769 h 39342"/>
                <a:gd name="connsiteX21" fmla="*/ 95209 w 106225"/>
                <a:gd name="connsiteY21" fmla="*/ 37376 h 39342"/>
                <a:gd name="connsiteX22" fmla="*/ 98750 w 106225"/>
                <a:gd name="connsiteY22" fmla="*/ 35015 h 39342"/>
                <a:gd name="connsiteX23" fmla="*/ 101504 w 106225"/>
                <a:gd name="connsiteY23" fmla="*/ 33441 h 39342"/>
                <a:gd name="connsiteX24" fmla="*/ 100324 w 106225"/>
                <a:gd name="connsiteY24" fmla="*/ 30294 h 39342"/>
                <a:gd name="connsiteX25" fmla="*/ 99144 w 106225"/>
                <a:gd name="connsiteY25" fmla="*/ 27540 h 39342"/>
                <a:gd name="connsiteX26" fmla="*/ 95996 w 106225"/>
                <a:gd name="connsiteY26" fmla="*/ 27146 h 39342"/>
                <a:gd name="connsiteX27" fmla="*/ 98357 w 106225"/>
                <a:gd name="connsiteY27" fmla="*/ 23606 h 39342"/>
                <a:gd name="connsiteX28" fmla="*/ 101898 w 106225"/>
                <a:gd name="connsiteY28" fmla="*/ 22032 h 39342"/>
                <a:gd name="connsiteX29" fmla="*/ 104651 w 106225"/>
                <a:gd name="connsiteY29" fmla="*/ 20852 h 39342"/>
                <a:gd name="connsiteX30" fmla="*/ 107405 w 106225"/>
                <a:gd name="connsiteY30" fmla="*/ 19671 h 39342"/>
                <a:gd name="connsiteX31" fmla="*/ 103865 w 106225"/>
                <a:gd name="connsiteY31" fmla="*/ 18098 h 39342"/>
                <a:gd name="connsiteX32" fmla="*/ 101111 w 106225"/>
                <a:gd name="connsiteY32" fmla="*/ 18491 h 39342"/>
                <a:gd name="connsiteX33" fmla="*/ 102684 w 106225"/>
                <a:gd name="connsiteY33" fmla="*/ 17704 h 39342"/>
                <a:gd name="connsiteX34" fmla="*/ 105438 w 106225"/>
                <a:gd name="connsiteY34" fmla="*/ 16917 h 39342"/>
                <a:gd name="connsiteX35" fmla="*/ 105438 w 106225"/>
                <a:gd name="connsiteY35" fmla="*/ 15737 h 39342"/>
                <a:gd name="connsiteX36" fmla="*/ 87734 w 106225"/>
                <a:gd name="connsiteY36" fmla="*/ 8655 h 39342"/>
                <a:gd name="connsiteX37" fmla="*/ 86947 w 106225"/>
                <a:gd name="connsiteY37" fmla="*/ 7869 h 39342"/>
                <a:gd name="connsiteX38" fmla="*/ 84193 w 106225"/>
                <a:gd name="connsiteY38" fmla="*/ 7082 h 39342"/>
                <a:gd name="connsiteX39" fmla="*/ 81439 w 106225"/>
                <a:gd name="connsiteY39" fmla="*/ 7082 h 39342"/>
                <a:gd name="connsiteX40" fmla="*/ 78685 w 106225"/>
                <a:gd name="connsiteY40" fmla="*/ 7869 h 39342"/>
                <a:gd name="connsiteX41" fmla="*/ 73177 w 106225"/>
                <a:gd name="connsiteY41" fmla="*/ 8262 h 39342"/>
                <a:gd name="connsiteX42" fmla="*/ 63735 w 106225"/>
                <a:gd name="connsiteY42" fmla="*/ 9836 h 39342"/>
                <a:gd name="connsiteX43" fmla="*/ 64128 w 106225"/>
                <a:gd name="connsiteY43" fmla="*/ 9442 h 39342"/>
                <a:gd name="connsiteX44" fmla="*/ 67276 w 106225"/>
                <a:gd name="connsiteY44" fmla="*/ 7869 h 39342"/>
                <a:gd name="connsiteX45" fmla="*/ 66489 w 106225"/>
                <a:gd name="connsiteY45" fmla="*/ 4721 h 39342"/>
                <a:gd name="connsiteX46" fmla="*/ 65702 w 106225"/>
                <a:gd name="connsiteY46" fmla="*/ 1967 h 39342"/>
                <a:gd name="connsiteX47" fmla="*/ 62161 w 106225"/>
                <a:gd name="connsiteY47" fmla="*/ 1574 h 39342"/>
                <a:gd name="connsiteX48" fmla="*/ 59407 w 106225"/>
                <a:gd name="connsiteY48" fmla="*/ 1180 h 39342"/>
                <a:gd name="connsiteX49" fmla="*/ 56260 w 106225"/>
                <a:gd name="connsiteY49" fmla="*/ 393 h 39342"/>
                <a:gd name="connsiteX50" fmla="*/ 53506 w 106225"/>
                <a:gd name="connsiteY50" fmla="*/ 0 h 39342"/>
                <a:gd name="connsiteX51" fmla="*/ 49965 w 106225"/>
                <a:gd name="connsiteY51" fmla="*/ 393 h 39342"/>
                <a:gd name="connsiteX52" fmla="*/ 47211 w 106225"/>
                <a:gd name="connsiteY52" fmla="*/ 787 h 39342"/>
                <a:gd name="connsiteX53" fmla="*/ 43670 w 106225"/>
                <a:gd name="connsiteY53" fmla="*/ 787 h 39342"/>
                <a:gd name="connsiteX54" fmla="*/ 40130 w 106225"/>
                <a:gd name="connsiteY54" fmla="*/ 1180 h 39342"/>
                <a:gd name="connsiteX55" fmla="*/ 36982 w 106225"/>
                <a:gd name="connsiteY55" fmla="*/ 1180 h 39342"/>
                <a:gd name="connsiteX56" fmla="*/ 33835 w 106225"/>
                <a:gd name="connsiteY56" fmla="*/ 1574 h 39342"/>
                <a:gd name="connsiteX57" fmla="*/ 30294 w 106225"/>
                <a:gd name="connsiteY57" fmla="*/ 1967 h 39342"/>
                <a:gd name="connsiteX58" fmla="*/ 27540 w 106225"/>
                <a:gd name="connsiteY58" fmla="*/ 1967 h 39342"/>
                <a:gd name="connsiteX59" fmla="*/ 24392 w 106225"/>
                <a:gd name="connsiteY59" fmla="*/ 1574 h 39342"/>
                <a:gd name="connsiteX60" fmla="*/ 21245 w 106225"/>
                <a:gd name="connsiteY60" fmla="*/ 3147 h 39342"/>
                <a:gd name="connsiteX61" fmla="*/ 18491 w 106225"/>
                <a:gd name="connsiteY61" fmla="*/ 3541 h 39342"/>
                <a:gd name="connsiteX62" fmla="*/ 15737 w 106225"/>
                <a:gd name="connsiteY62" fmla="*/ 5115 h 39342"/>
                <a:gd name="connsiteX63" fmla="*/ 12590 w 106225"/>
                <a:gd name="connsiteY63" fmla="*/ 6688 h 39342"/>
                <a:gd name="connsiteX64" fmla="*/ 16130 w 106225"/>
                <a:gd name="connsiteY64" fmla="*/ 9049 h 39342"/>
                <a:gd name="connsiteX65" fmla="*/ 18884 w 106225"/>
                <a:gd name="connsiteY65" fmla="*/ 9049 h 39342"/>
                <a:gd name="connsiteX66" fmla="*/ 21638 w 106225"/>
                <a:gd name="connsiteY66" fmla="*/ 8655 h 39342"/>
                <a:gd name="connsiteX67" fmla="*/ 24786 w 106225"/>
                <a:gd name="connsiteY67" fmla="*/ 9049 h 39342"/>
                <a:gd name="connsiteX68" fmla="*/ 21638 w 106225"/>
                <a:gd name="connsiteY68" fmla="*/ 11409 h 39342"/>
                <a:gd name="connsiteX69" fmla="*/ 18491 w 106225"/>
                <a:gd name="connsiteY69" fmla="*/ 12590 h 39342"/>
                <a:gd name="connsiteX70" fmla="*/ 15344 w 106225"/>
                <a:gd name="connsiteY70" fmla="*/ 13376 h 39342"/>
                <a:gd name="connsiteX71" fmla="*/ 12590 w 106225"/>
                <a:gd name="connsiteY71" fmla="*/ 14557 h 39342"/>
                <a:gd name="connsiteX72" fmla="*/ 15344 w 106225"/>
                <a:gd name="connsiteY72" fmla="*/ 14950 h 39342"/>
                <a:gd name="connsiteX73" fmla="*/ 18098 w 106225"/>
                <a:gd name="connsiteY73" fmla="*/ 14557 h 39342"/>
                <a:gd name="connsiteX74" fmla="*/ 21245 w 106225"/>
                <a:gd name="connsiteY74" fmla="*/ 14163 h 39342"/>
                <a:gd name="connsiteX75" fmla="*/ 23999 w 106225"/>
                <a:gd name="connsiteY75" fmla="*/ 13376 h 39342"/>
                <a:gd name="connsiteX76" fmla="*/ 27147 w 106225"/>
                <a:gd name="connsiteY76" fmla="*/ 12196 h 39342"/>
                <a:gd name="connsiteX77" fmla="*/ 30294 w 106225"/>
                <a:gd name="connsiteY77" fmla="*/ 11409 h 39342"/>
                <a:gd name="connsiteX78" fmla="*/ 33441 w 106225"/>
                <a:gd name="connsiteY78" fmla="*/ 11016 h 39342"/>
                <a:gd name="connsiteX79" fmla="*/ 36589 w 106225"/>
                <a:gd name="connsiteY79" fmla="*/ 11409 h 39342"/>
                <a:gd name="connsiteX80" fmla="*/ 34228 w 106225"/>
                <a:gd name="connsiteY80" fmla="*/ 14163 h 39342"/>
                <a:gd name="connsiteX81" fmla="*/ 30687 w 106225"/>
                <a:gd name="connsiteY81" fmla="*/ 14950 h 39342"/>
                <a:gd name="connsiteX82" fmla="*/ 27540 w 106225"/>
                <a:gd name="connsiteY82" fmla="*/ 15344 h 39342"/>
                <a:gd name="connsiteX83" fmla="*/ 28327 w 106225"/>
                <a:gd name="connsiteY83" fmla="*/ 16524 h 39342"/>
                <a:gd name="connsiteX84" fmla="*/ 8655 w 106225"/>
                <a:gd name="connsiteY84" fmla="*/ 21245 h 39342"/>
                <a:gd name="connsiteX85" fmla="*/ 8262 w 106225"/>
                <a:gd name="connsiteY85" fmla="*/ 21245 h 39342"/>
                <a:gd name="connsiteX86" fmla="*/ 4721 w 106225"/>
                <a:gd name="connsiteY86" fmla="*/ 21638 h 39342"/>
                <a:gd name="connsiteX87" fmla="*/ 1574 w 106225"/>
                <a:gd name="connsiteY87" fmla="*/ 22425 h 39342"/>
                <a:gd name="connsiteX88" fmla="*/ 0 w 106225"/>
                <a:gd name="connsiteY88" fmla="*/ 22819 h 39342"/>
                <a:gd name="connsiteX89" fmla="*/ 0 w 106225"/>
                <a:gd name="connsiteY89" fmla="*/ 25573 h 39342"/>
                <a:gd name="connsiteX90" fmla="*/ 2754 w 106225"/>
                <a:gd name="connsiteY90" fmla="*/ 28327 h 39342"/>
                <a:gd name="connsiteX91" fmla="*/ 6295 w 106225"/>
                <a:gd name="connsiteY91" fmla="*/ 27540 h 39342"/>
                <a:gd name="connsiteX92" fmla="*/ 34621 w 106225"/>
                <a:gd name="connsiteY92" fmla="*/ 14163 h 39342"/>
                <a:gd name="connsiteX93" fmla="*/ 35015 w 106225"/>
                <a:gd name="connsiteY93" fmla="*/ 14163 h 39342"/>
                <a:gd name="connsiteX94" fmla="*/ 33048 w 106225"/>
                <a:gd name="connsiteY94" fmla="*/ 14557 h 39342"/>
                <a:gd name="connsiteX95" fmla="*/ 34621 w 106225"/>
                <a:gd name="connsiteY95" fmla="*/ 14163 h 39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106225" h="39342">
                  <a:moveTo>
                    <a:pt x="6295" y="27540"/>
                  </a:moveTo>
                  <a:lnTo>
                    <a:pt x="9442" y="27933"/>
                  </a:lnTo>
                  <a:lnTo>
                    <a:pt x="12983" y="27933"/>
                  </a:lnTo>
                  <a:lnTo>
                    <a:pt x="16130" y="26753"/>
                  </a:lnTo>
                  <a:lnTo>
                    <a:pt x="19278" y="26360"/>
                  </a:lnTo>
                  <a:lnTo>
                    <a:pt x="27147" y="28327"/>
                  </a:lnTo>
                  <a:lnTo>
                    <a:pt x="26753" y="28327"/>
                  </a:lnTo>
                  <a:lnTo>
                    <a:pt x="23606" y="31081"/>
                  </a:lnTo>
                  <a:lnTo>
                    <a:pt x="27147" y="30294"/>
                  </a:lnTo>
                  <a:lnTo>
                    <a:pt x="30294" y="29900"/>
                  </a:lnTo>
                  <a:lnTo>
                    <a:pt x="31081" y="29507"/>
                  </a:lnTo>
                  <a:lnTo>
                    <a:pt x="66096" y="37769"/>
                  </a:lnTo>
                  <a:lnTo>
                    <a:pt x="67276" y="38949"/>
                  </a:lnTo>
                  <a:lnTo>
                    <a:pt x="70423" y="38949"/>
                  </a:lnTo>
                  <a:lnTo>
                    <a:pt x="72784" y="39343"/>
                  </a:lnTo>
                  <a:lnTo>
                    <a:pt x="75931" y="39343"/>
                  </a:lnTo>
                  <a:lnTo>
                    <a:pt x="79079" y="38949"/>
                  </a:lnTo>
                  <a:lnTo>
                    <a:pt x="82226" y="38949"/>
                  </a:lnTo>
                  <a:lnTo>
                    <a:pt x="85767" y="38556"/>
                  </a:lnTo>
                  <a:lnTo>
                    <a:pt x="88521" y="38162"/>
                  </a:lnTo>
                  <a:lnTo>
                    <a:pt x="92062" y="37769"/>
                  </a:lnTo>
                  <a:lnTo>
                    <a:pt x="95209" y="37376"/>
                  </a:lnTo>
                  <a:lnTo>
                    <a:pt x="98750" y="35015"/>
                  </a:lnTo>
                  <a:lnTo>
                    <a:pt x="101504" y="33441"/>
                  </a:lnTo>
                  <a:lnTo>
                    <a:pt x="100324" y="30294"/>
                  </a:lnTo>
                  <a:lnTo>
                    <a:pt x="99144" y="27540"/>
                  </a:lnTo>
                  <a:lnTo>
                    <a:pt x="95996" y="27146"/>
                  </a:lnTo>
                  <a:lnTo>
                    <a:pt x="98357" y="23606"/>
                  </a:lnTo>
                  <a:lnTo>
                    <a:pt x="101898" y="22032"/>
                  </a:lnTo>
                  <a:lnTo>
                    <a:pt x="104651" y="20852"/>
                  </a:lnTo>
                  <a:lnTo>
                    <a:pt x="107405" y="19671"/>
                  </a:lnTo>
                  <a:lnTo>
                    <a:pt x="103865" y="18098"/>
                  </a:lnTo>
                  <a:lnTo>
                    <a:pt x="101111" y="18491"/>
                  </a:lnTo>
                  <a:lnTo>
                    <a:pt x="102684" y="17704"/>
                  </a:lnTo>
                  <a:lnTo>
                    <a:pt x="105438" y="16917"/>
                  </a:lnTo>
                  <a:lnTo>
                    <a:pt x="105438" y="15737"/>
                  </a:lnTo>
                  <a:lnTo>
                    <a:pt x="87734" y="8655"/>
                  </a:lnTo>
                  <a:lnTo>
                    <a:pt x="86947" y="7869"/>
                  </a:lnTo>
                  <a:lnTo>
                    <a:pt x="84193" y="7082"/>
                  </a:lnTo>
                  <a:lnTo>
                    <a:pt x="81439" y="7082"/>
                  </a:lnTo>
                  <a:lnTo>
                    <a:pt x="78685" y="7869"/>
                  </a:lnTo>
                  <a:lnTo>
                    <a:pt x="73177" y="8262"/>
                  </a:lnTo>
                  <a:lnTo>
                    <a:pt x="63735" y="9836"/>
                  </a:lnTo>
                  <a:lnTo>
                    <a:pt x="64128" y="9442"/>
                  </a:lnTo>
                  <a:lnTo>
                    <a:pt x="67276" y="7869"/>
                  </a:lnTo>
                  <a:lnTo>
                    <a:pt x="66489" y="4721"/>
                  </a:lnTo>
                  <a:lnTo>
                    <a:pt x="65702" y="1967"/>
                  </a:lnTo>
                  <a:lnTo>
                    <a:pt x="62161" y="1574"/>
                  </a:lnTo>
                  <a:lnTo>
                    <a:pt x="59407" y="1180"/>
                  </a:lnTo>
                  <a:lnTo>
                    <a:pt x="56260" y="393"/>
                  </a:lnTo>
                  <a:lnTo>
                    <a:pt x="53506" y="0"/>
                  </a:lnTo>
                  <a:lnTo>
                    <a:pt x="49965" y="393"/>
                  </a:lnTo>
                  <a:lnTo>
                    <a:pt x="47211" y="787"/>
                  </a:lnTo>
                  <a:lnTo>
                    <a:pt x="43670" y="787"/>
                  </a:lnTo>
                  <a:lnTo>
                    <a:pt x="40130" y="1180"/>
                  </a:lnTo>
                  <a:lnTo>
                    <a:pt x="36982" y="1180"/>
                  </a:lnTo>
                  <a:lnTo>
                    <a:pt x="33835" y="1574"/>
                  </a:lnTo>
                  <a:lnTo>
                    <a:pt x="30294" y="1967"/>
                  </a:lnTo>
                  <a:lnTo>
                    <a:pt x="27540" y="1967"/>
                  </a:lnTo>
                  <a:lnTo>
                    <a:pt x="24392" y="1574"/>
                  </a:lnTo>
                  <a:lnTo>
                    <a:pt x="21245" y="3147"/>
                  </a:lnTo>
                  <a:lnTo>
                    <a:pt x="18491" y="3541"/>
                  </a:lnTo>
                  <a:lnTo>
                    <a:pt x="15737" y="5115"/>
                  </a:lnTo>
                  <a:lnTo>
                    <a:pt x="12590" y="6688"/>
                  </a:lnTo>
                  <a:lnTo>
                    <a:pt x="16130" y="9049"/>
                  </a:lnTo>
                  <a:lnTo>
                    <a:pt x="18884" y="9049"/>
                  </a:lnTo>
                  <a:lnTo>
                    <a:pt x="21638" y="8655"/>
                  </a:lnTo>
                  <a:lnTo>
                    <a:pt x="24786" y="9049"/>
                  </a:lnTo>
                  <a:lnTo>
                    <a:pt x="21638" y="11409"/>
                  </a:lnTo>
                  <a:lnTo>
                    <a:pt x="18491" y="12590"/>
                  </a:lnTo>
                  <a:lnTo>
                    <a:pt x="15344" y="13376"/>
                  </a:lnTo>
                  <a:lnTo>
                    <a:pt x="12590" y="14557"/>
                  </a:lnTo>
                  <a:lnTo>
                    <a:pt x="15344" y="14950"/>
                  </a:lnTo>
                  <a:lnTo>
                    <a:pt x="18098" y="14557"/>
                  </a:lnTo>
                  <a:lnTo>
                    <a:pt x="21245" y="14163"/>
                  </a:lnTo>
                  <a:lnTo>
                    <a:pt x="23999" y="13376"/>
                  </a:lnTo>
                  <a:lnTo>
                    <a:pt x="27147" y="12196"/>
                  </a:lnTo>
                  <a:lnTo>
                    <a:pt x="30294" y="11409"/>
                  </a:lnTo>
                  <a:lnTo>
                    <a:pt x="33441" y="11016"/>
                  </a:lnTo>
                  <a:lnTo>
                    <a:pt x="36589" y="11409"/>
                  </a:lnTo>
                  <a:lnTo>
                    <a:pt x="34228" y="14163"/>
                  </a:lnTo>
                  <a:lnTo>
                    <a:pt x="30687" y="14950"/>
                  </a:lnTo>
                  <a:lnTo>
                    <a:pt x="27540" y="15344"/>
                  </a:lnTo>
                  <a:lnTo>
                    <a:pt x="28327" y="16524"/>
                  </a:lnTo>
                  <a:lnTo>
                    <a:pt x="8655" y="21245"/>
                  </a:lnTo>
                  <a:lnTo>
                    <a:pt x="8262" y="21245"/>
                  </a:lnTo>
                  <a:lnTo>
                    <a:pt x="4721" y="21638"/>
                  </a:lnTo>
                  <a:lnTo>
                    <a:pt x="1574" y="22425"/>
                  </a:lnTo>
                  <a:lnTo>
                    <a:pt x="0" y="22819"/>
                  </a:lnTo>
                  <a:lnTo>
                    <a:pt x="0" y="25573"/>
                  </a:lnTo>
                  <a:lnTo>
                    <a:pt x="2754" y="28327"/>
                  </a:lnTo>
                  <a:lnTo>
                    <a:pt x="6295" y="27540"/>
                  </a:lnTo>
                  <a:close/>
                  <a:moveTo>
                    <a:pt x="34621" y="14163"/>
                  </a:moveTo>
                  <a:lnTo>
                    <a:pt x="35015" y="14163"/>
                  </a:lnTo>
                  <a:lnTo>
                    <a:pt x="33048" y="14557"/>
                  </a:lnTo>
                  <a:lnTo>
                    <a:pt x="34621" y="1416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5" name="Freeform: Shape 2539">
              <a:extLst>
                <a:ext uri="{FF2B5EF4-FFF2-40B4-BE49-F238E27FC236}">
                  <a16:creationId xmlns:a16="http://schemas.microsoft.com/office/drawing/2014/main" id="{F902A434-4CE5-4E9E-ACE9-96CFEAB878F8}"/>
                </a:ext>
              </a:extLst>
            </p:cNvPr>
            <p:cNvSpPr/>
            <p:nvPr/>
          </p:nvSpPr>
          <p:spPr>
            <a:xfrm>
              <a:off x="4160735" y="1198315"/>
              <a:ext cx="23606" cy="3934"/>
            </a:xfrm>
            <a:custGeom>
              <a:avLst/>
              <a:gdLst>
                <a:gd name="connsiteX0" fmla="*/ 27147 w 23605"/>
                <a:gd name="connsiteY0" fmla="*/ 3934 h 3934"/>
                <a:gd name="connsiteX1" fmla="*/ 25966 w 23605"/>
                <a:gd name="connsiteY1" fmla="*/ 1180 h 3934"/>
                <a:gd name="connsiteX2" fmla="*/ 22819 w 23605"/>
                <a:gd name="connsiteY2" fmla="*/ 787 h 3934"/>
                <a:gd name="connsiteX3" fmla="*/ 19671 w 23605"/>
                <a:gd name="connsiteY3" fmla="*/ 0 h 3934"/>
                <a:gd name="connsiteX4" fmla="*/ 16524 w 23605"/>
                <a:gd name="connsiteY4" fmla="*/ 0 h 3934"/>
                <a:gd name="connsiteX5" fmla="*/ 10229 w 23605"/>
                <a:gd name="connsiteY5" fmla="*/ 0 h 3934"/>
                <a:gd name="connsiteX6" fmla="*/ 7475 w 23605"/>
                <a:gd name="connsiteY6" fmla="*/ 0 h 3934"/>
                <a:gd name="connsiteX7" fmla="*/ 4328 w 23605"/>
                <a:gd name="connsiteY7" fmla="*/ 393 h 3934"/>
                <a:gd name="connsiteX8" fmla="*/ 1574 w 23605"/>
                <a:gd name="connsiteY8" fmla="*/ 1180 h 3934"/>
                <a:gd name="connsiteX9" fmla="*/ 0 w 23605"/>
                <a:gd name="connsiteY9" fmla="*/ 3934 h 3934"/>
                <a:gd name="connsiteX10" fmla="*/ 2754 w 23605"/>
                <a:gd name="connsiteY10" fmla="*/ 5115 h 3934"/>
                <a:gd name="connsiteX11" fmla="*/ 5901 w 23605"/>
                <a:gd name="connsiteY11" fmla="*/ 5115 h 3934"/>
                <a:gd name="connsiteX12" fmla="*/ 8655 w 23605"/>
                <a:gd name="connsiteY12" fmla="*/ 5508 h 3934"/>
                <a:gd name="connsiteX13" fmla="*/ 11803 w 23605"/>
                <a:gd name="connsiteY13" fmla="*/ 5115 h 3934"/>
                <a:gd name="connsiteX14" fmla="*/ 14557 w 23605"/>
                <a:gd name="connsiteY14" fmla="*/ 4721 h 3934"/>
                <a:gd name="connsiteX15" fmla="*/ 17704 w 23605"/>
                <a:gd name="connsiteY15" fmla="*/ 4328 h 3934"/>
                <a:gd name="connsiteX16" fmla="*/ 21245 w 23605"/>
                <a:gd name="connsiteY16" fmla="*/ 3934 h 3934"/>
                <a:gd name="connsiteX17" fmla="*/ 23999 w 23605"/>
                <a:gd name="connsiteY17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3605" h="3934">
                  <a:moveTo>
                    <a:pt x="27147" y="3934"/>
                  </a:moveTo>
                  <a:lnTo>
                    <a:pt x="25966" y="1180"/>
                  </a:lnTo>
                  <a:lnTo>
                    <a:pt x="22819" y="787"/>
                  </a:lnTo>
                  <a:lnTo>
                    <a:pt x="19671" y="0"/>
                  </a:lnTo>
                  <a:lnTo>
                    <a:pt x="16524" y="0"/>
                  </a:lnTo>
                  <a:lnTo>
                    <a:pt x="10229" y="0"/>
                  </a:lnTo>
                  <a:lnTo>
                    <a:pt x="7475" y="0"/>
                  </a:lnTo>
                  <a:lnTo>
                    <a:pt x="4328" y="393"/>
                  </a:lnTo>
                  <a:lnTo>
                    <a:pt x="1574" y="1180"/>
                  </a:lnTo>
                  <a:lnTo>
                    <a:pt x="0" y="3934"/>
                  </a:lnTo>
                  <a:lnTo>
                    <a:pt x="2754" y="5115"/>
                  </a:lnTo>
                  <a:lnTo>
                    <a:pt x="5901" y="5115"/>
                  </a:lnTo>
                  <a:lnTo>
                    <a:pt x="8655" y="5508"/>
                  </a:lnTo>
                  <a:lnTo>
                    <a:pt x="11803" y="5115"/>
                  </a:lnTo>
                  <a:lnTo>
                    <a:pt x="14557" y="4721"/>
                  </a:lnTo>
                  <a:lnTo>
                    <a:pt x="17704" y="4328"/>
                  </a:lnTo>
                  <a:lnTo>
                    <a:pt x="21245" y="3934"/>
                  </a:lnTo>
                  <a:lnTo>
                    <a:pt x="23999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6" name="Freeform: Shape 2540">
              <a:extLst>
                <a:ext uri="{FF2B5EF4-FFF2-40B4-BE49-F238E27FC236}">
                  <a16:creationId xmlns:a16="http://schemas.microsoft.com/office/drawing/2014/main" id="{30C3ABA0-34E1-4F48-B167-05133FB0C0A2}"/>
                </a:ext>
              </a:extLst>
            </p:cNvPr>
            <p:cNvSpPr/>
            <p:nvPr/>
          </p:nvSpPr>
          <p:spPr>
            <a:xfrm>
              <a:off x="4079296" y="1227822"/>
              <a:ext cx="125896" cy="43277"/>
            </a:xfrm>
            <a:custGeom>
              <a:avLst/>
              <a:gdLst>
                <a:gd name="connsiteX0" fmla="*/ 24392 w 125896"/>
                <a:gd name="connsiteY0" fmla="*/ 21638 h 43276"/>
                <a:gd name="connsiteX1" fmla="*/ 21638 w 125896"/>
                <a:gd name="connsiteY1" fmla="*/ 22032 h 43276"/>
                <a:gd name="connsiteX2" fmla="*/ 18491 w 125896"/>
                <a:gd name="connsiteY2" fmla="*/ 22425 h 43276"/>
                <a:gd name="connsiteX3" fmla="*/ 15343 w 125896"/>
                <a:gd name="connsiteY3" fmla="*/ 23606 h 43276"/>
                <a:gd name="connsiteX4" fmla="*/ 18098 w 125896"/>
                <a:gd name="connsiteY4" fmla="*/ 23999 h 43276"/>
                <a:gd name="connsiteX5" fmla="*/ 14950 w 125896"/>
                <a:gd name="connsiteY5" fmla="*/ 25573 h 43276"/>
                <a:gd name="connsiteX6" fmla="*/ 12196 w 125896"/>
                <a:gd name="connsiteY6" fmla="*/ 25179 h 43276"/>
                <a:gd name="connsiteX7" fmla="*/ 9442 w 125896"/>
                <a:gd name="connsiteY7" fmla="*/ 25573 h 43276"/>
                <a:gd name="connsiteX8" fmla="*/ 5901 w 125896"/>
                <a:gd name="connsiteY8" fmla="*/ 26360 h 43276"/>
                <a:gd name="connsiteX9" fmla="*/ 3147 w 125896"/>
                <a:gd name="connsiteY9" fmla="*/ 27933 h 43276"/>
                <a:gd name="connsiteX10" fmla="*/ 393 w 125896"/>
                <a:gd name="connsiteY10" fmla="*/ 27933 h 43276"/>
                <a:gd name="connsiteX11" fmla="*/ 0 w 125896"/>
                <a:gd name="connsiteY11" fmla="*/ 31081 h 43276"/>
                <a:gd name="connsiteX12" fmla="*/ 3147 w 125896"/>
                <a:gd name="connsiteY12" fmla="*/ 31081 h 43276"/>
                <a:gd name="connsiteX13" fmla="*/ 6295 w 125896"/>
                <a:gd name="connsiteY13" fmla="*/ 30687 h 43276"/>
                <a:gd name="connsiteX14" fmla="*/ 9836 w 125896"/>
                <a:gd name="connsiteY14" fmla="*/ 30294 h 43276"/>
                <a:gd name="connsiteX15" fmla="*/ 12589 w 125896"/>
                <a:gd name="connsiteY15" fmla="*/ 30294 h 43276"/>
                <a:gd name="connsiteX16" fmla="*/ 16130 w 125896"/>
                <a:gd name="connsiteY16" fmla="*/ 29900 h 43276"/>
                <a:gd name="connsiteX17" fmla="*/ 18884 w 125896"/>
                <a:gd name="connsiteY17" fmla="*/ 29507 h 43276"/>
                <a:gd name="connsiteX18" fmla="*/ 22425 w 125896"/>
                <a:gd name="connsiteY18" fmla="*/ 29114 h 43276"/>
                <a:gd name="connsiteX19" fmla="*/ 25573 w 125896"/>
                <a:gd name="connsiteY19" fmla="*/ 28720 h 43276"/>
                <a:gd name="connsiteX20" fmla="*/ 28327 w 125896"/>
                <a:gd name="connsiteY20" fmla="*/ 28327 h 43276"/>
                <a:gd name="connsiteX21" fmla="*/ 31867 w 125896"/>
                <a:gd name="connsiteY21" fmla="*/ 28720 h 43276"/>
                <a:gd name="connsiteX22" fmla="*/ 34621 w 125896"/>
                <a:gd name="connsiteY22" fmla="*/ 28327 h 43276"/>
                <a:gd name="connsiteX23" fmla="*/ 37769 w 125896"/>
                <a:gd name="connsiteY23" fmla="*/ 27933 h 43276"/>
                <a:gd name="connsiteX24" fmla="*/ 40523 w 125896"/>
                <a:gd name="connsiteY24" fmla="*/ 27933 h 43276"/>
                <a:gd name="connsiteX25" fmla="*/ 43670 w 125896"/>
                <a:gd name="connsiteY25" fmla="*/ 27540 h 43276"/>
                <a:gd name="connsiteX26" fmla="*/ 46424 w 125896"/>
                <a:gd name="connsiteY26" fmla="*/ 27146 h 43276"/>
                <a:gd name="connsiteX27" fmla="*/ 52719 w 125896"/>
                <a:gd name="connsiteY27" fmla="*/ 27146 h 43276"/>
                <a:gd name="connsiteX28" fmla="*/ 55473 w 125896"/>
                <a:gd name="connsiteY28" fmla="*/ 26753 h 43276"/>
                <a:gd name="connsiteX29" fmla="*/ 59014 w 125896"/>
                <a:gd name="connsiteY29" fmla="*/ 26753 h 43276"/>
                <a:gd name="connsiteX30" fmla="*/ 55473 w 125896"/>
                <a:gd name="connsiteY30" fmla="*/ 29507 h 43276"/>
                <a:gd name="connsiteX31" fmla="*/ 55080 w 125896"/>
                <a:gd name="connsiteY31" fmla="*/ 29900 h 43276"/>
                <a:gd name="connsiteX32" fmla="*/ 54686 w 125896"/>
                <a:gd name="connsiteY32" fmla="*/ 30294 h 43276"/>
                <a:gd name="connsiteX33" fmla="*/ 51539 w 125896"/>
                <a:gd name="connsiteY33" fmla="*/ 30687 h 43276"/>
                <a:gd name="connsiteX34" fmla="*/ 48391 w 125896"/>
                <a:gd name="connsiteY34" fmla="*/ 31081 h 43276"/>
                <a:gd name="connsiteX35" fmla="*/ 51932 w 125896"/>
                <a:gd name="connsiteY35" fmla="*/ 31474 h 43276"/>
                <a:gd name="connsiteX36" fmla="*/ 53899 w 125896"/>
                <a:gd name="connsiteY36" fmla="*/ 31474 h 43276"/>
                <a:gd name="connsiteX37" fmla="*/ 53506 w 125896"/>
                <a:gd name="connsiteY37" fmla="*/ 31868 h 43276"/>
                <a:gd name="connsiteX38" fmla="*/ 49572 w 125896"/>
                <a:gd name="connsiteY38" fmla="*/ 31868 h 43276"/>
                <a:gd name="connsiteX39" fmla="*/ 46031 w 125896"/>
                <a:gd name="connsiteY39" fmla="*/ 32261 h 43276"/>
                <a:gd name="connsiteX40" fmla="*/ 49178 w 125896"/>
                <a:gd name="connsiteY40" fmla="*/ 32261 h 43276"/>
                <a:gd name="connsiteX41" fmla="*/ 46031 w 125896"/>
                <a:gd name="connsiteY41" fmla="*/ 32654 h 43276"/>
                <a:gd name="connsiteX42" fmla="*/ 42883 w 125896"/>
                <a:gd name="connsiteY42" fmla="*/ 32654 h 43276"/>
                <a:gd name="connsiteX43" fmla="*/ 40129 w 125896"/>
                <a:gd name="connsiteY43" fmla="*/ 33048 h 43276"/>
                <a:gd name="connsiteX44" fmla="*/ 36982 w 125896"/>
                <a:gd name="connsiteY44" fmla="*/ 33048 h 43276"/>
                <a:gd name="connsiteX45" fmla="*/ 40129 w 125896"/>
                <a:gd name="connsiteY45" fmla="*/ 34228 h 43276"/>
                <a:gd name="connsiteX46" fmla="*/ 36982 w 125896"/>
                <a:gd name="connsiteY46" fmla="*/ 35015 h 43276"/>
                <a:gd name="connsiteX47" fmla="*/ 34228 w 125896"/>
                <a:gd name="connsiteY47" fmla="*/ 35015 h 43276"/>
                <a:gd name="connsiteX48" fmla="*/ 37769 w 125896"/>
                <a:gd name="connsiteY48" fmla="*/ 36589 h 43276"/>
                <a:gd name="connsiteX49" fmla="*/ 40916 w 125896"/>
                <a:gd name="connsiteY49" fmla="*/ 36195 h 43276"/>
                <a:gd name="connsiteX50" fmla="*/ 37769 w 125896"/>
                <a:gd name="connsiteY50" fmla="*/ 36982 h 43276"/>
                <a:gd name="connsiteX51" fmla="*/ 40523 w 125896"/>
                <a:gd name="connsiteY51" fmla="*/ 37376 h 43276"/>
                <a:gd name="connsiteX52" fmla="*/ 44064 w 125896"/>
                <a:gd name="connsiteY52" fmla="*/ 37769 h 43276"/>
                <a:gd name="connsiteX53" fmla="*/ 44850 w 125896"/>
                <a:gd name="connsiteY53" fmla="*/ 37769 h 43276"/>
                <a:gd name="connsiteX54" fmla="*/ 44457 w 125896"/>
                <a:gd name="connsiteY54" fmla="*/ 38162 h 43276"/>
                <a:gd name="connsiteX55" fmla="*/ 35408 w 125896"/>
                <a:gd name="connsiteY55" fmla="*/ 38162 h 43276"/>
                <a:gd name="connsiteX56" fmla="*/ 32261 w 125896"/>
                <a:gd name="connsiteY56" fmla="*/ 38949 h 43276"/>
                <a:gd name="connsiteX57" fmla="*/ 31867 w 125896"/>
                <a:gd name="connsiteY57" fmla="*/ 41703 h 43276"/>
                <a:gd name="connsiteX58" fmla="*/ 35015 w 125896"/>
                <a:gd name="connsiteY58" fmla="*/ 44457 h 43276"/>
                <a:gd name="connsiteX59" fmla="*/ 36589 w 125896"/>
                <a:gd name="connsiteY59" fmla="*/ 44457 h 43276"/>
                <a:gd name="connsiteX60" fmla="*/ 39736 w 125896"/>
                <a:gd name="connsiteY60" fmla="*/ 44457 h 43276"/>
                <a:gd name="connsiteX61" fmla="*/ 42490 w 125896"/>
                <a:gd name="connsiteY61" fmla="*/ 44851 h 43276"/>
                <a:gd name="connsiteX62" fmla="*/ 45637 w 125896"/>
                <a:gd name="connsiteY62" fmla="*/ 44851 h 43276"/>
                <a:gd name="connsiteX63" fmla="*/ 48391 w 125896"/>
                <a:gd name="connsiteY63" fmla="*/ 44457 h 43276"/>
                <a:gd name="connsiteX64" fmla="*/ 51539 w 125896"/>
                <a:gd name="connsiteY64" fmla="*/ 42490 h 43276"/>
                <a:gd name="connsiteX65" fmla="*/ 54293 w 125896"/>
                <a:gd name="connsiteY65" fmla="*/ 40916 h 43276"/>
                <a:gd name="connsiteX66" fmla="*/ 51539 w 125896"/>
                <a:gd name="connsiteY66" fmla="*/ 42883 h 43276"/>
                <a:gd name="connsiteX67" fmla="*/ 54686 w 125896"/>
                <a:gd name="connsiteY67" fmla="*/ 44457 h 43276"/>
                <a:gd name="connsiteX68" fmla="*/ 57440 w 125896"/>
                <a:gd name="connsiteY68" fmla="*/ 44064 h 43276"/>
                <a:gd name="connsiteX69" fmla="*/ 60588 w 125896"/>
                <a:gd name="connsiteY69" fmla="*/ 42490 h 43276"/>
                <a:gd name="connsiteX70" fmla="*/ 63342 w 125896"/>
                <a:gd name="connsiteY70" fmla="*/ 44064 h 43276"/>
                <a:gd name="connsiteX71" fmla="*/ 66489 w 125896"/>
                <a:gd name="connsiteY71" fmla="*/ 43670 h 43276"/>
                <a:gd name="connsiteX72" fmla="*/ 70030 w 125896"/>
                <a:gd name="connsiteY72" fmla="*/ 43277 h 43276"/>
                <a:gd name="connsiteX73" fmla="*/ 73177 w 125896"/>
                <a:gd name="connsiteY73" fmla="*/ 42883 h 43276"/>
                <a:gd name="connsiteX74" fmla="*/ 75931 w 125896"/>
                <a:gd name="connsiteY74" fmla="*/ 42883 h 43276"/>
                <a:gd name="connsiteX75" fmla="*/ 78685 w 125896"/>
                <a:gd name="connsiteY75" fmla="*/ 43277 h 43276"/>
                <a:gd name="connsiteX76" fmla="*/ 80259 w 125896"/>
                <a:gd name="connsiteY76" fmla="*/ 40523 h 43276"/>
                <a:gd name="connsiteX77" fmla="*/ 83406 w 125896"/>
                <a:gd name="connsiteY77" fmla="*/ 38162 h 43276"/>
                <a:gd name="connsiteX78" fmla="*/ 83800 w 125896"/>
                <a:gd name="connsiteY78" fmla="*/ 40916 h 43276"/>
                <a:gd name="connsiteX79" fmla="*/ 87340 w 125896"/>
                <a:gd name="connsiteY79" fmla="*/ 40916 h 43276"/>
                <a:gd name="connsiteX80" fmla="*/ 90488 w 125896"/>
                <a:gd name="connsiteY80" fmla="*/ 40523 h 43276"/>
                <a:gd name="connsiteX81" fmla="*/ 89308 w 125896"/>
                <a:gd name="connsiteY81" fmla="*/ 37769 h 43276"/>
                <a:gd name="connsiteX82" fmla="*/ 86160 w 125896"/>
                <a:gd name="connsiteY82" fmla="*/ 36195 h 43276"/>
                <a:gd name="connsiteX83" fmla="*/ 88914 w 125896"/>
                <a:gd name="connsiteY83" fmla="*/ 34622 h 43276"/>
                <a:gd name="connsiteX84" fmla="*/ 92062 w 125896"/>
                <a:gd name="connsiteY84" fmla="*/ 33048 h 43276"/>
                <a:gd name="connsiteX85" fmla="*/ 95209 w 125896"/>
                <a:gd name="connsiteY85" fmla="*/ 33048 h 43276"/>
                <a:gd name="connsiteX86" fmla="*/ 92062 w 125896"/>
                <a:gd name="connsiteY86" fmla="*/ 32261 h 43276"/>
                <a:gd name="connsiteX87" fmla="*/ 95209 w 125896"/>
                <a:gd name="connsiteY87" fmla="*/ 30687 h 43276"/>
                <a:gd name="connsiteX88" fmla="*/ 97963 w 125896"/>
                <a:gd name="connsiteY88" fmla="*/ 31081 h 43276"/>
                <a:gd name="connsiteX89" fmla="*/ 101110 w 125896"/>
                <a:gd name="connsiteY89" fmla="*/ 29114 h 43276"/>
                <a:gd name="connsiteX90" fmla="*/ 102291 w 125896"/>
                <a:gd name="connsiteY90" fmla="*/ 31868 h 43276"/>
                <a:gd name="connsiteX91" fmla="*/ 105045 w 125896"/>
                <a:gd name="connsiteY91" fmla="*/ 30687 h 43276"/>
                <a:gd name="connsiteX92" fmla="*/ 108192 w 125896"/>
                <a:gd name="connsiteY92" fmla="*/ 28327 h 43276"/>
                <a:gd name="connsiteX93" fmla="*/ 110946 w 125896"/>
                <a:gd name="connsiteY93" fmla="*/ 26753 h 43276"/>
                <a:gd name="connsiteX94" fmla="*/ 107405 w 125896"/>
                <a:gd name="connsiteY94" fmla="*/ 25573 h 43276"/>
                <a:gd name="connsiteX95" fmla="*/ 104651 w 125896"/>
                <a:gd name="connsiteY95" fmla="*/ 24786 h 43276"/>
                <a:gd name="connsiteX96" fmla="*/ 107799 w 125896"/>
                <a:gd name="connsiteY96" fmla="*/ 23212 h 43276"/>
                <a:gd name="connsiteX97" fmla="*/ 110946 w 125896"/>
                <a:gd name="connsiteY97" fmla="*/ 22425 h 43276"/>
                <a:gd name="connsiteX98" fmla="*/ 113700 w 125896"/>
                <a:gd name="connsiteY98" fmla="*/ 21245 h 43276"/>
                <a:gd name="connsiteX99" fmla="*/ 115274 w 125896"/>
                <a:gd name="connsiteY99" fmla="*/ 18491 h 43276"/>
                <a:gd name="connsiteX100" fmla="*/ 118028 w 125896"/>
                <a:gd name="connsiteY100" fmla="*/ 16917 h 43276"/>
                <a:gd name="connsiteX101" fmla="*/ 120782 w 125896"/>
                <a:gd name="connsiteY101" fmla="*/ 14950 h 43276"/>
                <a:gd name="connsiteX102" fmla="*/ 123929 w 125896"/>
                <a:gd name="connsiteY102" fmla="*/ 13770 h 43276"/>
                <a:gd name="connsiteX103" fmla="*/ 124323 w 125896"/>
                <a:gd name="connsiteY103" fmla="*/ 11016 h 43276"/>
                <a:gd name="connsiteX104" fmla="*/ 126290 w 125896"/>
                <a:gd name="connsiteY104" fmla="*/ 8262 h 43276"/>
                <a:gd name="connsiteX105" fmla="*/ 129044 w 125896"/>
                <a:gd name="connsiteY105" fmla="*/ 7082 h 43276"/>
                <a:gd name="connsiteX106" fmla="*/ 126290 w 125896"/>
                <a:gd name="connsiteY106" fmla="*/ 4328 h 43276"/>
                <a:gd name="connsiteX107" fmla="*/ 123536 w 125896"/>
                <a:gd name="connsiteY107" fmla="*/ 3541 h 43276"/>
                <a:gd name="connsiteX108" fmla="*/ 120782 w 125896"/>
                <a:gd name="connsiteY108" fmla="*/ 3147 h 43276"/>
                <a:gd name="connsiteX109" fmla="*/ 123536 w 125896"/>
                <a:gd name="connsiteY109" fmla="*/ 2754 h 43276"/>
                <a:gd name="connsiteX110" fmla="*/ 120388 w 125896"/>
                <a:gd name="connsiteY110" fmla="*/ 393 h 43276"/>
                <a:gd name="connsiteX111" fmla="*/ 117241 w 125896"/>
                <a:gd name="connsiteY111" fmla="*/ 0 h 43276"/>
                <a:gd name="connsiteX112" fmla="*/ 114094 w 125896"/>
                <a:gd name="connsiteY112" fmla="*/ 393 h 43276"/>
                <a:gd name="connsiteX113" fmla="*/ 117241 w 125896"/>
                <a:gd name="connsiteY113" fmla="*/ 1180 h 43276"/>
                <a:gd name="connsiteX114" fmla="*/ 119995 w 125896"/>
                <a:gd name="connsiteY114" fmla="*/ 787 h 43276"/>
                <a:gd name="connsiteX115" fmla="*/ 117241 w 125896"/>
                <a:gd name="connsiteY115" fmla="*/ 1967 h 43276"/>
                <a:gd name="connsiteX116" fmla="*/ 111340 w 125896"/>
                <a:gd name="connsiteY116" fmla="*/ 1967 h 43276"/>
                <a:gd name="connsiteX117" fmla="*/ 108192 w 125896"/>
                <a:gd name="connsiteY117" fmla="*/ 2361 h 43276"/>
                <a:gd name="connsiteX118" fmla="*/ 106618 w 125896"/>
                <a:gd name="connsiteY118" fmla="*/ 5115 h 43276"/>
                <a:gd name="connsiteX119" fmla="*/ 103471 w 125896"/>
                <a:gd name="connsiteY119" fmla="*/ 5508 h 43276"/>
                <a:gd name="connsiteX120" fmla="*/ 100324 w 125896"/>
                <a:gd name="connsiteY120" fmla="*/ 7082 h 43276"/>
                <a:gd name="connsiteX121" fmla="*/ 101897 w 125896"/>
                <a:gd name="connsiteY121" fmla="*/ 4328 h 43276"/>
                <a:gd name="connsiteX122" fmla="*/ 99143 w 125896"/>
                <a:gd name="connsiteY122" fmla="*/ 4328 h 43276"/>
                <a:gd name="connsiteX123" fmla="*/ 95996 w 125896"/>
                <a:gd name="connsiteY123" fmla="*/ 2361 h 43276"/>
                <a:gd name="connsiteX124" fmla="*/ 93242 w 125896"/>
                <a:gd name="connsiteY124" fmla="*/ 1967 h 43276"/>
                <a:gd name="connsiteX125" fmla="*/ 90095 w 125896"/>
                <a:gd name="connsiteY125" fmla="*/ 1574 h 43276"/>
                <a:gd name="connsiteX126" fmla="*/ 89701 w 125896"/>
                <a:gd name="connsiteY126" fmla="*/ 1574 h 43276"/>
                <a:gd name="connsiteX127" fmla="*/ 86554 w 125896"/>
                <a:gd name="connsiteY127" fmla="*/ 1180 h 43276"/>
                <a:gd name="connsiteX128" fmla="*/ 83013 w 125896"/>
                <a:gd name="connsiteY128" fmla="*/ 1574 h 43276"/>
                <a:gd name="connsiteX129" fmla="*/ 80259 w 125896"/>
                <a:gd name="connsiteY129" fmla="*/ 1967 h 43276"/>
                <a:gd name="connsiteX130" fmla="*/ 77111 w 125896"/>
                <a:gd name="connsiteY130" fmla="*/ 2361 h 43276"/>
                <a:gd name="connsiteX131" fmla="*/ 73964 w 125896"/>
                <a:gd name="connsiteY131" fmla="*/ 2754 h 43276"/>
                <a:gd name="connsiteX132" fmla="*/ 70423 w 125896"/>
                <a:gd name="connsiteY132" fmla="*/ 3541 h 43276"/>
                <a:gd name="connsiteX133" fmla="*/ 67276 w 125896"/>
                <a:gd name="connsiteY133" fmla="*/ 3934 h 43276"/>
                <a:gd name="connsiteX134" fmla="*/ 66882 w 125896"/>
                <a:gd name="connsiteY134" fmla="*/ 6688 h 43276"/>
                <a:gd name="connsiteX135" fmla="*/ 69636 w 125896"/>
                <a:gd name="connsiteY135" fmla="*/ 7475 h 43276"/>
                <a:gd name="connsiteX136" fmla="*/ 72784 w 125896"/>
                <a:gd name="connsiteY136" fmla="*/ 7082 h 43276"/>
                <a:gd name="connsiteX137" fmla="*/ 75931 w 125896"/>
                <a:gd name="connsiteY137" fmla="*/ 7475 h 43276"/>
                <a:gd name="connsiteX138" fmla="*/ 78685 w 125896"/>
                <a:gd name="connsiteY138" fmla="*/ 9049 h 43276"/>
                <a:gd name="connsiteX139" fmla="*/ 78292 w 125896"/>
                <a:gd name="connsiteY139" fmla="*/ 9442 h 43276"/>
                <a:gd name="connsiteX140" fmla="*/ 77898 w 125896"/>
                <a:gd name="connsiteY140" fmla="*/ 9836 h 43276"/>
                <a:gd name="connsiteX141" fmla="*/ 75144 w 125896"/>
                <a:gd name="connsiteY141" fmla="*/ 9049 h 43276"/>
                <a:gd name="connsiteX142" fmla="*/ 71603 w 125896"/>
                <a:gd name="connsiteY142" fmla="*/ 9836 h 43276"/>
                <a:gd name="connsiteX143" fmla="*/ 69243 w 125896"/>
                <a:gd name="connsiteY143" fmla="*/ 9836 h 43276"/>
                <a:gd name="connsiteX144" fmla="*/ 72390 w 125896"/>
                <a:gd name="connsiteY144" fmla="*/ 12196 h 43276"/>
                <a:gd name="connsiteX145" fmla="*/ 75144 w 125896"/>
                <a:gd name="connsiteY145" fmla="*/ 11803 h 43276"/>
                <a:gd name="connsiteX146" fmla="*/ 75931 w 125896"/>
                <a:gd name="connsiteY146" fmla="*/ 11803 h 43276"/>
                <a:gd name="connsiteX147" fmla="*/ 74357 w 125896"/>
                <a:gd name="connsiteY147" fmla="*/ 13377 h 43276"/>
                <a:gd name="connsiteX148" fmla="*/ 71603 w 125896"/>
                <a:gd name="connsiteY148" fmla="*/ 13770 h 43276"/>
                <a:gd name="connsiteX149" fmla="*/ 70817 w 125896"/>
                <a:gd name="connsiteY149" fmla="*/ 16130 h 43276"/>
                <a:gd name="connsiteX150" fmla="*/ 70030 w 125896"/>
                <a:gd name="connsiteY150" fmla="*/ 16524 h 43276"/>
                <a:gd name="connsiteX151" fmla="*/ 69636 w 125896"/>
                <a:gd name="connsiteY151" fmla="*/ 16917 h 43276"/>
                <a:gd name="connsiteX152" fmla="*/ 66489 w 125896"/>
                <a:gd name="connsiteY152" fmla="*/ 19278 h 43276"/>
                <a:gd name="connsiteX153" fmla="*/ 63735 w 125896"/>
                <a:gd name="connsiteY153" fmla="*/ 19671 h 43276"/>
                <a:gd name="connsiteX154" fmla="*/ 64915 w 125896"/>
                <a:gd name="connsiteY154" fmla="*/ 16917 h 43276"/>
                <a:gd name="connsiteX155" fmla="*/ 61374 w 125896"/>
                <a:gd name="connsiteY155" fmla="*/ 15344 h 43276"/>
                <a:gd name="connsiteX156" fmla="*/ 64522 w 125896"/>
                <a:gd name="connsiteY156" fmla="*/ 14163 h 43276"/>
                <a:gd name="connsiteX157" fmla="*/ 61374 w 125896"/>
                <a:gd name="connsiteY157" fmla="*/ 14557 h 43276"/>
                <a:gd name="connsiteX158" fmla="*/ 58620 w 125896"/>
                <a:gd name="connsiteY158" fmla="*/ 14950 h 43276"/>
                <a:gd name="connsiteX159" fmla="*/ 59801 w 125896"/>
                <a:gd name="connsiteY159" fmla="*/ 12196 h 43276"/>
                <a:gd name="connsiteX160" fmla="*/ 56260 w 125896"/>
                <a:gd name="connsiteY160" fmla="*/ 11409 h 43276"/>
                <a:gd name="connsiteX161" fmla="*/ 58227 w 125896"/>
                <a:gd name="connsiteY161" fmla="*/ 8262 h 43276"/>
                <a:gd name="connsiteX162" fmla="*/ 55080 w 125896"/>
                <a:gd name="connsiteY162" fmla="*/ 6295 h 43276"/>
                <a:gd name="connsiteX163" fmla="*/ 52326 w 125896"/>
                <a:gd name="connsiteY163" fmla="*/ 5901 h 43276"/>
                <a:gd name="connsiteX164" fmla="*/ 49572 w 125896"/>
                <a:gd name="connsiteY164" fmla="*/ 5508 h 43276"/>
                <a:gd name="connsiteX165" fmla="*/ 46031 w 125896"/>
                <a:gd name="connsiteY165" fmla="*/ 5901 h 43276"/>
                <a:gd name="connsiteX166" fmla="*/ 43277 w 125896"/>
                <a:gd name="connsiteY166" fmla="*/ 6688 h 43276"/>
                <a:gd name="connsiteX167" fmla="*/ 40129 w 125896"/>
                <a:gd name="connsiteY167" fmla="*/ 8262 h 43276"/>
                <a:gd name="connsiteX168" fmla="*/ 36982 w 125896"/>
                <a:gd name="connsiteY168" fmla="*/ 9836 h 43276"/>
                <a:gd name="connsiteX169" fmla="*/ 34228 w 125896"/>
                <a:gd name="connsiteY169" fmla="*/ 11409 h 43276"/>
                <a:gd name="connsiteX170" fmla="*/ 37376 w 125896"/>
                <a:gd name="connsiteY170" fmla="*/ 11803 h 43276"/>
                <a:gd name="connsiteX171" fmla="*/ 43670 w 125896"/>
                <a:gd name="connsiteY171" fmla="*/ 11803 h 43276"/>
                <a:gd name="connsiteX172" fmla="*/ 49965 w 125896"/>
                <a:gd name="connsiteY172" fmla="*/ 11409 h 43276"/>
                <a:gd name="connsiteX173" fmla="*/ 46818 w 125896"/>
                <a:gd name="connsiteY173" fmla="*/ 12196 h 43276"/>
                <a:gd name="connsiteX174" fmla="*/ 44064 w 125896"/>
                <a:gd name="connsiteY174" fmla="*/ 12590 h 43276"/>
                <a:gd name="connsiteX175" fmla="*/ 40916 w 125896"/>
                <a:gd name="connsiteY175" fmla="*/ 12983 h 43276"/>
                <a:gd name="connsiteX176" fmla="*/ 37376 w 125896"/>
                <a:gd name="connsiteY176" fmla="*/ 14163 h 43276"/>
                <a:gd name="connsiteX177" fmla="*/ 34621 w 125896"/>
                <a:gd name="connsiteY177" fmla="*/ 15344 h 43276"/>
                <a:gd name="connsiteX178" fmla="*/ 35408 w 125896"/>
                <a:gd name="connsiteY178" fmla="*/ 18098 h 43276"/>
                <a:gd name="connsiteX179" fmla="*/ 38556 w 125896"/>
                <a:gd name="connsiteY179" fmla="*/ 17704 h 43276"/>
                <a:gd name="connsiteX180" fmla="*/ 41310 w 125896"/>
                <a:gd name="connsiteY180" fmla="*/ 17704 h 43276"/>
                <a:gd name="connsiteX181" fmla="*/ 38162 w 125896"/>
                <a:gd name="connsiteY181" fmla="*/ 18491 h 43276"/>
                <a:gd name="connsiteX182" fmla="*/ 35408 w 125896"/>
                <a:gd name="connsiteY182" fmla="*/ 19278 h 43276"/>
                <a:gd name="connsiteX183" fmla="*/ 36982 w 125896"/>
                <a:gd name="connsiteY183" fmla="*/ 22032 h 43276"/>
                <a:gd name="connsiteX184" fmla="*/ 40129 w 125896"/>
                <a:gd name="connsiteY184" fmla="*/ 22819 h 43276"/>
                <a:gd name="connsiteX185" fmla="*/ 43277 w 125896"/>
                <a:gd name="connsiteY185" fmla="*/ 22425 h 43276"/>
                <a:gd name="connsiteX186" fmla="*/ 40523 w 125896"/>
                <a:gd name="connsiteY186" fmla="*/ 23212 h 43276"/>
                <a:gd name="connsiteX187" fmla="*/ 37376 w 125896"/>
                <a:gd name="connsiteY187" fmla="*/ 23606 h 43276"/>
                <a:gd name="connsiteX188" fmla="*/ 34228 w 125896"/>
                <a:gd name="connsiteY188" fmla="*/ 23999 h 43276"/>
                <a:gd name="connsiteX189" fmla="*/ 31081 w 125896"/>
                <a:gd name="connsiteY189" fmla="*/ 21638 h 43276"/>
                <a:gd name="connsiteX190" fmla="*/ 27540 w 125896"/>
                <a:gd name="connsiteY190" fmla="*/ 20458 h 43276"/>
                <a:gd name="connsiteX191" fmla="*/ 24392 w 125896"/>
                <a:gd name="connsiteY191" fmla="*/ 21638 h 43276"/>
                <a:gd name="connsiteX192" fmla="*/ 70030 w 125896"/>
                <a:gd name="connsiteY192" fmla="*/ 18491 h 43276"/>
                <a:gd name="connsiteX193" fmla="*/ 72784 w 125896"/>
                <a:gd name="connsiteY193" fmla="*/ 19671 h 43276"/>
                <a:gd name="connsiteX194" fmla="*/ 76325 w 125896"/>
                <a:gd name="connsiteY194" fmla="*/ 19278 h 43276"/>
                <a:gd name="connsiteX195" fmla="*/ 76718 w 125896"/>
                <a:gd name="connsiteY195" fmla="*/ 19278 h 43276"/>
                <a:gd name="connsiteX196" fmla="*/ 73571 w 125896"/>
                <a:gd name="connsiteY196" fmla="*/ 20065 h 43276"/>
                <a:gd name="connsiteX197" fmla="*/ 70817 w 125896"/>
                <a:gd name="connsiteY197" fmla="*/ 20458 h 43276"/>
                <a:gd name="connsiteX198" fmla="*/ 67669 w 125896"/>
                <a:gd name="connsiteY198" fmla="*/ 20852 h 43276"/>
                <a:gd name="connsiteX199" fmla="*/ 66882 w 125896"/>
                <a:gd name="connsiteY199" fmla="*/ 20065 h 43276"/>
                <a:gd name="connsiteX200" fmla="*/ 70030 w 125896"/>
                <a:gd name="connsiteY200" fmla="*/ 18491 h 43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</a:cxnLst>
              <a:rect l="l" t="t" r="r" b="b"/>
              <a:pathLst>
                <a:path w="125896" h="43276">
                  <a:moveTo>
                    <a:pt x="24392" y="21638"/>
                  </a:moveTo>
                  <a:lnTo>
                    <a:pt x="21638" y="22032"/>
                  </a:lnTo>
                  <a:lnTo>
                    <a:pt x="18491" y="22425"/>
                  </a:lnTo>
                  <a:lnTo>
                    <a:pt x="15343" y="23606"/>
                  </a:lnTo>
                  <a:lnTo>
                    <a:pt x="18098" y="23999"/>
                  </a:lnTo>
                  <a:lnTo>
                    <a:pt x="14950" y="25573"/>
                  </a:lnTo>
                  <a:lnTo>
                    <a:pt x="12196" y="25179"/>
                  </a:lnTo>
                  <a:lnTo>
                    <a:pt x="9442" y="25573"/>
                  </a:lnTo>
                  <a:lnTo>
                    <a:pt x="5901" y="26360"/>
                  </a:lnTo>
                  <a:lnTo>
                    <a:pt x="3147" y="27933"/>
                  </a:lnTo>
                  <a:lnTo>
                    <a:pt x="393" y="27933"/>
                  </a:lnTo>
                  <a:lnTo>
                    <a:pt x="0" y="31081"/>
                  </a:lnTo>
                  <a:lnTo>
                    <a:pt x="3147" y="31081"/>
                  </a:lnTo>
                  <a:lnTo>
                    <a:pt x="6295" y="30687"/>
                  </a:lnTo>
                  <a:lnTo>
                    <a:pt x="9836" y="30294"/>
                  </a:lnTo>
                  <a:lnTo>
                    <a:pt x="12589" y="30294"/>
                  </a:lnTo>
                  <a:lnTo>
                    <a:pt x="16130" y="29900"/>
                  </a:lnTo>
                  <a:lnTo>
                    <a:pt x="18884" y="29507"/>
                  </a:lnTo>
                  <a:lnTo>
                    <a:pt x="22425" y="29114"/>
                  </a:lnTo>
                  <a:lnTo>
                    <a:pt x="25573" y="28720"/>
                  </a:lnTo>
                  <a:lnTo>
                    <a:pt x="28327" y="28327"/>
                  </a:lnTo>
                  <a:lnTo>
                    <a:pt x="31867" y="28720"/>
                  </a:lnTo>
                  <a:lnTo>
                    <a:pt x="34621" y="28327"/>
                  </a:lnTo>
                  <a:lnTo>
                    <a:pt x="37769" y="27933"/>
                  </a:lnTo>
                  <a:lnTo>
                    <a:pt x="40523" y="27933"/>
                  </a:lnTo>
                  <a:lnTo>
                    <a:pt x="43670" y="27540"/>
                  </a:lnTo>
                  <a:lnTo>
                    <a:pt x="46424" y="27146"/>
                  </a:lnTo>
                  <a:lnTo>
                    <a:pt x="52719" y="27146"/>
                  </a:lnTo>
                  <a:lnTo>
                    <a:pt x="55473" y="26753"/>
                  </a:lnTo>
                  <a:lnTo>
                    <a:pt x="59014" y="26753"/>
                  </a:lnTo>
                  <a:lnTo>
                    <a:pt x="55473" y="29507"/>
                  </a:lnTo>
                  <a:lnTo>
                    <a:pt x="55080" y="29900"/>
                  </a:lnTo>
                  <a:lnTo>
                    <a:pt x="54686" y="30294"/>
                  </a:lnTo>
                  <a:lnTo>
                    <a:pt x="51539" y="30687"/>
                  </a:lnTo>
                  <a:lnTo>
                    <a:pt x="48391" y="31081"/>
                  </a:lnTo>
                  <a:lnTo>
                    <a:pt x="51932" y="31474"/>
                  </a:lnTo>
                  <a:lnTo>
                    <a:pt x="53899" y="31474"/>
                  </a:lnTo>
                  <a:lnTo>
                    <a:pt x="53506" y="31868"/>
                  </a:lnTo>
                  <a:lnTo>
                    <a:pt x="49572" y="31868"/>
                  </a:lnTo>
                  <a:lnTo>
                    <a:pt x="46031" y="32261"/>
                  </a:lnTo>
                  <a:lnTo>
                    <a:pt x="49178" y="32261"/>
                  </a:lnTo>
                  <a:lnTo>
                    <a:pt x="46031" y="32654"/>
                  </a:lnTo>
                  <a:lnTo>
                    <a:pt x="42883" y="32654"/>
                  </a:lnTo>
                  <a:lnTo>
                    <a:pt x="40129" y="33048"/>
                  </a:lnTo>
                  <a:lnTo>
                    <a:pt x="36982" y="33048"/>
                  </a:lnTo>
                  <a:lnTo>
                    <a:pt x="40129" y="34228"/>
                  </a:lnTo>
                  <a:lnTo>
                    <a:pt x="36982" y="35015"/>
                  </a:lnTo>
                  <a:lnTo>
                    <a:pt x="34228" y="35015"/>
                  </a:lnTo>
                  <a:lnTo>
                    <a:pt x="37769" y="36589"/>
                  </a:lnTo>
                  <a:lnTo>
                    <a:pt x="40916" y="36195"/>
                  </a:lnTo>
                  <a:lnTo>
                    <a:pt x="37769" y="36982"/>
                  </a:lnTo>
                  <a:lnTo>
                    <a:pt x="40523" y="37376"/>
                  </a:lnTo>
                  <a:lnTo>
                    <a:pt x="44064" y="37769"/>
                  </a:lnTo>
                  <a:lnTo>
                    <a:pt x="44850" y="37769"/>
                  </a:lnTo>
                  <a:lnTo>
                    <a:pt x="44457" y="38162"/>
                  </a:lnTo>
                  <a:lnTo>
                    <a:pt x="35408" y="38162"/>
                  </a:lnTo>
                  <a:lnTo>
                    <a:pt x="32261" y="38949"/>
                  </a:lnTo>
                  <a:lnTo>
                    <a:pt x="31867" y="41703"/>
                  </a:lnTo>
                  <a:lnTo>
                    <a:pt x="35015" y="44457"/>
                  </a:lnTo>
                  <a:lnTo>
                    <a:pt x="36589" y="44457"/>
                  </a:lnTo>
                  <a:lnTo>
                    <a:pt x="39736" y="44457"/>
                  </a:lnTo>
                  <a:lnTo>
                    <a:pt x="42490" y="44851"/>
                  </a:lnTo>
                  <a:lnTo>
                    <a:pt x="45637" y="44851"/>
                  </a:lnTo>
                  <a:lnTo>
                    <a:pt x="48391" y="44457"/>
                  </a:lnTo>
                  <a:lnTo>
                    <a:pt x="51539" y="42490"/>
                  </a:lnTo>
                  <a:lnTo>
                    <a:pt x="54293" y="40916"/>
                  </a:lnTo>
                  <a:lnTo>
                    <a:pt x="51539" y="42883"/>
                  </a:lnTo>
                  <a:lnTo>
                    <a:pt x="54686" y="44457"/>
                  </a:lnTo>
                  <a:lnTo>
                    <a:pt x="57440" y="44064"/>
                  </a:lnTo>
                  <a:lnTo>
                    <a:pt x="60588" y="42490"/>
                  </a:lnTo>
                  <a:lnTo>
                    <a:pt x="63342" y="44064"/>
                  </a:lnTo>
                  <a:lnTo>
                    <a:pt x="66489" y="43670"/>
                  </a:lnTo>
                  <a:lnTo>
                    <a:pt x="70030" y="43277"/>
                  </a:lnTo>
                  <a:lnTo>
                    <a:pt x="73177" y="42883"/>
                  </a:lnTo>
                  <a:lnTo>
                    <a:pt x="75931" y="42883"/>
                  </a:lnTo>
                  <a:lnTo>
                    <a:pt x="78685" y="43277"/>
                  </a:lnTo>
                  <a:lnTo>
                    <a:pt x="80259" y="40523"/>
                  </a:lnTo>
                  <a:lnTo>
                    <a:pt x="83406" y="38162"/>
                  </a:lnTo>
                  <a:lnTo>
                    <a:pt x="83800" y="40916"/>
                  </a:lnTo>
                  <a:lnTo>
                    <a:pt x="87340" y="40916"/>
                  </a:lnTo>
                  <a:lnTo>
                    <a:pt x="90488" y="40523"/>
                  </a:lnTo>
                  <a:lnTo>
                    <a:pt x="89308" y="37769"/>
                  </a:lnTo>
                  <a:lnTo>
                    <a:pt x="86160" y="36195"/>
                  </a:lnTo>
                  <a:lnTo>
                    <a:pt x="88914" y="34622"/>
                  </a:lnTo>
                  <a:lnTo>
                    <a:pt x="92062" y="33048"/>
                  </a:lnTo>
                  <a:lnTo>
                    <a:pt x="95209" y="33048"/>
                  </a:lnTo>
                  <a:lnTo>
                    <a:pt x="92062" y="32261"/>
                  </a:lnTo>
                  <a:lnTo>
                    <a:pt x="95209" y="30687"/>
                  </a:lnTo>
                  <a:lnTo>
                    <a:pt x="97963" y="31081"/>
                  </a:lnTo>
                  <a:lnTo>
                    <a:pt x="101110" y="29114"/>
                  </a:lnTo>
                  <a:lnTo>
                    <a:pt x="102291" y="31868"/>
                  </a:lnTo>
                  <a:lnTo>
                    <a:pt x="105045" y="30687"/>
                  </a:lnTo>
                  <a:lnTo>
                    <a:pt x="108192" y="28327"/>
                  </a:lnTo>
                  <a:lnTo>
                    <a:pt x="110946" y="26753"/>
                  </a:lnTo>
                  <a:lnTo>
                    <a:pt x="107405" y="25573"/>
                  </a:lnTo>
                  <a:lnTo>
                    <a:pt x="104651" y="24786"/>
                  </a:lnTo>
                  <a:lnTo>
                    <a:pt x="107799" y="23212"/>
                  </a:lnTo>
                  <a:lnTo>
                    <a:pt x="110946" y="22425"/>
                  </a:lnTo>
                  <a:lnTo>
                    <a:pt x="113700" y="21245"/>
                  </a:lnTo>
                  <a:lnTo>
                    <a:pt x="115274" y="18491"/>
                  </a:lnTo>
                  <a:lnTo>
                    <a:pt x="118028" y="16917"/>
                  </a:lnTo>
                  <a:lnTo>
                    <a:pt x="120782" y="14950"/>
                  </a:lnTo>
                  <a:lnTo>
                    <a:pt x="123929" y="13770"/>
                  </a:lnTo>
                  <a:lnTo>
                    <a:pt x="124323" y="11016"/>
                  </a:lnTo>
                  <a:lnTo>
                    <a:pt x="126290" y="8262"/>
                  </a:lnTo>
                  <a:lnTo>
                    <a:pt x="129044" y="7082"/>
                  </a:lnTo>
                  <a:lnTo>
                    <a:pt x="126290" y="4328"/>
                  </a:lnTo>
                  <a:lnTo>
                    <a:pt x="123536" y="3541"/>
                  </a:lnTo>
                  <a:lnTo>
                    <a:pt x="120782" y="3147"/>
                  </a:lnTo>
                  <a:lnTo>
                    <a:pt x="123536" y="2754"/>
                  </a:lnTo>
                  <a:lnTo>
                    <a:pt x="120388" y="393"/>
                  </a:lnTo>
                  <a:lnTo>
                    <a:pt x="117241" y="0"/>
                  </a:lnTo>
                  <a:lnTo>
                    <a:pt x="114094" y="393"/>
                  </a:lnTo>
                  <a:lnTo>
                    <a:pt x="117241" y="1180"/>
                  </a:lnTo>
                  <a:lnTo>
                    <a:pt x="119995" y="787"/>
                  </a:lnTo>
                  <a:lnTo>
                    <a:pt x="117241" y="1967"/>
                  </a:lnTo>
                  <a:lnTo>
                    <a:pt x="111340" y="1967"/>
                  </a:lnTo>
                  <a:lnTo>
                    <a:pt x="108192" y="2361"/>
                  </a:lnTo>
                  <a:lnTo>
                    <a:pt x="106618" y="5115"/>
                  </a:lnTo>
                  <a:lnTo>
                    <a:pt x="103471" y="5508"/>
                  </a:lnTo>
                  <a:lnTo>
                    <a:pt x="100324" y="7082"/>
                  </a:lnTo>
                  <a:lnTo>
                    <a:pt x="101897" y="4328"/>
                  </a:lnTo>
                  <a:lnTo>
                    <a:pt x="99143" y="4328"/>
                  </a:lnTo>
                  <a:lnTo>
                    <a:pt x="95996" y="2361"/>
                  </a:lnTo>
                  <a:lnTo>
                    <a:pt x="93242" y="1967"/>
                  </a:lnTo>
                  <a:lnTo>
                    <a:pt x="90095" y="1574"/>
                  </a:lnTo>
                  <a:lnTo>
                    <a:pt x="89701" y="1574"/>
                  </a:lnTo>
                  <a:lnTo>
                    <a:pt x="86554" y="1180"/>
                  </a:lnTo>
                  <a:lnTo>
                    <a:pt x="83013" y="1574"/>
                  </a:lnTo>
                  <a:lnTo>
                    <a:pt x="80259" y="1967"/>
                  </a:lnTo>
                  <a:lnTo>
                    <a:pt x="77111" y="2361"/>
                  </a:lnTo>
                  <a:lnTo>
                    <a:pt x="73964" y="2754"/>
                  </a:lnTo>
                  <a:lnTo>
                    <a:pt x="70423" y="3541"/>
                  </a:lnTo>
                  <a:lnTo>
                    <a:pt x="67276" y="3934"/>
                  </a:lnTo>
                  <a:lnTo>
                    <a:pt x="66882" y="6688"/>
                  </a:lnTo>
                  <a:lnTo>
                    <a:pt x="69636" y="7475"/>
                  </a:lnTo>
                  <a:lnTo>
                    <a:pt x="72784" y="7082"/>
                  </a:lnTo>
                  <a:lnTo>
                    <a:pt x="75931" y="7475"/>
                  </a:lnTo>
                  <a:lnTo>
                    <a:pt x="78685" y="9049"/>
                  </a:lnTo>
                  <a:lnTo>
                    <a:pt x="78292" y="9442"/>
                  </a:lnTo>
                  <a:lnTo>
                    <a:pt x="77898" y="9836"/>
                  </a:lnTo>
                  <a:lnTo>
                    <a:pt x="75144" y="9049"/>
                  </a:lnTo>
                  <a:lnTo>
                    <a:pt x="71603" y="9836"/>
                  </a:lnTo>
                  <a:lnTo>
                    <a:pt x="69243" y="9836"/>
                  </a:lnTo>
                  <a:lnTo>
                    <a:pt x="72390" y="12196"/>
                  </a:lnTo>
                  <a:lnTo>
                    <a:pt x="75144" y="11803"/>
                  </a:lnTo>
                  <a:lnTo>
                    <a:pt x="75931" y="11803"/>
                  </a:lnTo>
                  <a:lnTo>
                    <a:pt x="74357" y="13377"/>
                  </a:lnTo>
                  <a:lnTo>
                    <a:pt x="71603" y="13770"/>
                  </a:lnTo>
                  <a:lnTo>
                    <a:pt x="70817" y="16130"/>
                  </a:lnTo>
                  <a:lnTo>
                    <a:pt x="70030" y="16524"/>
                  </a:lnTo>
                  <a:lnTo>
                    <a:pt x="69636" y="16917"/>
                  </a:lnTo>
                  <a:lnTo>
                    <a:pt x="66489" y="19278"/>
                  </a:lnTo>
                  <a:lnTo>
                    <a:pt x="63735" y="19671"/>
                  </a:lnTo>
                  <a:lnTo>
                    <a:pt x="64915" y="16917"/>
                  </a:lnTo>
                  <a:lnTo>
                    <a:pt x="61374" y="15344"/>
                  </a:lnTo>
                  <a:lnTo>
                    <a:pt x="64522" y="14163"/>
                  </a:lnTo>
                  <a:lnTo>
                    <a:pt x="61374" y="14557"/>
                  </a:lnTo>
                  <a:lnTo>
                    <a:pt x="58620" y="14950"/>
                  </a:lnTo>
                  <a:lnTo>
                    <a:pt x="59801" y="12196"/>
                  </a:lnTo>
                  <a:lnTo>
                    <a:pt x="56260" y="11409"/>
                  </a:lnTo>
                  <a:lnTo>
                    <a:pt x="58227" y="8262"/>
                  </a:lnTo>
                  <a:lnTo>
                    <a:pt x="55080" y="6295"/>
                  </a:lnTo>
                  <a:lnTo>
                    <a:pt x="52326" y="5901"/>
                  </a:lnTo>
                  <a:lnTo>
                    <a:pt x="49572" y="5508"/>
                  </a:lnTo>
                  <a:lnTo>
                    <a:pt x="46031" y="5901"/>
                  </a:lnTo>
                  <a:lnTo>
                    <a:pt x="43277" y="6688"/>
                  </a:lnTo>
                  <a:lnTo>
                    <a:pt x="40129" y="8262"/>
                  </a:lnTo>
                  <a:lnTo>
                    <a:pt x="36982" y="9836"/>
                  </a:lnTo>
                  <a:lnTo>
                    <a:pt x="34228" y="11409"/>
                  </a:lnTo>
                  <a:lnTo>
                    <a:pt x="37376" y="11803"/>
                  </a:lnTo>
                  <a:lnTo>
                    <a:pt x="43670" y="11803"/>
                  </a:lnTo>
                  <a:lnTo>
                    <a:pt x="49965" y="11409"/>
                  </a:lnTo>
                  <a:lnTo>
                    <a:pt x="46818" y="12196"/>
                  </a:lnTo>
                  <a:lnTo>
                    <a:pt x="44064" y="12590"/>
                  </a:lnTo>
                  <a:lnTo>
                    <a:pt x="40916" y="12983"/>
                  </a:lnTo>
                  <a:lnTo>
                    <a:pt x="37376" y="14163"/>
                  </a:lnTo>
                  <a:lnTo>
                    <a:pt x="34621" y="15344"/>
                  </a:lnTo>
                  <a:lnTo>
                    <a:pt x="35408" y="18098"/>
                  </a:lnTo>
                  <a:lnTo>
                    <a:pt x="38556" y="17704"/>
                  </a:lnTo>
                  <a:lnTo>
                    <a:pt x="41310" y="17704"/>
                  </a:lnTo>
                  <a:lnTo>
                    <a:pt x="38162" y="18491"/>
                  </a:lnTo>
                  <a:lnTo>
                    <a:pt x="35408" y="19278"/>
                  </a:lnTo>
                  <a:lnTo>
                    <a:pt x="36982" y="22032"/>
                  </a:lnTo>
                  <a:lnTo>
                    <a:pt x="40129" y="22819"/>
                  </a:lnTo>
                  <a:lnTo>
                    <a:pt x="43277" y="22425"/>
                  </a:lnTo>
                  <a:lnTo>
                    <a:pt x="40523" y="23212"/>
                  </a:lnTo>
                  <a:lnTo>
                    <a:pt x="37376" y="23606"/>
                  </a:lnTo>
                  <a:lnTo>
                    <a:pt x="34228" y="23999"/>
                  </a:lnTo>
                  <a:lnTo>
                    <a:pt x="31081" y="21638"/>
                  </a:lnTo>
                  <a:lnTo>
                    <a:pt x="27540" y="20458"/>
                  </a:lnTo>
                  <a:lnTo>
                    <a:pt x="24392" y="21638"/>
                  </a:lnTo>
                  <a:close/>
                  <a:moveTo>
                    <a:pt x="70030" y="18491"/>
                  </a:moveTo>
                  <a:lnTo>
                    <a:pt x="72784" y="19671"/>
                  </a:lnTo>
                  <a:lnTo>
                    <a:pt x="76325" y="19278"/>
                  </a:lnTo>
                  <a:lnTo>
                    <a:pt x="76718" y="19278"/>
                  </a:lnTo>
                  <a:lnTo>
                    <a:pt x="73571" y="20065"/>
                  </a:lnTo>
                  <a:lnTo>
                    <a:pt x="70817" y="20458"/>
                  </a:lnTo>
                  <a:lnTo>
                    <a:pt x="67669" y="20852"/>
                  </a:lnTo>
                  <a:lnTo>
                    <a:pt x="66882" y="20065"/>
                  </a:lnTo>
                  <a:lnTo>
                    <a:pt x="70030" y="1849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7" name="Freeform: Shape 2541">
              <a:extLst>
                <a:ext uri="{FF2B5EF4-FFF2-40B4-BE49-F238E27FC236}">
                  <a16:creationId xmlns:a16="http://schemas.microsoft.com/office/drawing/2014/main" id="{55D610B3-1B07-4248-A9A1-259CBD1B2241}"/>
                </a:ext>
              </a:extLst>
            </p:cNvPr>
            <p:cNvSpPr/>
            <p:nvPr/>
          </p:nvSpPr>
          <p:spPr>
            <a:xfrm>
              <a:off x="3989201" y="1296278"/>
              <a:ext cx="145568" cy="74751"/>
            </a:xfrm>
            <a:custGeom>
              <a:avLst/>
              <a:gdLst>
                <a:gd name="connsiteX0" fmla="*/ 68063 w 145567"/>
                <a:gd name="connsiteY0" fmla="*/ 12196 h 74751"/>
                <a:gd name="connsiteX1" fmla="*/ 70817 w 145567"/>
                <a:gd name="connsiteY1" fmla="*/ 14163 h 74751"/>
                <a:gd name="connsiteX2" fmla="*/ 68063 w 145567"/>
                <a:gd name="connsiteY2" fmla="*/ 16130 h 74751"/>
                <a:gd name="connsiteX3" fmla="*/ 64915 w 145567"/>
                <a:gd name="connsiteY3" fmla="*/ 15344 h 74751"/>
                <a:gd name="connsiteX4" fmla="*/ 61768 w 145567"/>
                <a:gd name="connsiteY4" fmla="*/ 14163 h 74751"/>
                <a:gd name="connsiteX5" fmla="*/ 58621 w 145567"/>
                <a:gd name="connsiteY5" fmla="*/ 13770 h 74751"/>
                <a:gd name="connsiteX6" fmla="*/ 55867 w 145567"/>
                <a:gd name="connsiteY6" fmla="*/ 15344 h 74751"/>
                <a:gd name="connsiteX7" fmla="*/ 53113 w 145567"/>
                <a:gd name="connsiteY7" fmla="*/ 15344 h 74751"/>
                <a:gd name="connsiteX8" fmla="*/ 50359 w 145567"/>
                <a:gd name="connsiteY8" fmla="*/ 16130 h 74751"/>
                <a:gd name="connsiteX9" fmla="*/ 46818 w 145567"/>
                <a:gd name="connsiteY9" fmla="*/ 16917 h 74751"/>
                <a:gd name="connsiteX10" fmla="*/ 49965 w 145567"/>
                <a:gd name="connsiteY10" fmla="*/ 19278 h 74751"/>
                <a:gd name="connsiteX11" fmla="*/ 53506 w 145567"/>
                <a:gd name="connsiteY11" fmla="*/ 21245 h 74751"/>
                <a:gd name="connsiteX12" fmla="*/ 56654 w 145567"/>
                <a:gd name="connsiteY12" fmla="*/ 23212 h 74751"/>
                <a:gd name="connsiteX13" fmla="*/ 59801 w 145567"/>
                <a:gd name="connsiteY13" fmla="*/ 22425 h 74751"/>
                <a:gd name="connsiteX14" fmla="*/ 62948 w 145567"/>
                <a:gd name="connsiteY14" fmla="*/ 22032 h 74751"/>
                <a:gd name="connsiteX15" fmla="*/ 65702 w 145567"/>
                <a:gd name="connsiteY15" fmla="*/ 21245 h 74751"/>
                <a:gd name="connsiteX16" fmla="*/ 68850 w 145567"/>
                <a:gd name="connsiteY16" fmla="*/ 20065 h 74751"/>
                <a:gd name="connsiteX17" fmla="*/ 70817 w 145567"/>
                <a:gd name="connsiteY17" fmla="*/ 22819 h 74751"/>
                <a:gd name="connsiteX18" fmla="*/ 71997 w 145567"/>
                <a:gd name="connsiteY18" fmla="*/ 23999 h 74751"/>
                <a:gd name="connsiteX19" fmla="*/ 70817 w 145567"/>
                <a:gd name="connsiteY19" fmla="*/ 25179 h 74751"/>
                <a:gd name="connsiteX20" fmla="*/ 68063 w 145567"/>
                <a:gd name="connsiteY20" fmla="*/ 23212 h 74751"/>
                <a:gd name="connsiteX21" fmla="*/ 64915 w 145567"/>
                <a:gd name="connsiteY21" fmla="*/ 22819 h 74751"/>
                <a:gd name="connsiteX22" fmla="*/ 61768 w 145567"/>
                <a:gd name="connsiteY22" fmla="*/ 23999 h 74751"/>
                <a:gd name="connsiteX23" fmla="*/ 59014 w 145567"/>
                <a:gd name="connsiteY23" fmla="*/ 25179 h 74751"/>
                <a:gd name="connsiteX24" fmla="*/ 62555 w 145567"/>
                <a:gd name="connsiteY24" fmla="*/ 26360 h 74751"/>
                <a:gd name="connsiteX25" fmla="*/ 62948 w 145567"/>
                <a:gd name="connsiteY25" fmla="*/ 27933 h 74751"/>
                <a:gd name="connsiteX26" fmla="*/ 59014 w 145567"/>
                <a:gd name="connsiteY26" fmla="*/ 29507 h 74751"/>
                <a:gd name="connsiteX27" fmla="*/ 59407 w 145567"/>
                <a:gd name="connsiteY27" fmla="*/ 29114 h 74751"/>
                <a:gd name="connsiteX28" fmla="*/ 56654 w 145567"/>
                <a:gd name="connsiteY28" fmla="*/ 29507 h 74751"/>
                <a:gd name="connsiteX29" fmla="*/ 53506 w 145567"/>
                <a:gd name="connsiteY29" fmla="*/ 31474 h 74751"/>
                <a:gd name="connsiteX30" fmla="*/ 53506 w 145567"/>
                <a:gd name="connsiteY30" fmla="*/ 31868 h 74751"/>
                <a:gd name="connsiteX31" fmla="*/ 40523 w 145567"/>
                <a:gd name="connsiteY31" fmla="*/ 36589 h 74751"/>
                <a:gd name="connsiteX32" fmla="*/ 35408 w 145567"/>
                <a:gd name="connsiteY32" fmla="*/ 38556 h 74751"/>
                <a:gd name="connsiteX33" fmla="*/ 35015 w 145567"/>
                <a:gd name="connsiteY33" fmla="*/ 38556 h 74751"/>
                <a:gd name="connsiteX34" fmla="*/ 31867 w 145567"/>
                <a:gd name="connsiteY34" fmla="*/ 38556 h 74751"/>
                <a:gd name="connsiteX35" fmla="*/ 28720 w 145567"/>
                <a:gd name="connsiteY35" fmla="*/ 37769 h 74751"/>
                <a:gd name="connsiteX36" fmla="*/ 31474 w 145567"/>
                <a:gd name="connsiteY36" fmla="*/ 36589 h 74751"/>
                <a:gd name="connsiteX37" fmla="*/ 28720 w 145567"/>
                <a:gd name="connsiteY37" fmla="*/ 35802 h 74751"/>
                <a:gd name="connsiteX38" fmla="*/ 29114 w 145567"/>
                <a:gd name="connsiteY38" fmla="*/ 33048 h 74751"/>
                <a:gd name="connsiteX39" fmla="*/ 28327 w 145567"/>
                <a:gd name="connsiteY39" fmla="*/ 29900 h 74751"/>
                <a:gd name="connsiteX40" fmla="*/ 25573 w 145567"/>
                <a:gd name="connsiteY40" fmla="*/ 28327 h 74751"/>
                <a:gd name="connsiteX41" fmla="*/ 22425 w 145567"/>
                <a:gd name="connsiteY41" fmla="*/ 27933 h 74751"/>
                <a:gd name="connsiteX42" fmla="*/ 19278 w 145567"/>
                <a:gd name="connsiteY42" fmla="*/ 28327 h 74751"/>
                <a:gd name="connsiteX43" fmla="*/ 16130 w 145567"/>
                <a:gd name="connsiteY43" fmla="*/ 29114 h 74751"/>
                <a:gd name="connsiteX44" fmla="*/ 13377 w 145567"/>
                <a:gd name="connsiteY44" fmla="*/ 29507 h 74751"/>
                <a:gd name="connsiteX45" fmla="*/ 10623 w 145567"/>
                <a:gd name="connsiteY45" fmla="*/ 31081 h 74751"/>
                <a:gd name="connsiteX46" fmla="*/ 7475 w 145567"/>
                <a:gd name="connsiteY46" fmla="*/ 33048 h 74751"/>
                <a:gd name="connsiteX47" fmla="*/ 1180 w 145567"/>
                <a:gd name="connsiteY47" fmla="*/ 35802 h 74751"/>
                <a:gd name="connsiteX48" fmla="*/ 0 w 145567"/>
                <a:gd name="connsiteY48" fmla="*/ 38949 h 74751"/>
                <a:gd name="connsiteX49" fmla="*/ 2360 w 145567"/>
                <a:gd name="connsiteY49" fmla="*/ 41703 h 74751"/>
                <a:gd name="connsiteX50" fmla="*/ 5508 w 145567"/>
                <a:gd name="connsiteY50" fmla="*/ 43277 h 74751"/>
                <a:gd name="connsiteX51" fmla="*/ 8262 w 145567"/>
                <a:gd name="connsiteY51" fmla="*/ 44064 h 74751"/>
                <a:gd name="connsiteX52" fmla="*/ 9442 w 145567"/>
                <a:gd name="connsiteY52" fmla="*/ 46818 h 74751"/>
                <a:gd name="connsiteX53" fmla="*/ 8262 w 145567"/>
                <a:gd name="connsiteY53" fmla="*/ 47211 h 74751"/>
                <a:gd name="connsiteX54" fmla="*/ 6688 w 145567"/>
                <a:gd name="connsiteY54" fmla="*/ 47605 h 74751"/>
                <a:gd name="connsiteX55" fmla="*/ 6295 w 145567"/>
                <a:gd name="connsiteY55" fmla="*/ 47605 h 74751"/>
                <a:gd name="connsiteX56" fmla="*/ 9049 w 145567"/>
                <a:gd name="connsiteY56" fmla="*/ 49572 h 74751"/>
                <a:gd name="connsiteX57" fmla="*/ 9442 w 145567"/>
                <a:gd name="connsiteY57" fmla="*/ 49572 h 74751"/>
                <a:gd name="connsiteX58" fmla="*/ 31081 w 145567"/>
                <a:gd name="connsiteY58" fmla="*/ 61768 h 74751"/>
                <a:gd name="connsiteX59" fmla="*/ 33835 w 145567"/>
                <a:gd name="connsiteY59" fmla="*/ 63735 h 74751"/>
                <a:gd name="connsiteX60" fmla="*/ 33441 w 145567"/>
                <a:gd name="connsiteY60" fmla="*/ 66882 h 74751"/>
                <a:gd name="connsiteX61" fmla="*/ 35408 w 145567"/>
                <a:gd name="connsiteY61" fmla="*/ 70030 h 74751"/>
                <a:gd name="connsiteX62" fmla="*/ 33441 w 145567"/>
                <a:gd name="connsiteY62" fmla="*/ 72784 h 74751"/>
                <a:gd name="connsiteX63" fmla="*/ 32261 w 145567"/>
                <a:gd name="connsiteY63" fmla="*/ 75538 h 74751"/>
                <a:gd name="connsiteX64" fmla="*/ 35408 w 145567"/>
                <a:gd name="connsiteY64" fmla="*/ 75931 h 74751"/>
                <a:gd name="connsiteX65" fmla="*/ 38162 w 145567"/>
                <a:gd name="connsiteY65" fmla="*/ 74751 h 74751"/>
                <a:gd name="connsiteX66" fmla="*/ 40130 w 145567"/>
                <a:gd name="connsiteY66" fmla="*/ 77898 h 74751"/>
                <a:gd name="connsiteX67" fmla="*/ 43277 w 145567"/>
                <a:gd name="connsiteY67" fmla="*/ 77505 h 74751"/>
                <a:gd name="connsiteX68" fmla="*/ 46424 w 145567"/>
                <a:gd name="connsiteY68" fmla="*/ 77112 h 74751"/>
                <a:gd name="connsiteX69" fmla="*/ 49178 w 145567"/>
                <a:gd name="connsiteY69" fmla="*/ 75931 h 74751"/>
                <a:gd name="connsiteX70" fmla="*/ 52326 w 145567"/>
                <a:gd name="connsiteY70" fmla="*/ 74751 h 74751"/>
                <a:gd name="connsiteX71" fmla="*/ 55867 w 145567"/>
                <a:gd name="connsiteY71" fmla="*/ 73964 h 74751"/>
                <a:gd name="connsiteX72" fmla="*/ 58621 w 145567"/>
                <a:gd name="connsiteY72" fmla="*/ 72784 h 74751"/>
                <a:gd name="connsiteX73" fmla="*/ 61768 w 145567"/>
                <a:gd name="connsiteY73" fmla="*/ 71210 h 74751"/>
                <a:gd name="connsiteX74" fmla="*/ 59801 w 145567"/>
                <a:gd name="connsiteY74" fmla="*/ 68456 h 74751"/>
                <a:gd name="connsiteX75" fmla="*/ 59801 w 145567"/>
                <a:gd name="connsiteY75" fmla="*/ 65702 h 74751"/>
                <a:gd name="connsiteX76" fmla="*/ 62555 w 145567"/>
                <a:gd name="connsiteY76" fmla="*/ 62948 h 74751"/>
                <a:gd name="connsiteX77" fmla="*/ 65702 w 145567"/>
                <a:gd name="connsiteY77" fmla="*/ 61768 h 74751"/>
                <a:gd name="connsiteX78" fmla="*/ 68456 w 145567"/>
                <a:gd name="connsiteY78" fmla="*/ 60588 h 74751"/>
                <a:gd name="connsiteX79" fmla="*/ 62161 w 145567"/>
                <a:gd name="connsiteY79" fmla="*/ 64915 h 74751"/>
                <a:gd name="connsiteX80" fmla="*/ 65309 w 145567"/>
                <a:gd name="connsiteY80" fmla="*/ 67669 h 74751"/>
                <a:gd name="connsiteX81" fmla="*/ 68063 w 145567"/>
                <a:gd name="connsiteY81" fmla="*/ 67276 h 74751"/>
                <a:gd name="connsiteX82" fmla="*/ 71210 w 145567"/>
                <a:gd name="connsiteY82" fmla="*/ 67669 h 74751"/>
                <a:gd name="connsiteX83" fmla="*/ 73964 w 145567"/>
                <a:gd name="connsiteY83" fmla="*/ 68456 h 74751"/>
                <a:gd name="connsiteX84" fmla="*/ 77111 w 145567"/>
                <a:gd name="connsiteY84" fmla="*/ 68456 h 74751"/>
                <a:gd name="connsiteX85" fmla="*/ 80652 w 145567"/>
                <a:gd name="connsiteY85" fmla="*/ 67669 h 74751"/>
                <a:gd name="connsiteX86" fmla="*/ 83406 w 145567"/>
                <a:gd name="connsiteY86" fmla="*/ 66882 h 74751"/>
                <a:gd name="connsiteX87" fmla="*/ 86554 w 145567"/>
                <a:gd name="connsiteY87" fmla="*/ 66489 h 74751"/>
                <a:gd name="connsiteX88" fmla="*/ 89308 w 145567"/>
                <a:gd name="connsiteY88" fmla="*/ 64915 h 74751"/>
                <a:gd name="connsiteX89" fmla="*/ 92455 w 145567"/>
                <a:gd name="connsiteY89" fmla="*/ 63735 h 74751"/>
                <a:gd name="connsiteX90" fmla="*/ 95603 w 145567"/>
                <a:gd name="connsiteY90" fmla="*/ 62948 h 74751"/>
                <a:gd name="connsiteX91" fmla="*/ 98750 w 145567"/>
                <a:gd name="connsiteY91" fmla="*/ 61768 h 74751"/>
                <a:gd name="connsiteX92" fmla="*/ 101504 w 145567"/>
                <a:gd name="connsiteY92" fmla="*/ 62948 h 74751"/>
                <a:gd name="connsiteX93" fmla="*/ 104651 w 145567"/>
                <a:gd name="connsiteY93" fmla="*/ 61375 h 74751"/>
                <a:gd name="connsiteX94" fmla="*/ 101504 w 145567"/>
                <a:gd name="connsiteY94" fmla="*/ 60588 h 74751"/>
                <a:gd name="connsiteX95" fmla="*/ 104651 w 145567"/>
                <a:gd name="connsiteY95" fmla="*/ 58621 h 74751"/>
                <a:gd name="connsiteX96" fmla="*/ 107405 w 145567"/>
                <a:gd name="connsiteY96" fmla="*/ 58621 h 74751"/>
                <a:gd name="connsiteX97" fmla="*/ 104258 w 145567"/>
                <a:gd name="connsiteY97" fmla="*/ 56653 h 74751"/>
                <a:gd name="connsiteX98" fmla="*/ 107799 w 145567"/>
                <a:gd name="connsiteY98" fmla="*/ 55867 h 74751"/>
                <a:gd name="connsiteX99" fmla="*/ 110946 w 145567"/>
                <a:gd name="connsiteY99" fmla="*/ 55473 h 74751"/>
                <a:gd name="connsiteX100" fmla="*/ 113700 w 145567"/>
                <a:gd name="connsiteY100" fmla="*/ 52719 h 74751"/>
                <a:gd name="connsiteX101" fmla="*/ 113307 w 145567"/>
                <a:gd name="connsiteY101" fmla="*/ 49965 h 74751"/>
                <a:gd name="connsiteX102" fmla="*/ 110553 w 145567"/>
                <a:gd name="connsiteY102" fmla="*/ 48785 h 74751"/>
                <a:gd name="connsiteX103" fmla="*/ 113307 w 145567"/>
                <a:gd name="connsiteY103" fmla="*/ 48785 h 74751"/>
                <a:gd name="connsiteX104" fmla="*/ 116454 w 145567"/>
                <a:gd name="connsiteY104" fmla="*/ 48391 h 74751"/>
                <a:gd name="connsiteX105" fmla="*/ 119995 w 145567"/>
                <a:gd name="connsiteY105" fmla="*/ 47605 h 74751"/>
                <a:gd name="connsiteX106" fmla="*/ 122749 w 145567"/>
                <a:gd name="connsiteY106" fmla="*/ 46424 h 74751"/>
                <a:gd name="connsiteX107" fmla="*/ 125503 w 145567"/>
                <a:gd name="connsiteY107" fmla="*/ 45637 h 74751"/>
                <a:gd name="connsiteX108" fmla="*/ 126290 w 145567"/>
                <a:gd name="connsiteY108" fmla="*/ 42490 h 74751"/>
                <a:gd name="connsiteX109" fmla="*/ 128257 w 145567"/>
                <a:gd name="connsiteY109" fmla="*/ 39736 h 74751"/>
                <a:gd name="connsiteX110" fmla="*/ 129437 w 145567"/>
                <a:gd name="connsiteY110" fmla="*/ 36982 h 74751"/>
                <a:gd name="connsiteX111" fmla="*/ 126683 w 145567"/>
                <a:gd name="connsiteY111" fmla="*/ 38162 h 74751"/>
                <a:gd name="connsiteX112" fmla="*/ 123142 w 145567"/>
                <a:gd name="connsiteY112" fmla="*/ 38556 h 74751"/>
                <a:gd name="connsiteX113" fmla="*/ 119995 w 145567"/>
                <a:gd name="connsiteY113" fmla="*/ 38949 h 74751"/>
                <a:gd name="connsiteX114" fmla="*/ 117241 w 145567"/>
                <a:gd name="connsiteY114" fmla="*/ 39736 h 74751"/>
                <a:gd name="connsiteX115" fmla="*/ 114094 w 145567"/>
                <a:gd name="connsiteY115" fmla="*/ 40916 h 74751"/>
                <a:gd name="connsiteX116" fmla="*/ 117241 w 145567"/>
                <a:gd name="connsiteY116" fmla="*/ 38556 h 74751"/>
                <a:gd name="connsiteX117" fmla="*/ 118421 w 145567"/>
                <a:gd name="connsiteY117" fmla="*/ 35408 h 74751"/>
                <a:gd name="connsiteX118" fmla="*/ 115274 w 145567"/>
                <a:gd name="connsiteY118" fmla="*/ 34228 h 74751"/>
                <a:gd name="connsiteX119" fmla="*/ 118421 w 145567"/>
                <a:gd name="connsiteY119" fmla="*/ 33441 h 74751"/>
                <a:gd name="connsiteX120" fmla="*/ 119602 w 145567"/>
                <a:gd name="connsiteY120" fmla="*/ 30687 h 74751"/>
                <a:gd name="connsiteX121" fmla="*/ 116454 w 145567"/>
                <a:gd name="connsiteY121" fmla="*/ 29900 h 74751"/>
                <a:gd name="connsiteX122" fmla="*/ 113307 w 145567"/>
                <a:gd name="connsiteY122" fmla="*/ 29507 h 74751"/>
                <a:gd name="connsiteX123" fmla="*/ 110553 w 145567"/>
                <a:gd name="connsiteY123" fmla="*/ 29114 h 74751"/>
                <a:gd name="connsiteX124" fmla="*/ 107012 w 145567"/>
                <a:gd name="connsiteY124" fmla="*/ 29507 h 74751"/>
                <a:gd name="connsiteX125" fmla="*/ 103865 w 145567"/>
                <a:gd name="connsiteY125" fmla="*/ 30294 h 74751"/>
                <a:gd name="connsiteX126" fmla="*/ 100717 w 145567"/>
                <a:gd name="connsiteY126" fmla="*/ 30687 h 74751"/>
                <a:gd name="connsiteX127" fmla="*/ 97963 w 145567"/>
                <a:gd name="connsiteY127" fmla="*/ 32261 h 74751"/>
                <a:gd name="connsiteX128" fmla="*/ 95209 w 145567"/>
                <a:gd name="connsiteY128" fmla="*/ 33441 h 74751"/>
                <a:gd name="connsiteX129" fmla="*/ 96783 w 145567"/>
                <a:gd name="connsiteY129" fmla="*/ 30294 h 74751"/>
                <a:gd name="connsiteX130" fmla="*/ 99537 w 145567"/>
                <a:gd name="connsiteY130" fmla="*/ 29507 h 74751"/>
                <a:gd name="connsiteX131" fmla="*/ 102684 w 145567"/>
                <a:gd name="connsiteY131" fmla="*/ 28327 h 74751"/>
                <a:gd name="connsiteX132" fmla="*/ 105438 w 145567"/>
                <a:gd name="connsiteY132" fmla="*/ 27540 h 74751"/>
                <a:gd name="connsiteX133" fmla="*/ 108586 w 145567"/>
                <a:gd name="connsiteY133" fmla="*/ 26360 h 74751"/>
                <a:gd name="connsiteX134" fmla="*/ 111340 w 145567"/>
                <a:gd name="connsiteY134" fmla="*/ 25573 h 74751"/>
                <a:gd name="connsiteX135" fmla="*/ 114487 w 145567"/>
                <a:gd name="connsiteY135" fmla="*/ 24392 h 74751"/>
                <a:gd name="connsiteX136" fmla="*/ 117241 w 145567"/>
                <a:gd name="connsiteY136" fmla="*/ 23212 h 74751"/>
                <a:gd name="connsiteX137" fmla="*/ 120388 w 145567"/>
                <a:gd name="connsiteY137" fmla="*/ 22425 h 74751"/>
                <a:gd name="connsiteX138" fmla="*/ 123536 w 145567"/>
                <a:gd name="connsiteY138" fmla="*/ 21638 h 74751"/>
                <a:gd name="connsiteX139" fmla="*/ 126683 w 145567"/>
                <a:gd name="connsiteY139" fmla="*/ 21245 h 74751"/>
                <a:gd name="connsiteX140" fmla="*/ 129831 w 145567"/>
                <a:gd name="connsiteY140" fmla="*/ 20852 h 74751"/>
                <a:gd name="connsiteX141" fmla="*/ 132585 w 145567"/>
                <a:gd name="connsiteY141" fmla="*/ 20458 h 74751"/>
                <a:gd name="connsiteX142" fmla="*/ 135732 w 145567"/>
                <a:gd name="connsiteY142" fmla="*/ 19671 h 74751"/>
                <a:gd name="connsiteX143" fmla="*/ 133765 w 145567"/>
                <a:gd name="connsiteY143" fmla="*/ 16917 h 74751"/>
                <a:gd name="connsiteX144" fmla="*/ 131011 w 145567"/>
                <a:gd name="connsiteY144" fmla="*/ 17311 h 74751"/>
                <a:gd name="connsiteX145" fmla="*/ 127864 w 145567"/>
                <a:gd name="connsiteY145" fmla="*/ 17704 h 74751"/>
                <a:gd name="connsiteX146" fmla="*/ 131011 w 145567"/>
                <a:gd name="connsiteY146" fmla="*/ 15344 h 74751"/>
                <a:gd name="connsiteX147" fmla="*/ 133765 w 145567"/>
                <a:gd name="connsiteY147" fmla="*/ 16130 h 74751"/>
                <a:gd name="connsiteX148" fmla="*/ 136912 w 145567"/>
                <a:gd name="connsiteY148" fmla="*/ 14950 h 74751"/>
                <a:gd name="connsiteX149" fmla="*/ 139666 w 145567"/>
                <a:gd name="connsiteY149" fmla="*/ 14950 h 74751"/>
                <a:gd name="connsiteX150" fmla="*/ 143207 w 145567"/>
                <a:gd name="connsiteY150" fmla="*/ 13770 h 74751"/>
                <a:gd name="connsiteX151" fmla="*/ 145961 w 145567"/>
                <a:gd name="connsiteY151" fmla="*/ 13376 h 74751"/>
                <a:gd name="connsiteX152" fmla="*/ 149109 w 145567"/>
                <a:gd name="connsiteY152" fmla="*/ 11803 h 74751"/>
                <a:gd name="connsiteX153" fmla="*/ 148715 w 145567"/>
                <a:gd name="connsiteY153" fmla="*/ 8655 h 74751"/>
                <a:gd name="connsiteX154" fmla="*/ 145568 w 145567"/>
                <a:gd name="connsiteY154" fmla="*/ 6688 h 74751"/>
                <a:gd name="connsiteX155" fmla="*/ 142814 w 145567"/>
                <a:gd name="connsiteY155" fmla="*/ 6688 h 74751"/>
                <a:gd name="connsiteX156" fmla="*/ 139666 w 145567"/>
                <a:gd name="connsiteY156" fmla="*/ 6295 h 74751"/>
                <a:gd name="connsiteX157" fmla="*/ 138486 w 145567"/>
                <a:gd name="connsiteY157" fmla="*/ 5901 h 74751"/>
                <a:gd name="connsiteX158" fmla="*/ 139666 w 145567"/>
                <a:gd name="connsiteY158" fmla="*/ 5508 h 74751"/>
                <a:gd name="connsiteX159" fmla="*/ 136519 w 145567"/>
                <a:gd name="connsiteY159" fmla="*/ 5901 h 74751"/>
                <a:gd name="connsiteX160" fmla="*/ 136125 w 145567"/>
                <a:gd name="connsiteY160" fmla="*/ 5901 h 74751"/>
                <a:gd name="connsiteX161" fmla="*/ 131798 w 145567"/>
                <a:gd name="connsiteY161" fmla="*/ 5901 h 74751"/>
                <a:gd name="connsiteX162" fmla="*/ 133765 w 145567"/>
                <a:gd name="connsiteY162" fmla="*/ 5115 h 74751"/>
                <a:gd name="connsiteX163" fmla="*/ 136912 w 145567"/>
                <a:gd name="connsiteY163" fmla="*/ 4721 h 74751"/>
                <a:gd name="connsiteX164" fmla="*/ 140060 w 145567"/>
                <a:gd name="connsiteY164" fmla="*/ 3934 h 74751"/>
                <a:gd name="connsiteX165" fmla="*/ 142814 w 145567"/>
                <a:gd name="connsiteY165" fmla="*/ 2754 h 74751"/>
                <a:gd name="connsiteX166" fmla="*/ 145568 w 145567"/>
                <a:gd name="connsiteY166" fmla="*/ 1574 h 74751"/>
                <a:gd name="connsiteX167" fmla="*/ 146748 w 145567"/>
                <a:gd name="connsiteY167" fmla="*/ 393 h 74751"/>
                <a:gd name="connsiteX168" fmla="*/ 143601 w 145567"/>
                <a:gd name="connsiteY168" fmla="*/ 0 h 74751"/>
                <a:gd name="connsiteX169" fmla="*/ 140847 w 145567"/>
                <a:gd name="connsiteY169" fmla="*/ 0 h 74751"/>
                <a:gd name="connsiteX170" fmla="*/ 137699 w 145567"/>
                <a:gd name="connsiteY170" fmla="*/ 393 h 74751"/>
                <a:gd name="connsiteX171" fmla="*/ 134552 w 145567"/>
                <a:gd name="connsiteY171" fmla="*/ 787 h 74751"/>
                <a:gd name="connsiteX172" fmla="*/ 131405 w 145567"/>
                <a:gd name="connsiteY172" fmla="*/ 1574 h 74751"/>
                <a:gd name="connsiteX173" fmla="*/ 128650 w 145567"/>
                <a:gd name="connsiteY173" fmla="*/ 1967 h 74751"/>
                <a:gd name="connsiteX174" fmla="*/ 121962 w 145567"/>
                <a:gd name="connsiteY174" fmla="*/ 1967 h 74751"/>
                <a:gd name="connsiteX175" fmla="*/ 118815 w 145567"/>
                <a:gd name="connsiteY175" fmla="*/ 3147 h 74751"/>
                <a:gd name="connsiteX176" fmla="*/ 116061 w 145567"/>
                <a:gd name="connsiteY176" fmla="*/ 3147 h 74751"/>
                <a:gd name="connsiteX177" fmla="*/ 112913 w 145567"/>
                <a:gd name="connsiteY177" fmla="*/ 4328 h 74751"/>
                <a:gd name="connsiteX178" fmla="*/ 109766 w 145567"/>
                <a:gd name="connsiteY178" fmla="*/ 4721 h 74751"/>
                <a:gd name="connsiteX179" fmla="*/ 106618 w 145567"/>
                <a:gd name="connsiteY179" fmla="*/ 5115 h 74751"/>
                <a:gd name="connsiteX180" fmla="*/ 107012 w 145567"/>
                <a:gd name="connsiteY180" fmla="*/ 5115 h 74751"/>
                <a:gd name="connsiteX181" fmla="*/ 96389 w 145567"/>
                <a:gd name="connsiteY181" fmla="*/ 4721 h 74751"/>
                <a:gd name="connsiteX182" fmla="*/ 96389 w 145567"/>
                <a:gd name="connsiteY182" fmla="*/ 4328 h 74751"/>
                <a:gd name="connsiteX183" fmla="*/ 94029 w 145567"/>
                <a:gd name="connsiteY183" fmla="*/ 4721 h 74751"/>
                <a:gd name="connsiteX184" fmla="*/ 91275 w 145567"/>
                <a:gd name="connsiteY184" fmla="*/ 5115 h 74751"/>
                <a:gd name="connsiteX185" fmla="*/ 88128 w 145567"/>
                <a:gd name="connsiteY185" fmla="*/ 5508 h 74751"/>
                <a:gd name="connsiteX186" fmla="*/ 85374 w 145567"/>
                <a:gd name="connsiteY186" fmla="*/ 6688 h 74751"/>
                <a:gd name="connsiteX187" fmla="*/ 88521 w 145567"/>
                <a:gd name="connsiteY187" fmla="*/ 7475 h 74751"/>
                <a:gd name="connsiteX188" fmla="*/ 91275 w 145567"/>
                <a:gd name="connsiteY188" fmla="*/ 7082 h 74751"/>
                <a:gd name="connsiteX189" fmla="*/ 89308 w 145567"/>
                <a:gd name="connsiteY189" fmla="*/ 9049 h 74751"/>
                <a:gd name="connsiteX190" fmla="*/ 85767 w 145567"/>
                <a:gd name="connsiteY190" fmla="*/ 8262 h 74751"/>
                <a:gd name="connsiteX191" fmla="*/ 83013 w 145567"/>
                <a:gd name="connsiteY191" fmla="*/ 7869 h 74751"/>
                <a:gd name="connsiteX192" fmla="*/ 79866 w 145567"/>
                <a:gd name="connsiteY192" fmla="*/ 7082 h 74751"/>
                <a:gd name="connsiteX193" fmla="*/ 77111 w 145567"/>
                <a:gd name="connsiteY193" fmla="*/ 7082 h 74751"/>
                <a:gd name="connsiteX194" fmla="*/ 73964 w 145567"/>
                <a:gd name="connsiteY194" fmla="*/ 8262 h 74751"/>
                <a:gd name="connsiteX195" fmla="*/ 70817 w 145567"/>
                <a:gd name="connsiteY195" fmla="*/ 8262 h 74751"/>
                <a:gd name="connsiteX196" fmla="*/ 68063 w 145567"/>
                <a:gd name="connsiteY196" fmla="*/ 9049 h 74751"/>
                <a:gd name="connsiteX197" fmla="*/ 64915 w 145567"/>
                <a:gd name="connsiteY197" fmla="*/ 10229 h 74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</a:cxnLst>
              <a:rect l="l" t="t" r="r" b="b"/>
              <a:pathLst>
                <a:path w="145567" h="74751">
                  <a:moveTo>
                    <a:pt x="68063" y="12196"/>
                  </a:moveTo>
                  <a:lnTo>
                    <a:pt x="70817" y="14163"/>
                  </a:lnTo>
                  <a:lnTo>
                    <a:pt x="68063" y="16130"/>
                  </a:lnTo>
                  <a:lnTo>
                    <a:pt x="64915" y="15344"/>
                  </a:lnTo>
                  <a:lnTo>
                    <a:pt x="61768" y="14163"/>
                  </a:lnTo>
                  <a:lnTo>
                    <a:pt x="58621" y="13770"/>
                  </a:lnTo>
                  <a:lnTo>
                    <a:pt x="55867" y="15344"/>
                  </a:lnTo>
                  <a:lnTo>
                    <a:pt x="53113" y="15344"/>
                  </a:lnTo>
                  <a:lnTo>
                    <a:pt x="50359" y="16130"/>
                  </a:lnTo>
                  <a:lnTo>
                    <a:pt x="46818" y="16917"/>
                  </a:lnTo>
                  <a:lnTo>
                    <a:pt x="49965" y="19278"/>
                  </a:lnTo>
                  <a:lnTo>
                    <a:pt x="53506" y="21245"/>
                  </a:lnTo>
                  <a:lnTo>
                    <a:pt x="56654" y="23212"/>
                  </a:lnTo>
                  <a:lnTo>
                    <a:pt x="59801" y="22425"/>
                  </a:lnTo>
                  <a:lnTo>
                    <a:pt x="62948" y="22032"/>
                  </a:lnTo>
                  <a:lnTo>
                    <a:pt x="65702" y="21245"/>
                  </a:lnTo>
                  <a:lnTo>
                    <a:pt x="68850" y="20065"/>
                  </a:lnTo>
                  <a:lnTo>
                    <a:pt x="70817" y="22819"/>
                  </a:lnTo>
                  <a:lnTo>
                    <a:pt x="71997" y="23999"/>
                  </a:lnTo>
                  <a:lnTo>
                    <a:pt x="70817" y="25179"/>
                  </a:lnTo>
                  <a:lnTo>
                    <a:pt x="68063" y="23212"/>
                  </a:lnTo>
                  <a:lnTo>
                    <a:pt x="64915" y="22819"/>
                  </a:lnTo>
                  <a:lnTo>
                    <a:pt x="61768" y="23999"/>
                  </a:lnTo>
                  <a:lnTo>
                    <a:pt x="59014" y="25179"/>
                  </a:lnTo>
                  <a:lnTo>
                    <a:pt x="62555" y="26360"/>
                  </a:lnTo>
                  <a:lnTo>
                    <a:pt x="62948" y="27933"/>
                  </a:lnTo>
                  <a:lnTo>
                    <a:pt x="59014" y="29507"/>
                  </a:lnTo>
                  <a:lnTo>
                    <a:pt x="59407" y="29114"/>
                  </a:lnTo>
                  <a:lnTo>
                    <a:pt x="56654" y="29507"/>
                  </a:lnTo>
                  <a:lnTo>
                    <a:pt x="53506" y="31474"/>
                  </a:lnTo>
                  <a:lnTo>
                    <a:pt x="53506" y="31868"/>
                  </a:lnTo>
                  <a:lnTo>
                    <a:pt x="40523" y="36589"/>
                  </a:lnTo>
                  <a:lnTo>
                    <a:pt x="35408" y="38556"/>
                  </a:lnTo>
                  <a:lnTo>
                    <a:pt x="35015" y="38556"/>
                  </a:lnTo>
                  <a:lnTo>
                    <a:pt x="31867" y="38556"/>
                  </a:lnTo>
                  <a:lnTo>
                    <a:pt x="28720" y="37769"/>
                  </a:lnTo>
                  <a:lnTo>
                    <a:pt x="31474" y="36589"/>
                  </a:lnTo>
                  <a:lnTo>
                    <a:pt x="28720" y="35802"/>
                  </a:lnTo>
                  <a:lnTo>
                    <a:pt x="29114" y="33048"/>
                  </a:lnTo>
                  <a:lnTo>
                    <a:pt x="28327" y="29900"/>
                  </a:lnTo>
                  <a:lnTo>
                    <a:pt x="25573" y="28327"/>
                  </a:lnTo>
                  <a:lnTo>
                    <a:pt x="22425" y="27933"/>
                  </a:lnTo>
                  <a:lnTo>
                    <a:pt x="19278" y="28327"/>
                  </a:lnTo>
                  <a:lnTo>
                    <a:pt x="16130" y="29114"/>
                  </a:lnTo>
                  <a:lnTo>
                    <a:pt x="13377" y="29507"/>
                  </a:lnTo>
                  <a:lnTo>
                    <a:pt x="10623" y="31081"/>
                  </a:lnTo>
                  <a:lnTo>
                    <a:pt x="7475" y="33048"/>
                  </a:lnTo>
                  <a:lnTo>
                    <a:pt x="1180" y="35802"/>
                  </a:lnTo>
                  <a:lnTo>
                    <a:pt x="0" y="38949"/>
                  </a:lnTo>
                  <a:lnTo>
                    <a:pt x="2360" y="41703"/>
                  </a:lnTo>
                  <a:lnTo>
                    <a:pt x="5508" y="43277"/>
                  </a:lnTo>
                  <a:lnTo>
                    <a:pt x="8262" y="44064"/>
                  </a:lnTo>
                  <a:lnTo>
                    <a:pt x="9442" y="46818"/>
                  </a:lnTo>
                  <a:lnTo>
                    <a:pt x="8262" y="47211"/>
                  </a:lnTo>
                  <a:lnTo>
                    <a:pt x="6688" y="47605"/>
                  </a:lnTo>
                  <a:lnTo>
                    <a:pt x="6295" y="47605"/>
                  </a:lnTo>
                  <a:lnTo>
                    <a:pt x="9049" y="49572"/>
                  </a:lnTo>
                  <a:lnTo>
                    <a:pt x="9442" y="49572"/>
                  </a:lnTo>
                  <a:lnTo>
                    <a:pt x="31081" y="61768"/>
                  </a:lnTo>
                  <a:lnTo>
                    <a:pt x="33835" y="63735"/>
                  </a:lnTo>
                  <a:lnTo>
                    <a:pt x="33441" y="66882"/>
                  </a:lnTo>
                  <a:lnTo>
                    <a:pt x="35408" y="70030"/>
                  </a:lnTo>
                  <a:lnTo>
                    <a:pt x="33441" y="72784"/>
                  </a:lnTo>
                  <a:lnTo>
                    <a:pt x="32261" y="75538"/>
                  </a:lnTo>
                  <a:lnTo>
                    <a:pt x="35408" y="75931"/>
                  </a:lnTo>
                  <a:lnTo>
                    <a:pt x="38162" y="74751"/>
                  </a:lnTo>
                  <a:lnTo>
                    <a:pt x="40130" y="77898"/>
                  </a:lnTo>
                  <a:lnTo>
                    <a:pt x="43277" y="77505"/>
                  </a:lnTo>
                  <a:lnTo>
                    <a:pt x="46424" y="77112"/>
                  </a:lnTo>
                  <a:lnTo>
                    <a:pt x="49178" y="75931"/>
                  </a:lnTo>
                  <a:lnTo>
                    <a:pt x="52326" y="74751"/>
                  </a:lnTo>
                  <a:lnTo>
                    <a:pt x="55867" y="73964"/>
                  </a:lnTo>
                  <a:lnTo>
                    <a:pt x="58621" y="72784"/>
                  </a:lnTo>
                  <a:lnTo>
                    <a:pt x="61768" y="71210"/>
                  </a:lnTo>
                  <a:lnTo>
                    <a:pt x="59801" y="68456"/>
                  </a:lnTo>
                  <a:lnTo>
                    <a:pt x="59801" y="65702"/>
                  </a:lnTo>
                  <a:lnTo>
                    <a:pt x="62555" y="62948"/>
                  </a:lnTo>
                  <a:lnTo>
                    <a:pt x="65702" y="61768"/>
                  </a:lnTo>
                  <a:lnTo>
                    <a:pt x="68456" y="60588"/>
                  </a:lnTo>
                  <a:lnTo>
                    <a:pt x="62161" y="64915"/>
                  </a:lnTo>
                  <a:lnTo>
                    <a:pt x="65309" y="67669"/>
                  </a:lnTo>
                  <a:lnTo>
                    <a:pt x="68063" y="67276"/>
                  </a:lnTo>
                  <a:lnTo>
                    <a:pt x="71210" y="67669"/>
                  </a:lnTo>
                  <a:lnTo>
                    <a:pt x="73964" y="68456"/>
                  </a:lnTo>
                  <a:lnTo>
                    <a:pt x="77111" y="68456"/>
                  </a:lnTo>
                  <a:lnTo>
                    <a:pt x="80652" y="67669"/>
                  </a:lnTo>
                  <a:lnTo>
                    <a:pt x="83406" y="66882"/>
                  </a:lnTo>
                  <a:lnTo>
                    <a:pt x="86554" y="66489"/>
                  </a:lnTo>
                  <a:lnTo>
                    <a:pt x="89308" y="64915"/>
                  </a:lnTo>
                  <a:lnTo>
                    <a:pt x="92455" y="63735"/>
                  </a:lnTo>
                  <a:lnTo>
                    <a:pt x="95603" y="62948"/>
                  </a:lnTo>
                  <a:lnTo>
                    <a:pt x="98750" y="61768"/>
                  </a:lnTo>
                  <a:lnTo>
                    <a:pt x="101504" y="62948"/>
                  </a:lnTo>
                  <a:lnTo>
                    <a:pt x="104651" y="61375"/>
                  </a:lnTo>
                  <a:lnTo>
                    <a:pt x="101504" y="60588"/>
                  </a:lnTo>
                  <a:lnTo>
                    <a:pt x="104651" y="58621"/>
                  </a:lnTo>
                  <a:lnTo>
                    <a:pt x="107405" y="58621"/>
                  </a:lnTo>
                  <a:lnTo>
                    <a:pt x="104258" y="56653"/>
                  </a:lnTo>
                  <a:lnTo>
                    <a:pt x="107799" y="55867"/>
                  </a:lnTo>
                  <a:lnTo>
                    <a:pt x="110946" y="55473"/>
                  </a:lnTo>
                  <a:lnTo>
                    <a:pt x="113700" y="52719"/>
                  </a:lnTo>
                  <a:lnTo>
                    <a:pt x="113307" y="49965"/>
                  </a:lnTo>
                  <a:lnTo>
                    <a:pt x="110553" y="48785"/>
                  </a:lnTo>
                  <a:lnTo>
                    <a:pt x="113307" y="48785"/>
                  </a:lnTo>
                  <a:lnTo>
                    <a:pt x="116454" y="48391"/>
                  </a:lnTo>
                  <a:lnTo>
                    <a:pt x="119995" y="47605"/>
                  </a:lnTo>
                  <a:lnTo>
                    <a:pt x="122749" y="46424"/>
                  </a:lnTo>
                  <a:lnTo>
                    <a:pt x="125503" y="45637"/>
                  </a:lnTo>
                  <a:lnTo>
                    <a:pt x="126290" y="42490"/>
                  </a:lnTo>
                  <a:lnTo>
                    <a:pt x="128257" y="39736"/>
                  </a:lnTo>
                  <a:lnTo>
                    <a:pt x="129437" y="36982"/>
                  </a:lnTo>
                  <a:lnTo>
                    <a:pt x="126683" y="38162"/>
                  </a:lnTo>
                  <a:lnTo>
                    <a:pt x="123142" y="38556"/>
                  </a:lnTo>
                  <a:lnTo>
                    <a:pt x="119995" y="38949"/>
                  </a:lnTo>
                  <a:lnTo>
                    <a:pt x="117241" y="39736"/>
                  </a:lnTo>
                  <a:lnTo>
                    <a:pt x="114094" y="40916"/>
                  </a:lnTo>
                  <a:lnTo>
                    <a:pt x="117241" y="38556"/>
                  </a:lnTo>
                  <a:lnTo>
                    <a:pt x="118421" y="35408"/>
                  </a:lnTo>
                  <a:lnTo>
                    <a:pt x="115274" y="34228"/>
                  </a:lnTo>
                  <a:lnTo>
                    <a:pt x="118421" y="33441"/>
                  </a:lnTo>
                  <a:lnTo>
                    <a:pt x="119602" y="30687"/>
                  </a:lnTo>
                  <a:lnTo>
                    <a:pt x="116454" y="29900"/>
                  </a:lnTo>
                  <a:lnTo>
                    <a:pt x="113307" y="29507"/>
                  </a:lnTo>
                  <a:lnTo>
                    <a:pt x="110553" y="29114"/>
                  </a:lnTo>
                  <a:lnTo>
                    <a:pt x="107012" y="29507"/>
                  </a:lnTo>
                  <a:lnTo>
                    <a:pt x="103865" y="30294"/>
                  </a:lnTo>
                  <a:lnTo>
                    <a:pt x="100717" y="30687"/>
                  </a:lnTo>
                  <a:lnTo>
                    <a:pt x="97963" y="32261"/>
                  </a:lnTo>
                  <a:lnTo>
                    <a:pt x="95209" y="33441"/>
                  </a:lnTo>
                  <a:lnTo>
                    <a:pt x="96783" y="30294"/>
                  </a:lnTo>
                  <a:lnTo>
                    <a:pt x="99537" y="29507"/>
                  </a:lnTo>
                  <a:lnTo>
                    <a:pt x="102684" y="28327"/>
                  </a:lnTo>
                  <a:lnTo>
                    <a:pt x="105438" y="27540"/>
                  </a:lnTo>
                  <a:lnTo>
                    <a:pt x="108586" y="26360"/>
                  </a:lnTo>
                  <a:lnTo>
                    <a:pt x="111340" y="25573"/>
                  </a:lnTo>
                  <a:lnTo>
                    <a:pt x="114487" y="24392"/>
                  </a:lnTo>
                  <a:lnTo>
                    <a:pt x="117241" y="23212"/>
                  </a:lnTo>
                  <a:lnTo>
                    <a:pt x="120388" y="22425"/>
                  </a:lnTo>
                  <a:lnTo>
                    <a:pt x="123536" y="21638"/>
                  </a:lnTo>
                  <a:lnTo>
                    <a:pt x="126683" y="21245"/>
                  </a:lnTo>
                  <a:lnTo>
                    <a:pt x="129831" y="20852"/>
                  </a:lnTo>
                  <a:lnTo>
                    <a:pt x="132585" y="20458"/>
                  </a:lnTo>
                  <a:lnTo>
                    <a:pt x="135732" y="19671"/>
                  </a:lnTo>
                  <a:lnTo>
                    <a:pt x="133765" y="16917"/>
                  </a:lnTo>
                  <a:lnTo>
                    <a:pt x="131011" y="17311"/>
                  </a:lnTo>
                  <a:lnTo>
                    <a:pt x="127864" y="17704"/>
                  </a:lnTo>
                  <a:lnTo>
                    <a:pt x="131011" y="15344"/>
                  </a:lnTo>
                  <a:lnTo>
                    <a:pt x="133765" y="16130"/>
                  </a:lnTo>
                  <a:lnTo>
                    <a:pt x="136912" y="14950"/>
                  </a:lnTo>
                  <a:lnTo>
                    <a:pt x="139666" y="14950"/>
                  </a:lnTo>
                  <a:lnTo>
                    <a:pt x="143207" y="13770"/>
                  </a:lnTo>
                  <a:lnTo>
                    <a:pt x="145961" y="13376"/>
                  </a:lnTo>
                  <a:lnTo>
                    <a:pt x="149109" y="11803"/>
                  </a:lnTo>
                  <a:lnTo>
                    <a:pt x="148715" y="8655"/>
                  </a:lnTo>
                  <a:lnTo>
                    <a:pt x="145568" y="6688"/>
                  </a:lnTo>
                  <a:lnTo>
                    <a:pt x="142814" y="6688"/>
                  </a:lnTo>
                  <a:lnTo>
                    <a:pt x="139666" y="6295"/>
                  </a:lnTo>
                  <a:lnTo>
                    <a:pt x="138486" y="5901"/>
                  </a:lnTo>
                  <a:lnTo>
                    <a:pt x="139666" y="5508"/>
                  </a:lnTo>
                  <a:lnTo>
                    <a:pt x="136519" y="5901"/>
                  </a:lnTo>
                  <a:lnTo>
                    <a:pt x="136125" y="5901"/>
                  </a:lnTo>
                  <a:lnTo>
                    <a:pt x="131798" y="5901"/>
                  </a:lnTo>
                  <a:lnTo>
                    <a:pt x="133765" y="5115"/>
                  </a:lnTo>
                  <a:lnTo>
                    <a:pt x="136912" y="4721"/>
                  </a:lnTo>
                  <a:lnTo>
                    <a:pt x="140060" y="3934"/>
                  </a:lnTo>
                  <a:lnTo>
                    <a:pt x="142814" y="2754"/>
                  </a:lnTo>
                  <a:lnTo>
                    <a:pt x="145568" y="1574"/>
                  </a:lnTo>
                  <a:lnTo>
                    <a:pt x="146748" y="393"/>
                  </a:lnTo>
                  <a:lnTo>
                    <a:pt x="143601" y="0"/>
                  </a:lnTo>
                  <a:lnTo>
                    <a:pt x="140847" y="0"/>
                  </a:lnTo>
                  <a:lnTo>
                    <a:pt x="137699" y="393"/>
                  </a:lnTo>
                  <a:lnTo>
                    <a:pt x="134552" y="787"/>
                  </a:lnTo>
                  <a:lnTo>
                    <a:pt x="131405" y="1574"/>
                  </a:lnTo>
                  <a:lnTo>
                    <a:pt x="128650" y="1967"/>
                  </a:lnTo>
                  <a:lnTo>
                    <a:pt x="121962" y="1967"/>
                  </a:lnTo>
                  <a:lnTo>
                    <a:pt x="118815" y="3147"/>
                  </a:lnTo>
                  <a:lnTo>
                    <a:pt x="116061" y="3147"/>
                  </a:lnTo>
                  <a:lnTo>
                    <a:pt x="112913" y="4328"/>
                  </a:lnTo>
                  <a:lnTo>
                    <a:pt x="109766" y="4721"/>
                  </a:lnTo>
                  <a:lnTo>
                    <a:pt x="106618" y="5115"/>
                  </a:lnTo>
                  <a:lnTo>
                    <a:pt x="107012" y="5115"/>
                  </a:lnTo>
                  <a:lnTo>
                    <a:pt x="96389" y="4721"/>
                  </a:lnTo>
                  <a:lnTo>
                    <a:pt x="96389" y="4328"/>
                  </a:lnTo>
                  <a:lnTo>
                    <a:pt x="94029" y="4721"/>
                  </a:lnTo>
                  <a:lnTo>
                    <a:pt x="91275" y="5115"/>
                  </a:lnTo>
                  <a:lnTo>
                    <a:pt x="88128" y="5508"/>
                  </a:lnTo>
                  <a:lnTo>
                    <a:pt x="85374" y="6688"/>
                  </a:lnTo>
                  <a:lnTo>
                    <a:pt x="88521" y="7475"/>
                  </a:lnTo>
                  <a:lnTo>
                    <a:pt x="91275" y="7082"/>
                  </a:lnTo>
                  <a:lnTo>
                    <a:pt x="89308" y="9049"/>
                  </a:lnTo>
                  <a:lnTo>
                    <a:pt x="85767" y="8262"/>
                  </a:lnTo>
                  <a:lnTo>
                    <a:pt x="83013" y="7869"/>
                  </a:lnTo>
                  <a:lnTo>
                    <a:pt x="79866" y="7082"/>
                  </a:lnTo>
                  <a:lnTo>
                    <a:pt x="77111" y="7082"/>
                  </a:lnTo>
                  <a:lnTo>
                    <a:pt x="73964" y="8262"/>
                  </a:lnTo>
                  <a:lnTo>
                    <a:pt x="70817" y="8262"/>
                  </a:lnTo>
                  <a:lnTo>
                    <a:pt x="68063" y="9049"/>
                  </a:lnTo>
                  <a:lnTo>
                    <a:pt x="64915" y="1022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8" name="Freeform: Shape 2542">
              <a:extLst>
                <a:ext uri="{FF2B5EF4-FFF2-40B4-BE49-F238E27FC236}">
                  <a16:creationId xmlns:a16="http://schemas.microsoft.com/office/drawing/2014/main" id="{41494D34-015A-4A41-8886-40569B749C34}"/>
                </a:ext>
              </a:extLst>
            </p:cNvPr>
            <p:cNvSpPr/>
            <p:nvPr/>
          </p:nvSpPr>
          <p:spPr>
            <a:xfrm>
              <a:off x="4023036" y="1260869"/>
              <a:ext cx="23606" cy="7869"/>
            </a:xfrm>
            <a:custGeom>
              <a:avLst/>
              <a:gdLst>
                <a:gd name="connsiteX0" fmla="*/ 5115 w 23605"/>
                <a:gd name="connsiteY0" fmla="*/ 11016 h 7868"/>
                <a:gd name="connsiteX1" fmla="*/ 8262 w 23605"/>
                <a:gd name="connsiteY1" fmla="*/ 11016 h 7868"/>
                <a:gd name="connsiteX2" fmla="*/ 11016 w 23605"/>
                <a:gd name="connsiteY2" fmla="*/ 10623 h 7868"/>
                <a:gd name="connsiteX3" fmla="*/ 14163 w 23605"/>
                <a:gd name="connsiteY3" fmla="*/ 10229 h 7868"/>
                <a:gd name="connsiteX4" fmla="*/ 17704 w 23605"/>
                <a:gd name="connsiteY4" fmla="*/ 9836 h 7868"/>
                <a:gd name="connsiteX5" fmla="*/ 18098 w 23605"/>
                <a:gd name="connsiteY5" fmla="*/ 9836 h 7868"/>
                <a:gd name="connsiteX6" fmla="*/ 21245 w 23605"/>
                <a:gd name="connsiteY6" fmla="*/ 9049 h 7868"/>
                <a:gd name="connsiteX7" fmla="*/ 24786 w 23605"/>
                <a:gd name="connsiteY7" fmla="*/ 7869 h 7868"/>
                <a:gd name="connsiteX8" fmla="*/ 25966 w 23605"/>
                <a:gd name="connsiteY8" fmla="*/ 5115 h 7868"/>
                <a:gd name="connsiteX9" fmla="*/ 27147 w 23605"/>
                <a:gd name="connsiteY9" fmla="*/ 1967 h 7868"/>
                <a:gd name="connsiteX10" fmla="*/ 23999 w 23605"/>
                <a:gd name="connsiteY10" fmla="*/ 0 h 7868"/>
                <a:gd name="connsiteX11" fmla="*/ 23606 w 23605"/>
                <a:gd name="connsiteY11" fmla="*/ 0 h 7868"/>
                <a:gd name="connsiteX12" fmla="*/ 20852 w 23605"/>
                <a:gd name="connsiteY12" fmla="*/ 393 h 7868"/>
                <a:gd name="connsiteX13" fmla="*/ 18098 w 23605"/>
                <a:gd name="connsiteY13" fmla="*/ 393 h 7868"/>
                <a:gd name="connsiteX14" fmla="*/ 14950 w 23605"/>
                <a:gd name="connsiteY14" fmla="*/ 1180 h 7868"/>
                <a:gd name="connsiteX15" fmla="*/ 11803 w 23605"/>
                <a:gd name="connsiteY15" fmla="*/ 1967 h 7868"/>
                <a:gd name="connsiteX16" fmla="*/ 8655 w 23605"/>
                <a:gd name="connsiteY16" fmla="*/ 3147 h 7868"/>
                <a:gd name="connsiteX17" fmla="*/ 5901 w 23605"/>
                <a:gd name="connsiteY17" fmla="*/ 5115 h 7868"/>
                <a:gd name="connsiteX18" fmla="*/ 2754 w 23605"/>
                <a:gd name="connsiteY18" fmla="*/ 6295 h 7868"/>
                <a:gd name="connsiteX19" fmla="*/ 0 w 23605"/>
                <a:gd name="connsiteY19" fmla="*/ 7082 h 7868"/>
                <a:gd name="connsiteX20" fmla="*/ 1967 w 23605"/>
                <a:gd name="connsiteY20" fmla="*/ 1022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3605" h="7868">
                  <a:moveTo>
                    <a:pt x="5115" y="11016"/>
                  </a:moveTo>
                  <a:lnTo>
                    <a:pt x="8262" y="11016"/>
                  </a:lnTo>
                  <a:lnTo>
                    <a:pt x="11016" y="10623"/>
                  </a:lnTo>
                  <a:lnTo>
                    <a:pt x="14163" y="10229"/>
                  </a:lnTo>
                  <a:lnTo>
                    <a:pt x="17704" y="9836"/>
                  </a:lnTo>
                  <a:lnTo>
                    <a:pt x="18098" y="9836"/>
                  </a:lnTo>
                  <a:lnTo>
                    <a:pt x="21245" y="9049"/>
                  </a:lnTo>
                  <a:lnTo>
                    <a:pt x="24786" y="7869"/>
                  </a:lnTo>
                  <a:lnTo>
                    <a:pt x="25966" y="5115"/>
                  </a:lnTo>
                  <a:lnTo>
                    <a:pt x="27147" y="1967"/>
                  </a:lnTo>
                  <a:lnTo>
                    <a:pt x="23999" y="0"/>
                  </a:lnTo>
                  <a:lnTo>
                    <a:pt x="23606" y="0"/>
                  </a:lnTo>
                  <a:lnTo>
                    <a:pt x="20852" y="393"/>
                  </a:lnTo>
                  <a:lnTo>
                    <a:pt x="18098" y="393"/>
                  </a:lnTo>
                  <a:lnTo>
                    <a:pt x="14950" y="1180"/>
                  </a:lnTo>
                  <a:lnTo>
                    <a:pt x="11803" y="1967"/>
                  </a:lnTo>
                  <a:lnTo>
                    <a:pt x="8655" y="3147"/>
                  </a:lnTo>
                  <a:lnTo>
                    <a:pt x="5901" y="5115"/>
                  </a:lnTo>
                  <a:lnTo>
                    <a:pt x="2754" y="6295"/>
                  </a:lnTo>
                  <a:lnTo>
                    <a:pt x="0" y="7082"/>
                  </a:lnTo>
                  <a:lnTo>
                    <a:pt x="1967" y="1022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9" name="Freeform: Shape 2543">
              <a:extLst>
                <a:ext uri="{FF2B5EF4-FFF2-40B4-BE49-F238E27FC236}">
                  <a16:creationId xmlns:a16="http://schemas.microsoft.com/office/drawing/2014/main" id="{0F2652A9-8AA4-4CE1-98E2-AEAAF8DB8480}"/>
                </a:ext>
              </a:extLst>
            </p:cNvPr>
            <p:cNvSpPr/>
            <p:nvPr/>
          </p:nvSpPr>
          <p:spPr>
            <a:xfrm>
              <a:off x="3924286" y="1305720"/>
              <a:ext cx="51145" cy="23606"/>
            </a:xfrm>
            <a:custGeom>
              <a:avLst/>
              <a:gdLst>
                <a:gd name="connsiteX0" fmla="*/ 28720 w 51145"/>
                <a:gd name="connsiteY0" fmla="*/ 18491 h 23605"/>
                <a:gd name="connsiteX1" fmla="*/ 31867 w 51145"/>
                <a:gd name="connsiteY1" fmla="*/ 17704 h 23605"/>
                <a:gd name="connsiteX2" fmla="*/ 35015 w 51145"/>
                <a:gd name="connsiteY2" fmla="*/ 16524 h 23605"/>
                <a:gd name="connsiteX3" fmla="*/ 37769 w 51145"/>
                <a:gd name="connsiteY3" fmla="*/ 14950 h 23605"/>
                <a:gd name="connsiteX4" fmla="*/ 40916 w 51145"/>
                <a:gd name="connsiteY4" fmla="*/ 13770 h 23605"/>
                <a:gd name="connsiteX5" fmla="*/ 43670 w 51145"/>
                <a:gd name="connsiteY5" fmla="*/ 12590 h 23605"/>
                <a:gd name="connsiteX6" fmla="*/ 46818 w 51145"/>
                <a:gd name="connsiteY6" fmla="*/ 10623 h 23605"/>
                <a:gd name="connsiteX7" fmla="*/ 49965 w 51145"/>
                <a:gd name="connsiteY7" fmla="*/ 8262 h 23605"/>
                <a:gd name="connsiteX8" fmla="*/ 52719 w 51145"/>
                <a:gd name="connsiteY8" fmla="*/ 6688 h 23605"/>
                <a:gd name="connsiteX9" fmla="*/ 52719 w 51145"/>
                <a:gd name="connsiteY9" fmla="*/ 3934 h 23605"/>
                <a:gd name="connsiteX10" fmla="*/ 49965 w 51145"/>
                <a:gd name="connsiteY10" fmla="*/ 3147 h 23605"/>
                <a:gd name="connsiteX11" fmla="*/ 49965 w 51145"/>
                <a:gd name="connsiteY11" fmla="*/ 2754 h 23605"/>
                <a:gd name="connsiteX12" fmla="*/ 46818 w 51145"/>
                <a:gd name="connsiteY12" fmla="*/ 0 h 23605"/>
                <a:gd name="connsiteX13" fmla="*/ 40916 w 51145"/>
                <a:gd name="connsiteY13" fmla="*/ 0 h 23605"/>
                <a:gd name="connsiteX14" fmla="*/ 37769 w 51145"/>
                <a:gd name="connsiteY14" fmla="*/ 393 h 23605"/>
                <a:gd name="connsiteX15" fmla="*/ 34621 w 51145"/>
                <a:gd name="connsiteY15" fmla="*/ 787 h 23605"/>
                <a:gd name="connsiteX16" fmla="*/ 22032 w 51145"/>
                <a:gd name="connsiteY16" fmla="*/ 787 h 23605"/>
                <a:gd name="connsiteX17" fmla="*/ 18491 w 51145"/>
                <a:gd name="connsiteY17" fmla="*/ 1180 h 23605"/>
                <a:gd name="connsiteX18" fmla="*/ 15344 w 51145"/>
                <a:gd name="connsiteY18" fmla="*/ 1574 h 23605"/>
                <a:gd name="connsiteX19" fmla="*/ 12590 w 51145"/>
                <a:gd name="connsiteY19" fmla="*/ 2361 h 23605"/>
                <a:gd name="connsiteX20" fmla="*/ 9442 w 51145"/>
                <a:gd name="connsiteY20" fmla="*/ 3934 h 23605"/>
                <a:gd name="connsiteX21" fmla="*/ 6688 w 51145"/>
                <a:gd name="connsiteY21" fmla="*/ 4721 h 23605"/>
                <a:gd name="connsiteX22" fmla="*/ 3934 w 51145"/>
                <a:gd name="connsiteY22" fmla="*/ 5901 h 23605"/>
                <a:gd name="connsiteX23" fmla="*/ 787 w 51145"/>
                <a:gd name="connsiteY23" fmla="*/ 6688 h 23605"/>
                <a:gd name="connsiteX24" fmla="*/ 0 w 51145"/>
                <a:gd name="connsiteY24" fmla="*/ 7869 h 23605"/>
                <a:gd name="connsiteX25" fmla="*/ 14163 w 51145"/>
                <a:gd name="connsiteY25" fmla="*/ 23999 h 23605"/>
                <a:gd name="connsiteX26" fmla="*/ 17311 w 51145"/>
                <a:gd name="connsiteY26" fmla="*/ 24392 h 23605"/>
                <a:gd name="connsiteX27" fmla="*/ 20065 w 51145"/>
                <a:gd name="connsiteY27" fmla="*/ 22425 h 23605"/>
                <a:gd name="connsiteX28" fmla="*/ 22819 w 51145"/>
                <a:gd name="connsiteY28" fmla="*/ 21245 h 23605"/>
                <a:gd name="connsiteX29" fmla="*/ 25966 w 51145"/>
                <a:gd name="connsiteY29" fmla="*/ 20458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1145" h="23605">
                  <a:moveTo>
                    <a:pt x="28720" y="18491"/>
                  </a:moveTo>
                  <a:lnTo>
                    <a:pt x="31867" y="17704"/>
                  </a:lnTo>
                  <a:lnTo>
                    <a:pt x="35015" y="16524"/>
                  </a:lnTo>
                  <a:lnTo>
                    <a:pt x="37769" y="14950"/>
                  </a:lnTo>
                  <a:lnTo>
                    <a:pt x="40916" y="13770"/>
                  </a:lnTo>
                  <a:lnTo>
                    <a:pt x="43670" y="12590"/>
                  </a:lnTo>
                  <a:lnTo>
                    <a:pt x="46818" y="10623"/>
                  </a:lnTo>
                  <a:lnTo>
                    <a:pt x="49965" y="8262"/>
                  </a:lnTo>
                  <a:lnTo>
                    <a:pt x="52719" y="6688"/>
                  </a:lnTo>
                  <a:lnTo>
                    <a:pt x="52719" y="3934"/>
                  </a:lnTo>
                  <a:lnTo>
                    <a:pt x="49965" y="3147"/>
                  </a:lnTo>
                  <a:lnTo>
                    <a:pt x="49965" y="2754"/>
                  </a:lnTo>
                  <a:lnTo>
                    <a:pt x="46818" y="0"/>
                  </a:lnTo>
                  <a:lnTo>
                    <a:pt x="40916" y="0"/>
                  </a:lnTo>
                  <a:lnTo>
                    <a:pt x="37769" y="393"/>
                  </a:lnTo>
                  <a:lnTo>
                    <a:pt x="34621" y="787"/>
                  </a:lnTo>
                  <a:lnTo>
                    <a:pt x="22032" y="787"/>
                  </a:lnTo>
                  <a:lnTo>
                    <a:pt x="18491" y="1180"/>
                  </a:lnTo>
                  <a:lnTo>
                    <a:pt x="15344" y="1574"/>
                  </a:lnTo>
                  <a:lnTo>
                    <a:pt x="12590" y="2361"/>
                  </a:lnTo>
                  <a:lnTo>
                    <a:pt x="9442" y="3934"/>
                  </a:lnTo>
                  <a:lnTo>
                    <a:pt x="6688" y="4721"/>
                  </a:lnTo>
                  <a:lnTo>
                    <a:pt x="3934" y="5901"/>
                  </a:lnTo>
                  <a:lnTo>
                    <a:pt x="787" y="6688"/>
                  </a:lnTo>
                  <a:lnTo>
                    <a:pt x="0" y="7869"/>
                  </a:lnTo>
                  <a:lnTo>
                    <a:pt x="14163" y="23999"/>
                  </a:lnTo>
                  <a:lnTo>
                    <a:pt x="17311" y="24392"/>
                  </a:lnTo>
                  <a:lnTo>
                    <a:pt x="20065" y="22425"/>
                  </a:lnTo>
                  <a:lnTo>
                    <a:pt x="22819" y="21245"/>
                  </a:lnTo>
                  <a:lnTo>
                    <a:pt x="25966" y="2045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0" name="Freeform: Shape 2544">
              <a:extLst>
                <a:ext uri="{FF2B5EF4-FFF2-40B4-BE49-F238E27FC236}">
                  <a16:creationId xmlns:a16="http://schemas.microsoft.com/office/drawing/2014/main" id="{78C43BC3-DB3F-472C-84D4-A56CA626BABE}"/>
                </a:ext>
              </a:extLst>
            </p:cNvPr>
            <p:cNvSpPr/>
            <p:nvPr/>
          </p:nvSpPr>
          <p:spPr>
            <a:xfrm>
              <a:off x="4068674" y="1249460"/>
              <a:ext cx="7869" cy="3934"/>
            </a:xfrm>
            <a:custGeom>
              <a:avLst/>
              <a:gdLst>
                <a:gd name="connsiteX0" fmla="*/ 5901 w 7868"/>
                <a:gd name="connsiteY0" fmla="*/ 787 h 0"/>
                <a:gd name="connsiteX1" fmla="*/ 8655 w 7868"/>
                <a:gd name="connsiteY1" fmla="*/ 393 h 0"/>
                <a:gd name="connsiteX2" fmla="*/ 9442 w 7868"/>
                <a:gd name="connsiteY2" fmla="*/ 393 h 0"/>
                <a:gd name="connsiteX3" fmla="*/ 5901 w 7868"/>
                <a:gd name="connsiteY3" fmla="*/ 0 h 0"/>
                <a:gd name="connsiteX4" fmla="*/ 2754 w 7868"/>
                <a:gd name="connsiteY4" fmla="*/ 393 h 0"/>
                <a:gd name="connsiteX5" fmla="*/ 0 w 7868"/>
                <a:gd name="connsiteY5" fmla="*/ 393 h 0"/>
                <a:gd name="connsiteX6" fmla="*/ 2754 w 7868"/>
                <a:gd name="connsiteY6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5901" y="787"/>
                  </a:moveTo>
                  <a:lnTo>
                    <a:pt x="8655" y="393"/>
                  </a:lnTo>
                  <a:lnTo>
                    <a:pt x="9442" y="393"/>
                  </a:lnTo>
                  <a:lnTo>
                    <a:pt x="5901" y="0"/>
                  </a:lnTo>
                  <a:lnTo>
                    <a:pt x="2754" y="393"/>
                  </a:lnTo>
                  <a:lnTo>
                    <a:pt x="0" y="393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1" name="Freeform: Shape 2545">
              <a:extLst>
                <a:ext uri="{FF2B5EF4-FFF2-40B4-BE49-F238E27FC236}">
                  <a16:creationId xmlns:a16="http://schemas.microsoft.com/office/drawing/2014/main" id="{45ECCA6D-09EB-48DF-A151-D70771F2D463}"/>
                </a:ext>
              </a:extLst>
            </p:cNvPr>
            <p:cNvSpPr/>
            <p:nvPr/>
          </p:nvSpPr>
          <p:spPr>
            <a:xfrm>
              <a:off x="4274829" y="1200675"/>
              <a:ext cx="62948" cy="7869"/>
            </a:xfrm>
            <a:custGeom>
              <a:avLst/>
              <a:gdLst>
                <a:gd name="connsiteX0" fmla="*/ 52326 w 62948"/>
                <a:gd name="connsiteY0" fmla="*/ 1574 h 7868"/>
                <a:gd name="connsiteX1" fmla="*/ 49572 w 62948"/>
                <a:gd name="connsiteY1" fmla="*/ 1180 h 7868"/>
                <a:gd name="connsiteX2" fmla="*/ 43670 w 62948"/>
                <a:gd name="connsiteY2" fmla="*/ 1180 h 7868"/>
                <a:gd name="connsiteX3" fmla="*/ 40916 w 62948"/>
                <a:gd name="connsiteY3" fmla="*/ 787 h 7868"/>
                <a:gd name="connsiteX4" fmla="*/ 37376 w 62948"/>
                <a:gd name="connsiteY4" fmla="*/ 393 h 7868"/>
                <a:gd name="connsiteX5" fmla="*/ 34228 w 62948"/>
                <a:gd name="connsiteY5" fmla="*/ 393 h 7868"/>
                <a:gd name="connsiteX6" fmla="*/ 31081 w 62948"/>
                <a:gd name="connsiteY6" fmla="*/ 393 h 7868"/>
                <a:gd name="connsiteX7" fmla="*/ 27933 w 62948"/>
                <a:gd name="connsiteY7" fmla="*/ 1180 h 7868"/>
                <a:gd name="connsiteX8" fmla="*/ 24786 w 62948"/>
                <a:gd name="connsiteY8" fmla="*/ 787 h 7868"/>
                <a:gd name="connsiteX9" fmla="*/ 21638 w 62948"/>
                <a:gd name="connsiteY9" fmla="*/ 0 h 7868"/>
                <a:gd name="connsiteX10" fmla="*/ 18098 w 62948"/>
                <a:gd name="connsiteY10" fmla="*/ 393 h 7868"/>
                <a:gd name="connsiteX11" fmla="*/ 14950 w 62948"/>
                <a:gd name="connsiteY11" fmla="*/ 787 h 7868"/>
                <a:gd name="connsiteX12" fmla="*/ 11803 w 62948"/>
                <a:gd name="connsiteY12" fmla="*/ 1180 h 7868"/>
                <a:gd name="connsiteX13" fmla="*/ 9049 w 62948"/>
                <a:gd name="connsiteY13" fmla="*/ 1574 h 7868"/>
                <a:gd name="connsiteX14" fmla="*/ 5901 w 62948"/>
                <a:gd name="connsiteY14" fmla="*/ 2361 h 7868"/>
                <a:gd name="connsiteX15" fmla="*/ 2754 w 62948"/>
                <a:gd name="connsiteY15" fmla="*/ 3541 h 7868"/>
                <a:gd name="connsiteX16" fmla="*/ 0 w 62948"/>
                <a:gd name="connsiteY16" fmla="*/ 5115 h 7868"/>
                <a:gd name="connsiteX17" fmla="*/ 1967 w 62948"/>
                <a:gd name="connsiteY17" fmla="*/ 7869 h 7868"/>
                <a:gd name="connsiteX18" fmla="*/ 5115 w 62948"/>
                <a:gd name="connsiteY18" fmla="*/ 8262 h 7868"/>
                <a:gd name="connsiteX19" fmla="*/ 14557 w 62948"/>
                <a:gd name="connsiteY19" fmla="*/ 8262 h 7868"/>
                <a:gd name="connsiteX20" fmla="*/ 17704 w 62948"/>
                <a:gd name="connsiteY20" fmla="*/ 8655 h 7868"/>
                <a:gd name="connsiteX21" fmla="*/ 20852 w 62948"/>
                <a:gd name="connsiteY21" fmla="*/ 8262 h 7868"/>
                <a:gd name="connsiteX22" fmla="*/ 23999 w 62948"/>
                <a:gd name="connsiteY22" fmla="*/ 7869 h 7868"/>
                <a:gd name="connsiteX23" fmla="*/ 27540 w 62948"/>
                <a:gd name="connsiteY23" fmla="*/ 8262 h 7868"/>
                <a:gd name="connsiteX24" fmla="*/ 30687 w 62948"/>
                <a:gd name="connsiteY24" fmla="*/ 7869 h 7868"/>
                <a:gd name="connsiteX25" fmla="*/ 33835 w 62948"/>
                <a:gd name="connsiteY25" fmla="*/ 8262 h 7868"/>
                <a:gd name="connsiteX26" fmla="*/ 36589 w 62948"/>
                <a:gd name="connsiteY26" fmla="*/ 8655 h 7868"/>
                <a:gd name="connsiteX27" fmla="*/ 39736 w 62948"/>
                <a:gd name="connsiteY27" fmla="*/ 8655 h 7868"/>
                <a:gd name="connsiteX28" fmla="*/ 42884 w 62948"/>
                <a:gd name="connsiteY28" fmla="*/ 9049 h 7868"/>
                <a:gd name="connsiteX29" fmla="*/ 45638 w 62948"/>
                <a:gd name="connsiteY29" fmla="*/ 8655 h 7868"/>
                <a:gd name="connsiteX30" fmla="*/ 48785 w 62948"/>
                <a:gd name="connsiteY30" fmla="*/ 8655 h 7868"/>
                <a:gd name="connsiteX31" fmla="*/ 51539 w 62948"/>
                <a:gd name="connsiteY31" fmla="*/ 7082 h 7868"/>
                <a:gd name="connsiteX32" fmla="*/ 54293 w 62948"/>
                <a:gd name="connsiteY32" fmla="*/ 5508 h 7868"/>
                <a:gd name="connsiteX33" fmla="*/ 57834 w 62948"/>
                <a:gd name="connsiteY33" fmla="*/ 4328 h 7868"/>
                <a:gd name="connsiteX34" fmla="*/ 60981 w 62948"/>
                <a:gd name="connsiteY34" fmla="*/ 3934 h 7868"/>
                <a:gd name="connsiteX35" fmla="*/ 64129 w 62948"/>
                <a:gd name="connsiteY35" fmla="*/ 2361 h 7868"/>
                <a:gd name="connsiteX36" fmla="*/ 62162 w 62948"/>
                <a:gd name="connsiteY36" fmla="*/ 1574 h 7868"/>
                <a:gd name="connsiteX37" fmla="*/ 58621 w 62948"/>
                <a:gd name="connsiteY37" fmla="*/ 393 h 7868"/>
                <a:gd name="connsiteX38" fmla="*/ 55867 w 62948"/>
                <a:gd name="connsiteY38" fmla="*/ 78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62948" h="7868">
                  <a:moveTo>
                    <a:pt x="52326" y="1574"/>
                  </a:moveTo>
                  <a:lnTo>
                    <a:pt x="49572" y="1180"/>
                  </a:lnTo>
                  <a:lnTo>
                    <a:pt x="43670" y="1180"/>
                  </a:lnTo>
                  <a:lnTo>
                    <a:pt x="40916" y="787"/>
                  </a:lnTo>
                  <a:lnTo>
                    <a:pt x="37376" y="393"/>
                  </a:lnTo>
                  <a:lnTo>
                    <a:pt x="34228" y="393"/>
                  </a:lnTo>
                  <a:lnTo>
                    <a:pt x="31081" y="393"/>
                  </a:lnTo>
                  <a:lnTo>
                    <a:pt x="27933" y="1180"/>
                  </a:lnTo>
                  <a:lnTo>
                    <a:pt x="24786" y="787"/>
                  </a:lnTo>
                  <a:lnTo>
                    <a:pt x="21638" y="0"/>
                  </a:lnTo>
                  <a:lnTo>
                    <a:pt x="18098" y="393"/>
                  </a:lnTo>
                  <a:lnTo>
                    <a:pt x="14950" y="787"/>
                  </a:lnTo>
                  <a:lnTo>
                    <a:pt x="11803" y="1180"/>
                  </a:lnTo>
                  <a:lnTo>
                    <a:pt x="9049" y="1574"/>
                  </a:lnTo>
                  <a:lnTo>
                    <a:pt x="5901" y="2361"/>
                  </a:lnTo>
                  <a:lnTo>
                    <a:pt x="2754" y="3541"/>
                  </a:lnTo>
                  <a:lnTo>
                    <a:pt x="0" y="5115"/>
                  </a:lnTo>
                  <a:lnTo>
                    <a:pt x="1967" y="7869"/>
                  </a:lnTo>
                  <a:lnTo>
                    <a:pt x="5115" y="8262"/>
                  </a:lnTo>
                  <a:lnTo>
                    <a:pt x="14557" y="8262"/>
                  </a:lnTo>
                  <a:lnTo>
                    <a:pt x="17704" y="8655"/>
                  </a:lnTo>
                  <a:lnTo>
                    <a:pt x="20852" y="8262"/>
                  </a:lnTo>
                  <a:lnTo>
                    <a:pt x="23999" y="7869"/>
                  </a:lnTo>
                  <a:lnTo>
                    <a:pt x="27540" y="8262"/>
                  </a:lnTo>
                  <a:lnTo>
                    <a:pt x="30687" y="7869"/>
                  </a:lnTo>
                  <a:lnTo>
                    <a:pt x="33835" y="8262"/>
                  </a:lnTo>
                  <a:lnTo>
                    <a:pt x="36589" y="8655"/>
                  </a:lnTo>
                  <a:lnTo>
                    <a:pt x="39736" y="8655"/>
                  </a:lnTo>
                  <a:lnTo>
                    <a:pt x="42884" y="9049"/>
                  </a:lnTo>
                  <a:lnTo>
                    <a:pt x="45638" y="8655"/>
                  </a:lnTo>
                  <a:lnTo>
                    <a:pt x="48785" y="8655"/>
                  </a:lnTo>
                  <a:lnTo>
                    <a:pt x="51539" y="7082"/>
                  </a:lnTo>
                  <a:lnTo>
                    <a:pt x="54293" y="5508"/>
                  </a:lnTo>
                  <a:lnTo>
                    <a:pt x="57834" y="4328"/>
                  </a:lnTo>
                  <a:lnTo>
                    <a:pt x="60981" y="3934"/>
                  </a:lnTo>
                  <a:lnTo>
                    <a:pt x="64129" y="2361"/>
                  </a:lnTo>
                  <a:lnTo>
                    <a:pt x="62162" y="1574"/>
                  </a:lnTo>
                  <a:lnTo>
                    <a:pt x="58621" y="393"/>
                  </a:lnTo>
                  <a:lnTo>
                    <a:pt x="5586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2" name="Freeform: Shape 2546">
              <a:extLst>
                <a:ext uri="{FF2B5EF4-FFF2-40B4-BE49-F238E27FC236}">
                  <a16:creationId xmlns:a16="http://schemas.microsoft.com/office/drawing/2014/main" id="{C43ED73E-B685-4A4C-A77D-3B4B500C0C46}"/>
                </a:ext>
              </a:extLst>
            </p:cNvPr>
            <p:cNvSpPr/>
            <p:nvPr/>
          </p:nvSpPr>
          <p:spPr>
            <a:xfrm>
              <a:off x="4281517" y="1143628"/>
              <a:ext cx="27540" cy="7869"/>
            </a:xfrm>
            <a:custGeom>
              <a:avLst/>
              <a:gdLst>
                <a:gd name="connsiteX0" fmla="*/ 5508 w 27539"/>
                <a:gd name="connsiteY0" fmla="*/ 5901 h 7868"/>
                <a:gd name="connsiteX1" fmla="*/ 9049 w 27539"/>
                <a:gd name="connsiteY1" fmla="*/ 5901 h 7868"/>
                <a:gd name="connsiteX2" fmla="*/ 12196 w 27539"/>
                <a:gd name="connsiteY2" fmla="*/ 6295 h 7868"/>
                <a:gd name="connsiteX3" fmla="*/ 12196 w 27539"/>
                <a:gd name="connsiteY3" fmla="*/ 9049 h 7868"/>
                <a:gd name="connsiteX4" fmla="*/ 15344 w 27539"/>
                <a:gd name="connsiteY4" fmla="*/ 9836 h 7868"/>
                <a:gd name="connsiteX5" fmla="*/ 18098 w 27539"/>
                <a:gd name="connsiteY5" fmla="*/ 10229 h 7868"/>
                <a:gd name="connsiteX6" fmla="*/ 21245 w 27539"/>
                <a:gd name="connsiteY6" fmla="*/ 9049 h 7868"/>
                <a:gd name="connsiteX7" fmla="*/ 24392 w 27539"/>
                <a:gd name="connsiteY7" fmla="*/ 7869 h 7868"/>
                <a:gd name="connsiteX8" fmla="*/ 26360 w 27539"/>
                <a:gd name="connsiteY8" fmla="*/ 5115 h 7868"/>
                <a:gd name="connsiteX9" fmla="*/ 29114 w 27539"/>
                <a:gd name="connsiteY9" fmla="*/ 3147 h 7868"/>
                <a:gd name="connsiteX10" fmla="*/ 27933 w 27539"/>
                <a:gd name="connsiteY10" fmla="*/ 393 h 7868"/>
                <a:gd name="connsiteX11" fmla="*/ 24786 w 27539"/>
                <a:gd name="connsiteY11" fmla="*/ 393 h 7868"/>
                <a:gd name="connsiteX12" fmla="*/ 21638 w 27539"/>
                <a:gd name="connsiteY12" fmla="*/ 787 h 7868"/>
                <a:gd name="connsiteX13" fmla="*/ 18491 w 27539"/>
                <a:gd name="connsiteY13" fmla="*/ 0 h 7868"/>
                <a:gd name="connsiteX14" fmla="*/ 15344 w 27539"/>
                <a:gd name="connsiteY14" fmla="*/ 0 h 7868"/>
                <a:gd name="connsiteX15" fmla="*/ 12590 w 27539"/>
                <a:gd name="connsiteY15" fmla="*/ 0 h 7868"/>
                <a:gd name="connsiteX16" fmla="*/ 9836 w 27539"/>
                <a:gd name="connsiteY16" fmla="*/ 787 h 7868"/>
                <a:gd name="connsiteX17" fmla="*/ 6295 w 27539"/>
                <a:gd name="connsiteY17" fmla="*/ 1574 h 7868"/>
                <a:gd name="connsiteX18" fmla="*/ 3147 w 27539"/>
                <a:gd name="connsiteY18" fmla="*/ 3147 h 7868"/>
                <a:gd name="connsiteX19" fmla="*/ 2754 w 27539"/>
                <a:gd name="connsiteY19" fmla="*/ 3541 h 7868"/>
                <a:gd name="connsiteX20" fmla="*/ 0 w 27539"/>
                <a:gd name="connsiteY20" fmla="*/ 5901 h 7868"/>
                <a:gd name="connsiteX21" fmla="*/ 1967 w 27539"/>
                <a:gd name="connsiteY21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7539" h="7868">
                  <a:moveTo>
                    <a:pt x="5508" y="5901"/>
                  </a:moveTo>
                  <a:lnTo>
                    <a:pt x="9049" y="5901"/>
                  </a:lnTo>
                  <a:lnTo>
                    <a:pt x="12196" y="6295"/>
                  </a:lnTo>
                  <a:lnTo>
                    <a:pt x="12196" y="9049"/>
                  </a:lnTo>
                  <a:lnTo>
                    <a:pt x="15344" y="9836"/>
                  </a:lnTo>
                  <a:lnTo>
                    <a:pt x="18098" y="10229"/>
                  </a:lnTo>
                  <a:lnTo>
                    <a:pt x="21245" y="9049"/>
                  </a:lnTo>
                  <a:lnTo>
                    <a:pt x="24392" y="7869"/>
                  </a:lnTo>
                  <a:lnTo>
                    <a:pt x="26360" y="5115"/>
                  </a:lnTo>
                  <a:lnTo>
                    <a:pt x="29114" y="3147"/>
                  </a:lnTo>
                  <a:lnTo>
                    <a:pt x="27933" y="393"/>
                  </a:lnTo>
                  <a:lnTo>
                    <a:pt x="24786" y="393"/>
                  </a:lnTo>
                  <a:lnTo>
                    <a:pt x="21638" y="787"/>
                  </a:lnTo>
                  <a:lnTo>
                    <a:pt x="18491" y="0"/>
                  </a:lnTo>
                  <a:lnTo>
                    <a:pt x="15344" y="0"/>
                  </a:lnTo>
                  <a:lnTo>
                    <a:pt x="12590" y="0"/>
                  </a:lnTo>
                  <a:lnTo>
                    <a:pt x="9836" y="787"/>
                  </a:lnTo>
                  <a:lnTo>
                    <a:pt x="6295" y="1574"/>
                  </a:lnTo>
                  <a:lnTo>
                    <a:pt x="3147" y="3147"/>
                  </a:lnTo>
                  <a:lnTo>
                    <a:pt x="2754" y="3541"/>
                  </a:lnTo>
                  <a:lnTo>
                    <a:pt x="0" y="5901"/>
                  </a:lnTo>
                  <a:lnTo>
                    <a:pt x="196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3" name="Freeform: Shape 2547">
              <a:extLst>
                <a:ext uri="{FF2B5EF4-FFF2-40B4-BE49-F238E27FC236}">
                  <a16:creationId xmlns:a16="http://schemas.microsoft.com/office/drawing/2014/main" id="{6E34D563-6D68-4517-B60D-9262C804C51A}"/>
                </a:ext>
              </a:extLst>
            </p:cNvPr>
            <p:cNvSpPr/>
            <p:nvPr/>
          </p:nvSpPr>
          <p:spPr>
            <a:xfrm>
              <a:off x="4327941" y="1188479"/>
              <a:ext cx="3934" cy="3934"/>
            </a:xfrm>
            <a:custGeom>
              <a:avLst/>
              <a:gdLst>
                <a:gd name="connsiteX0" fmla="*/ 2754 w 3934"/>
                <a:gd name="connsiteY0" fmla="*/ 3147 h 0"/>
                <a:gd name="connsiteX1" fmla="*/ 3934 w 3934"/>
                <a:gd name="connsiteY1" fmla="*/ 393 h 0"/>
                <a:gd name="connsiteX2" fmla="*/ 3148 w 3934"/>
                <a:gd name="connsiteY2" fmla="*/ 0 h 0"/>
                <a:gd name="connsiteX3" fmla="*/ 0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2754" y="3147"/>
                  </a:moveTo>
                  <a:lnTo>
                    <a:pt x="3934" y="393"/>
                  </a:lnTo>
                  <a:lnTo>
                    <a:pt x="3148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4" name="Freeform: Shape 2548">
              <a:extLst>
                <a:ext uri="{FF2B5EF4-FFF2-40B4-BE49-F238E27FC236}">
                  <a16:creationId xmlns:a16="http://schemas.microsoft.com/office/drawing/2014/main" id="{66573F4E-88F2-49E9-A2DB-40473B53DE47}"/>
                </a:ext>
              </a:extLst>
            </p:cNvPr>
            <p:cNvSpPr/>
            <p:nvPr/>
          </p:nvSpPr>
          <p:spPr>
            <a:xfrm>
              <a:off x="4111557" y="1329719"/>
              <a:ext cx="7869" cy="3934"/>
            </a:xfrm>
            <a:custGeom>
              <a:avLst/>
              <a:gdLst>
                <a:gd name="connsiteX0" fmla="*/ 2361 w 7868"/>
                <a:gd name="connsiteY0" fmla="*/ 1180 h 3934"/>
                <a:gd name="connsiteX1" fmla="*/ 0 w 7868"/>
                <a:gd name="connsiteY1" fmla="*/ 3934 h 3934"/>
                <a:gd name="connsiteX2" fmla="*/ 3148 w 7868"/>
                <a:gd name="connsiteY2" fmla="*/ 3934 h 3934"/>
                <a:gd name="connsiteX3" fmla="*/ 6295 w 7868"/>
                <a:gd name="connsiteY3" fmla="*/ 3147 h 3934"/>
                <a:gd name="connsiteX4" fmla="*/ 8262 w 7868"/>
                <a:gd name="connsiteY4" fmla="*/ 0 h 3934"/>
                <a:gd name="connsiteX5" fmla="*/ 5115 w 7868"/>
                <a:gd name="connsiteY5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2361" y="1180"/>
                  </a:moveTo>
                  <a:lnTo>
                    <a:pt x="0" y="3934"/>
                  </a:lnTo>
                  <a:lnTo>
                    <a:pt x="3148" y="3934"/>
                  </a:lnTo>
                  <a:lnTo>
                    <a:pt x="6295" y="3147"/>
                  </a:lnTo>
                  <a:lnTo>
                    <a:pt x="8262" y="0"/>
                  </a:lnTo>
                  <a:lnTo>
                    <a:pt x="5115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5" name="Freeform: Shape 2549">
              <a:extLst>
                <a:ext uri="{FF2B5EF4-FFF2-40B4-BE49-F238E27FC236}">
                  <a16:creationId xmlns:a16="http://schemas.microsoft.com/office/drawing/2014/main" id="{3CDFFBEE-0AC9-4BBE-B7A5-2EA00C0EE867}"/>
                </a:ext>
              </a:extLst>
            </p:cNvPr>
            <p:cNvSpPr/>
            <p:nvPr/>
          </p:nvSpPr>
          <p:spPr>
            <a:xfrm>
              <a:off x="4112737" y="1358439"/>
              <a:ext cx="3934" cy="3934"/>
            </a:xfrm>
            <a:custGeom>
              <a:avLst/>
              <a:gdLst>
                <a:gd name="connsiteX0" fmla="*/ 0 w 3934"/>
                <a:gd name="connsiteY0" fmla="*/ 3147 h 0"/>
                <a:gd name="connsiteX1" fmla="*/ 3147 w 3934"/>
                <a:gd name="connsiteY1" fmla="*/ 2754 h 0"/>
                <a:gd name="connsiteX2" fmla="*/ 5508 w 3934"/>
                <a:gd name="connsiteY2" fmla="*/ 0 h 0"/>
                <a:gd name="connsiteX3" fmla="*/ 3147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3147"/>
                  </a:moveTo>
                  <a:lnTo>
                    <a:pt x="3147" y="2754"/>
                  </a:lnTo>
                  <a:lnTo>
                    <a:pt x="5508" y="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6" name="Freeform: Shape 2550">
              <a:extLst>
                <a:ext uri="{FF2B5EF4-FFF2-40B4-BE49-F238E27FC236}">
                  <a16:creationId xmlns:a16="http://schemas.microsoft.com/office/drawing/2014/main" id="{B00F4FA7-ED8D-44F0-96BF-96A1B17A5BDC}"/>
                </a:ext>
              </a:extLst>
            </p:cNvPr>
            <p:cNvSpPr/>
            <p:nvPr/>
          </p:nvSpPr>
          <p:spPr>
            <a:xfrm>
              <a:off x="4115098" y="1321457"/>
              <a:ext cx="11803" cy="3934"/>
            </a:xfrm>
            <a:custGeom>
              <a:avLst/>
              <a:gdLst>
                <a:gd name="connsiteX0" fmla="*/ 9836 w 11802"/>
                <a:gd name="connsiteY0" fmla="*/ 4721 h 3934"/>
                <a:gd name="connsiteX1" fmla="*/ 12983 w 11802"/>
                <a:gd name="connsiteY1" fmla="*/ 3147 h 3934"/>
                <a:gd name="connsiteX2" fmla="*/ 11803 w 11802"/>
                <a:gd name="connsiteY2" fmla="*/ 0 h 3934"/>
                <a:gd name="connsiteX3" fmla="*/ 9442 w 11802"/>
                <a:gd name="connsiteY3" fmla="*/ 0 h 3934"/>
                <a:gd name="connsiteX4" fmla="*/ 6295 w 11802"/>
                <a:gd name="connsiteY4" fmla="*/ 787 h 3934"/>
                <a:gd name="connsiteX5" fmla="*/ 3147 w 11802"/>
                <a:gd name="connsiteY5" fmla="*/ 1967 h 3934"/>
                <a:gd name="connsiteX6" fmla="*/ 0 w 11802"/>
                <a:gd name="connsiteY6" fmla="*/ 4328 h 3934"/>
                <a:gd name="connsiteX7" fmla="*/ 787 w 11802"/>
                <a:gd name="connsiteY7" fmla="*/ 7082 h 3934"/>
                <a:gd name="connsiteX8" fmla="*/ 3541 w 11802"/>
                <a:gd name="connsiteY8" fmla="*/ 7082 h 3934"/>
                <a:gd name="connsiteX9" fmla="*/ 6688 w 11802"/>
                <a:gd name="connsiteY9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9836" y="4721"/>
                  </a:moveTo>
                  <a:lnTo>
                    <a:pt x="12983" y="3147"/>
                  </a:lnTo>
                  <a:lnTo>
                    <a:pt x="11803" y="0"/>
                  </a:lnTo>
                  <a:lnTo>
                    <a:pt x="9442" y="0"/>
                  </a:lnTo>
                  <a:lnTo>
                    <a:pt x="6295" y="787"/>
                  </a:lnTo>
                  <a:lnTo>
                    <a:pt x="3147" y="1967"/>
                  </a:lnTo>
                  <a:lnTo>
                    <a:pt x="0" y="4328"/>
                  </a:lnTo>
                  <a:lnTo>
                    <a:pt x="787" y="7082"/>
                  </a:lnTo>
                  <a:lnTo>
                    <a:pt x="3541" y="7082"/>
                  </a:lnTo>
                  <a:lnTo>
                    <a:pt x="6688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7" name="Freeform: Shape 2551">
              <a:extLst>
                <a:ext uri="{FF2B5EF4-FFF2-40B4-BE49-F238E27FC236}">
                  <a16:creationId xmlns:a16="http://schemas.microsoft.com/office/drawing/2014/main" id="{2952D27F-87D8-4244-8638-D2B1D7C83496}"/>
                </a:ext>
              </a:extLst>
            </p:cNvPr>
            <p:cNvSpPr/>
            <p:nvPr/>
          </p:nvSpPr>
          <p:spPr>
            <a:xfrm>
              <a:off x="4118245" y="1290376"/>
              <a:ext cx="3934" cy="3934"/>
            </a:xfrm>
            <a:custGeom>
              <a:avLst/>
              <a:gdLst>
                <a:gd name="connsiteX0" fmla="*/ 0 w 3934"/>
                <a:gd name="connsiteY0" fmla="*/ 787 h 0"/>
                <a:gd name="connsiteX1" fmla="*/ 3147 w 3934"/>
                <a:gd name="connsiteY1" fmla="*/ 787 h 0"/>
                <a:gd name="connsiteX2" fmla="*/ 6295 w 3934"/>
                <a:gd name="connsiteY2" fmla="*/ 0 h 0"/>
                <a:gd name="connsiteX3" fmla="*/ 5901 w 3934"/>
                <a:gd name="connsiteY3" fmla="*/ 0 h 0"/>
                <a:gd name="connsiteX4" fmla="*/ 2754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787"/>
                  </a:moveTo>
                  <a:lnTo>
                    <a:pt x="3147" y="787"/>
                  </a:lnTo>
                  <a:lnTo>
                    <a:pt x="6295" y="0"/>
                  </a:lnTo>
                  <a:lnTo>
                    <a:pt x="5901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8" name="Freeform: Shape 2552">
              <a:extLst>
                <a:ext uri="{FF2B5EF4-FFF2-40B4-BE49-F238E27FC236}">
                  <a16:creationId xmlns:a16="http://schemas.microsoft.com/office/drawing/2014/main" id="{20689991-9349-4747-9000-F28D4ED41B98}"/>
                </a:ext>
              </a:extLst>
            </p:cNvPr>
            <p:cNvSpPr/>
            <p:nvPr/>
          </p:nvSpPr>
          <p:spPr>
            <a:xfrm>
              <a:off x="4145785" y="1282508"/>
              <a:ext cx="11803" cy="3934"/>
            </a:xfrm>
            <a:custGeom>
              <a:avLst/>
              <a:gdLst>
                <a:gd name="connsiteX0" fmla="*/ 5508 w 11802"/>
                <a:gd name="connsiteY0" fmla="*/ 3541 h 3934"/>
                <a:gd name="connsiteX1" fmla="*/ 9049 w 11802"/>
                <a:gd name="connsiteY1" fmla="*/ 2754 h 3934"/>
                <a:gd name="connsiteX2" fmla="*/ 12196 w 11802"/>
                <a:gd name="connsiteY2" fmla="*/ 0 h 3934"/>
                <a:gd name="connsiteX3" fmla="*/ 9442 w 11802"/>
                <a:gd name="connsiteY3" fmla="*/ 393 h 3934"/>
                <a:gd name="connsiteX4" fmla="*/ 6295 w 11802"/>
                <a:gd name="connsiteY4" fmla="*/ 1180 h 3934"/>
                <a:gd name="connsiteX5" fmla="*/ 3147 w 11802"/>
                <a:gd name="connsiteY5" fmla="*/ 2754 h 3934"/>
                <a:gd name="connsiteX6" fmla="*/ 0 w 11802"/>
                <a:gd name="connsiteY6" fmla="*/ 4328 h 3934"/>
                <a:gd name="connsiteX7" fmla="*/ 2754 w 11802"/>
                <a:gd name="connsiteY7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 h="3934">
                  <a:moveTo>
                    <a:pt x="5508" y="3541"/>
                  </a:moveTo>
                  <a:lnTo>
                    <a:pt x="9049" y="2754"/>
                  </a:lnTo>
                  <a:lnTo>
                    <a:pt x="12196" y="0"/>
                  </a:lnTo>
                  <a:lnTo>
                    <a:pt x="9442" y="393"/>
                  </a:lnTo>
                  <a:lnTo>
                    <a:pt x="6295" y="1180"/>
                  </a:lnTo>
                  <a:lnTo>
                    <a:pt x="3147" y="2754"/>
                  </a:lnTo>
                  <a:lnTo>
                    <a:pt x="0" y="4328"/>
                  </a:lnTo>
                  <a:lnTo>
                    <a:pt x="2754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9" name="Freeform: Shape 2553">
              <a:extLst>
                <a:ext uri="{FF2B5EF4-FFF2-40B4-BE49-F238E27FC236}">
                  <a16:creationId xmlns:a16="http://schemas.microsoft.com/office/drawing/2014/main" id="{0F269173-B4AA-4953-B9D7-241E459C9B63}"/>
                </a:ext>
              </a:extLst>
            </p:cNvPr>
            <p:cNvSpPr/>
            <p:nvPr/>
          </p:nvSpPr>
          <p:spPr>
            <a:xfrm>
              <a:off x="4172932" y="1227035"/>
              <a:ext cx="7869" cy="3934"/>
            </a:xfrm>
            <a:custGeom>
              <a:avLst/>
              <a:gdLst>
                <a:gd name="connsiteX0" fmla="*/ 3934 w 7868"/>
                <a:gd name="connsiteY0" fmla="*/ 393 h 0"/>
                <a:gd name="connsiteX1" fmla="*/ 787 w 7868"/>
                <a:gd name="connsiteY1" fmla="*/ 0 h 0"/>
                <a:gd name="connsiteX2" fmla="*/ 393 w 7868"/>
                <a:gd name="connsiteY2" fmla="*/ 393 h 0"/>
                <a:gd name="connsiteX3" fmla="*/ 0 w 7868"/>
                <a:gd name="connsiteY3" fmla="*/ 787 h 0"/>
                <a:gd name="connsiteX4" fmla="*/ 1180 w 7868"/>
                <a:gd name="connsiteY4" fmla="*/ 787 h 0"/>
                <a:gd name="connsiteX5" fmla="*/ 3934 w 7868"/>
                <a:gd name="connsiteY5" fmla="*/ 1180 h 0"/>
                <a:gd name="connsiteX6" fmla="*/ 7082 w 7868"/>
                <a:gd name="connsiteY6" fmla="*/ 2361 h 0"/>
                <a:gd name="connsiteX7" fmla="*/ 10229 w 7868"/>
                <a:gd name="connsiteY7" fmla="*/ 1180 h 0"/>
                <a:gd name="connsiteX8" fmla="*/ 7475 w 7868"/>
                <a:gd name="connsiteY8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>
                  <a:moveTo>
                    <a:pt x="3934" y="393"/>
                  </a:moveTo>
                  <a:lnTo>
                    <a:pt x="787" y="0"/>
                  </a:lnTo>
                  <a:lnTo>
                    <a:pt x="393" y="393"/>
                  </a:lnTo>
                  <a:lnTo>
                    <a:pt x="0" y="787"/>
                  </a:lnTo>
                  <a:lnTo>
                    <a:pt x="1180" y="787"/>
                  </a:lnTo>
                  <a:lnTo>
                    <a:pt x="3934" y="1180"/>
                  </a:lnTo>
                  <a:lnTo>
                    <a:pt x="7082" y="2361"/>
                  </a:lnTo>
                  <a:lnTo>
                    <a:pt x="10229" y="1180"/>
                  </a:lnTo>
                  <a:lnTo>
                    <a:pt x="7475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0" name="Freeform: Shape 2554">
              <a:extLst>
                <a:ext uri="{FF2B5EF4-FFF2-40B4-BE49-F238E27FC236}">
                  <a16:creationId xmlns:a16="http://schemas.microsoft.com/office/drawing/2014/main" id="{3468813A-64A1-49C0-A40D-53AB4F467978}"/>
                </a:ext>
              </a:extLst>
            </p:cNvPr>
            <p:cNvSpPr/>
            <p:nvPr/>
          </p:nvSpPr>
          <p:spPr>
            <a:xfrm>
              <a:off x="4187882" y="1282115"/>
              <a:ext cx="7869" cy="3934"/>
            </a:xfrm>
            <a:custGeom>
              <a:avLst/>
              <a:gdLst>
                <a:gd name="connsiteX0" fmla="*/ 3147 w 7868"/>
                <a:gd name="connsiteY0" fmla="*/ 393 h 3934"/>
                <a:gd name="connsiteX1" fmla="*/ 0 w 7868"/>
                <a:gd name="connsiteY1" fmla="*/ 2361 h 3934"/>
                <a:gd name="connsiteX2" fmla="*/ 3147 w 7868"/>
                <a:gd name="connsiteY2" fmla="*/ 3147 h 3934"/>
                <a:gd name="connsiteX3" fmla="*/ 5901 w 7868"/>
                <a:gd name="connsiteY3" fmla="*/ 3934 h 3934"/>
                <a:gd name="connsiteX4" fmla="*/ 9049 w 7868"/>
                <a:gd name="connsiteY4" fmla="*/ 3541 h 3934"/>
                <a:gd name="connsiteX5" fmla="*/ 9049 w 7868"/>
                <a:gd name="connsiteY5" fmla="*/ 787 h 3934"/>
                <a:gd name="connsiteX6" fmla="*/ 5901 w 7868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3147" y="393"/>
                  </a:moveTo>
                  <a:lnTo>
                    <a:pt x="0" y="2361"/>
                  </a:lnTo>
                  <a:lnTo>
                    <a:pt x="3147" y="3147"/>
                  </a:lnTo>
                  <a:lnTo>
                    <a:pt x="5901" y="3934"/>
                  </a:lnTo>
                  <a:lnTo>
                    <a:pt x="9049" y="3541"/>
                  </a:lnTo>
                  <a:lnTo>
                    <a:pt x="9049" y="787"/>
                  </a:lnTo>
                  <a:lnTo>
                    <a:pt x="590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1" name="Freeform: Shape 2555">
              <a:extLst>
                <a:ext uri="{FF2B5EF4-FFF2-40B4-BE49-F238E27FC236}">
                  <a16:creationId xmlns:a16="http://schemas.microsoft.com/office/drawing/2014/main" id="{7A9FE271-0EDF-4E84-844B-946F8E99AD32}"/>
                </a:ext>
              </a:extLst>
            </p:cNvPr>
            <p:cNvSpPr/>
            <p:nvPr/>
          </p:nvSpPr>
          <p:spPr>
            <a:xfrm>
              <a:off x="4249256" y="1242772"/>
              <a:ext cx="3934" cy="3934"/>
            </a:xfrm>
            <a:custGeom>
              <a:avLst/>
              <a:gdLst>
                <a:gd name="connsiteX0" fmla="*/ 6295 w 3934"/>
                <a:gd name="connsiteY0" fmla="*/ 0 h 0"/>
                <a:gd name="connsiteX1" fmla="*/ 6295 w 3934"/>
                <a:gd name="connsiteY1" fmla="*/ 0 h 0"/>
                <a:gd name="connsiteX2" fmla="*/ 3541 w 3934"/>
                <a:gd name="connsiteY2" fmla="*/ 787 h 0"/>
                <a:gd name="connsiteX3" fmla="*/ 0 w 3934"/>
                <a:gd name="connsiteY3" fmla="*/ 2361 h 0"/>
                <a:gd name="connsiteX4" fmla="*/ 3148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0"/>
                  </a:moveTo>
                  <a:lnTo>
                    <a:pt x="6295" y="0"/>
                  </a:lnTo>
                  <a:lnTo>
                    <a:pt x="3541" y="787"/>
                  </a:lnTo>
                  <a:lnTo>
                    <a:pt x="0" y="2361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2" name="Freeform: Shape 2556">
              <a:extLst>
                <a:ext uri="{FF2B5EF4-FFF2-40B4-BE49-F238E27FC236}">
                  <a16:creationId xmlns:a16="http://schemas.microsoft.com/office/drawing/2014/main" id="{79CE6DBA-8DB2-4D88-BE3F-1B7FDC955237}"/>
                </a:ext>
              </a:extLst>
            </p:cNvPr>
            <p:cNvSpPr/>
            <p:nvPr/>
          </p:nvSpPr>
          <p:spPr>
            <a:xfrm>
              <a:off x="4287025" y="1297458"/>
              <a:ext cx="3934" cy="3934"/>
            </a:xfrm>
            <a:custGeom>
              <a:avLst/>
              <a:gdLst>
                <a:gd name="connsiteX0" fmla="*/ 3147 w 3934"/>
                <a:gd name="connsiteY0" fmla="*/ 393 h 0"/>
                <a:gd name="connsiteX1" fmla="*/ 0 w 3934"/>
                <a:gd name="connsiteY1" fmla="*/ 1967 h 0"/>
                <a:gd name="connsiteX2" fmla="*/ 2754 w 3934"/>
                <a:gd name="connsiteY2" fmla="*/ 1967 h 0"/>
                <a:gd name="connsiteX3" fmla="*/ 5114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147" y="393"/>
                  </a:moveTo>
                  <a:lnTo>
                    <a:pt x="0" y="1967"/>
                  </a:lnTo>
                  <a:lnTo>
                    <a:pt x="2754" y="1967"/>
                  </a:lnTo>
                  <a:lnTo>
                    <a:pt x="511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3" name="Freeform: Shape 2557">
              <a:extLst>
                <a:ext uri="{FF2B5EF4-FFF2-40B4-BE49-F238E27FC236}">
                  <a16:creationId xmlns:a16="http://schemas.microsoft.com/office/drawing/2014/main" id="{12BF09F3-CADB-456A-9789-38ADA6F4CE3B}"/>
                </a:ext>
              </a:extLst>
            </p:cNvPr>
            <p:cNvSpPr/>
            <p:nvPr/>
          </p:nvSpPr>
          <p:spPr>
            <a:xfrm>
              <a:off x="4347219" y="1081074"/>
              <a:ext cx="716036" cy="157371"/>
            </a:xfrm>
            <a:custGeom>
              <a:avLst/>
              <a:gdLst>
                <a:gd name="connsiteX0" fmla="*/ 1967 w 716036"/>
                <a:gd name="connsiteY0" fmla="*/ 71604 h 157370"/>
                <a:gd name="connsiteX1" fmla="*/ 4721 w 716036"/>
                <a:gd name="connsiteY1" fmla="*/ 73177 h 157370"/>
                <a:gd name="connsiteX2" fmla="*/ 7475 w 716036"/>
                <a:gd name="connsiteY2" fmla="*/ 73964 h 157370"/>
                <a:gd name="connsiteX3" fmla="*/ 16524 w 716036"/>
                <a:gd name="connsiteY3" fmla="*/ 73964 h 157370"/>
                <a:gd name="connsiteX4" fmla="*/ 19671 w 716036"/>
                <a:gd name="connsiteY4" fmla="*/ 73571 h 157370"/>
                <a:gd name="connsiteX5" fmla="*/ 22425 w 716036"/>
                <a:gd name="connsiteY5" fmla="*/ 73177 h 157370"/>
                <a:gd name="connsiteX6" fmla="*/ 25966 w 716036"/>
                <a:gd name="connsiteY6" fmla="*/ 73177 h 157370"/>
                <a:gd name="connsiteX7" fmla="*/ 29114 w 716036"/>
                <a:gd name="connsiteY7" fmla="*/ 72390 h 157370"/>
                <a:gd name="connsiteX8" fmla="*/ 31474 w 716036"/>
                <a:gd name="connsiteY8" fmla="*/ 71997 h 157370"/>
                <a:gd name="connsiteX9" fmla="*/ 35015 w 716036"/>
                <a:gd name="connsiteY9" fmla="*/ 72784 h 157370"/>
                <a:gd name="connsiteX10" fmla="*/ 33048 w 716036"/>
                <a:gd name="connsiteY10" fmla="*/ 73177 h 157370"/>
                <a:gd name="connsiteX11" fmla="*/ 29507 w 716036"/>
                <a:gd name="connsiteY11" fmla="*/ 73571 h 157370"/>
                <a:gd name="connsiteX12" fmla="*/ 25966 w 716036"/>
                <a:gd name="connsiteY12" fmla="*/ 74358 h 157370"/>
                <a:gd name="connsiteX13" fmla="*/ 22819 w 716036"/>
                <a:gd name="connsiteY13" fmla="*/ 74751 h 157370"/>
                <a:gd name="connsiteX14" fmla="*/ 19671 w 716036"/>
                <a:gd name="connsiteY14" fmla="*/ 74751 h 157370"/>
                <a:gd name="connsiteX15" fmla="*/ 16130 w 716036"/>
                <a:gd name="connsiteY15" fmla="*/ 75144 h 157370"/>
                <a:gd name="connsiteX16" fmla="*/ 12590 w 716036"/>
                <a:gd name="connsiteY16" fmla="*/ 75144 h 157370"/>
                <a:gd name="connsiteX17" fmla="*/ 9836 w 716036"/>
                <a:gd name="connsiteY17" fmla="*/ 75538 h 157370"/>
                <a:gd name="connsiteX18" fmla="*/ 6688 w 716036"/>
                <a:gd name="connsiteY18" fmla="*/ 75538 h 157370"/>
                <a:gd name="connsiteX19" fmla="*/ 3541 w 716036"/>
                <a:gd name="connsiteY19" fmla="*/ 75931 h 157370"/>
                <a:gd name="connsiteX20" fmla="*/ 393 w 716036"/>
                <a:gd name="connsiteY20" fmla="*/ 77505 h 157370"/>
                <a:gd name="connsiteX21" fmla="*/ 3934 w 716036"/>
                <a:gd name="connsiteY21" fmla="*/ 79866 h 157370"/>
                <a:gd name="connsiteX22" fmla="*/ 7082 w 716036"/>
                <a:gd name="connsiteY22" fmla="*/ 79079 h 157370"/>
                <a:gd name="connsiteX23" fmla="*/ 4721 w 716036"/>
                <a:gd name="connsiteY23" fmla="*/ 81833 h 157370"/>
                <a:gd name="connsiteX24" fmla="*/ 7475 w 716036"/>
                <a:gd name="connsiteY24" fmla="*/ 82226 h 157370"/>
                <a:gd name="connsiteX25" fmla="*/ 10623 w 716036"/>
                <a:gd name="connsiteY25" fmla="*/ 81833 h 157370"/>
                <a:gd name="connsiteX26" fmla="*/ 14163 w 716036"/>
                <a:gd name="connsiteY26" fmla="*/ 81439 h 157370"/>
                <a:gd name="connsiteX27" fmla="*/ 16917 w 716036"/>
                <a:gd name="connsiteY27" fmla="*/ 81046 h 157370"/>
                <a:gd name="connsiteX28" fmla="*/ 20065 w 716036"/>
                <a:gd name="connsiteY28" fmla="*/ 80652 h 157370"/>
                <a:gd name="connsiteX29" fmla="*/ 23606 w 716036"/>
                <a:gd name="connsiteY29" fmla="*/ 79866 h 157370"/>
                <a:gd name="connsiteX30" fmla="*/ 26753 w 716036"/>
                <a:gd name="connsiteY30" fmla="*/ 79079 h 157370"/>
                <a:gd name="connsiteX31" fmla="*/ 29900 w 716036"/>
                <a:gd name="connsiteY31" fmla="*/ 79472 h 157370"/>
                <a:gd name="connsiteX32" fmla="*/ 33441 w 716036"/>
                <a:gd name="connsiteY32" fmla="*/ 79079 h 157370"/>
                <a:gd name="connsiteX33" fmla="*/ 30294 w 716036"/>
                <a:gd name="connsiteY33" fmla="*/ 79866 h 157370"/>
                <a:gd name="connsiteX34" fmla="*/ 27147 w 716036"/>
                <a:gd name="connsiteY34" fmla="*/ 80259 h 157370"/>
                <a:gd name="connsiteX35" fmla="*/ 23999 w 716036"/>
                <a:gd name="connsiteY35" fmla="*/ 81833 h 157370"/>
                <a:gd name="connsiteX36" fmla="*/ 26753 w 716036"/>
                <a:gd name="connsiteY36" fmla="*/ 82226 h 157370"/>
                <a:gd name="connsiteX37" fmla="*/ 29900 w 716036"/>
                <a:gd name="connsiteY37" fmla="*/ 81833 h 157370"/>
                <a:gd name="connsiteX38" fmla="*/ 33441 w 716036"/>
                <a:gd name="connsiteY38" fmla="*/ 81439 h 157370"/>
                <a:gd name="connsiteX39" fmla="*/ 36589 w 716036"/>
                <a:gd name="connsiteY39" fmla="*/ 81046 h 157370"/>
                <a:gd name="connsiteX40" fmla="*/ 39736 w 716036"/>
                <a:gd name="connsiteY40" fmla="*/ 80259 h 157370"/>
                <a:gd name="connsiteX41" fmla="*/ 42490 w 716036"/>
                <a:gd name="connsiteY41" fmla="*/ 79472 h 157370"/>
                <a:gd name="connsiteX42" fmla="*/ 45637 w 716036"/>
                <a:gd name="connsiteY42" fmla="*/ 78292 h 157370"/>
                <a:gd name="connsiteX43" fmla="*/ 42490 w 716036"/>
                <a:gd name="connsiteY43" fmla="*/ 80259 h 157370"/>
                <a:gd name="connsiteX44" fmla="*/ 45244 w 716036"/>
                <a:gd name="connsiteY44" fmla="*/ 79866 h 157370"/>
                <a:gd name="connsiteX45" fmla="*/ 48391 w 716036"/>
                <a:gd name="connsiteY45" fmla="*/ 79472 h 157370"/>
                <a:gd name="connsiteX46" fmla="*/ 51539 w 716036"/>
                <a:gd name="connsiteY46" fmla="*/ 77112 h 157370"/>
                <a:gd name="connsiteX47" fmla="*/ 54686 w 716036"/>
                <a:gd name="connsiteY47" fmla="*/ 78685 h 157370"/>
                <a:gd name="connsiteX48" fmla="*/ 59407 w 716036"/>
                <a:gd name="connsiteY48" fmla="*/ 77898 h 157370"/>
                <a:gd name="connsiteX49" fmla="*/ 62555 w 716036"/>
                <a:gd name="connsiteY49" fmla="*/ 78685 h 157370"/>
                <a:gd name="connsiteX50" fmla="*/ 60981 w 716036"/>
                <a:gd name="connsiteY50" fmla="*/ 78685 h 157370"/>
                <a:gd name="connsiteX51" fmla="*/ 58227 w 716036"/>
                <a:gd name="connsiteY51" fmla="*/ 79472 h 157370"/>
                <a:gd name="connsiteX52" fmla="*/ 61374 w 716036"/>
                <a:gd name="connsiteY52" fmla="*/ 79866 h 157370"/>
                <a:gd name="connsiteX53" fmla="*/ 64915 w 716036"/>
                <a:gd name="connsiteY53" fmla="*/ 80259 h 157370"/>
                <a:gd name="connsiteX54" fmla="*/ 67669 w 716036"/>
                <a:gd name="connsiteY54" fmla="*/ 80652 h 157370"/>
                <a:gd name="connsiteX55" fmla="*/ 70423 w 716036"/>
                <a:gd name="connsiteY55" fmla="*/ 80652 h 157370"/>
                <a:gd name="connsiteX56" fmla="*/ 72391 w 716036"/>
                <a:gd name="connsiteY56" fmla="*/ 81046 h 157370"/>
                <a:gd name="connsiteX57" fmla="*/ 71210 w 716036"/>
                <a:gd name="connsiteY57" fmla="*/ 81046 h 157370"/>
                <a:gd name="connsiteX58" fmla="*/ 68063 w 716036"/>
                <a:gd name="connsiteY58" fmla="*/ 81439 h 157370"/>
                <a:gd name="connsiteX59" fmla="*/ 64915 w 716036"/>
                <a:gd name="connsiteY59" fmla="*/ 81046 h 157370"/>
                <a:gd name="connsiteX60" fmla="*/ 62161 w 716036"/>
                <a:gd name="connsiteY60" fmla="*/ 81439 h 157370"/>
                <a:gd name="connsiteX61" fmla="*/ 56260 w 716036"/>
                <a:gd name="connsiteY61" fmla="*/ 81439 h 157370"/>
                <a:gd name="connsiteX62" fmla="*/ 53113 w 716036"/>
                <a:gd name="connsiteY62" fmla="*/ 82226 h 157370"/>
                <a:gd name="connsiteX63" fmla="*/ 56654 w 716036"/>
                <a:gd name="connsiteY63" fmla="*/ 83406 h 157370"/>
                <a:gd name="connsiteX64" fmla="*/ 59801 w 716036"/>
                <a:gd name="connsiteY64" fmla="*/ 83800 h 157370"/>
                <a:gd name="connsiteX65" fmla="*/ 69637 w 716036"/>
                <a:gd name="connsiteY65" fmla="*/ 83800 h 157370"/>
                <a:gd name="connsiteX66" fmla="*/ 72391 w 716036"/>
                <a:gd name="connsiteY66" fmla="*/ 83406 h 157370"/>
                <a:gd name="connsiteX67" fmla="*/ 75931 w 716036"/>
                <a:gd name="connsiteY67" fmla="*/ 83800 h 157370"/>
                <a:gd name="connsiteX68" fmla="*/ 78685 w 716036"/>
                <a:gd name="connsiteY68" fmla="*/ 83406 h 157370"/>
                <a:gd name="connsiteX69" fmla="*/ 81046 w 716036"/>
                <a:gd name="connsiteY69" fmla="*/ 83406 h 157370"/>
                <a:gd name="connsiteX70" fmla="*/ 85374 w 716036"/>
                <a:gd name="connsiteY70" fmla="*/ 84587 h 157370"/>
                <a:gd name="connsiteX71" fmla="*/ 82226 w 716036"/>
                <a:gd name="connsiteY71" fmla="*/ 84587 h 157370"/>
                <a:gd name="connsiteX72" fmla="*/ 78685 w 716036"/>
                <a:gd name="connsiteY72" fmla="*/ 84980 h 157370"/>
                <a:gd name="connsiteX73" fmla="*/ 75144 w 716036"/>
                <a:gd name="connsiteY73" fmla="*/ 84980 h 157370"/>
                <a:gd name="connsiteX74" fmla="*/ 71604 w 716036"/>
                <a:gd name="connsiteY74" fmla="*/ 85374 h 157370"/>
                <a:gd name="connsiteX75" fmla="*/ 68456 w 716036"/>
                <a:gd name="connsiteY75" fmla="*/ 85374 h 157370"/>
                <a:gd name="connsiteX76" fmla="*/ 65702 w 716036"/>
                <a:gd name="connsiteY76" fmla="*/ 85767 h 157370"/>
                <a:gd name="connsiteX77" fmla="*/ 62161 w 716036"/>
                <a:gd name="connsiteY77" fmla="*/ 85767 h 157370"/>
                <a:gd name="connsiteX78" fmla="*/ 59407 w 716036"/>
                <a:gd name="connsiteY78" fmla="*/ 86160 h 157370"/>
                <a:gd name="connsiteX79" fmla="*/ 55867 w 716036"/>
                <a:gd name="connsiteY79" fmla="*/ 86554 h 157370"/>
                <a:gd name="connsiteX80" fmla="*/ 52719 w 716036"/>
                <a:gd name="connsiteY80" fmla="*/ 86160 h 157370"/>
                <a:gd name="connsiteX81" fmla="*/ 49965 w 716036"/>
                <a:gd name="connsiteY81" fmla="*/ 85767 h 157370"/>
                <a:gd name="connsiteX82" fmla="*/ 46818 w 716036"/>
                <a:gd name="connsiteY82" fmla="*/ 86160 h 157370"/>
                <a:gd name="connsiteX83" fmla="*/ 40916 w 716036"/>
                <a:gd name="connsiteY83" fmla="*/ 86160 h 157370"/>
                <a:gd name="connsiteX84" fmla="*/ 37769 w 716036"/>
                <a:gd name="connsiteY84" fmla="*/ 85767 h 157370"/>
                <a:gd name="connsiteX85" fmla="*/ 34228 w 716036"/>
                <a:gd name="connsiteY85" fmla="*/ 86160 h 157370"/>
                <a:gd name="connsiteX86" fmla="*/ 30687 w 716036"/>
                <a:gd name="connsiteY86" fmla="*/ 87734 h 157370"/>
                <a:gd name="connsiteX87" fmla="*/ 27540 w 716036"/>
                <a:gd name="connsiteY87" fmla="*/ 88914 h 157370"/>
                <a:gd name="connsiteX88" fmla="*/ 21638 w 716036"/>
                <a:gd name="connsiteY88" fmla="*/ 88914 h 157370"/>
                <a:gd name="connsiteX89" fmla="*/ 18884 w 716036"/>
                <a:gd name="connsiteY89" fmla="*/ 89308 h 157370"/>
                <a:gd name="connsiteX90" fmla="*/ 15737 w 716036"/>
                <a:gd name="connsiteY90" fmla="*/ 89701 h 157370"/>
                <a:gd name="connsiteX91" fmla="*/ 12590 w 716036"/>
                <a:gd name="connsiteY91" fmla="*/ 90095 h 157370"/>
                <a:gd name="connsiteX92" fmla="*/ 15344 w 716036"/>
                <a:gd name="connsiteY92" fmla="*/ 93242 h 157370"/>
                <a:gd name="connsiteX93" fmla="*/ 18491 w 716036"/>
                <a:gd name="connsiteY93" fmla="*/ 93635 h 157370"/>
                <a:gd name="connsiteX94" fmla="*/ 21245 w 716036"/>
                <a:gd name="connsiteY94" fmla="*/ 93635 h 157370"/>
                <a:gd name="connsiteX95" fmla="*/ 24392 w 716036"/>
                <a:gd name="connsiteY95" fmla="*/ 94029 h 157370"/>
                <a:gd name="connsiteX96" fmla="*/ 27147 w 716036"/>
                <a:gd name="connsiteY96" fmla="*/ 94816 h 157370"/>
                <a:gd name="connsiteX97" fmla="*/ 23999 w 716036"/>
                <a:gd name="connsiteY97" fmla="*/ 95603 h 157370"/>
                <a:gd name="connsiteX98" fmla="*/ 20852 w 716036"/>
                <a:gd name="connsiteY98" fmla="*/ 95209 h 157370"/>
                <a:gd name="connsiteX99" fmla="*/ 17704 w 716036"/>
                <a:gd name="connsiteY99" fmla="*/ 94816 h 157370"/>
                <a:gd name="connsiteX100" fmla="*/ 14163 w 716036"/>
                <a:gd name="connsiteY100" fmla="*/ 95209 h 157370"/>
                <a:gd name="connsiteX101" fmla="*/ 17311 w 716036"/>
                <a:gd name="connsiteY101" fmla="*/ 97570 h 157370"/>
                <a:gd name="connsiteX102" fmla="*/ 20065 w 716036"/>
                <a:gd name="connsiteY102" fmla="*/ 99930 h 157370"/>
                <a:gd name="connsiteX103" fmla="*/ 23212 w 716036"/>
                <a:gd name="connsiteY103" fmla="*/ 99537 h 157370"/>
                <a:gd name="connsiteX104" fmla="*/ 26360 w 716036"/>
                <a:gd name="connsiteY104" fmla="*/ 99143 h 157370"/>
                <a:gd name="connsiteX105" fmla="*/ 29507 w 716036"/>
                <a:gd name="connsiteY105" fmla="*/ 98750 h 157370"/>
                <a:gd name="connsiteX106" fmla="*/ 33048 w 716036"/>
                <a:gd name="connsiteY106" fmla="*/ 99537 h 157370"/>
                <a:gd name="connsiteX107" fmla="*/ 36195 w 716036"/>
                <a:gd name="connsiteY107" fmla="*/ 99930 h 157370"/>
                <a:gd name="connsiteX108" fmla="*/ 38949 w 716036"/>
                <a:gd name="connsiteY108" fmla="*/ 100324 h 157370"/>
                <a:gd name="connsiteX109" fmla="*/ 41703 w 716036"/>
                <a:gd name="connsiteY109" fmla="*/ 100324 h 157370"/>
                <a:gd name="connsiteX110" fmla="*/ 44851 w 716036"/>
                <a:gd name="connsiteY110" fmla="*/ 100717 h 157370"/>
                <a:gd name="connsiteX111" fmla="*/ 47998 w 716036"/>
                <a:gd name="connsiteY111" fmla="*/ 100717 h 157370"/>
                <a:gd name="connsiteX112" fmla="*/ 45244 w 716036"/>
                <a:gd name="connsiteY112" fmla="*/ 101111 h 157370"/>
                <a:gd name="connsiteX113" fmla="*/ 41703 w 716036"/>
                <a:gd name="connsiteY113" fmla="*/ 101504 h 157370"/>
                <a:gd name="connsiteX114" fmla="*/ 35015 w 716036"/>
                <a:gd name="connsiteY114" fmla="*/ 101504 h 157370"/>
                <a:gd name="connsiteX115" fmla="*/ 31867 w 716036"/>
                <a:gd name="connsiteY115" fmla="*/ 101897 h 157370"/>
                <a:gd name="connsiteX116" fmla="*/ 29114 w 716036"/>
                <a:gd name="connsiteY116" fmla="*/ 102291 h 157370"/>
                <a:gd name="connsiteX117" fmla="*/ 25573 w 716036"/>
                <a:gd name="connsiteY117" fmla="*/ 102291 h 157370"/>
                <a:gd name="connsiteX118" fmla="*/ 22819 w 716036"/>
                <a:gd name="connsiteY118" fmla="*/ 101897 h 157370"/>
                <a:gd name="connsiteX119" fmla="*/ 20065 w 716036"/>
                <a:gd name="connsiteY119" fmla="*/ 102291 h 157370"/>
                <a:gd name="connsiteX120" fmla="*/ 22425 w 716036"/>
                <a:gd name="connsiteY120" fmla="*/ 105045 h 157370"/>
                <a:gd name="connsiteX121" fmla="*/ 25573 w 716036"/>
                <a:gd name="connsiteY121" fmla="*/ 106619 h 157370"/>
                <a:gd name="connsiteX122" fmla="*/ 29114 w 716036"/>
                <a:gd name="connsiteY122" fmla="*/ 106225 h 157370"/>
                <a:gd name="connsiteX123" fmla="*/ 29900 w 716036"/>
                <a:gd name="connsiteY123" fmla="*/ 108979 h 157370"/>
                <a:gd name="connsiteX124" fmla="*/ 33048 w 716036"/>
                <a:gd name="connsiteY124" fmla="*/ 108192 h 157370"/>
                <a:gd name="connsiteX125" fmla="*/ 35802 w 716036"/>
                <a:gd name="connsiteY125" fmla="*/ 108586 h 157370"/>
                <a:gd name="connsiteX126" fmla="*/ 38949 w 716036"/>
                <a:gd name="connsiteY126" fmla="*/ 109373 h 157370"/>
                <a:gd name="connsiteX127" fmla="*/ 42097 w 716036"/>
                <a:gd name="connsiteY127" fmla="*/ 109766 h 157370"/>
                <a:gd name="connsiteX128" fmla="*/ 45244 w 716036"/>
                <a:gd name="connsiteY128" fmla="*/ 109766 h 157370"/>
                <a:gd name="connsiteX129" fmla="*/ 48391 w 716036"/>
                <a:gd name="connsiteY129" fmla="*/ 110553 h 157370"/>
                <a:gd name="connsiteX130" fmla="*/ 57834 w 716036"/>
                <a:gd name="connsiteY130" fmla="*/ 110553 h 157370"/>
                <a:gd name="connsiteX131" fmla="*/ 60588 w 716036"/>
                <a:gd name="connsiteY131" fmla="*/ 110159 h 157370"/>
                <a:gd name="connsiteX132" fmla="*/ 63735 w 716036"/>
                <a:gd name="connsiteY132" fmla="*/ 107799 h 157370"/>
                <a:gd name="connsiteX133" fmla="*/ 60588 w 716036"/>
                <a:gd name="connsiteY133" fmla="*/ 107012 h 157370"/>
                <a:gd name="connsiteX134" fmla="*/ 63342 w 716036"/>
                <a:gd name="connsiteY134" fmla="*/ 106225 h 157370"/>
                <a:gd name="connsiteX135" fmla="*/ 66096 w 716036"/>
                <a:gd name="connsiteY135" fmla="*/ 105832 h 157370"/>
                <a:gd name="connsiteX136" fmla="*/ 69243 w 716036"/>
                <a:gd name="connsiteY136" fmla="*/ 105832 h 157370"/>
                <a:gd name="connsiteX137" fmla="*/ 71210 w 716036"/>
                <a:gd name="connsiteY137" fmla="*/ 107012 h 157370"/>
                <a:gd name="connsiteX138" fmla="*/ 74358 w 716036"/>
                <a:gd name="connsiteY138" fmla="*/ 108586 h 157370"/>
                <a:gd name="connsiteX139" fmla="*/ 77111 w 716036"/>
                <a:gd name="connsiteY139" fmla="*/ 110159 h 157370"/>
                <a:gd name="connsiteX140" fmla="*/ 78685 w 716036"/>
                <a:gd name="connsiteY140" fmla="*/ 107405 h 157370"/>
                <a:gd name="connsiteX141" fmla="*/ 79079 w 716036"/>
                <a:gd name="connsiteY141" fmla="*/ 104258 h 157370"/>
                <a:gd name="connsiteX142" fmla="*/ 77111 w 716036"/>
                <a:gd name="connsiteY142" fmla="*/ 102291 h 157370"/>
                <a:gd name="connsiteX143" fmla="*/ 81833 w 716036"/>
                <a:gd name="connsiteY143" fmla="*/ 98750 h 157370"/>
                <a:gd name="connsiteX144" fmla="*/ 81833 w 716036"/>
                <a:gd name="connsiteY144" fmla="*/ 101504 h 157370"/>
                <a:gd name="connsiteX145" fmla="*/ 83800 w 716036"/>
                <a:gd name="connsiteY145" fmla="*/ 104258 h 157370"/>
                <a:gd name="connsiteX146" fmla="*/ 84980 w 716036"/>
                <a:gd name="connsiteY146" fmla="*/ 107405 h 157370"/>
                <a:gd name="connsiteX147" fmla="*/ 88521 w 716036"/>
                <a:gd name="connsiteY147" fmla="*/ 109766 h 157370"/>
                <a:gd name="connsiteX148" fmla="*/ 91275 w 716036"/>
                <a:gd name="connsiteY148" fmla="*/ 109373 h 157370"/>
                <a:gd name="connsiteX149" fmla="*/ 94029 w 716036"/>
                <a:gd name="connsiteY149" fmla="*/ 107799 h 157370"/>
                <a:gd name="connsiteX150" fmla="*/ 100324 w 716036"/>
                <a:gd name="connsiteY150" fmla="*/ 105045 h 157370"/>
                <a:gd name="connsiteX151" fmla="*/ 103078 w 716036"/>
                <a:gd name="connsiteY151" fmla="*/ 103471 h 157370"/>
                <a:gd name="connsiteX152" fmla="*/ 103471 w 716036"/>
                <a:gd name="connsiteY152" fmla="*/ 100717 h 157370"/>
                <a:gd name="connsiteX153" fmla="*/ 106225 w 716036"/>
                <a:gd name="connsiteY153" fmla="*/ 98357 h 157370"/>
                <a:gd name="connsiteX154" fmla="*/ 108979 w 716036"/>
                <a:gd name="connsiteY154" fmla="*/ 99930 h 157370"/>
                <a:gd name="connsiteX155" fmla="*/ 112127 w 716036"/>
                <a:gd name="connsiteY155" fmla="*/ 102291 h 157370"/>
                <a:gd name="connsiteX156" fmla="*/ 114881 w 716036"/>
                <a:gd name="connsiteY156" fmla="*/ 101897 h 157370"/>
                <a:gd name="connsiteX157" fmla="*/ 117635 w 716036"/>
                <a:gd name="connsiteY157" fmla="*/ 101111 h 157370"/>
                <a:gd name="connsiteX158" fmla="*/ 120782 w 716036"/>
                <a:gd name="connsiteY158" fmla="*/ 99537 h 157370"/>
                <a:gd name="connsiteX159" fmla="*/ 117635 w 716036"/>
                <a:gd name="connsiteY159" fmla="*/ 97176 h 157370"/>
                <a:gd name="connsiteX160" fmla="*/ 120388 w 716036"/>
                <a:gd name="connsiteY160" fmla="*/ 94816 h 157370"/>
                <a:gd name="connsiteX161" fmla="*/ 123142 w 716036"/>
                <a:gd name="connsiteY161" fmla="*/ 92455 h 157370"/>
                <a:gd name="connsiteX162" fmla="*/ 126290 w 716036"/>
                <a:gd name="connsiteY162" fmla="*/ 90095 h 157370"/>
                <a:gd name="connsiteX163" fmla="*/ 129831 w 716036"/>
                <a:gd name="connsiteY163" fmla="*/ 88914 h 157370"/>
                <a:gd name="connsiteX164" fmla="*/ 132978 w 716036"/>
                <a:gd name="connsiteY164" fmla="*/ 88914 h 157370"/>
                <a:gd name="connsiteX165" fmla="*/ 135732 w 716036"/>
                <a:gd name="connsiteY165" fmla="*/ 87734 h 157370"/>
                <a:gd name="connsiteX166" fmla="*/ 138879 w 716036"/>
                <a:gd name="connsiteY166" fmla="*/ 86947 h 157370"/>
                <a:gd name="connsiteX167" fmla="*/ 136125 w 716036"/>
                <a:gd name="connsiteY167" fmla="*/ 88521 h 157370"/>
                <a:gd name="connsiteX168" fmla="*/ 132585 w 716036"/>
                <a:gd name="connsiteY168" fmla="*/ 89701 h 157370"/>
                <a:gd name="connsiteX169" fmla="*/ 129437 w 716036"/>
                <a:gd name="connsiteY169" fmla="*/ 91668 h 157370"/>
                <a:gd name="connsiteX170" fmla="*/ 126683 w 716036"/>
                <a:gd name="connsiteY170" fmla="*/ 93242 h 157370"/>
                <a:gd name="connsiteX171" fmla="*/ 124716 w 716036"/>
                <a:gd name="connsiteY171" fmla="*/ 95996 h 157370"/>
                <a:gd name="connsiteX172" fmla="*/ 128257 w 716036"/>
                <a:gd name="connsiteY172" fmla="*/ 97570 h 157370"/>
                <a:gd name="connsiteX173" fmla="*/ 131011 w 716036"/>
                <a:gd name="connsiteY173" fmla="*/ 96389 h 157370"/>
                <a:gd name="connsiteX174" fmla="*/ 134552 w 716036"/>
                <a:gd name="connsiteY174" fmla="*/ 95209 h 157370"/>
                <a:gd name="connsiteX175" fmla="*/ 137306 w 716036"/>
                <a:gd name="connsiteY175" fmla="*/ 94029 h 157370"/>
                <a:gd name="connsiteX176" fmla="*/ 140453 w 716036"/>
                <a:gd name="connsiteY176" fmla="*/ 93242 h 157370"/>
                <a:gd name="connsiteX177" fmla="*/ 143601 w 716036"/>
                <a:gd name="connsiteY177" fmla="*/ 92455 h 157370"/>
                <a:gd name="connsiteX178" fmla="*/ 146748 w 716036"/>
                <a:gd name="connsiteY178" fmla="*/ 92062 h 157370"/>
                <a:gd name="connsiteX179" fmla="*/ 149895 w 716036"/>
                <a:gd name="connsiteY179" fmla="*/ 90881 h 157370"/>
                <a:gd name="connsiteX180" fmla="*/ 152649 w 716036"/>
                <a:gd name="connsiteY180" fmla="*/ 88127 h 157370"/>
                <a:gd name="connsiteX181" fmla="*/ 155797 w 716036"/>
                <a:gd name="connsiteY181" fmla="*/ 90095 h 157370"/>
                <a:gd name="connsiteX182" fmla="*/ 158944 w 716036"/>
                <a:gd name="connsiteY182" fmla="*/ 89308 h 157370"/>
                <a:gd name="connsiteX183" fmla="*/ 162092 w 716036"/>
                <a:gd name="connsiteY183" fmla="*/ 87734 h 157370"/>
                <a:gd name="connsiteX184" fmla="*/ 165632 w 716036"/>
                <a:gd name="connsiteY184" fmla="*/ 87341 h 157370"/>
                <a:gd name="connsiteX185" fmla="*/ 168386 w 716036"/>
                <a:gd name="connsiteY185" fmla="*/ 86947 h 157370"/>
                <a:gd name="connsiteX186" fmla="*/ 171534 w 716036"/>
                <a:gd name="connsiteY186" fmla="*/ 86554 h 157370"/>
                <a:gd name="connsiteX187" fmla="*/ 174681 w 716036"/>
                <a:gd name="connsiteY187" fmla="*/ 86160 h 157370"/>
                <a:gd name="connsiteX188" fmla="*/ 178222 w 716036"/>
                <a:gd name="connsiteY188" fmla="*/ 85767 h 157370"/>
                <a:gd name="connsiteX189" fmla="*/ 180976 w 716036"/>
                <a:gd name="connsiteY189" fmla="*/ 85374 h 157370"/>
                <a:gd name="connsiteX190" fmla="*/ 181370 w 716036"/>
                <a:gd name="connsiteY190" fmla="*/ 85374 h 157370"/>
                <a:gd name="connsiteX191" fmla="*/ 179796 w 716036"/>
                <a:gd name="connsiteY191" fmla="*/ 87734 h 157370"/>
                <a:gd name="connsiteX192" fmla="*/ 173895 w 716036"/>
                <a:gd name="connsiteY192" fmla="*/ 87734 h 157370"/>
                <a:gd name="connsiteX193" fmla="*/ 173501 w 716036"/>
                <a:gd name="connsiteY193" fmla="*/ 88127 h 157370"/>
                <a:gd name="connsiteX194" fmla="*/ 170747 w 716036"/>
                <a:gd name="connsiteY194" fmla="*/ 88521 h 157370"/>
                <a:gd name="connsiteX195" fmla="*/ 167600 w 716036"/>
                <a:gd name="connsiteY195" fmla="*/ 88914 h 157370"/>
                <a:gd name="connsiteX196" fmla="*/ 164059 w 716036"/>
                <a:gd name="connsiteY196" fmla="*/ 89701 h 157370"/>
                <a:gd name="connsiteX197" fmla="*/ 161305 w 716036"/>
                <a:gd name="connsiteY197" fmla="*/ 91275 h 157370"/>
                <a:gd name="connsiteX198" fmla="*/ 158551 w 716036"/>
                <a:gd name="connsiteY198" fmla="*/ 91668 h 157370"/>
                <a:gd name="connsiteX199" fmla="*/ 161305 w 716036"/>
                <a:gd name="connsiteY199" fmla="*/ 92062 h 157370"/>
                <a:gd name="connsiteX200" fmla="*/ 164059 w 716036"/>
                <a:gd name="connsiteY200" fmla="*/ 91668 h 157370"/>
                <a:gd name="connsiteX201" fmla="*/ 167600 w 716036"/>
                <a:gd name="connsiteY201" fmla="*/ 91275 h 157370"/>
                <a:gd name="connsiteX202" fmla="*/ 171141 w 716036"/>
                <a:gd name="connsiteY202" fmla="*/ 90881 h 157370"/>
                <a:gd name="connsiteX203" fmla="*/ 174288 w 716036"/>
                <a:gd name="connsiteY203" fmla="*/ 90488 h 157370"/>
                <a:gd name="connsiteX204" fmla="*/ 177829 w 716036"/>
                <a:gd name="connsiteY204" fmla="*/ 90095 h 157370"/>
                <a:gd name="connsiteX205" fmla="*/ 179009 w 716036"/>
                <a:gd name="connsiteY205" fmla="*/ 90095 h 157370"/>
                <a:gd name="connsiteX206" fmla="*/ 177829 w 716036"/>
                <a:gd name="connsiteY206" fmla="*/ 92062 h 157370"/>
                <a:gd name="connsiteX207" fmla="*/ 174288 w 716036"/>
                <a:gd name="connsiteY207" fmla="*/ 92455 h 157370"/>
                <a:gd name="connsiteX208" fmla="*/ 171534 w 716036"/>
                <a:gd name="connsiteY208" fmla="*/ 92849 h 157370"/>
                <a:gd name="connsiteX209" fmla="*/ 168386 w 716036"/>
                <a:gd name="connsiteY209" fmla="*/ 92849 h 157370"/>
                <a:gd name="connsiteX210" fmla="*/ 165239 w 716036"/>
                <a:gd name="connsiteY210" fmla="*/ 93242 h 157370"/>
                <a:gd name="connsiteX211" fmla="*/ 161698 w 716036"/>
                <a:gd name="connsiteY211" fmla="*/ 93635 h 157370"/>
                <a:gd name="connsiteX212" fmla="*/ 158157 w 716036"/>
                <a:gd name="connsiteY212" fmla="*/ 93635 h 157370"/>
                <a:gd name="connsiteX213" fmla="*/ 155010 w 716036"/>
                <a:gd name="connsiteY213" fmla="*/ 94029 h 157370"/>
                <a:gd name="connsiteX214" fmla="*/ 152256 w 716036"/>
                <a:gd name="connsiteY214" fmla="*/ 94422 h 157370"/>
                <a:gd name="connsiteX215" fmla="*/ 149109 w 716036"/>
                <a:gd name="connsiteY215" fmla="*/ 95209 h 157370"/>
                <a:gd name="connsiteX216" fmla="*/ 146355 w 716036"/>
                <a:gd name="connsiteY216" fmla="*/ 95603 h 157370"/>
                <a:gd name="connsiteX217" fmla="*/ 143207 w 716036"/>
                <a:gd name="connsiteY217" fmla="*/ 96783 h 157370"/>
                <a:gd name="connsiteX218" fmla="*/ 140453 w 716036"/>
                <a:gd name="connsiteY218" fmla="*/ 98357 h 157370"/>
                <a:gd name="connsiteX219" fmla="*/ 137699 w 716036"/>
                <a:gd name="connsiteY219" fmla="*/ 99930 h 157370"/>
                <a:gd name="connsiteX220" fmla="*/ 140847 w 716036"/>
                <a:gd name="connsiteY220" fmla="*/ 100324 h 157370"/>
                <a:gd name="connsiteX221" fmla="*/ 137306 w 716036"/>
                <a:gd name="connsiteY221" fmla="*/ 100324 h 157370"/>
                <a:gd name="connsiteX222" fmla="*/ 134158 w 716036"/>
                <a:gd name="connsiteY222" fmla="*/ 100717 h 157370"/>
                <a:gd name="connsiteX223" fmla="*/ 131011 w 716036"/>
                <a:gd name="connsiteY223" fmla="*/ 101504 h 157370"/>
                <a:gd name="connsiteX224" fmla="*/ 127470 w 716036"/>
                <a:gd name="connsiteY224" fmla="*/ 102291 h 157370"/>
                <a:gd name="connsiteX225" fmla="*/ 124716 w 716036"/>
                <a:gd name="connsiteY225" fmla="*/ 103078 h 157370"/>
                <a:gd name="connsiteX226" fmla="*/ 121962 w 716036"/>
                <a:gd name="connsiteY226" fmla="*/ 105438 h 157370"/>
                <a:gd name="connsiteX227" fmla="*/ 120782 w 716036"/>
                <a:gd name="connsiteY227" fmla="*/ 108586 h 157370"/>
                <a:gd name="connsiteX228" fmla="*/ 124323 w 716036"/>
                <a:gd name="connsiteY228" fmla="*/ 108979 h 157370"/>
                <a:gd name="connsiteX229" fmla="*/ 121569 w 716036"/>
                <a:gd name="connsiteY229" fmla="*/ 108979 h 157370"/>
                <a:gd name="connsiteX230" fmla="*/ 118028 w 716036"/>
                <a:gd name="connsiteY230" fmla="*/ 109373 h 157370"/>
                <a:gd name="connsiteX231" fmla="*/ 114881 w 716036"/>
                <a:gd name="connsiteY231" fmla="*/ 110946 h 157370"/>
                <a:gd name="connsiteX232" fmla="*/ 117635 w 716036"/>
                <a:gd name="connsiteY232" fmla="*/ 111340 h 157370"/>
                <a:gd name="connsiteX233" fmla="*/ 120782 w 716036"/>
                <a:gd name="connsiteY233" fmla="*/ 111733 h 157370"/>
                <a:gd name="connsiteX234" fmla="*/ 124323 w 716036"/>
                <a:gd name="connsiteY234" fmla="*/ 111733 h 157370"/>
                <a:gd name="connsiteX235" fmla="*/ 127077 w 716036"/>
                <a:gd name="connsiteY235" fmla="*/ 111340 h 157370"/>
                <a:gd name="connsiteX236" fmla="*/ 130224 w 716036"/>
                <a:gd name="connsiteY236" fmla="*/ 110946 h 157370"/>
                <a:gd name="connsiteX237" fmla="*/ 132978 w 716036"/>
                <a:gd name="connsiteY237" fmla="*/ 110159 h 157370"/>
                <a:gd name="connsiteX238" fmla="*/ 136125 w 716036"/>
                <a:gd name="connsiteY238" fmla="*/ 109373 h 157370"/>
                <a:gd name="connsiteX239" fmla="*/ 138879 w 716036"/>
                <a:gd name="connsiteY239" fmla="*/ 108979 h 157370"/>
                <a:gd name="connsiteX240" fmla="*/ 142027 w 716036"/>
                <a:gd name="connsiteY240" fmla="*/ 108979 h 157370"/>
                <a:gd name="connsiteX241" fmla="*/ 145174 w 716036"/>
                <a:gd name="connsiteY241" fmla="*/ 108192 h 157370"/>
                <a:gd name="connsiteX242" fmla="*/ 148322 w 716036"/>
                <a:gd name="connsiteY242" fmla="*/ 106619 h 157370"/>
                <a:gd name="connsiteX243" fmla="*/ 151469 w 716036"/>
                <a:gd name="connsiteY243" fmla="*/ 105832 h 157370"/>
                <a:gd name="connsiteX244" fmla="*/ 155010 w 716036"/>
                <a:gd name="connsiteY244" fmla="*/ 104651 h 157370"/>
                <a:gd name="connsiteX245" fmla="*/ 151863 w 716036"/>
                <a:gd name="connsiteY245" fmla="*/ 106225 h 157370"/>
                <a:gd name="connsiteX246" fmla="*/ 149109 w 716036"/>
                <a:gd name="connsiteY246" fmla="*/ 107799 h 157370"/>
                <a:gd name="connsiteX247" fmla="*/ 145961 w 716036"/>
                <a:gd name="connsiteY247" fmla="*/ 108586 h 157370"/>
                <a:gd name="connsiteX248" fmla="*/ 142814 w 716036"/>
                <a:gd name="connsiteY248" fmla="*/ 109766 h 157370"/>
                <a:gd name="connsiteX249" fmla="*/ 139666 w 716036"/>
                <a:gd name="connsiteY249" fmla="*/ 112127 h 157370"/>
                <a:gd name="connsiteX250" fmla="*/ 142814 w 716036"/>
                <a:gd name="connsiteY250" fmla="*/ 111733 h 157370"/>
                <a:gd name="connsiteX251" fmla="*/ 145961 w 716036"/>
                <a:gd name="connsiteY251" fmla="*/ 111340 h 157370"/>
                <a:gd name="connsiteX252" fmla="*/ 149502 w 716036"/>
                <a:gd name="connsiteY252" fmla="*/ 110946 h 157370"/>
                <a:gd name="connsiteX253" fmla="*/ 153043 w 716036"/>
                <a:gd name="connsiteY253" fmla="*/ 110553 h 157370"/>
                <a:gd name="connsiteX254" fmla="*/ 155797 w 716036"/>
                <a:gd name="connsiteY254" fmla="*/ 110159 h 157370"/>
                <a:gd name="connsiteX255" fmla="*/ 158944 w 716036"/>
                <a:gd name="connsiteY255" fmla="*/ 108979 h 157370"/>
                <a:gd name="connsiteX256" fmla="*/ 162092 w 716036"/>
                <a:gd name="connsiteY256" fmla="*/ 108192 h 157370"/>
                <a:gd name="connsiteX257" fmla="*/ 165239 w 716036"/>
                <a:gd name="connsiteY257" fmla="*/ 106619 h 157370"/>
                <a:gd name="connsiteX258" fmla="*/ 167993 w 716036"/>
                <a:gd name="connsiteY258" fmla="*/ 105438 h 157370"/>
                <a:gd name="connsiteX259" fmla="*/ 171141 w 716036"/>
                <a:gd name="connsiteY259" fmla="*/ 104258 h 157370"/>
                <a:gd name="connsiteX260" fmla="*/ 171534 w 716036"/>
                <a:gd name="connsiteY260" fmla="*/ 103865 h 157370"/>
                <a:gd name="connsiteX261" fmla="*/ 170354 w 716036"/>
                <a:gd name="connsiteY261" fmla="*/ 106619 h 157370"/>
                <a:gd name="connsiteX262" fmla="*/ 168780 w 716036"/>
                <a:gd name="connsiteY262" fmla="*/ 108192 h 157370"/>
                <a:gd name="connsiteX263" fmla="*/ 169960 w 716036"/>
                <a:gd name="connsiteY263" fmla="*/ 107799 h 157370"/>
                <a:gd name="connsiteX264" fmla="*/ 169567 w 716036"/>
                <a:gd name="connsiteY264" fmla="*/ 108586 h 157370"/>
                <a:gd name="connsiteX265" fmla="*/ 168780 w 716036"/>
                <a:gd name="connsiteY265" fmla="*/ 108586 h 157370"/>
                <a:gd name="connsiteX266" fmla="*/ 165239 w 716036"/>
                <a:gd name="connsiteY266" fmla="*/ 108586 h 157370"/>
                <a:gd name="connsiteX267" fmla="*/ 162485 w 716036"/>
                <a:gd name="connsiteY267" fmla="*/ 110946 h 157370"/>
                <a:gd name="connsiteX268" fmla="*/ 165239 w 716036"/>
                <a:gd name="connsiteY268" fmla="*/ 111340 h 157370"/>
                <a:gd name="connsiteX269" fmla="*/ 168386 w 716036"/>
                <a:gd name="connsiteY269" fmla="*/ 110946 h 157370"/>
                <a:gd name="connsiteX270" fmla="*/ 167993 w 716036"/>
                <a:gd name="connsiteY270" fmla="*/ 111340 h 157370"/>
                <a:gd name="connsiteX271" fmla="*/ 165632 w 716036"/>
                <a:gd name="connsiteY271" fmla="*/ 112127 h 157370"/>
                <a:gd name="connsiteX272" fmla="*/ 162485 w 716036"/>
                <a:gd name="connsiteY272" fmla="*/ 111733 h 157370"/>
                <a:gd name="connsiteX273" fmla="*/ 159731 w 716036"/>
                <a:gd name="connsiteY273" fmla="*/ 111340 h 157370"/>
                <a:gd name="connsiteX274" fmla="*/ 156584 w 716036"/>
                <a:gd name="connsiteY274" fmla="*/ 111733 h 157370"/>
                <a:gd name="connsiteX275" fmla="*/ 153436 w 716036"/>
                <a:gd name="connsiteY275" fmla="*/ 112127 h 157370"/>
                <a:gd name="connsiteX276" fmla="*/ 150682 w 716036"/>
                <a:gd name="connsiteY276" fmla="*/ 112520 h 157370"/>
                <a:gd name="connsiteX277" fmla="*/ 147535 w 716036"/>
                <a:gd name="connsiteY277" fmla="*/ 112913 h 157370"/>
                <a:gd name="connsiteX278" fmla="*/ 144781 w 716036"/>
                <a:gd name="connsiteY278" fmla="*/ 114094 h 157370"/>
                <a:gd name="connsiteX279" fmla="*/ 147928 w 716036"/>
                <a:gd name="connsiteY279" fmla="*/ 115274 h 157370"/>
                <a:gd name="connsiteX280" fmla="*/ 150682 w 716036"/>
                <a:gd name="connsiteY280" fmla="*/ 114880 h 157370"/>
                <a:gd name="connsiteX281" fmla="*/ 157371 w 716036"/>
                <a:gd name="connsiteY281" fmla="*/ 114880 h 157370"/>
                <a:gd name="connsiteX282" fmla="*/ 160912 w 716036"/>
                <a:gd name="connsiteY282" fmla="*/ 114487 h 157370"/>
                <a:gd name="connsiteX283" fmla="*/ 163665 w 716036"/>
                <a:gd name="connsiteY283" fmla="*/ 114094 h 157370"/>
                <a:gd name="connsiteX284" fmla="*/ 166419 w 716036"/>
                <a:gd name="connsiteY284" fmla="*/ 114487 h 157370"/>
                <a:gd name="connsiteX285" fmla="*/ 166419 w 716036"/>
                <a:gd name="connsiteY285" fmla="*/ 114487 h 157370"/>
                <a:gd name="connsiteX286" fmla="*/ 166419 w 716036"/>
                <a:gd name="connsiteY286" fmla="*/ 114880 h 157370"/>
                <a:gd name="connsiteX287" fmla="*/ 168386 w 716036"/>
                <a:gd name="connsiteY287" fmla="*/ 114880 h 157370"/>
                <a:gd name="connsiteX288" fmla="*/ 169173 w 716036"/>
                <a:gd name="connsiteY288" fmla="*/ 114880 h 157370"/>
                <a:gd name="connsiteX289" fmla="*/ 166026 w 716036"/>
                <a:gd name="connsiteY289" fmla="*/ 114487 h 157370"/>
                <a:gd name="connsiteX290" fmla="*/ 162879 w 716036"/>
                <a:gd name="connsiteY290" fmla="*/ 114487 h 157370"/>
                <a:gd name="connsiteX291" fmla="*/ 159731 w 716036"/>
                <a:gd name="connsiteY291" fmla="*/ 114880 h 157370"/>
                <a:gd name="connsiteX292" fmla="*/ 156584 w 716036"/>
                <a:gd name="connsiteY292" fmla="*/ 114487 h 157370"/>
                <a:gd name="connsiteX293" fmla="*/ 153830 w 716036"/>
                <a:gd name="connsiteY293" fmla="*/ 114880 h 157370"/>
                <a:gd name="connsiteX294" fmla="*/ 151076 w 716036"/>
                <a:gd name="connsiteY294" fmla="*/ 114880 h 157370"/>
                <a:gd name="connsiteX295" fmla="*/ 147535 w 716036"/>
                <a:gd name="connsiteY295" fmla="*/ 116848 h 157370"/>
                <a:gd name="connsiteX296" fmla="*/ 150682 w 716036"/>
                <a:gd name="connsiteY296" fmla="*/ 116454 h 157370"/>
                <a:gd name="connsiteX297" fmla="*/ 153436 w 716036"/>
                <a:gd name="connsiteY297" fmla="*/ 116848 h 157370"/>
                <a:gd name="connsiteX298" fmla="*/ 150289 w 716036"/>
                <a:gd name="connsiteY298" fmla="*/ 117241 h 157370"/>
                <a:gd name="connsiteX299" fmla="*/ 147535 w 716036"/>
                <a:gd name="connsiteY299" fmla="*/ 118421 h 157370"/>
                <a:gd name="connsiteX300" fmla="*/ 143994 w 716036"/>
                <a:gd name="connsiteY300" fmla="*/ 120782 h 157370"/>
                <a:gd name="connsiteX301" fmla="*/ 147142 w 716036"/>
                <a:gd name="connsiteY301" fmla="*/ 121175 h 157370"/>
                <a:gd name="connsiteX302" fmla="*/ 150289 w 716036"/>
                <a:gd name="connsiteY302" fmla="*/ 121569 h 157370"/>
                <a:gd name="connsiteX303" fmla="*/ 153436 w 716036"/>
                <a:gd name="connsiteY303" fmla="*/ 121175 h 157370"/>
                <a:gd name="connsiteX304" fmla="*/ 156584 w 716036"/>
                <a:gd name="connsiteY304" fmla="*/ 120782 h 157370"/>
                <a:gd name="connsiteX305" fmla="*/ 159338 w 716036"/>
                <a:gd name="connsiteY305" fmla="*/ 120388 h 157370"/>
                <a:gd name="connsiteX306" fmla="*/ 156190 w 716036"/>
                <a:gd name="connsiteY306" fmla="*/ 121175 h 157370"/>
                <a:gd name="connsiteX307" fmla="*/ 153436 w 716036"/>
                <a:gd name="connsiteY307" fmla="*/ 122356 h 157370"/>
                <a:gd name="connsiteX308" fmla="*/ 150289 w 716036"/>
                <a:gd name="connsiteY308" fmla="*/ 124323 h 157370"/>
                <a:gd name="connsiteX309" fmla="*/ 153436 w 716036"/>
                <a:gd name="connsiteY309" fmla="*/ 124716 h 157370"/>
                <a:gd name="connsiteX310" fmla="*/ 156190 w 716036"/>
                <a:gd name="connsiteY310" fmla="*/ 124323 h 157370"/>
                <a:gd name="connsiteX311" fmla="*/ 138879 w 716036"/>
                <a:gd name="connsiteY311" fmla="*/ 127864 h 157370"/>
                <a:gd name="connsiteX312" fmla="*/ 135732 w 716036"/>
                <a:gd name="connsiteY312" fmla="*/ 127470 h 157370"/>
                <a:gd name="connsiteX313" fmla="*/ 132978 w 716036"/>
                <a:gd name="connsiteY313" fmla="*/ 125896 h 157370"/>
                <a:gd name="connsiteX314" fmla="*/ 129437 w 716036"/>
                <a:gd name="connsiteY314" fmla="*/ 126290 h 157370"/>
                <a:gd name="connsiteX315" fmla="*/ 126290 w 716036"/>
                <a:gd name="connsiteY315" fmla="*/ 126683 h 157370"/>
                <a:gd name="connsiteX316" fmla="*/ 129437 w 716036"/>
                <a:gd name="connsiteY316" fmla="*/ 124323 h 157370"/>
                <a:gd name="connsiteX317" fmla="*/ 131011 w 716036"/>
                <a:gd name="connsiteY317" fmla="*/ 121175 h 157370"/>
                <a:gd name="connsiteX318" fmla="*/ 129831 w 716036"/>
                <a:gd name="connsiteY318" fmla="*/ 118421 h 157370"/>
                <a:gd name="connsiteX319" fmla="*/ 127077 w 716036"/>
                <a:gd name="connsiteY319" fmla="*/ 116848 h 157370"/>
                <a:gd name="connsiteX320" fmla="*/ 123929 w 716036"/>
                <a:gd name="connsiteY320" fmla="*/ 116454 h 157370"/>
                <a:gd name="connsiteX321" fmla="*/ 121175 w 716036"/>
                <a:gd name="connsiteY321" fmla="*/ 116061 h 157370"/>
                <a:gd name="connsiteX322" fmla="*/ 118028 w 716036"/>
                <a:gd name="connsiteY322" fmla="*/ 115667 h 157370"/>
                <a:gd name="connsiteX323" fmla="*/ 114881 w 716036"/>
                <a:gd name="connsiteY323" fmla="*/ 115667 h 157370"/>
                <a:gd name="connsiteX324" fmla="*/ 111733 w 716036"/>
                <a:gd name="connsiteY324" fmla="*/ 115274 h 157370"/>
                <a:gd name="connsiteX325" fmla="*/ 108192 w 716036"/>
                <a:gd name="connsiteY325" fmla="*/ 115667 h 157370"/>
                <a:gd name="connsiteX326" fmla="*/ 105438 w 716036"/>
                <a:gd name="connsiteY326" fmla="*/ 116061 h 157370"/>
                <a:gd name="connsiteX327" fmla="*/ 102684 w 716036"/>
                <a:gd name="connsiteY327" fmla="*/ 116454 h 157370"/>
                <a:gd name="connsiteX328" fmla="*/ 99537 w 716036"/>
                <a:gd name="connsiteY328" fmla="*/ 116848 h 157370"/>
                <a:gd name="connsiteX329" fmla="*/ 95996 w 716036"/>
                <a:gd name="connsiteY329" fmla="*/ 117241 h 157370"/>
                <a:gd name="connsiteX330" fmla="*/ 92455 w 716036"/>
                <a:gd name="connsiteY330" fmla="*/ 117634 h 157370"/>
                <a:gd name="connsiteX331" fmla="*/ 89701 w 716036"/>
                <a:gd name="connsiteY331" fmla="*/ 119602 h 157370"/>
                <a:gd name="connsiteX332" fmla="*/ 86947 w 716036"/>
                <a:gd name="connsiteY332" fmla="*/ 121962 h 157370"/>
                <a:gd name="connsiteX333" fmla="*/ 89701 w 716036"/>
                <a:gd name="connsiteY333" fmla="*/ 123142 h 157370"/>
                <a:gd name="connsiteX334" fmla="*/ 91275 w 716036"/>
                <a:gd name="connsiteY334" fmla="*/ 125896 h 157370"/>
                <a:gd name="connsiteX335" fmla="*/ 88128 w 716036"/>
                <a:gd name="connsiteY335" fmla="*/ 128650 h 157370"/>
                <a:gd name="connsiteX336" fmla="*/ 90881 w 716036"/>
                <a:gd name="connsiteY336" fmla="*/ 129044 h 157370"/>
                <a:gd name="connsiteX337" fmla="*/ 94422 w 716036"/>
                <a:gd name="connsiteY337" fmla="*/ 129044 h 157370"/>
                <a:gd name="connsiteX338" fmla="*/ 97570 w 716036"/>
                <a:gd name="connsiteY338" fmla="*/ 128650 h 157370"/>
                <a:gd name="connsiteX339" fmla="*/ 100717 w 716036"/>
                <a:gd name="connsiteY339" fmla="*/ 128257 h 157370"/>
                <a:gd name="connsiteX340" fmla="*/ 103865 w 716036"/>
                <a:gd name="connsiteY340" fmla="*/ 128650 h 157370"/>
                <a:gd name="connsiteX341" fmla="*/ 100717 w 716036"/>
                <a:gd name="connsiteY341" fmla="*/ 129044 h 157370"/>
                <a:gd name="connsiteX342" fmla="*/ 97963 w 716036"/>
                <a:gd name="connsiteY342" fmla="*/ 129044 h 157370"/>
                <a:gd name="connsiteX343" fmla="*/ 95209 w 716036"/>
                <a:gd name="connsiteY343" fmla="*/ 130618 h 157370"/>
                <a:gd name="connsiteX344" fmla="*/ 97963 w 716036"/>
                <a:gd name="connsiteY344" fmla="*/ 131011 h 157370"/>
                <a:gd name="connsiteX345" fmla="*/ 94422 w 716036"/>
                <a:gd name="connsiteY345" fmla="*/ 132585 h 157370"/>
                <a:gd name="connsiteX346" fmla="*/ 97570 w 716036"/>
                <a:gd name="connsiteY346" fmla="*/ 132978 h 157370"/>
                <a:gd name="connsiteX347" fmla="*/ 100717 w 716036"/>
                <a:gd name="connsiteY347" fmla="*/ 133372 h 157370"/>
                <a:gd name="connsiteX348" fmla="*/ 97570 w 716036"/>
                <a:gd name="connsiteY348" fmla="*/ 134552 h 157370"/>
                <a:gd name="connsiteX349" fmla="*/ 94422 w 716036"/>
                <a:gd name="connsiteY349" fmla="*/ 133372 h 157370"/>
                <a:gd name="connsiteX350" fmla="*/ 90881 w 716036"/>
                <a:gd name="connsiteY350" fmla="*/ 133372 h 157370"/>
                <a:gd name="connsiteX351" fmla="*/ 88128 w 716036"/>
                <a:gd name="connsiteY351" fmla="*/ 133765 h 157370"/>
                <a:gd name="connsiteX352" fmla="*/ 84980 w 716036"/>
                <a:gd name="connsiteY352" fmla="*/ 135339 h 157370"/>
                <a:gd name="connsiteX353" fmla="*/ 81833 w 716036"/>
                <a:gd name="connsiteY353" fmla="*/ 135339 h 157370"/>
                <a:gd name="connsiteX354" fmla="*/ 79079 w 716036"/>
                <a:gd name="connsiteY354" fmla="*/ 134945 h 157370"/>
                <a:gd name="connsiteX355" fmla="*/ 75931 w 716036"/>
                <a:gd name="connsiteY355" fmla="*/ 134552 h 157370"/>
                <a:gd name="connsiteX356" fmla="*/ 72784 w 716036"/>
                <a:gd name="connsiteY356" fmla="*/ 134945 h 157370"/>
                <a:gd name="connsiteX357" fmla="*/ 69243 w 716036"/>
                <a:gd name="connsiteY357" fmla="*/ 134552 h 157370"/>
                <a:gd name="connsiteX358" fmla="*/ 66096 w 716036"/>
                <a:gd name="connsiteY358" fmla="*/ 134945 h 157370"/>
                <a:gd name="connsiteX359" fmla="*/ 63342 w 716036"/>
                <a:gd name="connsiteY359" fmla="*/ 136519 h 157370"/>
                <a:gd name="connsiteX360" fmla="*/ 59801 w 716036"/>
                <a:gd name="connsiteY360" fmla="*/ 136912 h 157370"/>
                <a:gd name="connsiteX361" fmla="*/ 57047 w 716036"/>
                <a:gd name="connsiteY361" fmla="*/ 137699 h 157370"/>
                <a:gd name="connsiteX362" fmla="*/ 53899 w 716036"/>
                <a:gd name="connsiteY362" fmla="*/ 138093 h 157370"/>
                <a:gd name="connsiteX363" fmla="*/ 50752 w 716036"/>
                <a:gd name="connsiteY363" fmla="*/ 138486 h 157370"/>
                <a:gd name="connsiteX364" fmla="*/ 47605 w 716036"/>
                <a:gd name="connsiteY364" fmla="*/ 139666 h 157370"/>
                <a:gd name="connsiteX365" fmla="*/ 44851 w 716036"/>
                <a:gd name="connsiteY365" fmla="*/ 140060 h 157370"/>
                <a:gd name="connsiteX366" fmla="*/ 41703 w 716036"/>
                <a:gd name="connsiteY366" fmla="*/ 140453 h 157370"/>
                <a:gd name="connsiteX367" fmla="*/ 38556 w 716036"/>
                <a:gd name="connsiteY367" fmla="*/ 140847 h 157370"/>
                <a:gd name="connsiteX368" fmla="*/ 35408 w 716036"/>
                <a:gd name="connsiteY368" fmla="*/ 142027 h 157370"/>
                <a:gd name="connsiteX369" fmla="*/ 35015 w 716036"/>
                <a:gd name="connsiteY369" fmla="*/ 144781 h 157370"/>
                <a:gd name="connsiteX370" fmla="*/ 32261 w 716036"/>
                <a:gd name="connsiteY370" fmla="*/ 146355 h 157370"/>
                <a:gd name="connsiteX371" fmla="*/ 28720 w 716036"/>
                <a:gd name="connsiteY371" fmla="*/ 147141 h 157370"/>
                <a:gd name="connsiteX372" fmla="*/ 25966 w 716036"/>
                <a:gd name="connsiteY372" fmla="*/ 149502 h 157370"/>
                <a:gd name="connsiteX373" fmla="*/ 28720 w 716036"/>
                <a:gd name="connsiteY373" fmla="*/ 149502 h 157370"/>
                <a:gd name="connsiteX374" fmla="*/ 29114 w 716036"/>
                <a:gd name="connsiteY374" fmla="*/ 152256 h 157370"/>
                <a:gd name="connsiteX375" fmla="*/ 31867 w 716036"/>
                <a:gd name="connsiteY375" fmla="*/ 152256 h 157370"/>
                <a:gd name="connsiteX376" fmla="*/ 34621 w 716036"/>
                <a:gd name="connsiteY376" fmla="*/ 152649 h 157370"/>
                <a:gd name="connsiteX377" fmla="*/ 37769 w 716036"/>
                <a:gd name="connsiteY377" fmla="*/ 151469 h 157370"/>
                <a:gd name="connsiteX378" fmla="*/ 40916 w 716036"/>
                <a:gd name="connsiteY378" fmla="*/ 149109 h 157370"/>
                <a:gd name="connsiteX379" fmla="*/ 44064 w 716036"/>
                <a:gd name="connsiteY379" fmla="*/ 147928 h 157370"/>
                <a:gd name="connsiteX380" fmla="*/ 42097 w 716036"/>
                <a:gd name="connsiteY380" fmla="*/ 151076 h 157370"/>
                <a:gd name="connsiteX381" fmla="*/ 38556 w 716036"/>
                <a:gd name="connsiteY381" fmla="*/ 153043 h 157370"/>
                <a:gd name="connsiteX382" fmla="*/ 41703 w 716036"/>
                <a:gd name="connsiteY382" fmla="*/ 151469 h 157370"/>
                <a:gd name="connsiteX383" fmla="*/ 44851 w 716036"/>
                <a:gd name="connsiteY383" fmla="*/ 150682 h 157370"/>
                <a:gd name="connsiteX384" fmla="*/ 45244 w 716036"/>
                <a:gd name="connsiteY384" fmla="*/ 147928 h 157370"/>
                <a:gd name="connsiteX385" fmla="*/ 48785 w 716036"/>
                <a:gd name="connsiteY385" fmla="*/ 148322 h 157370"/>
                <a:gd name="connsiteX386" fmla="*/ 47605 w 716036"/>
                <a:gd name="connsiteY386" fmla="*/ 151076 h 157370"/>
                <a:gd name="connsiteX387" fmla="*/ 44457 w 716036"/>
                <a:gd name="connsiteY387" fmla="*/ 153436 h 157370"/>
                <a:gd name="connsiteX388" fmla="*/ 47605 w 716036"/>
                <a:gd name="connsiteY388" fmla="*/ 153830 h 157370"/>
                <a:gd name="connsiteX389" fmla="*/ 50752 w 716036"/>
                <a:gd name="connsiteY389" fmla="*/ 154223 h 157370"/>
                <a:gd name="connsiteX390" fmla="*/ 53899 w 716036"/>
                <a:gd name="connsiteY390" fmla="*/ 153830 h 157370"/>
                <a:gd name="connsiteX391" fmla="*/ 57047 w 716036"/>
                <a:gd name="connsiteY391" fmla="*/ 154617 h 157370"/>
                <a:gd name="connsiteX392" fmla="*/ 59801 w 716036"/>
                <a:gd name="connsiteY392" fmla="*/ 154223 h 157370"/>
                <a:gd name="connsiteX393" fmla="*/ 62948 w 716036"/>
                <a:gd name="connsiteY393" fmla="*/ 152649 h 157370"/>
                <a:gd name="connsiteX394" fmla="*/ 64915 w 716036"/>
                <a:gd name="connsiteY394" fmla="*/ 151469 h 157370"/>
                <a:gd name="connsiteX395" fmla="*/ 66096 w 716036"/>
                <a:gd name="connsiteY395" fmla="*/ 151076 h 157370"/>
                <a:gd name="connsiteX396" fmla="*/ 68063 w 716036"/>
                <a:gd name="connsiteY396" fmla="*/ 151076 h 157370"/>
                <a:gd name="connsiteX397" fmla="*/ 68063 w 716036"/>
                <a:gd name="connsiteY397" fmla="*/ 153436 h 157370"/>
                <a:gd name="connsiteX398" fmla="*/ 71210 w 716036"/>
                <a:gd name="connsiteY398" fmla="*/ 155403 h 157370"/>
                <a:gd name="connsiteX399" fmla="*/ 73964 w 716036"/>
                <a:gd name="connsiteY399" fmla="*/ 155797 h 157370"/>
                <a:gd name="connsiteX400" fmla="*/ 77111 w 716036"/>
                <a:gd name="connsiteY400" fmla="*/ 155403 h 157370"/>
                <a:gd name="connsiteX401" fmla="*/ 79866 w 716036"/>
                <a:gd name="connsiteY401" fmla="*/ 153830 h 157370"/>
                <a:gd name="connsiteX402" fmla="*/ 83013 w 716036"/>
                <a:gd name="connsiteY402" fmla="*/ 152256 h 157370"/>
                <a:gd name="connsiteX403" fmla="*/ 86554 w 716036"/>
                <a:gd name="connsiteY403" fmla="*/ 151863 h 157370"/>
                <a:gd name="connsiteX404" fmla="*/ 86554 w 716036"/>
                <a:gd name="connsiteY404" fmla="*/ 151469 h 157370"/>
                <a:gd name="connsiteX405" fmla="*/ 89701 w 716036"/>
                <a:gd name="connsiteY405" fmla="*/ 151469 h 157370"/>
                <a:gd name="connsiteX406" fmla="*/ 88521 w 716036"/>
                <a:gd name="connsiteY406" fmla="*/ 151863 h 157370"/>
                <a:gd name="connsiteX407" fmla="*/ 84980 w 716036"/>
                <a:gd name="connsiteY407" fmla="*/ 154617 h 157370"/>
                <a:gd name="connsiteX408" fmla="*/ 88521 w 716036"/>
                <a:gd name="connsiteY408" fmla="*/ 155010 h 157370"/>
                <a:gd name="connsiteX409" fmla="*/ 91275 w 716036"/>
                <a:gd name="connsiteY409" fmla="*/ 155010 h 157370"/>
                <a:gd name="connsiteX410" fmla="*/ 94029 w 716036"/>
                <a:gd name="connsiteY410" fmla="*/ 155403 h 157370"/>
                <a:gd name="connsiteX411" fmla="*/ 97570 w 716036"/>
                <a:gd name="connsiteY411" fmla="*/ 155797 h 157370"/>
                <a:gd name="connsiteX412" fmla="*/ 100717 w 716036"/>
                <a:gd name="connsiteY412" fmla="*/ 156584 h 157370"/>
                <a:gd name="connsiteX413" fmla="*/ 103865 w 716036"/>
                <a:gd name="connsiteY413" fmla="*/ 156190 h 157370"/>
                <a:gd name="connsiteX414" fmla="*/ 107012 w 716036"/>
                <a:gd name="connsiteY414" fmla="*/ 156977 h 157370"/>
                <a:gd name="connsiteX415" fmla="*/ 110553 w 716036"/>
                <a:gd name="connsiteY415" fmla="*/ 156584 h 157370"/>
                <a:gd name="connsiteX416" fmla="*/ 113700 w 716036"/>
                <a:gd name="connsiteY416" fmla="*/ 156190 h 157370"/>
                <a:gd name="connsiteX417" fmla="*/ 119602 w 716036"/>
                <a:gd name="connsiteY417" fmla="*/ 156190 h 157370"/>
                <a:gd name="connsiteX418" fmla="*/ 122356 w 716036"/>
                <a:gd name="connsiteY418" fmla="*/ 155797 h 157370"/>
                <a:gd name="connsiteX419" fmla="*/ 119602 w 716036"/>
                <a:gd name="connsiteY419" fmla="*/ 155010 h 157370"/>
                <a:gd name="connsiteX420" fmla="*/ 116848 w 716036"/>
                <a:gd name="connsiteY420" fmla="*/ 153830 h 157370"/>
                <a:gd name="connsiteX421" fmla="*/ 113700 w 716036"/>
                <a:gd name="connsiteY421" fmla="*/ 153436 h 157370"/>
                <a:gd name="connsiteX422" fmla="*/ 114094 w 716036"/>
                <a:gd name="connsiteY422" fmla="*/ 152649 h 157370"/>
                <a:gd name="connsiteX423" fmla="*/ 189632 w 716036"/>
                <a:gd name="connsiteY423" fmla="*/ 156977 h 157370"/>
                <a:gd name="connsiteX424" fmla="*/ 189238 w 716036"/>
                <a:gd name="connsiteY424" fmla="*/ 156977 h 157370"/>
                <a:gd name="connsiteX425" fmla="*/ 185697 w 716036"/>
                <a:gd name="connsiteY425" fmla="*/ 159338 h 157370"/>
                <a:gd name="connsiteX426" fmla="*/ 182943 w 716036"/>
                <a:gd name="connsiteY426" fmla="*/ 160911 h 157370"/>
                <a:gd name="connsiteX427" fmla="*/ 186091 w 716036"/>
                <a:gd name="connsiteY427" fmla="*/ 160518 h 157370"/>
                <a:gd name="connsiteX428" fmla="*/ 188845 w 716036"/>
                <a:gd name="connsiteY428" fmla="*/ 160125 h 157370"/>
                <a:gd name="connsiteX429" fmla="*/ 191992 w 716036"/>
                <a:gd name="connsiteY429" fmla="*/ 160125 h 157370"/>
                <a:gd name="connsiteX430" fmla="*/ 195139 w 716036"/>
                <a:gd name="connsiteY430" fmla="*/ 159338 h 157370"/>
                <a:gd name="connsiteX431" fmla="*/ 198287 w 716036"/>
                <a:gd name="connsiteY431" fmla="*/ 158944 h 157370"/>
                <a:gd name="connsiteX432" fmla="*/ 201041 w 716036"/>
                <a:gd name="connsiteY432" fmla="*/ 158157 h 157370"/>
                <a:gd name="connsiteX433" fmla="*/ 204188 w 716036"/>
                <a:gd name="connsiteY433" fmla="*/ 158551 h 157370"/>
                <a:gd name="connsiteX434" fmla="*/ 206942 w 716036"/>
                <a:gd name="connsiteY434" fmla="*/ 158157 h 157370"/>
                <a:gd name="connsiteX435" fmla="*/ 208516 w 716036"/>
                <a:gd name="connsiteY435" fmla="*/ 158157 h 157370"/>
                <a:gd name="connsiteX436" fmla="*/ 211270 w 716036"/>
                <a:gd name="connsiteY436" fmla="*/ 157371 h 157370"/>
                <a:gd name="connsiteX437" fmla="*/ 214417 w 716036"/>
                <a:gd name="connsiteY437" fmla="*/ 156977 h 157370"/>
                <a:gd name="connsiteX438" fmla="*/ 217565 w 716036"/>
                <a:gd name="connsiteY438" fmla="*/ 156584 h 157370"/>
                <a:gd name="connsiteX439" fmla="*/ 220319 w 716036"/>
                <a:gd name="connsiteY439" fmla="*/ 156977 h 157370"/>
                <a:gd name="connsiteX440" fmla="*/ 223073 w 716036"/>
                <a:gd name="connsiteY440" fmla="*/ 156977 h 157370"/>
                <a:gd name="connsiteX441" fmla="*/ 226220 w 716036"/>
                <a:gd name="connsiteY441" fmla="*/ 155403 h 157370"/>
                <a:gd name="connsiteX442" fmla="*/ 228974 w 716036"/>
                <a:gd name="connsiteY442" fmla="*/ 154223 h 157370"/>
                <a:gd name="connsiteX443" fmla="*/ 232515 w 716036"/>
                <a:gd name="connsiteY443" fmla="*/ 153830 h 157370"/>
                <a:gd name="connsiteX444" fmla="*/ 235269 w 716036"/>
                <a:gd name="connsiteY444" fmla="*/ 152649 h 157370"/>
                <a:gd name="connsiteX445" fmla="*/ 238416 w 716036"/>
                <a:gd name="connsiteY445" fmla="*/ 151076 h 157370"/>
                <a:gd name="connsiteX446" fmla="*/ 241564 w 716036"/>
                <a:gd name="connsiteY446" fmla="*/ 150682 h 157370"/>
                <a:gd name="connsiteX447" fmla="*/ 241957 w 716036"/>
                <a:gd name="connsiteY447" fmla="*/ 153436 h 157370"/>
                <a:gd name="connsiteX448" fmla="*/ 244711 w 716036"/>
                <a:gd name="connsiteY448" fmla="*/ 153436 h 157370"/>
                <a:gd name="connsiteX449" fmla="*/ 247859 w 716036"/>
                <a:gd name="connsiteY449" fmla="*/ 152256 h 157370"/>
                <a:gd name="connsiteX450" fmla="*/ 250613 w 716036"/>
                <a:gd name="connsiteY450" fmla="*/ 151863 h 157370"/>
                <a:gd name="connsiteX451" fmla="*/ 253760 w 716036"/>
                <a:gd name="connsiteY451" fmla="*/ 150289 h 157370"/>
                <a:gd name="connsiteX452" fmla="*/ 256514 w 716036"/>
                <a:gd name="connsiteY452" fmla="*/ 149109 h 157370"/>
                <a:gd name="connsiteX453" fmla="*/ 259661 w 716036"/>
                <a:gd name="connsiteY453" fmla="*/ 149109 h 157370"/>
                <a:gd name="connsiteX454" fmla="*/ 262416 w 716036"/>
                <a:gd name="connsiteY454" fmla="*/ 147535 h 157370"/>
                <a:gd name="connsiteX455" fmla="*/ 265170 w 716036"/>
                <a:gd name="connsiteY455" fmla="*/ 145174 h 157370"/>
                <a:gd name="connsiteX456" fmla="*/ 266743 w 716036"/>
                <a:gd name="connsiteY456" fmla="*/ 142420 h 157370"/>
                <a:gd name="connsiteX457" fmla="*/ 265956 w 716036"/>
                <a:gd name="connsiteY457" fmla="*/ 139666 h 157370"/>
                <a:gd name="connsiteX458" fmla="*/ 262809 w 716036"/>
                <a:gd name="connsiteY458" fmla="*/ 139273 h 157370"/>
                <a:gd name="connsiteX459" fmla="*/ 259661 w 716036"/>
                <a:gd name="connsiteY459" fmla="*/ 139666 h 157370"/>
                <a:gd name="connsiteX460" fmla="*/ 256514 w 716036"/>
                <a:gd name="connsiteY460" fmla="*/ 140847 h 157370"/>
                <a:gd name="connsiteX461" fmla="*/ 253367 w 716036"/>
                <a:gd name="connsiteY461" fmla="*/ 142027 h 157370"/>
                <a:gd name="connsiteX462" fmla="*/ 250613 w 716036"/>
                <a:gd name="connsiteY462" fmla="*/ 142814 h 157370"/>
                <a:gd name="connsiteX463" fmla="*/ 247072 w 716036"/>
                <a:gd name="connsiteY463" fmla="*/ 144387 h 157370"/>
                <a:gd name="connsiteX464" fmla="*/ 244318 w 716036"/>
                <a:gd name="connsiteY464" fmla="*/ 143601 h 157370"/>
                <a:gd name="connsiteX465" fmla="*/ 247465 w 716036"/>
                <a:gd name="connsiteY465" fmla="*/ 141633 h 157370"/>
                <a:gd name="connsiteX466" fmla="*/ 241957 w 716036"/>
                <a:gd name="connsiteY466" fmla="*/ 141633 h 157370"/>
                <a:gd name="connsiteX467" fmla="*/ 238810 w 716036"/>
                <a:gd name="connsiteY467" fmla="*/ 141240 h 157370"/>
                <a:gd name="connsiteX468" fmla="*/ 241957 w 716036"/>
                <a:gd name="connsiteY468" fmla="*/ 140453 h 157370"/>
                <a:gd name="connsiteX469" fmla="*/ 244711 w 716036"/>
                <a:gd name="connsiteY469" fmla="*/ 139666 h 157370"/>
                <a:gd name="connsiteX470" fmla="*/ 247859 w 716036"/>
                <a:gd name="connsiteY470" fmla="*/ 138093 h 157370"/>
                <a:gd name="connsiteX471" fmla="*/ 251006 w 716036"/>
                <a:gd name="connsiteY471" fmla="*/ 135732 h 157370"/>
                <a:gd name="connsiteX472" fmla="*/ 248252 w 716036"/>
                <a:gd name="connsiteY472" fmla="*/ 134158 h 157370"/>
                <a:gd name="connsiteX473" fmla="*/ 245498 w 716036"/>
                <a:gd name="connsiteY473" fmla="*/ 133765 h 157370"/>
                <a:gd name="connsiteX474" fmla="*/ 242744 w 716036"/>
                <a:gd name="connsiteY474" fmla="*/ 133372 h 157370"/>
                <a:gd name="connsiteX475" fmla="*/ 239597 w 716036"/>
                <a:gd name="connsiteY475" fmla="*/ 133765 h 157370"/>
                <a:gd name="connsiteX476" fmla="*/ 236843 w 716036"/>
                <a:gd name="connsiteY476" fmla="*/ 134158 h 157370"/>
                <a:gd name="connsiteX477" fmla="*/ 233695 w 716036"/>
                <a:gd name="connsiteY477" fmla="*/ 134945 h 157370"/>
                <a:gd name="connsiteX478" fmla="*/ 236056 w 716036"/>
                <a:gd name="connsiteY478" fmla="*/ 132978 h 157370"/>
                <a:gd name="connsiteX479" fmla="*/ 238416 w 716036"/>
                <a:gd name="connsiteY479" fmla="*/ 132585 h 157370"/>
                <a:gd name="connsiteX480" fmla="*/ 241170 w 716036"/>
                <a:gd name="connsiteY480" fmla="*/ 132191 h 157370"/>
                <a:gd name="connsiteX481" fmla="*/ 244711 w 716036"/>
                <a:gd name="connsiteY481" fmla="*/ 132191 h 157370"/>
                <a:gd name="connsiteX482" fmla="*/ 247465 w 716036"/>
                <a:gd name="connsiteY482" fmla="*/ 132585 h 157370"/>
                <a:gd name="connsiteX483" fmla="*/ 250219 w 716036"/>
                <a:gd name="connsiteY483" fmla="*/ 132978 h 157370"/>
                <a:gd name="connsiteX484" fmla="*/ 253760 w 716036"/>
                <a:gd name="connsiteY484" fmla="*/ 132585 h 157370"/>
                <a:gd name="connsiteX485" fmla="*/ 256907 w 716036"/>
                <a:gd name="connsiteY485" fmla="*/ 132191 h 157370"/>
                <a:gd name="connsiteX486" fmla="*/ 259661 w 716036"/>
                <a:gd name="connsiteY486" fmla="*/ 131404 h 157370"/>
                <a:gd name="connsiteX487" fmla="*/ 263202 w 716036"/>
                <a:gd name="connsiteY487" fmla="*/ 131404 h 157370"/>
                <a:gd name="connsiteX488" fmla="*/ 260055 w 716036"/>
                <a:gd name="connsiteY488" fmla="*/ 132585 h 157370"/>
                <a:gd name="connsiteX489" fmla="*/ 263202 w 716036"/>
                <a:gd name="connsiteY489" fmla="*/ 132191 h 157370"/>
                <a:gd name="connsiteX490" fmla="*/ 265956 w 716036"/>
                <a:gd name="connsiteY490" fmla="*/ 131798 h 157370"/>
                <a:gd name="connsiteX491" fmla="*/ 269497 w 716036"/>
                <a:gd name="connsiteY491" fmla="*/ 131404 h 157370"/>
                <a:gd name="connsiteX492" fmla="*/ 272644 w 716036"/>
                <a:gd name="connsiteY492" fmla="*/ 131011 h 157370"/>
                <a:gd name="connsiteX493" fmla="*/ 275792 w 716036"/>
                <a:gd name="connsiteY493" fmla="*/ 129437 h 157370"/>
                <a:gd name="connsiteX494" fmla="*/ 279333 w 716036"/>
                <a:gd name="connsiteY494" fmla="*/ 129044 h 157370"/>
                <a:gd name="connsiteX495" fmla="*/ 282480 w 716036"/>
                <a:gd name="connsiteY495" fmla="*/ 127864 h 157370"/>
                <a:gd name="connsiteX496" fmla="*/ 285234 w 716036"/>
                <a:gd name="connsiteY496" fmla="*/ 126290 h 157370"/>
                <a:gd name="connsiteX497" fmla="*/ 288382 w 716036"/>
                <a:gd name="connsiteY497" fmla="*/ 123929 h 157370"/>
                <a:gd name="connsiteX498" fmla="*/ 285628 w 716036"/>
                <a:gd name="connsiteY498" fmla="*/ 123536 h 157370"/>
                <a:gd name="connsiteX499" fmla="*/ 288775 w 716036"/>
                <a:gd name="connsiteY499" fmla="*/ 121962 h 157370"/>
                <a:gd name="connsiteX500" fmla="*/ 288382 w 716036"/>
                <a:gd name="connsiteY500" fmla="*/ 118815 h 157370"/>
                <a:gd name="connsiteX501" fmla="*/ 287595 w 716036"/>
                <a:gd name="connsiteY501" fmla="*/ 118421 h 157370"/>
                <a:gd name="connsiteX502" fmla="*/ 293890 w 716036"/>
                <a:gd name="connsiteY502" fmla="*/ 116454 h 157370"/>
                <a:gd name="connsiteX503" fmla="*/ 293890 w 716036"/>
                <a:gd name="connsiteY503" fmla="*/ 116454 h 157370"/>
                <a:gd name="connsiteX504" fmla="*/ 297037 w 716036"/>
                <a:gd name="connsiteY504" fmla="*/ 116848 h 157370"/>
                <a:gd name="connsiteX505" fmla="*/ 309627 w 716036"/>
                <a:gd name="connsiteY505" fmla="*/ 116848 h 157370"/>
                <a:gd name="connsiteX506" fmla="*/ 312774 w 716036"/>
                <a:gd name="connsiteY506" fmla="*/ 118028 h 157370"/>
                <a:gd name="connsiteX507" fmla="*/ 315921 w 716036"/>
                <a:gd name="connsiteY507" fmla="*/ 117634 h 157370"/>
                <a:gd name="connsiteX508" fmla="*/ 318675 w 716036"/>
                <a:gd name="connsiteY508" fmla="*/ 117241 h 157370"/>
                <a:gd name="connsiteX509" fmla="*/ 321823 w 716036"/>
                <a:gd name="connsiteY509" fmla="*/ 116848 h 157370"/>
                <a:gd name="connsiteX510" fmla="*/ 324970 w 716036"/>
                <a:gd name="connsiteY510" fmla="*/ 115667 h 157370"/>
                <a:gd name="connsiteX511" fmla="*/ 328511 w 716036"/>
                <a:gd name="connsiteY511" fmla="*/ 115274 h 157370"/>
                <a:gd name="connsiteX512" fmla="*/ 331658 w 716036"/>
                <a:gd name="connsiteY512" fmla="*/ 115667 h 157370"/>
                <a:gd name="connsiteX513" fmla="*/ 334412 w 716036"/>
                <a:gd name="connsiteY513" fmla="*/ 116454 h 157370"/>
                <a:gd name="connsiteX514" fmla="*/ 337167 w 716036"/>
                <a:gd name="connsiteY514" fmla="*/ 115274 h 157370"/>
                <a:gd name="connsiteX515" fmla="*/ 340314 w 716036"/>
                <a:gd name="connsiteY515" fmla="*/ 114487 h 157370"/>
                <a:gd name="connsiteX516" fmla="*/ 343068 w 716036"/>
                <a:gd name="connsiteY516" fmla="*/ 112127 h 157370"/>
                <a:gd name="connsiteX517" fmla="*/ 339921 w 716036"/>
                <a:gd name="connsiteY517" fmla="*/ 112127 h 157370"/>
                <a:gd name="connsiteX518" fmla="*/ 336773 w 716036"/>
                <a:gd name="connsiteY518" fmla="*/ 111733 h 157370"/>
                <a:gd name="connsiteX519" fmla="*/ 332445 w 716036"/>
                <a:gd name="connsiteY519" fmla="*/ 111733 h 157370"/>
                <a:gd name="connsiteX520" fmla="*/ 329691 w 716036"/>
                <a:gd name="connsiteY520" fmla="*/ 111340 h 157370"/>
                <a:gd name="connsiteX521" fmla="*/ 326151 w 716036"/>
                <a:gd name="connsiteY521" fmla="*/ 111340 h 157370"/>
                <a:gd name="connsiteX522" fmla="*/ 323003 w 716036"/>
                <a:gd name="connsiteY522" fmla="*/ 109766 h 157370"/>
                <a:gd name="connsiteX523" fmla="*/ 326544 w 716036"/>
                <a:gd name="connsiteY523" fmla="*/ 109766 h 157370"/>
                <a:gd name="connsiteX524" fmla="*/ 329691 w 716036"/>
                <a:gd name="connsiteY524" fmla="*/ 109373 h 157370"/>
                <a:gd name="connsiteX525" fmla="*/ 332839 w 716036"/>
                <a:gd name="connsiteY525" fmla="*/ 109766 h 157370"/>
                <a:gd name="connsiteX526" fmla="*/ 335593 w 716036"/>
                <a:gd name="connsiteY526" fmla="*/ 109373 h 157370"/>
                <a:gd name="connsiteX527" fmla="*/ 338740 w 716036"/>
                <a:gd name="connsiteY527" fmla="*/ 109766 h 157370"/>
                <a:gd name="connsiteX528" fmla="*/ 341494 w 716036"/>
                <a:gd name="connsiteY528" fmla="*/ 110159 h 157370"/>
                <a:gd name="connsiteX529" fmla="*/ 345035 w 716036"/>
                <a:gd name="connsiteY529" fmla="*/ 110553 h 157370"/>
                <a:gd name="connsiteX530" fmla="*/ 347789 w 716036"/>
                <a:gd name="connsiteY530" fmla="*/ 110159 h 157370"/>
                <a:gd name="connsiteX531" fmla="*/ 350936 w 716036"/>
                <a:gd name="connsiteY531" fmla="*/ 108979 h 157370"/>
                <a:gd name="connsiteX532" fmla="*/ 353690 w 716036"/>
                <a:gd name="connsiteY532" fmla="*/ 107799 h 157370"/>
                <a:gd name="connsiteX533" fmla="*/ 357231 w 716036"/>
                <a:gd name="connsiteY533" fmla="*/ 107799 h 157370"/>
                <a:gd name="connsiteX534" fmla="*/ 359985 w 716036"/>
                <a:gd name="connsiteY534" fmla="*/ 105832 h 157370"/>
                <a:gd name="connsiteX535" fmla="*/ 357231 w 716036"/>
                <a:gd name="connsiteY535" fmla="*/ 105045 h 157370"/>
                <a:gd name="connsiteX536" fmla="*/ 354084 w 716036"/>
                <a:gd name="connsiteY536" fmla="*/ 104651 h 157370"/>
                <a:gd name="connsiteX537" fmla="*/ 350543 w 716036"/>
                <a:gd name="connsiteY537" fmla="*/ 104258 h 157370"/>
                <a:gd name="connsiteX538" fmla="*/ 347789 w 716036"/>
                <a:gd name="connsiteY538" fmla="*/ 103865 h 157370"/>
                <a:gd name="connsiteX539" fmla="*/ 345035 w 716036"/>
                <a:gd name="connsiteY539" fmla="*/ 103865 h 157370"/>
                <a:gd name="connsiteX540" fmla="*/ 341888 w 716036"/>
                <a:gd name="connsiteY540" fmla="*/ 102291 h 157370"/>
                <a:gd name="connsiteX541" fmla="*/ 339134 w 716036"/>
                <a:gd name="connsiteY541" fmla="*/ 102684 h 157370"/>
                <a:gd name="connsiteX542" fmla="*/ 338347 w 716036"/>
                <a:gd name="connsiteY542" fmla="*/ 102684 h 157370"/>
                <a:gd name="connsiteX543" fmla="*/ 341888 w 716036"/>
                <a:gd name="connsiteY543" fmla="*/ 101504 h 157370"/>
                <a:gd name="connsiteX544" fmla="*/ 345035 w 716036"/>
                <a:gd name="connsiteY544" fmla="*/ 101897 h 157370"/>
                <a:gd name="connsiteX545" fmla="*/ 348576 w 716036"/>
                <a:gd name="connsiteY545" fmla="*/ 102291 h 157370"/>
                <a:gd name="connsiteX546" fmla="*/ 351723 w 716036"/>
                <a:gd name="connsiteY546" fmla="*/ 102684 h 157370"/>
                <a:gd name="connsiteX547" fmla="*/ 355264 w 716036"/>
                <a:gd name="connsiteY547" fmla="*/ 102684 h 157370"/>
                <a:gd name="connsiteX548" fmla="*/ 358805 w 716036"/>
                <a:gd name="connsiteY548" fmla="*/ 102291 h 157370"/>
                <a:gd name="connsiteX549" fmla="*/ 361952 w 716036"/>
                <a:gd name="connsiteY549" fmla="*/ 102291 h 157370"/>
                <a:gd name="connsiteX550" fmla="*/ 364706 w 716036"/>
                <a:gd name="connsiteY550" fmla="*/ 101897 h 157370"/>
                <a:gd name="connsiteX551" fmla="*/ 367854 w 716036"/>
                <a:gd name="connsiteY551" fmla="*/ 101897 h 157370"/>
                <a:gd name="connsiteX552" fmla="*/ 371001 w 716036"/>
                <a:gd name="connsiteY552" fmla="*/ 101504 h 157370"/>
                <a:gd name="connsiteX553" fmla="*/ 374542 w 716036"/>
                <a:gd name="connsiteY553" fmla="*/ 98750 h 157370"/>
                <a:gd name="connsiteX554" fmla="*/ 377296 w 716036"/>
                <a:gd name="connsiteY554" fmla="*/ 95996 h 157370"/>
                <a:gd name="connsiteX555" fmla="*/ 380443 w 716036"/>
                <a:gd name="connsiteY555" fmla="*/ 95209 h 157370"/>
                <a:gd name="connsiteX556" fmla="*/ 377689 w 716036"/>
                <a:gd name="connsiteY556" fmla="*/ 94422 h 157370"/>
                <a:gd name="connsiteX557" fmla="*/ 374148 w 716036"/>
                <a:gd name="connsiteY557" fmla="*/ 94029 h 157370"/>
                <a:gd name="connsiteX558" fmla="*/ 371395 w 716036"/>
                <a:gd name="connsiteY558" fmla="*/ 93635 h 157370"/>
                <a:gd name="connsiteX559" fmla="*/ 370608 w 716036"/>
                <a:gd name="connsiteY559" fmla="*/ 93635 h 157370"/>
                <a:gd name="connsiteX560" fmla="*/ 382017 w 716036"/>
                <a:gd name="connsiteY560" fmla="*/ 90095 h 157370"/>
                <a:gd name="connsiteX561" fmla="*/ 384771 w 716036"/>
                <a:gd name="connsiteY561" fmla="*/ 90488 h 157370"/>
                <a:gd name="connsiteX562" fmla="*/ 390672 w 716036"/>
                <a:gd name="connsiteY562" fmla="*/ 90488 h 157370"/>
                <a:gd name="connsiteX563" fmla="*/ 393820 w 716036"/>
                <a:gd name="connsiteY563" fmla="*/ 89308 h 157370"/>
                <a:gd name="connsiteX564" fmla="*/ 391066 w 716036"/>
                <a:gd name="connsiteY564" fmla="*/ 86554 h 157370"/>
                <a:gd name="connsiteX565" fmla="*/ 394607 w 716036"/>
                <a:gd name="connsiteY565" fmla="*/ 86160 h 157370"/>
                <a:gd name="connsiteX566" fmla="*/ 397361 w 716036"/>
                <a:gd name="connsiteY566" fmla="*/ 85767 h 157370"/>
                <a:gd name="connsiteX567" fmla="*/ 393820 w 716036"/>
                <a:gd name="connsiteY567" fmla="*/ 85374 h 157370"/>
                <a:gd name="connsiteX568" fmla="*/ 391066 w 716036"/>
                <a:gd name="connsiteY568" fmla="*/ 84980 h 157370"/>
                <a:gd name="connsiteX569" fmla="*/ 387918 w 716036"/>
                <a:gd name="connsiteY569" fmla="*/ 85374 h 157370"/>
                <a:gd name="connsiteX570" fmla="*/ 391853 w 716036"/>
                <a:gd name="connsiteY570" fmla="*/ 81833 h 157370"/>
                <a:gd name="connsiteX571" fmla="*/ 402869 w 716036"/>
                <a:gd name="connsiteY571" fmla="*/ 80259 h 157370"/>
                <a:gd name="connsiteX572" fmla="*/ 410737 w 716036"/>
                <a:gd name="connsiteY572" fmla="*/ 80259 h 157370"/>
                <a:gd name="connsiteX573" fmla="*/ 413885 w 716036"/>
                <a:gd name="connsiteY573" fmla="*/ 79866 h 157370"/>
                <a:gd name="connsiteX574" fmla="*/ 415852 w 716036"/>
                <a:gd name="connsiteY574" fmla="*/ 78292 h 157370"/>
                <a:gd name="connsiteX575" fmla="*/ 417425 w 716036"/>
                <a:gd name="connsiteY575" fmla="*/ 77898 h 157370"/>
                <a:gd name="connsiteX576" fmla="*/ 419786 w 716036"/>
                <a:gd name="connsiteY576" fmla="*/ 78685 h 157370"/>
                <a:gd name="connsiteX577" fmla="*/ 426474 w 716036"/>
                <a:gd name="connsiteY577" fmla="*/ 78685 h 157370"/>
                <a:gd name="connsiteX578" fmla="*/ 429622 w 716036"/>
                <a:gd name="connsiteY578" fmla="*/ 78292 h 157370"/>
                <a:gd name="connsiteX579" fmla="*/ 432376 w 716036"/>
                <a:gd name="connsiteY579" fmla="*/ 77505 h 157370"/>
                <a:gd name="connsiteX580" fmla="*/ 432376 w 716036"/>
                <a:gd name="connsiteY580" fmla="*/ 75931 h 157370"/>
                <a:gd name="connsiteX581" fmla="*/ 441425 w 716036"/>
                <a:gd name="connsiteY581" fmla="*/ 74358 h 157370"/>
                <a:gd name="connsiteX582" fmla="*/ 442605 w 716036"/>
                <a:gd name="connsiteY582" fmla="*/ 74751 h 157370"/>
                <a:gd name="connsiteX583" fmla="*/ 445752 w 716036"/>
                <a:gd name="connsiteY583" fmla="*/ 74751 h 157370"/>
                <a:gd name="connsiteX584" fmla="*/ 448506 w 716036"/>
                <a:gd name="connsiteY584" fmla="*/ 74358 h 157370"/>
                <a:gd name="connsiteX585" fmla="*/ 451654 w 716036"/>
                <a:gd name="connsiteY585" fmla="*/ 74751 h 157370"/>
                <a:gd name="connsiteX586" fmla="*/ 455194 w 716036"/>
                <a:gd name="connsiteY586" fmla="*/ 74358 h 157370"/>
                <a:gd name="connsiteX587" fmla="*/ 458342 w 716036"/>
                <a:gd name="connsiteY587" fmla="*/ 73964 h 157370"/>
                <a:gd name="connsiteX588" fmla="*/ 461489 w 716036"/>
                <a:gd name="connsiteY588" fmla="*/ 73964 h 157370"/>
                <a:gd name="connsiteX589" fmla="*/ 464637 w 716036"/>
                <a:gd name="connsiteY589" fmla="*/ 73571 h 157370"/>
                <a:gd name="connsiteX590" fmla="*/ 467784 w 716036"/>
                <a:gd name="connsiteY590" fmla="*/ 73177 h 157370"/>
                <a:gd name="connsiteX591" fmla="*/ 470538 w 716036"/>
                <a:gd name="connsiteY591" fmla="*/ 72784 h 157370"/>
                <a:gd name="connsiteX592" fmla="*/ 474079 w 716036"/>
                <a:gd name="connsiteY592" fmla="*/ 72390 h 157370"/>
                <a:gd name="connsiteX593" fmla="*/ 476833 w 716036"/>
                <a:gd name="connsiteY593" fmla="*/ 71604 h 157370"/>
                <a:gd name="connsiteX594" fmla="*/ 479980 w 716036"/>
                <a:gd name="connsiteY594" fmla="*/ 70817 h 157370"/>
                <a:gd name="connsiteX595" fmla="*/ 476833 w 716036"/>
                <a:gd name="connsiteY595" fmla="*/ 69243 h 157370"/>
                <a:gd name="connsiteX596" fmla="*/ 473292 w 716036"/>
                <a:gd name="connsiteY596" fmla="*/ 69636 h 157370"/>
                <a:gd name="connsiteX597" fmla="*/ 488242 w 716036"/>
                <a:gd name="connsiteY597" fmla="*/ 67276 h 157370"/>
                <a:gd name="connsiteX598" fmla="*/ 489423 w 716036"/>
                <a:gd name="connsiteY598" fmla="*/ 67276 h 157370"/>
                <a:gd name="connsiteX599" fmla="*/ 490209 w 716036"/>
                <a:gd name="connsiteY599" fmla="*/ 66882 h 157370"/>
                <a:gd name="connsiteX600" fmla="*/ 492570 w 716036"/>
                <a:gd name="connsiteY600" fmla="*/ 65702 h 157370"/>
                <a:gd name="connsiteX601" fmla="*/ 501619 w 716036"/>
                <a:gd name="connsiteY601" fmla="*/ 62555 h 157370"/>
                <a:gd name="connsiteX602" fmla="*/ 503586 w 716036"/>
                <a:gd name="connsiteY602" fmla="*/ 62555 h 157370"/>
                <a:gd name="connsiteX603" fmla="*/ 506733 w 716036"/>
                <a:gd name="connsiteY603" fmla="*/ 61375 h 157370"/>
                <a:gd name="connsiteX604" fmla="*/ 505946 w 716036"/>
                <a:gd name="connsiteY604" fmla="*/ 60981 h 157370"/>
                <a:gd name="connsiteX605" fmla="*/ 511848 w 716036"/>
                <a:gd name="connsiteY605" fmla="*/ 59014 h 157370"/>
                <a:gd name="connsiteX606" fmla="*/ 514208 w 716036"/>
                <a:gd name="connsiteY606" fmla="*/ 59014 h 157370"/>
                <a:gd name="connsiteX607" fmla="*/ 517749 w 716036"/>
                <a:gd name="connsiteY607" fmla="*/ 58621 h 157370"/>
                <a:gd name="connsiteX608" fmla="*/ 520897 w 716036"/>
                <a:gd name="connsiteY608" fmla="*/ 58227 h 157370"/>
                <a:gd name="connsiteX609" fmla="*/ 524044 w 716036"/>
                <a:gd name="connsiteY609" fmla="*/ 57834 h 157370"/>
                <a:gd name="connsiteX610" fmla="*/ 527191 w 716036"/>
                <a:gd name="connsiteY610" fmla="*/ 56260 h 157370"/>
                <a:gd name="connsiteX611" fmla="*/ 529946 w 716036"/>
                <a:gd name="connsiteY611" fmla="*/ 55473 h 157370"/>
                <a:gd name="connsiteX612" fmla="*/ 533093 w 716036"/>
                <a:gd name="connsiteY612" fmla="*/ 54293 h 157370"/>
                <a:gd name="connsiteX613" fmla="*/ 535847 w 716036"/>
                <a:gd name="connsiteY613" fmla="*/ 53899 h 157370"/>
                <a:gd name="connsiteX614" fmla="*/ 538994 w 716036"/>
                <a:gd name="connsiteY614" fmla="*/ 52719 h 157370"/>
                <a:gd name="connsiteX615" fmla="*/ 541748 w 716036"/>
                <a:gd name="connsiteY615" fmla="*/ 52326 h 157370"/>
                <a:gd name="connsiteX616" fmla="*/ 544896 w 716036"/>
                <a:gd name="connsiteY616" fmla="*/ 51932 h 157370"/>
                <a:gd name="connsiteX617" fmla="*/ 548043 w 716036"/>
                <a:gd name="connsiteY617" fmla="*/ 51539 h 157370"/>
                <a:gd name="connsiteX618" fmla="*/ 551190 w 716036"/>
                <a:gd name="connsiteY618" fmla="*/ 51145 h 157370"/>
                <a:gd name="connsiteX619" fmla="*/ 554338 w 716036"/>
                <a:gd name="connsiteY619" fmla="*/ 50359 h 157370"/>
                <a:gd name="connsiteX620" fmla="*/ 557485 w 716036"/>
                <a:gd name="connsiteY620" fmla="*/ 49965 h 157370"/>
                <a:gd name="connsiteX621" fmla="*/ 560633 w 716036"/>
                <a:gd name="connsiteY621" fmla="*/ 49572 h 157370"/>
                <a:gd name="connsiteX622" fmla="*/ 563780 w 716036"/>
                <a:gd name="connsiteY622" fmla="*/ 48785 h 157370"/>
                <a:gd name="connsiteX623" fmla="*/ 566927 w 716036"/>
                <a:gd name="connsiteY623" fmla="*/ 48391 h 157370"/>
                <a:gd name="connsiteX624" fmla="*/ 569681 w 716036"/>
                <a:gd name="connsiteY624" fmla="*/ 47998 h 157370"/>
                <a:gd name="connsiteX625" fmla="*/ 572436 w 716036"/>
                <a:gd name="connsiteY625" fmla="*/ 46818 h 157370"/>
                <a:gd name="connsiteX626" fmla="*/ 575583 w 716036"/>
                <a:gd name="connsiteY626" fmla="*/ 46818 h 157370"/>
                <a:gd name="connsiteX627" fmla="*/ 578730 w 716036"/>
                <a:gd name="connsiteY627" fmla="*/ 46424 h 157370"/>
                <a:gd name="connsiteX628" fmla="*/ 581878 w 716036"/>
                <a:gd name="connsiteY628" fmla="*/ 46031 h 157370"/>
                <a:gd name="connsiteX629" fmla="*/ 585419 w 716036"/>
                <a:gd name="connsiteY629" fmla="*/ 45637 h 157370"/>
                <a:gd name="connsiteX630" fmla="*/ 588566 w 716036"/>
                <a:gd name="connsiteY630" fmla="*/ 45244 h 157370"/>
                <a:gd name="connsiteX631" fmla="*/ 591320 w 716036"/>
                <a:gd name="connsiteY631" fmla="*/ 44851 h 157370"/>
                <a:gd name="connsiteX632" fmla="*/ 592107 w 716036"/>
                <a:gd name="connsiteY632" fmla="*/ 41310 h 157370"/>
                <a:gd name="connsiteX633" fmla="*/ 595648 w 716036"/>
                <a:gd name="connsiteY633" fmla="*/ 40916 h 157370"/>
                <a:gd name="connsiteX634" fmla="*/ 598402 w 716036"/>
                <a:gd name="connsiteY634" fmla="*/ 40129 h 157370"/>
                <a:gd name="connsiteX635" fmla="*/ 601942 w 716036"/>
                <a:gd name="connsiteY635" fmla="*/ 39736 h 157370"/>
                <a:gd name="connsiteX636" fmla="*/ 605090 w 716036"/>
                <a:gd name="connsiteY636" fmla="*/ 39343 h 157370"/>
                <a:gd name="connsiteX637" fmla="*/ 607844 w 716036"/>
                <a:gd name="connsiteY637" fmla="*/ 39343 h 157370"/>
                <a:gd name="connsiteX638" fmla="*/ 611385 w 716036"/>
                <a:gd name="connsiteY638" fmla="*/ 38949 h 157370"/>
                <a:gd name="connsiteX639" fmla="*/ 614926 w 716036"/>
                <a:gd name="connsiteY639" fmla="*/ 38556 h 157370"/>
                <a:gd name="connsiteX640" fmla="*/ 618073 w 716036"/>
                <a:gd name="connsiteY640" fmla="*/ 38162 h 157370"/>
                <a:gd name="connsiteX641" fmla="*/ 621220 w 716036"/>
                <a:gd name="connsiteY641" fmla="*/ 37769 h 157370"/>
                <a:gd name="connsiteX642" fmla="*/ 624368 w 716036"/>
                <a:gd name="connsiteY642" fmla="*/ 37376 h 157370"/>
                <a:gd name="connsiteX643" fmla="*/ 627515 w 716036"/>
                <a:gd name="connsiteY643" fmla="*/ 36982 h 157370"/>
                <a:gd name="connsiteX644" fmla="*/ 630663 w 716036"/>
                <a:gd name="connsiteY644" fmla="*/ 36589 h 157370"/>
                <a:gd name="connsiteX645" fmla="*/ 633417 w 716036"/>
                <a:gd name="connsiteY645" fmla="*/ 36195 h 157370"/>
                <a:gd name="connsiteX646" fmla="*/ 636958 w 716036"/>
                <a:gd name="connsiteY646" fmla="*/ 35015 h 157370"/>
                <a:gd name="connsiteX647" fmla="*/ 633810 w 716036"/>
                <a:gd name="connsiteY647" fmla="*/ 33441 h 157370"/>
                <a:gd name="connsiteX648" fmla="*/ 631056 w 716036"/>
                <a:gd name="connsiteY648" fmla="*/ 33441 h 157370"/>
                <a:gd name="connsiteX649" fmla="*/ 627515 w 716036"/>
                <a:gd name="connsiteY649" fmla="*/ 33835 h 157370"/>
                <a:gd name="connsiteX650" fmla="*/ 624368 w 716036"/>
                <a:gd name="connsiteY650" fmla="*/ 33835 h 157370"/>
                <a:gd name="connsiteX651" fmla="*/ 620827 w 716036"/>
                <a:gd name="connsiteY651" fmla="*/ 34228 h 157370"/>
                <a:gd name="connsiteX652" fmla="*/ 617680 w 716036"/>
                <a:gd name="connsiteY652" fmla="*/ 34622 h 157370"/>
                <a:gd name="connsiteX653" fmla="*/ 614139 w 716036"/>
                <a:gd name="connsiteY653" fmla="*/ 34622 h 157370"/>
                <a:gd name="connsiteX654" fmla="*/ 610991 w 716036"/>
                <a:gd name="connsiteY654" fmla="*/ 35015 h 157370"/>
                <a:gd name="connsiteX655" fmla="*/ 607844 w 716036"/>
                <a:gd name="connsiteY655" fmla="*/ 35408 h 157370"/>
                <a:gd name="connsiteX656" fmla="*/ 605090 w 716036"/>
                <a:gd name="connsiteY656" fmla="*/ 35802 h 157370"/>
                <a:gd name="connsiteX657" fmla="*/ 601942 w 716036"/>
                <a:gd name="connsiteY657" fmla="*/ 36195 h 157370"/>
                <a:gd name="connsiteX658" fmla="*/ 599188 w 716036"/>
                <a:gd name="connsiteY658" fmla="*/ 36195 h 157370"/>
                <a:gd name="connsiteX659" fmla="*/ 596041 w 716036"/>
                <a:gd name="connsiteY659" fmla="*/ 36589 h 157370"/>
                <a:gd name="connsiteX660" fmla="*/ 592894 w 716036"/>
                <a:gd name="connsiteY660" fmla="*/ 36982 h 157370"/>
                <a:gd name="connsiteX661" fmla="*/ 590140 w 716036"/>
                <a:gd name="connsiteY661" fmla="*/ 37376 h 157370"/>
                <a:gd name="connsiteX662" fmla="*/ 586599 w 716036"/>
                <a:gd name="connsiteY662" fmla="*/ 37769 h 157370"/>
                <a:gd name="connsiteX663" fmla="*/ 583451 w 716036"/>
                <a:gd name="connsiteY663" fmla="*/ 37769 h 157370"/>
                <a:gd name="connsiteX664" fmla="*/ 580697 w 716036"/>
                <a:gd name="connsiteY664" fmla="*/ 38162 h 157370"/>
                <a:gd name="connsiteX665" fmla="*/ 577157 w 716036"/>
                <a:gd name="connsiteY665" fmla="*/ 38556 h 157370"/>
                <a:gd name="connsiteX666" fmla="*/ 574009 w 716036"/>
                <a:gd name="connsiteY666" fmla="*/ 38949 h 157370"/>
                <a:gd name="connsiteX667" fmla="*/ 570862 w 716036"/>
                <a:gd name="connsiteY667" fmla="*/ 39343 h 157370"/>
                <a:gd name="connsiteX668" fmla="*/ 567321 w 716036"/>
                <a:gd name="connsiteY668" fmla="*/ 39736 h 157370"/>
                <a:gd name="connsiteX669" fmla="*/ 564567 w 716036"/>
                <a:gd name="connsiteY669" fmla="*/ 40129 h 157370"/>
                <a:gd name="connsiteX670" fmla="*/ 561420 w 716036"/>
                <a:gd name="connsiteY670" fmla="*/ 40129 h 157370"/>
                <a:gd name="connsiteX671" fmla="*/ 558272 w 716036"/>
                <a:gd name="connsiteY671" fmla="*/ 40523 h 157370"/>
                <a:gd name="connsiteX672" fmla="*/ 555125 w 716036"/>
                <a:gd name="connsiteY672" fmla="*/ 40916 h 157370"/>
                <a:gd name="connsiteX673" fmla="*/ 551977 w 716036"/>
                <a:gd name="connsiteY673" fmla="*/ 41310 h 157370"/>
                <a:gd name="connsiteX674" fmla="*/ 549223 w 716036"/>
                <a:gd name="connsiteY674" fmla="*/ 41703 h 157370"/>
                <a:gd name="connsiteX675" fmla="*/ 546076 w 716036"/>
                <a:gd name="connsiteY675" fmla="*/ 42097 h 157370"/>
                <a:gd name="connsiteX676" fmla="*/ 544896 w 716036"/>
                <a:gd name="connsiteY676" fmla="*/ 42097 h 157370"/>
                <a:gd name="connsiteX677" fmla="*/ 580304 w 716036"/>
                <a:gd name="connsiteY677" fmla="*/ 37769 h 157370"/>
                <a:gd name="connsiteX678" fmla="*/ 581091 w 716036"/>
                <a:gd name="connsiteY678" fmla="*/ 37769 h 157370"/>
                <a:gd name="connsiteX679" fmla="*/ 581484 w 716036"/>
                <a:gd name="connsiteY679" fmla="*/ 37769 h 157370"/>
                <a:gd name="connsiteX680" fmla="*/ 588566 w 716036"/>
                <a:gd name="connsiteY680" fmla="*/ 36982 h 157370"/>
                <a:gd name="connsiteX681" fmla="*/ 590533 w 716036"/>
                <a:gd name="connsiteY681" fmla="*/ 36982 h 157370"/>
                <a:gd name="connsiteX682" fmla="*/ 593681 w 716036"/>
                <a:gd name="connsiteY682" fmla="*/ 36589 h 157370"/>
                <a:gd name="connsiteX683" fmla="*/ 599188 w 716036"/>
                <a:gd name="connsiteY683" fmla="*/ 36195 h 157370"/>
                <a:gd name="connsiteX684" fmla="*/ 598402 w 716036"/>
                <a:gd name="connsiteY684" fmla="*/ 35802 h 157370"/>
                <a:gd name="connsiteX685" fmla="*/ 617286 w 716036"/>
                <a:gd name="connsiteY685" fmla="*/ 33441 h 157370"/>
                <a:gd name="connsiteX686" fmla="*/ 617680 w 716036"/>
                <a:gd name="connsiteY686" fmla="*/ 33441 h 157370"/>
                <a:gd name="connsiteX687" fmla="*/ 619253 w 716036"/>
                <a:gd name="connsiteY687" fmla="*/ 33048 h 157370"/>
                <a:gd name="connsiteX688" fmla="*/ 622401 w 716036"/>
                <a:gd name="connsiteY688" fmla="*/ 32654 h 157370"/>
                <a:gd name="connsiteX689" fmla="*/ 624368 w 716036"/>
                <a:gd name="connsiteY689" fmla="*/ 32654 h 157370"/>
                <a:gd name="connsiteX690" fmla="*/ 623974 w 716036"/>
                <a:gd name="connsiteY690" fmla="*/ 32654 h 157370"/>
                <a:gd name="connsiteX691" fmla="*/ 635777 w 716036"/>
                <a:gd name="connsiteY691" fmla="*/ 31081 h 157370"/>
                <a:gd name="connsiteX692" fmla="*/ 637744 w 716036"/>
                <a:gd name="connsiteY692" fmla="*/ 31474 h 157370"/>
                <a:gd name="connsiteX693" fmla="*/ 644433 w 716036"/>
                <a:gd name="connsiteY693" fmla="*/ 31474 h 157370"/>
                <a:gd name="connsiteX694" fmla="*/ 647580 w 716036"/>
                <a:gd name="connsiteY694" fmla="*/ 31081 h 157370"/>
                <a:gd name="connsiteX695" fmla="*/ 650334 w 716036"/>
                <a:gd name="connsiteY695" fmla="*/ 30687 h 157370"/>
                <a:gd name="connsiteX696" fmla="*/ 653875 w 716036"/>
                <a:gd name="connsiteY696" fmla="*/ 30294 h 157370"/>
                <a:gd name="connsiteX697" fmla="*/ 656629 w 716036"/>
                <a:gd name="connsiteY697" fmla="*/ 29900 h 157370"/>
                <a:gd name="connsiteX698" fmla="*/ 659776 w 716036"/>
                <a:gd name="connsiteY698" fmla="*/ 29507 h 157370"/>
                <a:gd name="connsiteX699" fmla="*/ 662530 w 716036"/>
                <a:gd name="connsiteY699" fmla="*/ 29114 h 157370"/>
                <a:gd name="connsiteX700" fmla="*/ 666071 w 716036"/>
                <a:gd name="connsiteY700" fmla="*/ 28720 h 157370"/>
                <a:gd name="connsiteX701" fmla="*/ 668825 w 716036"/>
                <a:gd name="connsiteY701" fmla="*/ 28327 h 157370"/>
                <a:gd name="connsiteX702" fmla="*/ 671972 w 716036"/>
                <a:gd name="connsiteY702" fmla="*/ 27933 h 157370"/>
                <a:gd name="connsiteX703" fmla="*/ 675120 w 716036"/>
                <a:gd name="connsiteY703" fmla="*/ 27540 h 157370"/>
                <a:gd name="connsiteX704" fmla="*/ 678267 w 716036"/>
                <a:gd name="connsiteY704" fmla="*/ 27146 h 157370"/>
                <a:gd name="connsiteX705" fmla="*/ 681415 w 716036"/>
                <a:gd name="connsiteY705" fmla="*/ 26753 h 157370"/>
                <a:gd name="connsiteX706" fmla="*/ 684562 w 716036"/>
                <a:gd name="connsiteY706" fmla="*/ 26360 h 157370"/>
                <a:gd name="connsiteX707" fmla="*/ 687709 w 716036"/>
                <a:gd name="connsiteY707" fmla="*/ 25966 h 157370"/>
                <a:gd name="connsiteX708" fmla="*/ 691250 w 716036"/>
                <a:gd name="connsiteY708" fmla="*/ 25573 h 157370"/>
                <a:gd name="connsiteX709" fmla="*/ 694398 w 716036"/>
                <a:gd name="connsiteY709" fmla="*/ 24786 h 157370"/>
                <a:gd name="connsiteX710" fmla="*/ 697152 w 716036"/>
                <a:gd name="connsiteY710" fmla="*/ 24392 h 157370"/>
                <a:gd name="connsiteX711" fmla="*/ 699119 w 716036"/>
                <a:gd name="connsiteY711" fmla="*/ 23606 h 157370"/>
                <a:gd name="connsiteX712" fmla="*/ 707381 w 716036"/>
                <a:gd name="connsiteY712" fmla="*/ 22425 h 157370"/>
                <a:gd name="connsiteX713" fmla="*/ 710528 w 716036"/>
                <a:gd name="connsiteY713" fmla="*/ 22032 h 157370"/>
                <a:gd name="connsiteX714" fmla="*/ 713676 w 716036"/>
                <a:gd name="connsiteY714" fmla="*/ 21638 h 157370"/>
                <a:gd name="connsiteX715" fmla="*/ 716823 w 716036"/>
                <a:gd name="connsiteY715" fmla="*/ 20458 h 157370"/>
                <a:gd name="connsiteX716" fmla="*/ 715643 w 716036"/>
                <a:gd name="connsiteY716" fmla="*/ 17311 h 157370"/>
                <a:gd name="connsiteX717" fmla="*/ 712495 w 716036"/>
                <a:gd name="connsiteY717" fmla="*/ 16524 h 157370"/>
                <a:gd name="connsiteX718" fmla="*/ 708168 w 716036"/>
                <a:gd name="connsiteY718" fmla="*/ 16524 h 157370"/>
                <a:gd name="connsiteX719" fmla="*/ 705020 w 716036"/>
                <a:gd name="connsiteY719" fmla="*/ 16130 h 157370"/>
                <a:gd name="connsiteX720" fmla="*/ 701479 w 716036"/>
                <a:gd name="connsiteY720" fmla="*/ 15737 h 157370"/>
                <a:gd name="connsiteX721" fmla="*/ 697939 w 716036"/>
                <a:gd name="connsiteY721" fmla="*/ 16130 h 157370"/>
                <a:gd name="connsiteX722" fmla="*/ 701479 w 716036"/>
                <a:gd name="connsiteY722" fmla="*/ 15344 h 157370"/>
                <a:gd name="connsiteX723" fmla="*/ 694398 w 716036"/>
                <a:gd name="connsiteY723" fmla="*/ 15344 h 157370"/>
                <a:gd name="connsiteX724" fmla="*/ 691250 w 716036"/>
                <a:gd name="connsiteY724" fmla="*/ 15737 h 157370"/>
                <a:gd name="connsiteX725" fmla="*/ 688496 w 716036"/>
                <a:gd name="connsiteY725" fmla="*/ 15737 h 157370"/>
                <a:gd name="connsiteX726" fmla="*/ 685349 w 716036"/>
                <a:gd name="connsiteY726" fmla="*/ 16917 h 157370"/>
                <a:gd name="connsiteX727" fmla="*/ 681808 w 716036"/>
                <a:gd name="connsiteY727" fmla="*/ 17311 h 157370"/>
                <a:gd name="connsiteX728" fmla="*/ 681021 w 716036"/>
                <a:gd name="connsiteY728" fmla="*/ 17311 h 157370"/>
                <a:gd name="connsiteX729" fmla="*/ 680234 w 716036"/>
                <a:gd name="connsiteY729" fmla="*/ 17311 h 157370"/>
                <a:gd name="connsiteX730" fmla="*/ 682202 w 716036"/>
                <a:gd name="connsiteY730" fmla="*/ 17311 h 157370"/>
                <a:gd name="connsiteX731" fmla="*/ 684955 w 716036"/>
                <a:gd name="connsiteY731" fmla="*/ 16524 h 157370"/>
                <a:gd name="connsiteX732" fmla="*/ 687709 w 716036"/>
                <a:gd name="connsiteY732" fmla="*/ 15344 h 157370"/>
                <a:gd name="connsiteX733" fmla="*/ 684562 w 716036"/>
                <a:gd name="connsiteY733" fmla="*/ 14557 h 157370"/>
                <a:gd name="connsiteX734" fmla="*/ 681808 w 716036"/>
                <a:gd name="connsiteY734" fmla="*/ 12983 h 157370"/>
                <a:gd name="connsiteX735" fmla="*/ 678267 w 716036"/>
                <a:gd name="connsiteY735" fmla="*/ 12196 h 157370"/>
                <a:gd name="connsiteX736" fmla="*/ 681415 w 716036"/>
                <a:gd name="connsiteY736" fmla="*/ 11803 h 157370"/>
                <a:gd name="connsiteX737" fmla="*/ 684562 w 716036"/>
                <a:gd name="connsiteY737" fmla="*/ 11409 h 157370"/>
                <a:gd name="connsiteX738" fmla="*/ 681808 w 716036"/>
                <a:gd name="connsiteY738" fmla="*/ 9836 h 157370"/>
                <a:gd name="connsiteX739" fmla="*/ 675513 w 716036"/>
                <a:gd name="connsiteY739" fmla="*/ 9836 h 157370"/>
                <a:gd name="connsiteX740" fmla="*/ 671972 w 716036"/>
                <a:gd name="connsiteY740" fmla="*/ 5901 h 157370"/>
                <a:gd name="connsiteX741" fmla="*/ 668825 w 716036"/>
                <a:gd name="connsiteY741" fmla="*/ 6295 h 157370"/>
                <a:gd name="connsiteX742" fmla="*/ 665284 w 716036"/>
                <a:gd name="connsiteY742" fmla="*/ 6688 h 157370"/>
                <a:gd name="connsiteX743" fmla="*/ 662924 w 716036"/>
                <a:gd name="connsiteY743" fmla="*/ 5901 h 157370"/>
                <a:gd name="connsiteX744" fmla="*/ 659776 w 716036"/>
                <a:gd name="connsiteY744" fmla="*/ 4328 h 157370"/>
                <a:gd name="connsiteX745" fmla="*/ 656629 w 716036"/>
                <a:gd name="connsiteY745" fmla="*/ 4328 h 157370"/>
                <a:gd name="connsiteX746" fmla="*/ 653875 w 716036"/>
                <a:gd name="connsiteY746" fmla="*/ 4721 h 157370"/>
                <a:gd name="connsiteX747" fmla="*/ 650727 w 716036"/>
                <a:gd name="connsiteY747" fmla="*/ 6688 h 157370"/>
                <a:gd name="connsiteX748" fmla="*/ 647973 w 716036"/>
                <a:gd name="connsiteY748" fmla="*/ 6688 h 157370"/>
                <a:gd name="connsiteX749" fmla="*/ 644433 w 716036"/>
                <a:gd name="connsiteY749" fmla="*/ 5508 h 157370"/>
                <a:gd name="connsiteX750" fmla="*/ 642072 w 716036"/>
                <a:gd name="connsiteY750" fmla="*/ 5508 h 157370"/>
                <a:gd name="connsiteX751" fmla="*/ 634990 w 716036"/>
                <a:gd name="connsiteY751" fmla="*/ 3934 h 157370"/>
                <a:gd name="connsiteX752" fmla="*/ 631449 w 716036"/>
                <a:gd name="connsiteY752" fmla="*/ 3541 h 157370"/>
                <a:gd name="connsiteX753" fmla="*/ 627909 w 716036"/>
                <a:gd name="connsiteY753" fmla="*/ 3147 h 157370"/>
                <a:gd name="connsiteX754" fmla="*/ 624761 w 716036"/>
                <a:gd name="connsiteY754" fmla="*/ 3541 h 157370"/>
                <a:gd name="connsiteX755" fmla="*/ 621614 w 716036"/>
                <a:gd name="connsiteY755" fmla="*/ 3147 h 157370"/>
                <a:gd name="connsiteX756" fmla="*/ 618073 w 716036"/>
                <a:gd name="connsiteY756" fmla="*/ 3147 h 157370"/>
                <a:gd name="connsiteX757" fmla="*/ 614926 w 716036"/>
                <a:gd name="connsiteY757" fmla="*/ 2754 h 157370"/>
                <a:gd name="connsiteX758" fmla="*/ 608631 w 716036"/>
                <a:gd name="connsiteY758" fmla="*/ 2754 h 157370"/>
                <a:gd name="connsiteX759" fmla="*/ 605483 w 716036"/>
                <a:gd name="connsiteY759" fmla="*/ 3147 h 157370"/>
                <a:gd name="connsiteX760" fmla="*/ 602336 w 716036"/>
                <a:gd name="connsiteY760" fmla="*/ 2361 h 157370"/>
                <a:gd name="connsiteX761" fmla="*/ 599975 w 716036"/>
                <a:gd name="connsiteY761" fmla="*/ 1967 h 157370"/>
                <a:gd name="connsiteX762" fmla="*/ 596434 w 716036"/>
                <a:gd name="connsiteY762" fmla="*/ 2361 h 157370"/>
                <a:gd name="connsiteX763" fmla="*/ 589746 w 716036"/>
                <a:gd name="connsiteY763" fmla="*/ 2361 h 157370"/>
                <a:gd name="connsiteX764" fmla="*/ 586992 w 716036"/>
                <a:gd name="connsiteY764" fmla="*/ 1967 h 157370"/>
                <a:gd name="connsiteX765" fmla="*/ 583451 w 716036"/>
                <a:gd name="connsiteY765" fmla="*/ 1967 h 157370"/>
                <a:gd name="connsiteX766" fmla="*/ 580304 w 716036"/>
                <a:gd name="connsiteY766" fmla="*/ 2361 h 157370"/>
                <a:gd name="connsiteX767" fmla="*/ 583058 w 716036"/>
                <a:gd name="connsiteY767" fmla="*/ 1574 h 157370"/>
                <a:gd name="connsiteX768" fmla="*/ 579911 w 716036"/>
                <a:gd name="connsiteY768" fmla="*/ 1574 h 157370"/>
                <a:gd name="connsiteX769" fmla="*/ 575976 w 716036"/>
                <a:gd name="connsiteY769" fmla="*/ 0 h 157370"/>
                <a:gd name="connsiteX770" fmla="*/ 566534 w 716036"/>
                <a:gd name="connsiteY770" fmla="*/ 0 h 157370"/>
                <a:gd name="connsiteX771" fmla="*/ 563387 w 716036"/>
                <a:gd name="connsiteY771" fmla="*/ 393 h 157370"/>
                <a:gd name="connsiteX772" fmla="*/ 560633 w 716036"/>
                <a:gd name="connsiteY772" fmla="*/ 0 h 157370"/>
                <a:gd name="connsiteX773" fmla="*/ 557485 w 716036"/>
                <a:gd name="connsiteY773" fmla="*/ 393 h 157370"/>
                <a:gd name="connsiteX774" fmla="*/ 554731 w 716036"/>
                <a:gd name="connsiteY774" fmla="*/ 0 h 157370"/>
                <a:gd name="connsiteX775" fmla="*/ 551977 w 716036"/>
                <a:gd name="connsiteY775" fmla="*/ 393 h 157370"/>
                <a:gd name="connsiteX776" fmla="*/ 548830 w 716036"/>
                <a:gd name="connsiteY776" fmla="*/ 787 h 157370"/>
                <a:gd name="connsiteX777" fmla="*/ 545683 w 716036"/>
                <a:gd name="connsiteY777" fmla="*/ 1967 h 157370"/>
                <a:gd name="connsiteX778" fmla="*/ 548437 w 716036"/>
                <a:gd name="connsiteY778" fmla="*/ 2361 h 157370"/>
                <a:gd name="connsiteX779" fmla="*/ 542142 w 716036"/>
                <a:gd name="connsiteY779" fmla="*/ 2361 h 157370"/>
                <a:gd name="connsiteX780" fmla="*/ 544896 w 716036"/>
                <a:gd name="connsiteY780" fmla="*/ 393 h 157370"/>
                <a:gd name="connsiteX781" fmla="*/ 541355 w 716036"/>
                <a:gd name="connsiteY781" fmla="*/ 0 h 157370"/>
                <a:gd name="connsiteX782" fmla="*/ 532306 w 716036"/>
                <a:gd name="connsiteY782" fmla="*/ 0 h 157370"/>
                <a:gd name="connsiteX783" fmla="*/ 529159 w 716036"/>
                <a:gd name="connsiteY783" fmla="*/ 393 h 157370"/>
                <a:gd name="connsiteX784" fmla="*/ 525618 w 716036"/>
                <a:gd name="connsiteY784" fmla="*/ 0 h 157370"/>
                <a:gd name="connsiteX785" fmla="*/ 522470 w 716036"/>
                <a:gd name="connsiteY785" fmla="*/ 393 h 157370"/>
                <a:gd name="connsiteX786" fmla="*/ 518930 w 716036"/>
                <a:gd name="connsiteY786" fmla="*/ 787 h 157370"/>
                <a:gd name="connsiteX787" fmla="*/ 516176 w 716036"/>
                <a:gd name="connsiteY787" fmla="*/ 1967 h 157370"/>
                <a:gd name="connsiteX788" fmla="*/ 513815 w 716036"/>
                <a:gd name="connsiteY788" fmla="*/ 1967 h 157370"/>
                <a:gd name="connsiteX789" fmla="*/ 489816 w 716036"/>
                <a:gd name="connsiteY789" fmla="*/ 1574 h 157370"/>
                <a:gd name="connsiteX790" fmla="*/ 488242 w 716036"/>
                <a:gd name="connsiteY790" fmla="*/ 1574 h 157370"/>
                <a:gd name="connsiteX791" fmla="*/ 481947 w 716036"/>
                <a:gd name="connsiteY791" fmla="*/ 1574 h 157370"/>
                <a:gd name="connsiteX792" fmla="*/ 481161 w 716036"/>
                <a:gd name="connsiteY792" fmla="*/ 1574 h 157370"/>
                <a:gd name="connsiteX793" fmla="*/ 479193 w 716036"/>
                <a:gd name="connsiteY793" fmla="*/ 1967 h 157370"/>
                <a:gd name="connsiteX794" fmla="*/ 478013 w 716036"/>
                <a:gd name="connsiteY794" fmla="*/ 1967 h 157370"/>
                <a:gd name="connsiteX795" fmla="*/ 474866 w 716036"/>
                <a:gd name="connsiteY795" fmla="*/ 1967 h 157370"/>
                <a:gd name="connsiteX796" fmla="*/ 471718 w 716036"/>
                <a:gd name="connsiteY796" fmla="*/ 1574 h 157370"/>
                <a:gd name="connsiteX797" fmla="*/ 468177 w 716036"/>
                <a:gd name="connsiteY797" fmla="*/ 1574 h 157370"/>
                <a:gd name="connsiteX798" fmla="*/ 464637 w 716036"/>
                <a:gd name="connsiteY798" fmla="*/ 1180 h 157370"/>
                <a:gd name="connsiteX799" fmla="*/ 461489 w 716036"/>
                <a:gd name="connsiteY799" fmla="*/ 1574 h 157370"/>
                <a:gd name="connsiteX800" fmla="*/ 458342 w 716036"/>
                <a:gd name="connsiteY800" fmla="*/ 1967 h 157370"/>
                <a:gd name="connsiteX801" fmla="*/ 455588 w 716036"/>
                <a:gd name="connsiteY801" fmla="*/ 1967 h 157370"/>
                <a:gd name="connsiteX802" fmla="*/ 444965 w 716036"/>
                <a:gd name="connsiteY802" fmla="*/ 1967 h 157370"/>
                <a:gd name="connsiteX803" fmla="*/ 441425 w 716036"/>
                <a:gd name="connsiteY803" fmla="*/ 1967 h 157370"/>
                <a:gd name="connsiteX804" fmla="*/ 438671 w 716036"/>
                <a:gd name="connsiteY804" fmla="*/ 3147 h 157370"/>
                <a:gd name="connsiteX805" fmla="*/ 441818 w 716036"/>
                <a:gd name="connsiteY805" fmla="*/ 3541 h 157370"/>
                <a:gd name="connsiteX806" fmla="*/ 444572 w 716036"/>
                <a:gd name="connsiteY806" fmla="*/ 3934 h 157370"/>
                <a:gd name="connsiteX807" fmla="*/ 447326 w 716036"/>
                <a:gd name="connsiteY807" fmla="*/ 5115 h 157370"/>
                <a:gd name="connsiteX808" fmla="*/ 448113 w 716036"/>
                <a:gd name="connsiteY808" fmla="*/ 5508 h 157370"/>
                <a:gd name="connsiteX809" fmla="*/ 439851 w 716036"/>
                <a:gd name="connsiteY809" fmla="*/ 6688 h 157370"/>
                <a:gd name="connsiteX810" fmla="*/ 437884 w 716036"/>
                <a:gd name="connsiteY810" fmla="*/ 5115 h 157370"/>
                <a:gd name="connsiteX811" fmla="*/ 434736 w 716036"/>
                <a:gd name="connsiteY811" fmla="*/ 5115 h 157370"/>
                <a:gd name="connsiteX812" fmla="*/ 431195 w 716036"/>
                <a:gd name="connsiteY812" fmla="*/ 4721 h 157370"/>
                <a:gd name="connsiteX813" fmla="*/ 427655 w 716036"/>
                <a:gd name="connsiteY813" fmla="*/ 4328 h 157370"/>
                <a:gd name="connsiteX814" fmla="*/ 424901 w 716036"/>
                <a:gd name="connsiteY814" fmla="*/ 5115 h 157370"/>
                <a:gd name="connsiteX815" fmla="*/ 421753 w 716036"/>
                <a:gd name="connsiteY815" fmla="*/ 5508 h 157370"/>
                <a:gd name="connsiteX816" fmla="*/ 420179 w 716036"/>
                <a:gd name="connsiteY816" fmla="*/ 4721 h 157370"/>
                <a:gd name="connsiteX817" fmla="*/ 423327 w 716036"/>
                <a:gd name="connsiteY817" fmla="*/ 4328 h 157370"/>
                <a:gd name="connsiteX818" fmla="*/ 426474 w 716036"/>
                <a:gd name="connsiteY818" fmla="*/ 3541 h 157370"/>
                <a:gd name="connsiteX819" fmla="*/ 423327 w 716036"/>
                <a:gd name="connsiteY819" fmla="*/ 3147 h 157370"/>
                <a:gd name="connsiteX820" fmla="*/ 419786 w 716036"/>
                <a:gd name="connsiteY820" fmla="*/ 4721 h 157370"/>
                <a:gd name="connsiteX821" fmla="*/ 418999 w 716036"/>
                <a:gd name="connsiteY821" fmla="*/ 3934 h 157370"/>
                <a:gd name="connsiteX822" fmla="*/ 416245 w 716036"/>
                <a:gd name="connsiteY822" fmla="*/ 3541 h 157370"/>
                <a:gd name="connsiteX823" fmla="*/ 412704 w 716036"/>
                <a:gd name="connsiteY823" fmla="*/ 3934 h 157370"/>
                <a:gd name="connsiteX824" fmla="*/ 409950 w 716036"/>
                <a:gd name="connsiteY824" fmla="*/ 4721 h 157370"/>
                <a:gd name="connsiteX825" fmla="*/ 406803 w 716036"/>
                <a:gd name="connsiteY825" fmla="*/ 3147 h 157370"/>
                <a:gd name="connsiteX826" fmla="*/ 403655 w 716036"/>
                <a:gd name="connsiteY826" fmla="*/ 2754 h 157370"/>
                <a:gd name="connsiteX827" fmla="*/ 400508 w 716036"/>
                <a:gd name="connsiteY827" fmla="*/ 3147 h 157370"/>
                <a:gd name="connsiteX828" fmla="*/ 396967 w 716036"/>
                <a:gd name="connsiteY828" fmla="*/ 3541 h 157370"/>
                <a:gd name="connsiteX829" fmla="*/ 393426 w 716036"/>
                <a:gd name="connsiteY829" fmla="*/ 3934 h 157370"/>
                <a:gd name="connsiteX830" fmla="*/ 390279 w 716036"/>
                <a:gd name="connsiteY830" fmla="*/ 3934 h 157370"/>
                <a:gd name="connsiteX831" fmla="*/ 387525 w 716036"/>
                <a:gd name="connsiteY831" fmla="*/ 4328 h 157370"/>
                <a:gd name="connsiteX832" fmla="*/ 383984 w 716036"/>
                <a:gd name="connsiteY832" fmla="*/ 4721 h 157370"/>
                <a:gd name="connsiteX833" fmla="*/ 386738 w 716036"/>
                <a:gd name="connsiteY833" fmla="*/ 5901 h 157370"/>
                <a:gd name="connsiteX834" fmla="*/ 390279 w 716036"/>
                <a:gd name="connsiteY834" fmla="*/ 5901 h 157370"/>
                <a:gd name="connsiteX835" fmla="*/ 393426 w 716036"/>
                <a:gd name="connsiteY835" fmla="*/ 6295 h 157370"/>
                <a:gd name="connsiteX836" fmla="*/ 390279 w 716036"/>
                <a:gd name="connsiteY836" fmla="*/ 7475 h 157370"/>
                <a:gd name="connsiteX837" fmla="*/ 393033 w 716036"/>
                <a:gd name="connsiteY837" fmla="*/ 7869 h 157370"/>
                <a:gd name="connsiteX838" fmla="*/ 396574 w 716036"/>
                <a:gd name="connsiteY838" fmla="*/ 8262 h 157370"/>
                <a:gd name="connsiteX839" fmla="*/ 399328 w 716036"/>
                <a:gd name="connsiteY839" fmla="*/ 8655 h 157370"/>
                <a:gd name="connsiteX840" fmla="*/ 402475 w 716036"/>
                <a:gd name="connsiteY840" fmla="*/ 8655 h 157370"/>
                <a:gd name="connsiteX841" fmla="*/ 406016 w 716036"/>
                <a:gd name="connsiteY841" fmla="*/ 9049 h 157370"/>
                <a:gd name="connsiteX842" fmla="*/ 408377 w 716036"/>
                <a:gd name="connsiteY842" fmla="*/ 9049 h 157370"/>
                <a:gd name="connsiteX843" fmla="*/ 405229 w 716036"/>
                <a:gd name="connsiteY843" fmla="*/ 9049 h 157370"/>
                <a:gd name="connsiteX844" fmla="*/ 402869 w 716036"/>
                <a:gd name="connsiteY844" fmla="*/ 9049 h 157370"/>
                <a:gd name="connsiteX845" fmla="*/ 399328 w 716036"/>
                <a:gd name="connsiteY845" fmla="*/ 9442 h 157370"/>
                <a:gd name="connsiteX846" fmla="*/ 396180 w 716036"/>
                <a:gd name="connsiteY846" fmla="*/ 9049 h 157370"/>
                <a:gd name="connsiteX847" fmla="*/ 393426 w 716036"/>
                <a:gd name="connsiteY847" fmla="*/ 8655 h 157370"/>
                <a:gd name="connsiteX848" fmla="*/ 389886 w 716036"/>
                <a:gd name="connsiteY848" fmla="*/ 8262 h 157370"/>
                <a:gd name="connsiteX849" fmla="*/ 387525 w 716036"/>
                <a:gd name="connsiteY849" fmla="*/ 9049 h 157370"/>
                <a:gd name="connsiteX850" fmla="*/ 384378 w 716036"/>
                <a:gd name="connsiteY850" fmla="*/ 7475 h 157370"/>
                <a:gd name="connsiteX851" fmla="*/ 381230 w 716036"/>
                <a:gd name="connsiteY851" fmla="*/ 6295 h 157370"/>
                <a:gd name="connsiteX852" fmla="*/ 378083 w 716036"/>
                <a:gd name="connsiteY852" fmla="*/ 5901 h 157370"/>
                <a:gd name="connsiteX853" fmla="*/ 374935 w 716036"/>
                <a:gd name="connsiteY853" fmla="*/ 5901 h 157370"/>
                <a:gd name="connsiteX854" fmla="*/ 371788 w 716036"/>
                <a:gd name="connsiteY854" fmla="*/ 5901 h 157370"/>
                <a:gd name="connsiteX855" fmla="*/ 366280 w 716036"/>
                <a:gd name="connsiteY855" fmla="*/ 5901 h 157370"/>
                <a:gd name="connsiteX856" fmla="*/ 362739 w 716036"/>
                <a:gd name="connsiteY856" fmla="*/ 7475 h 157370"/>
                <a:gd name="connsiteX857" fmla="*/ 365887 w 716036"/>
                <a:gd name="connsiteY857" fmla="*/ 7869 h 157370"/>
                <a:gd name="connsiteX858" fmla="*/ 368641 w 716036"/>
                <a:gd name="connsiteY858" fmla="*/ 9442 h 157370"/>
                <a:gd name="connsiteX859" fmla="*/ 371001 w 716036"/>
                <a:gd name="connsiteY859" fmla="*/ 11409 h 157370"/>
                <a:gd name="connsiteX860" fmla="*/ 365493 w 716036"/>
                <a:gd name="connsiteY860" fmla="*/ 11803 h 157370"/>
                <a:gd name="connsiteX861" fmla="*/ 362739 w 716036"/>
                <a:gd name="connsiteY861" fmla="*/ 10623 h 157370"/>
                <a:gd name="connsiteX862" fmla="*/ 359198 w 716036"/>
                <a:gd name="connsiteY862" fmla="*/ 9836 h 157370"/>
                <a:gd name="connsiteX863" fmla="*/ 356051 w 716036"/>
                <a:gd name="connsiteY863" fmla="*/ 9442 h 157370"/>
                <a:gd name="connsiteX864" fmla="*/ 352904 w 716036"/>
                <a:gd name="connsiteY864" fmla="*/ 9049 h 157370"/>
                <a:gd name="connsiteX865" fmla="*/ 349756 w 716036"/>
                <a:gd name="connsiteY865" fmla="*/ 8655 h 157370"/>
                <a:gd name="connsiteX866" fmla="*/ 346215 w 716036"/>
                <a:gd name="connsiteY866" fmla="*/ 8655 h 157370"/>
                <a:gd name="connsiteX867" fmla="*/ 343068 w 716036"/>
                <a:gd name="connsiteY867" fmla="*/ 10623 h 157370"/>
                <a:gd name="connsiteX868" fmla="*/ 346609 w 716036"/>
                <a:gd name="connsiteY868" fmla="*/ 11016 h 157370"/>
                <a:gd name="connsiteX869" fmla="*/ 349363 w 716036"/>
                <a:gd name="connsiteY869" fmla="*/ 11409 h 157370"/>
                <a:gd name="connsiteX870" fmla="*/ 351330 w 716036"/>
                <a:gd name="connsiteY870" fmla="*/ 11409 h 157370"/>
                <a:gd name="connsiteX871" fmla="*/ 349363 w 716036"/>
                <a:gd name="connsiteY871" fmla="*/ 11409 h 157370"/>
                <a:gd name="connsiteX872" fmla="*/ 345822 w 716036"/>
                <a:gd name="connsiteY872" fmla="*/ 11016 h 157370"/>
                <a:gd name="connsiteX873" fmla="*/ 342281 w 716036"/>
                <a:gd name="connsiteY873" fmla="*/ 11409 h 157370"/>
                <a:gd name="connsiteX874" fmla="*/ 340314 w 716036"/>
                <a:gd name="connsiteY874" fmla="*/ 11803 h 157370"/>
                <a:gd name="connsiteX875" fmla="*/ 336773 w 716036"/>
                <a:gd name="connsiteY875" fmla="*/ 11803 h 157370"/>
                <a:gd name="connsiteX876" fmla="*/ 334806 w 716036"/>
                <a:gd name="connsiteY876" fmla="*/ 12590 h 157370"/>
                <a:gd name="connsiteX877" fmla="*/ 295857 w 716036"/>
                <a:gd name="connsiteY877" fmla="*/ 13376 h 157370"/>
                <a:gd name="connsiteX878" fmla="*/ 293103 w 716036"/>
                <a:gd name="connsiteY878" fmla="*/ 13770 h 157370"/>
                <a:gd name="connsiteX879" fmla="*/ 293103 w 716036"/>
                <a:gd name="connsiteY879" fmla="*/ 13770 h 157370"/>
                <a:gd name="connsiteX880" fmla="*/ 296644 w 716036"/>
                <a:gd name="connsiteY880" fmla="*/ 13376 h 157370"/>
                <a:gd name="connsiteX881" fmla="*/ 296250 w 716036"/>
                <a:gd name="connsiteY881" fmla="*/ 12983 h 157370"/>
                <a:gd name="connsiteX882" fmla="*/ 292709 w 716036"/>
                <a:gd name="connsiteY882" fmla="*/ 12983 h 157370"/>
                <a:gd name="connsiteX883" fmla="*/ 289955 w 716036"/>
                <a:gd name="connsiteY883" fmla="*/ 12590 h 157370"/>
                <a:gd name="connsiteX884" fmla="*/ 286414 w 716036"/>
                <a:gd name="connsiteY884" fmla="*/ 12590 h 157370"/>
                <a:gd name="connsiteX885" fmla="*/ 283660 w 716036"/>
                <a:gd name="connsiteY885" fmla="*/ 12983 h 157370"/>
                <a:gd name="connsiteX886" fmla="*/ 280907 w 716036"/>
                <a:gd name="connsiteY886" fmla="*/ 12983 h 157370"/>
                <a:gd name="connsiteX887" fmla="*/ 277366 w 716036"/>
                <a:gd name="connsiteY887" fmla="*/ 13376 h 157370"/>
                <a:gd name="connsiteX888" fmla="*/ 273431 w 716036"/>
                <a:gd name="connsiteY888" fmla="*/ 13770 h 157370"/>
                <a:gd name="connsiteX889" fmla="*/ 276185 w 716036"/>
                <a:gd name="connsiteY889" fmla="*/ 14163 h 157370"/>
                <a:gd name="connsiteX890" fmla="*/ 277759 w 716036"/>
                <a:gd name="connsiteY890" fmla="*/ 15344 h 157370"/>
                <a:gd name="connsiteX891" fmla="*/ 224646 w 716036"/>
                <a:gd name="connsiteY891" fmla="*/ 20458 h 157370"/>
                <a:gd name="connsiteX892" fmla="*/ 224646 w 716036"/>
                <a:gd name="connsiteY892" fmla="*/ 20458 h 157370"/>
                <a:gd name="connsiteX893" fmla="*/ 221499 w 716036"/>
                <a:gd name="connsiteY893" fmla="*/ 20852 h 157370"/>
                <a:gd name="connsiteX894" fmla="*/ 217958 w 716036"/>
                <a:gd name="connsiteY894" fmla="*/ 20852 h 157370"/>
                <a:gd name="connsiteX895" fmla="*/ 215204 w 716036"/>
                <a:gd name="connsiteY895" fmla="*/ 21245 h 157370"/>
                <a:gd name="connsiteX896" fmla="*/ 212450 w 716036"/>
                <a:gd name="connsiteY896" fmla="*/ 21638 h 157370"/>
                <a:gd name="connsiteX897" fmla="*/ 209303 w 716036"/>
                <a:gd name="connsiteY897" fmla="*/ 22032 h 157370"/>
                <a:gd name="connsiteX898" fmla="*/ 207729 w 716036"/>
                <a:gd name="connsiteY898" fmla="*/ 22425 h 157370"/>
                <a:gd name="connsiteX899" fmla="*/ 184910 w 716036"/>
                <a:gd name="connsiteY899" fmla="*/ 24786 h 157370"/>
                <a:gd name="connsiteX900" fmla="*/ 184517 w 716036"/>
                <a:gd name="connsiteY900" fmla="*/ 25179 h 157370"/>
                <a:gd name="connsiteX901" fmla="*/ 182943 w 716036"/>
                <a:gd name="connsiteY901" fmla="*/ 24786 h 157370"/>
                <a:gd name="connsiteX902" fmla="*/ 179796 w 716036"/>
                <a:gd name="connsiteY902" fmla="*/ 24786 h 157370"/>
                <a:gd name="connsiteX903" fmla="*/ 177042 w 716036"/>
                <a:gd name="connsiteY903" fmla="*/ 25179 h 157370"/>
                <a:gd name="connsiteX904" fmla="*/ 173501 w 716036"/>
                <a:gd name="connsiteY904" fmla="*/ 25573 h 157370"/>
                <a:gd name="connsiteX905" fmla="*/ 169567 w 716036"/>
                <a:gd name="connsiteY905" fmla="*/ 25573 h 157370"/>
                <a:gd name="connsiteX906" fmla="*/ 166813 w 716036"/>
                <a:gd name="connsiteY906" fmla="*/ 25966 h 157370"/>
                <a:gd name="connsiteX907" fmla="*/ 163272 w 716036"/>
                <a:gd name="connsiteY907" fmla="*/ 25966 h 157370"/>
                <a:gd name="connsiteX908" fmla="*/ 159731 w 716036"/>
                <a:gd name="connsiteY908" fmla="*/ 27540 h 157370"/>
                <a:gd name="connsiteX909" fmla="*/ 153436 w 716036"/>
                <a:gd name="connsiteY909" fmla="*/ 27540 h 157370"/>
                <a:gd name="connsiteX910" fmla="*/ 150289 w 716036"/>
                <a:gd name="connsiteY910" fmla="*/ 27933 h 157370"/>
                <a:gd name="connsiteX911" fmla="*/ 147535 w 716036"/>
                <a:gd name="connsiteY911" fmla="*/ 28327 h 157370"/>
                <a:gd name="connsiteX912" fmla="*/ 144388 w 716036"/>
                <a:gd name="connsiteY912" fmla="*/ 29507 h 157370"/>
                <a:gd name="connsiteX913" fmla="*/ 140847 w 716036"/>
                <a:gd name="connsiteY913" fmla="*/ 29900 h 157370"/>
                <a:gd name="connsiteX914" fmla="*/ 141634 w 716036"/>
                <a:gd name="connsiteY914" fmla="*/ 30294 h 157370"/>
                <a:gd name="connsiteX915" fmla="*/ 144388 w 716036"/>
                <a:gd name="connsiteY915" fmla="*/ 30687 h 157370"/>
                <a:gd name="connsiteX916" fmla="*/ 147535 w 716036"/>
                <a:gd name="connsiteY916" fmla="*/ 32261 h 157370"/>
                <a:gd name="connsiteX917" fmla="*/ 151076 w 716036"/>
                <a:gd name="connsiteY917" fmla="*/ 31868 h 157370"/>
                <a:gd name="connsiteX918" fmla="*/ 154223 w 716036"/>
                <a:gd name="connsiteY918" fmla="*/ 31868 h 157370"/>
                <a:gd name="connsiteX919" fmla="*/ 156977 w 716036"/>
                <a:gd name="connsiteY919" fmla="*/ 30687 h 157370"/>
                <a:gd name="connsiteX920" fmla="*/ 159338 w 716036"/>
                <a:gd name="connsiteY920" fmla="*/ 30294 h 157370"/>
                <a:gd name="connsiteX921" fmla="*/ 175862 w 716036"/>
                <a:gd name="connsiteY921" fmla="*/ 30294 h 157370"/>
                <a:gd name="connsiteX922" fmla="*/ 174288 w 716036"/>
                <a:gd name="connsiteY922" fmla="*/ 31474 h 157370"/>
                <a:gd name="connsiteX923" fmla="*/ 172714 w 716036"/>
                <a:gd name="connsiteY923" fmla="*/ 31474 h 157370"/>
                <a:gd name="connsiteX924" fmla="*/ 169960 w 716036"/>
                <a:gd name="connsiteY924" fmla="*/ 31868 h 157370"/>
                <a:gd name="connsiteX925" fmla="*/ 166419 w 716036"/>
                <a:gd name="connsiteY925" fmla="*/ 32261 h 157370"/>
                <a:gd name="connsiteX926" fmla="*/ 163272 w 716036"/>
                <a:gd name="connsiteY926" fmla="*/ 32654 h 157370"/>
                <a:gd name="connsiteX927" fmla="*/ 159731 w 716036"/>
                <a:gd name="connsiteY927" fmla="*/ 33048 h 157370"/>
                <a:gd name="connsiteX928" fmla="*/ 156584 w 716036"/>
                <a:gd name="connsiteY928" fmla="*/ 34622 h 157370"/>
                <a:gd name="connsiteX929" fmla="*/ 160125 w 716036"/>
                <a:gd name="connsiteY929" fmla="*/ 35802 h 157370"/>
                <a:gd name="connsiteX930" fmla="*/ 163272 w 716036"/>
                <a:gd name="connsiteY930" fmla="*/ 35408 h 157370"/>
                <a:gd name="connsiteX931" fmla="*/ 166026 w 716036"/>
                <a:gd name="connsiteY931" fmla="*/ 35015 h 157370"/>
                <a:gd name="connsiteX932" fmla="*/ 169567 w 716036"/>
                <a:gd name="connsiteY932" fmla="*/ 34622 h 157370"/>
                <a:gd name="connsiteX933" fmla="*/ 164059 w 716036"/>
                <a:gd name="connsiteY933" fmla="*/ 38162 h 157370"/>
                <a:gd name="connsiteX934" fmla="*/ 161698 w 716036"/>
                <a:gd name="connsiteY934" fmla="*/ 38556 h 157370"/>
                <a:gd name="connsiteX935" fmla="*/ 158551 w 716036"/>
                <a:gd name="connsiteY935" fmla="*/ 38949 h 157370"/>
                <a:gd name="connsiteX936" fmla="*/ 155797 w 716036"/>
                <a:gd name="connsiteY936" fmla="*/ 39736 h 157370"/>
                <a:gd name="connsiteX937" fmla="*/ 158157 w 716036"/>
                <a:gd name="connsiteY937" fmla="*/ 42490 h 157370"/>
                <a:gd name="connsiteX938" fmla="*/ 158551 w 716036"/>
                <a:gd name="connsiteY938" fmla="*/ 42490 h 157370"/>
                <a:gd name="connsiteX939" fmla="*/ 161698 w 716036"/>
                <a:gd name="connsiteY939" fmla="*/ 42883 h 157370"/>
                <a:gd name="connsiteX940" fmla="*/ 164452 w 716036"/>
                <a:gd name="connsiteY940" fmla="*/ 42883 h 157370"/>
                <a:gd name="connsiteX941" fmla="*/ 167600 w 716036"/>
                <a:gd name="connsiteY941" fmla="*/ 42490 h 157370"/>
                <a:gd name="connsiteX942" fmla="*/ 170747 w 716036"/>
                <a:gd name="connsiteY942" fmla="*/ 42490 h 157370"/>
                <a:gd name="connsiteX943" fmla="*/ 174288 w 716036"/>
                <a:gd name="connsiteY943" fmla="*/ 42097 h 157370"/>
                <a:gd name="connsiteX944" fmla="*/ 177829 w 716036"/>
                <a:gd name="connsiteY944" fmla="*/ 41703 h 157370"/>
                <a:gd name="connsiteX945" fmla="*/ 181370 w 716036"/>
                <a:gd name="connsiteY945" fmla="*/ 41703 h 157370"/>
                <a:gd name="connsiteX946" fmla="*/ 184517 w 716036"/>
                <a:gd name="connsiteY946" fmla="*/ 41310 h 157370"/>
                <a:gd name="connsiteX947" fmla="*/ 197893 w 716036"/>
                <a:gd name="connsiteY947" fmla="*/ 40916 h 157370"/>
                <a:gd name="connsiteX948" fmla="*/ 200647 w 716036"/>
                <a:gd name="connsiteY948" fmla="*/ 41310 h 157370"/>
                <a:gd name="connsiteX949" fmla="*/ 203402 w 716036"/>
                <a:gd name="connsiteY949" fmla="*/ 41310 h 157370"/>
                <a:gd name="connsiteX950" fmla="*/ 206942 w 716036"/>
                <a:gd name="connsiteY950" fmla="*/ 40916 h 157370"/>
                <a:gd name="connsiteX951" fmla="*/ 207336 w 716036"/>
                <a:gd name="connsiteY951" fmla="*/ 40916 h 157370"/>
                <a:gd name="connsiteX952" fmla="*/ 231728 w 716036"/>
                <a:gd name="connsiteY952" fmla="*/ 40916 h 157370"/>
                <a:gd name="connsiteX953" fmla="*/ 230548 w 716036"/>
                <a:gd name="connsiteY953" fmla="*/ 40916 h 157370"/>
                <a:gd name="connsiteX954" fmla="*/ 227007 w 716036"/>
                <a:gd name="connsiteY954" fmla="*/ 41310 h 157370"/>
                <a:gd name="connsiteX955" fmla="*/ 223466 w 716036"/>
                <a:gd name="connsiteY955" fmla="*/ 41703 h 157370"/>
                <a:gd name="connsiteX956" fmla="*/ 219925 w 716036"/>
                <a:gd name="connsiteY956" fmla="*/ 42097 h 157370"/>
                <a:gd name="connsiteX957" fmla="*/ 216778 w 716036"/>
                <a:gd name="connsiteY957" fmla="*/ 42490 h 157370"/>
                <a:gd name="connsiteX958" fmla="*/ 213237 w 716036"/>
                <a:gd name="connsiteY958" fmla="*/ 42490 h 157370"/>
                <a:gd name="connsiteX959" fmla="*/ 210483 w 716036"/>
                <a:gd name="connsiteY959" fmla="*/ 42883 h 157370"/>
                <a:gd name="connsiteX960" fmla="*/ 207336 w 716036"/>
                <a:gd name="connsiteY960" fmla="*/ 43277 h 157370"/>
                <a:gd name="connsiteX961" fmla="*/ 201434 w 716036"/>
                <a:gd name="connsiteY961" fmla="*/ 43277 h 157370"/>
                <a:gd name="connsiteX962" fmla="*/ 198287 w 716036"/>
                <a:gd name="connsiteY962" fmla="*/ 42883 h 157370"/>
                <a:gd name="connsiteX963" fmla="*/ 195139 w 716036"/>
                <a:gd name="connsiteY963" fmla="*/ 42490 h 157370"/>
                <a:gd name="connsiteX964" fmla="*/ 185304 w 716036"/>
                <a:gd name="connsiteY964" fmla="*/ 42490 h 157370"/>
                <a:gd name="connsiteX965" fmla="*/ 181763 w 716036"/>
                <a:gd name="connsiteY965" fmla="*/ 42883 h 157370"/>
                <a:gd name="connsiteX966" fmla="*/ 178222 w 716036"/>
                <a:gd name="connsiteY966" fmla="*/ 43277 h 157370"/>
                <a:gd name="connsiteX967" fmla="*/ 174681 w 716036"/>
                <a:gd name="connsiteY967" fmla="*/ 43670 h 157370"/>
                <a:gd name="connsiteX968" fmla="*/ 171141 w 716036"/>
                <a:gd name="connsiteY968" fmla="*/ 44064 h 157370"/>
                <a:gd name="connsiteX969" fmla="*/ 167993 w 716036"/>
                <a:gd name="connsiteY969" fmla="*/ 44457 h 157370"/>
                <a:gd name="connsiteX970" fmla="*/ 164452 w 716036"/>
                <a:gd name="connsiteY970" fmla="*/ 45244 h 157370"/>
                <a:gd name="connsiteX971" fmla="*/ 167206 w 716036"/>
                <a:gd name="connsiteY971" fmla="*/ 46818 h 157370"/>
                <a:gd name="connsiteX972" fmla="*/ 170354 w 716036"/>
                <a:gd name="connsiteY972" fmla="*/ 47211 h 157370"/>
                <a:gd name="connsiteX973" fmla="*/ 173108 w 716036"/>
                <a:gd name="connsiteY973" fmla="*/ 47605 h 157370"/>
                <a:gd name="connsiteX974" fmla="*/ 176255 w 716036"/>
                <a:gd name="connsiteY974" fmla="*/ 48391 h 157370"/>
                <a:gd name="connsiteX975" fmla="*/ 179009 w 716036"/>
                <a:gd name="connsiteY975" fmla="*/ 49178 h 157370"/>
                <a:gd name="connsiteX976" fmla="*/ 181763 w 716036"/>
                <a:gd name="connsiteY976" fmla="*/ 49572 h 157370"/>
                <a:gd name="connsiteX977" fmla="*/ 184517 w 716036"/>
                <a:gd name="connsiteY977" fmla="*/ 49965 h 157370"/>
                <a:gd name="connsiteX978" fmla="*/ 187664 w 716036"/>
                <a:gd name="connsiteY978" fmla="*/ 50359 h 157370"/>
                <a:gd name="connsiteX979" fmla="*/ 190812 w 716036"/>
                <a:gd name="connsiteY979" fmla="*/ 50752 h 157370"/>
                <a:gd name="connsiteX980" fmla="*/ 194353 w 716036"/>
                <a:gd name="connsiteY980" fmla="*/ 50752 h 157370"/>
                <a:gd name="connsiteX981" fmla="*/ 197500 w 716036"/>
                <a:gd name="connsiteY981" fmla="*/ 50359 h 157370"/>
                <a:gd name="connsiteX982" fmla="*/ 200647 w 716036"/>
                <a:gd name="connsiteY982" fmla="*/ 49572 h 157370"/>
                <a:gd name="connsiteX983" fmla="*/ 203795 w 716036"/>
                <a:gd name="connsiteY983" fmla="*/ 48391 h 157370"/>
                <a:gd name="connsiteX984" fmla="*/ 206942 w 716036"/>
                <a:gd name="connsiteY984" fmla="*/ 47605 h 157370"/>
                <a:gd name="connsiteX985" fmla="*/ 209696 w 716036"/>
                <a:gd name="connsiteY985" fmla="*/ 47211 h 157370"/>
                <a:gd name="connsiteX986" fmla="*/ 212844 w 716036"/>
                <a:gd name="connsiteY986" fmla="*/ 46818 h 157370"/>
                <a:gd name="connsiteX987" fmla="*/ 215991 w 716036"/>
                <a:gd name="connsiteY987" fmla="*/ 46031 h 157370"/>
                <a:gd name="connsiteX988" fmla="*/ 218745 w 716036"/>
                <a:gd name="connsiteY988" fmla="*/ 45637 h 157370"/>
                <a:gd name="connsiteX989" fmla="*/ 221893 w 716036"/>
                <a:gd name="connsiteY989" fmla="*/ 44851 h 157370"/>
                <a:gd name="connsiteX990" fmla="*/ 225433 w 716036"/>
                <a:gd name="connsiteY990" fmla="*/ 44457 h 157370"/>
                <a:gd name="connsiteX991" fmla="*/ 228581 w 716036"/>
                <a:gd name="connsiteY991" fmla="*/ 43670 h 157370"/>
                <a:gd name="connsiteX992" fmla="*/ 231728 w 716036"/>
                <a:gd name="connsiteY992" fmla="*/ 43277 h 157370"/>
                <a:gd name="connsiteX993" fmla="*/ 235269 w 716036"/>
                <a:gd name="connsiteY993" fmla="*/ 42883 h 157370"/>
                <a:gd name="connsiteX994" fmla="*/ 238023 w 716036"/>
                <a:gd name="connsiteY994" fmla="*/ 42490 h 157370"/>
                <a:gd name="connsiteX995" fmla="*/ 241170 w 716036"/>
                <a:gd name="connsiteY995" fmla="*/ 42097 h 157370"/>
                <a:gd name="connsiteX996" fmla="*/ 247859 w 716036"/>
                <a:gd name="connsiteY996" fmla="*/ 42097 h 157370"/>
                <a:gd name="connsiteX997" fmla="*/ 251400 w 716036"/>
                <a:gd name="connsiteY997" fmla="*/ 41703 h 157370"/>
                <a:gd name="connsiteX998" fmla="*/ 254153 w 716036"/>
                <a:gd name="connsiteY998" fmla="*/ 41310 h 157370"/>
                <a:gd name="connsiteX999" fmla="*/ 275005 w 716036"/>
                <a:gd name="connsiteY999" fmla="*/ 41310 h 157370"/>
                <a:gd name="connsiteX1000" fmla="*/ 271464 w 716036"/>
                <a:gd name="connsiteY1000" fmla="*/ 41703 h 157370"/>
                <a:gd name="connsiteX1001" fmla="*/ 268317 w 716036"/>
                <a:gd name="connsiteY1001" fmla="*/ 41703 h 157370"/>
                <a:gd name="connsiteX1002" fmla="*/ 264776 w 716036"/>
                <a:gd name="connsiteY1002" fmla="*/ 42097 h 157370"/>
                <a:gd name="connsiteX1003" fmla="*/ 261235 w 716036"/>
                <a:gd name="connsiteY1003" fmla="*/ 42490 h 157370"/>
                <a:gd name="connsiteX1004" fmla="*/ 257694 w 716036"/>
                <a:gd name="connsiteY1004" fmla="*/ 42490 h 157370"/>
                <a:gd name="connsiteX1005" fmla="*/ 254153 w 716036"/>
                <a:gd name="connsiteY1005" fmla="*/ 42883 h 157370"/>
                <a:gd name="connsiteX1006" fmla="*/ 251400 w 716036"/>
                <a:gd name="connsiteY1006" fmla="*/ 42490 h 157370"/>
                <a:gd name="connsiteX1007" fmla="*/ 248646 w 716036"/>
                <a:gd name="connsiteY1007" fmla="*/ 42883 h 157370"/>
                <a:gd name="connsiteX1008" fmla="*/ 245498 w 716036"/>
                <a:gd name="connsiteY1008" fmla="*/ 43277 h 157370"/>
                <a:gd name="connsiteX1009" fmla="*/ 242351 w 716036"/>
                <a:gd name="connsiteY1009" fmla="*/ 43670 h 157370"/>
                <a:gd name="connsiteX1010" fmla="*/ 239597 w 716036"/>
                <a:gd name="connsiteY1010" fmla="*/ 44064 h 157370"/>
                <a:gd name="connsiteX1011" fmla="*/ 236056 w 716036"/>
                <a:gd name="connsiteY1011" fmla="*/ 44457 h 157370"/>
                <a:gd name="connsiteX1012" fmla="*/ 232515 w 716036"/>
                <a:gd name="connsiteY1012" fmla="*/ 44851 h 157370"/>
                <a:gd name="connsiteX1013" fmla="*/ 229368 w 716036"/>
                <a:gd name="connsiteY1013" fmla="*/ 45637 h 157370"/>
                <a:gd name="connsiteX1014" fmla="*/ 226220 w 716036"/>
                <a:gd name="connsiteY1014" fmla="*/ 46424 h 157370"/>
                <a:gd name="connsiteX1015" fmla="*/ 223073 w 716036"/>
                <a:gd name="connsiteY1015" fmla="*/ 46818 h 157370"/>
                <a:gd name="connsiteX1016" fmla="*/ 219925 w 716036"/>
                <a:gd name="connsiteY1016" fmla="*/ 47605 h 157370"/>
                <a:gd name="connsiteX1017" fmla="*/ 216778 w 716036"/>
                <a:gd name="connsiteY1017" fmla="*/ 47998 h 157370"/>
                <a:gd name="connsiteX1018" fmla="*/ 214417 w 716036"/>
                <a:gd name="connsiteY1018" fmla="*/ 49178 h 157370"/>
                <a:gd name="connsiteX1019" fmla="*/ 211270 w 716036"/>
                <a:gd name="connsiteY1019" fmla="*/ 49965 h 157370"/>
                <a:gd name="connsiteX1020" fmla="*/ 208123 w 716036"/>
                <a:gd name="connsiteY1020" fmla="*/ 52326 h 157370"/>
                <a:gd name="connsiteX1021" fmla="*/ 211663 w 716036"/>
                <a:gd name="connsiteY1021" fmla="*/ 52719 h 157370"/>
                <a:gd name="connsiteX1022" fmla="*/ 214417 w 716036"/>
                <a:gd name="connsiteY1022" fmla="*/ 53113 h 157370"/>
                <a:gd name="connsiteX1023" fmla="*/ 217565 w 716036"/>
                <a:gd name="connsiteY1023" fmla="*/ 53113 h 157370"/>
                <a:gd name="connsiteX1024" fmla="*/ 220319 w 716036"/>
                <a:gd name="connsiteY1024" fmla="*/ 52719 h 157370"/>
                <a:gd name="connsiteX1025" fmla="*/ 223466 w 716036"/>
                <a:gd name="connsiteY1025" fmla="*/ 51932 h 157370"/>
                <a:gd name="connsiteX1026" fmla="*/ 226614 w 716036"/>
                <a:gd name="connsiteY1026" fmla="*/ 51932 h 157370"/>
                <a:gd name="connsiteX1027" fmla="*/ 223073 w 716036"/>
                <a:gd name="connsiteY1027" fmla="*/ 53506 h 157370"/>
                <a:gd name="connsiteX1028" fmla="*/ 226220 w 716036"/>
                <a:gd name="connsiteY1028" fmla="*/ 53506 h 157370"/>
                <a:gd name="connsiteX1029" fmla="*/ 229368 w 716036"/>
                <a:gd name="connsiteY1029" fmla="*/ 53899 h 157370"/>
                <a:gd name="connsiteX1030" fmla="*/ 235663 w 716036"/>
                <a:gd name="connsiteY1030" fmla="*/ 53899 h 157370"/>
                <a:gd name="connsiteX1031" fmla="*/ 238810 w 716036"/>
                <a:gd name="connsiteY1031" fmla="*/ 53506 h 157370"/>
                <a:gd name="connsiteX1032" fmla="*/ 242351 w 716036"/>
                <a:gd name="connsiteY1032" fmla="*/ 53506 h 157370"/>
                <a:gd name="connsiteX1033" fmla="*/ 245498 w 716036"/>
                <a:gd name="connsiteY1033" fmla="*/ 53899 h 157370"/>
                <a:gd name="connsiteX1034" fmla="*/ 248646 w 716036"/>
                <a:gd name="connsiteY1034" fmla="*/ 53899 h 157370"/>
                <a:gd name="connsiteX1035" fmla="*/ 252186 w 716036"/>
                <a:gd name="connsiteY1035" fmla="*/ 53506 h 157370"/>
                <a:gd name="connsiteX1036" fmla="*/ 255334 w 716036"/>
                <a:gd name="connsiteY1036" fmla="*/ 53506 h 157370"/>
                <a:gd name="connsiteX1037" fmla="*/ 258088 w 716036"/>
                <a:gd name="connsiteY1037" fmla="*/ 53113 h 157370"/>
                <a:gd name="connsiteX1038" fmla="*/ 260842 w 716036"/>
                <a:gd name="connsiteY1038" fmla="*/ 52326 h 157370"/>
                <a:gd name="connsiteX1039" fmla="*/ 263202 w 716036"/>
                <a:gd name="connsiteY1039" fmla="*/ 49178 h 157370"/>
                <a:gd name="connsiteX1040" fmla="*/ 266350 w 716036"/>
                <a:gd name="connsiteY1040" fmla="*/ 48785 h 157370"/>
                <a:gd name="connsiteX1041" fmla="*/ 269497 w 716036"/>
                <a:gd name="connsiteY1041" fmla="*/ 48391 h 157370"/>
                <a:gd name="connsiteX1042" fmla="*/ 272644 w 716036"/>
                <a:gd name="connsiteY1042" fmla="*/ 47998 h 157370"/>
                <a:gd name="connsiteX1043" fmla="*/ 275792 w 716036"/>
                <a:gd name="connsiteY1043" fmla="*/ 47605 h 157370"/>
                <a:gd name="connsiteX1044" fmla="*/ 278546 w 716036"/>
                <a:gd name="connsiteY1044" fmla="*/ 47998 h 157370"/>
                <a:gd name="connsiteX1045" fmla="*/ 275792 w 716036"/>
                <a:gd name="connsiteY1045" fmla="*/ 48391 h 157370"/>
                <a:gd name="connsiteX1046" fmla="*/ 272644 w 716036"/>
                <a:gd name="connsiteY1046" fmla="*/ 48785 h 157370"/>
                <a:gd name="connsiteX1047" fmla="*/ 269890 w 716036"/>
                <a:gd name="connsiteY1047" fmla="*/ 50359 h 157370"/>
                <a:gd name="connsiteX1048" fmla="*/ 272644 w 716036"/>
                <a:gd name="connsiteY1048" fmla="*/ 50359 h 157370"/>
                <a:gd name="connsiteX1049" fmla="*/ 276185 w 716036"/>
                <a:gd name="connsiteY1049" fmla="*/ 49965 h 157370"/>
                <a:gd name="connsiteX1050" fmla="*/ 279726 w 716036"/>
                <a:gd name="connsiteY1050" fmla="*/ 49572 h 157370"/>
                <a:gd name="connsiteX1051" fmla="*/ 282874 w 716036"/>
                <a:gd name="connsiteY1051" fmla="*/ 49178 h 157370"/>
                <a:gd name="connsiteX1052" fmla="*/ 285628 w 716036"/>
                <a:gd name="connsiteY1052" fmla="*/ 49178 h 157370"/>
                <a:gd name="connsiteX1053" fmla="*/ 289168 w 716036"/>
                <a:gd name="connsiteY1053" fmla="*/ 48391 h 157370"/>
                <a:gd name="connsiteX1054" fmla="*/ 291922 w 716036"/>
                <a:gd name="connsiteY1054" fmla="*/ 47998 h 157370"/>
                <a:gd name="connsiteX1055" fmla="*/ 295070 w 716036"/>
                <a:gd name="connsiteY1055" fmla="*/ 47605 h 157370"/>
                <a:gd name="connsiteX1056" fmla="*/ 297824 w 716036"/>
                <a:gd name="connsiteY1056" fmla="*/ 47211 h 157370"/>
                <a:gd name="connsiteX1057" fmla="*/ 300971 w 716036"/>
                <a:gd name="connsiteY1057" fmla="*/ 46818 h 157370"/>
                <a:gd name="connsiteX1058" fmla="*/ 304119 w 716036"/>
                <a:gd name="connsiteY1058" fmla="*/ 47211 h 157370"/>
                <a:gd name="connsiteX1059" fmla="*/ 300971 w 716036"/>
                <a:gd name="connsiteY1059" fmla="*/ 47605 h 157370"/>
                <a:gd name="connsiteX1060" fmla="*/ 298217 w 716036"/>
                <a:gd name="connsiteY1060" fmla="*/ 47998 h 157370"/>
                <a:gd name="connsiteX1061" fmla="*/ 295070 w 716036"/>
                <a:gd name="connsiteY1061" fmla="*/ 48391 h 157370"/>
                <a:gd name="connsiteX1062" fmla="*/ 291529 w 716036"/>
                <a:gd name="connsiteY1062" fmla="*/ 48785 h 157370"/>
                <a:gd name="connsiteX1063" fmla="*/ 287988 w 716036"/>
                <a:gd name="connsiteY1063" fmla="*/ 49178 h 157370"/>
                <a:gd name="connsiteX1064" fmla="*/ 284447 w 716036"/>
                <a:gd name="connsiteY1064" fmla="*/ 49572 h 157370"/>
                <a:gd name="connsiteX1065" fmla="*/ 280907 w 716036"/>
                <a:gd name="connsiteY1065" fmla="*/ 49965 h 157370"/>
                <a:gd name="connsiteX1066" fmla="*/ 277759 w 716036"/>
                <a:gd name="connsiteY1066" fmla="*/ 50359 h 157370"/>
                <a:gd name="connsiteX1067" fmla="*/ 274218 w 716036"/>
                <a:gd name="connsiteY1067" fmla="*/ 50752 h 157370"/>
                <a:gd name="connsiteX1068" fmla="*/ 271464 w 716036"/>
                <a:gd name="connsiteY1068" fmla="*/ 52719 h 157370"/>
                <a:gd name="connsiteX1069" fmla="*/ 277366 w 716036"/>
                <a:gd name="connsiteY1069" fmla="*/ 52719 h 157370"/>
                <a:gd name="connsiteX1070" fmla="*/ 280513 w 716036"/>
                <a:gd name="connsiteY1070" fmla="*/ 52326 h 157370"/>
                <a:gd name="connsiteX1071" fmla="*/ 284054 w 716036"/>
                <a:gd name="connsiteY1071" fmla="*/ 52326 h 157370"/>
                <a:gd name="connsiteX1072" fmla="*/ 286808 w 716036"/>
                <a:gd name="connsiteY1072" fmla="*/ 51932 h 157370"/>
                <a:gd name="connsiteX1073" fmla="*/ 290349 w 716036"/>
                <a:gd name="connsiteY1073" fmla="*/ 51539 h 157370"/>
                <a:gd name="connsiteX1074" fmla="*/ 293890 w 716036"/>
                <a:gd name="connsiteY1074" fmla="*/ 51539 h 157370"/>
                <a:gd name="connsiteX1075" fmla="*/ 297430 w 716036"/>
                <a:gd name="connsiteY1075" fmla="*/ 51145 h 157370"/>
                <a:gd name="connsiteX1076" fmla="*/ 300971 w 716036"/>
                <a:gd name="connsiteY1076" fmla="*/ 50752 h 157370"/>
                <a:gd name="connsiteX1077" fmla="*/ 304119 w 716036"/>
                <a:gd name="connsiteY1077" fmla="*/ 50359 h 157370"/>
                <a:gd name="connsiteX1078" fmla="*/ 307660 w 716036"/>
                <a:gd name="connsiteY1078" fmla="*/ 49965 h 157370"/>
                <a:gd name="connsiteX1079" fmla="*/ 311200 w 716036"/>
                <a:gd name="connsiteY1079" fmla="*/ 49572 h 157370"/>
                <a:gd name="connsiteX1080" fmla="*/ 313954 w 716036"/>
                <a:gd name="connsiteY1080" fmla="*/ 49178 h 157370"/>
                <a:gd name="connsiteX1081" fmla="*/ 317102 w 716036"/>
                <a:gd name="connsiteY1081" fmla="*/ 48785 h 157370"/>
                <a:gd name="connsiteX1082" fmla="*/ 320249 w 716036"/>
                <a:gd name="connsiteY1082" fmla="*/ 48391 h 157370"/>
                <a:gd name="connsiteX1083" fmla="*/ 323003 w 716036"/>
                <a:gd name="connsiteY1083" fmla="*/ 47998 h 157370"/>
                <a:gd name="connsiteX1084" fmla="*/ 326151 w 716036"/>
                <a:gd name="connsiteY1084" fmla="*/ 47605 h 157370"/>
                <a:gd name="connsiteX1085" fmla="*/ 329691 w 716036"/>
                <a:gd name="connsiteY1085" fmla="*/ 47211 h 157370"/>
                <a:gd name="connsiteX1086" fmla="*/ 333232 w 716036"/>
                <a:gd name="connsiteY1086" fmla="*/ 46818 h 157370"/>
                <a:gd name="connsiteX1087" fmla="*/ 336380 w 716036"/>
                <a:gd name="connsiteY1087" fmla="*/ 46424 h 157370"/>
                <a:gd name="connsiteX1088" fmla="*/ 339921 w 716036"/>
                <a:gd name="connsiteY1088" fmla="*/ 46031 h 157370"/>
                <a:gd name="connsiteX1089" fmla="*/ 343461 w 716036"/>
                <a:gd name="connsiteY1089" fmla="*/ 45637 h 157370"/>
                <a:gd name="connsiteX1090" fmla="*/ 346215 w 716036"/>
                <a:gd name="connsiteY1090" fmla="*/ 45244 h 157370"/>
                <a:gd name="connsiteX1091" fmla="*/ 349363 w 716036"/>
                <a:gd name="connsiteY1091" fmla="*/ 44457 h 157370"/>
                <a:gd name="connsiteX1092" fmla="*/ 352117 w 716036"/>
                <a:gd name="connsiteY1092" fmla="*/ 43277 h 157370"/>
                <a:gd name="connsiteX1093" fmla="*/ 355264 w 716036"/>
                <a:gd name="connsiteY1093" fmla="*/ 41310 h 157370"/>
                <a:gd name="connsiteX1094" fmla="*/ 358411 w 716036"/>
                <a:gd name="connsiteY1094" fmla="*/ 40523 h 157370"/>
                <a:gd name="connsiteX1095" fmla="*/ 361952 w 716036"/>
                <a:gd name="connsiteY1095" fmla="*/ 39736 h 157370"/>
                <a:gd name="connsiteX1096" fmla="*/ 363133 w 716036"/>
                <a:gd name="connsiteY1096" fmla="*/ 41703 h 157370"/>
                <a:gd name="connsiteX1097" fmla="*/ 361952 w 716036"/>
                <a:gd name="connsiteY1097" fmla="*/ 42097 h 157370"/>
                <a:gd name="connsiteX1098" fmla="*/ 359198 w 716036"/>
                <a:gd name="connsiteY1098" fmla="*/ 45244 h 157370"/>
                <a:gd name="connsiteX1099" fmla="*/ 362739 w 716036"/>
                <a:gd name="connsiteY1099" fmla="*/ 44851 h 157370"/>
                <a:gd name="connsiteX1100" fmla="*/ 364313 w 716036"/>
                <a:gd name="connsiteY1100" fmla="*/ 44851 h 157370"/>
                <a:gd name="connsiteX1101" fmla="*/ 365100 w 716036"/>
                <a:gd name="connsiteY1101" fmla="*/ 46818 h 157370"/>
                <a:gd name="connsiteX1102" fmla="*/ 363919 w 716036"/>
                <a:gd name="connsiteY1102" fmla="*/ 46818 h 157370"/>
                <a:gd name="connsiteX1103" fmla="*/ 360772 w 716036"/>
                <a:gd name="connsiteY1103" fmla="*/ 47211 h 157370"/>
                <a:gd name="connsiteX1104" fmla="*/ 357231 w 716036"/>
                <a:gd name="connsiteY1104" fmla="*/ 47605 h 157370"/>
                <a:gd name="connsiteX1105" fmla="*/ 354084 w 716036"/>
                <a:gd name="connsiteY1105" fmla="*/ 47998 h 157370"/>
                <a:gd name="connsiteX1106" fmla="*/ 351330 w 716036"/>
                <a:gd name="connsiteY1106" fmla="*/ 48391 h 157370"/>
                <a:gd name="connsiteX1107" fmla="*/ 348182 w 716036"/>
                <a:gd name="connsiteY1107" fmla="*/ 48785 h 157370"/>
                <a:gd name="connsiteX1108" fmla="*/ 344641 w 716036"/>
                <a:gd name="connsiteY1108" fmla="*/ 49178 h 157370"/>
                <a:gd name="connsiteX1109" fmla="*/ 341494 w 716036"/>
                <a:gd name="connsiteY1109" fmla="*/ 49572 h 157370"/>
                <a:gd name="connsiteX1110" fmla="*/ 337953 w 716036"/>
                <a:gd name="connsiteY1110" fmla="*/ 49965 h 157370"/>
                <a:gd name="connsiteX1111" fmla="*/ 334412 w 716036"/>
                <a:gd name="connsiteY1111" fmla="*/ 50752 h 157370"/>
                <a:gd name="connsiteX1112" fmla="*/ 337953 w 716036"/>
                <a:gd name="connsiteY1112" fmla="*/ 51145 h 157370"/>
                <a:gd name="connsiteX1113" fmla="*/ 341101 w 716036"/>
                <a:gd name="connsiteY1113" fmla="*/ 50752 h 157370"/>
                <a:gd name="connsiteX1114" fmla="*/ 344641 w 716036"/>
                <a:gd name="connsiteY1114" fmla="*/ 50752 h 157370"/>
                <a:gd name="connsiteX1115" fmla="*/ 348182 w 716036"/>
                <a:gd name="connsiteY1115" fmla="*/ 50359 h 157370"/>
                <a:gd name="connsiteX1116" fmla="*/ 351723 w 716036"/>
                <a:gd name="connsiteY1116" fmla="*/ 50359 h 157370"/>
                <a:gd name="connsiteX1117" fmla="*/ 355264 w 716036"/>
                <a:gd name="connsiteY1117" fmla="*/ 50752 h 157370"/>
                <a:gd name="connsiteX1118" fmla="*/ 361165 w 716036"/>
                <a:gd name="connsiteY1118" fmla="*/ 50752 h 157370"/>
                <a:gd name="connsiteX1119" fmla="*/ 364313 w 716036"/>
                <a:gd name="connsiteY1119" fmla="*/ 51145 h 157370"/>
                <a:gd name="connsiteX1120" fmla="*/ 367460 w 716036"/>
                <a:gd name="connsiteY1120" fmla="*/ 51539 h 157370"/>
                <a:gd name="connsiteX1121" fmla="*/ 364706 w 716036"/>
                <a:gd name="connsiteY1121" fmla="*/ 51932 h 157370"/>
                <a:gd name="connsiteX1122" fmla="*/ 354871 w 716036"/>
                <a:gd name="connsiteY1122" fmla="*/ 51932 h 157370"/>
                <a:gd name="connsiteX1123" fmla="*/ 351723 w 716036"/>
                <a:gd name="connsiteY1123" fmla="*/ 52326 h 157370"/>
                <a:gd name="connsiteX1124" fmla="*/ 342674 w 716036"/>
                <a:gd name="connsiteY1124" fmla="*/ 52326 h 157370"/>
                <a:gd name="connsiteX1125" fmla="*/ 339527 w 716036"/>
                <a:gd name="connsiteY1125" fmla="*/ 52719 h 157370"/>
                <a:gd name="connsiteX1126" fmla="*/ 335986 w 716036"/>
                <a:gd name="connsiteY1126" fmla="*/ 52719 h 157370"/>
                <a:gd name="connsiteX1127" fmla="*/ 332445 w 716036"/>
                <a:gd name="connsiteY1127" fmla="*/ 53113 h 157370"/>
                <a:gd name="connsiteX1128" fmla="*/ 325757 w 716036"/>
                <a:gd name="connsiteY1128" fmla="*/ 53113 h 157370"/>
                <a:gd name="connsiteX1129" fmla="*/ 322216 w 716036"/>
                <a:gd name="connsiteY1129" fmla="*/ 54293 h 157370"/>
                <a:gd name="connsiteX1130" fmla="*/ 319462 w 716036"/>
                <a:gd name="connsiteY1130" fmla="*/ 54686 h 157370"/>
                <a:gd name="connsiteX1131" fmla="*/ 315921 w 716036"/>
                <a:gd name="connsiteY1131" fmla="*/ 54686 h 157370"/>
                <a:gd name="connsiteX1132" fmla="*/ 312381 w 716036"/>
                <a:gd name="connsiteY1132" fmla="*/ 55080 h 157370"/>
                <a:gd name="connsiteX1133" fmla="*/ 308840 w 716036"/>
                <a:gd name="connsiteY1133" fmla="*/ 55080 h 157370"/>
                <a:gd name="connsiteX1134" fmla="*/ 305299 w 716036"/>
                <a:gd name="connsiteY1134" fmla="*/ 55473 h 157370"/>
                <a:gd name="connsiteX1135" fmla="*/ 301758 w 716036"/>
                <a:gd name="connsiteY1135" fmla="*/ 55867 h 157370"/>
                <a:gd name="connsiteX1136" fmla="*/ 298217 w 716036"/>
                <a:gd name="connsiteY1136" fmla="*/ 56260 h 157370"/>
                <a:gd name="connsiteX1137" fmla="*/ 294677 w 716036"/>
                <a:gd name="connsiteY1137" fmla="*/ 56260 h 157370"/>
                <a:gd name="connsiteX1138" fmla="*/ 291922 w 716036"/>
                <a:gd name="connsiteY1138" fmla="*/ 56653 h 157370"/>
                <a:gd name="connsiteX1139" fmla="*/ 288382 w 716036"/>
                <a:gd name="connsiteY1139" fmla="*/ 56653 h 157370"/>
                <a:gd name="connsiteX1140" fmla="*/ 284841 w 716036"/>
                <a:gd name="connsiteY1140" fmla="*/ 57047 h 157370"/>
                <a:gd name="connsiteX1141" fmla="*/ 281693 w 716036"/>
                <a:gd name="connsiteY1141" fmla="*/ 57440 h 157370"/>
                <a:gd name="connsiteX1142" fmla="*/ 278153 w 716036"/>
                <a:gd name="connsiteY1142" fmla="*/ 57834 h 157370"/>
                <a:gd name="connsiteX1143" fmla="*/ 274612 w 716036"/>
                <a:gd name="connsiteY1143" fmla="*/ 57834 h 157370"/>
                <a:gd name="connsiteX1144" fmla="*/ 271071 w 716036"/>
                <a:gd name="connsiteY1144" fmla="*/ 58227 h 157370"/>
                <a:gd name="connsiteX1145" fmla="*/ 267530 w 716036"/>
                <a:gd name="connsiteY1145" fmla="*/ 58621 h 157370"/>
                <a:gd name="connsiteX1146" fmla="*/ 264383 w 716036"/>
                <a:gd name="connsiteY1146" fmla="*/ 59407 h 157370"/>
                <a:gd name="connsiteX1147" fmla="*/ 267530 w 716036"/>
                <a:gd name="connsiteY1147" fmla="*/ 61375 h 157370"/>
                <a:gd name="connsiteX1148" fmla="*/ 270284 w 716036"/>
                <a:gd name="connsiteY1148" fmla="*/ 62948 h 157370"/>
                <a:gd name="connsiteX1149" fmla="*/ 273431 w 716036"/>
                <a:gd name="connsiteY1149" fmla="*/ 64915 h 157370"/>
                <a:gd name="connsiteX1150" fmla="*/ 276185 w 716036"/>
                <a:gd name="connsiteY1150" fmla="*/ 66096 h 157370"/>
                <a:gd name="connsiteX1151" fmla="*/ 283267 w 716036"/>
                <a:gd name="connsiteY1151" fmla="*/ 67669 h 157370"/>
                <a:gd name="connsiteX1152" fmla="*/ 282874 w 716036"/>
                <a:gd name="connsiteY1152" fmla="*/ 67669 h 157370"/>
                <a:gd name="connsiteX1153" fmla="*/ 280120 w 716036"/>
                <a:gd name="connsiteY1153" fmla="*/ 69636 h 157370"/>
                <a:gd name="connsiteX1154" fmla="*/ 262416 w 716036"/>
                <a:gd name="connsiteY1154" fmla="*/ 66096 h 157370"/>
                <a:gd name="connsiteX1155" fmla="*/ 260842 w 716036"/>
                <a:gd name="connsiteY1155" fmla="*/ 65702 h 157370"/>
                <a:gd name="connsiteX1156" fmla="*/ 257694 w 716036"/>
                <a:gd name="connsiteY1156" fmla="*/ 64522 h 157370"/>
                <a:gd name="connsiteX1157" fmla="*/ 254940 w 716036"/>
                <a:gd name="connsiteY1157" fmla="*/ 62948 h 157370"/>
                <a:gd name="connsiteX1158" fmla="*/ 251793 w 716036"/>
                <a:gd name="connsiteY1158" fmla="*/ 60981 h 157370"/>
                <a:gd name="connsiteX1159" fmla="*/ 249039 w 716036"/>
                <a:gd name="connsiteY1159" fmla="*/ 60194 h 157370"/>
                <a:gd name="connsiteX1160" fmla="*/ 246285 w 716036"/>
                <a:gd name="connsiteY1160" fmla="*/ 59801 h 157370"/>
                <a:gd name="connsiteX1161" fmla="*/ 230548 w 716036"/>
                <a:gd name="connsiteY1161" fmla="*/ 59801 h 157370"/>
                <a:gd name="connsiteX1162" fmla="*/ 226614 w 716036"/>
                <a:gd name="connsiteY1162" fmla="*/ 60194 h 157370"/>
                <a:gd name="connsiteX1163" fmla="*/ 223860 w 716036"/>
                <a:gd name="connsiteY1163" fmla="*/ 59801 h 157370"/>
                <a:gd name="connsiteX1164" fmla="*/ 220712 w 716036"/>
                <a:gd name="connsiteY1164" fmla="*/ 59407 h 157370"/>
                <a:gd name="connsiteX1165" fmla="*/ 217958 w 716036"/>
                <a:gd name="connsiteY1165" fmla="*/ 59014 h 157370"/>
                <a:gd name="connsiteX1166" fmla="*/ 214811 w 716036"/>
                <a:gd name="connsiteY1166" fmla="*/ 58621 h 157370"/>
                <a:gd name="connsiteX1167" fmla="*/ 211663 w 716036"/>
                <a:gd name="connsiteY1167" fmla="*/ 58227 h 157370"/>
                <a:gd name="connsiteX1168" fmla="*/ 208909 w 716036"/>
                <a:gd name="connsiteY1168" fmla="*/ 58621 h 157370"/>
                <a:gd name="connsiteX1169" fmla="*/ 205762 w 716036"/>
                <a:gd name="connsiteY1169" fmla="*/ 58621 h 157370"/>
                <a:gd name="connsiteX1170" fmla="*/ 202615 w 716036"/>
                <a:gd name="connsiteY1170" fmla="*/ 59014 h 157370"/>
                <a:gd name="connsiteX1171" fmla="*/ 199467 w 716036"/>
                <a:gd name="connsiteY1171" fmla="*/ 60588 h 157370"/>
                <a:gd name="connsiteX1172" fmla="*/ 196713 w 716036"/>
                <a:gd name="connsiteY1172" fmla="*/ 62161 h 157370"/>
                <a:gd name="connsiteX1173" fmla="*/ 193959 w 716036"/>
                <a:gd name="connsiteY1173" fmla="*/ 63342 h 157370"/>
                <a:gd name="connsiteX1174" fmla="*/ 194353 w 716036"/>
                <a:gd name="connsiteY1174" fmla="*/ 66489 h 157370"/>
                <a:gd name="connsiteX1175" fmla="*/ 193566 w 716036"/>
                <a:gd name="connsiteY1175" fmla="*/ 67276 h 157370"/>
                <a:gd name="connsiteX1176" fmla="*/ 192386 w 716036"/>
                <a:gd name="connsiteY1176" fmla="*/ 67276 h 157370"/>
                <a:gd name="connsiteX1177" fmla="*/ 189238 w 716036"/>
                <a:gd name="connsiteY1177" fmla="*/ 69243 h 157370"/>
                <a:gd name="connsiteX1178" fmla="*/ 188058 w 716036"/>
                <a:gd name="connsiteY1178" fmla="*/ 71997 h 157370"/>
                <a:gd name="connsiteX1179" fmla="*/ 190025 w 716036"/>
                <a:gd name="connsiteY1179" fmla="*/ 72390 h 157370"/>
                <a:gd name="connsiteX1180" fmla="*/ 187271 w 716036"/>
                <a:gd name="connsiteY1180" fmla="*/ 76718 h 157370"/>
                <a:gd name="connsiteX1181" fmla="*/ 183730 w 716036"/>
                <a:gd name="connsiteY1181" fmla="*/ 74751 h 157370"/>
                <a:gd name="connsiteX1182" fmla="*/ 180583 w 716036"/>
                <a:gd name="connsiteY1182" fmla="*/ 74358 h 157370"/>
                <a:gd name="connsiteX1183" fmla="*/ 177829 w 716036"/>
                <a:gd name="connsiteY1183" fmla="*/ 74751 h 157370"/>
                <a:gd name="connsiteX1184" fmla="*/ 174681 w 716036"/>
                <a:gd name="connsiteY1184" fmla="*/ 75144 h 157370"/>
                <a:gd name="connsiteX1185" fmla="*/ 171534 w 716036"/>
                <a:gd name="connsiteY1185" fmla="*/ 76718 h 157370"/>
                <a:gd name="connsiteX1186" fmla="*/ 168386 w 716036"/>
                <a:gd name="connsiteY1186" fmla="*/ 75931 h 157370"/>
                <a:gd name="connsiteX1187" fmla="*/ 165632 w 716036"/>
                <a:gd name="connsiteY1187" fmla="*/ 76325 h 157370"/>
                <a:gd name="connsiteX1188" fmla="*/ 162485 w 716036"/>
                <a:gd name="connsiteY1188" fmla="*/ 77505 h 157370"/>
                <a:gd name="connsiteX1189" fmla="*/ 159731 w 716036"/>
                <a:gd name="connsiteY1189" fmla="*/ 77112 h 157370"/>
                <a:gd name="connsiteX1190" fmla="*/ 162879 w 716036"/>
                <a:gd name="connsiteY1190" fmla="*/ 75538 h 157370"/>
                <a:gd name="connsiteX1191" fmla="*/ 166026 w 716036"/>
                <a:gd name="connsiteY1191" fmla="*/ 75144 h 157370"/>
                <a:gd name="connsiteX1192" fmla="*/ 169173 w 716036"/>
                <a:gd name="connsiteY1192" fmla="*/ 74358 h 157370"/>
                <a:gd name="connsiteX1193" fmla="*/ 171927 w 716036"/>
                <a:gd name="connsiteY1193" fmla="*/ 72784 h 157370"/>
                <a:gd name="connsiteX1194" fmla="*/ 175075 w 716036"/>
                <a:gd name="connsiteY1194" fmla="*/ 70817 h 157370"/>
                <a:gd name="connsiteX1195" fmla="*/ 178222 w 716036"/>
                <a:gd name="connsiteY1195" fmla="*/ 69243 h 157370"/>
                <a:gd name="connsiteX1196" fmla="*/ 180976 w 716036"/>
                <a:gd name="connsiteY1196" fmla="*/ 67669 h 157370"/>
                <a:gd name="connsiteX1197" fmla="*/ 177829 w 716036"/>
                <a:gd name="connsiteY1197" fmla="*/ 68063 h 157370"/>
                <a:gd name="connsiteX1198" fmla="*/ 175075 w 716036"/>
                <a:gd name="connsiteY1198" fmla="*/ 68850 h 157370"/>
                <a:gd name="connsiteX1199" fmla="*/ 172321 w 716036"/>
                <a:gd name="connsiteY1199" fmla="*/ 69243 h 157370"/>
                <a:gd name="connsiteX1200" fmla="*/ 169173 w 716036"/>
                <a:gd name="connsiteY1200" fmla="*/ 69636 h 157370"/>
                <a:gd name="connsiteX1201" fmla="*/ 171927 w 716036"/>
                <a:gd name="connsiteY1201" fmla="*/ 69243 h 157370"/>
                <a:gd name="connsiteX1202" fmla="*/ 175075 w 716036"/>
                <a:gd name="connsiteY1202" fmla="*/ 68456 h 157370"/>
                <a:gd name="connsiteX1203" fmla="*/ 177829 w 716036"/>
                <a:gd name="connsiteY1203" fmla="*/ 67669 h 157370"/>
                <a:gd name="connsiteX1204" fmla="*/ 180976 w 716036"/>
                <a:gd name="connsiteY1204" fmla="*/ 67276 h 157370"/>
                <a:gd name="connsiteX1205" fmla="*/ 180189 w 716036"/>
                <a:gd name="connsiteY1205" fmla="*/ 65702 h 157370"/>
                <a:gd name="connsiteX1206" fmla="*/ 177042 w 716036"/>
                <a:gd name="connsiteY1206" fmla="*/ 64128 h 157370"/>
                <a:gd name="connsiteX1207" fmla="*/ 175075 w 716036"/>
                <a:gd name="connsiteY1207" fmla="*/ 64128 h 157370"/>
                <a:gd name="connsiteX1208" fmla="*/ 170747 w 716036"/>
                <a:gd name="connsiteY1208" fmla="*/ 62948 h 157370"/>
                <a:gd name="connsiteX1209" fmla="*/ 171141 w 716036"/>
                <a:gd name="connsiteY1209" fmla="*/ 62555 h 157370"/>
                <a:gd name="connsiteX1210" fmla="*/ 174288 w 716036"/>
                <a:gd name="connsiteY1210" fmla="*/ 62161 h 157370"/>
                <a:gd name="connsiteX1211" fmla="*/ 177042 w 716036"/>
                <a:gd name="connsiteY1211" fmla="*/ 61768 h 157370"/>
                <a:gd name="connsiteX1212" fmla="*/ 179796 w 716036"/>
                <a:gd name="connsiteY1212" fmla="*/ 59407 h 157370"/>
                <a:gd name="connsiteX1213" fmla="*/ 179796 w 716036"/>
                <a:gd name="connsiteY1213" fmla="*/ 56653 h 157370"/>
                <a:gd name="connsiteX1214" fmla="*/ 176255 w 716036"/>
                <a:gd name="connsiteY1214" fmla="*/ 56260 h 157370"/>
                <a:gd name="connsiteX1215" fmla="*/ 173108 w 716036"/>
                <a:gd name="connsiteY1215" fmla="*/ 56260 h 157370"/>
                <a:gd name="connsiteX1216" fmla="*/ 169960 w 716036"/>
                <a:gd name="connsiteY1216" fmla="*/ 55867 h 157370"/>
                <a:gd name="connsiteX1217" fmla="*/ 166813 w 716036"/>
                <a:gd name="connsiteY1217" fmla="*/ 56260 h 157370"/>
                <a:gd name="connsiteX1218" fmla="*/ 163665 w 716036"/>
                <a:gd name="connsiteY1218" fmla="*/ 56653 h 157370"/>
                <a:gd name="connsiteX1219" fmla="*/ 160518 w 716036"/>
                <a:gd name="connsiteY1219" fmla="*/ 58621 h 157370"/>
                <a:gd name="connsiteX1220" fmla="*/ 162485 w 716036"/>
                <a:gd name="connsiteY1220" fmla="*/ 60194 h 157370"/>
                <a:gd name="connsiteX1221" fmla="*/ 154223 w 716036"/>
                <a:gd name="connsiteY1221" fmla="*/ 57440 h 157370"/>
                <a:gd name="connsiteX1222" fmla="*/ 155403 w 716036"/>
                <a:gd name="connsiteY1222" fmla="*/ 57047 h 157370"/>
                <a:gd name="connsiteX1223" fmla="*/ 153043 w 716036"/>
                <a:gd name="connsiteY1223" fmla="*/ 57047 h 157370"/>
                <a:gd name="connsiteX1224" fmla="*/ 152649 w 716036"/>
                <a:gd name="connsiteY1224" fmla="*/ 57047 h 157370"/>
                <a:gd name="connsiteX1225" fmla="*/ 155403 w 716036"/>
                <a:gd name="connsiteY1225" fmla="*/ 55867 h 157370"/>
                <a:gd name="connsiteX1226" fmla="*/ 151863 w 716036"/>
                <a:gd name="connsiteY1226" fmla="*/ 53506 h 157370"/>
                <a:gd name="connsiteX1227" fmla="*/ 148715 w 716036"/>
                <a:gd name="connsiteY1227" fmla="*/ 53899 h 157370"/>
                <a:gd name="connsiteX1228" fmla="*/ 145961 w 716036"/>
                <a:gd name="connsiteY1228" fmla="*/ 53899 h 157370"/>
                <a:gd name="connsiteX1229" fmla="*/ 143994 w 716036"/>
                <a:gd name="connsiteY1229" fmla="*/ 54293 h 157370"/>
                <a:gd name="connsiteX1230" fmla="*/ 142420 w 716036"/>
                <a:gd name="connsiteY1230" fmla="*/ 53899 h 157370"/>
                <a:gd name="connsiteX1231" fmla="*/ 128650 w 716036"/>
                <a:gd name="connsiteY1231" fmla="*/ 46818 h 157370"/>
                <a:gd name="connsiteX1232" fmla="*/ 127077 w 716036"/>
                <a:gd name="connsiteY1232" fmla="*/ 43670 h 157370"/>
                <a:gd name="connsiteX1233" fmla="*/ 123929 w 716036"/>
                <a:gd name="connsiteY1233" fmla="*/ 42097 h 157370"/>
                <a:gd name="connsiteX1234" fmla="*/ 126683 w 716036"/>
                <a:gd name="connsiteY1234" fmla="*/ 41703 h 157370"/>
                <a:gd name="connsiteX1235" fmla="*/ 124716 w 716036"/>
                <a:gd name="connsiteY1235" fmla="*/ 38949 h 157370"/>
                <a:gd name="connsiteX1236" fmla="*/ 121569 w 716036"/>
                <a:gd name="connsiteY1236" fmla="*/ 38556 h 157370"/>
                <a:gd name="connsiteX1237" fmla="*/ 118421 w 716036"/>
                <a:gd name="connsiteY1237" fmla="*/ 37769 h 157370"/>
                <a:gd name="connsiteX1238" fmla="*/ 115274 w 716036"/>
                <a:gd name="connsiteY1238" fmla="*/ 37376 h 157370"/>
                <a:gd name="connsiteX1239" fmla="*/ 112127 w 716036"/>
                <a:gd name="connsiteY1239" fmla="*/ 36982 h 157370"/>
                <a:gd name="connsiteX1240" fmla="*/ 109373 w 716036"/>
                <a:gd name="connsiteY1240" fmla="*/ 36589 h 157370"/>
                <a:gd name="connsiteX1241" fmla="*/ 107799 w 716036"/>
                <a:gd name="connsiteY1241" fmla="*/ 36589 h 157370"/>
                <a:gd name="connsiteX1242" fmla="*/ 104258 w 716036"/>
                <a:gd name="connsiteY1242" fmla="*/ 36195 h 157370"/>
                <a:gd name="connsiteX1243" fmla="*/ 103471 w 716036"/>
                <a:gd name="connsiteY1243" fmla="*/ 36589 h 157370"/>
                <a:gd name="connsiteX1244" fmla="*/ 96783 w 716036"/>
                <a:gd name="connsiteY1244" fmla="*/ 36589 h 157370"/>
                <a:gd name="connsiteX1245" fmla="*/ 95209 w 716036"/>
                <a:gd name="connsiteY1245" fmla="*/ 36589 h 157370"/>
                <a:gd name="connsiteX1246" fmla="*/ 92455 w 716036"/>
                <a:gd name="connsiteY1246" fmla="*/ 36589 h 157370"/>
                <a:gd name="connsiteX1247" fmla="*/ 90095 w 716036"/>
                <a:gd name="connsiteY1247" fmla="*/ 36982 h 157370"/>
                <a:gd name="connsiteX1248" fmla="*/ 86947 w 716036"/>
                <a:gd name="connsiteY1248" fmla="*/ 38162 h 157370"/>
                <a:gd name="connsiteX1249" fmla="*/ 87341 w 716036"/>
                <a:gd name="connsiteY1249" fmla="*/ 38556 h 157370"/>
                <a:gd name="connsiteX1250" fmla="*/ 81046 w 716036"/>
                <a:gd name="connsiteY1250" fmla="*/ 42097 h 157370"/>
                <a:gd name="connsiteX1251" fmla="*/ 75931 w 716036"/>
                <a:gd name="connsiteY1251" fmla="*/ 44851 h 157370"/>
                <a:gd name="connsiteX1252" fmla="*/ 75144 w 716036"/>
                <a:gd name="connsiteY1252" fmla="*/ 44851 h 157370"/>
                <a:gd name="connsiteX1253" fmla="*/ 71604 w 716036"/>
                <a:gd name="connsiteY1253" fmla="*/ 43277 h 157370"/>
                <a:gd name="connsiteX1254" fmla="*/ 68850 w 716036"/>
                <a:gd name="connsiteY1254" fmla="*/ 42883 h 157370"/>
                <a:gd name="connsiteX1255" fmla="*/ 65309 w 716036"/>
                <a:gd name="connsiteY1255" fmla="*/ 43277 h 157370"/>
                <a:gd name="connsiteX1256" fmla="*/ 61768 w 716036"/>
                <a:gd name="connsiteY1256" fmla="*/ 43670 h 157370"/>
                <a:gd name="connsiteX1257" fmla="*/ 58621 w 716036"/>
                <a:gd name="connsiteY1257" fmla="*/ 44851 h 157370"/>
                <a:gd name="connsiteX1258" fmla="*/ 55867 w 716036"/>
                <a:gd name="connsiteY1258" fmla="*/ 45244 h 157370"/>
                <a:gd name="connsiteX1259" fmla="*/ 58621 w 716036"/>
                <a:gd name="connsiteY1259" fmla="*/ 46031 h 157370"/>
                <a:gd name="connsiteX1260" fmla="*/ 55867 w 716036"/>
                <a:gd name="connsiteY1260" fmla="*/ 46424 h 157370"/>
                <a:gd name="connsiteX1261" fmla="*/ 52719 w 716036"/>
                <a:gd name="connsiteY1261" fmla="*/ 46818 h 157370"/>
                <a:gd name="connsiteX1262" fmla="*/ 55867 w 716036"/>
                <a:gd name="connsiteY1262" fmla="*/ 47998 h 157370"/>
                <a:gd name="connsiteX1263" fmla="*/ 59014 w 716036"/>
                <a:gd name="connsiteY1263" fmla="*/ 47998 h 157370"/>
                <a:gd name="connsiteX1264" fmla="*/ 61768 w 716036"/>
                <a:gd name="connsiteY1264" fmla="*/ 47605 h 157370"/>
                <a:gd name="connsiteX1265" fmla="*/ 58621 w 716036"/>
                <a:gd name="connsiteY1265" fmla="*/ 47998 h 157370"/>
                <a:gd name="connsiteX1266" fmla="*/ 61374 w 716036"/>
                <a:gd name="connsiteY1266" fmla="*/ 49178 h 157370"/>
                <a:gd name="connsiteX1267" fmla="*/ 64522 w 716036"/>
                <a:gd name="connsiteY1267" fmla="*/ 49572 h 157370"/>
                <a:gd name="connsiteX1268" fmla="*/ 66096 w 716036"/>
                <a:gd name="connsiteY1268" fmla="*/ 49178 h 157370"/>
                <a:gd name="connsiteX1269" fmla="*/ 64915 w 716036"/>
                <a:gd name="connsiteY1269" fmla="*/ 49965 h 157370"/>
                <a:gd name="connsiteX1270" fmla="*/ 62948 w 716036"/>
                <a:gd name="connsiteY1270" fmla="*/ 49965 h 157370"/>
                <a:gd name="connsiteX1271" fmla="*/ 64128 w 716036"/>
                <a:gd name="connsiteY1271" fmla="*/ 50752 h 157370"/>
                <a:gd name="connsiteX1272" fmla="*/ 60981 w 716036"/>
                <a:gd name="connsiteY1272" fmla="*/ 53113 h 157370"/>
                <a:gd name="connsiteX1273" fmla="*/ 57047 w 716036"/>
                <a:gd name="connsiteY1273" fmla="*/ 53113 h 157370"/>
                <a:gd name="connsiteX1274" fmla="*/ 53899 w 716036"/>
                <a:gd name="connsiteY1274" fmla="*/ 52326 h 157370"/>
                <a:gd name="connsiteX1275" fmla="*/ 51145 w 716036"/>
                <a:gd name="connsiteY1275" fmla="*/ 51932 h 157370"/>
                <a:gd name="connsiteX1276" fmla="*/ 47998 w 716036"/>
                <a:gd name="connsiteY1276" fmla="*/ 52326 h 157370"/>
                <a:gd name="connsiteX1277" fmla="*/ 42097 w 716036"/>
                <a:gd name="connsiteY1277" fmla="*/ 52326 h 157370"/>
                <a:gd name="connsiteX1278" fmla="*/ 38556 w 716036"/>
                <a:gd name="connsiteY1278" fmla="*/ 52719 h 157370"/>
                <a:gd name="connsiteX1279" fmla="*/ 35015 w 716036"/>
                <a:gd name="connsiteY1279" fmla="*/ 52326 h 157370"/>
                <a:gd name="connsiteX1280" fmla="*/ 31867 w 716036"/>
                <a:gd name="connsiteY1280" fmla="*/ 54293 h 157370"/>
                <a:gd name="connsiteX1281" fmla="*/ 29114 w 716036"/>
                <a:gd name="connsiteY1281" fmla="*/ 54686 h 157370"/>
                <a:gd name="connsiteX1282" fmla="*/ 31867 w 716036"/>
                <a:gd name="connsiteY1282" fmla="*/ 55080 h 157370"/>
                <a:gd name="connsiteX1283" fmla="*/ 35015 w 716036"/>
                <a:gd name="connsiteY1283" fmla="*/ 56653 h 157370"/>
                <a:gd name="connsiteX1284" fmla="*/ 31867 w 716036"/>
                <a:gd name="connsiteY1284" fmla="*/ 57047 h 157370"/>
                <a:gd name="connsiteX1285" fmla="*/ 29507 w 716036"/>
                <a:gd name="connsiteY1285" fmla="*/ 57047 h 157370"/>
                <a:gd name="connsiteX1286" fmla="*/ 26360 w 716036"/>
                <a:gd name="connsiteY1286" fmla="*/ 57047 h 157370"/>
                <a:gd name="connsiteX1287" fmla="*/ 22819 w 716036"/>
                <a:gd name="connsiteY1287" fmla="*/ 57440 h 157370"/>
                <a:gd name="connsiteX1288" fmla="*/ 19278 w 716036"/>
                <a:gd name="connsiteY1288" fmla="*/ 57834 h 157370"/>
                <a:gd name="connsiteX1289" fmla="*/ 13770 w 716036"/>
                <a:gd name="connsiteY1289" fmla="*/ 57834 h 157370"/>
                <a:gd name="connsiteX1290" fmla="*/ 16524 w 716036"/>
                <a:gd name="connsiteY1290" fmla="*/ 58227 h 157370"/>
                <a:gd name="connsiteX1291" fmla="*/ 13770 w 716036"/>
                <a:gd name="connsiteY1291" fmla="*/ 59014 h 157370"/>
                <a:gd name="connsiteX1292" fmla="*/ 16917 w 716036"/>
                <a:gd name="connsiteY1292" fmla="*/ 59407 h 157370"/>
                <a:gd name="connsiteX1293" fmla="*/ 19671 w 716036"/>
                <a:gd name="connsiteY1293" fmla="*/ 60194 h 157370"/>
                <a:gd name="connsiteX1294" fmla="*/ 22819 w 716036"/>
                <a:gd name="connsiteY1294" fmla="*/ 60588 h 157370"/>
                <a:gd name="connsiteX1295" fmla="*/ 25966 w 716036"/>
                <a:gd name="connsiteY1295" fmla="*/ 60194 h 157370"/>
                <a:gd name="connsiteX1296" fmla="*/ 29507 w 716036"/>
                <a:gd name="connsiteY1296" fmla="*/ 59801 h 157370"/>
                <a:gd name="connsiteX1297" fmla="*/ 32654 w 716036"/>
                <a:gd name="connsiteY1297" fmla="*/ 60194 h 157370"/>
                <a:gd name="connsiteX1298" fmla="*/ 35408 w 716036"/>
                <a:gd name="connsiteY1298" fmla="*/ 59801 h 157370"/>
                <a:gd name="connsiteX1299" fmla="*/ 32654 w 716036"/>
                <a:gd name="connsiteY1299" fmla="*/ 60194 h 157370"/>
                <a:gd name="connsiteX1300" fmla="*/ 29900 w 716036"/>
                <a:gd name="connsiteY1300" fmla="*/ 60588 h 157370"/>
                <a:gd name="connsiteX1301" fmla="*/ 33048 w 716036"/>
                <a:gd name="connsiteY1301" fmla="*/ 62161 h 157370"/>
                <a:gd name="connsiteX1302" fmla="*/ 36589 w 716036"/>
                <a:gd name="connsiteY1302" fmla="*/ 61768 h 157370"/>
                <a:gd name="connsiteX1303" fmla="*/ 39343 w 716036"/>
                <a:gd name="connsiteY1303" fmla="*/ 61375 h 157370"/>
                <a:gd name="connsiteX1304" fmla="*/ 42884 w 716036"/>
                <a:gd name="connsiteY1304" fmla="*/ 60981 h 157370"/>
                <a:gd name="connsiteX1305" fmla="*/ 46424 w 716036"/>
                <a:gd name="connsiteY1305" fmla="*/ 60588 h 157370"/>
                <a:gd name="connsiteX1306" fmla="*/ 49178 w 716036"/>
                <a:gd name="connsiteY1306" fmla="*/ 59801 h 157370"/>
                <a:gd name="connsiteX1307" fmla="*/ 51539 w 716036"/>
                <a:gd name="connsiteY1307" fmla="*/ 60194 h 157370"/>
                <a:gd name="connsiteX1308" fmla="*/ 50359 w 716036"/>
                <a:gd name="connsiteY1308" fmla="*/ 61375 h 157370"/>
                <a:gd name="connsiteX1309" fmla="*/ 49178 w 716036"/>
                <a:gd name="connsiteY1309" fmla="*/ 61375 h 157370"/>
                <a:gd name="connsiteX1310" fmla="*/ 46031 w 716036"/>
                <a:gd name="connsiteY1310" fmla="*/ 61768 h 157370"/>
                <a:gd name="connsiteX1311" fmla="*/ 42884 w 716036"/>
                <a:gd name="connsiteY1311" fmla="*/ 62161 h 157370"/>
                <a:gd name="connsiteX1312" fmla="*/ 45244 w 716036"/>
                <a:gd name="connsiteY1312" fmla="*/ 64522 h 157370"/>
                <a:gd name="connsiteX1313" fmla="*/ 42097 w 716036"/>
                <a:gd name="connsiteY1313" fmla="*/ 64522 h 157370"/>
                <a:gd name="connsiteX1314" fmla="*/ 38949 w 716036"/>
                <a:gd name="connsiteY1314" fmla="*/ 63735 h 157370"/>
                <a:gd name="connsiteX1315" fmla="*/ 35802 w 716036"/>
                <a:gd name="connsiteY1315" fmla="*/ 63342 h 157370"/>
                <a:gd name="connsiteX1316" fmla="*/ 33048 w 716036"/>
                <a:gd name="connsiteY1316" fmla="*/ 63735 h 157370"/>
                <a:gd name="connsiteX1317" fmla="*/ 27147 w 716036"/>
                <a:gd name="connsiteY1317" fmla="*/ 63735 h 157370"/>
                <a:gd name="connsiteX1318" fmla="*/ 23999 w 716036"/>
                <a:gd name="connsiteY1318" fmla="*/ 63342 h 157370"/>
                <a:gd name="connsiteX1319" fmla="*/ 20852 w 716036"/>
                <a:gd name="connsiteY1319" fmla="*/ 62948 h 157370"/>
                <a:gd name="connsiteX1320" fmla="*/ 17311 w 716036"/>
                <a:gd name="connsiteY1320" fmla="*/ 62555 h 157370"/>
                <a:gd name="connsiteX1321" fmla="*/ 14557 w 716036"/>
                <a:gd name="connsiteY1321" fmla="*/ 61768 h 157370"/>
                <a:gd name="connsiteX1322" fmla="*/ 11016 w 716036"/>
                <a:gd name="connsiteY1322" fmla="*/ 60981 h 157370"/>
                <a:gd name="connsiteX1323" fmla="*/ 8262 w 716036"/>
                <a:gd name="connsiteY1323" fmla="*/ 60981 h 157370"/>
                <a:gd name="connsiteX1324" fmla="*/ 5114 w 716036"/>
                <a:gd name="connsiteY1324" fmla="*/ 61375 h 157370"/>
                <a:gd name="connsiteX1325" fmla="*/ 8262 w 716036"/>
                <a:gd name="connsiteY1325" fmla="*/ 62948 h 157370"/>
                <a:gd name="connsiteX1326" fmla="*/ 5114 w 716036"/>
                <a:gd name="connsiteY1326" fmla="*/ 63342 h 157370"/>
                <a:gd name="connsiteX1327" fmla="*/ 3541 w 716036"/>
                <a:gd name="connsiteY1327" fmla="*/ 64128 h 157370"/>
                <a:gd name="connsiteX1328" fmla="*/ 6688 w 716036"/>
                <a:gd name="connsiteY1328" fmla="*/ 65702 h 157370"/>
                <a:gd name="connsiteX1329" fmla="*/ 9442 w 716036"/>
                <a:gd name="connsiteY1329" fmla="*/ 66096 h 157370"/>
                <a:gd name="connsiteX1330" fmla="*/ 5901 w 716036"/>
                <a:gd name="connsiteY1330" fmla="*/ 66489 h 157370"/>
                <a:gd name="connsiteX1331" fmla="*/ 3147 w 716036"/>
                <a:gd name="connsiteY1331" fmla="*/ 66489 h 157370"/>
                <a:gd name="connsiteX1332" fmla="*/ 0 w 716036"/>
                <a:gd name="connsiteY1332" fmla="*/ 66882 h 157370"/>
                <a:gd name="connsiteX1333" fmla="*/ 3147 w 716036"/>
                <a:gd name="connsiteY1333" fmla="*/ 67276 h 157370"/>
                <a:gd name="connsiteX1334" fmla="*/ 1967 w 716036"/>
                <a:gd name="connsiteY1334" fmla="*/ 71604 h 157370"/>
                <a:gd name="connsiteX1335" fmla="*/ 212450 w 716036"/>
                <a:gd name="connsiteY1335" fmla="*/ 88127 h 157370"/>
                <a:gd name="connsiteX1336" fmla="*/ 210876 w 716036"/>
                <a:gd name="connsiteY1336" fmla="*/ 87341 h 157370"/>
                <a:gd name="connsiteX1337" fmla="*/ 214024 w 716036"/>
                <a:gd name="connsiteY1337" fmla="*/ 88914 h 157370"/>
                <a:gd name="connsiteX1338" fmla="*/ 212450 w 716036"/>
                <a:gd name="connsiteY1338" fmla="*/ 88127 h 157370"/>
                <a:gd name="connsiteX1339" fmla="*/ 48391 w 716036"/>
                <a:gd name="connsiteY1339" fmla="*/ 146748 h 157370"/>
                <a:gd name="connsiteX1340" fmla="*/ 51145 w 716036"/>
                <a:gd name="connsiteY1340" fmla="*/ 145961 h 157370"/>
                <a:gd name="connsiteX1341" fmla="*/ 54293 w 716036"/>
                <a:gd name="connsiteY1341" fmla="*/ 145568 h 157370"/>
                <a:gd name="connsiteX1342" fmla="*/ 51539 w 716036"/>
                <a:gd name="connsiteY1342" fmla="*/ 147141 h 157370"/>
                <a:gd name="connsiteX1343" fmla="*/ 50359 w 716036"/>
                <a:gd name="connsiteY1343" fmla="*/ 148715 h 157370"/>
                <a:gd name="connsiteX1344" fmla="*/ 46031 w 716036"/>
                <a:gd name="connsiteY1344" fmla="*/ 149502 h 157370"/>
                <a:gd name="connsiteX1345" fmla="*/ 48391 w 716036"/>
                <a:gd name="connsiteY1345" fmla="*/ 146748 h 157370"/>
                <a:gd name="connsiteX1346" fmla="*/ 533486 w 716036"/>
                <a:gd name="connsiteY1346" fmla="*/ 40523 h 157370"/>
                <a:gd name="connsiteX1347" fmla="*/ 531519 w 716036"/>
                <a:gd name="connsiteY1347" fmla="*/ 40916 h 157370"/>
                <a:gd name="connsiteX1348" fmla="*/ 527585 w 716036"/>
                <a:gd name="connsiteY1348" fmla="*/ 41310 h 157370"/>
                <a:gd name="connsiteX1349" fmla="*/ 527978 w 716036"/>
                <a:gd name="connsiteY1349" fmla="*/ 41310 h 157370"/>
                <a:gd name="connsiteX1350" fmla="*/ 534273 w 716036"/>
                <a:gd name="connsiteY1350" fmla="*/ 40523 h 157370"/>
                <a:gd name="connsiteX1351" fmla="*/ 533486 w 716036"/>
                <a:gd name="connsiteY1351" fmla="*/ 40523 h 157370"/>
                <a:gd name="connsiteX1352" fmla="*/ 299004 w 716036"/>
                <a:gd name="connsiteY1352" fmla="*/ 73177 h 157370"/>
                <a:gd name="connsiteX1353" fmla="*/ 302151 w 716036"/>
                <a:gd name="connsiteY1353" fmla="*/ 73177 h 157370"/>
                <a:gd name="connsiteX1354" fmla="*/ 305299 w 716036"/>
                <a:gd name="connsiteY1354" fmla="*/ 72784 h 157370"/>
                <a:gd name="connsiteX1355" fmla="*/ 303725 w 716036"/>
                <a:gd name="connsiteY1355" fmla="*/ 74358 h 157370"/>
                <a:gd name="connsiteX1356" fmla="*/ 299004 w 716036"/>
                <a:gd name="connsiteY1356" fmla="*/ 73177 h 157370"/>
                <a:gd name="connsiteX1357" fmla="*/ 299004 w 716036"/>
                <a:gd name="connsiteY1357" fmla="*/ 73177 h 157370"/>
                <a:gd name="connsiteX1358" fmla="*/ 187271 w 716036"/>
                <a:gd name="connsiteY1358" fmla="*/ 76325 h 157370"/>
                <a:gd name="connsiteX1359" fmla="*/ 185697 w 716036"/>
                <a:gd name="connsiteY1359" fmla="*/ 78685 h 157370"/>
                <a:gd name="connsiteX1360" fmla="*/ 184124 w 716036"/>
                <a:gd name="connsiteY1360" fmla="*/ 79079 h 157370"/>
                <a:gd name="connsiteX1361" fmla="*/ 187271 w 716036"/>
                <a:gd name="connsiteY1361" fmla="*/ 76325 h 157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716036" h="157370">
                  <a:moveTo>
                    <a:pt x="1967" y="71604"/>
                  </a:moveTo>
                  <a:lnTo>
                    <a:pt x="4721" y="73177"/>
                  </a:lnTo>
                  <a:lnTo>
                    <a:pt x="7475" y="73964"/>
                  </a:lnTo>
                  <a:lnTo>
                    <a:pt x="16524" y="73964"/>
                  </a:lnTo>
                  <a:lnTo>
                    <a:pt x="19671" y="73571"/>
                  </a:lnTo>
                  <a:lnTo>
                    <a:pt x="22425" y="73177"/>
                  </a:lnTo>
                  <a:lnTo>
                    <a:pt x="25966" y="73177"/>
                  </a:lnTo>
                  <a:lnTo>
                    <a:pt x="29114" y="72390"/>
                  </a:lnTo>
                  <a:lnTo>
                    <a:pt x="31474" y="71997"/>
                  </a:lnTo>
                  <a:lnTo>
                    <a:pt x="35015" y="72784"/>
                  </a:lnTo>
                  <a:lnTo>
                    <a:pt x="33048" y="73177"/>
                  </a:lnTo>
                  <a:lnTo>
                    <a:pt x="29507" y="73571"/>
                  </a:lnTo>
                  <a:lnTo>
                    <a:pt x="25966" y="74358"/>
                  </a:lnTo>
                  <a:lnTo>
                    <a:pt x="22819" y="74751"/>
                  </a:lnTo>
                  <a:lnTo>
                    <a:pt x="19671" y="74751"/>
                  </a:lnTo>
                  <a:lnTo>
                    <a:pt x="16130" y="75144"/>
                  </a:lnTo>
                  <a:lnTo>
                    <a:pt x="12590" y="75144"/>
                  </a:lnTo>
                  <a:lnTo>
                    <a:pt x="9836" y="75538"/>
                  </a:lnTo>
                  <a:lnTo>
                    <a:pt x="6688" y="75538"/>
                  </a:lnTo>
                  <a:lnTo>
                    <a:pt x="3541" y="75931"/>
                  </a:lnTo>
                  <a:lnTo>
                    <a:pt x="393" y="77505"/>
                  </a:lnTo>
                  <a:lnTo>
                    <a:pt x="3934" y="79866"/>
                  </a:lnTo>
                  <a:lnTo>
                    <a:pt x="7082" y="79079"/>
                  </a:lnTo>
                  <a:lnTo>
                    <a:pt x="4721" y="81833"/>
                  </a:lnTo>
                  <a:lnTo>
                    <a:pt x="7475" y="82226"/>
                  </a:lnTo>
                  <a:lnTo>
                    <a:pt x="10623" y="81833"/>
                  </a:lnTo>
                  <a:lnTo>
                    <a:pt x="14163" y="81439"/>
                  </a:lnTo>
                  <a:lnTo>
                    <a:pt x="16917" y="81046"/>
                  </a:lnTo>
                  <a:lnTo>
                    <a:pt x="20065" y="80652"/>
                  </a:lnTo>
                  <a:lnTo>
                    <a:pt x="23606" y="79866"/>
                  </a:lnTo>
                  <a:lnTo>
                    <a:pt x="26753" y="79079"/>
                  </a:lnTo>
                  <a:lnTo>
                    <a:pt x="29900" y="79472"/>
                  </a:lnTo>
                  <a:lnTo>
                    <a:pt x="33441" y="79079"/>
                  </a:lnTo>
                  <a:lnTo>
                    <a:pt x="30294" y="79866"/>
                  </a:lnTo>
                  <a:lnTo>
                    <a:pt x="27147" y="80259"/>
                  </a:lnTo>
                  <a:lnTo>
                    <a:pt x="23999" y="81833"/>
                  </a:lnTo>
                  <a:lnTo>
                    <a:pt x="26753" y="82226"/>
                  </a:lnTo>
                  <a:lnTo>
                    <a:pt x="29900" y="81833"/>
                  </a:lnTo>
                  <a:lnTo>
                    <a:pt x="33441" y="81439"/>
                  </a:lnTo>
                  <a:lnTo>
                    <a:pt x="36589" y="81046"/>
                  </a:lnTo>
                  <a:lnTo>
                    <a:pt x="39736" y="80259"/>
                  </a:lnTo>
                  <a:lnTo>
                    <a:pt x="42490" y="79472"/>
                  </a:lnTo>
                  <a:lnTo>
                    <a:pt x="45637" y="78292"/>
                  </a:lnTo>
                  <a:lnTo>
                    <a:pt x="42490" y="80259"/>
                  </a:lnTo>
                  <a:lnTo>
                    <a:pt x="45244" y="79866"/>
                  </a:lnTo>
                  <a:lnTo>
                    <a:pt x="48391" y="79472"/>
                  </a:lnTo>
                  <a:lnTo>
                    <a:pt x="51539" y="77112"/>
                  </a:lnTo>
                  <a:lnTo>
                    <a:pt x="54686" y="78685"/>
                  </a:lnTo>
                  <a:lnTo>
                    <a:pt x="59407" y="77898"/>
                  </a:lnTo>
                  <a:lnTo>
                    <a:pt x="62555" y="78685"/>
                  </a:lnTo>
                  <a:lnTo>
                    <a:pt x="60981" y="78685"/>
                  </a:lnTo>
                  <a:lnTo>
                    <a:pt x="58227" y="79472"/>
                  </a:lnTo>
                  <a:lnTo>
                    <a:pt x="61374" y="79866"/>
                  </a:lnTo>
                  <a:lnTo>
                    <a:pt x="64915" y="80259"/>
                  </a:lnTo>
                  <a:lnTo>
                    <a:pt x="67669" y="80652"/>
                  </a:lnTo>
                  <a:lnTo>
                    <a:pt x="70423" y="80652"/>
                  </a:lnTo>
                  <a:lnTo>
                    <a:pt x="72391" y="81046"/>
                  </a:lnTo>
                  <a:lnTo>
                    <a:pt x="71210" y="81046"/>
                  </a:lnTo>
                  <a:lnTo>
                    <a:pt x="68063" y="81439"/>
                  </a:lnTo>
                  <a:lnTo>
                    <a:pt x="64915" y="81046"/>
                  </a:lnTo>
                  <a:lnTo>
                    <a:pt x="62161" y="81439"/>
                  </a:lnTo>
                  <a:lnTo>
                    <a:pt x="56260" y="81439"/>
                  </a:lnTo>
                  <a:lnTo>
                    <a:pt x="53113" y="82226"/>
                  </a:lnTo>
                  <a:lnTo>
                    <a:pt x="56654" y="83406"/>
                  </a:lnTo>
                  <a:lnTo>
                    <a:pt x="59801" y="83800"/>
                  </a:lnTo>
                  <a:lnTo>
                    <a:pt x="69637" y="83800"/>
                  </a:lnTo>
                  <a:lnTo>
                    <a:pt x="72391" y="83406"/>
                  </a:lnTo>
                  <a:lnTo>
                    <a:pt x="75931" y="83800"/>
                  </a:lnTo>
                  <a:lnTo>
                    <a:pt x="78685" y="83406"/>
                  </a:lnTo>
                  <a:lnTo>
                    <a:pt x="81046" y="83406"/>
                  </a:lnTo>
                  <a:lnTo>
                    <a:pt x="85374" y="84587"/>
                  </a:lnTo>
                  <a:lnTo>
                    <a:pt x="82226" y="84587"/>
                  </a:lnTo>
                  <a:lnTo>
                    <a:pt x="78685" y="84980"/>
                  </a:lnTo>
                  <a:lnTo>
                    <a:pt x="75144" y="84980"/>
                  </a:lnTo>
                  <a:lnTo>
                    <a:pt x="71604" y="85374"/>
                  </a:lnTo>
                  <a:lnTo>
                    <a:pt x="68456" y="85374"/>
                  </a:lnTo>
                  <a:lnTo>
                    <a:pt x="65702" y="85767"/>
                  </a:lnTo>
                  <a:lnTo>
                    <a:pt x="62161" y="85767"/>
                  </a:lnTo>
                  <a:lnTo>
                    <a:pt x="59407" y="86160"/>
                  </a:lnTo>
                  <a:lnTo>
                    <a:pt x="55867" y="86554"/>
                  </a:lnTo>
                  <a:lnTo>
                    <a:pt x="52719" y="86160"/>
                  </a:lnTo>
                  <a:lnTo>
                    <a:pt x="49965" y="85767"/>
                  </a:lnTo>
                  <a:lnTo>
                    <a:pt x="46818" y="86160"/>
                  </a:lnTo>
                  <a:lnTo>
                    <a:pt x="40916" y="86160"/>
                  </a:lnTo>
                  <a:lnTo>
                    <a:pt x="37769" y="85767"/>
                  </a:lnTo>
                  <a:lnTo>
                    <a:pt x="34228" y="86160"/>
                  </a:lnTo>
                  <a:lnTo>
                    <a:pt x="30687" y="87734"/>
                  </a:lnTo>
                  <a:lnTo>
                    <a:pt x="27540" y="88914"/>
                  </a:lnTo>
                  <a:lnTo>
                    <a:pt x="21638" y="88914"/>
                  </a:lnTo>
                  <a:lnTo>
                    <a:pt x="18884" y="89308"/>
                  </a:lnTo>
                  <a:lnTo>
                    <a:pt x="15737" y="89701"/>
                  </a:lnTo>
                  <a:lnTo>
                    <a:pt x="12590" y="90095"/>
                  </a:lnTo>
                  <a:lnTo>
                    <a:pt x="15344" y="93242"/>
                  </a:lnTo>
                  <a:lnTo>
                    <a:pt x="18491" y="93635"/>
                  </a:lnTo>
                  <a:lnTo>
                    <a:pt x="21245" y="93635"/>
                  </a:lnTo>
                  <a:lnTo>
                    <a:pt x="24392" y="94029"/>
                  </a:lnTo>
                  <a:lnTo>
                    <a:pt x="27147" y="94816"/>
                  </a:lnTo>
                  <a:lnTo>
                    <a:pt x="23999" y="95603"/>
                  </a:lnTo>
                  <a:lnTo>
                    <a:pt x="20852" y="95209"/>
                  </a:lnTo>
                  <a:lnTo>
                    <a:pt x="17704" y="94816"/>
                  </a:lnTo>
                  <a:lnTo>
                    <a:pt x="14163" y="95209"/>
                  </a:lnTo>
                  <a:lnTo>
                    <a:pt x="17311" y="97570"/>
                  </a:lnTo>
                  <a:lnTo>
                    <a:pt x="20065" y="99930"/>
                  </a:lnTo>
                  <a:lnTo>
                    <a:pt x="23212" y="99537"/>
                  </a:lnTo>
                  <a:lnTo>
                    <a:pt x="26360" y="99143"/>
                  </a:lnTo>
                  <a:lnTo>
                    <a:pt x="29507" y="98750"/>
                  </a:lnTo>
                  <a:lnTo>
                    <a:pt x="33048" y="99537"/>
                  </a:lnTo>
                  <a:lnTo>
                    <a:pt x="36195" y="99930"/>
                  </a:lnTo>
                  <a:lnTo>
                    <a:pt x="38949" y="100324"/>
                  </a:lnTo>
                  <a:lnTo>
                    <a:pt x="41703" y="100324"/>
                  </a:lnTo>
                  <a:lnTo>
                    <a:pt x="44851" y="100717"/>
                  </a:lnTo>
                  <a:lnTo>
                    <a:pt x="47998" y="100717"/>
                  </a:lnTo>
                  <a:lnTo>
                    <a:pt x="45244" y="101111"/>
                  </a:lnTo>
                  <a:lnTo>
                    <a:pt x="41703" y="101504"/>
                  </a:lnTo>
                  <a:lnTo>
                    <a:pt x="35015" y="101504"/>
                  </a:lnTo>
                  <a:lnTo>
                    <a:pt x="31867" y="101897"/>
                  </a:lnTo>
                  <a:lnTo>
                    <a:pt x="29114" y="102291"/>
                  </a:lnTo>
                  <a:lnTo>
                    <a:pt x="25573" y="102291"/>
                  </a:lnTo>
                  <a:lnTo>
                    <a:pt x="22819" y="101897"/>
                  </a:lnTo>
                  <a:lnTo>
                    <a:pt x="20065" y="102291"/>
                  </a:lnTo>
                  <a:lnTo>
                    <a:pt x="22425" y="105045"/>
                  </a:lnTo>
                  <a:lnTo>
                    <a:pt x="25573" y="106619"/>
                  </a:lnTo>
                  <a:lnTo>
                    <a:pt x="29114" y="106225"/>
                  </a:lnTo>
                  <a:lnTo>
                    <a:pt x="29900" y="108979"/>
                  </a:lnTo>
                  <a:lnTo>
                    <a:pt x="33048" y="108192"/>
                  </a:lnTo>
                  <a:lnTo>
                    <a:pt x="35802" y="108586"/>
                  </a:lnTo>
                  <a:lnTo>
                    <a:pt x="38949" y="109373"/>
                  </a:lnTo>
                  <a:lnTo>
                    <a:pt x="42097" y="109766"/>
                  </a:lnTo>
                  <a:lnTo>
                    <a:pt x="45244" y="109766"/>
                  </a:lnTo>
                  <a:lnTo>
                    <a:pt x="48391" y="110553"/>
                  </a:lnTo>
                  <a:lnTo>
                    <a:pt x="57834" y="110553"/>
                  </a:lnTo>
                  <a:lnTo>
                    <a:pt x="60588" y="110159"/>
                  </a:lnTo>
                  <a:lnTo>
                    <a:pt x="63735" y="107799"/>
                  </a:lnTo>
                  <a:lnTo>
                    <a:pt x="60588" y="107012"/>
                  </a:lnTo>
                  <a:lnTo>
                    <a:pt x="63342" y="106225"/>
                  </a:lnTo>
                  <a:lnTo>
                    <a:pt x="66096" y="105832"/>
                  </a:lnTo>
                  <a:lnTo>
                    <a:pt x="69243" y="105832"/>
                  </a:lnTo>
                  <a:lnTo>
                    <a:pt x="71210" y="107012"/>
                  </a:lnTo>
                  <a:lnTo>
                    <a:pt x="74358" y="108586"/>
                  </a:lnTo>
                  <a:lnTo>
                    <a:pt x="77111" y="110159"/>
                  </a:lnTo>
                  <a:lnTo>
                    <a:pt x="78685" y="107405"/>
                  </a:lnTo>
                  <a:lnTo>
                    <a:pt x="79079" y="104258"/>
                  </a:lnTo>
                  <a:lnTo>
                    <a:pt x="77111" y="102291"/>
                  </a:lnTo>
                  <a:lnTo>
                    <a:pt x="81833" y="98750"/>
                  </a:lnTo>
                  <a:lnTo>
                    <a:pt x="81833" y="101504"/>
                  </a:lnTo>
                  <a:lnTo>
                    <a:pt x="83800" y="104258"/>
                  </a:lnTo>
                  <a:lnTo>
                    <a:pt x="84980" y="107405"/>
                  </a:lnTo>
                  <a:lnTo>
                    <a:pt x="88521" y="109766"/>
                  </a:lnTo>
                  <a:lnTo>
                    <a:pt x="91275" y="109373"/>
                  </a:lnTo>
                  <a:lnTo>
                    <a:pt x="94029" y="107799"/>
                  </a:lnTo>
                  <a:lnTo>
                    <a:pt x="100324" y="105045"/>
                  </a:lnTo>
                  <a:lnTo>
                    <a:pt x="103078" y="103471"/>
                  </a:lnTo>
                  <a:lnTo>
                    <a:pt x="103471" y="100717"/>
                  </a:lnTo>
                  <a:lnTo>
                    <a:pt x="106225" y="98357"/>
                  </a:lnTo>
                  <a:lnTo>
                    <a:pt x="108979" y="99930"/>
                  </a:lnTo>
                  <a:lnTo>
                    <a:pt x="112127" y="102291"/>
                  </a:lnTo>
                  <a:lnTo>
                    <a:pt x="114881" y="101897"/>
                  </a:lnTo>
                  <a:lnTo>
                    <a:pt x="117635" y="101111"/>
                  </a:lnTo>
                  <a:lnTo>
                    <a:pt x="120782" y="99537"/>
                  </a:lnTo>
                  <a:lnTo>
                    <a:pt x="117635" y="97176"/>
                  </a:lnTo>
                  <a:lnTo>
                    <a:pt x="120388" y="94816"/>
                  </a:lnTo>
                  <a:lnTo>
                    <a:pt x="123142" y="92455"/>
                  </a:lnTo>
                  <a:lnTo>
                    <a:pt x="126290" y="90095"/>
                  </a:lnTo>
                  <a:lnTo>
                    <a:pt x="129831" y="88914"/>
                  </a:lnTo>
                  <a:lnTo>
                    <a:pt x="132978" y="88914"/>
                  </a:lnTo>
                  <a:lnTo>
                    <a:pt x="135732" y="87734"/>
                  </a:lnTo>
                  <a:lnTo>
                    <a:pt x="138879" y="86947"/>
                  </a:lnTo>
                  <a:lnTo>
                    <a:pt x="136125" y="88521"/>
                  </a:lnTo>
                  <a:lnTo>
                    <a:pt x="132585" y="89701"/>
                  </a:lnTo>
                  <a:lnTo>
                    <a:pt x="129437" y="91668"/>
                  </a:lnTo>
                  <a:lnTo>
                    <a:pt x="126683" y="93242"/>
                  </a:lnTo>
                  <a:lnTo>
                    <a:pt x="124716" y="95996"/>
                  </a:lnTo>
                  <a:lnTo>
                    <a:pt x="128257" y="97570"/>
                  </a:lnTo>
                  <a:lnTo>
                    <a:pt x="131011" y="96389"/>
                  </a:lnTo>
                  <a:lnTo>
                    <a:pt x="134552" y="95209"/>
                  </a:lnTo>
                  <a:lnTo>
                    <a:pt x="137306" y="94029"/>
                  </a:lnTo>
                  <a:lnTo>
                    <a:pt x="140453" y="93242"/>
                  </a:lnTo>
                  <a:lnTo>
                    <a:pt x="143601" y="92455"/>
                  </a:lnTo>
                  <a:lnTo>
                    <a:pt x="146748" y="92062"/>
                  </a:lnTo>
                  <a:lnTo>
                    <a:pt x="149895" y="90881"/>
                  </a:lnTo>
                  <a:lnTo>
                    <a:pt x="152649" y="88127"/>
                  </a:lnTo>
                  <a:lnTo>
                    <a:pt x="155797" y="90095"/>
                  </a:lnTo>
                  <a:lnTo>
                    <a:pt x="158944" y="89308"/>
                  </a:lnTo>
                  <a:lnTo>
                    <a:pt x="162092" y="87734"/>
                  </a:lnTo>
                  <a:lnTo>
                    <a:pt x="165632" y="87341"/>
                  </a:lnTo>
                  <a:lnTo>
                    <a:pt x="168386" y="86947"/>
                  </a:lnTo>
                  <a:lnTo>
                    <a:pt x="171534" y="86554"/>
                  </a:lnTo>
                  <a:lnTo>
                    <a:pt x="174681" y="86160"/>
                  </a:lnTo>
                  <a:lnTo>
                    <a:pt x="178222" y="85767"/>
                  </a:lnTo>
                  <a:lnTo>
                    <a:pt x="180976" y="85374"/>
                  </a:lnTo>
                  <a:lnTo>
                    <a:pt x="181370" y="85374"/>
                  </a:lnTo>
                  <a:lnTo>
                    <a:pt x="179796" y="87734"/>
                  </a:lnTo>
                  <a:lnTo>
                    <a:pt x="173895" y="87734"/>
                  </a:lnTo>
                  <a:lnTo>
                    <a:pt x="173501" y="88127"/>
                  </a:lnTo>
                  <a:lnTo>
                    <a:pt x="170747" y="88521"/>
                  </a:lnTo>
                  <a:lnTo>
                    <a:pt x="167600" y="88914"/>
                  </a:lnTo>
                  <a:lnTo>
                    <a:pt x="164059" y="89701"/>
                  </a:lnTo>
                  <a:lnTo>
                    <a:pt x="161305" y="91275"/>
                  </a:lnTo>
                  <a:lnTo>
                    <a:pt x="158551" y="91668"/>
                  </a:lnTo>
                  <a:lnTo>
                    <a:pt x="161305" y="92062"/>
                  </a:lnTo>
                  <a:lnTo>
                    <a:pt x="164059" y="91668"/>
                  </a:lnTo>
                  <a:lnTo>
                    <a:pt x="167600" y="91275"/>
                  </a:lnTo>
                  <a:lnTo>
                    <a:pt x="171141" y="90881"/>
                  </a:lnTo>
                  <a:lnTo>
                    <a:pt x="174288" y="90488"/>
                  </a:lnTo>
                  <a:lnTo>
                    <a:pt x="177829" y="90095"/>
                  </a:lnTo>
                  <a:lnTo>
                    <a:pt x="179009" y="90095"/>
                  </a:lnTo>
                  <a:lnTo>
                    <a:pt x="177829" y="92062"/>
                  </a:lnTo>
                  <a:lnTo>
                    <a:pt x="174288" y="92455"/>
                  </a:lnTo>
                  <a:lnTo>
                    <a:pt x="171534" y="92849"/>
                  </a:lnTo>
                  <a:lnTo>
                    <a:pt x="168386" y="92849"/>
                  </a:lnTo>
                  <a:lnTo>
                    <a:pt x="165239" y="93242"/>
                  </a:lnTo>
                  <a:lnTo>
                    <a:pt x="161698" y="93635"/>
                  </a:lnTo>
                  <a:lnTo>
                    <a:pt x="158157" y="93635"/>
                  </a:lnTo>
                  <a:lnTo>
                    <a:pt x="155010" y="94029"/>
                  </a:lnTo>
                  <a:lnTo>
                    <a:pt x="152256" y="94422"/>
                  </a:lnTo>
                  <a:lnTo>
                    <a:pt x="149109" y="95209"/>
                  </a:lnTo>
                  <a:lnTo>
                    <a:pt x="146355" y="95603"/>
                  </a:lnTo>
                  <a:lnTo>
                    <a:pt x="143207" y="96783"/>
                  </a:lnTo>
                  <a:lnTo>
                    <a:pt x="140453" y="98357"/>
                  </a:lnTo>
                  <a:lnTo>
                    <a:pt x="137699" y="99930"/>
                  </a:lnTo>
                  <a:lnTo>
                    <a:pt x="140847" y="100324"/>
                  </a:lnTo>
                  <a:lnTo>
                    <a:pt x="137306" y="100324"/>
                  </a:lnTo>
                  <a:lnTo>
                    <a:pt x="134158" y="100717"/>
                  </a:lnTo>
                  <a:lnTo>
                    <a:pt x="131011" y="101504"/>
                  </a:lnTo>
                  <a:lnTo>
                    <a:pt x="127470" y="102291"/>
                  </a:lnTo>
                  <a:lnTo>
                    <a:pt x="124716" y="103078"/>
                  </a:lnTo>
                  <a:lnTo>
                    <a:pt x="121962" y="105438"/>
                  </a:lnTo>
                  <a:lnTo>
                    <a:pt x="120782" y="108586"/>
                  </a:lnTo>
                  <a:lnTo>
                    <a:pt x="124323" y="108979"/>
                  </a:lnTo>
                  <a:lnTo>
                    <a:pt x="121569" y="108979"/>
                  </a:lnTo>
                  <a:lnTo>
                    <a:pt x="118028" y="109373"/>
                  </a:lnTo>
                  <a:lnTo>
                    <a:pt x="114881" y="110946"/>
                  </a:lnTo>
                  <a:lnTo>
                    <a:pt x="117635" y="111340"/>
                  </a:lnTo>
                  <a:lnTo>
                    <a:pt x="120782" y="111733"/>
                  </a:lnTo>
                  <a:lnTo>
                    <a:pt x="124323" y="111733"/>
                  </a:lnTo>
                  <a:lnTo>
                    <a:pt x="127077" y="111340"/>
                  </a:lnTo>
                  <a:lnTo>
                    <a:pt x="130224" y="110946"/>
                  </a:lnTo>
                  <a:lnTo>
                    <a:pt x="132978" y="110159"/>
                  </a:lnTo>
                  <a:lnTo>
                    <a:pt x="136125" y="109373"/>
                  </a:lnTo>
                  <a:lnTo>
                    <a:pt x="138879" y="108979"/>
                  </a:lnTo>
                  <a:lnTo>
                    <a:pt x="142027" y="108979"/>
                  </a:lnTo>
                  <a:lnTo>
                    <a:pt x="145174" y="108192"/>
                  </a:lnTo>
                  <a:lnTo>
                    <a:pt x="148322" y="106619"/>
                  </a:lnTo>
                  <a:lnTo>
                    <a:pt x="151469" y="105832"/>
                  </a:lnTo>
                  <a:lnTo>
                    <a:pt x="155010" y="104651"/>
                  </a:lnTo>
                  <a:lnTo>
                    <a:pt x="151863" y="106225"/>
                  </a:lnTo>
                  <a:lnTo>
                    <a:pt x="149109" y="107799"/>
                  </a:lnTo>
                  <a:lnTo>
                    <a:pt x="145961" y="108586"/>
                  </a:lnTo>
                  <a:lnTo>
                    <a:pt x="142814" y="109766"/>
                  </a:lnTo>
                  <a:lnTo>
                    <a:pt x="139666" y="112127"/>
                  </a:lnTo>
                  <a:lnTo>
                    <a:pt x="142814" y="111733"/>
                  </a:lnTo>
                  <a:lnTo>
                    <a:pt x="145961" y="111340"/>
                  </a:lnTo>
                  <a:lnTo>
                    <a:pt x="149502" y="110946"/>
                  </a:lnTo>
                  <a:lnTo>
                    <a:pt x="153043" y="110553"/>
                  </a:lnTo>
                  <a:lnTo>
                    <a:pt x="155797" y="110159"/>
                  </a:lnTo>
                  <a:lnTo>
                    <a:pt x="158944" y="108979"/>
                  </a:lnTo>
                  <a:lnTo>
                    <a:pt x="162092" y="108192"/>
                  </a:lnTo>
                  <a:lnTo>
                    <a:pt x="165239" y="106619"/>
                  </a:lnTo>
                  <a:lnTo>
                    <a:pt x="167993" y="105438"/>
                  </a:lnTo>
                  <a:lnTo>
                    <a:pt x="171141" y="104258"/>
                  </a:lnTo>
                  <a:lnTo>
                    <a:pt x="171534" y="103865"/>
                  </a:lnTo>
                  <a:lnTo>
                    <a:pt x="170354" y="106619"/>
                  </a:lnTo>
                  <a:lnTo>
                    <a:pt x="168780" y="108192"/>
                  </a:lnTo>
                  <a:lnTo>
                    <a:pt x="169960" y="107799"/>
                  </a:lnTo>
                  <a:lnTo>
                    <a:pt x="169567" y="108586"/>
                  </a:lnTo>
                  <a:lnTo>
                    <a:pt x="168780" y="108586"/>
                  </a:lnTo>
                  <a:lnTo>
                    <a:pt x="165239" y="108586"/>
                  </a:lnTo>
                  <a:lnTo>
                    <a:pt x="162485" y="110946"/>
                  </a:lnTo>
                  <a:lnTo>
                    <a:pt x="165239" y="111340"/>
                  </a:lnTo>
                  <a:lnTo>
                    <a:pt x="168386" y="110946"/>
                  </a:lnTo>
                  <a:lnTo>
                    <a:pt x="167993" y="111340"/>
                  </a:lnTo>
                  <a:lnTo>
                    <a:pt x="165632" y="112127"/>
                  </a:lnTo>
                  <a:lnTo>
                    <a:pt x="162485" y="111733"/>
                  </a:lnTo>
                  <a:lnTo>
                    <a:pt x="159731" y="111340"/>
                  </a:lnTo>
                  <a:lnTo>
                    <a:pt x="156584" y="111733"/>
                  </a:lnTo>
                  <a:lnTo>
                    <a:pt x="153436" y="112127"/>
                  </a:lnTo>
                  <a:lnTo>
                    <a:pt x="150682" y="112520"/>
                  </a:lnTo>
                  <a:lnTo>
                    <a:pt x="147535" y="112913"/>
                  </a:lnTo>
                  <a:lnTo>
                    <a:pt x="144781" y="114094"/>
                  </a:lnTo>
                  <a:lnTo>
                    <a:pt x="147928" y="115274"/>
                  </a:lnTo>
                  <a:lnTo>
                    <a:pt x="150682" y="114880"/>
                  </a:lnTo>
                  <a:lnTo>
                    <a:pt x="157371" y="114880"/>
                  </a:lnTo>
                  <a:lnTo>
                    <a:pt x="160912" y="114487"/>
                  </a:lnTo>
                  <a:lnTo>
                    <a:pt x="163665" y="114094"/>
                  </a:lnTo>
                  <a:lnTo>
                    <a:pt x="166419" y="114487"/>
                  </a:lnTo>
                  <a:lnTo>
                    <a:pt x="166419" y="114487"/>
                  </a:lnTo>
                  <a:lnTo>
                    <a:pt x="166419" y="114880"/>
                  </a:lnTo>
                  <a:lnTo>
                    <a:pt x="168386" y="114880"/>
                  </a:lnTo>
                  <a:lnTo>
                    <a:pt x="169173" y="114880"/>
                  </a:lnTo>
                  <a:lnTo>
                    <a:pt x="166026" y="114487"/>
                  </a:lnTo>
                  <a:lnTo>
                    <a:pt x="162879" y="114487"/>
                  </a:lnTo>
                  <a:lnTo>
                    <a:pt x="159731" y="114880"/>
                  </a:lnTo>
                  <a:lnTo>
                    <a:pt x="156584" y="114487"/>
                  </a:lnTo>
                  <a:lnTo>
                    <a:pt x="153830" y="114880"/>
                  </a:lnTo>
                  <a:lnTo>
                    <a:pt x="151076" y="114880"/>
                  </a:lnTo>
                  <a:lnTo>
                    <a:pt x="147535" y="116848"/>
                  </a:lnTo>
                  <a:lnTo>
                    <a:pt x="150682" y="116454"/>
                  </a:lnTo>
                  <a:lnTo>
                    <a:pt x="153436" y="116848"/>
                  </a:lnTo>
                  <a:lnTo>
                    <a:pt x="150289" y="117241"/>
                  </a:lnTo>
                  <a:lnTo>
                    <a:pt x="147535" y="118421"/>
                  </a:lnTo>
                  <a:lnTo>
                    <a:pt x="143994" y="120782"/>
                  </a:lnTo>
                  <a:lnTo>
                    <a:pt x="147142" y="121175"/>
                  </a:lnTo>
                  <a:lnTo>
                    <a:pt x="150289" y="121569"/>
                  </a:lnTo>
                  <a:lnTo>
                    <a:pt x="153436" y="121175"/>
                  </a:lnTo>
                  <a:lnTo>
                    <a:pt x="156584" y="120782"/>
                  </a:lnTo>
                  <a:lnTo>
                    <a:pt x="159338" y="120388"/>
                  </a:lnTo>
                  <a:lnTo>
                    <a:pt x="156190" y="121175"/>
                  </a:lnTo>
                  <a:lnTo>
                    <a:pt x="153436" y="122356"/>
                  </a:lnTo>
                  <a:lnTo>
                    <a:pt x="150289" y="124323"/>
                  </a:lnTo>
                  <a:lnTo>
                    <a:pt x="153436" y="124716"/>
                  </a:lnTo>
                  <a:lnTo>
                    <a:pt x="156190" y="124323"/>
                  </a:lnTo>
                  <a:lnTo>
                    <a:pt x="138879" y="127864"/>
                  </a:lnTo>
                  <a:lnTo>
                    <a:pt x="135732" y="127470"/>
                  </a:lnTo>
                  <a:lnTo>
                    <a:pt x="132978" y="125896"/>
                  </a:lnTo>
                  <a:lnTo>
                    <a:pt x="129437" y="126290"/>
                  </a:lnTo>
                  <a:lnTo>
                    <a:pt x="126290" y="126683"/>
                  </a:lnTo>
                  <a:lnTo>
                    <a:pt x="129437" y="124323"/>
                  </a:lnTo>
                  <a:lnTo>
                    <a:pt x="131011" y="121175"/>
                  </a:lnTo>
                  <a:lnTo>
                    <a:pt x="129831" y="118421"/>
                  </a:lnTo>
                  <a:lnTo>
                    <a:pt x="127077" y="116848"/>
                  </a:lnTo>
                  <a:lnTo>
                    <a:pt x="123929" y="116454"/>
                  </a:lnTo>
                  <a:lnTo>
                    <a:pt x="121175" y="116061"/>
                  </a:lnTo>
                  <a:lnTo>
                    <a:pt x="118028" y="115667"/>
                  </a:lnTo>
                  <a:lnTo>
                    <a:pt x="114881" y="115667"/>
                  </a:lnTo>
                  <a:lnTo>
                    <a:pt x="111733" y="115274"/>
                  </a:lnTo>
                  <a:lnTo>
                    <a:pt x="108192" y="115667"/>
                  </a:lnTo>
                  <a:lnTo>
                    <a:pt x="105438" y="116061"/>
                  </a:lnTo>
                  <a:lnTo>
                    <a:pt x="102684" y="116454"/>
                  </a:lnTo>
                  <a:lnTo>
                    <a:pt x="99537" y="116848"/>
                  </a:lnTo>
                  <a:lnTo>
                    <a:pt x="95996" y="117241"/>
                  </a:lnTo>
                  <a:lnTo>
                    <a:pt x="92455" y="117634"/>
                  </a:lnTo>
                  <a:lnTo>
                    <a:pt x="89701" y="119602"/>
                  </a:lnTo>
                  <a:lnTo>
                    <a:pt x="86947" y="121962"/>
                  </a:lnTo>
                  <a:lnTo>
                    <a:pt x="89701" y="123142"/>
                  </a:lnTo>
                  <a:lnTo>
                    <a:pt x="91275" y="125896"/>
                  </a:lnTo>
                  <a:lnTo>
                    <a:pt x="88128" y="128650"/>
                  </a:lnTo>
                  <a:lnTo>
                    <a:pt x="90881" y="129044"/>
                  </a:lnTo>
                  <a:lnTo>
                    <a:pt x="94422" y="129044"/>
                  </a:lnTo>
                  <a:lnTo>
                    <a:pt x="97570" y="128650"/>
                  </a:lnTo>
                  <a:lnTo>
                    <a:pt x="100717" y="128257"/>
                  </a:lnTo>
                  <a:lnTo>
                    <a:pt x="103865" y="128650"/>
                  </a:lnTo>
                  <a:lnTo>
                    <a:pt x="100717" y="129044"/>
                  </a:lnTo>
                  <a:lnTo>
                    <a:pt x="97963" y="129044"/>
                  </a:lnTo>
                  <a:lnTo>
                    <a:pt x="95209" y="130618"/>
                  </a:lnTo>
                  <a:lnTo>
                    <a:pt x="97963" y="131011"/>
                  </a:lnTo>
                  <a:lnTo>
                    <a:pt x="94422" y="132585"/>
                  </a:lnTo>
                  <a:lnTo>
                    <a:pt x="97570" y="132978"/>
                  </a:lnTo>
                  <a:lnTo>
                    <a:pt x="100717" y="133372"/>
                  </a:lnTo>
                  <a:lnTo>
                    <a:pt x="97570" y="134552"/>
                  </a:lnTo>
                  <a:lnTo>
                    <a:pt x="94422" y="133372"/>
                  </a:lnTo>
                  <a:lnTo>
                    <a:pt x="90881" y="133372"/>
                  </a:lnTo>
                  <a:lnTo>
                    <a:pt x="88128" y="133765"/>
                  </a:lnTo>
                  <a:lnTo>
                    <a:pt x="84980" y="135339"/>
                  </a:lnTo>
                  <a:lnTo>
                    <a:pt x="81833" y="135339"/>
                  </a:lnTo>
                  <a:lnTo>
                    <a:pt x="79079" y="134945"/>
                  </a:lnTo>
                  <a:lnTo>
                    <a:pt x="75931" y="134552"/>
                  </a:lnTo>
                  <a:lnTo>
                    <a:pt x="72784" y="134945"/>
                  </a:lnTo>
                  <a:lnTo>
                    <a:pt x="69243" y="134552"/>
                  </a:lnTo>
                  <a:lnTo>
                    <a:pt x="66096" y="134945"/>
                  </a:lnTo>
                  <a:lnTo>
                    <a:pt x="63342" y="136519"/>
                  </a:lnTo>
                  <a:lnTo>
                    <a:pt x="59801" y="136912"/>
                  </a:lnTo>
                  <a:lnTo>
                    <a:pt x="57047" y="137699"/>
                  </a:lnTo>
                  <a:lnTo>
                    <a:pt x="53899" y="138093"/>
                  </a:lnTo>
                  <a:lnTo>
                    <a:pt x="50752" y="138486"/>
                  </a:lnTo>
                  <a:lnTo>
                    <a:pt x="47605" y="139666"/>
                  </a:lnTo>
                  <a:lnTo>
                    <a:pt x="44851" y="140060"/>
                  </a:lnTo>
                  <a:lnTo>
                    <a:pt x="41703" y="140453"/>
                  </a:lnTo>
                  <a:lnTo>
                    <a:pt x="38556" y="140847"/>
                  </a:lnTo>
                  <a:lnTo>
                    <a:pt x="35408" y="142027"/>
                  </a:lnTo>
                  <a:lnTo>
                    <a:pt x="35015" y="144781"/>
                  </a:lnTo>
                  <a:lnTo>
                    <a:pt x="32261" y="146355"/>
                  </a:lnTo>
                  <a:lnTo>
                    <a:pt x="28720" y="147141"/>
                  </a:lnTo>
                  <a:lnTo>
                    <a:pt x="25966" y="149502"/>
                  </a:lnTo>
                  <a:lnTo>
                    <a:pt x="28720" y="149502"/>
                  </a:lnTo>
                  <a:lnTo>
                    <a:pt x="29114" y="152256"/>
                  </a:lnTo>
                  <a:lnTo>
                    <a:pt x="31867" y="152256"/>
                  </a:lnTo>
                  <a:lnTo>
                    <a:pt x="34621" y="152649"/>
                  </a:lnTo>
                  <a:lnTo>
                    <a:pt x="37769" y="151469"/>
                  </a:lnTo>
                  <a:lnTo>
                    <a:pt x="40916" y="149109"/>
                  </a:lnTo>
                  <a:lnTo>
                    <a:pt x="44064" y="147928"/>
                  </a:lnTo>
                  <a:lnTo>
                    <a:pt x="42097" y="151076"/>
                  </a:lnTo>
                  <a:lnTo>
                    <a:pt x="38556" y="153043"/>
                  </a:lnTo>
                  <a:lnTo>
                    <a:pt x="41703" y="151469"/>
                  </a:lnTo>
                  <a:lnTo>
                    <a:pt x="44851" y="150682"/>
                  </a:lnTo>
                  <a:lnTo>
                    <a:pt x="45244" y="147928"/>
                  </a:lnTo>
                  <a:lnTo>
                    <a:pt x="48785" y="148322"/>
                  </a:lnTo>
                  <a:lnTo>
                    <a:pt x="47605" y="151076"/>
                  </a:lnTo>
                  <a:lnTo>
                    <a:pt x="44457" y="153436"/>
                  </a:lnTo>
                  <a:lnTo>
                    <a:pt x="47605" y="153830"/>
                  </a:lnTo>
                  <a:lnTo>
                    <a:pt x="50752" y="154223"/>
                  </a:lnTo>
                  <a:lnTo>
                    <a:pt x="53899" y="153830"/>
                  </a:lnTo>
                  <a:lnTo>
                    <a:pt x="57047" y="154617"/>
                  </a:lnTo>
                  <a:lnTo>
                    <a:pt x="59801" y="154223"/>
                  </a:lnTo>
                  <a:lnTo>
                    <a:pt x="62948" y="152649"/>
                  </a:lnTo>
                  <a:lnTo>
                    <a:pt x="64915" y="151469"/>
                  </a:lnTo>
                  <a:lnTo>
                    <a:pt x="66096" y="151076"/>
                  </a:lnTo>
                  <a:lnTo>
                    <a:pt x="68063" y="151076"/>
                  </a:lnTo>
                  <a:lnTo>
                    <a:pt x="68063" y="153436"/>
                  </a:lnTo>
                  <a:lnTo>
                    <a:pt x="71210" y="155403"/>
                  </a:lnTo>
                  <a:lnTo>
                    <a:pt x="73964" y="155797"/>
                  </a:lnTo>
                  <a:lnTo>
                    <a:pt x="77111" y="155403"/>
                  </a:lnTo>
                  <a:lnTo>
                    <a:pt x="79866" y="153830"/>
                  </a:lnTo>
                  <a:lnTo>
                    <a:pt x="83013" y="152256"/>
                  </a:lnTo>
                  <a:lnTo>
                    <a:pt x="86554" y="151863"/>
                  </a:lnTo>
                  <a:lnTo>
                    <a:pt x="86554" y="151469"/>
                  </a:lnTo>
                  <a:lnTo>
                    <a:pt x="89701" y="151469"/>
                  </a:lnTo>
                  <a:lnTo>
                    <a:pt x="88521" y="151863"/>
                  </a:lnTo>
                  <a:lnTo>
                    <a:pt x="84980" y="154617"/>
                  </a:lnTo>
                  <a:lnTo>
                    <a:pt x="88521" y="155010"/>
                  </a:lnTo>
                  <a:lnTo>
                    <a:pt x="91275" y="155010"/>
                  </a:lnTo>
                  <a:lnTo>
                    <a:pt x="94029" y="155403"/>
                  </a:lnTo>
                  <a:lnTo>
                    <a:pt x="97570" y="155797"/>
                  </a:lnTo>
                  <a:lnTo>
                    <a:pt x="100717" y="156584"/>
                  </a:lnTo>
                  <a:lnTo>
                    <a:pt x="103865" y="156190"/>
                  </a:lnTo>
                  <a:lnTo>
                    <a:pt x="107012" y="156977"/>
                  </a:lnTo>
                  <a:lnTo>
                    <a:pt x="110553" y="156584"/>
                  </a:lnTo>
                  <a:lnTo>
                    <a:pt x="113700" y="156190"/>
                  </a:lnTo>
                  <a:lnTo>
                    <a:pt x="119602" y="156190"/>
                  </a:lnTo>
                  <a:lnTo>
                    <a:pt x="122356" y="155797"/>
                  </a:lnTo>
                  <a:lnTo>
                    <a:pt x="119602" y="155010"/>
                  </a:lnTo>
                  <a:lnTo>
                    <a:pt x="116848" y="153830"/>
                  </a:lnTo>
                  <a:lnTo>
                    <a:pt x="113700" y="153436"/>
                  </a:lnTo>
                  <a:lnTo>
                    <a:pt x="114094" y="152649"/>
                  </a:lnTo>
                  <a:lnTo>
                    <a:pt x="189632" y="156977"/>
                  </a:lnTo>
                  <a:lnTo>
                    <a:pt x="189238" y="156977"/>
                  </a:lnTo>
                  <a:lnTo>
                    <a:pt x="185697" y="159338"/>
                  </a:lnTo>
                  <a:lnTo>
                    <a:pt x="182943" y="160911"/>
                  </a:lnTo>
                  <a:lnTo>
                    <a:pt x="186091" y="160518"/>
                  </a:lnTo>
                  <a:lnTo>
                    <a:pt x="188845" y="160125"/>
                  </a:lnTo>
                  <a:lnTo>
                    <a:pt x="191992" y="160125"/>
                  </a:lnTo>
                  <a:lnTo>
                    <a:pt x="195139" y="159338"/>
                  </a:lnTo>
                  <a:lnTo>
                    <a:pt x="198287" y="158944"/>
                  </a:lnTo>
                  <a:lnTo>
                    <a:pt x="201041" y="158157"/>
                  </a:lnTo>
                  <a:lnTo>
                    <a:pt x="204188" y="158551"/>
                  </a:lnTo>
                  <a:lnTo>
                    <a:pt x="206942" y="158157"/>
                  </a:lnTo>
                  <a:lnTo>
                    <a:pt x="208516" y="158157"/>
                  </a:lnTo>
                  <a:lnTo>
                    <a:pt x="211270" y="157371"/>
                  </a:lnTo>
                  <a:lnTo>
                    <a:pt x="214417" y="156977"/>
                  </a:lnTo>
                  <a:lnTo>
                    <a:pt x="217565" y="156584"/>
                  </a:lnTo>
                  <a:lnTo>
                    <a:pt x="220319" y="156977"/>
                  </a:lnTo>
                  <a:lnTo>
                    <a:pt x="223073" y="156977"/>
                  </a:lnTo>
                  <a:lnTo>
                    <a:pt x="226220" y="155403"/>
                  </a:lnTo>
                  <a:lnTo>
                    <a:pt x="228974" y="154223"/>
                  </a:lnTo>
                  <a:lnTo>
                    <a:pt x="232515" y="153830"/>
                  </a:lnTo>
                  <a:lnTo>
                    <a:pt x="235269" y="152649"/>
                  </a:lnTo>
                  <a:lnTo>
                    <a:pt x="238416" y="151076"/>
                  </a:lnTo>
                  <a:lnTo>
                    <a:pt x="241564" y="150682"/>
                  </a:lnTo>
                  <a:lnTo>
                    <a:pt x="241957" y="153436"/>
                  </a:lnTo>
                  <a:lnTo>
                    <a:pt x="244711" y="153436"/>
                  </a:lnTo>
                  <a:lnTo>
                    <a:pt x="247859" y="152256"/>
                  </a:lnTo>
                  <a:lnTo>
                    <a:pt x="250613" y="151863"/>
                  </a:lnTo>
                  <a:lnTo>
                    <a:pt x="253760" y="150289"/>
                  </a:lnTo>
                  <a:lnTo>
                    <a:pt x="256514" y="149109"/>
                  </a:lnTo>
                  <a:lnTo>
                    <a:pt x="259661" y="149109"/>
                  </a:lnTo>
                  <a:lnTo>
                    <a:pt x="262416" y="147535"/>
                  </a:lnTo>
                  <a:lnTo>
                    <a:pt x="265170" y="145174"/>
                  </a:lnTo>
                  <a:lnTo>
                    <a:pt x="266743" y="142420"/>
                  </a:lnTo>
                  <a:lnTo>
                    <a:pt x="265956" y="139666"/>
                  </a:lnTo>
                  <a:lnTo>
                    <a:pt x="262809" y="139273"/>
                  </a:lnTo>
                  <a:lnTo>
                    <a:pt x="259661" y="139666"/>
                  </a:lnTo>
                  <a:lnTo>
                    <a:pt x="256514" y="140847"/>
                  </a:lnTo>
                  <a:lnTo>
                    <a:pt x="253367" y="142027"/>
                  </a:lnTo>
                  <a:lnTo>
                    <a:pt x="250613" y="142814"/>
                  </a:lnTo>
                  <a:lnTo>
                    <a:pt x="247072" y="144387"/>
                  </a:lnTo>
                  <a:lnTo>
                    <a:pt x="244318" y="143601"/>
                  </a:lnTo>
                  <a:lnTo>
                    <a:pt x="247465" y="141633"/>
                  </a:lnTo>
                  <a:lnTo>
                    <a:pt x="241957" y="141633"/>
                  </a:lnTo>
                  <a:lnTo>
                    <a:pt x="238810" y="141240"/>
                  </a:lnTo>
                  <a:lnTo>
                    <a:pt x="241957" y="140453"/>
                  </a:lnTo>
                  <a:lnTo>
                    <a:pt x="244711" y="139666"/>
                  </a:lnTo>
                  <a:lnTo>
                    <a:pt x="247859" y="138093"/>
                  </a:lnTo>
                  <a:lnTo>
                    <a:pt x="251006" y="135732"/>
                  </a:lnTo>
                  <a:lnTo>
                    <a:pt x="248252" y="134158"/>
                  </a:lnTo>
                  <a:lnTo>
                    <a:pt x="245498" y="133765"/>
                  </a:lnTo>
                  <a:lnTo>
                    <a:pt x="242744" y="133372"/>
                  </a:lnTo>
                  <a:lnTo>
                    <a:pt x="239597" y="133765"/>
                  </a:lnTo>
                  <a:lnTo>
                    <a:pt x="236843" y="134158"/>
                  </a:lnTo>
                  <a:lnTo>
                    <a:pt x="233695" y="134945"/>
                  </a:lnTo>
                  <a:lnTo>
                    <a:pt x="236056" y="132978"/>
                  </a:lnTo>
                  <a:lnTo>
                    <a:pt x="238416" y="132585"/>
                  </a:lnTo>
                  <a:lnTo>
                    <a:pt x="241170" y="132191"/>
                  </a:lnTo>
                  <a:lnTo>
                    <a:pt x="244711" y="132191"/>
                  </a:lnTo>
                  <a:lnTo>
                    <a:pt x="247465" y="132585"/>
                  </a:lnTo>
                  <a:lnTo>
                    <a:pt x="250219" y="132978"/>
                  </a:lnTo>
                  <a:lnTo>
                    <a:pt x="253760" y="132585"/>
                  </a:lnTo>
                  <a:lnTo>
                    <a:pt x="256907" y="132191"/>
                  </a:lnTo>
                  <a:lnTo>
                    <a:pt x="259661" y="131404"/>
                  </a:lnTo>
                  <a:lnTo>
                    <a:pt x="263202" y="131404"/>
                  </a:lnTo>
                  <a:lnTo>
                    <a:pt x="260055" y="132585"/>
                  </a:lnTo>
                  <a:lnTo>
                    <a:pt x="263202" y="132191"/>
                  </a:lnTo>
                  <a:lnTo>
                    <a:pt x="265956" y="131798"/>
                  </a:lnTo>
                  <a:lnTo>
                    <a:pt x="269497" y="131404"/>
                  </a:lnTo>
                  <a:lnTo>
                    <a:pt x="272644" y="131011"/>
                  </a:lnTo>
                  <a:lnTo>
                    <a:pt x="275792" y="129437"/>
                  </a:lnTo>
                  <a:lnTo>
                    <a:pt x="279333" y="129044"/>
                  </a:lnTo>
                  <a:lnTo>
                    <a:pt x="282480" y="127864"/>
                  </a:lnTo>
                  <a:lnTo>
                    <a:pt x="285234" y="126290"/>
                  </a:lnTo>
                  <a:lnTo>
                    <a:pt x="288382" y="123929"/>
                  </a:lnTo>
                  <a:lnTo>
                    <a:pt x="285628" y="123536"/>
                  </a:lnTo>
                  <a:lnTo>
                    <a:pt x="288775" y="121962"/>
                  </a:lnTo>
                  <a:lnTo>
                    <a:pt x="288382" y="118815"/>
                  </a:lnTo>
                  <a:lnTo>
                    <a:pt x="287595" y="118421"/>
                  </a:lnTo>
                  <a:lnTo>
                    <a:pt x="293890" y="116454"/>
                  </a:lnTo>
                  <a:lnTo>
                    <a:pt x="293890" y="116454"/>
                  </a:lnTo>
                  <a:lnTo>
                    <a:pt x="297037" y="116848"/>
                  </a:lnTo>
                  <a:lnTo>
                    <a:pt x="309627" y="116848"/>
                  </a:lnTo>
                  <a:lnTo>
                    <a:pt x="312774" y="118028"/>
                  </a:lnTo>
                  <a:lnTo>
                    <a:pt x="315921" y="117634"/>
                  </a:lnTo>
                  <a:lnTo>
                    <a:pt x="318675" y="117241"/>
                  </a:lnTo>
                  <a:lnTo>
                    <a:pt x="321823" y="116848"/>
                  </a:lnTo>
                  <a:lnTo>
                    <a:pt x="324970" y="115667"/>
                  </a:lnTo>
                  <a:lnTo>
                    <a:pt x="328511" y="115274"/>
                  </a:lnTo>
                  <a:lnTo>
                    <a:pt x="331658" y="115667"/>
                  </a:lnTo>
                  <a:lnTo>
                    <a:pt x="334412" y="116454"/>
                  </a:lnTo>
                  <a:lnTo>
                    <a:pt x="337167" y="115274"/>
                  </a:lnTo>
                  <a:lnTo>
                    <a:pt x="340314" y="114487"/>
                  </a:lnTo>
                  <a:lnTo>
                    <a:pt x="343068" y="112127"/>
                  </a:lnTo>
                  <a:lnTo>
                    <a:pt x="339921" y="112127"/>
                  </a:lnTo>
                  <a:lnTo>
                    <a:pt x="336773" y="111733"/>
                  </a:lnTo>
                  <a:lnTo>
                    <a:pt x="332445" y="111733"/>
                  </a:lnTo>
                  <a:lnTo>
                    <a:pt x="329691" y="111340"/>
                  </a:lnTo>
                  <a:lnTo>
                    <a:pt x="326151" y="111340"/>
                  </a:lnTo>
                  <a:lnTo>
                    <a:pt x="323003" y="109766"/>
                  </a:lnTo>
                  <a:lnTo>
                    <a:pt x="326544" y="109766"/>
                  </a:lnTo>
                  <a:lnTo>
                    <a:pt x="329691" y="109373"/>
                  </a:lnTo>
                  <a:lnTo>
                    <a:pt x="332839" y="109766"/>
                  </a:lnTo>
                  <a:lnTo>
                    <a:pt x="335593" y="109373"/>
                  </a:lnTo>
                  <a:lnTo>
                    <a:pt x="338740" y="109766"/>
                  </a:lnTo>
                  <a:lnTo>
                    <a:pt x="341494" y="110159"/>
                  </a:lnTo>
                  <a:lnTo>
                    <a:pt x="345035" y="110553"/>
                  </a:lnTo>
                  <a:lnTo>
                    <a:pt x="347789" y="110159"/>
                  </a:lnTo>
                  <a:lnTo>
                    <a:pt x="350936" y="108979"/>
                  </a:lnTo>
                  <a:lnTo>
                    <a:pt x="353690" y="107799"/>
                  </a:lnTo>
                  <a:lnTo>
                    <a:pt x="357231" y="107799"/>
                  </a:lnTo>
                  <a:lnTo>
                    <a:pt x="359985" y="105832"/>
                  </a:lnTo>
                  <a:lnTo>
                    <a:pt x="357231" y="105045"/>
                  </a:lnTo>
                  <a:lnTo>
                    <a:pt x="354084" y="104651"/>
                  </a:lnTo>
                  <a:lnTo>
                    <a:pt x="350543" y="104258"/>
                  </a:lnTo>
                  <a:lnTo>
                    <a:pt x="347789" y="103865"/>
                  </a:lnTo>
                  <a:lnTo>
                    <a:pt x="345035" y="103865"/>
                  </a:lnTo>
                  <a:lnTo>
                    <a:pt x="341888" y="102291"/>
                  </a:lnTo>
                  <a:lnTo>
                    <a:pt x="339134" y="102684"/>
                  </a:lnTo>
                  <a:lnTo>
                    <a:pt x="338347" y="102684"/>
                  </a:lnTo>
                  <a:lnTo>
                    <a:pt x="341888" y="101504"/>
                  </a:lnTo>
                  <a:lnTo>
                    <a:pt x="345035" y="101897"/>
                  </a:lnTo>
                  <a:lnTo>
                    <a:pt x="348576" y="102291"/>
                  </a:lnTo>
                  <a:lnTo>
                    <a:pt x="351723" y="102684"/>
                  </a:lnTo>
                  <a:lnTo>
                    <a:pt x="355264" y="102684"/>
                  </a:lnTo>
                  <a:lnTo>
                    <a:pt x="358805" y="102291"/>
                  </a:lnTo>
                  <a:lnTo>
                    <a:pt x="361952" y="102291"/>
                  </a:lnTo>
                  <a:lnTo>
                    <a:pt x="364706" y="101897"/>
                  </a:lnTo>
                  <a:lnTo>
                    <a:pt x="367854" y="101897"/>
                  </a:lnTo>
                  <a:lnTo>
                    <a:pt x="371001" y="101504"/>
                  </a:lnTo>
                  <a:lnTo>
                    <a:pt x="374542" y="98750"/>
                  </a:lnTo>
                  <a:lnTo>
                    <a:pt x="377296" y="95996"/>
                  </a:lnTo>
                  <a:lnTo>
                    <a:pt x="380443" y="95209"/>
                  </a:lnTo>
                  <a:lnTo>
                    <a:pt x="377689" y="94422"/>
                  </a:lnTo>
                  <a:lnTo>
                    <a:pt x="374148" y="94029"/>
                  </a:lnTo>
                  <a:lnTo>
                    <a:pt x="371395" y="93635"/>
                  </a:lnTo>
                  <a:lnTo>
                    <a:pt x="370608" y="93635"/>
                  </a:lnTo>
                  <a:lnTo>
                    <a:pt x="382017" y="90095"/>
                  </a:lnTo>
                  <a:lnTo>
                    <a:pt x="384771" y="90488"/>
                  </a:lnTo>
                  <a:lnTo>
                    <a:pt x="390672" y="90488"/>
                  </a:lnTo>
                  <a:lnTo>
                    <a:pt x="393820" y="89308"/>
                  </a:lnTo>
                  <a:lnTo>
                    <a:pt x="391066" y="86554"/>
                  </a:lnTo>
                  <a:lnTo>
                    <a:pt x="394607" y="86160"/>
                  </a:lnTo>
                  <a:lnTo>
                    <a:pt x="397361" y="85767"/>
                  </a:lnTo>
                  <a:lnTo>
                    <a:pt x="393820" y="85374"/>
                  </a:lnTo>
                  <a:lnTo>
                    <a:pt x="391066" y="84980"/>
                  </a:lnTo>
                  <a:lnTo>
                    <a:pt x="387918" y="85374"/>
                  </a:lnTo>
                  <a:lnTo>
                    <a:pt x="391853" y="81833"/>
                  </a:lnTo>
                  <a:lnTo>
                    <a:pt x="402869" y="80259"/>
                  </a:lnTo>
                  <a:lnTo>
                    <a:pt x="410737" y="80259"/>
                  </a:lnTo>
                  <a:lnTo>
                    <a:pt x="413885" y="79866"/>
                  </a:lnTo>
                  <a:lnTo>
                    <a:pt x="415852" y="78292"/>
                  </a:lnTo>
                  <a:lnTo>
                    <a:pt x="417425" y="77898"/>
                  </a:lnTo>
                  <a:lnTo>
                    <a:pt x="419786" y="78685"/>
                  </a:lnTo>
                  <a:lnTo>
                    <a:pt x="426474" y="78685"/>
                  </a:lnTo>
                  <a:lnTo>
                    <a:pt x="429622" y="78292"/>
                  </a:lnTo>
                  <a:lnTo>
                    <a:pt x="432376" y="77505"/>
                  </a:lnTo>
                  <a:lnTo>
                    <a:pt x="432376" y="75931"/>
                  </a:lnTo>
                  <a:lnTo>
                    <a:pt x="441425" y="74358"/>
                  </a:lnTo>
                  <a:lnTo>
                    <a:pt x="442605" y="74751"/>
                  </a:lnTo>
                  <a:lnTo>
                    <a:pt x="445752" y="74751"/>
                  </a:lnTo>
                  <a:lnTo>
                    <a:pt x="448506" y="74358"/>
                  </a:lnTo>
                  <a:lnTo>
                    <a:pt x="451654" y="74751"/>
                  </a:lnTo>
                  <a:lnTo>
                    <a:pt x="455194" y="74358"/>
                  </a:lnTo>
                  <a:lnTo>
                    <a:pt x="458342" y="73964"/>
                  </a:lnTo>
                  <a:lnTo>
                    <a:pt x="461489" y="73964"/>
                  </a:lnTo>
                  <a:lnTo>
                    <a:pt x="464637" y="73571"/>
                  </a:lnTo>
                  <a:lnTo>
                    <a:pt x="467784" y="73177"/>
                  </a:lnTo>
                  <a:lnTo>
                    <a:pt x="470538" y="72784"/>
                  </a:lnTo>
                  <a:lnTo>
                    <a:pt x="474079" y="72390"/>
                  </a:lnTo>
                  <a:lnTo>
                    <a:pt x="476833" y="71604"/>
                  </a:lnTo>
                  <a:lnTo>
                    <a:pt x="479980" y="70817"/>
                  </a:lnTo>
                  <a:lnTo>
                    <a:pt x="476833" y="69243"/>
                  </a:lnTo>
                  <a:lnTo>
                    <a:pt x="473292" y="69636"/>
                  </a:lnTo>
                  <a:lnTo>
                    <a:pt x="488242" y="67276"/>
                  </a:lnTo>
                  <a:lnTo>
                    <a:pt x="489423" y="67276"/>
                  </a:lnTo>
                  <a:lnTo>
                    <a:pt x="490209" y="66882"/>
                  </a:lnTo>
                  <a:lnTo>
                    <a:pt x="492570" y="65702"/>
                  </a:lnTo>
                  <a:lnTo>
                    <a:pt x="501619" y="62555"/>
                  </a:lnTo>
                  <a:lnTo>
                    <a:pt x="503586" y="62555"/>
                  </a:lnTo>
                  <a:lnTo>
                    <a:pt x="506733" y="61375"/>
                  </a:lnTo>
                  <a:lnTo>
                    <a:pt x="505946" y="60981"/>
                  </a:lnTo>
                  <a:lnTo>
                    <a:pt x="511848" y="59014"/>
                  </a:lnTo>
                  <a:lnTo>
                    <a:pt x="514208" y="59014"/>
                  </a:lnTo>
                  <a:lnTo>
                    <a:pt x="517749" y="58621"/>
                  </a:lnTo>
                  <a:lnTo>
                    <a:pt x="520897" y="58227"/>
                  </a:lnTo>
                  <a:lnTo>
                    <a:pt x="524044" y="57834"/>
                  </a:lnTo>
                  <a:lnTo>
                    <a:pt x="527191" y="56260"/>
                  </a:lnTo>
                  <a:lnTo>
                    <a:pt x="529946" y="55473"/>
                  </a:lnTo>
                  <a:lnTo>
                    <a:pt x="533093" y="54293"/>
                  </a:lnTo>
                  <a:lnTo>
                    <a:pt x="535847" y="53899"/>
                  </a:lnTo>
                  <a:lnTo>
                    <a:pt x="538994" y="52719"/>
                  </a:lnTo>
                  <a:lnTo>
                    <a:pt x="541748" y="52326"/>
                  </a:lnTo>
                  <a:lnTo>
                    <a:pt x="544896" y="51932"/>
                  </a:lnTo>
                  <a:lnTo>
                    <a:pt x="548043" y="51539"/>
                  </a:lnTo>
                  <a:lnTo>
                    <a:pt x="551190" y="51145"/>
                  </a:lnTo>
                  <a:lnTo>
                    <a:pt x="554338" y="50359"/>
                  </a:lnTo>
                  <a:lnTo>
                    <a:pt x="557485" y="49965"/>
                  </a:lnTo>
                  <a:lnTo>
                    <a:pt x="560633" y="49572"/>
                  </a:lnTo>
                  <a:lnTo>
                    <a:pt x="563780" y="48785"/>
                  </a:lnTo>
                  <a:lnTo>
                    <a:pt x="566927" y="48391"/>
                  </a:lnTo>
                  <a:lnTo>
                    <a:pt x="569681" y="47998"/>
                  </a:lnTo>
                  <a:lnTo>
                    <a:pt x="572436" y="46818"/>
                  </a:lnTo>
                  <a:lnTo>
                    <a:pt x="575583" y="46818"/>
                  </a:lnTo>
                  <a:lnTo>
                    <a:pt x="578730" y="46424"/>
                  </a:lnTo>
                  <a:lnTo>
                    <a:pt x="581878" y="46031"/>
                  </a:lnTo>
                  <a:lnTo>
                    <a:pt x="585419" y="45637"/>
                  </a:lnTo>
                  <a:lnTo>
                    <a:pt x="588566" y="45244"/>
                  </a:lnTo>
                  <a:lnTo>
                    <a:pt x="591320" y="44851"/>
                  </a:lnTo>
                  <a:lnTo>
                    <a:pt x="592107" y="41310"/>
                  </a:lnTo>
                  <a:lnTo>
                    <a:pt x="595648" y="40916"/>
                  </a:lnTo>
                  <a:lnTo>
                    <a:pt x="598402" y="40129"/>
                  </a:lnTo>
                  <a:lnTo>
                    <a:pt x="601942" y="39736"/>
                  </a:lnTo>
                  <a:lnTo>
                    <a:pt x="605090" y="39343"/>
                  </a:lnTo>
                  <a:lnTo>
                    <a:pt x="607844" y="39343"/>
                  </a:lnTo>
                  <a:lnTo>
                    <a:pt x="611385" y="38949"/>
                  </a:lnTo>
                  <a:lnTo>
                    <a:pt x="614926" y="38556"/>
                  </a:lnTo>
                  <a:lnTo>
                    <a:pt x="618073" y="38162"/>
                  </a:lnTo>
                  <a:lnTo>
                    <a:pt x="621220" y="37769"/>
                  </a:lnTo>
                  <a:lnTo>
                    <a:pt x="624368" y="37376"/>
                  </a:lnTo>
                  <a:lnTo>
                    <a:pt x="627515" y="36982"/>
                  </a:lnTo>
                  <a:lnTo>
                    <a:pt x="630663" y="36589"/>
                  </a:lnTo>
                  <a:lnTo>
                    <a:pt x="633417" y="36195"/>
                  </a:lnTo>
                  <a:lnTo>
                    <a:pt x="636958" y="35015"/>
                  </a:lnTo>
                  <a:lnTo>
                    <a:pt x="633810" y="33441"/>
                  </a:lnTo>
                  <a:lnTo>
                    <a:pt x="631056" y="33441"/>
                  </a:lnTo>
                  <a:lnTo>
                    <a:pt x="627515" y="33835"/>
                  </a:lnTo>
                  <a:lnTo>
                    <a:pt x="624368" y="33835"/>
                  </a:lnTo>
                  <a:lnTo>
                    <a:pt x="620827" y="34228"/>
                  </a:lnTo>
                  <a:lnTo>
                    <a:pt x="617680" y="34622"/>
                  </a:lnTo>
                  <a:lnTo>
                    <a:pt x="614139" y="34622"/>
                  </a:lnTo>
                  <a:lnTo>
                    <a:pt x="610991" y="35015"/>
                  </a:lnTo>
                  <a:lnTo>
                    <a:pt x="607844" y="35408"/>
                  </a:lnTo>
                  <a:lnTo>
                    <a:pt x="605090" y="35802"/>
                  </a:lnTo>
                  <a:lnTo>
                    <a:pt x="601942" y="36195"/>
                  </a:lnTo>
                  <a:lnTo>
                    <a:pt x="599188" y="36195"/>
                  </a:lnTo>
                  <a:lnTo>
                    <a:pt x="596041" y="36589"/>
                  </a:lnTo>
                  <a:lnTo>
                    <a:pt x="592894" y="36982"/>
                  </a:lnTo>
                  <a:lnTo>
                    <a:pt x="590140" y="37376"/>
                  </a:lnTo>
                  <a:lnTo>
                    <a:pt x="586599" y="37769"/>
                  </a:lnTo>
                  <a:lnTo>
                    <a:pt x="583451" y="37769"/>
                  </a:lnTo>
                  <a:lnTo>
                    <a:pt x="580697" y="38162"/>
                  </a:lnTo>
                  <a:lnTo>
                    <a:pt x="577157" y="38556"/>
                  </a:lnTo>
                  <a:lnTo>
                    <a:pt x="574009" y="38949"/>
                  </a:lnTo>
                  <a:lnTo>
                    <a:pt x="570862" y="39343"/>
                  </a:lnTo>
                  <a:lnTo>
                    <a:pt x="567321" y="39736"/>
                  </a:lnTo>
                  <a:lnTo>
                    <a:pt x="564567" y="40129"/>
                  </a:lnTo>
                  <a:lnTo>
                    <a:pt x="561420" y="40129"/>
                  </a:lnTo>
                  <a:lnTo>
                    <a:pt x="558272" y="40523"/>
                  </a:lnTo>
                  <a:lnTo>
                    <a:pt x="555125" y="40916"/>
                  </a:lnTo>
                  <a:lnTo>
                    <a:pt x="551977" y="41310"/>
                  </a:lnTo>
                  <a:lnTo>
                    <a:pt x="549223" y="41703"/>
                  </a:lnTo>
                  <a:lnTo>
                    <a:pt x="546076" y="42097"/>
                  </a:lnTo>
                  <a:lnTo>
                    <a:pt x="544896" y="42097"/>
                  </a:lnTo>
                  <a:lnTo>
                    <a:pt x="580304" y="37769"/>
                  </a:lnTo>
                  <a:lnTo>
                    <a:pt x="581091" y="37769"/>
                  </a:lnTo>
                  <a:lnTo>
                    <a:pt x="581484" y="37769"/>
                  </a:lnTo>
                  <a:lnTo>
                    <a:pt x="588566" y="36982"/>
                  </a:lnTo>
                  <a:lnTo>
                    <a:pt x="590533" y="36982"/>
                  </a:lnTo>
                  <a:lnTo>
                    <a:pt x="593681" y="36589"/>
                  </a:lnTo>
                  <a:lnTo>
                    <a:pt x="599188" y="36195"/>
                  </a:lnTo>
                  <a:lnTo>
                    <a:pt x="598402" y="35802"/>
                  </a:lnTo>
                  <a:lnTo>
                    <a:pt x="617286" y="33441"/>
                  </a:lnTo>
                  <a:lnTo>
                    <a:pt x="617680" y="33441"/>
                  </a:lnTo>
                  <a:lnTo>
                    <a:pt x="619253" y="33048"/>
                  </a:lnTo>
                  <a:lnTo>
                    <a:pt x="622401" y="32654"/>
                  </a:lnTo>
                  <a:lnTo>
                    <a:pt x="624368" y="32654"/>
                  </a:lnTo>
                  <a:lnTo>
                    <a:pt x="623974" y="32654"/>
                  </a:lnTo>
                  <a:lnTo>
                    <a:pt x="635777" y="31081"/>
                  </a:lnTo>
                  <a:lnTo>
                    <a:pt x="637744" y="31474"/>
                  </a:lnTo>
                  <a:lnTo>
                    <a:pt x="644433" y="31474"/>
                  </a:lnTo>
                  <a:lnTo>
                    <a:pt x="647580" y="31081"/>
                  </a:lnTo>
                  <a:lnTo>
                    <a:pt x="650334" y="30687"/>
                  </a:lnTo>
                  <a:lnTo>
                    <a:pt x="653875" y="30294"/>
                  </a:lnTo>
                  <a:lnTo>
                    <a:pt x="656629" y="29900"/>
                  </a:lnTo>
                  <a:lnTo>
                    <a:pt x="659776" y="29507"/>
                  </a:lnTo>
                  <a:lnTo>
                    <a:pt x="662530" y="29114"/>
                  </a:lnTo>
                  <a:lnTo>
                    <a:pt x="666071" y="28720"/>
                  </a:lnTo>
                  <a:lnTo>
                    <a:pt x="668825" y="28327"/>
                  </a:lnTo>
                  <a:lnTo>
                    <a:pt x="671972" y="27933"/>
                  </a:lnTo>
                  <a:lnTo>
                    <a:pt x="675120" y="27540"/>
                  </a:lnTo>
                  <a:lnTo>
                    <a:pt x="678267" y="27146"/>
                  </a:lnTo>
                  <a:lnTo>
                    <a:pt x="681415" y="26753"/>
                  </a:lnTo>
                  <a:lnTo>
                    <a:pt x="684562" y="26360"/>
                  </a:lnTo>
                  <a:lnTo>
                    <a:pt x="687709" y="25966"/>
                  </a:lnTo>
                  <a:lnTo>
                    <a:pt x="691250" y="25573"/>
                  </a:lnTo>
                  <a:lnTo>
                    <a:pt x="694398" y="24786"/>
                  </a:lnTo>
                  <a:lnTo>
                    <a:pt x="697152" y="24392"/>
                  </a:lnTo>
                  <a:lnTo>
                    <a:pt x="699119" y="23606"/>
                  </a:lnTo>
                  <a:lnTo>
                    <a:pt x="707381" y="22425"/>
                  </a:lnTo>
                  <a:lnTo>
                    <a:pt x="710528" y="22032"/>
                  </a:lnTo>
                  <a:lnTo>
                    <a:pt x="713676" y="21638"/>
                  </a:lnTo>
                  <a:lnTo>
                    <a:pt x="716823" y="20458"/>
                  </a:lnTo>
                  <a:lnTo>
                    <a:pt x="715643" y="17311"/>
                  </a:lnTo>
                  <a:lnTo>
                    <a:pt x="712495" y="16524"/>
                  </a:lnTo>
                  <a:lnTo>
                    <a:pt x="708168" y="16524"/>
                  </a:lnTo>
                  <a:lnTo>
                    <a:pt x="705020" y="16130"/>
                  </a:lnTo>
                  <a:lnTo>
                    <a:pt x="701479" y="15737"/>
                  </a:lnTo>
                  <a:lnTo>
                    <a:pt x="697939" y="16130"/>
                  </a:lnTo>
                  <a:lnTo>
                    <a:pt x="701479" y="15344"/>
                  </a:lnTo>
                  <a:lnTo>
                    <a:pt x="694398" y="15344"/>
                  </a:lnTo>
                  <a:lnTo>
                    <a:pt x="691250" y="15737"/>
                  </a:lnTo>
                  <a:lnTo>
                    <a:pt x="688496" y="15737"/>
                  </a:lnTo>
                  <a:lnTo>
                    <a:pt x="685349" y="16917"/>
                  </a:lnTo>
                  <a:lnTo>
                    <a:pt x="681808" y="17311"/>
                  </a:lnTo>
                  <a:lnTo>
                    <a:pt x="681021" y="17311"/>
                  </a:lnTo>
                  <a:lnTo>
                    <a:pt x="680234" y="17311"/>
                  </a:lnTo>
                  <a:lnTo>
                    <a:pt x="682202" y="17311"/>
                  </a:lnTo>
                  <a:lnTo>
                    <a:pt x="684955" y="16524"/>
                  </a:lnTo>
                  <a:lnTo>
                    <a:pt x="687709" y="15344"/>
                  </a:lnTo>
                  <a:lnTo>
                    <a:pt x="684562" y="14557"/>
                  </a:lnTo>
                  <a:lnTo>
                    <a:pt x="681808" y="12983"/>
                  </a:lnTo>
                  <a:lnTo>
                    <a:pt x="678267" y="12196"/>
                  </a:lnTo>
                  <a:lnTo>
                    <a:pt x="681415" y="11803"/>
                  </a:lnTo>
                  <a:lnTo>
                    <a:pt x="684562" y="11409"/>
                  </a:lnTo>
                  <a:lnTo>
                    <a:pt x="681808" y="9836"/>
                  </a:lnTo>
                  <a:lnTo>
                    <a:pt x="675513" y="9836"/>
                  </a:lnTo>
                  <a:lnTo>
                    <a:pt x="671972" y="5901"/>
                  </a:lnTo>
                  <a:lnTo>
                    <a:pt x="668825" y="6295"/>
                  </a:lnTo>
                  <a:lnTo>
                    <a:pt x="665284" y="6688"/>
                  </a:lnTo>
                  <a:lnTo>
                    <a:pt x="662924" y="5901"/>
                  </a:lnTo>
                  <a:lnTo>
                    <a:pt x="659776" y="4328"/>
                  </a:lnTo>
                  <a:lnTo>
                    <a:pt x="656629" y="4328"/>
                  </a:lnTo>
                  <a:lnTo>
                    <a:pt x="653875" y="4721"/>
                  </a:lnTo>
                  <a:lnTo>
                    <a:pt x="650727" y="6688"/>
                  </a:lnTo>
                  <a:lnTo>
                    <a:pt x="647973" y="6688"/>
                  </a:lnTo>
                  <a:lnTo>
                    <a:pt x="644433" y="5508"/>
                  </a:lnTo>
                  <a:lnTo>
                    <a:pt x="642072" y="5508"/>
                  </a:lnTo>
                  <a:lnTo>
                    <a:pt x="634990" y="3934"/>
                  </a:lnTo>
                  <a:lnTo>
                    <a:pt x="631449" y="3541"/>
                  </a:lnTo>
                  <a:lnTo>
                    <a:pt x="627909" y="3147"/>
                  </a:lnTo>
                  <a:lnTo>
                    <a:pt x="624761" y="3541"/>
                  </a:lnTo>
                  <a:lnTo>
                    <a:pt x="621614" y="3147"/>
                  </a:lnTo>
                  <a:lnTo>
                    <a:pt x="618073" y="3147"/>
                  </a:lnTo>
                  <a:lnTo>
                    <a:pt x="614926" y="2754"/>
                  </a:lnTo>
                  <a:lnTo>
                    <a:pt x="608631" y="2754"/>
                  </a:lnTo>
                  <a:lnTo>
                    <a:pt x="605483" y="3147"/>
                  </a:lnTo>
                  <a:lnTo>
                    <a:pt x="602336" y="2361"/>
                  </a:lnTo>
                  <a:lnTo>
                    <a:pt x="599975" y="1967"/>
                  </a:lnTo>
                  <a:lnTo>
                    <a:pt x="596434" y="2361"/>
                  </a:lnTo>
                  <a:lnTo>
                    <a:pt x="589746" y="2361"/>
                  </a:lnTo>
                  <a:lnTo>
                    <a:pt x="586992" y="1967"/>
                  </a:lnTo>
                  <a:lnTo>
                    <a:pt x="583451" y="1967"/>
                  </a:lnTo>
                  <a:lnTo>
                    <a:pt x="580304" y="2361"/>
                  </a:lnTo>
                  <a:lnTo>
                    <a:pt x="583058" y="1574"/>
                  </a:lnTo>
                  <a:lnTo>
                    <a:pt x="579911" y="1574"/>
                  </a:lnTo>
                  <a:lnTo>
                    <a:pt x="575976" y="0"/>
                  </a:lnTo>
                  <a:lnTo>
                    <a:pt x="566534" y="0"/>
                  </a:lnTo>
                  <a:lnTo>
                    <a:pt x="563387" y="393"/>
                  </a:lnTo>
                  <a:lnTo>
                    <a:pt x="560633" y="0"/>
                  </a:lnTo>
                  <a:lnTo>
                    <a:pt x="557485" y="393"/>
                  </a:lnTo>
                  <a:lnTo>
                    <a:pt x="554731" y="0"/>
                  </a:lnTo>
                  <a:lnTo>
                    <a:pt x="551977" y="393"/>
                  </a:lnTo>
                  <a:lnTo>
                    <a:pt x="548830" y="787"/>
                  </a:lnTo>
                  <a:lnTo>
                    <a:pt x="545683" y="1967"/>
                  </a:lnTo>
                  <a:lnTo>
                    <a:pt x="548437" y="2361"/>
                  </a:lnTo>
                  <a:lnTo>
                    <a:pt x="542142" y="2361"/>
                  </a:lnTo>
                  <a:lnTo>
                    <a:pt x="544896" y="393"/>
                  </a:lnTo>
                  <a:lnTo>
                    <a:pt x="541355" y="0"/>
                  </a:lnTo>
                  <a:lnTo>
                    <a:pt x="532306" y="0"/>
                  </a:lnTo>
                  <a:lnTo>
                    <a:pt x="529159" y="393"/>
                  </a:lnTo>
                  <a:lnTo>
                    <a:pt x="525618" y="0"/>
                  </a:lnTo>
                  <a:lnTo>
                    <a:pt x="522470" y="393"/>
                  </a:lnTo>
                  <a:lnTo>
                    <a:pt x="518930" y="787"/>
                  </a:lnTo>
                  <a:lnTo>
                    <a:pt x="516176" y="1967"/>
                  </a:lnTo>
                  <a:lnTo>
                    <a:pt x="513815" y="1967"/>
                  </a:lnTo>
                  <a:lnTo>
                    <a:pt x="489816" y="1574"/>
                  </a:lnTo>
                  <a:lnTo>
                    <a:pt x="488242" y="1574"/>
                  </a:lnTo>
                  <a:lnTo>
                    <a:pt x="481947" y="1574"/>
                  </a:lnTo>
                  <a:lnTo>
                    <a:pt x="481161" y="1574"/>
                  </a:lnTo>
                  <a:lnTo>
                    <a:pt x="479193" y="1967"/>
                  </a:lnTo>
                  <a:lnTo>
                    <a:pt x="478013" y="1967"/>
                  </a:lnTo>
                  <a:lnTo>
                    <a:pt x="474866" y="1967"/>
                  </a:lnTo>
                  <a:lnTo>
                    <a:pt x="471718" y="1574"/>
                  </a:lnTo>
                  <a:lnTo>
                    <a:pt x="468177" y="1574"/>
                  </a:lnTo>
                  <a:lnTo>
                    <a:pt x="464637" y="1180"/>
                  </a:lnTo>
                  <a:lnTo>
                    <a:pt x="461489" y="1574"/>
                  </a:lnTo>
                  <a:lnTo>
                    <a:pt x="458342" y="1967"/>
                  </a:lnTo>
                  <a:lnTo>
                    <a:pt x="455588" y="1967"/>
                  </a:lnTo>
                  <a:lnTo>
                    <a:pt x="444965" y="1967"/>
                  </a:lnTo>
                  <a:lnTo>
                    <a:pt x="441425" y="1967"/>
                  </a:lnTo>
                  <a:lnTo>
                    <a:pt x="438671" y="3147"/>
                  </a:lnTo>
                  <a:lnTo>
                    <a:pt x="441818" y="3541"/>
                  </a:lnTo>
                  <a:lnTo>
                    <a:pt x="444572" y="3934"/>
                  </a:lnTo>
                  <a:lnTo>
                    <a:pt x="447326" y="5115"/>
                  </a:lnTo>
                  <a:lnTo>
                    <a:pt x="448113" y="5508"/>
                  </a:lnTo>
                  <a:lnTo>
                    <a:pt x="439851" y="6688"/>
                  </a:lnTo>
                  <a:lnTo>
                    <a:pt x="437884" y="5115"/>
                  </a:lnTo>
                  <a:lnTo>
                    <a:pt x="434736" y="5115"/>
                  </a:lnTo>
                  <a:lnTo>
                    <a:pt x="431195" y="4721"/>
                  </a:lnTo>
                  <a:lnTo>
                    <a:pt x="427655" y="4328"/>
                  </a:lnTo>
                  <a:lnTo>
                    <a:pt x="424901" y="5115"/>
                  </a:lnTo>
                  <a:lnTo>
                    <a:pt x="421753" y="5508"/>
                  </a:lnTo>
                  <a:lnTo>
                    <a:pt x="420179" y="4721"/>
                  </a:lnTo>
                  <a:lnTo>
                    <a:pt x="423327" y="4328"/>
                  </a:lnTo>
                  <a:lnTo>
                    <a:pt x="426474" y="3541"/>
                  </a:lnTo>
                  <a:lnTo>
                    <a:pt x="423327" y="3147"/>
                  </a:lnTo>
                  <a:lnTo>
                    <a:pt x="419786" y="4721"/>
                  </a:lnTo>
                  <a:lnTo>
                    <a:pt x="418999" y="3934"/>
                  </a:lnTo>
                  <a:lnTo>
                    <a:pt x="416245" y="3541"/>
                  </a:lnTo>
                  <a:lnTo>
                    <a:pt x="412704" y="3934"/>
                  </a:lnTo>
                  <a:lnTo>
                    <a:pt x="409950" y="4721"/>
                  </a:lnTo>
                  <a:lnTo>
                    <a:pt x="406803" y="3147"/>
                  </a:lnTo>
                  <a:lnTo>
                    <a:pt x="403655" y="2754"/>
                  </a:lnTo>
                  <a:lnTo>
                    <a:pt x="400508" y="3147"/>
                  </a:lnTo>
                  <a:lnTo>
                    <a:pt x="396967" y="3541"/>
                  </a:lnTo>
                  <a:lnTo>
                    <a:pt x="393426" y="3934"/>
                  </a:lnTo>
                  <a:lnTo>
                    <a:pt x="390279" y="3934"/>
                  </a:lnTo>
                  <a:lnTo>
                    <a:pt x="387525" y="4328"/>
                  </a:lnTo>
                  <a:lnTo>
                    <a:pt x="383984" y="4721"/>
                  </a:lnTo>
                  <a:lnTo>
                    <a:pt x="386738" y="5901"/>
                  </a:lnTo>
                  <a:lnTo>
                    <a:pt x="390279" y="5901"/>
                  </a:lnTo>
                  <a:lnTo>
                    <a:pt x="393426" y="6295"/>
                  </a:lnTo>
                  <a:lnTo>
                    <a:pt x="390279" y="7475"/>
                  </a:lnTo>
                  <a:lnTo>
                    <a:pt x="393033" y="7869"/>
                  </a:lnTo>
                  <a:lnTo>
                    <a:pt x="396574" y="8262"/>
                  </a:lnTo>
                  <a:lnTo>
                    <a:pt x="399328" y="8655"/>
                  </a:lnTo>
                  <a:lnTo>
                    <a:pt x="402475" y="8655"/>
                  </a:lnTo>
                  <a:lnTo>
                    <a:pt x="406016" y="9049"/>
                  </a:lnTo>
                  <a:lnTo>
                    <a:pt x="408377" y="9049"/>
                  </a:lnTo>
                  <a:lnTo>
                    <a:pt x="405229" y="9049"/>
                  </a:lnTo>
                  <a:lnTo>
                    <a:pt x="402869" y="9049"/>
                  </a:lnTo>
                  <a:lnTo>
                    <a:pt x="399328" y="9442"/>
                  </a:lnTo>
                  <a:lnTo>
                    <a:pt x="396180" y="9049"/>
                  </a:lnTo>
                  <a:lnTo>
                    <a:pt x="393426" y="8655"/>
                  </a:lnTo>
                  <a:lnTo>
                    <a:pt x="389886" y="8262"/>
                  </a:lnTo>
                  <a:lnTo>
                    <a:pt x="387525" y="9049"/>
                  </a:lnTo>
                  <a:lnTo>
                    <a:pt x="384378" y="7475"/>
                  </a:lnTo>
                  <a:lnTo>
                    <a:pt x="381230" y="6295"/>
                  </a:lnTo>
                  <a:lnTo>
                    <a:pt x="378083" y="5901"/>
                  </a:lnTo>
                  <a:lnTo>
                    <a:pt x="374935" y="5901"/>
                  </a:lnTo>
                  <a:lnTo>
                    <a:pt x="371788" y="5901"/>
                  </a:lnTo>
                  <a:lnTo>
                    <a:pt x="366280" y="5901"/>
                  </a:lnTo>
                  <a:lnTo>
                    <a:pt x="362739" y="7475"/>
                  </a:lnTo>
                  <a:lnTo>
                    <a:pt x="365887" y="7869"/>
                  </a:lnTo>
                  <a:lnTo>
                    <a:pt x="368641" y="9442"/>
                  </a:lnTo>
                  <a:lnTo>
                    <a:pt x="371001" y="11409"/>
                  </a:lnTo>
                  <a:lnTo>
                    <a:pt x="365493" y="11803"/>
                  </a:lnTo>
                  <a:lnTo>
                    <a:pt x="362739" y="10623"/>
                  </a:lnTo>
                  <a:lnTo>
                    <a:pt x="359198" y="9836"/>
                  </a:lnTo>
                  <a:lnTo>
                    <a:pt x="356051" y="9442"/>
                  </a:lnTo>
                  <a:lnTo>
                    <a:pt x="352904" y="9049"/>
                  </a:lnTo>
                  <a:lnTo>
                    <a:pt x="349756" y="8655"/>
                  </a:lnTo>
                  <a:lnTo>
                    <a:pt x="346215" y="8655"/>
                  </a:lnTo>
                  <a:lnTo>
                    <a:pt x="343068" y="10623"/>
                  </a:lnTo>
                  <a:lnTo>
                    <a:pt x="346609" y="11016"/>
                  </a:lnTo>
                  <a:lnTo>
                    <a:pt x="349363" y="11409"/>
                  </a:lnTo>
                  <a:lnTo>
                    <a:pt x="351330" y="11409"/>
                  </a:lnTo>
                  <a:lnTo>
                    <a:pt x="349363" y="11409"/>
                  </a:lnTo>
                  <a:lnTo>
                    <a:pt x="345822" y="11016"/>
                  </a:lnTo>
                  <a:lnTo>
                    <a:pt x="342281" y="11409"/>
                  </a:lnTo>
                  <a:lnTo>
                    <a:pt x="340314" y="11803"/>
                  </a:lnTo>
                  <a:lnTo>
                    <a:pt x="336773" y="11803"/>
                  </a:lnTo>
                  <a:lnTo>
                    <a:pt x="334806" y="12590"/>
                  </a:lnTo>
                  <a:lnTo>
                    <a:pt x="295857" y="13376"/>
                  </a:lnTo>
                  <a:lnTo>
                    <a:pt x="293103" y="13770"/>
                  </a:lnTo>
                  <a:lnTo>
                    <a:pt x="293103" y="13770"/>
                  </a:lnTo>
                  <a:lnTo>
                    <a:pt x="296644" y="13376"/>
                  </a:lnTo>
                  <a:lnTo>
                    <a:pt x="296250" y="12983"/>
                  </a:lnTo>
                  <a:lnTo>
                    <a:pt x="292709" y="12983"/>
                  </a:lnTo>
                  <a:lnTo>
                    <a:pt x="289955" y="12590"/>
                  </a:lnTo>
                  <a:lnTo>
                    <a:pt x="286414" y="12590"/>
                  </a:lnTo>
                  <a:lnTo>
                    <a:pt x="283660" y="12983"/>
                  </a:lnTo>
                  <a:lnTo>
                    <a:pt x="280907" y="12983"/>
                  </a:lnTo>
                  <a:lnTo>
                    <a:pt x="277366" y="13376"/>
                  </a:lnTo>
                  <a:lnTo>
                    <a:pt x="273431" y="13770"/>
                  </a:lnTo>
                  <a:lnTo>
                    <a:pt x="276185" y="14163"/>
                  </a:lnTo>
                  <a:lnTo>
                    <a:pt x="277759" y="15344"/>
                  </a:lnTo>
                  <a:lnTo>
                    <a:pt x="224646" y="20458"/>
                  </a:lnTo>
                  <a:lnTo>
                    <a:pt x="224646" y="20458"/>
                  </a:lnTo>
                  <a:lnTo>
                    <a:pt x="221499" y="20852"/>
                  </a:lnTo>
                  <a:lnTo>
                    <a:pt x="217958" y="20852"/>
                  </a:lnTo>
                  <a:lnTo>
                    <a:pt x="215204" y="21245"/>
                  </a:lnTo>
                  <a:lnTo>
                    <a:pt x="212450" y="21638"/>
                  </a:lnTo>
                  <a:lnTo>
                    <a:pt x="209303" y="22032"/>
                  </a:lnTo>
                  <a:lnTo>
                    <a:pt x="207729" y="22425"/>
                  </a:lnTo>
                  <a:lnTo>
                    <a:pt x="184910" y="24786"/>
                  </a:lnTo>
                  <a:lnTo>
                    <a:pt x="184517" y="25179"/>
                  </a:lnTo>
                  <a:lnTo>
                    <a:pt x="182943" y="24786"/>
                  </a:lnTo>
                  <a:lnTo>
                    <a:pt x="179796" y="24786"/>
                  </a:lnTo>
                  <a:lnTo>
                    <a:pt x="177042" y="25179"/>
                  </a:lnTo>
                  <a:lnTo>
                    <a:pt x="173501" y="25573"/>
                  </a:lnTo>
                  <a:lnTo>
                    <a:pt x="169567" y="25573"/>
                  </a:lnTo>
                  <a:lnTo>
                    <a:pt x="166813" y="25966"/>
                  </a:lnTo>
                  <a:lnTo>
                    <a:pt x="163272" y="25966"/>
                  </a:lnTo>
                  <a:lnTo>
                    <a:pt x="159731" y="27540"/>
                  </a:lnTo>
                  <a:lnTo>
                    <a:pt x="153436" y="27540"/>
                  </a:lnTo>
                  <a:lnTo>
                    <a:pt x="150289" y="27933"/>
                  </a:lnTo>
                  <a:lnTo>
                    <a:pt x="147535" y="28327"/>
                  </a:lnTo>
                  <a:lnTo>
                    <a:pt x="144388" y="29507"/>
                  </a:lnTo>
                  <a:lnTo>
                    <a:pt x="140847" y="29900"/>
                  </a:lnTo>
                  <a:lnTo>
                    <a:pt x="141634" y="30294"/>
                  </a:lnTo>
                  <a:lnTo>
                    <a:pt x="144388" y="30687"/>
                  </a:lnTo>
                  <a:lnTo>
                    <a:pt x="147535" y="32261"/>
                  </a:lnTo>
                  <a:lnTo>
                    <a:pt x="151076" y="31868"/>
                  </a:lnTo>
                  <a:lnTo>
                    <a:pt x="154223" y="31868"/>
                  </a:lnTo>
                  <a:lnTo>
                    <a:pt x="156977" y="30687"/>
                  </a:lnTo>
                  <a:lnTo>
                    <a:pt x="159338" y="30294"/>
                  </a:lnTo>
                  <a:lnTo>
                    <a:pt x="175862" y="30294"/>
                  </a:lnTo>
                  <a:lnTo>
                    <a:pt x="174288" y="31474"/>
                  </a:lnTo>
                  <a:lnTo>
                    <a:pt x="172714" y="31474"/>
                  </a:lnTo>
                  <a:lnTo>
                    <a:pt x="169960" y="31868"/>
                  </a:lnTo>
                  <a:lnTo>
                    <a:pt x="166419" y="32261"/>
                  </a:lnTo>
                  <a:lnTo>
                    <a:pt x="163272" y="32654"/>
                  </a:lnTo>
                  <a:lnTo>
                    <a:pt x="159731" y="33048"/>
                  </a:lnTo>
                  <a:lnTo>
                    <a:pt x="156584" y="34622"/>
                  </a:lnTo>
                  <a:lnTo>
                    <a:pt x="160125" y="35802"/>
                  </a:lnTo>
                  <a:lnTo>
                    <a:pt x="163272" y="35408"/>
                  </a:lnTo>
                  <a:lnTo>
                    <a:pt x="166026" y="35015"/>
                  </a:lnTo>
                  <a:lnTo>
                    <a:pt x="169567" y="34622"/>
                  </a:lnTo>
                  <a:lnTo>
                    <a:pt x="164059" y="38162"/>
                  </a:lnTo>
                  <a:lnTo>
                    <a:pt x="161698" y="38556"/>
                  </a:lnTo>
                  <a:lnTo>
                    <a:pt x="158551" y="38949"/>
                  </a:lnTo>
                  <a:lnTo>
                    <a:pt x="155797" y="39736"/>
                  </a:lnTo>
                  <a:lnTo>
                    <a:pt x="158157" y="42490"/>
                  </a:lnTo>
                  <a:lnTo>
                    <a:pt x="158551" y="42490"/>
                  </a:lnTo>
                  <a:lnTo>
                    <a:pt x="161698" y="42883"/>
                  </a:lnTo>
                  <a:lnTo>
                    <a:pt x="164452" y="42883"/>
                  </a:lnTo>
                  <a:lnTo>
                    <a:pt x="167600" y="42490"/>
                  </a:lnTo>
                  <a:lnTo>
                    <a:pt x="170747" y="42490"/>
                  </a:lnTo>
                  <a:lnTo>
                    <a:pt x="174288" y="42097"/>
                  </a:lnTo>
                  <a:lnTo>
                    <a:pt x="177829" y="41703"/>
                  </a:lnTo>
                  <a:lnTo>
                    <a:pt x="181370" y="41703"/>
                  </a:lnTo>
                  <a:lnTo>
                    <a:pt x="184517" y="41310"/>
                  </a:lnTo>
                  <a:lnTo>
                    <a:pt x="197893" y="40916"/>
                  </a:lnTo>
                  <a:lnTo>
                    <a:pt x="200647" y="41310"/>
                  </a:lnTo>
                  <a:lnTo>
                    <a:pt x="203402" y="41310"/>
                  </a:lnTo>
                  <a:lnTo>
                    <a:pt x="206942" y="40916"/>
                  </a:lnTo>
                  <a:lnTo>
                    <a:pt x="207336" y="40916"/>
                  </a:lnTo>
                  <a:lnTo>
                    <a:pt x="231728" y="40916"/>
                  </a:lnTo>
                  <a:lnTo>
                    <a:pt x="230548" y="40916"/>
                  </a:lnTo>
                  <a:lnTo>
                    <a:pt x="227007" y="41310"/>
                  </a:lnTo>
                  <a:lnTo>
                    <a:pt x="223466" y="41703"/>
                  </a:lnTo>
                  <a:lnTo>
                    <a:pt x="219925" y="42097"/>
                  </a:lnTo>
                  <a:lnTo>
                    <a:pt x="216778" y="42490"/>
                  </a:lnTo>
                  <a:lnTo>
                    <a:pt x="213237" y="42490"/>
                  </a:lnTo>
                  <a:lnTo>
                    <a:pt x="210483" y="42883"/>
                  </a:lnTo>
                  <a:lnTo>
                    <a:pt x="207336" y="43277"/>
                  </a:lnTo>
                  <a:lnTo>
                    <a:pt x="201434" y="43277"/>
                  </a:lnTo>
                  <a:lnTo>
                    <a:pt x="198287" y="42883"/>
                  </a:lnTo>
                  <a:lnTo>
                    <a:pt x="195139" y="42490"/>
                  </a:lnTo>
                  <a:lnTo>
                    <a:pt x="185304" y="42490"/>
                  </a:lnTo>
                  <a:lnTo>
                    <a:pt x="181763" y="42883"/>
                  </a:lnTo>
                  <a:lnTo>
                    <a:pt x="178222" y="43277"/>
                  </a:lnTo>
                  <a:lnTo>
                    <a:pt x="174681" y="43670"/>
                  </a:lnTo>
                  <a:lnTo>
                    <a:pt x="171141" y="44064"/>
                  </a:lnTo>
                  <a:lnTo>
                    <a:pt x="167993" y="44457"/>
                  </a:lnTo>
                  <a:lnTo>
                    <a:pt x="164452" y="45244"/>
                  </a:lnTo>
                  <a:lnTo>
                    <a:pt x="167206" y="46818"/>
                  </a:lnTo>
                  <a:lnTo>
                    <a:pt x="170354" y="47211"/>
                  </a:lnTo>
                  <a:lnTo>
                    <a:pt x="173108" y="47605"/>
                  </a:lnTo>
                  <a:lnTo>
                    <a:pt x="176255" y="48391"/>
                  </a:lnTo>
                  <a:lnTo>
                    <a:pt x="179009" y="49178"/>
                  </a:lnTo>
                  <a:lnTo>
                    <a:pt x="181763" y="49572"/>
                  </a:lnTo>
                  <a:lnTo>
                    <a:pt x="184517" y="49965"/>
                  </a:lnTo>
                  <a:lnTo>
                    <a:pt x="187664" y="50359"/>
                  </a:lnTo>
                  <a:lnTo>
                    <a:pt x="190812" y="50752"/>
                  </a:lnTo>
                  <a:lnTo>
                    <a:pt x="194353" y="50752"/>
                  </a:lnTo>
                  <a:lnTo>
                    <a:pt x="197500" y="50359"/>
                  </a:lnTo>
                  <a:lnTo>
                    <a:pt x="200647" y="49572"/>
                  </a:lnTo>
                  <a:lnTo>
                    <a:pt x="203795" y="48391"/>
                  </a:lnTo>
                  <a:lnTo>
                    <a:pt x="206942" y="47605"/>
                  </a:lnTo>
                  <a:lnTo>
                    <a:pt x="209696" y="47211"/>
                  </a:lnTo>
                  <a:lnTo>
                    <a:pt x="212844" y="46818"/>
                  </a:lnTo>
                  <a:lnTo>
                    <a:pt x="215991" y="46031"/>
                  </a:lnTo>
                  <a:lnTo>
                    <a:pt x="218745" y="45637"/>
                  </a:lnTo>
                  <a:lnTo>
                    <a:pt x="221893" y="44851"/>
                  </a:lnTo>
                  <a:lnTo>
                    <a:pt x="225433" y="44457"/>
                  </a:lnTo>
                  <a:lnTo>
                    <a:pt x="228581" y="43670"/>
                  </a:lnTo>
                  <a:lnTo>
                    <a:pt x="231728" y="43277"/>
                  </a:lnTo>
                  <a:lnTo>
                    <a:pt x="235269" y="42883"/>
                  </a:lnTo>
                  <a:lnTo>
                    <a:pt x="238023" y="42490"/>
                  </a:lnTo>
                  <a:lnTo>
                    <a:pt x="241170" y="42097"/>
                  </a:lnTo>
                  <a:lnTo>
                    <a:pt x="247859" y="42097"/>
                  </a:lnTo>
                  <a:lnTo>
                    <a:pt x="251400" y="41703"/>
                  </a:lnTo>
                  <a:lnTo>
                    <a:pt x="254153" y="41310"/>
                  </a:lnTo>
                  <a:lnTo>
                    <a:pt x="275005" y="41310"/>
                  </a:lnTo>
                  <a:lnTo>
                    <a:pt x="271464" y="41703"/>
                  </a:lnTo>
                  <a:lnTo>
                    <a:pt x="268317" y="41703"/>
                  </a:lnTo>
                  <a:lnTo>
                    <a:pt x="264776" y="42097"/>
                  </a:lnTo>
                  <a:lnTo>
                    <a:pt x="261235" y="42490"/>
                  </a:lnTo>
                  <a:lnTo>
                    <a:pt x="257694" y="42490"/>
                  </a:lnTo>
                  <a:lnTo>
                    <a:pt x="254153" y="42883"/>
                  </a:lnTo>
                  <a:lnTo>
                    <a:pt x="251400" y="42490"/>
                  </a:lnTo>
                  <a:lnTo>
                    <a:pt x="248646" y="42883"/>
                  </a:lnTo>
                  <a:lnTo>
                    <a:pt x="245498" y="43277"/>
                  </a:lnTo>
                  <a:lnTo>
                    <a:pt x="242351" y="43670"/>
                  </a:lnTo>
                  <a:lnTo>
                    <a:pt x="239597" y="44064"/>
                  </a:lnTo>
                  <a:lnTo>
                    <a:pt x="236056" y="44457"/>
                  </a:lnTo>
                  <a:lnTo>
                    <a:pt x="232515" y="44851"/>
                  </a:lnTo>
                  <a:lnTo>
                    <a:pt x="229368" y="45637"/>
                  </a:lnTo>
                  <a:lnTo>
                    <a:pt x="226220" y="46424"/>
                  </a:lnTo>
                  <a:lnTo>
                    <a:pt x="223073" y="46818"/>
                  </a:lnTo>
                  <a:lnTo>
                    <a:pt x="219925" y="47605"/>
                  </a:lnTo>
                  <a:lnTo>
                    <a:pt x="216778" y="47998"/>
                  </a:lnTo>
                  <a:lnTo>
                    <a:pt x="214417" y="49178"/>
                  </a:lnTo>
                  <a:lnTo>
                    <a:pt x="211270" y="49965"/>
                  </a:lnTo>
                  <a:lnTo>
                    <a:pt x="208123" y="52326"/>
                  </a:lnTo>
                  <a:lnTo>
                    <a:pt x="211663" y="52719"/>
                  </a:lnTo>
                  <a:lnTo>
                    <a:pt x="214417" y="53113"/>
                  </a:lnTo>
                  <a:lnTo>
                    <a:pt x="217565" y="53113"/>
                  </a:lnTo>
                  <a:lnTo>
                    <a:pt x="220319" y="52719"/>
                  </a:lnTo>
                  <a:lnTo>
                    <a:pt x="223466" y="51932"/>
                  </a:lnTo>
                  <a:lnTo>
                    <a:pt x="226614" y="51932"/>
                  </a:lnTo>
                  <a:lnTo>
                    <a:pt x="223073" y="53506"/>
                  </a:lnTo>
                  <a:lnTo>
                    <a:pt x="226220" y="53506"/>
                  </a:lnTo>
                  <a:lnTo>
                    <a:pt x="229368" y="53899"/>
                  </a:lnTo>
                  <a:lnTo>
                    <a:pt x="235663" y="53899"/>
                  </a:lnTo>
                  <a:lnTo>
                    <a:pt x="238810" y="53506"/>
                  </a:lnTo>
                  <a:lnTo>
                    <a:pt x="242351" y="53506"/>
                  </a:lnTo>
                  <a:lnTo>
                    <a:pt x="245498" y="53899"/>
                  </a:lnTo>
                  <a:lnTo>
                    <a:pt x="248646" y="53899"/>
                  </a:lnTo>
                  <a:lnTo>
                    <a:pt x="252186" y="53506"/>
                  </a:lnTo>
                  <a:lnTo>
                    <a:pt x="255334" y="53506"/>
                  </a:lnTo>
                  <a:lnTo>
                    <a:pt x="258088" y="53113"/>
                  </a:lnTo>
                  <a:lnTo>
                    <a:pt x="260842" y="52326"/>
                  </a:lnTo>
                  <a:lnTo>
                    <a:pt x="263202" y="49178"/>
                  </a:lnTo>
                  <a:lnTo>
                    <a:pt x="266350" y="48785"/>
                  </a:lnTo>
                  <a:lnTo>
                    <a:pt x="269497" y="48391"/>
                  </a:lnTo>
                  <a:lnTo>
                    <a:pt x="272644" y="47998"/>
                  </a:lnTo>
                  <a:lnTo>
                    <a:pt x="275792" y="47605"/>
                  </a:lnTo>
                  <a:lnTo>
                    <a:pt x="278546" y="47998"/>
                  </a:lnTo>
                  <a:lnTo>
                    <a:pt x="275792" y="48391"/>
                  </a:lnTo>
                  <a:lnTo>
                    <a:pt x="272644" y="48785"/>
                  </a:lnTo>
                  <a:lnTo>
                    <a:pt x="269890" y="50359"/>
                  </a:lnTo>
                  <a:lnTo>
                    <a:pt x="272644" y="50359"/>
                  </a:lnTo>
                  <a:lnTo>
                    <a:pt x="276185" y="49965"/>
                  </a:lnTo>
                  <a:lnTo>
                    <a:pt x="279726" y="49572"/>
                  </a:lnTo>
                  <a:lnTo>
                    <a:pt x="282874" y="49178"/>
                  </a:lnTo>
                  <a:lnTo>
                    <a:pt x="285628" y="49178"/>
                  </a:lnTo>
                  <a:lnTo>
                    <a:pt x="289168" y="48391"/>
                  </a:lnTo>
                  <a:lnTo>
                    <a:pt x="291922" y="47998"/>
                  </a:lnTo>
                  <a:lnTo>
                    <a:pt x="295070" y="47605"/>
                  </a:lnTo>
                  <a:lnTo>
                    <a:pt x="297824" y="47211"/>
                  </a:lnTo>
                  <a:lnTo>
                    <a:pt x="300971" y="46818"/>
                  </a:lnTo>
                  <a:lnTo>
                    <a:pt x="304119" y="47211"/>
                  </a:lnTo>
                  <a:lnTo>
                    <a:pt x="300971" y="47605"/>
                  </a:lnTo>
                  <a:lnTo>
                    <a:pt x="298217" y="47998"/>
                  </a:lnTo>
                  <a:lnTo>
                    <a:pt x="295070" y="48391"/>
                  </a:lnTo>
                  <a:lnTo>
                    <a:pt x="291529" y="48785"/>
                  </a:lnTo>
                  <a:lnTo>
                    <a:pt x="287988" y="49178"/>
                  </a:lnTo>
                  <a:lnTo>
                    <a:pt x="284447" y="49572"/>
                  </a:lnTo>
                  <a:lnTo>
                    <a:pt x="280907" y="49965"/>
                  </a:lnTo>
                  <a:lnTo>
                    <a:pt x="277759" y="50359"/>
                  </a:lnTo>
                  <a:lnTo>
                    <a:pt x="274218" y="50752"/>
                  </a:lnTo>
                  <a:lnTo>
                    <a:pt x="271464" y="52719"/>
                  </a:lnTo>
                  <a:lnTo>
                    <a:pt x="277366" y="52719"/>
                  </a:lnTo>
                  <a:lnTo>
                    <a:pt x="280513" y="52326"/>
                  </a:lnTo>
                  <a:lnTo>
                    <a:pt x="284054" y="52326"/>
                  </a:lnTo>
                  <a:lnTo>
                    <a:pt x="286808" y="51932"/>
                  </a:lnTo>
                  <a:lnTo>
                    <a:pt x="290349" y="51539"/>
                  </a:lnTo>
                  <a:lnTo>
                    <a:pt x="293890" y="51539"/>
                  </a:lnTo>
                  <a:lnTo>
                    <a:pt x="297430" y="51145"/>
                  </a:lnTo>
                  <a:lnTo>
                    <a:pt x="300971" y="50752"/>
                  </a:lnTo>
                  <a:lnTo>
                    <a:pt x="304119" y="50359"/>
                  </a:lnTo>
                  <a:lnTo>
                    <a:pt x="307660" y="49965"/>
                  </a:lnTo>
                  <a:lnTo>
                    <a:pt x="311200" y="49572"/>
                  </a:lnTo>
                  <a:lnTo>
                    <a:pt x="313954" y="49178"/>
                  </a:lnTo>
                  <a:lnTo>
                    <a:pt x="317102" y="48785"/>
                  </a:lnTo>
                  <a:lnTo>
                    <a:pt x="320249" y="48391"/>
                  </a:lnTo>
                  <a:lnTo>
                    <a:pt x="323003" y="47998"/>
                  </a:lnTo>
                  <a:lnTo>
                    <a:pt x="326151" y="47605"/>
                  </a:lnTo>
                  <a:lnTo>
                    <a:pt x="329691" y="47211"/>
                  </a:lnTo>
                  <a:lnTo>
                    <a:pt x="333232" y="46818"/>
                  </a:lnTo>
                  <a:lnTo>
                    <a:pt x="336380" y="46424"/>
                  </a:lnTo>
                  <a:lnTo>
                    <a:pt x="339921" y="46031"/>
                  </a:lnTo>
                  <a:lnTo>
                    <a:pt x="343461" y="45637"/>
                  </a:lnTo>
                  <a:lnTo>
                    <a:pt x="346215" y="45244"/>
                  </a:lnTo>
                  <a:lnTo>
                    <a:pt x="349363" y="44457"/>
                  </a:lnTo>
                  <a:lnTo>
                    <a:pt x="352117" y="43277"/>
                  </a:lnTo>
                  <a:lnTo>
                    <a:pt x="355264" y="41310"/>
                  </a:lnTo>
                  <a:lnTo>
                    <a:pt x="358411" y="40523"/>
                  </a:lnTo>
                  <a:lnTo>
                    <a:pt x="361952" y="39736"/>
                  </a:lnTo>
                  <a:lnTo>
                    <a:pt x="363133" y="41703"/>
                  </a:lnTo>
                  <a:lnTo>
                    <a:pt x="361952" y="42097"/>
                  </a:lnTo>
                  <a:lnTo>
                    <a:pt x="359198" y="45244"/>
                  </a:lnTo>
                  <a:lnTo>
                    <a:pt x="362739" y="44851"/>
                  </a:lnTo>
                  <a:lnTo>
                    <a:pt x="364313" y="44851"/>
                  </a:lnTo>
                  <a:lnTo>
                    <a:pt x="365100" y="46818"/>
                  </a:lnTo>
                  <a:lnTo>
                    <a:pt x="363919" y="46818"/>
                  </a:lnTo>
                  <a:lnTo>
                    <a:pt x="360772" y="47211"/>
                  </a:lnTo>
                  <a:lnTo>
                    <a:pt x="357231" y="47605"/>
                  </a:lnTo>
                  <a:lnTo>
                    <a:pt x="354084" y="47998"/>
                  </a:lnTo>
                  <a:lnTo>
                    <a:pt x="351330" y="48391"/>
                  </a:lnTo>
                  <a:lnTo>
                    <a:pt x="348182" y="48785"/>
                  </a:lnTo>
                  <a:lnTo>
                    <a:pt x="344641" y="49178"/>
                  </a:lnTo>
                  <a:lnTo>
                    <a:pt x="341494" y="49572"/>
                  </a:lnTo>
                  <a:lnTo>
                    <a:pt x="337953" y="49965"/>
                  </a:lnTo>
                  <a:lnTo>
                    <a:pt x="334412" y="50752"/>
                  </a:lnTo>
                  <a:lnTo>
                    <a:pt x="337953" y="51145"/>
                  </a:lnTo>
                  <a:lnTo>
                    <a:pt x="341101" y="50752"/>
                  </a:lnTo>
                  <a:lnTo>
                    <a:pt x="344641" y="50752"/>
                  </a:lnTo>
                  <a:lnTo>
                    <a:pt x="348182" y="50359"/>
                  </a:lnTo>
                  <a:lnTo>
                    <a:pt x="351723" y="50359"/>
                  </a:lnTo>
                  <a:lnTo>
                    <a:pt x="355264" y="50752"/>
                  </a:lnTo>
                  <a:lnTo>
                    <a:pt x="361165" y="50752"/>
                  </a:lnTo>
                  <a:lnTo>
                    <a:pt x="364313" y="51145"/>
                  </a:lnTo>
                  <a:lnTo>
                    <a:pt x="367460" y="51539"/>
                  </a:lnTo>
                  <a:lnTo>
                    <a:pt x="364706" y="51932"/>
                  </a:lnTo>
                  <a:lnTo>
                    <a:pt x="354871" y="51932"/>
                  </a:lnTo>
                  <a:lnTo>
                    <a:pt x="351723" y="52326"/>
                  </a:lnTo>
                  <a:lnTo>
                    <a:pt x="342674" y="52326"/>
                  </a:lnTo>
                  <a:lnTo>
                    <a:pt x="339527" y="52719"/>
                  </a:lnTo>
                  <a:lnTo>
                    <a:pt x="335986" y="52719"/>
                  </a:lnTo>
                  <a:lnTo>
                    <a:pt x="332445" y="53113"/>
                  </a:lnTo>
                  <a:lnTo>
                    <a:pt x="325757" y="53113"/>
                  </a:lnTo>
                  <a:lnTo>
                    <a:pt x="322216" y="54293"/>
                  </a:lnTo>
                  <a:lnTo>
                    <a:pt x="319462" y="54686"/>
                  </a:lnTo>
                  <a:lnTo>
                    <a:pt x="315921" y="54686"/>
                  </a:lnTo>
                  <a:lnTo>
                    <a:pt x="312381" y="55080"/>
                  </a:lnTo>
                  <a:lnTo>
                    <a:pt x="308840" y="55080"/>
                  </a:lnTo>
                  <a:lnTo>
                    <a:pt x="305299" y="55473"/>
                  </a:lnTo>
                  <a:lnTo>
                    <a:pt x="301758" y="55867"/>
                  </a:lnTo>
                  <a:lnTo>
                    <a:pt x="298217" y="56260"/>
                  </a:lnTo>
                  <a:lnTo>
                    <a:pt x="294677" y="56260"/>
                  </a:lnTo>
                  <a:lnTo>
                    <a:pt x="291922" y="56653"/>
                  </a:lnTo>
                  <a:lnTo>
                    <a:pt x="288382" y="56653"/>
                  </a:lnTo>
                  <a:lnTo>
                    <a:pt x="284841" y="57047"/>
                  </a:lnTo>
                  <a:lnTo>
                    <a:pt x="281693" y="57440"/>
                  </a:lnTo>
                  <a:lnTo>
                    <a:pt x="278153" y="57834"/>
                  </a:lnTo>
                  <a:lnTo>
                    <a:pt x="274612" y="57834"/>
                  </a:lnTo>
                  <a:lnTo>
                    <a:pt x="271071" y="58227"/>
                  </a:lnTo>
                  <a:lnTo>
                    <a:pt x="267530" y="58621"/>
                  </a:lnTo>
                  <a:lnTo>
                    <a:pt x="264383" y="59407"/>
                  </a:lnTo>
                  <a:lnTo>
                    <a:pt x="267530" y="61375"/>
                  </a:lnTo>
                  <a:lnTo>
                    <a:pt x="270284" y="62948"/>
                  </a:lnTo>
                  <a:lnTo>
                    <a:pt x="273431" y="64915"/>
                  </a:lnTo>
                  <a:lnTo>
                    <a:pt x="276185" y="66096"/>
                  </a:lnTo>
                  <a:lnTo>
                    <a:pt x="283267" y="67669"/>
                  </a:lnTo>
                  <a:lnTo>
                    <a:pt x="282874" y="67669"/>
                  </a:lnTo>
                  <a:lnTo>
                    <a:pt x="280120" y="69636"/>
                  </a:lnTo>
                  <a:lnTo>
                    <a:pt x="262416" y="66096"/>
                  </a:lnTo>
                  <a:lnTo>
                    <a:pt x="260842" y="65702"/>
                  </a:lnTo>
                  <a:lnTo>
                    <a:pt x="257694" y="64522"/>
                  </a:lnTo>
                  <a:lnTo>
                    <a:pt x="254940" y="62948"/>
                  </a:lnTo>
                  <a:lnTo>
                    <a:pt x="251793" y="60981"/>
                  </a:lnTo>
                  <a:lnTo>
                    <a:pt x="249039" y="60194"/>
                  </a:lnTo>
                  <a:lnTo>
                    <a:pt x="246285" y="59801"/>
                  </a:lnTo>
                  <a:lnTo>
                    <a:pt x="230548" y="59801"/>
                  </a:lnTo>
                  <a:lnTo>
                    <a:pt x="226614" y="60194"/>
                  </a:lnTo>
                  <a:lnTo>
                    <a:pt x="223860" y="59801"/>
                  </a:lnTo>
                  <a:lnTo>
                    <a:pt x="220712" y="59407"/>
                  </a:lnTo>
                  <a:lnTo>
                    <a:pt x="217958" y="59014"/>
                  </a:lnTo>
                  <a:lnTo>
                    <a:pt x="214811" y="58621"/>
                  </a:lnTo>
                  <a:lnTo>
                    <a:pt x="211663" y="58227"/>
                  </a:lnTo>
                  <a:lnTo>
                    <a:pt x="208909" y="58621"/>
                  </a:lnTo>
                  <a:lnTo>
                    <a:pt x="205762" y="58621"/>
                  </a:lnTo>
                  <a:lnTo>
                    <a:pt x="202615" y="59014"/>
                  </a:lnTo>
                  <a:lnTo>
                    <a:pt x="199467" y="60588"/>
                  </a:lnTo>
                  <a:lnTo>
                    <a:pt x="196713" y="62161"/>
                  </a:lnTo>
                  <a:lnTo>
                    <a:pt x="193959" y="63342"/>
                  </a:lnTo>
                  <a:lnTo>
                    <a:pt x="194353" y="66489"/>
                  </a:lnTo>
                  <a:lnTo>
                    <a:pt x="193566" y="67276"/>
                  </a:lnTo>
                  <a:lnTo>
                    <a:pt x="192386" y="67276"/>
                  </a:lnTo>
                  <a:lnTo>
                    <a:pt x="189238" y="69243"/>
                  </a:lnTo>
                  <a:lnTo>
                    <a:pt x="188058" y="71997"/>
                  </a:lnTo>
                  <a:lnTo>
                    <a:pt x="190025" y="72390"/>
                  </a:lnTo>
                  <a:lnTo>
                    <a:pt x="187271" y="76718"/>
                  </a:lnTo>
                  <a:lnTo>
                    <a:pt x="183730" y="74751"/>
                  </a:lnTo>
                  <a:lnTo>
                    <a:pt x="180583" y="74358"/>
                  </a:lnTo>
                  <a:lnTo>
                    <a:pt x="177829" y="74751"/>
                  </a:lnTo>
                  <a:lnTo>
                    <a:pt x="174681" y="75144"/>
                  </a:lnTo>
                  <a:lnTo>
                    <a:pt x="171534" y="76718"/>
                  </a:lnTo>
                  <a:lnTo>
                    <a:pt x="168386" y="75931"/>
                  </a:lnTo>
                  <a:lnTo>
                    <a:pt x="165632" y="76325"/>
                  </a:lnTo>
                  <a:lnTo>
                    <a:pt x="162485" y="77505"/>
                  </a:lnTo>
                  <a:lnTo>
                    <a:pt x="159731" y="77112"/>
                  </a:lnTo>
                  <a:lnTo>
                    <a:pt x="162879" y="75538"/>
                  </a:lnTo>
                  <a:lnTo>
                    <a:pt x="166026" y="75144"/>
                  </a:lnTo>
                  <a:lnTo>
                    <a:pt x="169173" y="74358"/>
                  </a:lnTo>
                  <a:lnTo>
                    <a:pt x="171927" y="72784"/>
                  </a:lnTo>
                  <a:lnTo>
                    <a:pt x="175075" y="70817"/>
                  </a:lnTo>
                  <a:lnTo>
                    <a:pt x="178222" y="69243"/>
                  </a:lnTo>
                  <a:lnTo>
                    <a:pt x="180976" y="67669"/>
                  </a:lnTo>
                  <a:lnTo>
                    <a:pt x="177829" y="68063"/>
                  </a:lnTo>
                  <a:lnTo>
                    <a:pt x="175075" y="68850"/>
                  </a:lnTo>
                  <a:lnTo>
                    <a:pt x="172321" y="69243"/>
                  </a:lnTo>
                  <a:lnTo>
                    <a:pt x="169173" y="69636"/>
                  </a:lnTo>
                  <a:lnTo>
                    <a:pt x="171927" y="69243"/>
                  </a:lnTo>
                  <a:lnTo>
                    <a:pt x="175075" y="68456"/>
                  </a:lnTo>
                  <a:lnTo>
                    <a:pt x="177829" y="67669"/>
                  </a:lnTo>
                  <a:lnTo>
                    <a:pt x="180976" y="67276"/>
                  </a:lnTo>
                  <a:lnTo>
                    <a:pt x="180189" y="65702"/>
                  </a:lnTo>
                  <a:lnTo>
                    <a:pt x="177042" y="64128"/>
                  </a:lnTo>
                  <a:lnTo>
                    <a:pt x="175075" y="64128"/>
                  </a:lnTo>
                  <a:lnTo>
                    <a:pt x="170747" y="62948"/>
                  </a:lnTo>
                  <a:lnTo>
                    <a:pt x="171141" y="62555"/>
                  </a:lnTo>
                  <a:lnTo>
                    <a:pt x="174288" y="62161"/>
                  </a:lnTo>
                  <a:lnTo>
                    <a:pt x="177042" y="61768"/>
                  </a:lnTo>
                  <a:lnTo>
                    <a:pt x="179796" y="59407"/>
                  </a:lnTo>
                  <a:lnTo>
                    <a:pt x="179796" y="56653"/>
                  </a:lnTo>
                  <a:lnTo>
                    <a:pt x="176255" y="56260"/>
                  </a:lnTo>
                  <a:lnTo>
                    <a:pt x="173108" y="56260"/>
                  </a:lnTo>
                  <a:lnTo>
                    <a:pt x="169960" y="55867"/>
                  </a:lnTo>
                  <a:lnTo>
                    <a:pt x="166813" y="56260"/>
                  </a:lnTo>
                  <a:lnTo>
                    <a:pt x="163665" y="56653"/>
                  </a:lnTo>
                  <a:lnTo>
                    <a:pt x="160518" y="58621"/>
                  </a:lnTo>
                  <a:lnTo>
                    <a:pt x="162485" y="60194"/>
                  </a:lnTo>
                  <a:lnTo>
                    <a:pt x="154223" y="57440"/>
                  </a:lnTo>
                  <a:lnTo>
                    <a:pt x="155403" y="57047"/>
                  </a:lnTo>
                  <a:lnTo>
                    <a:pt x="153043" y="57047"/>
                  </a:lnTo>
                  <a:lnTo>
                    <a:pt x="152649" y="57047"/>
                  </a:lnTo>
                  <a:lnTo>
                    <a:pt x="155403" y="55867"/>
                  </a:lnTo>
                  <a:lnTo>
                    <a:pt x="151863" y="53506"/>
                  </a:lnTo>
                  <a:lnTo>
                    <a:pt x="148715" y="53899"/>
                  </a:lnTo>
                  <a:lnTo>
                    <a:pt x="145961" y="53899"/>
                  </a:lnTo>
                  <a:lnTo>
                    <a:pt x="143994" y="54293"/>
                  </a:lnTo>
                  <a:lnTo>
                    <a:pt x="142420" y="53899"/>
                  </a:lnTo>
                  <a:lnTo>
                    <a:pt x="128650" y="46818"/>
                  </a:lnTo>
                  <a:lnTo>
                    <a:pt x="127077" y="43670"/>
                  </a:lnTo>
                  <a:lnTo>
                    <a:pt x="123929" y="42097"/>
                  </a:lnTo>
                  <a:lnTo>
                    <a:pt x="126683" y="41703"/>
                  </a:lnTo>
                  <a:lnTo>
                    <a:pt x="124716" y="38949"/>
                  </a:lnTo>
                  <a:lnTo>
                    <a:pt x="121569" y="38556"/>
                  </a:lnTo>
                  <a:lnTo>
                    <a:pt x="118421" y="37769"/>
                  </a:lnTo>
                  <a:lnTo>
                    <a:pt x="115274" y="37376"/>
                  </a:lnTo>
                  <a:lnTo>
                    <a:pt x="112127" y="36982"/>
                  </a:lnTo>
                  <a:lnTo>
                    <a:pt x="109373" y="36589"/>
                  </a:lnTo>
                  <a:lnTo>
                    <a:pt x="107799" y="36589"/>
                  </a:lnTo>
                  <a:lnTo>
                    <a:pt x="104258" y="36195"/>
                  </a:lnTo>
                  <a:lnTo>
                    <a:pt x="103471" y="36589"/>
                  </a:lnTo>
                  <a:lnTo>
                    <a:pt x="96783" y="36589"/>
                  </a:lnTo>
                  <a:lnTo>
                    <a:pt x="95209" y="36589"/>
                  </a:lnTo>
                  <a:lnTo>
                    <a:pt x="92455" y="36589"/>
                  </a:lnTo>
                  <a:lnTo>
                    <a:pt x="90095" y="36982"/>
                  </a:lnTo>
                  <a:lnTo>
                    <a:pt x="86947" y="38162"/>
                  </a:lnTo>
                  <a:lnTo>
                    <a:pt x="87341" y="38556"/>
                  </a:lnTo>
                  <a:lnTo>
                    <a:pt x="81046" y="42097"/>
                  </a:lnTo>
                  <a:lnTo>
                    <a:pt x="75931" y="44851"/>
                  </a:lnTo>
                  <a:lnTo>
                    <a:pt x="75144" y="44851"/>
                  </a:lnTo>
                  <a:lnTo>
                    <a:pt x="71604" y="43277"/>
                  </a:lnTo>
                  <a:lnTo>
                    <a:pt x="68850" y="42883"/>
                  </a:lnTo>
                  <a:lnTo>
                    <a:pt x="65309" y="43277"/>
                  </a:lnTo>
                  <a:lnTo>
                    <a:pt x="61768" y="43670"/>
                  </a:lnTo>
                  <a:lnTo>
                    <a:pt x="58621" y="44851"/>
                  </a:lnTo>
                  <a:lnTo>
                    <a:pt x="55867" y="45244"/>
                  </a:lnTo>
                  <a:lnTo>
                    <a:pt x="58621" y="46031"/>
                  </a:lnTo>
                  <a:lnTo>
                    <a:pt x="55867" y="46424"/>
                  </a:lnTo>
                  <a:lnTo>
                    <a:pt x="52719" y="46818"/>
                  </a:lnTo>
                  <a:lnTo>
                    <a:pt x="55867" y="47998"/>
                  </a:lnTo>
                  <a:lnTo>
                    <a:pt x="59014" y="47998"/>
                  </a:lnTo>
                  <a:lnTo>
                    <a:pt x="61768" y="47605"/>
                  </a:lnTo>
                  <a:lnTo>
                    <a:pt x="58621" y="47998"/>
                  </a:lnTo>
                  <a:lnTo>
                    <a:pt x="61374" y="49178"/>
                  </a:lnTo>
                  <a:lnTo>
                    <a:pt x="64522" y="49572"/>
                  </a:lnTo>
                  <a:lnTo>
                    <a:pt x="66096" y="49178"/>
                  </a:lnTo>
                  <a:lnTo>
                    <a:pt x="64915" y="49965"/>
                  </a:lnTo>
                  <a:lnTo>
                    <a:pt x="62948" y="49965"/>
                  </a:lnTo>
                  <a:lnTo>
                    <a:pt x="64128" y="50752"/>
                  </a:lnTo>
                  <a:lnTo>
                    <a:pt x="60981" y="53113"/>
                  </a:lnTo>
                  <a:lnTo>
                    <a:pt x="57047" y="53113"/>
                  </a:lnTo>
                  <a:lnTo>
                    <a:pt x="53899" y="52326"/>
                  </a:lnTo>
                  <a:lnTo>
                    <a:pt x="51145" y="51932"/>
                  </a:lnTo>
                  <a:lnTo>
                    <a:pt x="47998" y="52326"/>
                  </a:lnTo>
                  <a:lnTo>
                    <a:pt x="42097" y="52326"/>
                  </a:lnTo>
                  <a:lnTo>
                    <a:pt x="38556" y="52719"/>
                  </a:lnTo>
                  <a:lnTo>
                    <a:pt x="35015" y="52326"/>
                  </a:lnTo>
                  <a:lnTo>
                    <a:pt x="31867" y="54293"/>
                  </a:lnTo>
                  <a:lnTo>
                    <a:pt x="29114" y="54686"/>
                  </a:lnTo>
                  <a:lnTo>
                    <a:pt x="31867" y="55080"/>
                  </a:lnTo>
                  <a:lnTo>
                    <a:pt x="35015" y="56653"/>
                  </a:lnTo>
                  <a:lnTo>
                    <a:pt x="31867" y="57047"/>
                  </a:lnTo>
                  <a:lnTo>
                    <a:pt x="29507" y="57047"/>
                  </a:lnTo>
                  <a:lnTo>
                    <a:pt x="26360" y="57047"/>
                  </a:lnTo>
                  <a:lnTo>
                    <a:pt x="22819" y="57440"/>
                  </a:lnTo>
                  <a:lnTo>
                    <a:pt x="19278" y="57834"/>
                  </a:lnTo>
                  <a:lnTo>
                    <a:pt x="13770" y="57834"/>
                  </a:lnTo>
                  <a:lnTo>
                    <a:pt x="16524" y="58227"/>
                  </a:lnTo>
                  <a:lnTo>
                    <a:pt x="13770" y="59014"/>
                  </a:lnTo>
                  <a:lnTo>
                    <a:pt x="16917" y="59407"/>
                  </a:lnTo>
                  <a:lnTo>
                    <a:pt x="19671" y="60194"/>
                  </a:lnTo>
                  <a:lnTo>
                    <a:pt x="22819" y="60588"/>
                  </a:lnTo>
                  <a:lnTo>
                    <a:pt x="25966" y="60194"/>
                  </a:lnTo>
                  <a:lnTo>
                    <a:pt x="29507" y="59801"/>
                  </a:lnTo>
                  <a:lnTo>
                    <a:pt x="32654" y="60194"/>
                  </a:lnTo>
                  <a:lnTo>
                    <a:pt x="35408" y="59801"/>
                  </a:lnTo>
                  <a:lnTo>
                    <a:pt x="32654" y="60194"/>
                  </a:lnTo>
                  <a:lnTo>
                    <a:pt x="29900" y="60588"/>
                  </a:lnTo>
                  <a:lnTo>
                    <a:pt x="33048" y="62161"/>
                  </a:lnTo>
                  <a:lnTo>
                    <a:pt x="36589" y="61768"/>
                  </a:lnTo>
                  <a:lnTo>
                    <a:pt x="39343" y="61375"/>
                  </a:lnTo>
                  <a:lnTo>
                    <a:pt x="42884" y="60981"/>
                  </a:lnTo>
                  <a:lnTo>
                    <a:pt x="46424" y="60588"/>
                  </a:lnTo>
                  <a:lnTo>
                    <a:pt x="49178" y="59801"/>
                  </a:lnTo>
                  <a:lnTo>
                    <a:pt x="51539" y="60194"/>
                  </a:lnTo>
                  <a:lnTo>
                    <a:pt x="50359" y="61375"/>
                  </a:lnTo>
                  <a:lnTo>
                    <a:pt x="49178" y="61375"/>
                  </a:lnTo>
                  <a:lnTo>
                    <a:pt x="46031" y="61768"/>
                  </a:lnTo>
                  <a:lnTo>
                    <a:pt x="42884" y="62161"/>
                  </a:lnTo>
                  <a:lnTo>
                    <a:pt x="45244" y="64522"/>
                  </a:lnTo>
                  <a:lnTo>
                    <a:pt x="42097" y="64522"/>
                  </a:lnTo>
                  <a:lnTo>
                    <a:pt x="38949" y="63735"/>
                  </a:lnTo>
                  <a:lnTo>
                    <a:pt x="35802" y="63342"/>
                  </a:lnTo>
                  <a:lnTo>
                    <a:pt x="33048" y="63735"/>
                  </a:lnTo>
                  <a:lnTo>
                    <a:pt x="27147" y="63735"/>
                  </a:lnTo>
                  <a:lnTo>
                    <a:pt x="23999" y="63342"/>
                  </a:lnTo>
                  <a:lnTo>
                    <a:pt x="20852" y="62948"/>
                  </a:lnTo>
                  <a:lnTo>
                    <a:pt x="17311" y="62555"/>
                  </a:lnTo>
                  <a:lnTo>
                    <a:pt x="14557" y="61768"/>
                  </a:lnTo>
                  <a:lnTo>
                    <a:pt x="11016" y="60981"/>
                  </a:lnTo>
                  <a:lnTo>
                    <a:pt x="8262" y="60981"/>
                  </a:lnTo>
                  <a:lnTo>
                    <a:pt x="5114" y="61375"/>
                  </a:lnTo>
                  <a:lnTo>
                    <a:pt x="8262" y="62948"/>
                  </a:lnTo>
                  <a:lnTo>
                    <a:pt x="5114" y="63342"/>
                  </a:lnTo>
                  <a:lnTo>
                    <a:pt x="3541" y="64128"/>
                  </a:lnTo>
                  <a:lnTo>
                    <a:pt x="6688" y="65702"/>
                  </a:lnTo>
                  <a:lnTo>
                    <a:pt x="9442" y="66096"/>
                  </a:lnTo>
                  <a:lnTo>
                    <a:pt x="5901" y="66489"/>
                  </a:lnTo>
                  <a:lnTo>
                    <a:pt x="3147" y="66489"/>
                  </a:lnTo>
                  <a:lnTo>
                    <a:pt x="0" y="66882"/>
                  </a:lnTo>
                  <a:lnTo>
                    <a:pt x="3147" y="67276"/>
                  </a:lnTo>
                  <a:lnTo>
                    <a:pt x="1967" y="71604"/>
                  </a:lnTo>
                  <a:close/>
                  <a:moveTo>
                    <a:pt x="212450" y="88127"/>
                  </a:moveTo>
                  <a:lnTo>
                    <a:pt x="210876" y="87341"/>
                  </a:lnTo>
                  <a:lnTo>
                    <a:pt x="214024" y="88914"/>
                  </a:lnTo>
                  <a:lnTo>
                    <a:pt x="212450" y="88127"/>
                  </a:lnTo>
                  <a:close/>
                  <a:moveTo>
                    <a:pt x="48391" y="146748"/>
                  </a:moveTo>
                  <a:lnTo>
                    <a:pt x="51145" y="145961"/>
                  </a:lnTo>
                  <a:lnTo>
                    <a:pt x="54293" y="145568"/>
                  </a:lnTo>
                  <a:lnTo>
                    <a:pt x="51539" y="147141"/>
                  </a:lnTo>
                  <a:lnTo>
                    <a:pt x="50359" y="148715"/>
                  </a:lnTo>
                  <a:lnTo>
                    <a:pt x="46031" y="149502"/>
                  </a:lnTo>
                  <a:lnTo>
                    <a:pt x="48391" y="146748"/>
                  </a:lnTo>
                  <a:close/>
                  <a:moveTo>
                    <a:pt x="533486" y="40523"/>
                  </a:moveTo>
                  <a:lnTo>
                    <a:pt x="531519" y="40916"/>
                  </a:lnTo>
                  <a:lnTo>
                    <a:pt x="527585" y="41310"/>
                  </a:lnTo>
                  <a:lnTo>
                    <a:pt x="527978" y="41310"/>
                  </a:lnTo>
                  <a:lnTo>
                    <a:pt x="534273" y="40523"/>
                  </a:lnTo>
                  <a:lnTo>
                    <a:pt x="533486" y="40523"/>
                  </a:lnTo>
                  <a:close/>
                  <a:moveTo>
                    <a:pt x="299004" y="73177"/>
                  </a:moveTo>
                  <a:lnTo>
                    <a:pt x="302151" y="73177"/>
                  </a:lnTo>
                  <a:lnTo>
                    <a:pt x="305299" y="72784"/>
                  </a:lnTo>
                  <a:lnTo>
                    <a:pt x="303725" y="74358"/>
                  </a:lnTo>
                  <a:lnTo>
                    <a:pt x="299004" y="73177"/>
                  </a:lnTo>
                  <a:lnTo>
                    <a:pt x="299004" y="73177"/>
                  </a:lnTo>
                  <a:close/>
                  <a:moveTo>
                    <a:pt x="187271" y="76325"/>
                  </a:moveTo>
                  <a:lnTo>
                    <a:pt x="185697" y="78685"/>
                  </a:lnTo>
                  <a:lnTo>
                    <a:pt x="184124" y="79079"/>
                  </a:lnTo>
                  <a:lnTo>
                    <a:pt x="187271" y="7632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4" name="Freeform: Shape 2558">
              <a:extLst>
                <a:ext uri="{FF2B5EF4-FFF2-40B4-BE49-F238E27FC236}">
                  <a16:creationId xmlns:a16="http://schemas.microsoft.com/office/drawing/2014/main" id="{7887EB82-E35A-4BD4-849B-AF88121FD7A3}"/>
                </a:ext>
              </a:extLst>
            </p:cNvPr>
            <p:cNvSpPr/>
            <p:nvPr/>
          </p:nvSpPr>
          <p:spPr>
            <a:xfrm>
              <a:off x="4359809" y="1214445"/>
              <a:ext cx="7869" cy="3934"/>
            </a:xfrm>
            <a:custGeom>
              <a:avLst/>
              <a:gdLst>
                <a:gd name="connsiteX0" fmla="*/ 5901 w 7868"/>
                <a:gd name="connsiteY0" fmla="*/ 3147 h 0"/>
                <a:gd name="connsiteX1" fmla="*/ 8655 w 7868"/>
                <a:gd name="connsiteY1" fmla="*/ 0 h 0"/>
                <a:gd name="connsiteX2" fmla="*/ 5901 w 7868"/>
                <a:gd name="connsiteY2" fmla="*/ 0 h 0"/>
                <a:gd name="connsiteX3" fmla="*/ 3147 w 7868"/>
                <a:gd name="connsiteY3" fmla="*/ 0 h 0"/>
                <a:gd name="connsiteX4" fmla="*/ 0 w 7868"/>
                <a:gd name="connsiteY4" fmla="*/ 1967 h 0"/>
                <a:gd name="connsiteX5" fmla="*/ 3147 w 7868"/>
                <a:gd name="connsiteY5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5901" y="3147"/>
                  </a:moveTo>
                  <a:lnTo>
                    <a:pt x="8655" y="0"/>
                  </a:lnTo>
                  <a:lnTo>
                    <a:pt x="5901" y="0"/>
                  </a:lnTo>
                  <a:lnTo>
                    <a:pt x="3147" y="0"/>
                  </a:lnTo>
                  <a:lnTo>
                    <a:pt x="0" y="1967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5" name="Freeform: Shape 2559">
              <a:extLst>
                <a:ext uri="{FF2B5EF4-FFF2-40B4-BE49-F238E27FC236}">
                  <a16:creationId xmlns:a16="http://schemas.microsoft.com/office/drawing/2014/main" id="{EE8318B1-55CB-4CDB-AF38-64D974E37014}"/>
                </a:ext>
              </a:extLst>
            </p:cNvPr>
            <p:cNvSpPr/>
            <p:nvPr/>
          </p:nvSpPr>
          <p:spPr>
            <a:xfrm>
              <a:off x="4261846" y="1175496"/>
              <a:ext cx="62948" cy="23606"/>
            </a:xfrm>
            <a:custGeom>
              <a:avLst/>
              <a:gdLst>
                <a:gd name="connsiteX0" fmla="*/ 12196 w 62948"/>
                <a:gd name="connsiteY0" fmla="*/ 18098 h 23605"/>
                <a:gd name="connsiteX1" fmla="*/ 6295 w 62948"/>
                <a:gd name="connsiteY1" fmla="*/ 18098 h 23605"/>
                <a:gd name="connsiteX2" fmla="*/ 3541 w 62948"/>
                <a:gd name="connsiteY2" fmla="*/ 17704 h 23605"/>
                <a:gd name="connsiteX3" fmla="*/ 0 w 62948"/>
                <a:gd name="connsiteY3" fmla="*/ 18884 h 23605"/>
                <a:gd name="connsiteX4" fmla="*/ 3147 w 62948"/>
                <a:gd name="connsiteY4" fmla="*/ 20065 h 23605"/>
                <a:gd name="connsiteX5" fmla="*/ 5901 w 62948"/>
                <a:gd name="connsiteY5" fmla="*/ 21638 h 23605"/>
                <a:gd name="connsiteX6" fmla="*/ 8655 w 62948"/>
                <a:gd name="connsiteY6" fmla="*/ 22032 h 23605"/>
                <a:gd name="connsiteX7" fmla="*/ 5901 w 62948"/>
                <a:gd name="connsiteY7" fmla="*/ 23606 h 23605"/>
                <a:gd name="connsiteX8" fmla="*/ 7869 w 62948"/>
                <a:gd name="connsiteY8" fmla="*/ 25573 h 23605"/>
                <a:gd name="connsiteX9" fmla="*/ 10623 w 62948"/>
                <a:gd name="connsiteY9" fmla="*/ 24786 h 23605"/>
                <a:gd name="connsiteX10" fmla="*/ 13770 w 62948"/>
                <a:gd name="connsiteY10" fmla="*/ 23999 h 23605"/>
                <a:gd name="connsiteX11" fmla="*/ 16917 w 62948"/>
                <a:gd name="connsiteY11" fmla="*/ 23999 h 23605"/>
                <a:gd name="connsiteX12" fmla="*/ 13770 w 62948"/>
                <a:gd name="connsiteY12" fmla="*/ 23606 h 23605"/>
                <a:gd name="connsiteX13" fmla="*/ 16524 w 62948"/>
                <a:gd name="connsiteY13" fmla="*/ 23212 h 23605"/>
                <a:gd name="connsiteX14" fmla="*/ 19278 w 62948"/>
                <a:gd name="connsiteY14" fmla="*/ 22819 h 23605"/>
                <a:gd name="connsiteX15" fmla="*/ 22425 w 62948"/>
                <a:gd name="connsiteY15" fmla="*/ 23606 h 23605"/>
                <a:gd name="connsiteX16" fmla="*/ 25966 w 62948"/>
                <a:gd name="connsiteY16" fmla="*/ 23212 h 23605"/>
                <a:gd name="connsiteX17" fmla="*/ 28720 w 62948"/>
                <a:gd name="connsiteY17" fmla="*/ 22819 h 23605"/>
                <a:gd name="connsiteX18" fmla="*/ 31868 w 62948"/>
                <a:gd name="connsiteY18" fmla="*/ 22819 h 23605"/>
                <a:gd name="connsiteX19" fmla="*/ 35408 w 62948"/>
                <a:gd name="connsiteY19" fmla="*/ 22032 h 23605"/>
                <a:gd name="connsiteX20" fmla="*/ 38162 w 62948"/>
                <a:gd name="connsiteY20" fmla="*/ 21638 h 23605"/>
                <a:gd name="connsiteX21" fmla="*/ 41310 w 62948"/>
                <a:gd name="connsiteY21" fmla="*/ 21638 h 23605"/>
                <a:gd name="connsiteX22" fmla="*/ 44851 w 62948"/>
                <a:gd name="connsiteY22" fmla="*/ 20852 h 23605"/>
                <a:gd name="connsiteX23" fmla="*/ 47605 w 62948"/>
                <a:gd name="connsiteY23" fmla="*/ 21245 h 23605"/>
                <a:gd name="connsiteX24" fmla="*/ 50359 w 62948"/>
                <a:gd name="connsiteY24" fmla="*/ 20458 h 23605"/>
                <a:gd name="connsiteX25" fmla="*/ 53113 w 62948"/>
                <a:gd name="connsiteY25" fmla="*/ 19671 h 23605"/>
                <a:gd name="connsiteX26" fmla="*/ 56654 w 62948"/>
                <a:gd name="connsiteY26" fmla="*/ 17704 h 23605"/>
                <a:gd name="connsiteX27" fmla="*/ 54293 w 62948"/>
                <a:gd name="connsiteY27" fmla="*/ 14557 h 23605"/>
                <a:gd name="connsiteX28" fmla="*/ 51145 w 62948"/>
                <a:gd name="connsiteY28" fmla="*/ 14557 h 23605"/>
                <a:gd name="connsiteX29" fmla="*/ 54293 w 62948"/>
                <a:gd name="connsiteY29" fmla="*/ 13770 h 23605"/>
                <a:gd name="connsiteX30" fmla="*/ 57440 w 62948"/>
                <a:gd name="connsiteY30" fmla="*/ 13376 h 23605"/>
                <a:gd name="connsiteX31" fmla="*/ 60194 w 62948"/>
                <a:gd name="connsiteY31" fmla="*/ 12590 h 23605"/>
                <a:gd name="connsiteX32" fmla="*/ 63342 w 62948"/>
                <a:gd name="connsiteY32" fmla="*/ 12196 h 23605"/>
                <a:gd name="connsiteX33" fmla="*/ 66489 w 62948"/>
                <a:gd name="connsiteY33" fmla="*/ 11409 h 23605"/>
                <a:gd name="connsiteX34" fmla="*/ 63342 w 62948"/>
                <a:gd name="connsiteY34" fmla="*/ 9049 h 23605"/>
                <a:gd name="connsiteX35" fmla="*/ 60194 w 62948"/>
                <a:gd name="connsiteY35" fmla="*/ 7869 h 23605"/>
                <a:gd name="connsiteX36" fmla="*/ 57047 w 62948"/>
                <a:gd name="connsiteY36" fmla="*/ 7475 h 23605"/>
                <a:gd name="connsiteX37" fmla="*/ 54293 w 62948"/>
                <a:gd name="connsiteY37" fmla="*/ 7475 h 23605"/>
                <a:gd name="connsiteX38" fmla="*/ 51145 w 62948"/>
                <a:gd name="connsiteY38" fmla="*/ 7869 h 23605"/>
                <a:gd name="connsiteX39" fmla="*/ 48391 w 62948"/>
                <a:gd name="connsiteY39" fmla="*/ 7869 h 23605"/>
                <a:gd name="connsiteX40" fmla="*/ 45244 w 62948"/>
                <a:gd name="connsiteY40" fmla="*/ 7082 h 23605"/>
                <a:gd name="connsiteX41" fmla="*/ 48391 w 62948"/>
                <a:gd name="connsiteY41" fmla="*/ 5508 h 23605"/>
                <a:gd name="connsiteX42" fmla="*/ 45244 w 62948"/>
                <a:gd name="connsiteY42" fmla="*/ 3541 h 23605"/>
                <a:gd name="connsiteX43" fmla="*/ 42097 w 62948"/>
                <a:gd name="connsiteY43" fmla="*/ 3147 h 23605"/>
                <a:gd name="connsiteX44" fmla="*/ 39343 w 62948"/>
                <a:gd name="connsiteY44" fmla="*/ 3147 h 23605"/>
                <a:gd name="connsiteX45" fmla="*/ 36195 w 62948"/>
                <a:gd name="connsiteY45" fmla="*/ 1574 h 23605"/>
                <a:gd name="connsiteX46" fmla="*/ 33048 w 62948"/>
                <a:gd name="connsiteY46" fmla="*/ 1180 h 23605"/>
                <a:gd name="connsiteX47" fmla="*/ 29901 w 62948"/>
                <a:gd name="connsiteY47" fmla="*/ 393 h 23605"/>
                <a:gd name="connsiteX48" fmla="*/ 27147 w 62948"/>
                <a:gd name="connsiteY48" fmla="*/ 0 h 23605"/>
                <a:gd name="connsiteX49" fmla="*/ 18098 w 62948"/>
                <a:gd name="connsiteY49" fmla="*/ 0 h 23605"/>
                <a:gd name="connsiteX50" fmla="*/ 15344 w 62948"/>
                <a:gd name="connsiteY50" fmla="*/ 393 h 23605"/>
                <a:gd name="connsiteX51" fmla="*/ 12590 w 62948"/>
                <a:gd name="connsiteY51" fmla="*/ 1967 h 23605"/>
                <a:gd name="connsiteX52" fmla="*/ 9836 w 62948"/>
                <a:gd name="connsiteY52" fmla="*/ 3934 h 23605"/>
                <a:gd name="connsiteX53" fmla="*/ 11409 w 62948"/>
                <a:gd name="connsiteY53" fmla="*/ 6688 h 23605"/>
                <a:gd name="connsiteX54" fmla="*/ 8262 w 62948"/>
                <a:gd name="connsiteY54" fmla="*/ 7082 h 23605"/>
                <a:gd name="connsiteX55" fmla="*/ 5114 w 62948"/>
                <a:gd name="connsiteY55" fmla="*/ 6688 h 23605"/>
                <a:gd name="connsiteX56" fmla="*/ 2361 w 62948"/>
                <a:gd name="connsiteY56" fmla="*/ 8262 h 23605"/>
                <a:gd name="connsiteX57" fmla="*/ 5508 w 62948"/>
                <a:gd name="connsiteY57" fmla="*/ 10229 h 23605"/>
                <a:gd name="connsiteX58" fmla="*/ 2754 w 62948"/>
                <a:gd name="connsiteY58" fmla="*/ 12590 h 23605"/>
                <a:gd name="connsiteX59" fmla="*/ 5508 w 62948"/>
                <a:gd name="connsiteY59" fmla="*/ 13376 h 23605"/>
                <a:gd name="connsiteX60" fmla="*/ 2754 w 62948"/>
                <a:gd name="connsiteY60" fmla="*/ 14557 h 23605"/>
                <a:gd name="connsiteX61" fmla="*/ 5508 w 62948"/>
                <a:gd name="connsiteY61" fmla="*/ 14557 h 23605"/>
                <a:gd name="connsiteX62" fmla="*/ 8655 w 62948"/>
                <a:gd name="connsiteY62" fmla="*/ 15344 h 23605"/>
                <a:gd name="connsiteX63" fmla="*/ 11803 w 62948"/>
                <a:gd name="connsiteY63" fmla="*/ 14950 h 23605"/>
                <a:gd name="connsiteX64" fmla="*/ 14950 w 62948"/>
                <a:gd name="connsiteY64" fmla="*/ 15737 h 23605"/>
                <a:gd name="connsiteX65" fmla="*/ 18098 w 62948"/>
                <a:gd name="connsiteY65" fmla="*/ 16524 h 23605"/>
                <a:gd name="connsiteX66" fmla="*/ 15344 w 62948"/>
                <a:gd name="connsiteY66" fmla="*/ 18491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62948" h="23605">
                  <a:moveTo>
                    <a:pt x="12196" y="18098"/>
                  </a:moveTo>
                  <a:lnTo>
                    <a:pt x="6295" y="18098"/>
                  </a:lnTo>
                  <a:lnTo>
                    <a:pt x="3541" y="17704"/>
                  </a:lnTo>
                  <a:lnTo>
                    <a:pt x="0" y="18884"/>
                  </a:lnTo>
                  <a:lnTo>
                    <a:pt x="3147" y="20065"/>
                  </a:lnTo>
                  <a:lnTo>
                    <a:pt x="5901" y="21638"/>
                  </a:lnTo>
                  <a:lnTo>
                    <a:pt x="8655" y="22032"/>
                  </a:lnTo>
                  <a:lnTo>
                    <a:pt x="5901" y="23606"/>
                  </a:lnTo>
                  <a:lnTo>
                    <a:pt x="7869" y="25573"/>
                  </a:lnTo>
                  <a:lnTo>
                    <a:pt x="10623" y="24786"/>
                  </a:lnTo>
                  <a:lnTo>
                    <a:pt x="13770" y="23999"/>
                  </a:lnTo>
                  <a:lnTo>
                    <a:pt x="16917" y="23999"/>
                  </a:lnTo>
                  <a:lnTo>
                    <a:pt x="13770" y="23606"/>
                  </a:lnTo>
                  <a:lnTo>
                    <a:pt x="16524" y="23212"/>
                  </a:lnTo>
                  <a:lnTo>
                    <a:pt x="19278" y="22819"/>
                  </a:lnTo>
                  <a:lnTo>
                    <a:pt x="22425" y="23606"/>
                  </a:lnTo>
                  <a:lnTo>
                    <a:pt x="25966" y="23212"/>
                  </a:lnTo>
                  <a:lnTo>
                    <a:pt x="28720" y="22819"/>
                  </a:lnTo>
                  <a:lnTo>
                    <a:pt x="31868" y="22819"/>
                  </a:lnTo>
                  <a:lnTo>
                    <a:pt x="35408" y="22032"/>
                  </a:lnTo>
                  <a:lnTo>
                    <a:pt x="38162" y="21638"/>
                  </a:lnTo>
                  <a:lnTo>
                    <a:pt x="41310" y="21638"/>
                  </a:lnTo>
                  <a:lnTo>
                    <a:pt x="44851" y="20852"/>
                  </a:lnTo>
                  <a:lnTo>
                    <a:pt x="47605" y="21245"/>
                  </a:lnTo>
                  <a:lnTo>
                    <a:pt x="50359" y="20458"/>
                  </a:lnTo>
                  <a:lnTo>
                    <a:pt x="53113" y="19671"/>
                  </a:lnTo>
                  <a:lnTo>
                    <a:pt x="56654" y="17704"/>
                  </a:lnTo>
                  <a:lnTo>
                    <a:pt x="54293" y="14557"/>
                  </a:lnTo>
                  <a:lnTo>
                    <a:pt x="51145" y="14557"/>
                  </a:lnTo>
                  <a:lnTo>
                    <a:pt x="54293" y="13770"/>
                  </a:lnTo>
                  <a:lnTo>
                    <a:pt x="57440" y="13376"/>
                  </a:lnTo>
                  <a:lnTo>
                    <a:pt x="60194" y="12590"/>
                  </a:lnTo>
                  <a:lnTo>
                    <a:pt x="63342" y="12196"/>
                  </a:lnTo>
                  <a:lnTo>
                    <a:pt x="66489" y="11409"/>
                  </a:lnTo>
                  <a:lnTo>
                    <a:pt x="63342" y="9049"/>
                  </a:lnTo>
                  <a:lnTo>
                    <a:pt x="60194" y="7869"/>
                  </a:lnTo>
                  <a:lnTo>
                    <a:pt x="57047" y="7475"/>
                  </a:lnTo>
                  <a:lnTo>
                    <a:pt x="54293" y="7475"/>
                  </a:lnTo>
                  <a:lnTo>
                    <a:pt x="51145" y="7869"/>
                  </a:lnTo>
                  <a:lnTo>
                    <a:pt x="48391" y="7869"/>
                  </a:lnTo>
                  <a:lnTo>
                    <a:pt x="45244" y="7082"/>
                  </a:lnTo>
                  <a:lnTo>
                    <a:pt x="48391" y="5508"/>
                  </a:lnTo>
                  <a:lnTo>
                    <a:pt x="45244" y="3541"/>
                  </a:lnTo>
                  <a:lnTo>
                    <a:pt x="42097" y="3147"/>
                  </a:lnTo>
                  <a:lnTo>
                    <a:pt x="39343" y="3147"/>
                  </a:lnTo>
                  <a:lnTo>
                    <a:pt x="36195" y="1574"/>
                  </a:lnTo>
                  <a:lnTo>
                    <a:pt x="33048" y="1180"/>
                  </a:lnTo>
                  <a:lnTo>
                    <a:pt x="29901" y="393"/>
                  </a:lnTo>
                  <a:lnTo>
                    <a:pt x="27147" y="0"/>
                  </a:lnTo>
                  <a:lnTo>
                    <a:pt x="18098" y="0"/>
                  </a:lnTo>
                  <a:lnTo>
                    <a:pt x="15344" y="393"/>
                  </a:lnTo>
                  <a:lnTo>
                    <a:pt x="12590" y="1967"/>
                  </a:lnTo>
                  <a:lnTo>
                    <a:pt x="9836" y="3934"/>
                  </a:lnTo>
                  <a:lnTo>
                    <a:pt x="11409" y="6688"/>
                  </a:lnTo>
                  <a:lnTo>
                    <a:pt x="8262" y="7082"/>
                  </a:lnTo>
                  <a:lnTo>
                    <a:pt x="5114" y="6688"/>
                  </a:lnTo>
                  <a:lnTo>
                    <a:pt x="2361" y="8262"/>
                  </a:lnTo>
                  <a:lnTo>
                    <a:pt x="5508" y="10229"/>
                  </a:lnTo>
                  <a:lnTo>
                    <a:pt x="2754" y="12590"/>
                  </a:lnTo>
                  <a:lnTo>
                    <a:pt x="5508" y="13376"/>
                  </a:lnTo>
                  <a:lnTo>
                    <a:pt x="2754" y="14557"/>
                  </a:lnTo>
                  <a:lnTo>
                    <a:pt x="5508" y="14557"/>
                  </a:lnTo>
                  <a:lnTo>
                    <a:pt x="8655" y="15344"/>
                  </a:lnTo>
                  <a:lnTo>
                    <a:pt x="11803" y="14950"/>
                  </a:lnTo>
                  <a:lnTo>
                    <a:pt x="14950" y="15737"/>
                  </a:lnTo>
                  <a:lnTo>
                    <a:pt x="18098" y="16524"/>
                  </a:lnTo>
                  <a:lnTo>
                    <a:pt x="15344" y="1849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6" name="Freeform: Shape 2560">
              <a:extLst>
                <a:ext uri="{FF2B5EF4-FFF2-40B4-BE49-F238E27FC236}">
                  <a16:creationId xmlns:a16="http://schemas.microsoft.com/office/drawing/2014/main" id="{D2D340BA-52D4-40E8-B6ED-6C96A847CB0B}"/>
                </a:ext>
              </a:extLst>
            </p:cNvPr>
            <p:cNvSpPr/>
            <p:nvPr/>
          </p:nvSpPr>
          <p:spPr>
            <a:xfrm>
              <a:off x="4234306" y="1219166"/>
              <a:ext cx="306873" cy="66882"/>
            </a:xfrm>
            <a:custGeom>
              <a:avLst/>
              <a:gdLst>
                <a:gd name="connsiteX0" fmla="*/ 9836 w 306872"/>
                <a:gd name="connsiteY0" fmla="*/ 6295 h 66882"/>
                <a:gd name="connsiteX1" fmla="*/ 12983 w 306872"/>
                <a:gd name="connsiteY1" fmla="*/ 6295 h 66882"/>
                <a:gd name="connsiteX2" fmla="*/ 9836 w 306872"/>
                <a:gd name="connsiteY2" fmla="*/ 6688 h 66882"/>
                <a:gd name="connsiteX3" fmla="*/ 6295 w 306872"/>
                <a:gd name="connsiteY3" fmla="*/ 7869 h 66882"/>
                <a:gd name="connsiteX4" fmla="*/ 3147 w 306872"/>
                <a:gd name="connsiteY4" fmla="*/ 6295 h 66882"/>
                <a:gd name="connsiteX5" fmla="*/ 0 w 306872"/>
                <a:gd name="connsiteY5" fmla="*/ 8262 h 66882"/>
                <a:gd name="connsiteX6" fmla="*/ 3147 w 306872"/>
                <a:gd name="connsiteY6" fmla="*/ 9442 h 66882"/>
                <a:gd name="connsiteX7" fmla="*/ 6295 w 306872"/>
                <a:gd name="connsiteY7" fmla="*/ 9442 h 66882"/>
                <a:gd name="connsiteX8" fmla="*/ 9836 w 306872"/>
                <a:gd name="connsiteY8" fmla="*/ 11016 h 66882"/>
                <a:gd name="connsiteX9" fmla="*/ 12983 w 306872"/>
                <a:gd name="connsiteY9" fmla="*/ 12196 h 66882"/>
                <a:gd name="connsiteX10" fmla="*/ 15737 w 306872"/>
                <a:gd name="connsiteY10" fmla="*/ 12590 h 66882"/>
                <a:gd name="connsiteX11" fmla="*/ 18884 w 306872"/>
                <a:gd name="connsiteY11" fmla="*/ 12590 h 66882"/>
                <a:gd name="connsiteX12" fmla="*/ 21638 w 306872"/>
                <a:gd name="connsiteY12" fmla="*/ 11409 h 66882"/>
                <a:gd name="connsiteX13" fmla="*/ 18884 w 306872"/>
                <a:gd name="connsiteY13" fmla="*/ 12983 h 66882"/>
                <a:gd name="connsiteX14" fmla="*/ 15737 w 306872"/>
                <a:gd name="connsiteY14" fmla="*/ 13770 h 66882"/>
                <a:gd name="connsiteX15" fmla="*/ 12590 w 306872"/>
                <a:gd name="connsiteY15" fmla="*/ 13770 h 66882"/>
                <a:gd name="connsiteX16" fmla="*/ 9049 w 306872"/>
                <a:gd name="connsiteY16" fmla="*/ 14163 h 66882"/>
                <a:gd name="connsiteX17" fmla="*/ 9836 w 306872"/>
                <a:gd name="connsiteY17" fmla="*/ 16917 h 66882"/>
                <a:gd name="connsiteX18" fmla="*/ 12983 w 306872"/>
                <a:gd name="connsiteY18" fmla="*/ 17311 h 66882"/>
                <a:gd name="connsiteX19" fmla="*/ 16131 w 306872"/>
                <a:gd name="connsiteY19" fmla="*/ 17311 h 66882"/>
                <a:gd name="connsiteX20" fmla="*/ 19278 w 306872"/>
                <a:gd name="connsiteY20" fmla="*/ 16917 h 66882"/>
                <a:gd name="connsiteX21" fmla="*/ 22032 w 306872"/>
                <a:gd name="connsiteY21" fmla="*/ 18491 h 66882"/>
                <a:gd name="connsiteX22" fmla="*/ 25179 w 306872"/>
                <a:gd name="connsiteY22" fmla="*/ 18491 h 66882"/>
                <a:gd name="connsiteX23" fmla="*/ 27933 w 306872"/>
                <a:gd name="connsiteY23" fmla="*/ 18491 h 66882"/>
                <a:gd name="connsiteX24" fmla="*/ 25179 w 306872"/>
                <a:gd name="connsiteY24" fmla="*/ 18491 h 66882"/>
                <a:gd name="connsiteX25" fmla="*/ 22032 w 306872"/>
                <a:gd name="connsiteY25" fmla="*/ 19671 h 66882"/>
                <a:gd name="connsiteX26" fmla="*/ 18884 w 306872"/>
                <a:gd name="connsiteY26" fmla="*/ 19671 h 66882"/>
                <a:gd name="connsiteX27" fmla="*/ 15737 w 306872"/>
                <a:gd name="connsiteY27" fmla="*/ 19671 h 66882"/>
                <a:gd name="connsiteX28" fmla="*/ 18884 w 306872"/>
                <a:gd name="connsiteY28" fmla="*/ 21245 h 66882"/>
                <a:gd name="connsiteX29" fmla="*/ 22032 w 306872"/>
                <a:gd name="connsiteY29" fmla="*/ 20852 h 66882"/>
                <a:gd name="connsiteX30" fmla="*/ 25179 w 306872"/>
                <a:gd name="connsiteY30" fmla="*/ 20458 h 66882"/>
                <a:gd name="connsiteX31" fmla="*/ 28327 w 306872"/>
                <a:gd name="connsiteY31" fmla="*/ 19671 h 66882"/>
                <a:gd name="connsiteX32" fmla="*/ 31081 w 306872"/>
                <a:gd name="connsiteY32" fmla="*/ 20065 h 66882"/>
                <a:gd name="connsiteX33" fmla="*/ 37769 w 306872"/>
                <a:gd name="connsiteY33" fmla="*/ 20065 h 66882"/>
                <a:gd name="connsiteX34" fmla="*/ 40916 w 306872"/>
                <a:gd name="connsiteY34" fmla="*/ 20458 h 66882"/>
                <a:gd name="connsiteX35" fmla="*/ 44457 w 306872"/>
                <a:gd name="connsiteY35" fmla="*/ 20458 h 66882"/>
                <a:gd name="connsiteX36" fmla="*/ 56260 w 306872"/>
                <a:gd name="connsiteY36" fmla="*/ 38949 h 66882"/>
                <a:gd name="connsiteX37" fmla="*/ 54686 w 306872"/>
                <a:gd name="connsiteY37" fmla="*/ 39736 h 66882"/>
                <a:gd name="connsiteX38" fmla="*/ 51539 w 306872"/>
                <a:gd name="connsiteY38" fmla="*/ 40916 h 66882"/>
                <a:gd name="connsiteX39" fmla="*/ 48785 w 306872"/>
                <a:gd name="connsiteY39" fmla="*/ 41703 h 66882"/>
                <a:gd name="connsiteX40" fmla="*/ 45638 w 306872"/>
                <a:gd name="connsiteY40" fmla="*/ 43670 h 66882"/>
                <a:gd name="connsiteX41" fmla="*/ 42884 w 306872"/>
                <a:gd name="connsiteY41" fmla="*/ 45637 h 66882"/>
                <a:gd name="connsiteX42" fmla="*/ 41310 w 306872"/>
                <a:gd name="connsiteY42" fmla="*/ 48785 h 66882"/>
                <a:gd name="connsiteX43" fmla="*/ 44457 w 306872"/>
                <a:gd name="connsiteY43" fmla="*/ 49572 h 66882"/>
                <a:gd name="connsiteX44" fmla="*/ 47211 w 306872"/>
                <a:gd name="connsiteY44" fmla="*/ 49572 h 66882"/>
                <a:gd name="connsiteX45" fmla="*/ 44064 w 306872"/>
                <a:gd name="connsiteY45" fmla="*/ 51145 h 66882"/>
                <a:gd name="connsiteX46" fmla="*/ 40916 w 306872"/>
                <a:gd name="connsiteY46" fmla="*/ 51932 h 66882"/>
                <a:gd name="connsiteX47" fmla="*/ 40523 w 306872"/>
                <a:gd name="connsiteY47" fmla="*/ 55080 h 66882"/>
                <a:gd name="connsiteX48" fmla="*/ 37376 w 306872"/>
                <a:gd name="connsiteY48" fmla="*/ 57834 h 66882"/>
                <a:gd name="connsiteX49" fmla="*/ 38162 w 306872"/>
                <a:gd name="connsiteY49" fmla="*/ 60981 h 66882"/>
                <a:gd name="connsiteX50" fmla="*/ 41310 w 306872"/>
                <a:gd name="connsiteY50" fmla="*/ 60588 h 66882"/>
                <a:gd name="connsiteX51" fmla="*/ 44457 w 306872"/>
                <a:gd name="connsiteY51" fmla="*/ 62948 h 66882"/>
                <a:gd name="connsiteX52" fmla="*/ 47211 w 306872"/>
                <a:gd name="connsiteY52" fmla="*/ 62161 h 66882"/>
                <a:gd name="connsiteX53" fmla="*/ 50359 w 306872"/>
                <a:gd name="connsiteY53" fmla="*/ 63342 h 66882"/>
                <a:gd name="connsiteX54" fmla="*/ 51539 w 306872"/>
                <a:gd name="connsiteY54" fmla="*/ 60588 h 66882"/>
                <a:gd name="connsiteX55" fmla="*/ 54686 w 306872"/>
                <a:gd name="connsiteY55" fmla="*/ 59801 h 66882"/>
                <a:gd name="connsiteX56" fmla="*/ 57834 w 306872"/>
                <a:gd name="connsiteY56" fmla="*/ 59014 h 66882"/>
                <a:gd name="connsiteX57" fmla="*/ 60981 w 306872"/>
                <a:gd name="connsiteY57" fmla="*/ 57834 h 66882"/>
                <a:gd name="connsiteX58" fmla="*/ 63735 w 306872"/>
                <a:gd name="connsiteY58" fmla="*/ 56653 h 66882"/>
                <a:gd name="connsiteX59" fmla="*/ 60588 w 306872"/>
                <a:gd name="connsiteY59" fmla="*/ 59014 h 66882"/>
                <a:gd name="connsiteX60" fmla="*/ 57440 w 306872"/>
                <a:gd name="connsiteY60" fmla="*/ 59801 h 66882"/>
                <a:gd name="connsiteX61" fmla="*/ 60588 w 306872"/>
                <a:gd name="connsiteY61" fmla="*/ 60588 h 66882"/>
                <a:gd name="connsiteX62" fmla="*/ 60588 w 306872"/>
                <a:gd name="connsiteY62" fmla="*/ 63342 h 66882"/>
                <a:gd name="connsiteX63" fmla="*/ 64128 w 306872"/>
                <a:gd name="connsiteY63" fmla="*/ 64129 h 66882"/>
                <a:gd name="connsiteX64" fmla="*/ 67276 w 306872"/>
                <a:gd name="connsiteY64" fmla="*/ 63342 h 66882"/>
                <a:gd name="connsiteX65" fmla="*/ 70423 w 306872"/>
                <a:gd name="connsiteY65" fmla="*/ 64915 h 66882"/>
                <a:gd name="connsiteX66" fmla="*/ 72784 w 306872"/>
                <a:gd name="connsiteY66" fmla="*/ 64522 h 66882"/>
                <a:gd name="connsiteX67" fmla="*/ 75931 w 306872"/>
                <a:gd name="connsiteY67" fmla="*/ 65702 h 66882"/>
                <a:gd name="connsiteX68" fmla="*/ 78685 w 306872"/>
                <a:gd name="connsiteY68" fmla="*/ 65309 h 66882"/>
                <a:gd name="connsiteX69" fmla="*/ 81833 w 306872"/>
                <a:gd name="connsiteY69" fmla="*/ 65309 h 66882"/>
                <a:gd name="connsiteX70" fmla="*/ 84587 w 306872"/>
                <a:gd name="connsiteY70" fmla="*/ 64522 h 66882"/>
                <a:gd name="connsiteX71" fmla="*/ 87734 w 306872"/>
                <a:gd name="connsiteY71" fmla="*/ 64522 h 66882"/>
                <a:gd name="connsiteX72" fmla="*/ 90095 w 306872"/>
                <a:gd name="connsiteY72" fmla="*/ 64129 h 66882"/>
                <a:gd name="connsiteX73" fmla="*/ 103078 w 306872"/>
                <a:gd name="connsiteY73" fmla="*/ 63342 h 66882"/>
                <a:gd name="connsiteX74" fmla="*/ 100324 w 306872"/>
                <a:gd name="connsiteY74" fmla="*/ 66096 h 66882"/>
                <a:gd name="connsiteX75" fmla="*/ 103078 w 306872"/>
                <a:gd name="connsiteY75" fmla="*/ 66882 h 66882"/>
                <a:gd name="connsiteX76" fmla="*/ 106619 w 306872"/>
                <a:gd name="connsiteY76" fmla="*/ 66882 h 66882"/>
                <a:gd name="connsiteX77" fmla="*/ 109373 w 306872"/>
                <a:gd name="connsiteY77" fmla="*/ 67276 h 66882"/>
                <a:gd name="connsiteX78" fmla="*/ 112913 w 306872"/>
                <a:gd name="connsiteY78" fmla="*/ 67276 h 66882"/>
                <a:gd name="connsiteX79" fmla="*/ 116061 w 306872"/>
                <a:gd name="connsiteY79" fmla="*/ 66096 h 66882"/>
                <a:gd name="connsiteX80" fmla="*/ 119208 w 306872"/>
                <a:gd name="connsiteY80" fmla="*/ 67669 h 66882"/>
                <a:gd name="connsiteX81" fmla="*/ 121962 w 306872"/>
                <a:gd name="connsiteY81" fmla="*/ 66882 h 66882"/>
                <a:gd name="connsiteX82" fmla="*/ 125110 w 306872"/>
                <a:gd name="connsiteY82" fmla="*/ 65702 h 66882"/>
                <a:gd name="connsiteX83" fmla="*/ 128257 w 306872"/>
                <a:gd name="connsiteY83" fmla="*/ 67669 h 66882"/>
                <a:gd name="connsiteX84" fmla="*/ 131011 w 306872"/>
                <a:gd name="connsiteY84" fmla="*/ 66489 h 66882"/>
                <a:gd name="connsiteX85" fmla="*/ 134159 w 306872"/>
                <a:gd name="connsiteY85" fmla="*/ 67669 h 66882"/>
                <a:gd name="connsiteX86" fmla="*/ 137306 w 306872"/>
                <a:gd name="connsiteY86" fmla="*/ 67669 h 66882"/>
                <a:gd name="connsiteX87" fmla="*/ 137306 w 306872"/>
                <a:gd name="connsiteY87" fmla="*/ 64915 h 66882"/>
                <a:gd name="connsiteX88" fmla="*/ 140453 w 306872"/>
                <a:gd name="connsiteY88" fmla="*/ 66489 h 66882"/>
                <a:gd name="connsiteX89" fmla="*/ 143601 w 306872"/>
                <a:gd name="connsiteY89" fmla="*/ 66882 h 66882"/>
                <a:gd name="connsiteX90" fmla="*/ 146748 w 306872"/>
                <a:gd name="connsiteY90" fmla="*/ 66096 h 66882"/>
                <a:gd name="connsiteX91" fmla="*/ 149502 w 306872"/>
                <a:gd name="connsiteY91" fmla="*/ 64129 h 66882"/>
                <a:gd name="connsiteX92" fmla="*/ 149109 w 306872"/>
                <a:gd name="connsiteY92" fmla="*/ 66882 h 66882"/>
                <a:gd name="connsiteX93" fmla="*/ 152256 w 306872"/>
                <a:gd name="connsiteY93" fmla="*/ 66882 h 66882"/>
                <a:gd name="connsiteX94" fmla="*/ 155403 w 306872"/>
                <a:gd name="connsiteY94" fmla="*/ 66882 h 66882"/>
                <a:gd name="connsiteX95" fmla="*/ 158551 w 306872"/>
                <a:gd name="connsiteY95" fmla="*/ 66882 h 66882"/>
                <a:gd name="connsiteX96" fmla="*/ 161698 w 306872"/>
                <a:gd name="connsiteY96" fmla="*/ 66489 h 66882"/>
                <a:gd name="connsiteX97" fmla="*/ 164452 w 306872"/>
                <a:gd name="connsiteY97" fmla="*/ 63735 h 66882"/>
                <a:gd name="connsiteX98" fmla="*/ 164846 w 306872"/>
                <a:gd name="connsiteY98" fmla="*/ 66489 h 66882"/>
                <a:gd name="connsiteX99" fmla="*/ 167993 w 306872"/>
                <a:gd name="connsiteY99" fmla="*/ 66882 h 66882"/>
                <a:gd name="connsiteX100" fmla="*/ 170747 w 306872"/>
                <a:gd name="connsiteY100" fmla="*/ 66096 h 66882"/>
                <a:gd name="connsiteX101" fmla="*/ 173895 w 306872"/>
                <a:gd name="connsiteY101" fmla="*/ 63735 h 66882"/>
                <a:gd name="connsiteX102" fmla="*/ 177042 w 306872"/>
                <a:gd name="connsiteY102" fmla="*/ 61768 h 66882"/>
                <a:gd name="connsiteX103" fmla="*/ 174288 w 306872"/>
                <a:gd name="connsiteY103" fmla="*/ 64915 h 66882"/>
                <a:gd name="connsiteX104" fmla="*/ 177435 w 306872"/>
                <a:gd name="connsiteY104" fmla="*/ 66096 h 66882"/>
                <a:gd name="connsiteX105" fmla="*/ 180583 w 306872"/>
                <a:gd name="connsiteY105" fmla="*/ 66489 h 66882"/>
                <a:gd name="connsiteX106" fmla="*/ 183730 w 306872"/>
                <a:gd name="connsiteY106" fmla="*/ 66096 h 66882"/>
                <a:gd name="connsiteX107" fmla="*/ 186878 w 306872"/>
                <a:gd name="connsiteY107" fmla="*/ 66489 h 66882"/>
                <a:gd name="connsiteX108" fmla="*/ 190025 w 306872"/>
                <a:gd name="connsiteY108" fmla="*/ 66096 h 66882"/>
                <a:gd name="connsiteX109" fmla="*/ 193173 w 306872"/>
                <a:gd name="connsiteY109" fmla="*/ 65702 h 66882"/>
                <a:gd name="connsiteX110" fmla="*/ 196320 w 306872"/>
                <a:gd name="connsiteY110" fmla="*/ 65309 h 66882"/>
                <a:gd name="connsiteX111" fmla="*/ 202221 w 306872"/>
                <a:gd name="connsiteY111" fmla="*/ 65309 h 66882"/>
                <a:gd name="connsiteX112" fmla="*/ 204975 w 306872"/>
                <a:gd name="connsiteY112" fmla="*/ 64522 h 66882"/>
                <a:gd name="connsiteX113" fmla="*/ 208123 w 306872"/>
                <a:gd name="connsiteY113" fmla="*/ 62161 h 66882"/>
                <a:gd name="connsiteX114" fmla="*/ 211270 w 306872"/>
                <a:gd name="connsiteY114" fmla="*/ 60981 h 66882"/>
                <a:gd name="connsiteX115" fmla="*/ 211270 w 306872"/>
                <a:gd name="connsiteY115" fmla="*/ 60194 h 66882"/>
                <a:gd name="connsiteX116" fmla="*/ 216385 w 306872"/>
                <a:gd name="connsiteY116" fmla="*/ 59801 h 66882"/>
                <a:gd name="connsiteX117" fmla="*/ 215991 w 306872"/>
                <a:gd name="connsiteY117" fmla="*/ 60981 h 66882"/>
                <a:gd name="connsiteX118" fmla="*/ 214811 w 306872"/>
                <a:gd name="connsiteY118" fmla="*/ 63735 h 66882"/>
                <a:gd name="connsiteX119" fmla="*/ 217565 w 306872"/>
                <a:gd name="connsiteY119" fmla="*/ 66096 h 66882"/>
                <a:gd name="connsiteX120" fmla="*/ 220319 w 306872"/>
                <a:gd name="connsiteY120" fmla="*/ 66096 h 66882"/>
                <a:gd name="connsiteX121" fmla="*/ 223860 w 306872"/>
                <a:gd name="connsiteY121" fmla="*/ 66096 h 66882"/>
                <a:gd name="connsiteX122" fmla="*/ 226614 w 306872"/>
                <a:gd name="connsiteY122" fmla="*/ 66489 h 66882"/>
                <a:gd name="connsiteX123" fmla="*/ 229761 w 306872"/>
                <a:gd name="connsiteY123" fmla="*/ 66882 h 66882"/>
                <a:gd name="connsiteX124" fmla="*/ 232515 w 306872"/>
                <a:gd name="connsiteY124" fmla="*/ 67276 h 66882"/>
                <a:gd name="connsiteX125" fmla="*/ 235663 w 306872"/>
                <a:gd name="connsiteY125" fmla="*/ 68063 h 66882"/>
                <a:gd name="connsiteX126" fmla="*/ 239203 w 306872"/>
                <a:gd name="connsiteY126" fmla="*/ 67276 h 66882"/>
                <a:gd name="connsiteX127" fmla="*/ 242351 w 306872"/>
                <a:gd name="connsiteY127" fmla="*/ 66882 h 66882"/>
                <a:gd name="connsiteX128" fmla="*/ 245105 w 306872"/>
                <a:gd name="connsiteY128" fmla="*/ 66096 h 66882"/>
                <a:gd name="connsiteX129" fmla="*/ 248252 w 306872"/>
                <a:gd name="connsiteY129" fmla="*/ 65309 h 66882"/>
                <a:gd name="connsiteX130" fmla="*/ 251400 w 306872"/>
                <a:gd name="connsiteY130" fmla="*/ 64915 h 66882"/>
                <a:gd name="connsiteX131" fmla="*/ 254547 w 306872"/>
                <a:gd name="connsiteY131" fmla="*/ 64522 h 66882"/>
                <a:gd name="connsiteX132" fmla="*/ 257694 w 306872"/>
                <a:gd name="connsiteY132" fmla="*/ 64915 h 66882"/>
                <a:gd name="connsiteX133" fmla="*/ 260842 w 306872"/>
                <a:gd name="connsiteY133" fmla="*/ 64915 h 66882"/>
                <a:gd name="connsiteX134" fmla="*/ 263596 w 306872"/>
                <a:gd name="connsiteY134" fmla="*/ 64915 h 66882"/>
                <a:gd name="connsiteX135" fmla="*/ 266350 w 306872"/>
                <a:gd name="connsiteY135" fmla="*/ 64522 h 66882"/>
                <a:gd name="connsiteX136" fmla="*/ 269104 w 306872"/>
                <a:gd name="connsiteY136" fmla="*/ 64522 h 66882"/>
                <a:gd name="connsiteX137" fmla="*/ 271858 w 306872"/>
                <a:gd name="connsiteY137" fmla="*/ 64129 h 66882"/>
                <a:gd name="connsiteX138" fmla="*/ 275005 w 306872"/>
                <a:gd name="connsiteY138" fmla="*/ 61375 h 66882"/>
                <a:gd name="connsiteX139" fmla="*/ 278153 w 306872"/>
                <a:gd name="connsiteY139" fmla="*/ 59407 h 66882"/>
                <a:gd name="connsiteX140" fmla="*/ 276972 w 306872"/>
                <a:gd name="connsiteY140" fmla="*/ 57834 h 66882"/>
                <a:gd name="connsiteX141" fmla="*/ 282087 w 306872"/>
                <a:gd name="connsiteY141" fmla="*/ 57834 h 66882"/>
                <a:gd name="connsiteX142" fmla="*/ 285234 w 306872"/>
                <a:gd name="connsiteY142" fmla="*/ 57834 h 66882"/>
                <a:gd name="connsiteX143" fmla="*/ 288382 w 306872"/>
                <a:gd name="connsiteY143" fmla="*/ 57834 h 66882"/>
                <a:gd name="connsiteX144" fmla="*/ 291529 w 306872"/>
                <a:gd name="connsiteY144" fmla="*/ 57047 h 66882"/>
                <a:gd name="connsiteX145" fmla="*/ 294677 w 306872"/>
                <a:gd name="connsiteY145" fmla="*/ 57047 h 66882"/>
                <a:gd name="connsiteX146" fmla="*/ 297431 w 306872"/>
                <a:gd name="connsiteY146" fmla="*/ 55867 h 66882"/>
                <a:gd name="connsiteX147" fmla="*/ 296250 w 306872"/>
                <a:gd name="connsiteY147" fmla="*/ 53113 h 66882"/>
                <a:gd name="connsiteX148" fmla="*/ 293103 w 306872"/>
                <a:gd name="connsiteY148" fmla="*/ 52719 h 66882"/>
                <a:gd name="connsiteX149" fmla="*/ 289955 w 306872"/>
                <a:gd name="connsiteY149" fmla="*/ 52719 h 66882"/>
                <a:gd name="connsiteX150" fmla="*/ 286808 w 306872"/>
                <a:gd name="connsiteY150" fmla="*/ 53506 h 66882"/>
                <a:gd name="connsiteX151" fmla="*/ 286414 w 306872"/>
                <a:gd name="connsiteY151" fmla="*/ 53506 h 66882"/>
                <a:gd name="connsiteX152" fmla="*/ 289168 w 306872"/>
                <a:gd name="connsiteY152" fmla="*/ 50752 h 66882"/>
                <a:gd name="connsiteX153" fmla="*/ 291922 w 306872"/>
                <a:gd name="connsiteY153" fmla="*/ 49572 h 66882"/>
                <a:gd name="connsiteX154" fmla="*/ 295070 w 306872"/>
                <a:gd name="connsiteY154" fmla="*/ 48785 h 66882"/>
                <a:gd name="connsiteX155" fmla="*/ 298217 w 306872"/>
                <a:gd name="connsiteY155" fmla="*/ 48785 h 66882"/>
                <a:gd name="connsiteX156" fmla="*/ 300971 w 306872"/>
                <a:gd name="connsiteY156" fmla="*/ 47998 h 66882"/>
                <a:gd name="connsiteX157" fmla="*/ 304119 w 306872"/>
                <a:gd name="connsiteY157" fmla="*/ 46424 h 66882"/>
                <a:gd name="connsiteX158" fmla="*/ 306873 w 306872"/>
                <a:gd name="connsiteY158" fmla="*/ 43670 h 66882"/>
                <a:gd name="connsiteX159" fmla="*/ 304119 w 306872"/>
                <a:gd name="connsiteY159" fmla="*/ 40916 h 66882"/>
                <a:gd name="connsiteX160" fmla="*/ 300971 w 306872"/>
                <a:gd name="connsiteY160" fmla="*/ 40916 h 66882"/>
                <a:gd name="connsiteX161" fmla="*/ 299398 w 306872"/>
                <a:gd name="connsiteY161" fmla="*/ 40916 h 66882"/>
                <a:gd name="connsiteX162" fmla="*/ 300578 w 306872"/>
                <a:gd name="connsiteY162" fmla="*/ 39736 h 66882"/>
                <a:gd name="connsiteX163" fmla="*/ 300971 w 306872"/>
                <a:gd name="connsiteY163" fmla="*/ 38949 h 66882"/>
                <a:gd name="connsiteX164" fmla="*/ 298217 w 306872"/>
                <a:gd name="connsiteY164" fmla="*/ 36982 h 66882"/>
                <a:gd name="connsiteX165" fmla="*/ 295070 w 306872"/>
                <a:gd name="connsiteY165" fmla="*/ 36589 h 66882"/>
                <a:gd name="connsiteX166" fmla="*/ 291922 w 306872"/>
                <a:gd name="connsiteY166" fmla="*/ 36589 h 66882"/>
                <a:gd name="connsiteX167" fmla="*/ 288775 w 306872"/>
                <a:gd name="connsiteY167" fmla="*/ 36589 h 66882"/>
                <a:gd name="connsiteX168" fmla="*/ 286021 w 306872"/>
                <a:gd name="connsiteY168" fmla="*/ 36589 h 66882"/>
                <a:gd name="connsiteX169" fmla="*/ 283267 w 306872"/>
                <a:gd name="connsiteY169" fmla="*/ 36589 h 66882"/>
                <a:gd name="connsiteX170" fmla="*/ 280120 w 306872"/>
                <a:gd name="connsiteY170" fmla="*/ 36195 h 66882"/>
                <a:gd name="connsiteX171" fmla="*/ 282874 w 306872"/>
                <a:gd name="connsiteY171" fmla="*/ 34228 h 66882"/>
                <a:gd name="connsiteX172" fmla="*/ 280120 w 306872"/>
                <a:gd name="connsiteY172" fmla="*/ 32654 h 66882"/>
                <a:gd name="connsiteX173" fmla="*/ 276972 w 306872"/>
                <a:gd name="connsiteY173" fmla="*/ 32261 h 66882"/>
                <a:gd name="connsiteX174" fmla="*/ 271071 w 306872"/>
                <a:gd name="connsiteY174" fmla="*/ 32261 h 66882"/>
                <a:gd name="connsiteX175" fmla="*/ 267924 w 306872"/>
                <a:gd name="connsiteY175" fmla="*/ 31474 h 66882"/>
                <a:gd name="connsiteX176" fmla="*/ 264776 w 306872"/>
                <a:gd name="connsiteY176" fmla="*/ 31474 h 66882"/>
                <a:gd name="connsiteX177" fmla="*/ 261629 w 306872"/>
                <a:gd name="connsiteY177" fmla="*/ 31474 h 66882"/>
                <a:gd name="connsiteX178" fmla="*/ 258875 w 306872"/>
                <a:gd name="connsiteY178" fmla="*/ 31474 h 66882"/>
                <a:gd name="connsiteX179" fmla="*/ 255727 w 306872"/>
                <a:gd name="connsiteY179" fmla="*/ 31868 h 66882"/>
                <a:gd name="connsiteX180" fmla="*/ 252973 w 306872"/>
                <a:gd name="connsiteY180" fmla="*/ 32654 h 66882"/>
                <a:gd name="connsiteX181" fmla="*/ 249826 w 306872"/>
                <a:gd name="connsiteY181" fmla="*/ 33441 h 66882"/>
                <a:gd name="connsiteX182" fmla="*/ 246678 w 306872"/>
                <a:gd name="connsiteY182" fmla="*/ 33835 h 66882"/>
                <a:gd name="connsiteX183" fmla="*/ 243531 w 306872"/>
                <a:gd name="connsiteY183" fmla="*/ 34228 h 66882"/>
                <a:gd name="connsiteX184" fmla="*/ 240384 w 306872"/>
                <a:gd name="connsiteY184" fmla="*/ 33835 h 66882"/>
                <a:gd name="connsiteX185" fmla="*/ 237630 w 306872"/>
                <a:gd name="connsiteY185" fmla="*/ 32654 h 66882"/>
                <a:gd name="connsiteX186" fmla="*/ 234482 w 306872"/>
                <a:gd name="connsiteY186" fmla="*/ 32654 h 66882"/>
                <a:gd name="connsiteX187" fmla="*/ 231335 w 306872"/>
                <a:gd name="connsiteY187" fmla="*/ 32261 h 66882"/>
                <a:gd name="connsiteX188" fmla="*/ 228187 w 306872"/>
                <a:gd name="connsiteY188" fmla="*/ 32654 h 66882"/>
                <a:gd name="connsiteX189" fmla="*/ 225040 w 306872"/>
                <a:gd name="connsiteY189" fmla="*/ 33441 h 66882"/>
                <a:gd name="connsiteX190" fmla="*/ 222286 w 306872"/>
                <a:gd name="connsiteY190" fmla="*/ 33835 h 66882"/>
                <a:gd name="connsiteX191" fmla="*/ 114094 w 306872"/>
                <a:gd name="connsiteY191" fmla="*/ 26753 h 66882"/>
                <a:gd name="connsiteX192" fmla="*/ 119208 w 306872"/>
                <a:gd name="connsiteY192" fmla="*/ 22819 h 66882"/>
                <a:gd name="connsiteX193" fmla="*/ 122356 w 306872"/>
                <a:gd name="connsiteY193" fmla="*/ 23212 h 66882"/>
                <a:gd name="connsiteX194" fmla="*/ 125110 w 306872"/>
                <a:gd name="connsiteY194" fmla="*/ 22819 h 66882"/>
                <a:gd name="connsiteX195" fmla="*/ 128257 w 306872"/>
                <a:gd name="connsiteY195" fmla="*/ 22819 h 66882"/>
                <a:gd name="connsiteX196" fmla="*/ 131798 w 306872"/>
                <a:gd name="connsiteY196" fmla="*/ 22425 h 66882"/>
                <a:gd name="connsiteX197" fmla="*/ 134552 w 306872"/>
                <a:gd name="connsiteY197" fmla="*/ 21638 h 66882"/>
                <a:gd name="connsiteX198" fmla="*/ 131798 w 306872"/>
                <a:gd name="connsiteY198" fmla="*/ 18884 h 66882"/>
                <a:gd name="connsiteX199" fmla="*/ 128257 w 306872"/>
                <a:gd name="connsiteY199" fmla="*/ 18884 h 66882"/>
                <a:gd name="connsiteX200" fmla="*/ 125503 w 306872"/>
                <a:gd name="connsiteY200" fmla="*/ 18098 h 66882"/>
                <a:gd name="connsiteX201" fmla="*/ 124716 w 306872"/>
                <a:gd name="connsiteY201" fmla="*/ 18098 h 66882"/>
                <a:gd name="connsiteX202" fmla="*/ 121569 w 306872"/>
                <a:gd name="connsiteY202" fmla="*/ 17311 h 66882"/>
                <a:gd name="connsiteX203" fmla="*/ 118815 w 306872"/>
                <a:gd name="connsiteY203" fmla="*/ 16917 h 66882"/>
                <a:gd name="connsiteX204" fmla="*/ 115667 w 306872"/>
                <a:gd name="connsiteY204" fmla="*/ 16917 h 66882"/>
                <a:gd name="connsiteX205" fmla="*/ 112520 w 306872"/>
                <a:gd name="connsiteY205" fmla="*/ 16524 h 66882"/>
                <a:gd name="connsiteX206" fmla="*/ 109373 w 306872"/>
                <a:gd name="connsiteY206" fmla="*/ 16130 h 66882"/>
                <a:gd name="connsiteX207" fmla="*/ 106225 w 306872"/>
                <a:gd name="connsiteY207" fmla="*/ 15344 h 66882"/>
                <a:gd name="connsiteX208" fmla="*/ 100324 w 306872"/>
                <a:gd name="connsiteY208" fmla="*/ 15344 h 66882"/>
                <a:gd name="connsiteX209" fmla="*/ 103471 w 306872"/>
                <a:gd name="connsiteY209" fmla="*/ 14557 h 66882"/>
                <a:gd name="connsiteX210" fmla="*/ 106225 w 306872"/>
                <a:gd name="connsiteY210" fmla="*/ 14950 h 66882"/>
                <a:gd name="connsiteX211" fmla="*/ 109373 w 306872"/>
                <a:gd name="connsiteY211" fmla="*/ 14163 h 66882"/>
                <a:gd name="connsiteX212" fmla="*/ 112520 w 306872"/>
                <a:gd name="connsiteY212" fmla="*/ 15344 h 66882"/>
                <a:gd name="connsiteX213" fmla="*/ 115667 w 306872"/>
                <a:gd name="connsiteY213" fmla="*/ 15344 h 66882"/>
                <a:gd name="connsiteX214" fmla="*/ 118422 w 306872"/>
                <a:gd name="connsiteY214" fmla="*/ 15344 h 66882"/>
                <a:gd name="connsiteX215" fmla="*/ 116848 w 306872"/>
                <a:gd name="connsiteY215" fmla="*/ 12590 h 66882"/>
                <a:gd name="connsiteX216" fmla="*/ 114094 w 306872"/>
                <a:gd name="connsiteY216" fmla="*/ 10229 h 66882"/>
                <a:gd name="connsiteX217" fmla="*/ 111340 w 306872"/>
                <a:gd name="connsiteY217" fmla="*/ 10229 h 66882"/>
                <a:gd name="connsiteX218" fmla="*/ 108192 w 306872"/>
                <a:gd name="connsiteY218" fmla="*/ 9442 h 66882"/>
                <a:gd name="connsiteX219" fmla="*/ 101898 w 306872"/>
                <a:gd name="connsiteY219" fmla="*/ 9442 h 66882"/>
                <a:gd name="connsiteX220" fmla="*/ 98357 w 306872"/>
                <a:gd name="connsiteY220" fmla="*/ 9836 h 66882"/>
                <a:gd name="connsiteX221" fmla="*/ 95209 w 306872"/>
                <a:gd name="connsiteY221" fmla="*/ 10229 h 66882"/>
                <a:gd name="connsiteX222" fmla="*/ 92062 w 306872"/>
                <a:gd name="connsiteY222" fmla="*/ 11016 h 66882"/>
                <a:gd name="connsiteX223" fmla="*/ 88915 w 306872"/>
                <a:gd name="connsiteY223" fmla="*/ 11409 h 66882"/>
                <a:gd name="connsiteX224" fmla="*/ 85767 w 306872"/>
                <a:gd name="connsiteY224" fmla="*/ 11803 h 66882"/>
                <a:gd name="connsiteX225" fmla="*/ 83013 w 306872"/>
                <a:gd name="connsiteY225" fmla="*/ 11409 h 66882"/>
                <a:gd name="connsiteX226" fmla="*/ 80259 w 306872"/>
                <a:gd name="connsiteY226" fmla="*/ 11803 h 66882"/>
                <a:gd name="connsiteX227" fmla="*/ 77112 w 306872"/>
                <a:gd name="connsiteY227" fmla="*/ 11409 h 66882"/>
                <a:gd name="connsiteX228" fmla="*/ 74358 w 306872"/>
                <a:gd name="connsiteY228" fmla="*/ 11409 h 66882"/>
                <a:gd name="connsiteX229" fmla="*/ 71604 w 306872"/>
                <a:gd name="connsiteY229" fmla="*/ 11409 h 66882"/>
                <a:gd name="connsiteX230" fmla="*/ 68063 w 306872"/>
                <a:gd name="connsiteY230" fmla="*/ 12983 h 66882"/>
                <a:gd name="connsiteX231" fmla="*/ 65309 w 306872"/>
                <a:gd name="connsiteY231" fmla="*/ 14163 h 66882"/>
                <a:gd name="connsiteX232" fmla="*/ 62161 w 306872"/>
                <a:gd name="connsiteY232" fmla="*/ 14950 h 66882"/>
                <a:gd name="connsiteX233" fmla="*/ 59014 w 306872"/>
                <a:gd name="connsiteY233" fmla="*/ 15344 h 66882"/>
                <a:gd name="connsiteX234" fmla="*/ 55867 w 306872"/>
                <a:gd name="connsiteY234" fmla="*/ 16524 h 66882"/>
                <a:gd name="connsiteX235" fmla="*/ 58621 w 306872"/>
                <a:gd name="connsiteY235" fmla="*/ 14950 h 66882"/>
                <a:gd name="connsiteX236" fmla="*/ 62161 w 306872"/>
                <a:gd name="connsiteY236" fmla="*/ 13770 h 66882"/>
                <a:gd name="connsiteX237" fmla="*/ 64915 w 306872"/>
                <a:gd name="connsiteY237" fmla="*/ 13377 h 66882"/>
                <a:gd name="connsiteX238" fmla="*/ 68063 w 306872"/>
                <a:gd name="connsiteY238" fmla="*/ 11409 h 66882"/>
                <a:gd name="connsiteX239" fmla="*/ 70817 w 306872"/>
                <a:gd name="connsiteY239" fmla="*/ 10229 h 66882"/>
                <a:gd name="connsiteX240" fmla="*/ 72391 w 306872"/>
                <a:gd name="connsiteY240" fmla="*/ 7475 h 66882"/>
                <a:gd name="connsiteX241" fmla="*/ 69637 w 306872"/>
                <a:gd name="connsiteY241" fmla="*/ 5508 h 66882"/>
                <a:gd name="connsiteX242" fmla="*/ 66489 w 306872"/>
                <a:gd name="connsiteY242" fmla="*/ 3541 h 66882"/>
                <a:gd name="connsiteX243" fmla="*/ 63342 w 306872"/>
                <a:gd name="connsiteY243" fmla="*/ 3541 h 66882"/>
                <a:gd name="connsiteX244" fmla="*/ 60588 w 306872"/>
                <a:gd name="connsiteY244" fmla="*/ 4328 h 66882"/>
                <a:gd name="connsiteX245" fmla="*/ 57440 w 306872"/>
                <a:gd name="connsiteY245" fmla="*/ 4328 h 66882"/>
                <a:gd name="connsiteX246" fmla="*/ 54686 w 306872"/>
                <a:gd name="connsiteY246" fmla="*/ 3541 h 66882"/>
                <a:gd name="connsiteX247" fmla="*/ 51539 w 306872"/>
                <a:gd name="connsiteY247" fmla="*/ 2361 h 66882"/>
                <a:gd name="connsiteX248" fmla="*/ 48391 w 306872"/>
                <a:gd name="connsiteY248" fmla="*/ 2361 h 66882"/>
                <a:gd name="connsiteX249" fmla="*/ 45244 w 306872"/>
                <a:gd name="connsiteY249" fmla="*/ 1574 h 66882"/>
                <a:gd name="connsiteX250" fmla="*/ 42490 w 306872"/>
                <a:gd name="connsiteY250" fmla="*/ 1574 h 66882"/>
                <a:gd name="connsiteX251" fmla="*/ 39343 w 306872"/>
                <a:gd name="connsiteY251" fmla="*/ 393 h 66882"/>
                <a:gd name="connsiteX252" fmla="*/ 36195 w 306872"/>
                <a:gd name="connsiteY252" fmla="*/ 393 h 66882"/>
                <a:gd name="connsiteX253" fmla="*/ 33441 w 306872"/>
                <a:gd name="connsiteY253" fmla="*/ 0 h 66882"/>
                <a:gd name="connsiteX254" fmla="*/ 30294 w 306872"/>
                <a:gd name="connsiteY254" fmla="*/ 393 h 66882"/>
                <a:gd name="connsiteX255" fmla="*/ 27147 w 306872"/>
                <a:gd name="connsiteY255" fmla="*/ 393 h 66882"/>
                <a:gd name="connsiteX256" fmla="*/ 23999 w 306872"/>
                <a:gd name="connsiteY256" fmla="*/ 393 h 66882"/>
                <a:gd name="connsiteX257" fmla="*/ 20852 w 306872"/>
                <a:gd name="connsiteY257" fmla="*/ 787 h 66882"/>
                <a:gd name="connsiteX258" fmla="*/ 17704 w 306872"/>
                <a:gd name="connsiteY258" fmla="*/ 2361 h 66882"/>
                <a:gd name="connsiteX259" fmla="*/ 11803 w 306872"/>
                <a:gd name="connsiteY259" fmla="*/ 2361 h 66882"/>
                <a:gd name="connsiteX260" fmla="*/ 9049 w 306872"/>
                <a:gd name="connsiteY260" fmla="*/ 3147 h 66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</a:cxnLst>
              <a:rect l="l" t="t" r="r" b="b"/>
              <a:pathLst>
                <a:path w="306872" h="66882">
                  <a:moveTo>
                    <a:pt x="9836" y="6295"/>
                  </a:moveTo>
                  <a:lnTo>
                    <a:pt x="12983" y="6295"/>
                  </a:lnTo>
                  <a:lnTo>
                    <a:pt x="9836" y="6688"/>
                  </a:lnTo>
                  <a:lnTo>
                    <a:pt x="6295" y="7869"/>
                  </a:lnTo>
                  <a:lnTo>
                    <a:pt x="3147" y="6295"/>
                  </a:lnTo>
                  <a:lnTo>
                    <a:pt x="0" y="8262"/>
                  </a:lnTo>
                  <a:lnTo>
                    <a:pt x="3147" y="9442"/>
                  </a:lnTo>
                  <a:lnTo>
                    <a:pt x="6295" y="9442"/>
                  </a:lnTo>
                  <a:lnTo>
                    <a:pt x="9836" y="11016"/>
                  </a:lnTo>
                  <a:lnTo>
                    <a:pt x="12983" y="12196"/>
                  </a:lnTo>
                  <a:lnTo>
                    <a:pt x="15737" y="12590"/>
                  </a:lnTo>
                  <a:lnTo>
                    <a:pt x="18884" y="12590"/>
                  </a:lnTo>
                  <a:lnTo>
                    <a:pt x="21638" y="11409"/>
                  </a:lnTo>
                  <a:lnTo>
                    <a:pt x="18884" y="12983"/>
                  </a:lnTo>
                  <a:lnTo>
                    <a:pt x="15737" y="13770"/>
                  </a:lnTo>
                  <a:lnTo>
                    <a:pt x="12590" y="13770"/>
                  </a:lnTo>
                  <a:lnTo>
                    <a:pt x="9049" y="14163"/>
                  </a:lnTo>
                  <a:lnTo>
                    <a:pt x="9836" y="16917"/>
                  </a:lnTo>
                  <a:lnTo>
                    <a:pt x="12983" y="17311"/>
                  </a:lnTo>
                  <a:lnTo>
                    <a:pt x="16131" y="17311"/>
                  </a:lnTo>
                  <a:lnTo>
                    <a:pt x="19278" y="16917"/>
                  </a:lnTo>
                  <a:lnTo>
                    <a:pt x="22032" y="18491"/>
                  </a:lnTo>
                  <a:lnTo>
                    <a:pt x="25179" y="18491"/>
                  </a:lnTo>
                  <a:lnTo>
                    <a:pt x="27933" y="18491"/>
                  </a:lnTo>
                  <a:lnTo>
                    <a:pt x="25179" y="18491"/>
                  </a:lnTo>
                  <a:lnTo>
                    <a:pt x="22032" y="19671"/>
                  </a:lnTo>
                  <a:lnTo>
                    <a:pt x="18884" y="19671"/>
                  </a:lnTo>
                  <a:lnTo>
                    <a:pt x="15737" y="19671"/>
                  </a:lnTo>
                  <a:lnTo>
                    <a:pt x="18884" y="21245"/>
                  </a:lnTo>
                  <a:lnTo>
                    <a:pt x="22032" y="20852"/>
                  </a:lnTo>
                  <a:lnTo>
                    <a:pt x="25179" y="20458"/>
                  </a:lnTo>
                  <a:lnTo>
                    <a:pt x="28327" y="19671"/>
                  </a:lnTo>
                  <a:lnTo>
                    <a:pt x="31081" y="20065"/>
                  </a:lnTo>
                  <a:lnTo>
                    <a:pt x="37769" y="20065"/>
                  </a:lnTo>
                  <a:lnTo>
                    <a:pt x="40916" y="20458"/>
                  </a:lnTo>
                  <a:lnTo>
                    <a:pt x="44457" y="20458"/>
                  </a:lnTo>
                  <a:lnTo>
                    <a:pt x="56260" y="38949"/>
                  </a:lnTo>
                  <a:lnTo>
                    <a:pt x="54686" y="39736"/>
                  </a:lnTo>
                  <a:lnTo>
                    <a:pt x="51539" y="40916"/>
                  </a:lnTo>
                  <a:lnTo>
                    <a:pt x="48785" y="41703"/>
                  </a:lnTo>
                  <a:lnTo>
                    <a:pt x="45638" y="43670"/>
                  </a:lnTo>
                  <a:lnTo>
                    <a:pt x="42884" y="45637"/>
                  </a:lnTo>
                  <a:lnTo>
                    <a:pt x="41310" y="48785"/>
                  </a:lnTo>
                  <a:lnTo>
                    <a:pt x="44457" y="49572"/>
                  </a:lnTo>
                  <a:lnTo>
                    <a:pt x="47211" y="49572"/>
                  </a:lnTo>
                  <a:lnTo>
                    <a:pt x="44064" y="51145"/>
                  </a:lnTo>
                  <a:lnTo>
                    <a:pt x="40916" y="51932"/>
                  </a:lnTo>
                  <a:lnTo>
                    <a:pt x="40523" y="55080"/>
                  </a:lnTo>
                  <a:lnTo>
                    <a:pt x="37376" y="57834"/>
                  </a:lnTo>
                  <a:lnTo>
                    <a:pt x="38162" y="60981"/>
                  </a:lnTo>
                  <a:lnTo>
                    <a:pt x="41310" y="60588"/>
                  </a:lnTo>
                  <a:lnTo>
                    <a:pt x="44457" y="62948"/>
                  </a:lnTo>
                  <a:lnTo>
                    <a:pt x="47211" y="62161"/>
                  </a:lnTo>
                  <a:lnTo>
                    <a:pt x="50359" y="63342"/>
                  </a:lnTo>
                  <a:lnTo>
                    <a:pt x="51539" y="60588"/>
                  </a:lnTo>
                  <a:lnTo>
                    <a:pt x="54686" y="59801"/>
                  </a:lnTo>
                  <a:lnTo>
                    <a:pt x="57834" y="59014"/>
                  </a:lnTo>
                  <a:lnTo>
                    <a:pt x="60981" y="57834"/>
                  </a:lnTo>
                  <a:lnTo>
                    <a:pt x="63735" y="56653"/>
                  </a:lnTo>
                  <a:lnTo>
                    <a:pt x="60588" y="59014"/>
                  </a:lnTo>
                  <a:lnTo>
                    <a:pt x="57440" y="59801"/>
                  </a:lnTo>
                  <a:lnTo>
                    <a:pt x="60588" y="60588"/>
                  </a:lnTo>
                  <a:lnTo>
                    <a:pt x="60588" y="63342"/>
                  </a:lnTo>
                  <a:lnTo>
                    <a:pt x="64128" y="64129"/>
                  </a:lnTo>
                  <a:lnTo>
                    <a:pt x="67276" y="63342"/>
                  </a:lnTo>
                  <a:lnTo>
                    <a:pt x="70423" y="64915"/>
                  </a:lnTo>
                  <a:lnTo>
                    <a:pt x="72784" y="64522"/>
                  </a:lnTo>
                  <a:lnTo>
                    <a:pt x="75931" y="65702"/>
                  </a:lnTo>
                  <a:lnTo>
                    <a:pt x="78685" y="65309"/>
                  </a:lnTo>
                  <a:lnTo>
                    <a:pt x="81833" y="65309"/>
                  </a:lnTo>
                  <a:lnTo>
                    <a:pt x="84587" y="64522"/>
                  </a:lnTo>
                  <a:lnTo>
                    <a:pt x="87734" y="64522"/>
                  </a:lnTo>
                  <a:lnTo>
                    <a:pt x="90095" y="64129"/>
                  </a:lnTo>
                  <a:lnTo>
                    <a:pt x="103078" y="63342"/>
                  </a:lnTo>
                  <a:lnTo>
                    <a:pt x="100324" y="66096"/>
                  </a:lnTo>
                  <a:lnTo>
                    <a:pt x="103078" y="66882"/>
                  </a:lnTo>
                  <a:lnTo>
                    <a:pt x="106619" y="66882"/>
                  </a:lnTo>
                  <a:lnTo>
                    <a:pt x="109373" y="67276"/>
                  </a:lnTo>
                  <a:lnTo>
                    <a:pt x="112913" y="67276"/>
                  </a:lnTo>
                  <a:lnTo>
                    <a:pt x="116061" y="66096"/>
                  </a:lnTo>
                  <a:lnTo>
                    <a:pt x="119208" y="67669"/>
                  </a:lnTo>
                  <a:lnTo>
                    <a:pt x="121962" y="66882"/>
                  </a:lnTo>
                  <a:lnTo>
                    <a:pt x="125110" y="65702"/>
                  </a:lnTo>
                  <a:lnTo>
                    <a:pt x="128257" y="67669"/>
                  </a:lnTo>
                  <a:lnTo>
                    <a:pt x="131011" y="66489"/>
                  </a:lnTo>
                  <a:lnTo>
                    <a:pt x="134159" y="67669"/>
                  </a:lnTo>
                  <a:lnTo>
                    <a:pt x="137306" y="67669"/>
                  </a:lnTo>
                  <a:lnTo>
                    <a:pt x="137306" y="64915"/>
                  </a:lnTo>
                  <a:lnTo>
                    <a:pt x="140453" y="66489"/>
                  </a:lnTo>
                  <a:lnTo>
                    <a:pt x="143601" y="66882"/>
                  </a:lnTo>
                  <a:lnTo>
                    <a:pt x="146748" y="66096"/>
                  </a:lnTo>
                  <a:lnTo>
                    <a:pt x="149502" y="64129"/>
                  </a:lnTo>
                  <a:lnTo>
                    <a:pt x="149109" y="66882"/>
                  </a:lnTo>
                  <a:lnTo>
                    <a:pt x="152256" y="66882"/>
                  </a:lnTo>
                  <a:lnTo>
                    <a:pt x="155403" y="66882"/>
                  </a:lnTo>
                  <a:lnTo>
                    <a:pt x="158551" y="66882"/>
                  </a:lnTo>
                  <a:lnTo>
                    <a:pt x="161698" y="66489"/>
                  </a:lnTo>
                  <a:lnTo>
                    <a:pt x="164452" y="63735"/>
                  </a:lnTo>
                  <a:lnTo>
                    <a:pt x="164846" y="66489"/>
                  </a:lnTo>
                  <a:lnTo>
                    <a:pt x="167993" y="66882"/>
                  </a:lnTo>
                  <a:lnTo>
                    <a:pt x="170747" y="66096"/>
                  </a:lnTo>
                  <a:lnTo>
                    <a:pt x="173895" y="63735"/>
                  </a:lnTo>
                  <a:lnTo>
                    <a:pt x="177042" y="61768"/>
                  </a:lnTo>
                  <a:lnTo>
                    <a:pt x="174288" y="64915"/>
                  </a:lnTo>
                  <a:lnTo>
                    <a:pt x="177435" y="66096"/>
                  </a:lnTo>
                  <a:lnTo>
                    <a:pt x="180583" y="66489"/>
                  </a:lnTo>
                  <a:lnTo>
                    <a:pt x="183730" y="66096"/>
                  </a:lnTo>
                  <a:lnTo>
                    <a:pt x="186878" y="66489"/>
                  </a:lnTo>
                  <a:lnTo>
                    <a:pt x="190025" y="66096"/>
                  </a:lnTo>
                  <a:lnTo>
                    <a:pt x="193173" y="65702"/>
                  </a:lnTo>
                  <a:lnTo>
                    <a:pt x="196320" y="65309"/>
                  </a:lnTo>
                  <a:lnTo>
                    <a:pt x="202221" y="65309"/>
                  </a:lnTo>
                  <a:lnTo>
                    <a:pt x="204975" y="64522"/>
                  </a:lnTo>
                  <a:lnTo>
                    <a:pt x="208123" y="62161"/>
                  </a:lnTo>
                  <a:lnTo>
                    <a:pt x="211270" y="60981"/>
                  </a:lnTo>
                  <a:lnTo>
                    <a:pt x="211270" y="60194"/>
                  </a:lnTo>
                  <a:lnTo>
                    <a:pt x="216385" y="59801"/>
                  </a:lnTo>
                  <a:lnTo>
                    <a:pt x="215991" y="60981"/>
                  </a:lnTo>
                  <a:lnTo>
                    <a:pt x="214811" y="63735"/>
                  </a:lnTo>
                  <a:lnTo>
                    <a:pt x="217565" y="66096"/>
                  </a:lnTo>
                  <a:lnTo>
                    <a:pt x="220319" y="66096"/>
                  </a:lnTo>
                  <a:lnTo>
                    <a:pt x="223860" y="66096"/>
                  </a:lnTo>
                  <a:lnTo>
                    <a:pt x="226614" y="66489"/>
                  </a:lnTo>
                  <a:lnTo>
                    <a:pt x="229761" y="66882"/>
                  </a:lnTo>
                  <a:lnTo>
                    <a:pt x="232515" y="67276"/>
                  </a:lnTo>
                  <a:lnTo>
                    <a:pt x="235663" y="68063"/>
                  </a:lnTo>
                  <a:lnTo>
                    <a:pt x="239203" y="67276"/>
                  </a:lnTo>
                  <a:lnTo>
                    <a:pt x="242351" y="66882"/>
                  </a:lnTo>
                  <a:lnTo>
                    <a:pt x="245105" y="66096"/>
                  </a:lnTo>
                  <a:lnTo>
                    <a:pt x="248252" y="65309"/>
                  </a:lnTo>
                  <a:lnTo>
                    <a:pt x="251400" y="64915"/>
                  </a:lnTo>
                  <a:lnTo>
                    <a:pt x="254547" y="64522"/>
                  </a:lnTo>
                  <a:lnTo>
                    <a:pt x="257694" y="64915"/>
                  </a:lnTo>
                  <a:lnTo>
                    <a:pt x="260842" y="64915"/>
                  </a:lnTo>
                  <a:lnTo>
                    <a:pt x="263596" y="64915"/>
                  </a:lnTo>
                  <a:lnTo>
                    <a:pt x="266350" y="64522"/>
                  </a:lnTo>
                  <a:lnTo>
                    <a:pt x="269104" y="64522"/>
                  </a:lnTo>
                  <a:lnTo>
                    <a:pt x="271858" y="64129"/>
                  </a:lnTo>
                  <a:lnTo>
                    <a:pt x="275005" y="61375"/>
                  </a:lnTo>
                  <a:lnTo>
                    <a:pt x="278153" y="59407"/>
                  </a:lnTo>
                  <a:lnTo>
                    <a:pt x="276972" y="57834"/>
                  </a:lnTo>
                  <a:lnTo>
                    <a:pt x="282087" y="57834"/>
                  </a:lnTo>
                  <a:lnTo>
                    <a:pt x="285234" y="57834"/>
                  </a:lnTo>
                  <a:lnTo>
                    <a:pt x="288382" y="57834"/>
                  </a:lnTo>
                  <a:lnTo>
                    <a:pt x="291529" y="57047"/>
                  </a:lnTo>
                  <a:lnTo>
                    <a:pt x="294677" y="57047"/>
                  </a:lnTo>
                  <a:lnTo>
                    <a:pt x="297431" y="55867"/>
                  </a:lnTo>
                  <a:lnTo>
                    <a:pt x="296250" y="53113"/>
                  </a:lnTo>
                  <a:lnTo>
                    <a:pt x="293103" y="52719"/>
                  </a:lnTo>
                  <a:lnTo>
                    <a:pt x="289955" y="52719"/>
                  </a:lnTo>
                  <a:lnTo>
                    <a:pt x="286808" y="53506"/>
                  </a:lnTo>
                  <a:lnTo>
                    <a:pt x="286414" y="53506"/>
                  </a:lnTo>
                  <a:lnTo>
                    <a:pt x="289168" y="50752"/>
                  </a:lnTo>
                  <a:lnTo>
                    <a:pt x="291922" y="49572"/>
                  </a:lnTo>
                  <a:lnTo>
                    <a:pt x="295070" y="48785"/>
                  </a:lnTo>
                  <a:lnTo>
                    <a:pt x="298217" y="48785"/>
                  </a:lnTo>
                  <a:lnTo>
                    <a:pt x="300971" y="47998"/>
                  </a:lnTo>
                  <a:lnTo>
                    <a:pt x="304119" y="46424"/>
                  </a:lnTo>
                  <a:lnTo>
                    <a:pt x="306873" y="43670"/>
                  </a:lnTo>
                  <a:lnTo>
                    <a:pt x="304119" y="40916"/>
                  </a:lnTo>
                  <a:lnTo>
                    <a:pt x="300971" y="40916"/>
                  </a:lnTo>
                  <a:lnTo>
                    <a:pt x="299398" y="40916"/>
                  </a:lnTo>
                  <a:lnTo>
                    <a:pt x="300578" y="39736"/>
                  </a:lnTo>
                  <a:lnTo>
                    <a:pt x="300971" y="38949"/>
                  </a:lnTo>
                  <a:lnTo>
                    <a:pt x="298217" y="36982"/>
                  </a:lnTo>
                  <a:lnTo>
                    <a:pt x="295070" y="36589"/>
                  </a:lnTo>
                  <a:lnTo>
                    <a:pt x="291922" y="36589"/>
                  </a:lnTo>
                  <a:lnTo>
                    <a:pt x="288775" y="36589"/>
                  </a:lnTo>
                  <a:lnTo>
                    <a:pt x="286021" y="36589"/>
                  </a:lnTo>
                  <a:lnTo>
                    <a:pt x="283267" y="36589"/>
                  </a:lnTo>
                  <a:lnTo>
                    <a:pt x="280120" y="36195"/>
                  </a:lnTo>
                  <a:lnTo>
                    <a:pt x="282874" y="34228"/>
                  </a:lnTo>
                  <a:lnTo>
                    <a:pt x="280120" y="32654"/>
                  </a:lnTo>
                  <a:lnTo>
                    <a:pt x="276972" y="32261"/>
                  </a:lnTo>
                  <a:lnTo>
                    <a:pt x="271071" y="32261"/>
                  </a:lnTo>
                  <a:lnTo>
                    <a:pt x="267924" y="31474"/>
                  </a:lnTo>
                  <a:lnTo>
                    <a:pt x="264776" y="31474"/>
                  </a:lnTo>
                  <a:lnTo>
                    <a:pt x="261629" y="31474"/>
                  </a:lnTo>
                  <a:lnTo>
                    <a:pt x="258875" y="31474"/>
                  </a:lnTo>
                  <a:lnTo>
                    <a:pt x="255727" y="31868"/>
                  </a:lnTo>
                  <a:lnTo>
                    <a:pt x="252973" y="32654"/>
                  </a:lnTo>
                  <a:lnTo>
                    <a:pt x="249826" y="33441"/>
                  </a:lnTo>
                  <a:lnTo>
                    <a:pt x="246678" y="33835"/>
                  </a:lnTo>
                  <a:lnTo>
                    <a:pt x="243531" y="34228"/>
                  </a:lnTo>
                  <a:lnTo>
                    <a:pt x="240384" y="33835"/>
                  </a:lnTo>
                  <a:lnTo>
                    <a:pt x="237630" y="32654"/>
                  </a:lnTo>
                  <a:lnTo>
                    <a:pt x="234482" y="32654"/>
                  </a:lnTo>
                  <a:lnTo>
                    <a:pt x="231335" y="32261"/>
                  </a:lnTo>
                  <a:lnTo>
                    <a:pt x="228187" y="32654"/>
                  </a:lnTo>
                  <a:lnTo>
                    <a:pt x="225040" y="33441"/>
                  </a:lnTo>
                  <a:lnTo>
                    <a:pt x="222286" y="33835"/>
                  </a:lnTo>
                  <a:lnTo>
                    <a:pt x="114094" y="26753"/>
                  </a:lnTo>
                  <a:lnTo>
                    <a:pt x="119208" y="22819"/>
                  </a:lnTo>
                  <a:lnTo>
                    <a:pt x="122356" y="23212"/>
                  </a:lnTo>
                  <a:lnTo>
                    <a:pt x="125110" y="22819"/>
                  </a:lnTo>
                  <a:lnTo>
                    <a:pt x="128257" y="22819"/>
                  </a:lnTo>
                  <a:lnTo>
                    <a:pt x="131798" y="22425"/>
                  </a:lnTo>
                  <a:lnTo>
                    <a:pt x="134552" y="21638"/>
                  </a:lnTo>
                  <a:lnTo>
                    <a:pt x="131798" y="18884"/>
                  </a:lnTo>
                  <a:lnTo>
                    <a:pt x="128257" y="18884"/>
                  </a:lnTo>
                  <a:lnTo>
                    <a:pt x="125503" y="18098"/>
                  </a:lnTo>
                  <a:lnTo>
                    <a:pt x="124716" y="18098"/>
                  </a:lnTo>
                  <a:lnTo>
                    <a:pt x="121569" y="17311"/>
                  </a:lnTo>
                  <a:lnTo>
                    <a:pt x="118815" y="16917"/>
                  </a:lnTo>
                  <a:lnTo>
                    <a:pt x="115667" y="16917"/>
                  </a:lnTo>
                  <a:lnTo>
                    <a:pt x="112520" y="16524"/>
                  </a:lnTo>
                  <a:lnTo>
                    <a:pt x="109373" y="16130"/>
                  </a:lnTo>
                  <a:lnTo>
                    <a:pt x="106225" y="15344"/>
                  </a:lnTo>
                  <a:lnTo>
                    <a:pt x="100324" y="15344"/>
                  </a:lnTo>
                  <a:lnTo>
                    <a:pt x="103471" y="14557"/>
                  </a:lnTo>
                  <a:lnTo>
                    <a:pt x="106225" y="14950"/>
                  </a:lnTo>
                  <a:lnTo>
                    <a:pt x="109373" y="14163"/>
                  </a:lnTo>
                  <a:lnTo>
                    <a:pt x="112520" y="15344"/>
                  </a:lnTo>
                  <a:lnTo>
                    <a:pt x="115667" y="15344"/>
                  </a:lnTo>
                  <a:lnTo>
                    <a:pt x="118422" y="15344"/>
                  </a:lnTo>
                  <a:lnTo>
                    <a:pt x="116848" y="12590"/>
                  </a:lnTo>
                  <a:lnTo>
                    <a:pt x="114094" y="10229"/>
                  </a:lnTo>
                  <a:lnTo>
                    <a:pt x="111340" y="10229"/>
                  </a:lnTo>
                  <a:lnTo>
                    <a:pt x="108192" y="9442"/>
                  </a:lnTo>
                  <a:lnTo>
                    <a:pt x="101898" y="9442"/>
                  </a:lnTo>
                  <a:lnTo>
                    <a:pt x="98357" y="9836"/>
                  </a:lnTo>
                  <a:lnTo>
                    <a:pt x="95209" y="10229"/>
                  </a:lnTo>
                  <a:lnTo>
                    <a:pt x="92062" y="11016"/>
                  </a:lnTo>
                  <a:lnTo>
                    <a:pt x="88915" y="11409"/>
                  </a:lnTo>
                  <a:lnTo>
                    <a:pt x="85767" y="11803"/>
                  </a:lnTo>
                  <a:lnTo>
                    <a:pt x="83013" y="11409"/>
                  </a:lnTo>
                  <a:lnTo>
                    <a:pt x="80259" y="11803"/>
                  </a:lnTo>
                  <a:lnTo>
                    <a:pt x="77112" y="11409"/>
                  </a:lnTo>
                  <a:lnTo>
                    <a:pt x="74358" y="11409"/>
                  </a:lnTo>
                  <a:lnTo>
                    <a:pt x="71604" y="11409"/>
                  </a:lnTo>
                  <a:lnTo>
                    <a:pt x="68063" y="12983"/>
                  </a:lnTo>
                  <a:lnTo>
                    <a:pt x="65309" y="14163"/>
                  </a:lnTo>
                  <a:lnTo>
                    <a:pt x="62161" y="14950"/>
                  </a:lnTo>
                  <a:lnTo>
                    <a:pt x="59014" y="15344"/>
                  </a:lnTo>
                  <a:lnTo>
                    <a:pt x="55867" y="16524"/>
                  </a:lnTo>
                  <a:lnTo>
                    <a:pt x="58621" y="14950"/>
                  </a:lnTo>
                  <a:lnTo>
                    <a:pt x="62161" y="13770"/>
                  </a:lnTo>
                  <a:lnTo>
                    <a:pt x="64915" y="13377"/>
                  </a:lnTo>
                  <a:lnTo>
                    <a:pt x="68063" y="11409"/>
                  </a:lnTo>
                  <a:lnTo>
                    <a:pt x="70817" y="10229"/>
                  </a:lnTo>
                  <a:lnTo>
                    <a:pt x="72391" y="7475"/>
                  </a:lnTo>
                  <a:lnTo>
                    <a:pt x="69637" y="5508"/>
                  </a:lnTo>
                  <a:lnTo>
                    <a:pt x="66489" y="3541"/>
                  </a:lnTo>
                  <a:lnTo>
                    <a:pt x="63342" y="3541"/>
                  </a:lnTo>
                  <a:lnTo>
                    <a:pt x="60588" y="4328"/>
                  </a:lnTo>
                  <a:lnTo>
                    <a:pt x="57440" y="4328"/>
                  </a:lnTo>
                  <a:lnTo>
                    <a:pt x="54686" y="3541"/>
                  </a:lnTo>
                  <a:lnTo>
                    <a:pt x="51539" y="2361"/>
                  </a:lnTo>
                  <a:lnTo>
                    <a:pt x="48391" y="2361"/>
                  </a:lnTo>
                  <a:lnTo>
                    <a:pt x="45244" y="1574"/>
                  </a:lnTo>
                  <a:lnTo>
                    <a:pt x="42490" y="1574"/>
                  </a:lnTo>
                  <a:lnTo>
                    <a:pt x="39343" y="393"/>
                  </a:lnTo>
                  <a:lnTo>
                    <a:pt x="36195" y="393"/>
                  </a:lnTo>
                  <a:lnTo>
                    <a:pt x="33441" y="0"/>
                  </a:lnTo>
                  <a:lnTo>
                    <a:pt x="30294" y="393"/>
                  </a:lnTo>
                  <a:lnTo>
                    <a:pt x="27147" y="393"/>
                  </a:lnTo>
                  <a:lnTo>
                    <a:pt x="23999" y="393"/>
                  </a:lnTo>
                  <a:lnTo>
                    <a:pt x="20852" y="787"/>
                  </a:lnTo>
                  <a:lnTo>
                    <a:pt x="17704" y="2361"/>
                  </a:lnTo>
                  <a:lnTo>
                    <a:pt x="11803" y="2361"/>
                  </a:lnTo>
                  <a:lnTo>
                    <a:pt x="9049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7" name="Freeform: Shape 2561">
              <a:extLst>
                <a:ext uri="{FF2B5EF4-FFF2-40B4-BE49-F238E27FC236}">
                  <a16:creationId xmlns:a16="http://schemas.microsoft.com/office/drawing/2014/main" id="{A8F857DC-6416-4EA3-917E-5362A16622E5}"/>
                </a:ext>
              </a:extLst>
            </p:cNvPr>
            <p:cNvSpPr/>
            <p:nvPr/>
          </p:nvSpPr>
          <p:spPr>
            <a:xfrm>
              <a:off x="4368465" y="1204216"/>
              <a:ext cx="27540" cy="7869"/>
            </a:xfrm>
            <a:custGeom>
              <a:avLst/>
              <a:gdLst>
                <a:gd name="connsiteX0" fmla="*/ 7475 w 27539"/>
                <a:gd name="connsiteY0" fmla="*/ 10229 h 7868"/>
                <a:gd name="connsiteX1" fmla="*/ 10622 w 27539"/>
                <a:gd name="connsiteY1" fmla="*/ 11409 h 7868"/>
                <a:gd name="connsiteX2" fmla="*/ 13770 w 27539"/>
                <a:gd name="connsiteY2" fmla="*/ 11016 h 7868"/>
                <a:gd name="connsiteX3" fmla="*/ 16917 w 27539"/>
                <a:gd name="connsiteY3" fmla="*/ 11016 h 7868"/>
                <a:gd name="connsiteX4" fmla="*/ 20065 w 27539"/>
                <a:gd name="connsiteY4" fmla="*/ 10229 h 7868"/>
                <a:gd name="connsiteX5" fmla="*/ 23212 w 27539"/>
                <a:gd name="connsiteY5" fmla="*/ 9442 h 7868"/>
                <a:gd name="connsiteX6" fmla="*/ 26359 w 27539"/>
                <a:gd name="connsiteY6" fmla="*/ 8655 h 7868"/>
                <a:gd name="connsiteX7" fmla="*/ 29113 w 27539"/>
                <a:gd name="connsiteY7" fmla="*/ 5901 h 7868"/>
                <a:gd name="connsiteX8" fmla="*/ 27540 w 27539"/>
                <a:gd name="connsiteY8" fmla="*/ 2754 h 7868"/>
                <a:gd name="connsiteX9" fmla="*/ 27146 w 27539"/>
                <a:gd name="connsiteY9" fmla="*/ 2754 h 7868"/>
                <a:gd name="connsiteX10" fmla="*/ 23999 w 27539"/>
                <a:gd name="connsiteY10" fmla="*/ 1180 h 7868"/>
                <a:gd name="connsiteX11" fmla="*/ 21245 w 27539"/>
                <a:gd name="connsiteY11" fmla="*/ 787 h 7868"/>
                <a:gd name="connsiteX12" fmla="*/ 18098 w 27539"/>
                <a:gd name="connsiteY12" fmla="*/ 787 h 7868"/>
                <a:gd name="connsiteX13" fmla="*/ 15343 w 27539"/>
                <a:gd name="connsiteY13" fmla="*/ 0 h 7868"/>
                <a:gd name="connsiteX14" fmla="*/ 12196 w 27539"/>
                <a:gd name="connsiteY14" fmla="*/ 0 h 7868"/>
                <a:gd name="connsiteX15" fmla="*/ 9049 w 27539"/>
                <a:gd name="connsiteY15" fmla="*/ 1180 h 7868"/>
                <a:gd name="connsiteX16" fmla="*/ 6295 w 27539"/>
                <a:gd name="connsiteY16" fmla="*/ 1180 h 7868"/>
                <a:gd name="connsiteX17" fmla="*/ 3147 w 27539"/>
                <a:gd name="connsiteY17" fmla="*/ 3147 h 7868"/>
                <a:gd name="connsiteX18" fmla="*/ 0 w 27539"/>
                <a:gd name="connsiteY18" fmla="*/ 5901 h 7868"/>
                <a:gd name="connsiteX19" fmla="*/ 1180 w 27539"/>
                <a:gd name="connsiteY19" fmla="*/ 8655 h 7868"/>
                <a:gd name="connsiteX20" fmla="*/ 4328 w 27539"/>
                <a:gd name="connsiteY20" fmla="*/ 944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7539" h="7868">
                  <a:moveTo>
                    <a:pt x="7475" y="10229"/>
                  </a:moveTo>
                  <a:lnTo>
                    <a:pt x="10622" y="11409"/>
                  </a:lnTo>
                  <a:lnTo>
                    <a:pt x="13770" y="11016"/>
                  </a:lnTo>
                  <a:lnTo>
                    <a:pt x="16917" y="11016"/>
                  </a:lnTo>
                  <a:lnTo>
                    <a:pt x="20065" y="10229"/>
                  </a:lnTo>
                  <a:lnTo>
                    <a:pt x="23212" y="9442"/>
                  </a:lnTo>
                  <a:lnTo>
                    <a:pt x="26359" y="8655"/>
                  </a:lnTo>
                  <a:lnTo>
                    <a:pt x="29113" y="5901"/>
                  </a:lnTo>
                  <a:lnTo>
                    <a:pt x="27540" y="2754"/>
                  </a:lnTo>
                  <a:lnTo>
                    <a:pt x="27146" y="2754"/>
                  </a:lnTo>
                  <a:lnTo>
                    <a:pt x="23999" y="1180"/>
                  </a:lnTo>
                  <a:lnTo>
                    <a:pt x="21245" y="787"/>
                  </a:lnTo>
                  <a:lnTo>
                    <a:pt x="18098" y="787"/>
                  </a:lnTo>
                  <a:lnTo>
                    <a:pt x="15343" y="0"/>
                  </a:lnTo>
                  <a:lnTo>
                    <a:pt x="12196" y="0"/>
                  </a:lnTo>
                  <a:lnTo>
                    <a:pt x="9049" y="1180"/>
                  </a:lnTo>
                  <a:lnTo>
                    <a:pt x="6295" y="1180"/>
                  </a:lnTo>
                  <a:lnTo>
                    <a:pt x="3147" y="3147"/>
                  </a:lnTo>
                  <a:lnTo>
                    <a:pt x="0" y="5901"/>
                  </a:lnTo>
                  <a:lnTo>
                    <a:pt x="1180" y="8655"/>
                  </a:lnTo>
                  <a:lnTo>
                    <a:pt x="4328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8" name="Freeform: Shape 2562">
              <a:extLst>
                <a:ext uri="{FF2B5EF4-FFF2-40B4-BE49-F238E27FC236}">
                  <a16:creationId xmlns:a16="http://schemas.microsoft.com/office/drawing/2014/main" id="{D4375C8E-4FF0-4B64-A9DB-9B7D3117FEF7}"/>
                </a:ext>
              </a:extLst>
            </p:cNvPr>
            <p:cNvSpPr/>
            <p:nvPr/>
          </p:nvSpPr>
          <p:spPr>
            <a:xfrm>
              <a:off x="4127294" y="1294704"/>
              <a:ext cx="153436" cy="59014"/>
            </a:xfrm>
            <a:custGeom>
              <a:avLst/>
              <a:gdLst>
                <a:gd name="connsiteX0" fmla="*/ 93636 w 153436"/>
                <a:gd name="connsiteY0" fmla="*/ 35408 h 59013"/>
                <a:gd name="connsiteX1" fmla="*/ 99537 w 153436"/>
                <a:gd name="connsiteY1" fmla="*/ 32654 h 59013"/>
                <a:gd name="connsiteX2" fmla="*/ 102684 w 153436"/>
                <a:gd name="connsiteY2" fmla="*/ 31081 h 59013"/>
                <a:gd name="connsiteX3" fmla="*/ 105832 w 153436"/>
                <a:gd name="connsiteY3" fmla="*/ 29507 h 59013"/>
                <a:gd name="connsiteX4" fmla="*/ 108979 w 153436"/>
                <a:gd name="connsiteY4" fmla="*/ 27933 h 59013"/>
                <a:gd name="connsiteX5" fmla="*/ 111733 w 153436"/>
                <a:gd name="connsiteY5" fmla="*/ 26753 h 59013"/>
                <a:gd name="connsiteX6" fmla="*/ 111733 w 153436"/>
                <a:gd name="connsiteY6" fmla="*/ 25179 h 59013"/>
                <a:gd name="connsiteX7" fmla="*/ 112127 w 153436"/>
                <a:gd name="connsiteY7" fmla="*/ 25179 h 59013"/>
                <a:gd name="connsiteX8" fmla="*/ 115274 w 153436"/>
                <a:gd name="connsiteY8" fmla="*/ 24786 h 59013"/>
                <a:gd name="connsiteX9" fmla="*/ 118422 w 153436"/>
                <a:gd name="connsiteY9" fmla="*/ 23212 h 59013"/>
                <a:gd name="connsiteX10" fmla="*/ 121176 w 153436"/>
                <a:gd name="connsiteY10" fmla="*/ 22032 h 59013"/>
                <a:gd name="connsiteX11" fmla="*/ 123929 w 153436"/>
                <a:gd name="connsiteY11" fmla="*/ 20852 h 59013"/>
                <a:gd name="connsiteX12" fmla="*/ 127077 w 153436"/>
                <a:gd name="connsiteY12" fmla="*/ 19278 h 59013"/>
                <a:gd name="connsiteX13" fmla="*/ 130224 w 153436"/>
                <a:gd name="connsiteY13" fmla="*/ 16917 h 59013"/>
                <a:gd name="connsiteX14" fmla="*/ 133765 w 153436"/>
                <a:gd name="connsiteY14" fmla="*/ 16917 h 59013"/>
                <a:gd name="connsiteX15" fmla="*/ 136519 w 153436"/>
                <a:gd name="connsiteY15" fmla="*/ 15737 h 59013"/>
                <a:gd name="connsiteX16" fmla="*/ 139273 w 153436"/>
                <a:gd name="connsiteY16" fmla="*/ 14557 h 59013"/>
                <a:gd name="connsiteX17" fmla="*/ 142420 w 153436"/>
                <a:gd name="connsiteY17" fmla="*/ 13377 h 59013"/>
                <a:gd name="connsiteX18" fmla="*/ 145568 w 153436"/>
                <a:gd name="connsiteY18" fmla="*/ 11803 h 59013"/>
                <a:gd name="connsiteX19" fmla="*/ 148715 w 153436"/>
                <a:gd name="connsiteY19" fmla="*/ 10623 h 59013"/>
                <a:gd name="connsiteX20" fmla="*/ 151469 w 153436"/>
                <a:gd name="connsiteY20" fmla="*/ 8262 h 59013"/>
                <a:gd name="connsiteX21" fmla="*/ 154223 w 153436"/>
                <a:gd name="connsiteY21" fmla="*/ 8262 h 59013"/>
                <a:gd name="connsiteX22" fmla="*/ 151469 w 153436"/>
                <a:gd name="connsiteY22" fmla="*/ 6688 h 59013"/>
                <a:gd name="connsiteX23" fmla="*/ 148322 w 153436"/>
                <a:gd name="connsiteY23" fmla="*/ 5901 h 59013"/>
                <a:gd name="connsiteX24" fmla="*/ 145568 w 153436"/>
                <a:gd name="connsiteY24" fmla="*/ 5508 h 59013"/>
                <a:gd name="connsiteX25" fmla="*/ 142420 w 153436"/>
                <a:gd name="connsiteY25" fmla="*/ 4721 h 59013"/>
                <a:gd name="connsiteX26" fmla="*/ 139273 w 153436"/>
                <a:gd name="connsiteY26" fmla="*/ 4328 h 59013"/>
                <a:gd name="connsiteX27" fmla="*/ 133372 w 153436"/>
                <a:gd name="connsiteY27" fmla="*/ 4328 h 59013"/>
                <a:gd name="connsiteX28" fmla="*/ 130618 w 153436"/>
                <a:gd name="connsiteY28" fmla="*/ 3934 h 59013"/>
                <a:gd name="connsiteX29" fmla="*/ 127470 w 153436"/>
                <a:gd name="connsiteY29" fmla="*/ 3934 h 59013"/>
                <a:gd name="connsiteX30" fmla="*/ 124323 w 153436"/>
                <a:gd name="connsiteY30" fmla="*/ 4328 h 59013"/>
                <a:gd name="connsiteX31" fmla="*/ 121176 w 153436"/>
                <a:gd name="connsiteY31" fmla="*/ 4721 h 59013"/>
                <a:gd name="connsiteX32" fmla="*/ 118422 w 153436"/>
                <a:gd name="connsiteY32" fmla="*/ 5508 h 59013"/>
                <a:gd name="connsiteX33" fmla="*/ 114881 w 153436"/>
                <a:gd name="connsiteY33" fmla="*/ 5901 h 59013"/>
                <a:gd name="connsiteX34" fmla="*/ 114881 w 153436"/>
                <a:gd name="connsiteY34" fmla="*/ 3147 h 59013"/>
                <a:gd name="connsiteX35" fmla="*/ 112127 w 153436"/>
                <a:gd name="connsiteY35" fmla="*/ 1574 h 59013"/>
                <a:gd name="connsiteX36" fmla="*/ 109766 w 153436"/>
                <a:gd name="connsiteY36" fmla="*/ 2361 h 59013"/>
                <a:gd name="connsiteX37" fmla="*/ 106619 w 153436"/>
                <a:gd name="connsiteY37" fmla="*/ 787 h 59013"/>
                <a:gd name="connsiteX38" fmla="*/ 103865 w 153436"/>
                <a:gd name="connsiteY38" fmla="*/ 787 h 59013"/>
                <a:gd name="connsiteX39" fmla="*/ 100717 w 153436"/>
                <a:gd name="connsiteY39" fmla="*/ 0 h 59013"/>
                <a:gd name="connsiteX40" fmla="*/ 94422 w 153436"/>
                <a:gd name="connsiteY40" fmla="*/ 0 h 59013"/>
                <a:gd name="connsiteX41" fmla="*/ 91275 w 153436"/>
                <a:gd name="connsiteY41" fmla="*/ 393 h 59013"/>
                <a:gd name="connsiteX42" fmla="*/ 88128 w 153436"/>
                <a:gd name="connsiteY42" fmla="*/ 2754 h 59013"/>
                <a:gd name="connsiteX43" fmla="*/ 84980 w 153436"/>
                <a:gd name="connsiteY43" fmla="*/ 787 h 59013"/>
                <a:gd name="connsiteX44" fmla="*/ 81833 w 153436"/>
                <a:gd name="connsiteY44" fmla="*/ 787 h 59013"/>
                <a:gd name="connsiteX45" fmla="*/ 79079 w 153436"/>
                <a:gd name="connsiteY45" fmla="*/ 1180 h 59013"/>
                <a:gd name="connsiteX46" fmla="*/ 75931 w 153436"/>
                <a:gd name="connsiteY46" fmla="*/ 1574 h 59013"/>
                <a:gd name="connsiteX47" fmla="*/ 72784 w 153436"/>
                <a:gd name="connsiteY47" fmla="*/ 1967 h 59013"/>
                <a:gd name="connsiteX48" fmla="*/ 70030 w 153436"/>
                <a:gd name="connsiteY48" fmla="*/ 2361 h 59013"/>
                <a:gd name="connsiteX49" fmla="*/ 66882 w 153436"/>
                <a:gd name="connsiteY49" fmla="*/ 2754 h 59013"/>
                <a:gd name="connsiteX50" fmla="*/ 63735 w 153436"/>
                <a:gd name="connsiteY50" fmla="*/ 3541 h 59013"/>
                <a:gd name="connsiteX51" fmla="*/ 60194 w 153436"/>
                <a:gd name="connsiteY51" fmla="*/ 3934 h 59013"/>
                <a:gd name="connsiteX52" fmla="*/ 57047 w 153436"/>
                <a:gd name="connsiteY52" fmla="*/ 4328 h 59013"/>
                <a:gd name="connsiteX53" fmla="*/ 53899 w 153436"/>
                <a:gd name="connsiteY53" fmla="*/ 4721 h 59013"/>
                <a:gd name="connsiteX54" fmla="*/ 51145 w 153436"/>
                <a:gd name="connsiteY54" fmla="*/ 6688 h 59013"/>
                <a:gd name="connsiteX55" fmla="*/ 54293 w 153436"/>
                <a:gd name="connsiteY55" fmla="*/ 8655 h 59013"/>
                <a:gd name="connsiteX56" fmla="*/ 52719 w 153436"/>
                <a:gd name="connsiteY56" fmla="*/ 11409 h 59013"/>
                <a:gd name="connsiteX57" fmla="*/ 55473 w 153436"/>
                <a:gd name="connsiteY57" fmla="*/ 13377 h 59013"/>
                <a:gd name="connsiteX58" fmla="*/ 52719 w 153436"/>
                <a:gd name="connsiteY58" fmla="*/ 14163 h 59013"/>
                <a:gd name="connsiteX59" fmla="*/ 49572 w 153436"/>
                <a:gd name="connsiteY59" fmla="*/ 13377 h 59013"/>
                <a:gd name="connsiteX60" fmla="*/ 46818 w 153436"/>
                <a:gd name="connsiteY60" fmla="*/ 11016 h 59013"/>
                <a:gd name="connsiteX61" fmla="*/ 44064 w 153436"/>
                <a:gd name="connsiteY61" fmla="*/ 10623 h 59013"/>
                <a:gd name="connsiteX62" fmla="*/ 40523 w 153436"/>
                <a:gd name="connsiteY62" fmla="*/ 11803 h 59013"/>
                <a:gd name="connsiteX63" fmla="*/ 37769 w 153436"/>
                <a:gd name="connsiteY63" fmla="*/ 12590 h 59013"/>
                <a:gd name="connsiteX64" fmla="*/ 35015 w 153436"/>
                <a:gd name="connsiteY64" fmla="*/ 14557 h 59013"/>
                <a:gd name="connsiteX65" fmla="*/ 33441 w 153436"/>
                <a:gd name="connsiteY65" fmla="*/ 17311 h 59013"/>
                <a:gd name="connsiteX66" fmla="*/ 30294 w 153436"/>
                <a:gd name="connsiteY66" fmla="*/ 19278 h 59013"/>
                <a:gd name="connsiteX67" fmla="*/ 28720 w 153436"/>
                <a:gd name="connsiteY67" fmla="*/ 22032 h 59013"/>
                <a:gd name="connsiteX68" fmla="*/ 25966 w 153436"/>
                <a:gd name="connsiteY68" fmla="*/ 24786 h 59013"/>
                <a:gd name="connsiteX69" fmla="*/ 23999 w 153436"/>
                <a:gd name="connsiteY69" fmla="*/ 27933 h 59013"/>
                <a:gd name="connsiteX70" fmla="*/ 20852 w 153436"/>
                <a:gd name="connsiteY70" fmla="*/ 28720 h 59013"/>
                <a:gd name="connsiteX71" fmla="*/ 14950 w 153436"/>
                <a:gd name="connsiteY71" fmla="*/ 33835 h 59013"/>
                <a:gd name="connsiteX72" fmla="*/ 12196 w 153436"/>
                <a:gd name="connsiteY72" fmla="*/ 36195 h 59013"/>
                <a:gd name="connsiteX73" fmla="*/ 10623 w 153436"/>
                <a:gd name="connsiteY73" fmla="*/ 38949 h 59013"/>
                <a:gd name="connsiteX74" fmla="*/ 12983 w 153436"/>
                <a:gd name="connsiteY74" fmla="*/ 42097 h 59013"/>
                <a:gd name="connsiteX75" fmla="*/ 12983 w 153436"/>
                <a:gd name="connsiteY75" fmla="*/ 45244 h 59013"/>
                <a:gd name="connsiteX76" fmla="*/ 10229 w 153436"/>
                <a:gd name="connsiteY76" fmla="*/ 47211 h 59013"/>
                <a:gd name="connsiteX77" fmla="*/ 8655 w 153436"/>
                <a:gd name="connsiteY77" fmla="*/ 50359 h 59013"/>
                <a:gd name="connsiteX78" fmla="*/ 5508 w 153436"/>
                <a:gd name="connsiteY78" fmla="*/ 52326 h 59013"/>
                <a:gd name="connsiteX79" fmla="*/ 3148 w 153436"/>
                <a:gd name="connsiteY79" fmla="*/ 55080 h 59013"/>
                <a:gd name="connsiteX80" fmla="*/ 5901 w 153436"/>
                <a:gd name="connsiteY80" fmla="*/ 55080 h 59013"/>
                <a:gd name="connsiteX81" fmla="*/ 9049 w 153436"/>
                <a:gd name="connsiteY81" fmla="*/ 55080 h 59013"/>
                <a:gd name="connsiteX82" fmla="*/ 11803 w 153436"/>
                <a:gd name="connsiteY82" fmla="*/ 55080 h 59013"/>
                <a:gd name="connsiteX83" fmla="*/ 8655 w 153436"/>
                <a:gd name="connsiteY83" fmla="*/ 55080 h 59013"/>
                <a:gd name="connsiteX84" fmla="*/ 5901 w 153436"/>
                <a:gd name="connsiteY84" fmla="*/ 55473 h 59013"/>
                <a:gd name="connsiteX85" fmla="*/ 2754 w 153436"/>
                <a:gd name="connsiteY85" fmla="*/ 56260 h 59013"/>
                <a:gd name="connsiteX86" fmla="*/ 0 w 153436"/>
                <a:gd name="connsiteY86" fmla="*/ 57834 h 59013"/>
                <a:gd name="connsiteX87" fmla="*/ 3541 w 153436"/>
                <a:gd name="connsiteY87" fmla="*/ 59407 h 59013"/>
                <a:gd name="connsiteX88" fmla="*/ 6295 w 153436"/>
                <a:gd name="connsiteY88" fmla="*/ 59407 h 59013"/>
                <a:gd name="connsiteX89" fmla="*/ 9442 w 153436"/>
                <a:gd name="connsiteY89" fmla="*/ 59014 h 59013"/>
                <a:gd name="connsiteX90" fmla="*/ 12590 w 153436"/>
                <a:gd name="connsiteY90" fmla="*/ 59014 h 59013"/>
                <a:gd name="connsiteX91" fmla="*/ 15344 w 153436"/>
                <a:gd name="connsiteY91" fmla="*/ 58621 h 59013"/>
                <a:gd name="connsiteX92" fmla="*/ 18491 w 153436"/>
                <a:gd name="connsiteY92" fmla="*/ 59407 h 59013"/>
                <a:gd name="connsiteX93" fmla="*/ 21638 w 153436"/>
                <a:gd name="connsiteY93" fmla="*/ 59801 h 59013"/>
                <a:gd name="connsiteX94" fmla="*/ 24392 w 153436"/>
                <a:gd name="connsiteY94" fmla="*/ 57834 h 59013"/>
                <a:gd name="connsiteX95" fmla="*/ 21638 w 153436"/>
                <a:gd name="connsiteY95" fmla="*/ 58621 h 59013"/>
                <a:gd name="connsiteX96" fmla="*/ 24392 w 153436"/>
                <a:gd name="connsiteY96" fmla="*/ 57047 h 59013"/>
                <a:gd name="connsiteX97" fmla="*/ 27147 w 153436"/>
                <a:gd name="connsiteY97" fmla="*/ 55080 h 59013"/>
                <a:gd name="connsiteX98" fmla="*/ 30294 w 153436"/>
                <a:gd name="connsiteY98" fmla="*/ 53506 h 59013"/>
                <a:gd name="connsiteX99" fmla="*/ 33441 w 153436"/>
                <a:gd name="connsiteY99" fmla="*/ 52326 h 59013"/>
                <a:gd name="connsiteX100" fmla="*/ 36195 w 153436"/>
                <a:gd name="connsiteY100" fmla="*/ 50752 h 59013"/>
                <a:gd name="connsiteX101" fmla="*/ 39343 w 153436"/>
                <a:gd name="connsiteY101" fmla="*/ 50359 h 59013"/>
                <a:gd name="connsiteX102" fmla="*/ 42097 w 153436"/>
                <a:gd name="connsiteY102" fmla="*/ 49178 h 59013"/>
                <a:gd name="connsiteX103" fmla="*/ 45244 w 153436"/>
                <a:gd name="connsiteY103" fmla="*/ 47605 h 59013"/>
                <a:gd name="connsiteX104" fmla="*/ 47998 w 153436"/>
                <a:gd name="connsiteY104" fmla="*/ 46031 h 59013"/>
                <a:gd name="connsiteX105" fmla="*/ 47998 w 153436"/>
                <a:gd name="connsiteY105" fmla="*/ 43277 h 59013"/>
                <a:gd name="connsiteX106" fmla="*/ 47605 w 153436"/>
                <a:gd name="connsiteY106" fmla="*/ 40129 h 59013"/>
                <a:gd name="connsiteX107" fmla="*/ 44457 w 153436"/>
                <a:gd name="connsiteY107" fmla="*/ 39736 h 59013"/>
                <a:gd name="connsiteX108" fmla="*/ 41703 w 153436"/>
                <a:gd name="connsiteY108" fmla="*/ 38949 h 59013"/>
                <a:gd name="connsiteX109" fmla="*/ 38949 w 153436"/>
                <a:gd name="connsiteY109" fmla="*/ 38949 h 59013"/>
                <a:gd name="connsiteX110" fmla="*/ 41703 w 153436"/>
                <a:gd name="connsiteY110" fmla="*/ 38162 h 59013"/>
                <a:gd name="connsiteX111" fmla="*/ 45244 w 153436"/>
                <a:gd name="connsiteY111" fmla="*/ 38162 h 59013"/>
                <a:gd name="connsiteX112" fmla="*/ 47998 w 153436"/>
                <a:gd name="connsiteY112" fmla="*/ 38162 h 59013"/>
                <a:gd name="connsiteX113" fmla="*/ 51145 w 153436"/>
                <a:gd name="connsiteY113" fmla="*/ 37769 h 59013"/>
                <a:gd name="connsiteX114" fmla="*/ 53899 w 153436"/>
                <a:gd name="connsiteY114" fmla="*/ 38162 h 59013"/>
                <a:gd name="connsiteX115" fmla="*/ 57047 w 153436"/>
                <a:gd name="connsiteY115" fmla="*/ 36982 h 59013"/>
                <a:gd name="connsiteX116" fmla="*/ 59801 w 153436"/>
                <a:gd name="connsiteY116" fmla="*/ 36982 h 59013"/>
                <a:gd name="connsiteX117" fmla="*/ 62948 w 153436"/>
                <a:gd name="connsiteY117" fmla="*/ 37769 h 59013"/>
                <a:gd name="connsiteX118" fmla="*/ 66096 w 153436"/>
                <a:gd name="connsiteY118" fmla="*/ 38162 h 59013"/>
                <a:gd name="connsiteX119" fmla="*/ 68850 w 153436"/>
                <a:gd name="connsiteY119" fmla="*/ 38949 h 59013"/>
                <a:gd name="connsiteX120" fmla="*/ 72391 w 153436"/>
                <a:gd name="connsiteY120" fmla="*/ 38949 h 59013"/>
                <a:gd name="connsiteX121" fmla="*/ 75145 w 153436"/>
                <a:gd name="connsiteY121" fmla="*/ 39343 h 59013"/>
                <a:gd name="connsiteX122" fmla="*/ 78292 w 153436"/>
                <a:gd name="connsiteY122" fmla="*/ 40129 h 59013"/>
                <a:gd name="connsiteX123" fmla="*/ 81439 w 153436"/>
                <a:gd name="connsiteY123" fmla="*/ 39343 h 59013"/>
                <a:gd name="connsiteX124" fmla="*/ 84587 w 153436"/>
                <a:gd name="connsiteY124" fmla="*/ 38949 h 59013"/>
                <a:gd name="connsiteX125" fmla="*/ 87341 w 153436"/>
                <a:gd name="connsiteY125" fmla="*/ 37376 h 59013"/>
                <a:gd name="connsiteX126" fmla="*/ 90488 w 153436"/>
                <a:gd name="connsiteY126" fmla="*/ 36589 h 59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</a:cxnLst>
              <a:rect l="l" t="t" r="r" b="b"/>
              <a:pathLst>
                <a:path w="153436" h="59013">
                  <a:moveTo>
                    <a:pt x="93636" y="35408"/>
                  </a:moveTo>
                  <a:lnTo>
                    <a:pt x="99537" y="32654"/>
                  </a:lnTo>
                  <a:lnTo>
                    <a:pt x="102684" y="31081"/>
                  </a:lnTo>
                  <a:lnTo>
                    <a:pt x="105832" y="29507"/>
                  </a:lnTo>
                  <a:lnTo>
                    <a:pt x="108979" y="27933"/>
                  </a:lnTo>
                  <a:lnTo>
                    <a:pt x="111733" y="26753"/>
                  </a:lnTo>
                  <a:lnTo>
                    <a:pt x="111733" y="25179"/>
                  </a:lnTo>
                  <a:lnTo>
                    <a:pt x="112127" y="25179"/>
                  </a:lnTo>
                  <a:lnTo>
                    <a:pt x="115274" y="24786"/>
                  </a:lnTo>
                  <a:lnTo>
                    <a:pt x="118422" y="23212"/>
                  </a:lnTo>
                  <a:lnTo>
                    <a:pt x="121176" y="22032"/>
                  </a:lnTo>
                  <a:lnTo>
                    <a:pt x="123929" y="20852"/>
                  </a:lnTo>
                  <a:lnTo>
                    <a:pt x="127077" y="19278"/>
                  </a:lnTo>
                  <a:lnTo>
                    <a:pt x="130224" y="16917"/>
                  </a:lnTo>
                  <a:lnTo>
                    <a:pt x="133765" y="16917"/>
                  </a:lnTo>
                  <a:lnTo>
                    <a:pt x="136519" y="15737"/>
                  </a:lnTo>
                  <a:lnTo>
                    <a:pt x="139273" y="14557"/>
                  </a:lnTo>
                  <a:lnTo>
                    <a:pt x="142420" y="13377"/>
                  </a:lnTo>
                  <a:lnTo>
                    <a:pt x="145568" y="11803"/>
                  </a:lnTo>
                  <a:lnTo>
                    <a:pt x="148715" y="10623"/>
                  </a:lnTo>
                  <a:lnTo>
                    <a:pt x="151469" y="8262"/>
                  </a:lnTo>
                  <a:lnTo>
                    <a:pt x="154223" y="8262"/>
                  </a:lnTo>
                  <a:lnTo>
                    <a:pt x="151469" y="6688"/>
                  </a:lnTo>
                  <a:lnTo>
                    <a:pt x="148322" y="5901"/>
                  </a:lnTo>
                  <a:lnTo>
                    <a:pt x="145568" y="5508"/>
                  </a:lnTo>
                  <a:lnTo>
                    <a:pt x="142420" y="4721"/>
                  </a:lnTo>
                  <a:lnTo>
                    <a:pt x="139273" y="4328"/>
                  </a:lnTo>
                  <a:lnTo>
                    <a:pt x="133372" y="4328"/>
                  </a:lnTo>
                  <a:lnTo>
                    <a:pt x="130618" y="3934"/>
                  </a:lnTo>
                  <a:lnTo>
                    <a:pt x="127470" y="3934"/>
                  </a:lnTo>
                  <a:lnTo>
                    <a:pt x="124323" y="4328"/>
                  </a:lnTo>
                  <a:lnTo>
                    <a:pt x="121176" y="4721"/>
                  </a:lnTo>
                  <a:lnTo>
                    <a:pt x="118422" y="5508"/>
                  </a:lnTo>
                  <a:lnTo>
                    <a:pt x="114881" y="5901"/>
                  </a:lnTo>
                  <a:lnTo>
                    <a:pt x="114881" y="3147"/>
                  </a:lnTo>
                  <a:lnTo>
                    <a:pt x="112127" y="1574"/>
                  </a:lnTo>
                  <a:lnTo>
                    <a:pt x="109766" y="2361"/>
                  </a:lnTo>
                  <a:lnTo>
                    <a:pt x="106619" y="787"/>
                  </a:lnTo>
                  <a:lnTo>
                    <a:pt x="103865" y="787"/>
                  </a:lnTo>
                  <a:lnTo>
                    <a:pt x="100717" y="0"/>
                  </a:lnTo>
                  <a:lnTo>
                    <a:pt x="94422" y="0"/>
                  </a:lnTo>
                  <a:lnTo>
                    <a:pt x="91275" y="393"/>
                  </a:lnTo>
                  <a:lnTo>
                    <a:pt x="88128" y="2754"/>
                  </a:lnTo>
                  <a:lnTo>
                    <a:pt x="84980" y="787"/>
                  </a:lnTo>
                  <a:lnTo>
                    <a:pt x="81833" y="787"/>
                  </a:lnTo>
                  <a:lnTo>
                    <a:pt x="79079" y="1180"/>
                  </a:lnTo>
                  <a:lnTo>
                    <a:pt x="75931" y="1574"/>
                  </a:lnTo>
                  <a:lnTo>
                    <a:pt x="72784" y="1967"/>
                  </a:lnTo>
                  <a:lnTo>
                    <a:pt x="70030" y="2361"/>
                  </a:lnTo>
                  <a:lnTo>
                    <a:pt x="66882" y="2754"/>
                  </a:lnTo>
                  <a:lnTo>
                    <a:pt x="63735" y="3541"/>
                  </a:lnTo>
                  <a:lnTo>
                    <a:pt x="60194" y="3934"/>
                  </a:lnTo>
                  <a:lnTo>
                    <a:pt x="57047" y="4328"/>
                  </a:lnTo>
                  <a:lnTo>
                    <a:pt x="53899" y="4721"/>
                  </a:lnTo>
                  <a:lnTo>
                    <a:pt x="51145" y="6688"/>
                  </a:lnTo>
                  <a:lnTo>
                    <a:pt x="54293" y="8655"/>
                  </a:lnTo>
                  <a:lnTo>
                    <a:pt x="52719" y="11409"/>
                  </a:lnTo>
                  <a:lnTo>
                    <a:pt x="55473" y="13377"/>
                  </a:lnTo>
                  <a:lnTo>
                    <a:pt x="52719" y="14163"/>
                  </a:lnTo>
                  <a:lnTo>
                    <a:pt x="49572" y="13377"/>
                  </a:lnTo>
                  <a:lnTo>
                    <a:pt x="46818" y="11016"/>
                  </a:lnTo>
                  <a:lnTo>
                    <a:pt x="44064" y="10623"/>
                  </a:lnTo>
                  <a:lnTo>
                    <a:pt x="40523" y="11803"/>
                  </a:lnTo>
                  <a:lnTo>
                    <a:pt x="37769" y="12590"/>
                  </a:lnTo>
                  <a:lnTo>
                    <a:pt x="35015" y="14557"/>
                  </a:lnTo>
                  <a:lnTo>
                    <a:pt x="33441" y="17311"/>
                  </a:lnTo>
                  <a:lnTo>
                    <a:pt x="30294" y="19278"/>
                  </a:lnTo>
                  <a:lnTo>
                    <a:pt x="28720" y="22032"/>
                  </a:lnTo>
                  <a:lnTo>
                    <a:pt x="25966" y="24786"/>
                  </a:lnTo>
                  <a:lnTo>
                    <a:pt x="23999" y="27933"/>
                  </a:lnTo>
                  <a:lnTo>
                    <a:pt x="20852" y="28720"/>
                  </a:lnTo>
                  <a:lnTo>
                    <a:pt x="14950" y="33835"/>
                  </a:lnTo>
                  <a:lnTo>
                    <a:pt x="12196" y="36195"/>
                  </a:lnTo>
                  <a:lnTo>
                    <a:pt x="10623" y="38949"/>
                  </a:lnTo>
                  <a:lnTo>
                    <a:pt x="12983" y="42097"/>
                  </a:lnTo>
                  <a:lnTo>
                    <a:pt x="12983" y="45244"/>
                  </a:lnTo>
                  <a:lnTo>
                    <a:pt x="10229" y="47211"/>
                  </a:lnTo>
                  <a:lnTo>
                    <a:pt x="8655" y="50359"/>
                  </a:lnTo>
                  <a:lnTo>
                    <a:pt x="5508" y="52326"/>
                  </a:lnTo>
                  <a:lnTo>
                    <a:pt x="3148" y="55080"/>
                  </a:lnTo>
                  <a:lnTo>
                    <a:pt x="5901" y="55080"/>
                  </a:lnTo>
                  <a:lnTo>
                    <a:pt x="9049" y="55080"/>
                  </a:lnTo>
                  <a:lnTo>
                    <a:pt x="11803" y="55080"/>
                  </a:lnTo>
                  <a:lnTo>
                    <a:pt x="8655" y="55080"/>
                  </a:lnTo>
                  <a:lnTo>
                    <a:pt x="5901" y="55473"/>
                  </a:lnTo>
                  <a:lnTo>
                    <a:pt x="2754" y="56260"/>
                  </a:lnTo>
                  <a:lnTo>
                    <a:pt x="0" y="57834"/>
                  </a:lnTo>
                  <a:lnTo>
                    <a:pt x="3541" y="59407"/>
                  </a:lnTo>
                  <a:lnTo>
                    <a:pt x="6295" y="59407"/>
                  </a:lnTo>
                  <a:lnTo>
                    <a:pt x="9442" y="59014"/>
                  </a:lnTo>
                  <a:lnTo>
                    <a:pt x="12590" y="59014"/>
                  </a:lnTo>
                  <a:lnTo>
                    <a:pt x="15344" y="58621"/>
                  </a:lnTo>
                  <a:lnTo>
                    <a:pt x="18491" y="59407"/>
                  </a:lnTo>
                  <a:lnTo>
                    <a:pt x="21638" y="59801"/>
                  </a:lnTo>
                  <a:lnTo>
                    <a:pt x="24392" y="57834"/>
                  </a:lnTo>
                  <a:lnTo>
                    <a:pt x="21638" y="58621"/>
                  </a:lnTo>
                  <a:lnTo>
                    <a:pt x="24392" y="57047"/>
                  </a:lnTo>
                  <a:lnTo>
                    <a:pt x="27147" y="55080"/>
                  </a:lnTo>
                  <a:lnTo>
                    <a:pt x="30294" y="53506"/>
                  </a:lnTo>
                  <a:lnTo>
                    <a:pt x="33441" y="52326"/>
                  </a:lnTo>
                  <a:lnTo>
                    <a:pt x="36195" y="50752"/>
                  </a:lnTo>
                  <a:lnTo>
                    <a:pt x="39343" y="50359"/>
                  </a:lnTo>
                  <a:lnTo>
                    <a:pt x="42097" y="49178"/>
                  </a:lnTo>
                  <a:lnTo>
                    <a:pt x="45244" y="47605"/>
                  </a:lnTo>
                  <a:lnTo>
                    <a:pt x="47998" y="46031"/>
                  </a:lnTo>
                  <a:lnTo>
                    <a:pt x="47998" y="43277"/>
                  </a:lnTo>
                  <a:lnTo>
                    <a:pt x="47605" y="40129"/>
                  </a:lnTo>
                  <a:lnTo>
                    <a:pt x="44457" y="39736"/>
                  </a:lnTo>
                  <a:lnTo>
                    <a:pt x="41703" y="38949"/>
                  </a:lnTo>
                  <a:lnTo>
                    <a:pt x="38949" y="38949"/>
                  </a:lnTo>
                  <a:lnTo>
                    <a:pt x="41703" y="38162"/>
                  </a:lnTo>
                  <a:lnTo>
                    <a:pt x="45244" y="38162"/>
                  </a:lnTo>
                  <a:lnTo>
                    <a:pt x="47998" y="38162"/>
                  </a:lnTo>
                  <a:lnTo>
                    <a:pt x="51145" y="37769"/>
                  </a:lnTo>
                  <a:lnTo>
                    <a:pt x="53899" y="38162"/>
                  </a:lnTo>
                  <a:lnTo>
                    <a:pt x="57047" y="36982"/>
                  </a:lnTo>
                  <a:lnTo>
                    <a:pt x="59801" y="36982"/>
                  </a:lnTo>
                  <a:lnTo>
                    <a:pt x="62948" y="37769"/>
                  </a:lnTo>
                  <a:lnTo>
                    <a:pt x="66096" y="38162"/>
                  </a:lnTo>
                  <a:lnTo>
                    <a:pt x="68850" y="38949"/>
                  </a:lnTo>
                  <a:lnTo>
                    <a:pt x="72391" y="38949"/>
                  </a:lnTo>
                  <a:lnTo>
                    <a:pt x="75145" y="39343"/>
                  </a:lnTo>
                  <a:lnTo>
                    <a:pt x="78292" y="40129"/>
                  </a:lnTo>
                  <a:lnTo>
                    <a:pt x="81439" y="39343"/>
                  </a:lnTo>
                  <a:lnTo>
                    <a:pt x="84587" y="38949"/>
                  </a:lnTo>
                  <a:lnTo>
                    <a:pt x="87341" y="37376"/>
                  </a:lnTo>
                  <a:lnTo>
                    <a:pt x="90488" y="3658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9" name="Freeform: Shape 2563">
              <a:extLst>
                <a:ext uri="{FF2B5EF4-FFF2-40B4-BE49-F238E27FC236}">
                  <a16:creationId xmlns:a16="http://schemas.microsoft.com/office/drawing/2014/main" id="{63656580-74D1-4495-B746-2A9ED9432D92}"/>
                </a:ext>
              </a:extLst>
            </p:cNvPr>
            <p:cNvSpPr/>
            <p:nvPr/>
          </p:nvSpPr>
          <p:spPr>
            <a:xfrm>
              <a:off x="4185915" y="1255755"/>
              <a:ext cx="66882" cy="23606"/>
            </a:xfrm>
            <a:custGeom>
              <a:avLst/>
              <a:gdLst>
                <a:gd name="connsiteX0" fmla="*/ 0 w 66882"/>
                <a:gd name="connsiteY0" fmla="*/ 16130 h 23605"/>
                <a:gd name="connsiteX1" fmla="*/ 2754 w 66882"/>
                <a:gd name="connsiteY1" fmla="*/ 16524 h 23605"/>
                <a:gd name="connsiteX2" fmla="*/ 5901 w 66882"/>
                <a:gd name="connsiteY2" fmla="*/ 18098 h 23605"/>
                <a:gd name="connsiteX3" fmla="*/ 8655 w 66882"/>
                <a:gd name="connsiteY3" fmla="*/ 16524 h 23605"/>
                <a:gd name="connsiteX4" fmla="*/ 6688 w 66882"/>
                <a:gd name="connsiteY4" fmla="*/ 19278 h 23605"/>
                <a:gd name="connsiteX5" fmla="*/ 9836 w 66882"/>
                <a:gd name="connsiteY5" fmla="*/ 21245 h 23605"/>
                <a:gd name="connsiteX6" fmla="*/ 12983 w 66882"/>
                <a:gd name="connsiteY6" fmla="*/ 21638 h 23605"/>
                <a:gd name="connsiteX7" fmla="*/ 15737 w 66882"/>
                <a:gd name="connsiteY7" fmla="*/ 22032 h 23605"/>
                <a:gd name="connsiteX8" fmla="*/ 18491 w 66882"/>
                <a:gd name="connsiteY8" fmla="*/ 22425 h 23605"/>
                <a:gd name="connsiteX9" fmla="*/ 21638 w 66882"/>
                <a:gd name="connsiteY9" fmla="*/ 23212 h 23605"/>
                <a:gd name="connsiteX10" fmla="*/ 24786 w 66882"/>
                <a:gd name="connsiteY10" fmla="*/ 25179 h 23605"/>
                <a:gd name="connsiteX11" fmla="*/ 27933 w 66882"/>
                <a:gd name="connsiteY11" fmla="*/ 26753 h 23605"/>
                <a:gd name="connsiteX12" fmla="*/ 30687 w 66882"/>
                <a:gd name="connsiteY12" fmla="*/ 26753 h 23605"/>
                <a:gd name="connsiteX13" fmla="*/ 33441 w 66882"/>
                <a:gd name="connsiteY13" fmla="*/ 26360 h 23605"/>
                <a:gd name="connsiteX14" fmla="*/ 36589 w 66882"/>
                <a:gd name="connsiteY14" fmla="*/ 26360 h 23605"/>
                <a:gd name="connsiteX15" fmla="*/ 39736 w 66882"/>
                <a:gd name="connsiteY15" fmla="*/ 26360 h 23605"/>
                <a:gd name="connsiteX16" fmla="*/ 42490 w 66882"/>
                <a:gd name="connsiteY16" fmla="*/ 26360 h 23605"/>
                <a:gd name="connsiteX17" fmla="*/ 45637 w 66882"/>
                <a:gd name="connsiteY17" fmla="*/ 26360 h 23605"/>
                <a:gd name="connsiteX18" fmla="*/ 48785 w 66882"/>
                <a:gd name="connsiteY18" fmla="*/ 26360 h 23605"/>
                <a:gd name="connsiteX19" fmla="*/ 51932 w 66882"/>
                <a:gd name="connsiteY19" fmla="*/ 25573 h 23605"/>
                <a:gd name="connsiteX20" fmla="*/ 57440 w 66882"/>
                <a:gd name="connsiteY20" fmla="*/ 22032 h 23605"/>
                <a:gd name="connsiteX21" fmla="*/ 60194 w 66882"/>
                <a:gd name="connsiteY21" fmla="*/ 19671 h 23605"/>
                <a:gd name="connsiteX22" fmla="*/ 62161 w 66882"/>
                <a:gd name="connsiteY22" fmla="*/ 16917 h 23605"/>
                <a:gd name="connsiteX23" fmla="*/ 65309 w 66882"/>
                <a:gd name="connsiteY23" fmla="*/ 14163 h 23605"/>
                <a:gd name="connsiteX24" fmla="*/ 67669 w 66882"/>
                <a:gd name="connsiteY24" fmla="*/ 11016 h 23605"/>
                <a:gd name="connsiteX25" fmla="*/ 68456 w 66882"/>
                <a:gd name="connsiteY25" fmla="*/ 8262 h 23605"/>
                <a:gd name="connsiteX26" fmla="*/ 65702 w 66882"/>
                <a:gd name="connsiteY26" fmla="*/ 5901 h 23605"/>
                <a:gd name="connsiteX27" fmla="*/ 63735 w 66882"/>
                <a:gd name="connsiteY27" fmla="*/ 2754 h 23605"/>
                <a:gd name="connsiteX28" fmla="*/ 60588 w 66882"/>
                <a:gd name="connsiteY28" fmla="*/ 787 h 23605"/>
                <a:gd name="connsiteX29" fmla="*/ 57834 w 66882"/>
                <a:gd name="connsiteY29" fmla="*/ 787 h 23605"/>
                <a:gd name="connsiteX30" fmla="*/ 55080 w 66882"/>
                <a:gd name="connsiteY30" fmla="*/ 0 h 23605"/>
                <a:gd name="connsiteX31" fmla="*/ 53506 w 66882"/>
                <a:gd name="connsiteY31" fmla="*/ 0 h 23605"/>
                <a:gd name="connsiteX32" fmla="*/ 50752 w 66882"/>
                <a:gd name="connsiteY32" fmla="*/ 393 h 23605"/>
                <a:gd name="connsiteX33" fmla="*/ 47211 w 66882"/>
                <a:gd name="connsiteY33" fmla="*/ 1180 h 23605"/>
                <a:gd name="connsiteX34" fmla="*/ 44457 w 66882"/>
                <a:gd name="connsiteY34" fmla="*/ 1180 h 23605"/>
                <a:gd name="connsiteX35" fmla="*/ 41310 w 66882"/>
                <a:gd name="connsiteY35" fmla="*/ 1967 h 23605"/>
                <a:gd name="connsiteX36" fmla="*/ 38556 w 66882"/>
                <a:gd name="connsiteY36" fmla="*/ 1967 h 23605"/>
                <a:gd name="connsiteX37" fmla="*/ 35408 w 66882"/>
                <a:gd name="connsiteY37" fmla="*/ 2754 h 23605"/>
                <a:gd name="connsiteX38" fmla="*/ 32654 w 66882"/>
                <a:gd name="connsiteY38" fmla="*/ 3147 h 23605"/>
                <a:gd name="connsiteX39" fmla="*/ 29900 w 66882"/>
                <a:gd name="connsiteY39" fmla="*/ 4328 h 23605"/>
                <a:gd name="connsiteX40" fmla="*/ 26753 w 66882"/>
                <a:gd name="connsiteY40" fmla="*/ 6295 h 23605"/>
                <a:gd name="connsiteX41" fmla="*/ 23999 w 66882"/>
                <a:gd name="connsiteY41" fmla="*/ 5901 h 23605"/>
                <a:gd name="connsiteX42" fmla="*/ 20852 w 66882"/>
                <a:gd name="connsiteY42" fmla="*/ 6295 h 23605"/>
                <a:gd name="connsiteX43" fmla="*/ 23606 w 66882"/>
                <a:gd name="connsiteY43" fmla="*/ 6295 h 23605"/>
                <a:gd name="connsiteX44" fmla="*/ 26753 w 66882"/>
                <a:gd name="connsiteY44" fmla="*/ 6688 h 23605"/>
                <a:gd name="connsiteX45" fmla="*/ 23606 w 66882"/>
                <a:gd name="connsiteY45" fmla="*/ 7475 h 23605"/>
                <a:gd name="connsiteX46" fmla="*/ 20852 w 66882"/>
                <a:gd name="connsiteY46" fmla="*/ 8262 h 23605"/>
                <a:gd name="connsiteX47" fmla="*/ 17704 w 66882"/>
                <a:gd name="connsiteY47" fmla="*/ 8655 h 23605"/>
                <a:gd name="connsiteX48" fmla="*/ 20458 w 66882"/>
                <a:gd name="connsiteY48" fmla="*/ 9049 h 23605"/>
                <a:gd name="connsiteX49" fmla="*/ 17704 w 66882"/>
                <a:gd name="connsiteY49" fmla="*/ 9836 h 23605"/>
                <a:gd name="connsiteX50" fmla="*/ 14950 w 66882"/>
                <a:gd name="connsiteY50" fmla="*/ 10622 h 23605"/>
                <a:gd name="connsiteX51" fmla="*/ 11803 w 66882"/>
                <a:gd name="connsiteY51" fmla="*/ 11016 h 23605"/>
                <a:gd name="connsiteX52" fmla="*/ 8655 w 66882"/>
                <a:gd name="connsiteY52" fmla="*/ 12196 h 23605"/>
                <a:gd name="connsiteX53" fmla="*/ 5901 w 66882"/>
                <a:gd name="connsiteY53" fmla="*/ 12983 h 23605"/>
                <a:gd name="connsiteX54" fmla="*/ 2754 w 66882"/>
                <a:gd name="connsiteY54" fmla="*/ 14163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66882" h="23605">
                  <a:moveTo>
                    <a:pt x="0" y="16130"/>
                  </a:moveTo>
                  <a:lnTo>
                    <a:pt x="2754" y="16524"/>
                  </a:lnTo>
                  <a:lnTo>
                    <a:pt x="5901" y="18098"/>
                  </a:lnTo>
                  <a:lnTo>
                    <a:pt x="8655" y="16524"/>
                  </a:lnTo>
                  <a:lnTo>
                    <a:pt x="6688" y="19278"/>
                  </a:lnTo>
                  <a:lnTo>
                    <a:pt x="9836" y="21245"/>
                  </a:lnTo>
                  <a:lnTo>
                    <a:pt x="12983" y="21638"/>
                  </a:lnTo>
                  <a:lnTo>
                    <a:pt x="15737" y="22032"/>
                  </a:lnTo>
                  <a:lnTo>
                    <a:pt x="18491" y="22425"/>
                  </a:lnTo>
                  <a:lnTo>
                    <a:pt x="21638" y="23212"/>
                  </a:lnTo>
                  <a:lnTo>
                    <a:pt x="24786" y="25179"/>
                  </a:lnTo>
                  <a:lnTo>
                    <a:pt x="27933" y="26753"/>
                  </a:lnTo>
                  <a:lnTo>
                    <a:pt x="30687" y="26753"/>
                  </a:lnTo>
                  <a:lnTo>
                    <a:pt x="33441" y="26360"/>
                  </a:lnTo>
                  <a:lnTo>
                    <a:pt x="36589" y="26360"/>
                  </a:lnTo>
                  <a:lnTo>
                    <a:pt x="39736" y="26360"/>
                  </a:lnTo>
                  <a:lnTo>
                    <a:pt x="42490" y="26360"/>
                  </a:lnTo>
                  <a:lnTo>
                    <a:pt x="45637" y="26360"/>
                  </a:lnTo>
                  <a:lnTo>
                    <a:pt x="48785" y="26360"/>
                  </a:lnTo>
                  <a:lnTo>
                    <a:pt x="51932" y="25573"/>
                  </a:lnTo>
                  <a:lnTo>
                    <a:pt x="57440" y="22032"/>
                  </a:lnTo>
                  <a:lnTo>
                    <a:pt x="60194" y="19671"/>
                  </a:lnTo>
                  <a:lnTo>
                    <a:pt x="62161" y="16917"/>
                  </a:lnTo>
                  <a:lnTo>
                    <a:pt x="65309" y="14163"/>
                  </a:lnTo>
                  <a:lnTo>
                    <a:pt x="67669" y="11016"/>
                  </a:lnTo>
                  <a:lnTo>
                    <a:pt x="68456" y="8262"/>
                  </a:lnTo>
                  <a:lnTo>
                    <a:pt x="65702" y="5901"/>
                  </a:lnTo>
                  <a:lnTo>
                    <a:pt x="63735" y="2754"/>
                  </a:lnTo>
                  <a:lnTo>
                    <a:pt x="60588" y="787"/>
                  </a:lnTo>
                  <a:lnTo>
                    <a:pt x="57834" y="787"/>
                  </a:lnTo>
                  <a:lnTo>
                    <a:pt x="55080" y="0"/>
                  </a:lnTo>
                  <a:lnTo>
                    <a:pt x="53506" y="0"/>
                  </a:lnTo>
                  <a:lnTo>
                    <a:pt x="50752" y="393"/>
                  </a:lnTo>
                  <a:lnTo>
                    <a:pt x="47211" y="1180"/>
                  </a:lnTo>
                  <a:lnTo>
                    <a:pt x="44457" y="1180"/>
                  </a:lnTo>
                  <a:lnTo>
                    <a:pt x="41310" y="1967"/>
                  </a:lnTo>
                  <a:lnTo>
                    <a:pt x="38556" y="1967"/>
                  </a:lnTo>
                  <a:lnTo>
                    <a:pt x="35408" y="2754"/>
                  </a:lnTo>
                  <a:lnTo>
                    <a:pt x="32654" y="3147"/>
                  </a:lnTo>
                  <a:lnTo>
                    <a:pt x="29900" y="4328"/>
                  </a:lnTo>
                  <a:lnTo>
                    <a:pt x="26753" y="6295"/>
                  </a:lnTo>
                  <a:lnTo>
                    <a:pt x="23999" y="5901"/>
                  </a:lnTo>
                  <a:lnTo>
                    <a:pt x="20852" y="6295"/>
                  </a:lnTo>
                  <a:lnTo>
                    <a:pt x="23606" y="6295"/>
                  </a:lnTo>
                  <a:lnTo>
                    <a:pt x="26753" y="6688"/>
                  </a:lnTo>
                  <a:lnTo>
                    <a:pt x="23606" y="7475"/>
                  </a:lnTo>
                  <a:lnTo>
                    <a:pt x="20852" y="8262"/>
                  </a:lnTo>
                  <a:lnTo>
                    <a:pt x="17704" y="8655"/>
                  </a:lnTo>
                  <a:lnTo>
                    <a:pt x="20458" y="9049"/>
                  </a:lnTo>
                  <a:lnTo>
                    <a:pt x="17704" y="9836"/>
                  </a:lnTo>
                  <a:lnTo>
                    <a:pt x="14950" y="10622"/>
                  </a:lnTo>
                  <a:lnTo>
                    <a:pt x="11803" y="11016"/>
                  </a:lnTo>
                  <a:lnTo>
                    <a:pt x="8655" y="12196"/>
                  </a:lnTo>
                  <a:lnTo>
                    <a:pt x="5901" y="12983"/>
                  </a:lnTo>
                  <a:lnTo>
                    <a:pt x="2754" y="1416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0" name="Freeform: Shape 2564">
              <a:extLst>
                <a:ext uri="{FF2B5EF4-FFF2-40B4-BE49-F238E27FC236}">
                  <a16:creationId xmlns:a16="http://schemas.microsoft.com/office/drawing/2014/main" id="{3714245E-7505-40E2-A471-428905318AE2}"/>
                </a:ext>
              </a:extLst>
            </p:cNvPr>
            <p:cNvSpPr/>
            <p:nvPr/>
          </p:nvSpPr>
          <p:spPr>
            <a:xfrm>
              <a:off x="4369645" y="1234117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2754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2754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1" name="Freeform: Shape 2565">
              <a:extLst>
                <a:ext uri="{FF2B5EF4-FFF2-40B4-BE49-F238E27FC236}">
                  <a16:creationId xmlns:a16="http://schemas.microsoft.com/office/drawing/2014/main" id="{FF13893B-7E08-4A38-B823-095271B968CE}"/>
                </a:ext>
              </a:extLst>
            </p:cNvPr>
            <p:cNvSpPr/>
            <p:nvPr/>
          </p:nvSpPr>
          <p:spPr>
            <a:xfrm>
              <a:off x="4190636" y="1255362"/>
              <a:ext cx="23606" cy="7869"/>
            </a:xfrm>
            <a:custGeom>
              <a:avLst/>
              <a:gdLst>
                <a:gd name="connsiteX0" fmla="*/ 6295 w 23605"/>
                <a:gd name="connsiteY0" fmla="*/ 6688 h 7868"/>
                <a:gd name="connsiteX1" fmla="*/ 9049 w 23605"/>
                <a:gd name="connsiteY1" fmla="*/ 5508 h 7868"/>
                <a:gd name="connsiteX2" fmla="*/ 12196 w 23605"/>
                <a:gd name="connsiteY2" fmla="*/ 3541 h 7868"/>
                <a:gd name="connsiteX3" fmla="*/ 14950 w 23605"/>
                <a:gd name="connsiteY3" fmla="*/ 2361 h 7868"/>
                <a:gd name="connsiteX4" fmla="*/ 18098 w 23605"/>
                <a:gd name="connsiteY4" fmla="*/ 4721 h 7868"/>
                <a:gd name="connsiteX5" fmla="*/ 21245 w 23605"/>
                <a:gd name="connsiteY5" fmla="*/ 3934 h 7868"/>
                <a:gd name="connsiteX6" fmla="*/ 24392 w 23605"/>
                <a:gd name="connsiteY6" fmla="*/ 3147 h 7868"/>
                <a:gd name="connsiteX7" fmla="*/ 24786 w 23605"/>
                <a:gd name="connsiteY7" fmla="*/ 1574 h 7868"/>
                <a:gd name="connsiteX8" fmla="*/ 22032 w 23605"/>
                <a:gd name="connsiteY8" fmla="*/ 787 h 7868"/>
                <a:gd name="connsiteX9" fmla="*/ 18884 w 23605"/>
                <a:gd name="connsiteY9" fmla="*/ 0 h 7868"/>
                <a:gd name="connsiteX10" fmla="*/ 16130 w 23605"/>
                <a:gd name="connsiteY10" fmla="*/ 1574 h 7868"/>
                <a:gd name="connsiteX11" fmla="*/ 12590 w 23605"/>
                <a:gd name="connsiteY11" fmla="*/ 2361 h 7868"/>
                <a:gd name="connsiteX12" fmla="*/ 9049 w 23605"/>
                <a:gd name="connsiteY12" fmla="*/ 2361 h 7868"/>
                <a:gd name="connsiteX13" fmla="*/ 6295 w 23605"/>
                <a:gd name="connsiteY13" fmla="*/ 3147 h 7868"/>
                <a:gd name="connsiteX14" fmla="*/ 3147 w 23605"/>
                <a:gd name="connsiteY14" fmla="*/ 3541 h 7868"/>
                <a:gd name="connsiteX15" fmla="*/ 393 w 23605"/>
                <a:gd name="connsiteY15" fmla="*/ 5115 h 7868"/>
                <a:gd name="connsiteX16" fmla="*/ 0 w 23605"/>
                <a:gd name="connsiteY16" fmla="*/ 7869 h 7868"/>
                <a:gd name="connsiteX17" fmla="*/ 3147 w 23605"/>
                <a:gd name="connsiteY17" fmla="*/ 747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3605" h="7868">
                  <a:moveTo>
                    <a:pt x="6295" y="6688"/>
                  </a:moveTo>
                  <a:lnTo>
                    <a:pt x="9049" y="5508"/>
                  </a:lnTo>
                  <a:lnTo>
                    <a:pt x="12196" y="3541"/>
                  </a:lnTo>
                  <a:lnTo>
                    <a:pt x="14950" y="2361"/>
                  </a:lnTo>
                  <a:lnTo>
                    <a:pt x="18098" y="4721"/>
                  </a:lnTo>
                  <a:lnTo>
                    <a:pt x="21245" y="3934"/>
                  </a:lnTo>
                  <a:lnTo>
                    <a:pt x="24392" y="3147"/>
                  </a:lnTo>
                  <a:lnTo>
                    <a:pt x="24786" y="1574"/>
                  </a:lnTo>
                  <a:lnTo>
                    <a:pt x="22032" y="787"/>
                  </a:lnTo>
                  <a:lnTo>
                    <a:pt x="18884" y="0"/>
                  </a:lnTo>
                  <a:lnTo>
                    <a:pt x="16130" y="1574"/>
                  </a:lnTo>
                  <a:lnTo>
                    <a:pt x="12590" y="2361"/>
                  </a:lnTo>
                  <a:lnTo>
                    <a:pt x="9049" y="2361"/>
                  </a:lnTo>
                  <a:lnTo>
                    <a:pt x="6295" y="3147"/>
                  </a:lnTo>
                  <a:lnTo>
                    <a:pt x="3147" y="3541"/>
                  </a:lnTo>
                  <a:lnTo>
                    <a:pt x="393" y="5115"/>
                  </a:lnTo>
                  <a:lnTo>
                    <a:pt x="0" y="7869"/>
                  </a:lnTo>
                  <a:lnTo>
                    <a:pt x="3147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2" name="Freeform: Shape 2566">
              <a:extLst>
                <a:ext uri="{FF2B5EF4-FFF2-40B4-BE49-F238E27FC236}">
                  <a16:creationId xmlns:a16="http://schemas.microsoft.com/office/drawing/2014/main" id="{7D7EEAD9-523A-4E30-822E-85142C73F2CF}"/>
                </a:ext>
              </a:extLst>
            </p:cNvPr>
            <p:cNvSpPr/>
            <p:nvPr/>
          </p:nvSpPr>
          <p:spPr>
            <a:xfrm>
              <a:off x="4246502" y="1247100"/>
              <a:ext cx="7869" cy="3934"/>
            </a:xfrm>
            <a:custGeom>
              <a:avLst/>
              <a:gdLst>
                <a:gd name="connsiteX0" fmla="*/ 0 w 7868"/>
                <a:gd name="connsiteY0" fmla="*/ 3541 h 3934"/>
                <a:gd name="connsiteX1" fmla="*/ 2754 w 7868"/>
                <a:gd name="connsiteY1" fmla="*/ 5901 h 3934"/>
                <a:gd name="connsiteX2" fmla="*/ 5901 w 7868"/>
                <a:gd name="connsiteY2" fmla="*/ 5901 h 3934"/>
                <a:gd name="connsiteX3" fmla="*/ 9049 w 7868"/>
                <a:gd name="connsiteY3" fmla="*/ 5115 h 3934"/>
                <a:gd name="connsiteX4" fmla="*/ 9836 w 7868"/>
                <a:gd name="connsiteY4" fmla="*/ 2361 h 3934"/>
                <a:gd name="connsiteX5" fmla="*/ 11409 w 7868"/>
                <a:gd name="connsiteY5" fmla="*/ 0 h 3934"/>
                <a:gd name="connsiteX6" fmla="*/ 8655 w 7868"/>
                <a:gd name="connsiteY6" fmla="*/ 0 h 3934"/>
                <a:gd name="connsiteX7" fmla="*/ 5901 w 7868"/>
                <a:gd name="connsiteY7" fmla="*/ 787 h 3934"/>
                <a:gd name="connsiteX8" fmla="*/ 2754 w 7868"/>
                <a:gd name="connsiteY8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0" y="3541"/>
                  </a:moveTo>
                  <a:lnTo>
                    <a:pt x="2754" y="5901"/>
                  </a:lnTo>
                  <a:lnTo>
                    <a:pt x="5901" y="5901"/>
                  </a:lnTo>
                  <a:lnTo>
                    <a:pt x="9049" y="5115"/>
                  </a:lnTo>
                  <a:lnTo>
                    <a:pt x="9836" y="2361"/>
                  </a:lnTo>
                  <a:lnTo>
                    <a:pt x="11409" y="0"/>
                  </a:lnTo>
                  <a:lnTo>
                    <a:pt x="8655" y="0"/>
                  </a:lnTo>
                  <a:lnTo>
                    <a:pt x="5901" y="787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3" name="Freeform: Shape 2567">
              <a:extLst>
                <a:ext uri="{FF2B5EF4-FFF2-40B4-BE49-F238E27FC236}">
                  <a16:creationId xmlns:a16="http://schemas.microsoft.com/office/drawing/2014/main" id="{B2EE7757-4030-47C8-B871-E26AAD324794}"/>
                </a:ext>
              </a:extLst>
            </p:cNvPr>
            <p:cNvSpPr/>
            <p:nvPr/>
          </p:nvSpPr>
          <p:spPr>
            <a:xfrm>
              <a:off x="4358629" y="1224674"/>
              <a:ext cx="15737" cy="7869"/>
            </a:xfrm>
            <a:custGeom>
              <a:avLst/>
              <a:gdLst>
                <a:gd name="connsiteX0" fmla="*/ 18098 w 15737"/>
                <a:gd name="connsiteY0" fmla="*/ 2754 h 7868"/>
                <a:gd name="connsiteX1" fmla="*/ 15343 w 15737"/>
                <a:gd name="connsiteY1" fmla="*/ 393 h 7868"/>
                <a:gd name="connsiteX2" fmla="*/ 15343 w 15737"/>
                <a:gd name="connsiteY2" fmla="*/ 0 h 7868"/>
                <a:gd name="connsiteX3" fmla="*/ 12589 w 15737"/>
                <a:gd name="connsiteY3" fmla="*/ 393 h 7868"/>
                <a:gd name="connsiteX4" fmla="*/ 9442 w 15737"/>
                <a:gd name="connsiteY4" fmla="*/ 393 h 7868"/>
                <a:gd name="connsiteX5" fmla="*/ 5901 w 15737"/>
                <a:gd name="connsiteY5" fmla="*/ 787 h 7868"/>
                <a:gd name="connsiteX6" fmla="*/ 3147 w 15737"/>
                <a:gd name="connsiteY6" fmla="*/ 1574 h 7868"/>
                <a:gd name="connsiteX7" fmla="*/ 0 w 15737"/>
                <a:gd name="connsiteY7" fmla="*/ 3934 h 7868"/>
                <a:gd name="connsiteX8" fmla="*/ 1180 w 15737"/>
                <a:gd name="connsiteY8" fmla="*/ 7082 h 7868"/>
                <a:gd name="connsiteX9" fmla="*/ 3934 w 15737"/>
                <a:gd name="connsiteY9" fmla="*/ 9836 h 7868"/>
                <a:gd name="connsiteX10" fmla="*/ 7082 w 15737"/>
                <a:gd name="connsiteY10" fmla="*/ 8655 h 7868"/>
                <a:gd name="connsiteX11" fmla="*/ 9836 w 15737"/>
                <a:gd name="connsiteY11" fmla="*/ 7869 h 7868"/>
                <a:gd name="connsiteX12" fmla="*/ 12196 w 15737"/>
                <a:gd name="connsiteY12" fmla="*/ 5115 h 7868"/>
                <a:gd name="connsiteX13" fmla="*/ 15343 w 15737"/>
                <a:gd name="connsiteY13" fmla="*/ 432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737" h="7868">
                  <a:moveTo>
                    <a:pt x="18098" y="2754"/>
                  </a:moveTo>
                  <a:lnTo>
                    <a:pt x="15343" y="393"/>
                  </a:lnTo>
                  <a:lnTo>
                    <a:pt x="15343" y="0"/>
                  </a:lnTo>
                  <a:lnTo>
                    <a:pt x="12589" y="393"/>
                  </a:lnTo>
                  <a:lnTo>
                    <a:pt x="9442" y="393"/>
                  </a:lnTo>
                  <a:lnTo>
                    <a:pt x="5901" y="787"/>
                  </a:lnTo>
                  <a:lnTo>
                    <a:pt x="3147" y="1574"/>
                  </a:lnTo>
                  <a:lnTo>
                    <a:pt x="0" y="3934"/>
                  </a:lnTo>
                  <a:lnTo>
                    <a:pt x="1180" y="7082"/>
                  </a:lnTo>
                  <a:lnTo>
                    <a:pt x="3934" y="9836"/>
                  </a:lnTo>
                  <a:lnTo>
                    <a:pt x="7082" y="8655"/>
                  </a:lnTo>
                  <a:lnTo>
                    <a:pt x="9836" y="7869"/>
                  </a:lnTo>
                  <a:lnTo>
                    <a:pt x="12196" y="5115"/>
                  </a:lnTo>
                  <a:lnTo>
                    <a:pt x="15343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4" name="Freeform: Shape 2568">
              <a:extLst>
                <a:ext uri="{FF2B5EF4-FFF2-40B4-BE49-F238E27FC236}">
                  <a16:creationId xmlns:a16="http://schemas.microsoft.com/office/drawing/2014/main" id="{53483167-8815-4F7A-82EA-5AF150EEEE3B}"/>
                </a:ext>
              </a:extLst>
            </p:cNvPr>
            <p:cNvSpPr/>
            <p:nvPr/>
          </p:nvSpPr>
          <p:spPr>
            <a:xfrm>
              <a:off x="4449510" y="1184545"/>
              <a:ext cx="11803" cy="3934"/>
            </a:xfrm>
            <a:custGeom>
              <a:avLst/>
              <a:gdLst>
                <a:gd name="connsiteX0" fmla="*/ 5901 w 11802"/>
                <a:gd name="connsiteY0" fmla="*/ 3541 h 3934"/>
                <a:gd name="connsiteX1" fmla="*/ 8655 w 11802"/>
                <a:gd name="connsiteY1" fmla="*/ 1574 h 3934"/>
                <a:gd name="connsiteX2" fmla="*/ 11803 w 11802"/>
                <a:gd name="connsiteY2" fmla="*/ 0 h 3934"/>
                <a:gd name="connsiteX3" fmla="*/ 12196 w 11802"/>
                <a:gd name="connsiteY3" fmla="*/ 0 h 3934"/>
                <a:gd name="connsiteX4" fmla="*/ 11803 w 11802"/>
                <a:gd name="connsiteY4" fmla="*/ 0 h 3934"/>
                <a:gd name="connsiteX5" fmla="*/ 9049 w 11802"/>
                <a:gd name="connsiteY5" fmla="*/ 393 h 3934"/>
                <a:gd name="connsiteX6" fmla="*/ 5901 w 11802"/>
                <a:gd name="connsiteY6" fmla="*/ 2361 h 3934"/>
                <a:gd name="connsiteX7" fmla="*/ 2754 w 11802"/>
                <a:gd name="connsiteY7" fmla="*/ 2754 h 3934"/>
                <a:gd name="connsiteX8" fmla="*/ 0 w 11802"/>
                <a:gd name="connsiteY8" fmla="*/ 5115 h 3934"/>
                <a:gd name="connsiteX9" fmla="*/ 2754 w 11802"/>
                <a:gd name="connsiteY9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5901" y="3541"/>
                  </a:moveTo>
                  <a:lnTo>
                    <a:pt x="8655" y="1574"/>
                  </a:lnTo>
                  <a:lnTo>
                    <a:pt x="11803" y="0"/>
                  </a:lnTo>
                  <a:lnTo>
                    <a:pt x="12196" y="0"/>
                  </a:lnTo>
                  <a:lnTo>
                    <a:pt x="11803" y="0"/>
                  </a:lnTo>
                  <a:lnTo>
                    <a:pt x="9049" y="393"/>
                  </a:lnTo>
                  <a:lnTo>
                    <a:pt x="5901" y="2361"/>
                  </a:lnTo>
                  <a:lnTo>
                    <a:pt x="2754" y="2754"/>
                  </a:lnTo>
                  <a:lnTo>
                    <a:pt x="0" y="5115"/>
                  </a:lnTo>
                  <a:lnTo>
                    <a:pt x="2754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5" name="Freeform: Shape 2569">
              <a:extLst>
                <a:ext uri="{FF2B5EF4-FFF2-40B4-BE49-F238E27FC236}">
                  <a16:creationId xmlns:a16="http://schemas.microsoft.com/office/drawing/2014/main" id="{0FCDE7B2-542D-459B-A6A5-2201B55C5FFA}"/>
                </a:ext>
              </a:extLst>
            </p:cNvPr>
            <p:cNvSpPr/>
            <p:nvPr/>
          </p:nvSpPr>
          <p:spPr>
            <a:xfrm>
              <a:off x="4482558" y="1206183"/>
              <a:ext cx="11803" cy="3934"/>
            </a:xfrm>
            <a:custGeom>
              <a:avLst/>
              <a:gdLst>
                <a:gd name="connsiteX0" fmla="*/ 6688 w 11802"/>
                <a:gd name="connsiteY0" fmla="*/ 3147 h 0"/>
                <a:gd name="connsiteX1" fmla="*/ 9442 w 11802"/>
                <a:gd name="connsiteY1" fmla="*/ 2754 h 0"/>
                <a:gd name="connsiteX2" fmla="*/ 12589 w 11802"/>
                <a:gd name="connsiteY2" fmla="*/ 1574 h 0"/>
                <a:gd name="connsiteX3" fmla="*/ 9836 w 11802"/>
                <a:gd name="connsiteY3" fmla="*/ 0 h 0"/>
                <a:gd name="connsiteX4" fmla="*/ 6688 w 11802"/>
                <a:gd name="connsiteY4" fmla="*/ 0 h 0"/>
                <a:gd name="connsiteX5" fmla="*/ 3541 w 11802"/>
                <a:gd name="connsiteY5" fmla="*/ 0 h 0"/>
                <a:gd name="connsiteX6" fmla="*/ 0 w 11802"/>
                <a:gd name="connsiteY6" fmla="*/ 1180 h 0"/>
                <a:gd name="connsiteX7" fmla="*/ 3541 w 11802"/>
                <a:gd name="connsiteY7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>
                  <a:moveTo>
                    <a:pt x="6688" y="3147"/>
                  </a:moveTo>
                  <a:lnTo>
                    <a:pt x="9442" y="2754"/>
                  </a:lnTo>
                  <a:lnTo>
                    <a:pt x="12589" y="1574"/>
                  </a:lnTo>
                  <a:lnTo>
                    <a:pt x="9836" y="0"/>
                  </a:lnTo>
                  <a:lnTo>
                    <a:pt x="6688" y="0"/>
                  </a:lnTo>
                  <a:lnTo>
                    <a:pt x="3541" y="0"/>
                  </a:lnTo>
                  <a:lnTo>
                    <a:pt x="0" y="1180"/>
                  </a:lnTo>
                  <a:lnTo>
                    <a:pt x="354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6" name="Freeform: Shape 2570">
              <a:extLst>
                <a:ext uri="{FF2B5EF4-FFF2-40B4-BE49-F238E27FC236}">
                  <a16:creationId xmlns:a16="http://schemas.microsoft.com/office/drawing/2014/main" id="{2F5A83FA-AE28-4CAE-B852-B1B6A2D4B1D5}"/>
                </a:ext>
              </a:extLst>
            </p:cNvPr>
            <p:cNvSpPr/>
            <p:nvPr/>
          </p:nvSpPr>
          <p:spPr>
            <a:xfrm>
              <a:off x="4524655" y="1241592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7" name="Freeform: Shape 2571">
              <a:extLst>
                <a:ext uri="{FF2B5EF4-FFF2-40B4-BE49-F238E27FC236}">
                  <a16:creationId xmlns:a16="http://schemas.microsoft.com/office/drawing/2014/main" id="{6E0A1AE8-7B67-47CE-BDF2-80422A24C6E2}"/>
                </a:ext>
              </a:extLst>
            </p:cNvPr>
            <p:cNvSpPr/>
            <p:nvPr/>
          </p:nvSpPr>
          <p:spPr>
            <a:xfrm>
              <a:off x="4243355" y="1405650"/>
              <a:ext cx="11803" cy="3934"/>
            </a:xfrm>
            <a:custGeom>
              <a:avLst/>
              <a:gdLst>
                <a:gd name="connsiteX0" fmla="*/ 5901 w 11802"/>
                <a:gd name="connsiteY0" fmla="*/ 0 h 3934"/>
                <a:gd name="connsiteX1" fmla="*/ 2754 w 11802"/>
                <a:gd name="connsiteY1" fmla="*/ 787 h 3934"/>
                <a:gd name="connsiteX2" fmla="*/ 0 w 11802"/>
                <a:gd name="connsiteY2" fmla="*/ 1180 h 3934"/>
                <a:gd name="connsiteX3" fmla="*/ 0 w 11802"/>
                <a:gd name="connsiteY3" fmla="*/ 4328 h 3934"/>
                <a:gd name="connsiteX4" fmla="*/ 2754 w 11802"/>
                <a:gd name="connsiteY4" fmla="*/ 4328 h 3934"/>
                <a:gd name="connsiteX5" fmla="*/ 4721 w 11802"/>
                <a:gd name="connsiteY5" fmla="*/ 4328 h 3934"/>
                <a:gd name="connsiteX6" fmla="*/ 7475 w 11802"/>
                <a:gd name="connsiteY6" fmla="*/ 5115 h 3934"/>
                <a:gd name="connsiteX7" fmla="*/ 10623 w 11802"/>
                <a:gd name="connsiteY7" fmla="*/ 5115 h 3934"/>
                <a:gd name="connsiteX8" fmla="*/ 13770 w 11802"/>
                <a:gd name="connsiteY8" fmla="*/ 5115 h 3934"/>
                <a:gd name="connsiteX9" fmla="*/ 14950 w 11802"/>
                <a:gd name="connsiteY9" fmla="*/ 4328 h 3934"/>
                <a:gd name="connsiteX10" fmla="*/ 14950 w 11802"/>
                <a:gd name="connsiteY10" fmla="*/ 1574 h 3934"/>
                <a:gd name="connsiteX11" fmla="*/ 9049 w 11802"/>
                <a:gd name="connsiteY11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3934">
                  <a:moveTo>
                    <a:pt x="5901" y="0"/>
                  </a:moveTo>
                  <a:lnTo>
                    <a:pt x="2754" y="787"/>
                  </a:lnTo>
                  <a:lnTo>
                    <a:pt x="0" y="1180"/>
                  </a:lnTo>
                  <a:lnTo>
                    <a:pt x="0" y="4328"/>
                  </a:lnTo>
                  <a:lnTo>
                    <a:pt x="2754" y="4328"/>
                  </a:lnTo>
                  <a:lnTo>
                    <a:pt x="4721" y="4328"/>
                  </a:lnTo>
                  <a:lnTo>
                    <a:pt x="7475" y="5115"/>
                  </a:lnTo>
                  <a:lnTo>
                    <a:pt x="10623" y="5115"/>
                  </a:lnTo>
                  <a:lnTo>
                    <a:pt x="13770" y="5115"/>
                  </a:lnTo>
                  <a:lnTo>
                    <a:pt x="14950" y="4328"/>
                  </a:lnTo>
                  <a:lnTo>
                    <a:pt x="14950" y="1574"/>
                  </a:lnTo>
                  <a:lnTo>
                    <a:pt x="9049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8" name="Freeform: Shape 2572">
              <a:extLst>
                <a:ext uri="{FF2B5EF4-FFF2-40B4-BE49-F238E27FC236}">
                  <a16:creationId xmlns:a16="http://schemas.microsoft.com/office/drawing/2014/main" id="{3B18D8F1-D009-4C90-99E7-824B5C3C7FC9}"/>
                </a:ext>
              </a:extLst>
            </p:cNvPr>
            <p:cNvSpPr/>
            <p:nvPr/>
          </p:nvSpPr>
          <p:spPr>
            <a:xfrm>
              <a:off x="4464067" y="1341522"/>
              <a:ext cx="3934" cy="3934"/>
            </a:xfrm>
            <a:custGeom>
              <a:avLst/>
              <a:gdLst>
                <a:gd name="connsiteX0" fmla="*/ 2360 w 0"/>
                <a:gd name="connsiteY0" fmla="*/ 0 h 0"/>
                <a:gd name="connsiteX1" fmla="*/ 1180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0" y="0"/>
                  </a:moveTo>
                  <a:lnTo>
                    <a:pt x="1180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9" name="Freeform: Shape 2573">
              <a:extLst>
                <a:ext uri="{FF2B5EF4-FFF2-40B4-BE49-F238E27FC236}">
                  <a16:creationId xmlns:a16="http://schemas.microsoft.com/office/drawing/2014/main" id="{044255B3-77E5-41A4-822D-A0F43BB1DB83}"/>
                </a:ext>
              </a:extLst>
            </p:cNvPr>
            <p:cNvSpPr/>
            <p:nvPr/>
          </p:nvSpPr>
          <p:spPr>
            <a:xfrm>
              <a:off x="4475870" y="1341915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2360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2360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0" name="Freeform: Shape 2574">
              <a:extLst>
                <a:ext uri="{FF2B5EF4-FFF2-40B4-BE49-F238E27FC236}">
                  <a16:creationId xmlns:a16="http://schemas.microsoft.com/office/drawing/2014/main" id="{CF4B959F-2B8A-46F2-BFD3-0E2FC105A199}"/>
                </a:ext>
              </a:extLst>
            </p:cNvPr>
            <p:cNvSpPr/>
            <p:nvPr/>
          </p:nvSpPr>
          <p:spPr>
            <a:xfrm>
              <a:off x="4551014" y="1243165"/>
              <a:ext cx="19671" cy="7869"/>
            </a:xfrm>
            <a:custGeom>
              <a:avLst/>
              <a:gdLst>
                <a:gd name="connsiteX0" fmla="*/ 18491 w 19671"/>
                <a:gd name="connsiteY0" fmla="*/ 2754 h 7868"/>
                <a:gd name="connsiteX1" fmla="*/ 22032 w 19671"/>
                <a:gd name="connsiteY1" fmla="*/ 393 h 7868"/>
                <a:gd name="connsiteX2" fmla="*/ 21245 w 19671"/>
                <a:gd name="connsiteY2" fmla="*/ 0 h 7868"/>
                <a:gd name="connsiteX3" fmla="*/ 18098 w 19671"/>
                <a:gd name="connsiteY3" fmla="*/ 393 h 7868"/>
                <a:gd name="connsiteX4" fmla="*/ 14950 w 19671"/>
                <a:gd name="connsiteY4" fmla="*/ 1574 h 7868"/>
                <a:gd name="connsiteX5" fmla="*/ 11803 w 19671"/>
                <a:gd name="connsiteY5" fmla="*/ 2754 h 7868"/>
                <a:gd name="connsiteX6" fmla="*/ 9049 w 19671"/>
                <a:gd name="connsiteY6" fmla="*/ 3147 h 7868"/>
                <a:gd name="connsiteX7" fmla="*/ 5901 w 19671"/>
                <a:gd name="connsiteY7" fmla="*/ 4328 h 7868"/>
                <a:gd name="connsiteX8" fmla="*/ 2754 w 19671"/>
                <a:gd name="connsiteY8" fmla="*/ 5508 h 7868"/>
                <a:gd name="connsiteX9" fmla="*/ 0 w 19671"/>
                <a:gd name="connsiteY9" fmla="*/ 7869 h 7868"/>
                <a:gd name="connsiteX10" fmla="*/ 2754 w 19671"/>
                <a:gd name="connsiteY10" fmla="*/ 8655 h 7868"/>
                <a:gd name="connsiteX11" fmla="*/ 5901 w 19671"/>
                <a:gd name="connsiteY11" fmla="*/ 6688 h 7868"/>
                <a:gd name="connsiteX12" fmla="*/ 9049 w 19671"/>
                <a:gd name="connsiteY12" fmla="*/ 6688 h 7868"/>
                <a:gd name="connsiteX13" fmla="*/ 11803 w 19671"/>
                <a:gd name="connsiteY13" fmla="*/ 7475 h 7868"/>
                <a:gd name="connsiteX14" fmla="*/ 14950 w 19671"/>
                <a:gd name="connsiteY14" fmla="*/ 6688 h 7868"/>
                <a:gd name="connsiteX15" fmla="*/ 12983 w 19671"/>
                <a:gd name="connsiteY15" fmla="*/ 3934 h 7868"/>
                <a:gd name="connsiteX16" fmla="*/ 15737 w 19671"/>
                <a:gd name="connsiteY16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671" h="7868">
                  <a:moveTo>
                    <a:pt x="18491" y="2754"/>
                  </a:moveTo>
                  <a:lnTo>
                    <a:pt x="22032" y="393"/>
                  </a:lnTo>
                  <a:lnTo>
                    <a:pt x="21245" y="0"/>
                  </a:lnTo>
                  <a:lnTo>
                    <a:pt x="18098" y="393"/>
                  </a:lnTo>
                  <a:lnTo>
                    <a:pt x="14950" y="1574"/>
                  </a:lnTo>
                  <a:lnTo>
                    <a:pt x="11803" y="2754"/>
                  </a:lnTo>
                  <a:lnTo>
                    <a:pt x="9049" y="3147"/>
                  </a:lnTo>
                  <a:lnTo>
                    <a:pt x="5901" y="4328"/>
                  </a:lnTo>
                  <a:lnTo>
                    <a:pt x="2754" y="5508"/>
                  </a:lnTo>
                  <a:lnTo>
                    <a:pt x="0" y="7869"/>
                  </a:lnTo>
                  <a:lnTo>
                    <a:pt x="2754" y="8655"/>
                  </a:lnTo>
                  <a:lnTo>
                    <a:pt x="5901" y="6688"/>
                  </a:lnTo>
                  <a:lnTo>
                    <a:pt x="9049" y="6688"/>
                  </a:lnTo>
                  <a:lnTo>
                    <a:pt x="11803" y="7475"/>
                  </a:lnTo>
                  <a:lnTo>
                    <a:pt x="14950" y="6688"/>
                  </a:lnTo>
                  <a:lnTo>
                    <a:pt x="12983" y="3934"/>
                  </a:lnTo>
                  <a:lnTo>
                    <a:pt x="1573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1" name="Freeform: Shape 2575">
              <a:extLst>
                <a:ext uri="{FF2B5EF4-FFF2-40B4-BE49-F238E27FC236}">
                  <a16:creationId xmlns:a16="http://schemas.microsoft.com/office/drawing/2014/main" id="{71A13102-B53C-4B73-90E7-BEB176199EC9}"/>
                </a:ext>
              </a:extLst>
            </p:cNvPr>
            <p:cNvSpPr/>
            <p:nvPr/>
          </p:nvSpPr>
          <p:spPr>
            <a:xfrm>
              <a:off x="4637962" y="1199102"/>
              <a:ext cx="3934" cy="3934"/>
            </a:xfrm>
            <a:custGeom>
              <a:avLst/>
              <a:gdLst>
                <a:gd name="connsiteX0" fmla="*/ 6295 w 3934"/>
                <a:gd name="connsiteY0" fmla="*/ 0 h 0"/>
                <a:gd name="connsiteX1" fmla="*/ 3147 w 3934"/>
                <a:gd name="connsiteY1" fmla="*/ 0 h 0"/>
                <a:gd name="connsiteX2" fmla="*/ 0 w 3934"/>
                <a:gd name="connsiteY2" fmla="*/ 1967 h 0"/>
                <a:gd name="connsiteX3" fmla="*/ 3147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5" y="0"/>
                  </a:moveTo>
                  <a:lnTo>
                    <a:pt x="3147" y="0"/>
                  </a:lnTo>
                  <a:lnTo>
                    <a:pt x="0" y="1967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2" name="Freeform: Shape 2576">
              <a:extLst>
                <a:ext uri="{FF2B5EF4-FFF2-40B4-BE49-F238E27FC236}">
                  <a16:creationId xmlns:a16="http://schemas.microsoft.com/office/drawing/2014/main" id="{0FDA692B-D864-4438-91F7-B9EC2823BE01}"/>
                </a:ext>
              </a:extLst>
            </p:cNvPr>
            <p:cNvSpPr/>
            <p:nvPr/>
          </p:nvSpPr>
          <p:spPr>
            <a:xfrm>
              <a:off x="4461313" y="1305327"/>
              <a:ext cx="86554" cy="27540"/>
            </a:xfrm>
            <a:custGeom>
              <a:avLst/>
              <a:gdLst>
                <a:gd name="connsiteX0" fmla="*/ 81833 w 86553"/>
                <a:gd name="connsiteY0" fmla="*/ 12196 h 27539"/>
                <a:gd name="connsiteX1" fmla="*/ 79866 w 86553"/>
                <a:gd name="connsiteY1" fmla="*/ 9442 h 27539"/>
                <a:gd name="connsiteX2" fmla="*/ 77111 w 86553"/>
                <a:gd name="connsiteY2" fmla="*/ 7082 h 27539"/>
                <a:gd name="connsiteX3" fmla="*/ 74358 w 86553"/>
                <a:gd name="connsiteY3" fmla="*/ 5901 h 27539"/>
                <a:gd name="connsiteX4" fmla="*/ 71210 w 86553"/>
                <a:gd name="connsiteY4" fmla="*/ 5115 h 27539"/>
                <a:gd name="connsiteX5" fmla="*/ 68063 w 86553"/>
                <a:gd name="connsiteY5" fmla="*/ 4328 h 27539"/>
                <a:gd name="connsiteX6" fmla="*/ 65309 w 86553"/>
                <a:gd name="connsiteY6" fmla="*/ 3147 h 27539"/>
                <a:gd name="connsiteX7" fmla="*/ 62161 w 86553"/>
                <a:gd name="connsiteY7" fmla="*/ 3147 h 27539"/>
                <a:gd name="connsiteX8" fmla="*/ 59014 w 86553"/>
                <a:gd name="connsiteY8" fmla="*/ 3147 h 27539"/>
                <a:gd name="connsiteX9" fmla="*/ 56260 w 86553"/>
                <a:gd name="connsiteY9" fmla="*/ 3147 h 27539"/>
                <a:gd name="connsiteX10" fmla="*/ 49965 w 86553"/>
                <a:gd name="connsiteY10" fmla="*/ 3147 h 27539"/>
                <a:gd name="connsiteX11" fmla="*/ 46818 w 86553"/>
                <a:gd name="connsiteY11" fmla="*/ 3934 h 27539"/>
                <a:gd name="connsiteX12" fmla="*/ 37769 w 86553"/>
                <a:gd name="connsiteY12" fmla="*/ 3934 h 27539"/>
                <a:gd name="connsiteX13" fmla="*/ 34621 w 86553"/>
                <a:gd name="connsiteY13" fmla="*/ 3541 h 27539"/>
                <a:gd name="connsiteX14" fmla="*/ 31867 w 86553"/>
                <a:gd name="connsiteY14" fmla="*/ 2754 h 27539"/>
                <a:gd name="connsiteX15" fmla="*/ 28720 w 86553"/>
                <a:gd name="connsiteY15" fmla="*/ 1967 h 27539"/>
                <a:gd name="connsiteX16" fmla="*/ 27147 w 86553"/>
                <a:gd name="connsiteY16" fmla="*/ 1574 h 27539"/>
                <a:gd name="connsiteX17" fmla="*/ 24392 w 86553"/>
                <a:gd name="connsiteY17" fmla="*/ 1967 h 27539"/>
                <a:gd name="connsiteX18" fmla="*/ 21638 w 86553"/>
                <a:gd name="connsiteY18" fmla="*/ 787 h 27539"/>
                <a:gd name="connsiteX19" fmla="*/ 18491 w 86553"/>
                <a:gd name="connsiteY19" fmla="*/ 0 h 27539"/>
                <a:gd name="connsiteX20" fmla="*/ 15344 w 86553"/>
                <a:gd name="connsiteY20" fmla="*/ 393 h 27539"/>
                <a:gd name="connsiteX21" fmla="*/ 12196 w 86553"/>
                <a:gd name="connsiteY21" fmla="*/ 787 h 27539"/>
                <a:gd name="connsiteX22" fmla="*/ 9442 w 86553"/>
                <a:gd name="connsiteY22" fmla="*/ 3147 h 27539"/>
                <a:gd name="connsiteX23" fmla="*/ 6295 w 86553"/>
                <a:gd name="connsiteY23" fmla="*/ 4721 h 27539"/>
                <a:gd name="connsiteX24" fmla="*/ 5508 w 86553"/>
                <a:gd name="connsiteY24" fmla="*/ 7475 h 27539"/>
                <a:gd name="connsiteX25" fmla="*/ 2754 w 86553"/>
                <a:gd name="connsiteY25" fmla="*/ 8262 h 27539"/>
                <a:gd name="connsiteX26" fmla="*/ 0 w 86553"/>
                <a:gd name="connsiteY26" fmla="*/ 11016 h 27539"/>
                <a:gd name="connsiteX27" fmla="*/ 2360 w 86553"/>
                <a:gd name="connsiteY27" fmla="*/ 13770 h 27539"/>
                <a:gd name="connsiteX28" fmla="*/ 5508 w 86553"/>
                <a:gd name="connsiteY28" fmla="*/ 14163 h 27539"/>
                <a:gd name="connsiteX29" fmla="*/ 8655 w 86553"/>
                <a:gd name="connsiteY29" fmla="*/ 14557 h 27539"/>
                <a:gd name="connsiteX30" fmla="*/ 9049 w 86553"/>
                <a:gd name="connsiteY30" fmla="*/ 17311 h 27539"/>
                <a:gd name="connsiteX31" fmla="*/ 6688 w 86553"/>
                <a:gd name="connsiteY31" fmla="*/ 20458 h 27539"/>
                <a:gd name="connsiteX32" fmla="*/ 6688 w 86553"/>
                <a:gd name="connsiteY32" fmla="*/ 23212 h 27539"/>
                <a:gd name="connsiteX33" fmla="*/ 5901 w 86553"/>
                <a:gd name="connsiteY33" fmla="*/ 24786 h 27539"/>
                <a:gd name="connsiteX34" fmla="*/ 8655 w 86553"/>
                <a:gd name="connsiteY34" fmla="*/ 25966 h 27539"/>
                <a:gd name="connsiteX35" fmla="*/ 11409 w 86553"/>
                <a:gd name="connsiteY35" fmla="*/ 27933 h 27539"/>
                <a:gd name="connsiteX36" fmla="*/ 14557 w 86553"/>
                <a:gd name="connsiteY36" fmla="*/ 28327 h 27539"/>
                <a:gd name="connsiteX37" fmla="*/ 17704 w 86553"/>
                <a:gd name="connsiteY37" fmla="*/ 28327 h 27539"/>
                <a:gd name="connsiteX38" fmla="*/ 20852 w 86553"/>
                <a:gd name="connsiteY38" fmla="*/ 27933 h 27539"/>
                <a:gd name="connsiteX39" fmla="*/ 23606 w 86553"/>
                <a:gd name="connsiteY39" fmla="*/ 27540 h 27539"/>
                <a:gd name="connsiteX40" fmla="*/ 26753 w 86553"/>
                <a:gd name="connsiteY40" fmla="*/ 26753 h 27539"/>
                <a:gd name="connsiteX41" fmla="*/ 29900 w 86553"/>
                <a:gd name="connsiteY41" fmla="*/ 26360 h 27539"/>
                <a:gd name="connsiteX42" fmla="*/ 33048 w 86553"/>
                <a:gd name="connsiteY42" fmla="*/ 25573 h 27539"/>
                <a:gd name="connsiteX43" fmla="*/ 36195 w 86553"/>
                <a:gd name="connsiteY43" fmla="*/ 25179 h 27539"/>
                <a:gd name="connsiteX44" fmla="*/ 39736 w 86553"/>
                <a:gd name="connsiteY44" fmla="*/ 24392 h 27539"/>
                <a:gd name="connsiteX45" fmla="*/ 43277 w 86553"/>
                <a:gd name="connsiteY45" fmla="*/ 23999 h 27539"/>
                <a:gd name="connsiteX46" fmla="*/ 46424 w 86553"/>
                <a:gd name="connsiteY46" fmla="*/ 24392 h 27539"/>
                <a:gd name="connsiteX47" fmla="*/ 49572 w 86553"/>
                <a:gd name="connsiteY47" fmla="*/ 24392 h 27539"/>
                <a:gd name="connsiteX48" fmla="*/ 52326 w 86553"/>
                <a:gd name="connsiteY48" fmla="*/ 23999 h 27539"/>
                <a:gd name="connsiteX49" fmla="*/ 55473 w 86553"/>
                <a:gd name="connsiteY49" fmla="*/ 24392 h 27539"/>
                <a:gd name="connsiteX50" fmla="*/ 58621 w 86553"/>
                <a:gd name="connsiteY50" fmla="*/ 24392 h 27539"/>
                <a:gd name="connsiteX51" fmla="*/ 61374 w 86553"/>
                <a:gd name="connsiteY51" fmla="*/ 25179 h 27539"/>
                <a:gd name="connsiteX52" fmla="*/ 64128 w 86553"/>
                <a:gd name="connsiteY52" fmla="*/ 25573 h 27539"/>
                <a:gd name="connsiteX53" fmla="*/ 67276 w 86553"/>
                <a:gd name="connsiteY53" fmla="*/ 25573 h 27539"/>
                <a:gd name="connsiteX54" fmla="*/ 73177 w 86553"/>
                <a:gd name="connsiteY54" fmla="*/ 25573 h 27539"/>
                <a:gd name="connsiteX55" fmla="*/ 76325 w 86553"/>
                <a:gd name="connsiteY55" fmla="*/ 26360 h 27539"/>
                <a:gd name="connsiteX56" fmla="*/ 79079 w 86553"/>
                <a:gd name="connsiteY56" fmla="*/ 26360 h 27539"/>
                <a:gd name="connsiteX57" fmla="*/ 82226 w 86553"/>
                <a:gd name="connsiteY57" fmla="*/ 25966 h 27539"/>
                <a:gd name="connsiteX58" fmla="*/ 84980 w 86553"/>
                <a:gd name="connsiteY58" fmla="*/ 25573 h 27539"/>
                <a:gd name="connsiteX59" fmla="*/ 88128 w 86553"/>
                <a:gd name="connsiteY59" fmla="*/ 23999 h 27539"/>
                <a:gd name="connsiteX60" fmla="*/ 85374 w 86553"/>
                <a:gd name="connsiteY60" fmla="*/ 22425 h 27539"/>
                <a:gd name="connsiteX61" fmla="*/ 87341 w 86553"/>
                <a:gd name="connsiteY61" fmla="*/ 19671 h 27539"/>
                <a:gd name="connsiteX62" fmla="*/ 84193 w 86553"/>
                <a:gd name="connsiteY62" fmla="*/ 17311 h 27539"/>
                <a:gd name="connsiteX63" fmla="*/ 85374 w 86553"/>
                <a:gd name="connsiteY63" fmla="*/ 14557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86553" h="27539">
                  <a:moveTo>
                    <a:pt x="81833" y="12196"/>
                  </a:moveTo>
                  <a:lnTo>
                    <a:pt x="79866" y="9442"/>
                  </a:lnTo>
                  <a:lnTo>
                    <a:pt x="77111" y="7082"/>
                  </a:lnTo>
                  <a:lnTo>
                    <a:pt x="74358" y="5901"/>
                  </a:lnTo>
                  <a:lnTo>
                    <a:pt x="71210" y="5115"/>
                  </a:lnTo>
                  <a:lnTo>
                    <a:pt x="68063" y="4328"/>
                  </a:lnTo>
                  <a:lnTo>
                    <a:pt x="65309" y="3147"/>
                  </a:lnTo>
                  <a:lnTo>
                    <a:pt x="62161" y="3147"/>
                  </a:lnTo>
                  <a:lnTo>
                    <a:pt x="59014" y="3147"/>
                  </a:lnTo>
                  <a:lnTo>
                    <a:pt x="56260" y="3147"/>
                  </a:lnTo>
                  <a:lnTo>
                    <a:pt x="49965" y="3147"/>
                  </a:lnTo>
                  <a:lnTo>
                    <a:pt x="46818" y="3934"/>
                  </a:lnTo>
                  <a:lnTo>
                    <a:pt x="37769" y="3934"/>
                  </a:lnTo>
                  <a:lnTo>
                    <a:pt x="34621" y="3541"/>
                  </a:lnTo>
                  <a:lnTo>
                    <a:pt x="31867" y="2754"/>
                  </a:lnTo>
                  <a:lnTo>
                    <a:pt x="28720" y="1967"/>
                  </a:lnTo>
                  <a:lnTo>
                    <a:pt x="27147" y="1574"/>
                  </a:lnTo>
                  <a:lnTo>
                    <a:pt x="24392" y="1967"/>
                  </a:lnTo>
                  <a:lnTo>
                    <a:pt x="21638" y="787"/>
                  </a:lnTo>
                  <a:lnTo>
                    <a:pt x="18491" y="0"/>
                  </a:lnTo>
                  <a:lnTo>
                    <a:pt x="15344" y="393"/>
                  </a:lnTo>
                  <a:lnTo>
                    <a:pt x="12196" y="787"/>
                  </a:lnTo>
                  <a:lnTo>
                    <a:pt x="9442" y="3147"/>
                  </a:lnTo>
                  <a:lnTo>
                    <a:pt x="6295" y="4721"/>
                  </a:lnTo>
                  <a:lnTo>
                    <a:pt x="5508" y="7475"/>
                  </a:lnTo>
                  <a:lnTo>
                    <a:pt x="2754" y="8262"/>
                  </a:lnTo>
                  <a:lnTo>
                    <a:pt x="0" y="11016"/>
                  </a:lnTo>
                  <a:lnTo>
                    <a:pt x="2360" y="13770"/>
                  </a:lnTo>
                  <a:lnTo>
                    <a:pt x="5508" y="14163"/>
                  </a:lnTo>
                  <a:lnTo>
                    <a:pt x="8655" y="14557"/>
                  </a:lnTo>
                  <a:lnTo>
                    <a:pt x="9049" y="17311"/>
                  </a:lnTo>
                  <a:lnTo>
                    <a:pt x="6688" y="20458"/>
                  </a:lnTo>
                  <a:lnTo>
                    <a:pt x="6688" y="23212"/>
                  </a:lnTo>
                  <a:lnTo>
                    <a:pt x="5901" y="24786"/>
                  </a:lnTo>
                  <a:lnTo>
                    <a:pt x="8655" y="25966"/>
                  </a:lnTo>
                  <a:lnTo>
                    <a:pt x="11409" y="27933"/>
                  </a:lnTo>
                  <a:lnTo>
                    <a:pt x="14557" y="28327"/>
                  </a:lnTo>
                  <a:lnTo>
                    <a:pt x="17704" y="28327"/>
                  </a:lnTo>
                  <a:lnTo>
                    <a:pt x="20852" y="27933"/>
                  </a:lnTo>
                  <a:lnTo>
                    <a:pt x="23606" y="27540"/>
                  </a:lnTo>
                  <a:lnTo>
                    <a:pt x="26753" y="26753"/>
                  </a:lnTo>
                  <a:lnTo>
                    <a:pt x="29900" y="26360"/>
                  </a:lnTo>
                  <a:lnTo>
                    <a:pt x="33048" y="25573"/>
                  </a:lnTo>
                  <a:lnTo>
                    <a:pt x="36195" y="25179"/>
                  </a:lnTo>
                  <a:lnTo>
                    <a:pt x="39736" y="24392"/>
                  </a:lnTo>
                  <a:lnTo>
                    <a:pt x="43277" y="23999"/>
                  </a:lnTo>
                  <a:lnTo>
                    <a:pt x="46424" y="24392"/>
                  </a:lnTo>
                  <a:lnTo>
                    <a:pt x="49572" y="24392"/>
                  </a:lnTo>
                  <a:lnTo>
                    <a:pt x="52326" y="23999"/>
                  </a:lnTo>
                  <a:lnTo>
                    <a:pt x="55473" y="24392"/>
                  </a:lnTo>
                  <a:lnTo>
                    <a:pt x="58621" y="24392"/>
                  </a:lnTo>
                  <a:lnTo>
                    <a:pt x="61374" y="25179"/>
                  </a:lnTo>
                  <a:lnTo>
                    <a:pt x="64128" y="25573"/>
                  </a:lnTo>
                  <a:lnTo>
                    <a:pt x="67276" y="25573"/>
                  </a:lnTo>
                  <a:lnTo>
                    <a:pt x="73177" y="25573"/>
                  </a:lnTo>
                  <a:lnTo>
                    <a:pt x="76325" y="26360"/>
                  </a:lnTo>
                  <a:lnTo>
                    <a:pt x="79079" y="26360"/>
                  </a:lnTo>
                  <a:lnTo>
                    <a:pt x="82226" y="25966"/>
                  </a:lnTo>
                  <a:lnTo>
                    <a:pt x="84980" y="25573"/>
                  </a:lnTo>
                  <a:lnTo>
                    <a:pt x="88128" y="23999"/>
                  </a:lnTo>
                  <a:lnTo>
                    <a:pt x="85374" y="22425"/>
                  </a:lnTo>
                  <a:lnTo>
                    <a:pt x="87341" y="19671"/>
                  </a:lnTo>
                  <a:lnTo>
                    <a:pt x="84193" y="17311"/>
                  </a:lnTo>
                  <a:lnTo>
                    <a:pt x="85374" y="1455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3" name="Freeform: Shape 2577">
              <a:extLst>
                <a:ext uri="{FF2B5EF4-FFF2-40B4-BE49-F238E27FC236}">
                  <a16:creationId xmlns:a16="http://schemas.microsoft.com/office/drawing/2014/main" id="{B059FAE6-F8E4-4F95-88B4-B26779FDB425}"/>
                </a:ext>
              </a:extLst>
            </p:cNvPr>
            <p:cNvSpPr/>
            <p:nvPr/>
          </p:nvSpPr>
          <p:spPr>
            <a:xfrm>
              <a:off x="4733958" y="1209331"/>
              <a:ext cx="19671" cy="3934"/>
            </a:xfrm>
            <a:custGeom>
              <a:avLst/>
              <a:gdLst>
                <a:gd name="connsiteX0" fmla="*/ 11803 w 19671"/>
                <a:gd name="connsiteY0" fmla="*/ 3541 h 3934"/>
                <a:gd name="connsiteX1" fmla="*/ 14557 w 19671"/>
                <a:gd name="connsiteY1" fmla="*/ 3147 h 3934"/>
                <a:gd name="connsiteX2" fmla="*/ 17311 w 19671"/>
                <a:gd name="connsiteY2" fmla="*/ 2361 h 3934"/>
                <a:gd name="connsiteX3" fmla="*/ 20458 w 19671"/>
                <a:gd name="connsiteY3" fmla="*/ 1574 h 3934"/>
                <a:gd name="connsiteX4" fmla="*/ 17311 w 19671"/>
                <a:gd name="connsiteY4" fmla="*/ 1574 h 3934"/>
                <a:gd name="connsiteX5" fmla="*/ 14557 w 19671"/>
                <a:gd name="connsiteY5" fmla="*/ 1180 h 3934"/>
                <a:gd name="connsiteX6" fmla="*/ 11409 w 19671"/>
                <a:gd name="connsiteY6" fmla="*/ 393 h 3934"/>
                <a:gd name="connsiteX7" fmla="*/ 8262 w 19671"/>
                <a:gd name="connsiteY7" fmla="*/ 0 h 3934"/>
                <a:gd name="connsiteX8" fmla="*/ 5114 w 19671"/>
                <a:gd name="connsiteY8" fmla="*/ 0 h 3934"/>
                <a:gd name="connsiteX9" fmla="*/ 3147 w 19671"/>
                <a:gd name="connsiteY9" fmla="*/ 0 h 3934"/>
                <a:gd name="connsiteX10" fmla="*/ 0 w 19671"/>
                <a:gd name="connsiteY10" fmla="*/ 1967 h 3934"/>
                <a:gd name="connsiteX11" fmla="*/ 3147 w 19671"/>
                <a:gd name="connsiteY11" fmla="*/ 2754 h 3934"/>
                <a:gd name="connsiteX12" fmla="*/ 5901 w 19671"/>
                <a:gd name="connsiteY12" fmla="*/ 3934 h 3934"/>
                <a:gd name="connsiteX13" fmla="*/ 9049 w 19671"/>
                <a:gd name="connsiteY13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671" h="3934">
                  <a:moveTo>
                    <a:pt x="11803" y="3541"/>
                  </a:moveTo>
                  <a:lnTo>
                    <a:pt x="14557" y="3147"/>
                  </a:lnTo>
                  <a:lnTo>
                    <a:pt x="17311" y="2361"/>
                  </a:lnTo>
                  <a:lnTo>
                    <a:pt x="20458" y="1574"/>
                  </a:lnTo>
                  <a:lnTo>
                    <a:pt x="17311" y="1574"/>
                  </a:lnTo>
                  <a:lnTo>
                    <a:pt x="14557" y="1180"/>
                  </a:lnTo>
                  <a:lnTo>
                    <a:pt x="11409" y="393"/>
                  </a:lnTo>
                  <a:lnTo>
                    <a:pt x="8262" y="0"/>
                  </a:lnTo>
                  <a:lnTo>
                    <a:pt x="5114" y="0"/>
                  </a:lnTo>
                  <a:lnTo>
                    <a:pt x="3147" y="0"/>
                  </a:lnTo>
                  <a:lnTo>
                    <a:pt x="0" y="1967"/>
                  </a:lnTo>
                  <a:lnTo>
                    <a:pt x="3147" y="2754"/>
                  </a:lnTo>
                  <a:lnTo>
                    <a:pt x="5901" y="3934"/>
                  </a:lnTo>
                  <a:lnTo>
                    <a:pt x="9049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4" name="Freeform: Shape 2578">
              <a:extLst>
                <a:ext uri="{FF2B5EF4-FFF2-40B4-BE49-F238E27FC236}">
                  <a16:creationId xmlns:a16="http://schemas.microsoft.com/office/drawing/2014/main" id="{5FD32C52-F850-403E-A6AD-E57501D7D23A}"/>
                </a:ext>
              </a:extLst>
            </p:cNvPr>
            <p:cNvSpPr/>
            <p:nvPr/>
          </p:nvSpPr>
          <p:spPr>
            <a:xfrm>
              <a:off x="4757957" y="1208937"/>
              <a:ext cx="19671" cy="3934"/>
            </a:xfrm>
            <a:custGeom>
              <a:avLst/>
              <a:gdLst>
                <a:gd name="connsiteX0" fmla="*/ 6295 w 19671"/>
                <a:gd name="connsiteY0" fmla="*/ 2361 h 0"/>
                <a:gd name="connsiteX1" fmla="*/ 15737 w 19671"/>
                <a:gd name="connsiteY1" fmla="*/ 2361 h 0"/>
                <a:gd name="connsiteX2" fmla="*/ 18491 w 19671"/>
                <a:gd name="connsiteY2" fmla="*/ 1967 h 0"/>
                <a:gd name="connsiteX3" fmla="*/ 22032 w 19671"/>
                <a:gd name="connsiteY3" fmla="*/ 1574 h 0"/>
                <a:gd name="connsiteX4" fmla="*/ 18884 w 19671"/>
                <a:gd name="connsiteY4" fmla="*/ 1574 h 0"/>
                <a:gd name="connsiteX5" fmla="*/ 15737 w 19671"/>
                <a:gd name="connsiteY5" fmla="*/ 1180 h 0"/>
                <a:gd name="connsiteX6" fmla="*/ 12589 w 19671"/>
                <a:gd name="connsiteY6" fmla="*/ 393 h 0"/>
                <a:gd name="connsiteX7" fmla="*/ 9442 w 19671"/>
                <a:gd name="connsiteY7" fmla="*/ 393 h 0"/>
                <a:gd name="connsiteX8" fmla="*/ 6688 w 19671"/>
                <a:gd name="connsiteY8" fmla="*/ 393 h 0"/>
                <a:gd name="connsiteX9" fmla="*/ 3934 w 19671"/>
                <a:gd name="connsiteY9" fmla="*/ 0 h 0"/>
                <a:gd name="connsiteX10" fmla="*/ 787 w 19671"/>
                <a:gd name="connsiteY10" fmla="*/ 393 h 0"/>
                <a:gd name="connsiteX11" fmla="*/ 0 w 19671"/>
                <a:gd name="connsiteY11" fmla="*/ 787 h 0"/>
                <a:gd name="connsiteX12" fmla="*/ 3147 w 19671"/>
                <a:gd name="connsiteY1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671">
                  <a:moveTo>
                    <a:pt x="6295" y="2361"/>
                  </a:moveTo>
                  <a:lnTo>
                    <a:pt x="15737" y="2361"/>
                  </a:lnTo>
                  <a:lnTo>
                    <a:pt x="18491" y="1967"/>
                  </a:lnTo>
                  <a:lnTo>
                    <a:pt x="22032" y="1574"/>
                  </a:lnTo>
                  <a:lnTo>
                    <a:pt x="18884" y="1574"/>
                  </a:lnTo>
                  <a:lnTo>
                    <a:pt x="15737" y="1180"/>
                  </a:lnTo>
                  <a:lnTo>
                    <a:pt x="12589" y="393"/>
                  </a:lnTo>
                  <a:lnTo>
                    <a:pt x="9442" y="393"/>
                  </a:lnTo>
                  <a:lnTo>
                    <a:pt x="6688" y="393"/>
                  </a:lnTo>
                  <a:lnTo>
                    <a:pt x="3934" y="0"/>
                  </a:lnTo>
                  <a:lnTo>
                    <a:pt x="787" y="393"/>
                  </a:lnTo>
                  <a:lnTo>
                    <a:pt x="0" y="787"/>
                  </a:lnTo>
                  <a:lnTo>
                    <a:pt x="3147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5" name="Freeform: Shape 2579">
              <a:extLst>
                <a:ext uri="{FF2B5EF4-FFF2-40B4-BE49-F238E27FC236}">
                  <a16:creationId xmlns:a16="http://schemas.microsoft.com/office/drawing/2014/main" id="{33EA1A58-39A2-4717-870E-44B2F9AEE1D8}"/>
                </a:ext>
              </a:extLst>
            </p:cNvPr>
            <p:cNvSpPr/>
            <p:nvPr/>
          </p:nvSpPr>
          <p:spPr>
            <a:xfrm>
              <a:off x="4726089" y="1176283"/>
              <a:ext cx="3934" cy="3934"/>
            </a:xfrm>
            <a:custGeom>
              <a:avLst/>
              <a:gdLst>
                <a:gd name="connsiteX0" fmla="*/ 6688 w 3934"/>
                <a:gd name="connsiteY0" fmla="*/ 787 h 0"/>
                <a:gd name="connsiteX1" fmla="*/ 3147 w 3934"/>
                <a:gd name="connsiteY1" fmla="*/ 0 h 0"/>
                <a:gd name="connsiteX2" fmla="*/ 0 w 3934"/>
                <a:gd name="connsiteY2" fmla="*/ 1967 h 0"/>
                <a:gd name="connsiteX3" fmla="*/ 3147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688" y="787"/>
                  </a:moveTo>
                  <a:lnTo>
                    <a:pt x="3147" y="0"/>
                  </a:lnTo>
                  <a:lnTo>
                    <a:pt x="0" y="1967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6" name="Freeform: Shape 2580">
              <a:extLst>
                <a:ext uri="{FF2B5EF4-FFF2-40B4-BE49-F238E27FC236}">
                  <a16:creationId xmlns:a16="http://schemas.microsoft.com/office/drawing/2014/main" id="{EB817576-18B0-4B4F-A3F0-4B39A33AF55E}"/>
                </a:ext>
              </a:extLst>
            </p:cNvPr>
            <p:cNvSpPr/>
            <p:nvPr/>
          </p:nvSpPr>
          <p:spPr>
            <a:xfrm>
              <a:off x="4584062" y="1363160"/>
              <a:ext cx="3934" cy="3934"/>
            </a:xfrm>
            <a:custGeom>
              <a:avLst/>
              <a:gdLst>
                <a:gd name="connsiteX0" fmla="*/ 6295 w 3934"/>
                <a:gd name="connsiteY0" fmla="*/ 0 h 3934"/>
                <a:gd name="connsiteX1" fmla="*/ 3147 w 3934"/>
                <a:gd name="connsiteY1" fmla="*/ 787 h 3934"/>
                <a:gd name="connsiteX2" fmla="*/ 0 w 3934"/>
                <a:gd name="connsiteY2" fmla="*/ 3147 h 3934"/>
                <a:gd name="connsiteX3" fmla="*/ 3147 w 3934"/>
                <a:gd name="connsiteY3" fmla="*/ 3934 h 3934"/>
                <a:gd name="connsiteX4" fmla="*/ 5901 w 3934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6295" y="0"/>
                  </a:moveTo>
                  <a:lnTo>
                    <a:pt x="3147" y="787"/>
                  </a:lnTo>
                  <a:lnTo>
                    <a:pt x="0" y="3147"/>
                  </a:lnTo>
                  <a:lnTo>
                    <a:pt x="3147" y="3934"/>
                  </a:lnTo>
                  <a:lnTo>
                    <a:pt x="590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7" name="Freeform: Shape 2581">
              <a:extLst>
                <a:ext uri="{FF2B5EF4-FFF2-40B4-BE49-F238E27FC236}">
                  <a16:creationId xmlns:a16="http://schemas.microsoft.com/office/drawing/2014/main" id="{37F03F90-95D4-497C-9F08-0E4899D4DAB1}"/>
                </a:ext>
              </a:extLst>
            </p:cNvPr>
            <p:cNvSpPr/>
            <p:nvPr/>
          </p:nvSpPr>
          <p:spPr>
            <a:xfrm>
              <a:off x="4586029" y="1380471"/>
              <a:ext cx="15737" cy="3934"/>
            </a:xfrm>
            <a:custGeom>
              <a:avLst/>
              <a:gdLst>
                <a:gd name="connsiteX0" fmla="*/ 12196 w 15737"/>
                <a:gd name="connsiteY0" fmla="*/ 0 h 3934"/>
                <a:gd name="connsiteX1" fmla="*/ 9049 w 15737"/>
                <a:gd name="connsiteY1" fmla="*/ 0 h 3934"/>
                <a:gd name="connsiteX2" fmla="*/ 5901 w 15737"/>
                <a:gd name="connsiteY2" fmla="*/ 1574 h 3934"/>
                <a:gd name="connsiteX3" fmla="*/ 3147 w 15737"/>
                <a:gd name="connsiteY3" fmla="*/ 3541 h 3934"/>
                <a:gd name="connsiteX4" fmla="*/ 0 w 15737"/>
                <a:gd name="connsiteY4" fmla="*/ 3934 h 3934"/>
                <a:gd name="connsiteX5" fmla="*/ 2360 w 15737"/>
                <a:gd name="connsiteY5" fmla="*/ 6688 h 3934"/>
                <a:gd name="connsiteX6" fmla="*/ 5114 w 15737"/>
                <a:gd name="connsiteY6" fmla="*/ 5508 h 3934"/>
                <a:gd name="connsiteX7" fmla="*/ 7869 w 15737"/>
                <a:gd name="connsiteY7" fmla="*/ 5115 h 3934"/>
                <a:gd name="connsiteX8" fmla="*/ 11409 w 15737"/>
                <a:gd name="connsiteY8" fmla="*/ 4721 h 3934"/>
                <a:gd name="connsiteX9" fmla="*/ 14163 w 15737"/>
                <a:gd name="connsiteY9" fmla="*/ 3934 h 3934"/>
                <a:gd name="connsiteX10" fmla="*/ 16917 w 15737"/>
                <a:gd name="connsiteY10" fmla="*/ 3934 h 3934"/>
                <a:gd name="connsiteX11" fmla="*/ 18098 w 15737"/>
                <a:gd name="connsiteY11" fmla="*/ 787 h 3934"/>
                <a:gd name="connsiteX12" fmla="*/ 15343 w 15737"/>
                <a:gd name="connsiteY12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3934">
                  <a:moveTo>
                    <a:pt x="12196" y="0"/>
                  </a:moveTo>
                  <a:lnTo>
                    <a:pt x="9049" y="0"/>
                  </a:lnTo>
                  <a:lnTo>
                    <a:pt x="5901" y="1574"/>
                  </a:lnTo>
                  <a:lnTo>
                    <a:pt x="3147" y="3541"/>
                  </a:lnTo>
                  <a:lnTo>
                    <a:pt x="0" y="3934"/>
                  </a:lnTo>
                  <a:lnTo>
                    <a:pt x="2360" y="6688"/>
                  </a:lnTo>
                  <a:lnTo>
                    <a:pt x="5114" y="5508"/>
                  </a:lnTo>
                  <a:lnTo>
                    <a:pt x="7869" y="5115"/>
                  </a:lnTo>
                  <a:lnTo>
                    <a:pt x="11409" y="4721"/>
                  </a:lnTo>
                  <a:lnTo>
                    <a:pt x="14163" y="3934"/>
                  </a:lnTo>
                  <a:lnTo>
                    <a:pt x="16917" y="3934"/>
                  </a:lnTo>
                  <a:lnTo>
                    <a:pt x="18098" y="787"/>
                  </a:lnTo>
                  <a:lnTo>
                    <a:pt x="15343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8" name="Freeform: Shape 2582">
              <a:extLst>
                <a:ext uri="{FF2B5EF4-FFF2-40B4-BE49-F238E27FC236}">
                  <a16:creationId xmlns:a16="http://schemas.microsoft.com/office/drawing/2014/main" id="{C7AF9343-E460-4BD6-90CF-979AF1AF7E71}"/>
                </a:ext>
              </a:extLst>
            </p:cNvPr>
            <p:cNvSpPr/>
            <p:nvPr/>
          </p:nvSpPr>
          <p:spPr>
            <a:xfrm>
              <a:off x="4760317" y="1230969"/>
              <a:ext cx="7869" cy="3934"/>
            </a:xfrm>
            <a:custGeom>
              <a:avLst/>
              <a:gdLst>
                <a:gd name="connsiteX0" fmla="*/ 6688 w 7868"/>
                <a:gd name="connsiteY0" fmla="*/ 1574 h 0"/>
                <a:gd name="connsiteX1" fmla="*/ 10229 w 7868"/>
                <a:gd name="connsiteY1" fmla="*/ 1180 h 0"/>
                <a:gd name="connsiteX2" fmla="*/ 7082 w 7868"/>
                <a:gd name="connsiteY2" fmla="*/ 0 h 0"/>
                <a:gd name="connsiteX3" fmla="*/ 3934 w 7868"/>
                <a:gd name="connsiteY3" fmla="*/ 0 h 0"/>
                <a:gd name="connsiteX4" fmla="*/ 1180 w 7868"/>
                <a:gd name="connsiteY4" fmla="*/ 393 h 0"/>
                <a:gd name="connsiteX5" fmla="*/ 787 w 7868"/>
                <a:gd name="connsiteY5" fmla="*/ 787 h 0"/>
                <a:gd name="connsiteX6" fmla="*/ 0 w 7868"/>
                <a:gd name="connsiteY6" fmla="*/ 1180 h 0"/>
                <a:gd name="connsiteX7" fmla="*/ 3541 w 7868"/>
                <a:gd name="connsiteY7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>
                  <a:moveTo>
                    <a:pt x="6688" y="1574"/>
                  </a:moveTo>
                  <a:lnTo>
                    <a:pt x="10229" y="1180"/>
                  </a:lnTo>
                  <a:lnTo>
                    <a:pt x="7082" y="0"/>
                  </a:lnTo>
                  <a:lnTo>
                    <a:pt x="3934" y="0"/>
                  </a:lnTo>
                  <a:lnTo>
                    <a:pt x="1180" y="393"/>
                  </a:lnTo>
                  <a:lnTo>
                    <a:pt x="787" y="787"/>
                  </a:lnTo>
                  <a:lnTo>
                    <a:pt x="0" y="1180"/>
                  </a:lnTo>
                  <a:lnTo>
                    <a:pt x="3541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9" name="Freeform: Shape 2583">
              <a:extLst>
                <a:ext uri="{FF2B5EF4-FFF2-40B4-BE49-F238E27FC236}">
                  <a16:creationId xmlns:a16="http://schemas.microsoft.com/office/drawing/2014/main" id="{DBE675F6-E3A4-4DBE-B4C9-B7794C737FD0}"/>
                </a:ext>
              </a:extLst>
            </p:cNvPr>
            <p:cNvSpPr/>
            <p:nvPr/>
          </p:nvSpPr>
          <p:spPr>
            <a:xfrm>
              <a:off x="4954276" y="1356079"/>
              <a:ext cx="3934" cy="3934"/>
            </a:xfrm>
            <a:custGeom>
              <a:avLst/>
              <a:gdLst>
                <a:gd name="connsiteX0" fmla="*/ 4328 w 3934"/>
                <a:gd name="connsiteY0" fmla="*/ 2754 h 0"/>
                <a:gd name="connsiteX1" fmla="*/ 6295 w 3934"/>
                <a:gd name="connsiteY1" fmla="*/ 0 h 0"/>
                <a:gd name="connsiteX2" fmla="*/ 4328 w 3934"/>
                <a:gd name="connsiteY2" fmla="*/ 0 h 0"/>
                <a:gd name="connsiteX3" fmla="*/ 0 w 3934"/>
                <a:gd name="connsiteY3" fmla="*/ 787 h 0"/>
                <a:gd name="connsiteX4" fmla="*/ 1180 w 3934"/>
                <a:gd name="connsiteY4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4328" y="2754"/>
                  </a:moveTo>
                  <a:lnTo>
                    <a:pt x="6295" y="0"/>
                  </a:lnTo>
                  <a:lnTo>
                    <a:pt x="4328" y="0"/>
                  </a:lnTo>
                  <a:lnTo>
                    <a:pt x="0" y="787"/>
                  </a:lnTo>
                  <a:lnTo>
                    <a:pt x="118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90" name="Freeform: Shape 2584">
              <a:extLst>
                <a:ext uri="{FF2B5EF4-FFF2-40B4-BE49-F238E27FC236}">
                  <a16:creationId xmlns:a16="http://schemas.microsoft.com/office/drawing/2014/main" id="{A798E794-AF31-4B06-914D-D36847375594}"/>
                </a:ext>
              </a:extLst>
            </p:cNvPr>
            <p:cNvSpPr/>
            <p:nvPr/>
          </p:nvSpPr>
          <p:spPr>
            <a:xfrm>
              <a:off x="4960965" y="1332473"/>
              <a:ext cx="11803" cy="3934"/>
            </a:xfrm>
            <a:custGeom>
              <a:avLst/>
              <a:gdLst>
                <a:gd name="connsiteX0" fmla="*/ 2754 w 11802"/>
                <a:gd name="connsiteY0" fmla="*/ 3147 h 0"/>
                <a:gd name="connsiteX1" fmla="*/ 6295 w 11802"/>
                <a:gd name="connsiteY1" fmla="*/ 2361 h 0"/>
                <a:gd name="connsiteX2" fmla="*/ 9049 w 11802"/>
                <a:gd name="connsiteY2" fmla="*/ 2361 h 0"/>
                <a:gd name="connsiteX3" fmla="*/ 11803 w 11802"/>
                <a:gd name="connsiteY3" fmla="*/ 393 h 0"/>
                <a:gd name="connsiteX4" fmla="*/ 12196 w 11802"/>
                <a:gd name="connsiteY4" fmla="*/ 0 h 0"/>
                <a:gd name="connsiteX5" fmla="*/ 9442 w 11802"/>
                <a:gd name="connsiteY5" fmla="*/ 393 h 0"/>
                <a:gd name="connsiteX6" fmla="*/ 6295 w 11802"/>
                <a:gd name="connsiteY6" fmla="*/ 393 h 0"/>
                <a:gd name="connsiteX7" fmla="*/ 3147 w 11802"/>
                <a:gd name="connsiteY7" fmla="*/ 1180 h 0"/>
                <a:gd name="connsiteX8" fmla="*/ 0 w 11802"/>
                <a:gd name="connsiteY8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>
                  <a:moveTo>
                    <a:pt x="2754" y="3147"/>
                  </a:moveTo>
                  <a:lnTo>
                    <a:pt x="6295" y="2361"/>
                  </a:lnTo>
                  <a:lnTo>
                    <a:pt x="9049" y="2361"/>
                  </a:lnTo>
                  <a:lnTo>
                    <a:pt x="11803" y="393"/>
                  </a:lnTo>
                  <a:lnTo>
                    <a:pt x="12196" y="0"/>
                  </a:lnTo>
                  <a:lnTo>
                    <a:pt x="9442" y="393"/>
                  </a:lnTo>
                  <a:lnTo>
                    <a:pt x="6295" y="393"/>
                  </a:lnTo>
                  <a:lnTo>
                    <a:pt x="3147" y="118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91" name="Freeform: Shape 2585">
              <a:extLst>
                <a:ext uri="{FF2B5EF4-FFF2-40B4-BE49-F238E27FC236}">
                  <a16:creationId xmlns:a16="http://schemas.microsoft.com/office/drawing/2014/main" id="{7BFFE39C-A379-435A-AB38-121BE9E40D3B}"/>
                </a:ext>
              </a:extLst>
            </p:cNvPr>
            <p:cNvSpPr/>
            <p:nvPr/>
          </p:nvSpPr>
          <p:spPr>
            <a:xfrm>
              <a:off x="4971587" y="1301786"/>
              <a:ext cx="11803" cy="3934"/>
            </a:xfrm>
            <a:custGeom>
              <a:avLst/>
              <a:gdLst>
                <a:gd name="connsiteX0" fmla="*/ 9049 w 11802"/>
                <a:gd name="connsiteY0" fmla="*/ 787 h 0"/>
                <a:gd name="connsiteX1" fmla="*/ 6295 w 11802"/>
                <a:gd name="connsiteY1" fmla="*/ 787 h 0"/>
                <a:gd name="connsiteX2" fmla="*/ 3147 w 11802"/>
                <a:gd name="connsiteY2" fmla="*/ 0 h 0"/>
                <a:gd name="connsiteX3" fmla="*/ 0 w 11802"/>
                <a:gd name="connsiteY3" fmla="*/ 2754 h 0"/>
                <a:gd name="connsiteX4" fmla="*/ 3147 w 11802"/>
                <a:gd name="connsiteY4" fmla="*/ 2361 h 0"/>
                <a:gd name="connsiteX5" fmla="*/ 5901 w 11802"/>
                <a:gd name="connsiteY5" fmla="*/ 3541 h 0"/>
                <a:gd name="connsiteX6" fmla="*/ 6295 w 11802"/>
                <a:gd name="connsiteY6" fmla="*/ 3541 h 0"/>
                <a:gd name="connsiteX7" fmla="*/ 9049 w 11802"/>
                <a:gd name="connsiteY7" fmla="*/ 2754 h 0"/>
                <a:gd name="connsiteX8" fmla="*/ 12196 w 11802"/>
                <a:gd name="connsiteY8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>
                  <a:moveTo>
                    <a:pt x="9049" y="787"/>
                  </a:moveTo>
                  <a:lnTo>
                    <a:pt x="6295" y="787"/>
                  </a:lnTo>
                  <a:lnTo>
                    <a:pt x="3147" y="0"/>
                  </a:lnTo>
                  <a:lnTo>
                    <a:pt x="0" y="2754"/>
                  </a:lnTo>
                  <a:lnTo>
                    <a:pt x="3147" y="2361"/>
                  </a:lnTo>
                  <a:lnTo>
                    <a:pt x="5901" y="3541"/>
                  </a:lnTo>
                  <a:lnTo>
                    <a:pt x="6295" y="3541"/>
                  </a:lnTo>
                  <a:lnTo>
                    <a:pt x="9049" y="2754"/>
                  </a:lnTo>
                  <a:lnTo>
                    <a:pt x="12196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92" name="Freeform: Shape 2586">
              <a:extLst>
                <a:ext uri="{FF2B5EF4-FFF2-40B4-BE49-F238E27FC236}">
                  <a16:creationId xmlns:a16="http://schemas.microsoft.com/office/drawing/2014/main" id="{D5D06902-E3E7-48C0-A7B3-17D4CDD273C3}"/>
                </a:ext>
              </a:extLst>
            </p:cNvPr>
            <p:cNvSpPr/>
            <p:nvPr/>
          </p:nvSpPr>
          <p:spPr>
            <a:xfrm>
              <a:off x="4976702" y="1325391"/>
              <a:ext cx="7869" cy="3934"/>
            </a:xfrm>
            <a:custGeom>
              <a:avLst/>
              <a:gdLst>
                <a:gd name="connsiteX0" fmla="*/ 6295 w 7868"/>
                <a:gd name="connsiteY0" fmla="*/ 3147 h 0"/>
                <a:gd name="connsiteX1" fmla="*/ 9049 w 7868"/>
                <a:gd name="connsiteY1" fmla="*/ 1180 h 0"/>
                <a:gd name="connsiteX2" fmla="*/ 6295 w 7868"/>
                <a:gd name="connsiteY2" fmla="*/ 393 h 0"/>
                <a:gd name="connsiteX3" fmla="*/ 3147 w 7868"/>
                <a:gd name="connsiteY3" fmla="*/ 0 h 0"/>
                <a:gd name="connsiteX4" fmla="*/ 0 w 7868"/>
                <a:gd name="connsiteY4" fmla="*/ 1574 h 0"/>
                <a:gd name="connsiteX5" fmla="*/ 3147 w 7868"/>
                <a:gd name="connsiteY5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6295" y="3147"/>
                  </a:moveTo>
                  <a:lnTo>
                    <a:pt x="9049" y="1180"/>
                  </a:lnTo>
                  <a:lnTo>
                    <a:pt x="6295" y="393"/>
                  </a:lnTo>
                  <a:lnTo>
                    <a:pt x="3147" y="0"/>
                  </a:lnTo>
                  <a:lnTo>
                    <a:pt x="0" y="1574"/>
                  </a:lnTo>
                  <a:lnTo>
                    <a:pt x="3147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93" name="Freeform: Shape 2587">
              <a:extLst>
                <a:ext uri="{FF2B5EF4-FFF2-40B4-BE49-F238E27FC236}">
                  <a16:creationId xmlns:a16="http://schemas.microsoft.com/office/drawing/2014/main" id="{261D4B60-D82E-474E-85CA-A5B8AB5E4066}"/>
                </a:ext>
              </a:extLst>
            </p:cNvPr>
            <p:cNvSpPr/>
            <p:nvPr/>
          </p:nvSpPr>
          <p:spPr>
            <a:xfrm>
              <a:off x="4979456" y="1373389"/>
              <a:ext cx="11803" cy="7869"/>
            </a:xfrm>
            <a:custGeom>
              <a:avLst/>
              <a:gdLst>
                <a:gd name="connsiteX0" fmla="*/ 8262 w 11802"/>
                <a:gd name="connsiteY0" fmla="*/ 7475 h 7868"/>
                <a:gd name="connsiteX1" fmla="*/ 11409 w 11802"/>
                <a:gd name="connsiteY1" fmla="*/ 5901 h 7868"/>
                <a:gd name="connsiteX2" fmla="*/ 12196 w 11802"/>
                <a:gd name="connsiteY2" fmla="*/ 2754 h 7868"/>
                <a:gd name="connsiteX3" fmla="*/ 11409 w 11802"/>
                <a:gd name="connsiteY3" fmla="*/ 0 h 7868"/>
                <a:gd name="connsiteX4" fmla="*/ 8655 w 11802"/>
                <a:gd name="connsiteY4" fmla="*/ 393 h 7868"/>
                <a:gd name="connsiteX5" fmla="*/ 5508 w 11802"/>
                <a:gd name="connsiteY5" fmla="*/ 1967 h 7868"/>
                <a:gd name="connsiteX6" fmla="*/ 2754 w 11802"/>
                <a:gd name="connsiteY6" fmla="*/ 2754 h 7868"/>
                <a:gd name="connsiteX7" fmla="*/ 0 w 11802"/>
                <a:gd name="connsiteY7" fmla="*/ 5901 h 7868"/>
                <a:gd name="connsiteX8" fmla="*/ 2754 w 11802"/>
                <a:gd name="connsiteY8" fmla="*/ 7082 h 7868"/>
                <a:gd name="connsiteX9" fmla="*/ 5508 w 11802"/>
                <a:gd name="connsiteY9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7868">
                  <a:moveTo>
                    <a:pt x="8262" y="7475"/>
                  </a:moveTo>
                  <a:lnTo>
                    <a:pt x="11409" y="5901"/>
                  </a:lnTo>
                  <a:lnTo>
                    <a:pt x="12196" y="2754"/>
                  </a:lnTo>
                  <a:lnTo>
                    <a:pt x="11409" y="0"/>
                  </a:lnTo>
                  <a:lnTo>
                    <a:pt x="8655" y="393"/>
                  </a:lnTo>
                  <a:lnTo>
                    <a:pt x="5508" y="1967"/>
                  </a:lnTo>
                  <a:lnTo>
                    <a:pt x="2754" y="2754"/>
                  </a:lnTo>
                  <a:lnTo>
                    <a:pt x="0" y="5901"/>
                  </a:lnTo>
                  <a:lnTo>
                    <a:pt x="2754" y="7082"/>
                  </a:lnTo>
                  <a:lnTo>
                    <a:pt x="5508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94" name="Freeform: Shape 2588">
              <a:extLst>
                <a:ext uri="{FF2B5EF4-FFF2-40B4-BE49-F238E27FC236}">
                  <a16:creationId xmlns:a16="http://schemas.microsoft.com/office/drawing/2014/main" id="{C6EE9C4B-B248-48EA-844A-B99CC67F0DB1}"/>
                </a:ext>
              </a:extLst>
            </p:cNvPr>
            <p:cNvSpPr/>
            <p:nvPr/>
          </p:nvSpPr>
          <p:spPr>
            <a:xfrm>
              <a:off x="4999127" y="1363160"/>
              <a:ext cx="11803" cy="3934"/>
            </a:xfrm>
            <a:custGeom>
              <a:avLst/>
              <a:gdLst>
                <a:gd name="connsiteX0" fmla="*/ 14950 w 11802"/>
                <a:gd name="connsiteY0" fmla="*/ 0 h 3934"/>
                <a:gd name="connsiteX1" fmla="*/ 12196 w 11802"/>
                <a:gd name="connsiteY1" fmla="*/ 393 h 3934"/>
                <a:gd name="connsiteX2" fmla="*/ 8655 w 11802"/>
                <a:gd name="connsiteY2" fmla="*/ 0 h 3934"/>
                <a:gd name="connsiteX3" fmla="*/ 5901 w 11802"/>
                <a:gd name="connsiteY3" fmla="*/ 0 h 3934"/>
                <a:gd name="connsiteX4" fmla="*/ 2754 w 11802"/>
                <a:gd name="connsiteY4" fmla="*/ 0 h 3934"/>
                <a:gd name="connsiteX5" fmla="*/ 0 w 11802"/>
                <a:gd name="connsiteY5" fmla="*/ 787 h 3934"/>
                <a:gd name="connsiteX6" fmla="*/ 393 w 11802"/>
                <a:gd name="connsiteY6" fmla="*/ 3541 h 3934"/>
                <a:gd name="connsiteX7" fmla="*/ 3147 w 11802"/>
                <a:gd name="connsiteY7" fmla="*/ 3934 h 3934"/>
                <a:gd name="connsiteX8" fmla="*/ 5901 w 11802"/>
                <a:gd name="connsiteY8" fmla="*/ 3541 h 3934"/>
                <a:gd name="connsiteX9" fmla="*/ 9049 w 11802"/>
                <a:gd name="connsiteY9" fmla="*/ 2361 h 3934"/>
                <a:gd name="connsiteX10" fmla="*/ 12196 w 11802"/>
                <a:gd name="connsiteY10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3934">
                  <a:moveTo>
                    <a:pt x="14950" y="0"/>
                  </a:moveTo>
                  <a:lnTo>
                    <a:pt x="12196" y="393"/>
                  </a:lnTo>
                  <a:lnTo>
                    <a:pt x="8655" y="0"/>
                  </a:lnTo>
                  <a:lnTo>
                    <a:pt x="5901" y="0"/>
                  </a:lnTo>
                  <a:lnTo>
                    <a:pt x="2754" y="0"/>
                  </a:lnTo>
                  <a:lnTo>
                    <a:pt x="0" y="787"/>
                  </a:lnTo>
                  <a:lnTo>
                    <a:pt x="393" y="3541"/>
                  </a:lnTo>
                  <a:lnTo>
                    <a:pt x="3147" y="3934"/>
                  </a:lnTo>
                  <a:lnTo>
                    <a:pt x="5901" y="3541"/>
                  </a:lnTo>
                  <a:lnTo>
                    <a:pt x="9049" y="2361"/>
                  </a:lnTo>
                  <a:lnTo>
                    <a:pt x="12196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95" name="Freeform: Shape 2589">
              <a:extLst>
                <a:ext uri="{FF2B5EF4-FFF2-40B4-BE49-F238E27FC236}">
                  <a16:creationId xmlns:a16="http://schemas.microsoft.com/office/drawing/2014/main" id="{35AADCFE-C2FD-4F41-B3DE-D1D1DF57F6EA}"/>
                </a:ext>
              </a:extLst>
            </p:cNvPr>
            <p:cNvSpPr/>
            <p:nvPr/>
          </p:nvSpPr>
          <p:spPr>
            <a:xfrm>
              <a:off x="4999520" y="1371029"/>
              <a:ext cx="15737" cy="3934"/>
            </a:xfrm>
            <a:custGeom>
              <a:avLst/>
              <a:gdLst>
                <a:gd name="connsiteX0" fmla="*/ 0 w 15737"/>
                <a:gd name="connsiteY0" fmla="*/ 3147 h 3934"/>
                <a:gd name="connsiteX1" fmla="*/ 394 w 15737"/>
                <a:gd name="connsiteY1" fmla="*/ 5901 h 3934"/>
                <a:gd name="connsiteX2" fmla="*/ 3541 w 15737"/>
                <a:gd name="connsiteY2" fmla="*/ 6295 h 3934"/>
                <a:gd name="connsiteX3" fmla="*/ 7082 w 15737"/>
                <a:gd name="connsiteY3" fmla="*/ 6295 h 3934"/>
                <a:gd name="connsiteX4" fmla="*/ 10229 w 15737"/>
                <a:gd name="connsiteY4" fmla="*/ 4721 h 3934"/>
                <a:gd name="connsiteX5" fmla="*/ 12983 w 15737"/>
                <a:gd name="connsiteY5" fmla="*/ 3934 h 3934"/>
                <a:gd name="connsiteX6" fmla="*/ 16131 w 15737"/>
                <a:gd name="connsiteY6" fmla="*/ 1180 h 3934"/>
                <a:gd name="connsiteX7" fmla="*/ 12983 w 15737"/>
                <a:gd name="connsiteY7" fmla="*/ 1180 h 3934"/>
                <a:gd name="connsiteX8" fmla="*/ 9836 w 15737"/>
                <a:gd name="connsiteY8" fmla="*/ 393 h 3934"/>
                <a:gd name="connsiteX9" fmla="*/ 7082 w 15737"/>
                <a:gd name="connsiteY9" fmla="*/ 0 h 3934"/>
                <a:gd name="connsiteX10" fmla="*/ 3934 w 15737"/>
                <a:gd name="connsiteY10" fmla="*/ 393 h 3934"/>
                <a:gd name="connsiteX11" fmla="*/ 1180 w 15737"/>
                <a:gd name="connsiteY11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737" h="3934">
                  <a:moveTo>
                    <a:pt x="0" y="3147"/>
                  </a:moveTo>
                  <a:lnTo>
                    <a:pt x="394" y="5901"/>
                  </a:lnTo>
                  <a:lnTo>
                    <a:pt x="3541" y="6295"/>
                  </a:lnTo>
                  <a:lnTo>
                    <a:pt x="7082" y="6295"/>
                  </a:lnTo>
                  <a:lnTo>
                    <a:pt x="10229" y="4721"/>
                  </a:lnTo>
                  <a:lnTo>
                    <a:pt x="12983" y="3934"/>
                  </a:lnTo>
                  <a:lnTo>
                    <a:pt x="16131" y="1180"/>
                  </a:lnTo>
                  <a:lnTo>
                    <a:pt x="12983" y="1180"/>
                  </a:lnTo>
                  <a:lnTo>
                    <a:pt x="9836" y="393"/>
                  </a:lnTo>
                  <a:lnTo>
                    <a:pt x="7082" y="0"/>
                  </a:lnTo>
                  <a:lnTo>
                    <a:pt x="3934" y="393"/>
                  </a:lnTo>
                  <a:lnTo>
                    <a:pt x="118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96" name="Freeform: Shape 2590">
              <a:extLst>
                <a:ext uri="{FF2B5EF4-FFF2-40B4-BE49-F238E27FC236}">
                  <a16:creationId xmlns:a16="http://schemas.microsoft.com/office/drawing/2014/main" id="{09559685-9177-40E0-98D7-0E80FF31B028}"/>
                </a:ext>
              </a:extLst>
            </p:cNvPr>
            <p:cNvSpPr/>
            <p:nvPr/>
          </p:nvSpPr>
          <p:spPr>
            <a:xfrm>
              <a:off x="5691951" y="1322637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180 h 0"/>
                <a:gd name="connsiteX2" fmla="*/ 314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18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97" name="Freeform: Shape 2591">
              <a:extLst>
                <a:ext uri="{FF2B5EF4-FFF2-40B4-BE49-F238E27FC236}">
                  <a16:creationId xmlns:a16="http://schemas.microsoft.com/office/drawing/2014/main" id="{0A5F6356-9860-4AB8-A771-804DA74B45CB}"/>
                </a:ext>
              </a:extLst>
            </p:cNvPr>
            <p:cNvSpPr/>
            <p:nvPr/>
          </p:nvSpPr>
          <p:spPr>
            <a:xfrm>
              <a:off x="4946015" y="1396602"/>
              <a:ext cx="3934" cy="3934"/>
            </a:xfrm>
            <a:custGeom>
              <a:avLst/>
              <a:gdLst>
                <a:gd name="connsiteX0" fmla="*/ 4328 w 3934"/>
                <a:gd name="connsiteY0" fmla="*/ 787 h 0"/>
                <a:gd name="connsiteX1" fmla="*/ 1180 w 3934"/>
                <a:gd name="connsiteY1" fmla="*/ 0 h 0"/>
                <a:gd name="connsiteX2" fmla="*/ 0 w 3934"/>
                <a:gd name="connsiteY2" fmla="*/ 0 h 0"/>
                <a:gd name="connsiteX3" fmla="*/ 1574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4328" y="787"/>
                  </a:moveTo>
                  <a:lnTo>
                    <a:pt x="1180" y="0"/>
                  </a:lnTo>
                  <a:lnTo>
                    <a:pt x="0" y="0"/>
                  </a:lnTo>
                  <a:lnTo>
                    <a:pt x="157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98" name="Freeform: Shape 2592">
              <a:extLst>
                <a:ext uri="{FF2B5EF4-FFF2-40B4-BE49-F238E27FC236}">
                  <a16:creationId xmlns:a16="http://schemas.microsoft.com/office/drawing/2014/main" id="{39CE09D4-9EA1-4C79-8605-235A3348F31A}"/>
                </a:ext>
              </a:extLst>
            </p:cNvPr>
            <p:cNvSpPr/>
            <p:nvPr/>
          </p:nvSpPr>
          <p:spPr>
            <a:xfrm>
              <a:off x="4978669" y="1310835"/>
              <a:ext cx="7869" cy="3934"/>
            </a:xfrm>
            <a:custGeom>
              <a:avLst/>
              <a:gdLst>
                <a:gd name="connsiteX0" fmla="*/ 3147 w 7868"/>
                <a:gd name="connsiteY0" fmla="*/ 1180 h 3934"/>
                <a:gd name="connsiteX1" fmla="*/ 2754 w 7868"/>
                <a:gd name="connsiteY1" fmla="*/ 0 h 3934"/>
                <a:gd name="connsiteX2" fmla="*/ 0 w 7868"/>
                <a:gd name="connsiteY2" fmla="*/ 0 h 3934"/>
                <a:gd name="connsiteX3" fmla="*/ 2754 w 7868"/>
                <a:gd name="connsiteY3" fmla="*/ 1180 h 3934"/>
                <a:gd name="connsiteX4" fmla="*/ 5901 w 7868"/>
                <a:gd name="connsiteY4" fmla="*/ 2754 h 3934"/>
                <a:gd name="connsiteX5" fmla="*/ 9049 w 7868"/>
                <a:gd name="connsiteY5" fmla="*/ 4328 h 3934"/>
                <a:gd name="connsiteX6" fmla="*/ 6295 w 7868"/>
                <a:gd name="connsiteY6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3147" y="1180"/>
                  </a:moveTo>
                  <a:lnTo>
                    <a:pt x="2754" y="0"/>
                  </a:lnTo>
                  <a:lnTo>
                    <a:pt x="0" y="0"/>
                  </a:lnTo>
                  <a:lnTo>
                    <a:pt x="2754" y="1180"/>
                  </a:lnTo>
                  <a:lnTo>
                    <a:pt x="5901" y="2754"/>
                  </a:lnTo>
                  <a:lnTo>
                    <a:pt x="9049" y="4328"/>
                  </a:lnTo>
                  <a:lnTo>
                    <a:pt x="6295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99" name="Freeform: Shape 2593">
              <a:extLst>
                <a:ext uri="{FF2B5EF4-FFF2-40B4-BE49-F238E27FC236}">
                  <a16:creationId xmlns:a16="http://schemas.microsoft.com/office/drawing/2014/main" id="{26AA8F56-B439-4077-BAEC-9E13DFD51467}"/>
                </a:ext>
              </a:extLst>
            </p:cNvPr>
            <p:cNvSpPr/>
            <p:nvPr/>
          </p:nvSpPr>
          <p:spPr>
            <a:xfrm>
              <a:off x="5561727" y="1395028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3148 w 3934"/>
                <a:gd name="connsiteY1" fmla="*/ 2361 h 0"/>
                <a:gd name="connsiteX2" fmla="*/ 6295 w 3934"/>
                <a:gd name="connsiteY2" fmla="*/ 393 h 0"/>
                <a:gd name="connsiteX3" fmla="*/ 6295 w 3934"/>
                <a:gd name="connsiteY3" fmla="*/ 0 h 0"/>
                <a:gd name="connsiteX4" fmla="*/ 3148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3148" y="2361"/>
                  </a:lnTo>
                  <a:lnTo>
                    <a:pt x="6295" y="393"/>
                  </a:lnTo>
                  <a:lnTo>
                    <a:pt x="6295" y="0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00" name="Freeform: Shape 2594">
              <a:extLst>
                <a:ext uri="{FF2B5EF4-FFF2-40B4-BE49-F238E27FC236}">
                  <a16:creationId xmlns:a16="http://schemas.microsoft.com/office/drawing/2014/main" id="{F4A0BFF3-3217-431F-A733-F9B1FB2DFDDB}"/>
                </a:ext>
              </a:extLst>
            </p:cNvPr>
            <p:cNvSpPr/>
            <p:nvPr/>
          </p:nvSpPr>
          <p:spPr>
            <a:xfrm>
              <a:off x="5606971" y="1328932"/>
              <a:ext cx="7869" cy="3934"/>
            </a:xfrm>
            <a:custGeom>
              <a:avLst/>
              <a:gdLst>
                <a:gd name="connsiteX0" fmla="*/ 6295 w 7868"/>
                <a:gd name="connsiteY0" fmla="*/ 787 h 0"/>
                <a:gd name="connsiteX1" fmla="*/ 3148 w 7868"/>
                <a:gd name="connsiteY1" fmla="*/ 1180 h 0"/>
                <a:gd name="connsiteX2" fmla="*/ 0 w 7868"/>
                <a:gd name="connsiteY2" fmla="*/ 1967 h 0"/>
                <a:gd name="connsiteX3" fmla="*/ 3148 w 7868"/>
                <a:gd name="connsiteY3" fmla="*/ 2754 h 0"/>
                <a:gd name="connsiteX4" fmla="*/ 5901 w 7868"/>
                <a:gd name="connsiteY4" fmla="*/ 3541 h 0"/>
                <a:gd name="connsiteX5" fmla="*/ 8656 w 7868"/>
                <a:gd name="connsiteY5" fmla="*/ 2754 h 0"/>
                <a:gd name="connsiteX6" fmla="*/ 11409 w 7868"/>
                <a:gd name="connsiteY6" fmla="*/ 393 h 0"/>
                <a:gd name="connsiteX7" fmla="*/ 9049 w 7868"/>
                <a:gd name="connsiteY7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>
                  <a:moveTo>
                    <a:pt x="6295" y="787"/>
                  </a:moveTo>
                  <a:lnTo>
                    <a:pt x="3148" y="1180"/>
                  </a:lnTo>
                  <a:lnTo>
                    <a:pt x="0" y="1967"/>
                  </a:lnTo>
                  <a:lnTo>
                    <a:pt x="3148" y="2754"/>
                  </a:lnTo>
                  <a:lnTo>
                    <a:pt x="5901" y="3541"/>
                  </a:lnTo>
                  <a:lnTo>
                    <a:pt x="8656" y="2754"/>
                  </a:lnTo>
                  <a:lnTo>
                    <a:pt x="11409" y="393"/>
                  </a:lnTo>
                  <a:lnTo>
                    <a:pt x="9049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01" name="Freeform: Shape 2595">
              <a:extLst>
                <a:ext uri="{FF2B5EF4-FFF2-40B4-BE49-F238E27FC236}">
                  <a16:creationId xmlns:a16="http://schemas.microsoft.com/office/drawing/2014/main" id="{D0DD485C-025F-4CAF-AEAF-A8500262DBC0}"/>
                </a:ext>
              </a:extLst>
            </p:cNvPr>
            <p:cNvSpPr/>
            <p:nvPr/>
          </p:nvSpPr>
          <p:spPr>
            <a:xfrm>
              <a:off x="5625069" y="1324605"/>
              <a:ext cx="51145" cy="7869"/>
            </a:xfrm>
            <a:custGeom>
              <a:avLst/>
              <a:gdLst>
                <a:gd name="connsiteX0" fmla="*/ 53506 w 51145"/>
                <a:gd name="connsiteY0" fmla="*/ 4328 h 7868"/>
                <a:gd name="connsiteX1" fmla="*/ 52325 w 51145"/>
                <a:gd name="connsiteY1" fmla="*/ 3541 h 7868"/>
                <a:gd name="connsiteX2" fmla="*/ 49178 w 51145"/>
                <a:gd name="connsiteY2" fmla="*/ 3934 h 7868"/>
                <a:gd name="connsiteX3" fmla="*/ 46424 w 51145"/>
                <a:gd name="connsiteY3" fmla="*/ 2361 h 7868"/>
                <a:gd name="connsiteX4" fmla="*/ 43277 w 51145"/>
                <a:gd name="connsiteY4" fmla="*/ 1967 h 7868"/>
                <a:gd name="connsiteX5" fmla="*/ 40523 w 51145"/>
                <a:gd name="connsiteY5" fmla="*/ 1574 h 7868"/>
                <a:gd name="connsiteX6" fmla="*/ 36982 w 51145"/>
                <a:gd name="connsiteY6" fmla="*/ 1180 h 7868"/>
                <a:gd name="connsiteX7" fmla="*/ 33835 w 51145"/>
                <a:gd name="connsiteY7" fmla="*/ 1180 h 7868"/>
                <a:gd name="connsiteX8" fmla="*/ 30687 w 51145"/>
                <a:gd name="connsiteY8" fmla="*/ 393 h 7868"/>
                <a:gd name="connsiteX9" fmla="*/ 27540 w 51145"/>
                <a:gd name="connsiteY9" fmla="*/ 0 h 7868"/>
                <a:gd name="connsiteX10" fmla="*/ 24392 w 51145"/>
                <a:gd name="connsiteY10" fmla="*/ 393 h 7868"/>
                <a:gd name="connsiteX11" fmla="*/ 21638 w 51145"/>
                <a:gd name="connsiteY11" fmla="*/ 787 h 7868"/>
                <a:gd name="connsiteX12" fmla="*/ 18884 w 51145"/>
                <a:gd name="connsiteY12" fmla="*/ 1180 h 7868"/>
                <a:gd name="connsiteX13" fmla="*/ 15737 w 51145"/>
                <a:gd name="connsiteY13" fmla="*/ 1180 h 7868"/>
                <a:gd name="connsiteX14" fmla="*/ 12589 w 51145"/>
                <a:gd name="connsiteY14" fmla="*/ 1574 h 7868"/>
                <a:gd name="connsiteX15" fmla="*/ 9442 w 51145"/>
                <a:gd name="connsiteY15" fmla="*/ 1967 h 7868"/>
                <a:gd name="connsiteX16" fmla="*/ 6295 w 51145"/>
                <a:gd name="connsiteY16" fmla="*/ 1967 h 7868"/>
                <a:gd name="connsiteX17" fmla="*/ 3147 w 51145"/>
                <a:gd name="connsiteY17" fmla="*/ 1967 h 7868"/>
                <a:gd name="connsiteX18" fmla="*/ 0 w 51145"/>
                <a:gd name="connsiteY18" fmla="*/ 4721 h 7868"/>
                <a:gd name="connsiteX19" fmla="*/ 3147 w 51145"/>
                <a:gd name="connsiteY19" fmla="*/ 4328 h 7868"/>
                <a:gd name="connsiteX20" fmla="*/ 6295 w 51145"/>
                <a:gd name="connsiteY20" fmla="*/ 3934 h 7868"/>
                <a:gd name="connsiteX21" fmla="*/ 9442 w 51145"/>
                <a:gd name="connsiteY21" fmla="*/ 3934 h 7868"/>
                <a:gd name="connsiteX22" fmla="*/ 12589 w 51145"/>
                <a:gd name="connsiteY22" fmla="*/ 4328 h 7868"/>
                <a:gd name="connsiteX23" fmla="*/ 15343 w 51145"/>
                <a:gd name="connsiteY23" fmla="*/ 5115 h 7868"/>
                <a:gd name="connsiteX24" fmla="*/ 18098 w 51145"/>
                <a:gd name="connsiteY24" fmla="*/ 5508 h 7868"/>
                <a:gd name="connsiteX25" fmla="*/ 27540 w 51145"/>
                <a:gd name="connsiteY25" fmla="*/ 5508 h 7868"/>
                <a:gd name="connsiteX26" fmla="*/ 31080 w 51145"/>
                <a:gd name="connsiteY26" fmla="*/ 6295 h 7868"/>
                <a:gd name="connsiteX27" fmla="*/ 33835 w 51145"/>
                <a:gd name="connsiteY27" fmla="*/ 7475 h 7868"/>
                <a:gd name="connsiteX28" fmla="*/ 36195 w 51145"/>
                <a:gd name="connsiteY28" fmla="*/ 10229 h 7868"/>
                <a:gd name="connsiteX29" fmla="*/ 39343 w 51145"/>
                <a:gd name="connsiteY29" fmla="*/ 9836 h 7868"/>
                <a:gd name="connsiteX30" fmla="*/ 42490 w 51145"/>
                <a:gd name="connsiteY30" fmla="*/ 10229 h 7868"/>
                <a:gd name="connsiteX31" fmla="*/ 45637 w 51145"/>
                <a:gd name="connsiteY31" fmla="*/ 10229 h 7868"/>
                <a:gd name="connsiteX32" fmla="*/ 48391 w 51145"/>
                <a:gd name="connsiteY32" fmla="*/ 10229 h 7868"/>
                <a:gd name="connsiteX33" fmla="*/ 51145 w 51145"/>
                <a:gd name="connsiteY33" fmla="*/ 10622 h 7868"/>
                <a:gd name="connsiteX34" fmla="*/ 49965 w 51145"/>
                <a:gd name="connsiteY34" fmla="*/ 7869 h 7868"/>
                <a:gd name="connsiteX35" fmla="*/ 46817 w 51145"/>
                <a:gd name="connsiteY35" fmla="*/ 7082 h 7868"/>
                <a:gd name="connsiteX36" fmla="*/ 49965 w 51145"/>
                <a:gd name="connsiteY36" fmla="*/ 629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1145" h="7868">
                  <a:moveTo>
                    <a:pt x="53506" y="4328"/>
                  </a:moveTo>
                  <a:lnTo>
                    <a:pt x="52325" y="3541"/>
                  </a:lnTo>
                  <a:lnTo>
                    <a:pt x="49178" y="3934"/>
                  </a:lnTo>
                  <a:lnTo>
                    <a:pt x="46424" y="2361"/>
                  </a:lnTo>
                  <a:lnTo>
                    <a:pt x="43277" y="1967"/>
                  </a:lnTo>
                  <a:lnTo>
                    <a:pt x="40523" y="1574"/>
                  </a:lnTo>
                  <a:lnTo>
                    <a:pt x="36982" y="1180"/>
                  </a:lnTo>
                  <a:lnTo>
                    <a:pt x="33835" y="1180"/>
                  </a:lnTo>
                  <a:lnTo>
                    <a:pt x="30687" y="393"/>
                  </a:lnTo>
                  <a:lnTo>
                    <a:pt x="27540" y="0"/>
                  </a:lnTo>
                  <a:lnTo>
                    <a:pt x="24392" y="393"/>
                  </a:lnTo>
                  <a:lnTo>
                    <a:pt x="21638" y="787"/>
                  </a:lnTo>
                  <a:lnTo>
                    <a:pt x="18884" y="1180"/>
                  </a:lnTo>
                  <a:lnTo>
                    <a:pt x="15737" y="1180"/>
                  </a:lnTo>
                  <a:lnTo>
                    <a:pt x="12589" y="1574"/>
                  </a:lnTo>
                  <a:lnTo>
                    <a:pt x="9442" y="1967"/>
                  </a:lnTo>
                  <a:lnTo>
                    <a:pt x="6295" y="1967"/>
                  </a:lnTo>
                  <a:lnTo>
                    <a:pt x="3147" y="1967"/>
                  </a:lnTo>
                  <a:lnTo>
                    <a:pt x="0" y="4721"/>
                  </a:lnTo>
                  <a:lnTo>
                    <a:pt x="3147" y="4328"/>
                  </a:lnTo>
                  <a:lnTo>
                    <a:pt x="6295" y="3934"/>
                  </a:lnTo>
                  <a:lnTo>
                    <a:pt x="9442" y="3934"/>
                  </a:lnTo>
                  <a:lnTo>
                    <a:pt x="12589" y="4328"/>
                  </a:lnTo>
                  <a:lnTo>
                    <a:pt x="15343" y="5115"/>
                  </a:lnTo>
                  <a:lnTo>
                    <a:pt x="18098" y="5508"/>
                  </a:lnTo>
                  <a:lnTo>
                    <a:pt x="27540" y="5508"/>
                  </a:lnTo>
                  <a:lnTo>
                    <a:pt x="31080" y="6295"/>
                  </a:lnTo>
                  <a:lnTo>
                    <a:pt x="33835" y="7475"/>
                  </a:lnTo>
                  <a:lnTo>
                    <a:pt x="36195" y="10229"/>
                  </a:lnTo>
                  <a:lnTo>
                    <a:pt x="39343" y="9836"/>
                  </a:lnTo>
                  <a:lnTo>
                    <a:pt x="42490" y="10229"/>
                  </a:lnTo>
                  <a:lnTo>
                    <a:pt x="45637" y="10229"/>
                  </a:lnTo>
                  <a:lnTo>
                    <a:pt x="48391" y="10229"/>
                  </a:lnTo>
                  <a:lnTo>
                    <a:pt x="51145" y="10622"/>
                  </a:lnTo>
                  <a:lnTo>
                    <a:pt x="49965" y="7869"/>
                  </a:lnTo>
                  <a:lnTo>
                    <a:pt x="46817" y="7082"/>
                  </a:lnTo>
                  <a:lnTo>
                    <a:pt x="49965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02" name="Freeform: Shape 2596">
              <a:extLst>
                <a:ext uri="{FF2B5EF4-FFF2-40B4-BE49-F238E27FC236}">
                  <a16:creationId xmlns:a16="http://schemas.microsoft.com/office/drawing/2014/main" id="{DAA022FD-4141-48C9-A96B-E8D68DE171AE}"/>
                </a:ext>
              </a:extLst>
            </p:cNvPr>
            <p:cNvSpPr/>
            <p:nvPr/>
          </p:nvSpPr>
          <p:spPr>
            <a:xfrm>
              <a:off x="5624282" y="1329719"/>
              <a:ext cx="47211" cy="19671"/>
            </a:xfrm>
            <a:custGeom>
              <a:avLst/>
              <a:gdLst>
                <a:gd name="connsiteX0" fmla="*/ 36982 w 47211"/>
                <a:gd name="connsiteY0" fmla="*/ 12196 h 19671"/>
                <a:gd name="connsiteX1" fmla="*/ 39736 w 47211"/>
                <a:gd name="connsiteY1" fmla="*/ 12196 h 19671"/>
                <a:gd name="connsiteX2" fmla="*/ 42884 w 47211"/>
                <a:gd name="connsiteY2" fmla="*/ 12590 h 19671"/>
                <a:gd name="connsiteX3" fmla="*/ 46031 w 47211"/>
                <a:gd name="connsiteY3" fmla="*/ 13377 h 19671"/>
                <a:gd name="connsiteX4" fmla="*/ 48785 w 47211"/>
                <a:gd name="connsiteY4" fmla="*/ 13377 h 19671"/>
                <a:gd name="connsiteX5" fmla="*/ 47998 w 47211"/>
                <a:gd name="connsiteY5" fmla="*/ 10623 h 19671"/>
                <a:gd name="connsiteX6" fmla="*/ 45244 w 47211"/>
                <a:gd name="connsiteY6" fmla="*/ 11016 h 19671"/>
                <a:gd name="connsiteX7" fmla="*/ 42490 w 47211"/>
                <a:gd name="connsiteY7" fmla="*/ 8655 h 19671"/>
                <a:gd name="connsiteX8" fmla="*/ 39343 w 47211"/>
                <a:gd name="connsiteY8" fmla="*/ 7082 h 19671"/>
                <a:gd name="connsiteX9" fmla="*/ 36589 w 47211"/>
                <a:gd name="connsiteY9" fmla="*/ 7475 h 19671"/>
                <a:gd name="connsiteX10" fmla="*/ 33441 w 47211"/>
                <a:gd name="connsiteY10" fmla="*/ 5508 h 19671"/>
                <a:gd name="connsiteX11" fmla="*/ 30294 w 47211"/>
                <a:gd name="connsiteY11" fmla="*/ 4328 h 19671"/>
                <a:gd name="connsiteX12" fmla="*/ 27933 w 47211"/>
                <a:gd name="connsiteY12" fmla="*/ 1574 h 19671"/>
                <a:gd name="connsiteX13" fmla="*/ 25179 w 47211"/>
                <a:gd name="connsiteY13" fmla="*/ 1180 h 19671"/>
                <a:gd name="connsiteX14" fmla="*/ 22032 w 47211"/>
                <a:gd name="connsiteY14" fmla="*/ 1180 h 19671"/>
                <a:gd name="connsiteX15" fmla="*/ 18885 w 47211"/>
                <a:gd name="connsiteY15" fmla="*/ 1180 h 19671"/>
                <a:gd name="connsiteX16" fmla="*/ 15344 w 47211"/>
                <a:gd name="connsiteY16" fmla="*/ 787 h 19671"/>
                <a:gd name="connsiteX17" fmla="*/ 12196 w 47211"/>
                <a:gd name="connsiteY17" fmla="*/ 393 h 19671"/>
                <a:gd name="connsiteX18" fmla="*/ 9049 w 47211"/>
                <a:gd name="connsiteY18" fmla="*/ 0 h 19671"/>
                <a:gd name="connsiteX19" fmla="*/ 5901 w 47211"/>
                <a:gd name="connsiteY19" fmla="*/ 393 h 19671"/>
                <a:gd name="connsiteX20" fmla="*/ 2754 w 47211"/>
                <a:gd name="connsiteY20" fmla="*/ 787 h 19671"/>
                <a:gd name="connsiteX21" fmla="*/ 0 w 47211"/>
                <a:gd name="connsiteY21" fmla="*/ 1180 h 19671"/>
                <a:gd name="connsiteX22" fmla="*/ 393 w 47211"/>
                <a:gd name="connsiteY22" fmla="*/ 3934 h 19671"/>
                <a:gd name="connsiteX23" fmla="*/ 0 w 47211"/>
                <a:gd name="connsiteY23" fmla="*/ 7082 h 19671"/>
                <a:gd name="connsiteX24" fmla="*/ 2754 w 47211"/>
                <a:gd name="connsiteY24" fmla="*/ 9442 h 19671"/>
                <a:gd name="connsiteX25" fmla="*/ 5901 w 47211"/>
                <a:gd name="connsiteY25" fmla="*/ 9442 h 19671"/>
                <a:gd name="connsiteX26" fmla="*/ 9049 w 47211"/>
                <a:gd name="connsiteY26" fmla="*/ 11803 h 19671"/>
                <a:gd name="connsiteX27" fmla="*/ 11803 w 47211"/>
                <a:gd name="connsiteY27" fmla="*/ 12590 h 19671"/>
                <a:gd name="connsiteX28" fmla="*/ 14950 w 47211"/>
                <a:gd name="connsiteY28" fmla="*/ 12983 h 19671"/>
                <a:gd name="connsiteX29" fmla="*/ 17704 w 47211"/>
                <a:gd name="connsiteY29" fmla="*/ 14163 h 19671"/>
                <a:gd name="connsiteX30" fmla="*/ 20852 w 47211"/>
                <a:gd name="connsiteY30" fmla="*/ 14557 h 19671"/>
                <a:gd name="connsiteX31" fmla="*/ 23999 w 47211"/>
                <a:gd name="connsiteY31" fmla="*/ 15737 h 19671"/>
                <a:gd name="connsiteX32" fmla="*/ 27147 w 47211"/>
                <a:gd name="connsiteY32" fmla="*/ 18098 h 19671"/>
                <a:gd name="connsiteX33" fmla="*/ 30294 w 47211"/>
                <a:gd name="connsiteY33" fmla="*/ 19278 h 19671"/>
                <a:gd name="connsiteX34" fmla="*/ 33441 w 47211"/>
                <a:gd name="connsiteY34" fmla="*/ 19278 h 19671"/>
                <a:gd name="connsiteX35" fmla="*/ 36196 w 47211"/>
                <a:gd name="connsiteY35" fmla="*/ 20852 h 19671"/>
                <a:gd name="connsiteX36" fmla="*/ 39343 w 47211"/>
                <a:gd name="connsiteY36" fmla="*/ 21245 h 19671"/>
                <a:gd name="connsiteX37" fmla="*/ 42490 w 47211"/>
                <a:gd name="connsiteY37" fmla="*/ 20065 h 19671"/>
                <a:gd name="connsiteX38" fmla="*/ 44457 w 47211"/>
                <a:gd name="connsiteY38" fmla="*/ 17311 h 19671"/>
                <a:gd name="connsiteX39" fmla="*/ 41310 w 47211"/>
                <a:gd name="connsiteY39" fmla="*/ 16524 h 19671"/>
                <a:gd name="connsiteX40" fmla="*/ 38163 w 47211"/>
                <a:gd name="connsiteY40" fmla="*/ 15344 h 19671"/>
                <a:gd name="connsiteX41" fmla="*/ 37376 w 47211"/>
                <a:gd name="connsiteY41" fmla="*/ 15344 h 19671"/>
                <a:gd name="connsiteX42" fmla="*/ 34228 w 47211"/>
                <a:gd name="connsiteY42" fmla="*/ 14557 h 19671"/>
                <a:gd name="connsiteX43" fmla="*/ 34228 w 47211"/>
                <a:gd name="connsiteY43" fmla="*/ 11409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7211" h="19671">
                  <a:moveTo>
                    <a:pt x="36982" y="12196"/>
                  </a:moveTo>
                  <a:lnTo>
                    <a:pt x="39736" y="12196"/>
                  </a:lnTo>
                  <a:lnTo>
                    <a:pt x="42884" y="12590"/>
                  </a:lnTo>
                  <a:lnTo>
                    <a:pt x="46031" y="13377"/>
                  </a:lnTo>
                  <a:lnTo>
                    <a:pt x="48785" y="13377"/>
                  </a:lnTo>
                  <a:lnTo>
                    <a:pt x="47998" y="10623"/>
                  </a:lnTo>
                  <a:lnTo>
                    <a:pt x="45244" y="11016"/>
                  </a:lnTo>
                  <a:lnTo>
                    <a:pt x="42490" y="8655"/>
                  </a:lnTo>
                  <a:lnTo>
                    <a:pt x="39343" y="7082"/>
                  </a:lnTo>
                  <a:lnTo>
                    <a:pt x="36589" y="7475"/>
                  </a:lnTo>
                  <a:lnTo>
                    <a:pt x="33441" y="5508"/>
                  </a:lnTo>
                  <a:lnTo>
                    <a:pt x="30294" y="4328"/>
                  </a:lnTo>
                  <a:lnTo>
                    <a:pt x="27933" y="1574"/>
                  </a:lnTo>
                  <a:lnTo>
                    <a:pt x="25179" y="1180"/>
                  </a:lnTo>
                  <a:lnTo>
                    <a:pt x="22032" y="1180"/>
                  </a:lnTo>
                  <a:lnTo>
                    <a:pt x="18885" y="1180"/>
                  </a:lnTo>
                  <a:lnTo>
                    <a:pt x="15344" y="787"/>
                  </a:lnTo>
                  <a:lnTo>
                    <a:pt x="12196" y="393"/>
                  </a:lnTo>
                  <a:lnTo>
                    <a:pt x="9049" y="0"/>
                  </a:lnTo>
                  <a:lnTo>
                    <a:pt x="5901" y="393"/>
                  </a:lnTo>
                  <a:lnTo>
                    <a:pt x="2754" y="787"/>
                  </a:lnTo>
                  <a:lnTo>
                    <a:pt x="0" y="1180"/>
                  </a:lnTo>
                  <a:lnTo>
                    <a:pt x="393" y="3934"/>
                  </a:lnTo>
                  <a:lnTo>
                    <a:pt x="0" y="7082"/>
                  </a:lnTo>
                  <a:lnTo>
                    <a:pt x="2754" y="9442"/>
                  </a:lnTo>
                  <a:lnTo>
                    <a:pt x="5901" y="9442"/>
                  </a:lnTo>
                  <a:lnTo>
                    <a:pt x="9049" y="11803"/>
                  </a:lnTo>
                  <a:lnTo>
                    <a:pt x="11803" y="12590"/>
                  </a:lnTo>
                  <a:lnTo>
                    <a:pt x="14950" y="12983"/>
                  </a:lnTo>
                  <a:lnTo>
                    <a:pt x="17704" y="14163"/>
                  </a:lnTo>
                  <a:lnTo>
                    <a:pt x="20852" y="14557"/>
                  </a:lnTo>
                  <a:lnTo>
                    <a:pt x="23999" y="15737"/>
                  </a:lnTo>
                  <a:lnTo>
                    <a:pt x="27147" y="18098"/>
                  </a:lnTo>
                  <a:lnTo>
                    <a:pt x="30294" y="19278"/>
                  </a:lnTo>
                  <a:lnTo>
                    <a:pt x="33441" y="19278"/>
                  </a:lnTo>
                  <a:lnTo>
                    <a:pt x="36196" y="20852"/>
                  </a:lnTo>
                  <a:lnTo>
                    <a:pt x="39343" y="21245"/>
                  </a:lnTo>
                  <a:lnTo>
                    <a:pt x="42490" y="20065"/>
                  </a:lnTo>
                  <a:lnTo>
                    <a:pt x="44457" y="17311"/>
                  </a:lnTo>
                  <a:lnTo>
                    <a:pt x="41310" y="16524"/>
                  </a:lnTo>
                  <a:lnTo>
                    <a:pt x="38163" y="15344"/>
                  </a:lnTo>
                  <a:lnTo>
                    <a:pt x="37376" y="15344"/>
                  </a:lnTo>
                  <a:lnTo>
                    <a:pt x="34228" y="14557"/>
                  </a:lnTo>
                  <a:lnTo>
                    <a:pt x="34228" y="1140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03" name="Freeform: Shape 2597">
              <a:extLst>
                <a:ext uri="{FF2B5EF4-FFF2-40B4-BE49-F238E27FC236}">
                  <a16:creationId xmlns:a16="http://schemas.microsoft.com/office/drawing/2014/main" id="{ECBD688A-AEE3-4CF3-8339-6DB80D1D3DDD}"/>
                </a:ext>
              </a:extLst>
            </p:cNvPr>
            <p:cNvSpPr/>
            <p:nvPr/>
          </p:nvSpPr>
          <p:spPr>
            <a:xfrm>
              <a:off x="5764735" y="1280147"/>
              <a:ext cx="3934" cy="3934"/>
            </a:xfrm>
            <a:custGeom>
              <a:avLst/>
              <a:gdLst>
                <a:gd name="connsiteX0" fmla="*/ 3147 w 0"/>
                <a:gd name="connsiteY0" fmla="*/ 1967 h 0"/>
                <a:gd name="connsiteX1" fmla="*/ 3147 w 0"/>
                <a:gd name="connsiteY1" fmla="*/ 393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1967"/>
                  </a:moveTo>
                  <a:lnTo>
                    <a:pt x="3147" y="39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04" name="Freeform: Shape 2598">
              <a:extLst>
                <a:ext uri="{FF2B5EF4-FFF2-40B4-BE49-F238E27FC236}">
                  <a16:creationId xmlns:a16="http://schemas.microsoft.com/office/drawing/2014/main" id="{B30B25D6-C8AB-4564-8383-39CDDAE7F72B}"/>
                </a:ext>
              </a:extLst>
            </p:cNvPr>
            <p:cNvSpPr/>
            <p:nvPr/>
          </p:nvSpPr>
          <p:spPr>
            <a:xfrm>
              <a:off x="5749785" y="1281328"/>
              <a:ext cx="7869" cy="3934"/>
            </a:xfrm>
            <a:custGeom>
              <a:avLst/>
              <a:gdLst>
                <a:gd name="connsiteX0" fmla="*/ 9049 w 7868"/>
                <a:gd name="connsiteY0" fmla="*/ 2754 h 0"/>
                <a:gd name="connsiteX1" fmla="*/ 9049 w 7868"/>
                <a:gd name="connsiteY1" fmla="*/ 1967 h 0"/>
                <a:gd name="connsiteX2" fmla="*/ 5901 w 7868"/>
                <a:gd name="connsiteY2" fmla="*/ 0 h 0"/>
                <a:gd name="connsiteX3" fmla="*/ 3148 w 7868"/>
                <a:gd name="connsiteY3" fmla="*/ 787 h 0"/>
                <a:gd name="connsiteX4" fmla="*/ 0 w 7868"/>
                <a:gd name="connsiteY4" fmla="*/ 1967 h 0"/>
                <a:gd name="connsiteX5" fmla="*/ 3148 w 7868"/>
                <a:gd name="connsiteY5" fmla="*/ 3541 h 0"/>
                <a:gd name="connsiteX6" fmla="*/ 5901 w 7868"/>
                <a:gd name="connsiteY6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9049" y="2754"/>
                  </a:moveTo>
                  <a:lnTo>
                    <a:pt x="9049" y="1967"/>
                  </a:lnTo>
                  <a:lnTo>
                    <a:pt x="5901" y="0"/>
                  </a:lnTo>
                  <a:lnTo>
                    <a:pt x="3148" y="787"/>
                  </a:lnTo>
                  <a:lnTo>
                    <a:pt x="0" y="1967"/>
                  </a:lnTo>
                  <a:lnTo>
                    <a:pt x="3148" y="3541"/>
                  </a:lnTo>
                  <a:lnTo>
                    <a:pt x="5901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05" name="Freeform: Shape 2599">
              <a:extLst>
                <a:ext uri="{FF2B5EF4-FFF2-40B4-BE49-F238E27FC236}">
                  <a16:creationId xmlns:a16="http://schemas.microsoft.com/office/drawing/2014/main" id="{DF256355-76AB-4209-8322-1A1F3DB1C50A}"/>
                </a:ext>
              </a:extLst>
            </p:cNvPr>
            <p:cNvSpPr/>
            <p:nvPr/>
          </p:nvSpPr>
          <p:spPr>
            <a:xfrm>
              <a:off x="5758834" y="1262050"/>
              <a:ext cx="31474" cy="11803"/>
            </a:xfrm>
            <a:custGeom>
              <a:avLst/>
              <a:gdLst>
                <a:gd name="connsiteX0" fmla="*/ 4328 w 31474"/>
                <a:gd name="connsiteY0" fmla="*/ 1967 h 11802"/>
                <a:gd name="connsiteX1" fmla="*/ 3147 w 31474"/>
                <a:gd name="connsiteY1" fmla="*/ 4721 h 11802"/>
                <a:gd name="connsiteX2" fmla="*/ 787 w 31474"/>
                <a:gd name="connsiteY2" fmla="*/ 7869 h 11802"/>
                <a:gd name="connsiteX3" fmla="*/ 0 w 31474"/>
                <a:gd name="connsiteY3" fmla="*/ 10623 h 11802"/>
                <a:gd name="connsiteX4" fmla="*/ 3147 w 31474"/>
                <a:gd name="connsiteY4" fmla="*/ 10229 h 11802"/>
                <a:gd name="connsiteX5" fmla="*/ 5901 w 31474"/>
                <a:gd name="connsiteY5" fmla="*/ 10623 h 11802"/>
                <a:gd name="connsiteX6" fmla="*/ 9049 w 31474"/>
                <a:gd name="connsiteY6" fmla="*/ 11016 h 11802"/>
                <a:gd name="connsiteX7" fmla="*/ 14950 w 31474"/>
                <a:gd name="connsiteY7" fmla="*/ 9836 h 11802"/>
                <a:gd name="connsiteX8" fmla="*/ 18098 w 31474"/>
                <a:gd name="connsiteY8" fmla="*/ 9836 h 11802"/>
                <a:gd name="connsiteX9" fmla="*/ 21245 w 31474"/>
                <a:gd name="connsiteY9" fmla="*/ 9836 h 11802"/>
                <a:gd name="connsiteX10" fmla="*/ 24392 w 31474"/>
                <a:gd name="connsiteY10" fmla="*/ 10229 h 11802"/>
                <a:gd name="connsiteX11" fmla="*/ 27540 w 31474"/>
                <a:gd name="connsiteY11" fmla="*/ 11803 h 11802"/>
                <a:gd name="connsiteX12" fmla="*/ 30294 w 31474"/>
                <a:gd name="connsiteY12" fmla="*/ 10229 h 11802"/>
                <a:gd name="connsiteX13" fmla="*/ 33047 w 31474"/>
                <a:gd name="connsiteY13" fmla="*/ 7082 h 11802"/>
                <a:gd name="connsiteX14" fmla="*/ 29900 w 31474"/>
                <a:gd name="connsiteY14" fmla="*/ 6688 h 11802"/>
                <a:gd name="connsiteX15" fmla="*/ 27146 w 31474"/>
                <a:gd name="connsiteY15" fmla="*/ 7869 h 11802"/>
                <a:gd name="connsiteX16" fmla="*/ 23999 w 31474"/>
                <a:gd name="connsiteY16" fmla="*/ 8262 h 11802"/>
                <a:gd name="connsiteX17" fmla="*/ 21245 w 31474"/>
                <a:gd name="connsiteY17" fmla="*/ 7082 h 11802"/>
                <a:gd name="connsiteX18" fmla="*/ 18098 w 31474"/>
                <a:gd name="connsiteY18" fmla="*/ 5115 h 11802"/>
                <a:gd name="connsiteX19" fmla="*/ 21245 w 31474"/>
                <a:gd name="connsiteY19" fmla="*/ 3934 h 11802"/>
                <a:gd name="connsiteX20" fmla="*/ 23999 w 31474"/>
                <a:gd name="connsiteY20" fmla="*/ 2754 h 11802"/>
                <a:gd name="connsiteX21" fmla="*/ 22032 w 31474"/>
                <a:gd name="connsiteY21" fmla="*/ 0 h 11802"/>
                <a:gd name="connsiteX22" fmla="*/ 19278 w 31474"/>
                <a:gd name="connsiteY22" fmla="*/ 0 h 11802"/>
                <a:gd name="connsiteX23" fmla="*/ 16130 w 31474"/>
                <a:gd name="connsiteY23" fmla="*/ 2361 h 11802"/>
                <a:gd name="connsiteX24" fmla="*/ 13376 w 31474"/>
                <a:gd name="connsiteY24" fmla="*/ 2754 h 11802"/>
                <a:gd name="connsiteX25" fmla="*/ 10229 w 31474"/>
                <a:gd name="connsiteY25" fmla="*/ 787 h 11802"/>
                <a:gd name="connsiteX26" fmla="*/ 7081 w 31474"/>
                <a:gd name="connsiteY26" fmla="*/ 118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474" h="11802">
                  <a:moveTo>
                    <a:pt x="4328" y="1967"/>
                  </a:moveTo>
                  <a:lnTo>
                    <a:pt x="3147" y="4721"/>
                  </a:lnTo>
                  <a:lnTo>
                    <a:pt x="787" y="7869"/>
                  </a:lnTo>
                  <a:lnTo>
                    <a:pt x="0" y="10623"/>
                  </a:lnTo>
                  <a:lnTo>
                    <a:pt x="3147" y="10229"/>
                  </a:lnTo>
                  <a:lnTo>
                    <a:pt x="5901" y="10623"/>
                  </a:lnTo>
                  <a:lnTo>
                    <a:pt x="9049" y="11016"/>
                  </a:lnTo>
                  <a:lnTo>
                    <a:pt x="14950" y="9836"/>
                  </a:lnTo>
                  <a:lnTo>
                    <a:pt x="18098" y="9836"/>
                  </a:lnTo>
                  <a:lnTo>
                    <a:pt x="21245" y="9836"/>
                  </a:lnTo>
                  <a:lnTo>
                    <a:pt x="24392" y="10229"/>
                  </a:lnTo>
                  <a:lnTo>
                    <a:pt x="27540" y="11803"/>
                  </a:lnTo>
                  <a:lnTo>
                    <a:pt x="30294" y="10229"/>
                  </a:lnTo>
                  <a:lnTo>
                    <a:pt x="33047" y="7082"/>
                  </a:lnTo>
                  <a:lnTo>
                    <a:pt x="29900" y="6688"/>
                  </a:lnTo>
                  <a:lnTo>
                    <a:pt x="27146" y="7869"/>
                  </a:lnTo>
                  <a:lnTo>
                    <a:pt x="23999" y="8262"/>
                  </a:lnTo>
                  <a:lnTo>
                    <a:pt x="21245" y="7082"/>
                  </a:lnTo>
                  <a:lnTo>
                    <a:pt x="18098" y="5115"/>
                  </a:lnTo>
                  <a:lnTo>
                    <a:pt x="21245" y="3934"/>
                  </a:lnTo>
                  <a:lnTo>
                    <a:pt x="23999" y="2754"/>
                  </a:lnTo>
                  <a:lnTo>
                    <a:pt x="22032" y="0"/>
                  </a:lnTo>
                  <a:lnTo>
                    <a:pt x="19278" y="0"/>
                  </a:lnTo>
                  <a:lnTo>
                    <a:pt x="16130" y="2361"/>
                  </a:lnTo>
                  <a:lnTo>
                    <a:pt x="13376" y="2754"/>
                  </a:lnTo>
                  <a:lnTo>
                    <a:pt x="10229" y="787"/>
                  </a:lnTo>
                  <a:lnTo>
                    <a:pt x="708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06" name="Freeform: Shape 2600">
              <a:extLst>
                <a:ext uri="{FF2B5EF4-FFF2-40B4-BE49-F238E27FC236}">
                  <a16:creationId xmlns:a16="http://schemas.microsoft.com/office/drawing/2014/main" id="{A67AE779-37E1-42B6-9827-33620F286334}"/>
                </a:ext>
              </a:extLst>
            </p:cNvPr>
            <p:cNvSpPr/>
            <p:nvPr/>
          </p:nvSpPr>
          <p:spPr>
            <a:xfrm>
              <a:off x="5767882" y="1227035"/>
              <a:ext cx="7869" cy="19671"/>
            </a:xfrm>
            <a:custGeom>
              <a:avLst/>
              <a:gdLst>
                <a:gd name="connsiteX0" fmla="*/ 0 w 7868"/>
                <a:gd name="connsiteY0" fmla="*/ 4721 h 19671"/>
                <a:gd name="connsiteX1" fmla="*/ 0 w 7868"/>
                <a:gd name="connsiteY1" fmla="*/ 7869 h 19671"/>
                <a:gd name="connsiteX2" fmla="*/ 1180 w 7868"/>
                <a:gd name="connsiteY2" fmla="*/ 10623 h 19671"/>
                <a:gd name="connsiteX3" fmla="*/ 1574 w 7868"/>
                <a:gd name="connsiteY3" fmla="*/ 13770 h 19671"/>
                <a:gd name="connsiteX4" fmla="*/ 2754 w 7868"/>
                <a:gd name="connsiteY4" fmla="*/ 16524 h 19671"/>
                <a:gd name="connsiteX5" fmla="*/ 4328 w 7868"/>
                <a:gd name="connsiteY5" fmla="*/ 19671 h 19671"/>
                <a:gd name="connsiteX6" fmla="*/ 5901 w 7868"/>
                <a:gd name="connsiteY6" fmla="*/ 16524 h 19671"/>
                <a:gd name="connsiteX7" fmla="*/ 5901 w 7868"/>
                <a:gd name="connsiteY7" fmla="*/ 15344 h 19671"/>
                <a:gd name="connsiteX8" fmla="*/ 7082 w 7868"/>
                <a:gd name="connsiteY8" fmla="*/ 12196 h 19671"/>
                <a:gd name="connsiteX9" fmla="*/ 6689 w 7868"/>
                <a:gd name="connsiteY9" fmla="*/ 9442 h 19671"/>
                <a:gd name="connsiteX10" fmla="*/ 7475 w 7868"/>
                <a:gd name="connsiteY10" fmla="*/ 6688 h 19671"/>
                <a:gd name="connsiteX11" fmla="*/ 9836 w 7868"/>
                <a:gd name="connsiteY11" fmla="*/ 3541 h 19671"/>
                <a:gd name="connsiteX12" fmla="*/ 6689 w 7868"/>
                <a:gd name="connsiteY12" fmla="*/ 787 h 19671"/>
                <a:gd name="connsiteX13" fmla="*/ 3934 w 7868"/>
                <a:gd name="connsiteY13" fmla="*/ 0 h 19671"/>
                <a:gd name="connsiteX14" fmla="*/ 2754 w 7868"/>
                <a:gd name="connsiteY14" fmla="*/ 2754 h 19671"/>
                <a:gd name="connsiteX15" fmla="*/ 5901 w 7868"/>
                <a:gd name="connsiteY15" fmla="*/ 3541 h 19671"/>
                <a:gd name="connsiteX16" fmla="*/ 2754 w 7868"/>
                <a:gd name="connsiteY16" fmla="*/ 4328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868" h="19671">
                  <a:moveTo>
                    <a:pt x="0" y="4721"/>
                  </a:moveTo>
                  <a:lnTo>
                    <a:pt x="0" y="7869"/>
                  </a:lnTo>
                  <a:lnTo>
                    <a:pt x="1180" y="10623"/>
                  </a:lnTo>
                  <a:lnTo>
                    <a:pt x="1574" y="13770"/>
                  </a:lnTo>
                  <a:lnTo>
                    <a:pt x="2754" y="16524"/>
                  </a:lnTo>
                  <a:lnTo>
                    <a:pt x="4328" y="19671"/>
                  </a:lnTo>
                  <a:lnTo>
                    <a:pt x="5901" y="16524"/>
                  </a:lnTo>
                  <a:lnTo>
                    <a:pt x="5901" y="15344"/>
                  </a:lnTo>
                  <a:lnTo>
                    <a:pt x="7082" y="12196"/>
                  </a:lnTo>
                  <a:lnTo>
                    <a:pt x="6689" y="9442"/>
                  </a:lnTo>
                  <a:lnTo>
                    <a:pt x="7475" y="6688"/>
                  </a:lnTo>
                  <a:lnTo>
                    <a:pt x="9836" y="3541"/>
                  </a:lnTo>
                  <a:lnTo>
                    <a:pt x="6689" y="787"/>
                  </a:lnTo>
                  <a:lnTo>
                    <a:pt x="3934" y="0"/>
                  </a:lnTo>
                  <a:lnTo>
                    <a:pt x="2754" y="2754"/>
                  </a:lnTo>
                  <a:lnTo>
                    <a:pt x="5901" y="3541"/>
                  </a:lnTo>
                  <a:lnTo>
                    <a:pt x="2754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07" name="Freeform: Shape 2601">
              <a:extLst>
                <a:ext uri="{FF2B5EF4-FFF2-40B4-BE49-F238E27FC236}">
                  <a16:creationId xmlns:a16="http://schemas.microsoft.com/office/drawing/2014/main" id="{A69F9378-995C-42E0-B21C-BF841A20C317}"/>
                </a:ext>
              </a:extLst>
            </p:cNvPr>
            <p:cNvSpPr/>
            <p:nvPr/>
          </p:nvSpPr>
          <p:spPr>
            <a:xfrm>
              <a:off x="5776538" y="1173135"/>
              <a:ext cx="7869" cy="3934"/>
            </a:xfrm>
            <a:custGeom>
              <a:avLst/>
              <a:gdLst>
                <a:gd name="connsiteX0" fmla="*/ 9442 w 7868"/>
                <a:gd name="connsiteY0" fmla="*/ 0 h 3934"/>
                <a:gd name="connsiteX1" fmla="*/ 6295 w 7868"/>
                <a:gd name="connsiteY1" fmla="*/ 0 h 3934"/>
                <a:gd name="connsiteX2" fmla="*/ 3147 w 7868"/>
                <a:gd name="connsiteY2" fmla="*/ 1574 h 3934"/>
                <a:gd name="connsiteX3" fmla="*/ 0 w 7868"/>
                <a:gd name="connsiteY3" fmla="*/ 2361 h 3934"/>
                <a:gd name="connsiteX4" fmla="*/ 3147 w 7868"/>
                <a:gd name="connsiteY4" fmla="*/ 4328 h 3934"/>
                <a:gd name="connsiteX5" fmla="*/ 6295 w 7868"/>
                <a:gd name="connsiteY5" fmla="*/ 4721 h 3934"/>
                <a:gd name="connsiteX6" fmla="*/ 9442 w 7868"/>
                <a:gd name="connsiteY6" fmla="*/ 3934 h 3934"/>
                <a:gd name="connsiteX7" fmla="*/ 6295 w 7868"/>
                <a:gd name="connsiteY7" fmla="*/ 3147 h 3934"/>
                <a:gd name="connsiteX8" fmla="*/ 9442 w 7868"/>
                <a:gd name="connsiteY8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9442" y="0"/>
                  </a:moveTo>
                  <a:lnTo>
                    <a:pt x="6295" y="0"/>
                  </a:lnTo>
                  <a:lnTo>
                    <a:pt x="3147" y="1574"/>
                  </a:lnTo>
                  <a:lnTo>
                    <a:pt x="0" y="2361"/>
                  </a:lnTo>
                  <a:lnTo>
                    <a:pt x="3147" y="4328"/>
                  </a:lnTo>
                  <a:lnTo>
                    <a:pt x="6295" y="4721"/>
                  </a:lnTo>
                  <a:lnTo>
                    <a:pt x="9442" y="3934"/>
                  </a:lnTo>
                  <a:lnTo>
                    <a:pt x="6295" y="3147"/>
                  </a:lnTo>
                  <a:lnTo>
                    <a:pt x="9442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08" name="Freeform: Shape 2602">
              <a:extLst>
                <a:ext uri="{FF2B5EF4-FFF2-40B4-BE49-F238E27FC236}">
                  <a16:creationId xmlns:a16="http://schemas.microsoft.com/office/drawing/2014/main" id="{11F8D19C-43AB-415D-BD0A-03545B7DF65C}"/>
                </a:ext>
              </a:extLst>
            </p:cNvPr>
            <p:cNvSpPr/>
            <p:nvPr/>
          </p:nvSpPr>
          <p:spPr>
            <a:xfrm>
              <a:off x="5779685" y="1185332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0 h 0"/>
                <a:gd name="connsiteX2" fmla="*/ 3148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0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09" name="Freeform: Shape 2603">
              <a:extLst>
                <a:ext uri="{FF2B5EF4-FFF2-40B4-BE49-F238E27FC236}">
                  <a16:creationId xmlns:a16="http://schemas.microsoft.com/office/drawing/2014/main" id="{AF64ABA7-7199-4A9A-B85C-DA925C062939}"/>
                </a:ext>
              </a:extLst>
            </p:cNvPr>
            <p:cNvSpPr/>
            <p:nvPr/>
          </p:nvSpPr>
          <p:spPr>
            <a:xfrm>
              <a:off x="5780866" y="1191233"/>
              <a:ext cx="3934" cy="3934"/>
            </a:xfrm>
            <a:custGeom>
              <a:avLst/>
              <a:gdLst>
                <a:gd name="connsiteX0" fmla="*/ 0 w 3934"/>
                <a:gd name="connsiteY0" fmla="*/ 1967 h 0"/>
                <a:gd name="connsiteX1" fmla="*/ 3147 w 3934"/>
                <a:gd name="connsiteY1" fmla="*/ 1967 h 0"/>
                <a:gd name="connsiteX2" fmla="*/ 6295 w 3934"/>
                <a:gd name="connsiteY2" fmla="*/ 393 h 0"/>
                <a:gd name="connsiteX3" fmla="*/ 6295 w 3934"/>
                <a:gd name="connsiteY3" fmla="*/ 0 h 0"/>
                <a:gd name="connsiteX4" fmla="*/ 3147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967"/>
                  </a:moveTo>
                  <a:lnTo>
                    <a:pt x="3147" y="1967"/>
                  </a:lnTo>
                  <a:lnTo>
                    <a:pt x="6295" y="393"/>
                  </a:lnTo>
                  <a:lnTo>
                    <a:pt x="6295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10" name="Freeform: Shape 2604">
              <a:extLst>
                <a:ext uri="{FF2B5EF4-FFF2-40B4-BE49-F238E27FC236}">
                  <a16:creationId xmlns:a16="http://schemas.microsoft.com/office/drawing/2014/main" id="{C011CCA1-9513-4FCA-8A46-37B38CB8144C}"/>
                </a:ext>
              </a:extLst>
            </p:cNvPr>
            <p:cNvSpPr/>
            <p:nvPr/>
          </p:nvSpPr>
          <p:spPr>
            <a:xfrm>
              <a:off x="5780866" y="1187692"/>
              <a:ext cx="3934" cy="3934"/>
            </a:xfrm>
            <a:custGeom>
              <a:avLst/>
              <a:gdLst>
                <a:gd name="connsiteX0" fmla="*/ 3147 w 3934"/>
                <a:gd name="connsiteY0" fmla="*/ 0 h 0"/>
                <a:gd name="connsiteX1" fmla="*/ 0 w 3934"/>
                <a:gd name="connsiteY1" fmla="*/ 2361 h 0"/>
                <a:gd name="connsiteX2" fmla="*/ 787 w 3934"/>
                <a:gd name="connsiteY2" fmla="*/ 1967 h 0"/>
                <a:gd name="connsiteX3" fmla="*/ 3934 w 3934"/>
                <a:gd name="connsiteY3" fmla="*/ 1574 h 0"/>
                <a:gd name="connsiteX4" fmla="*/ 6688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147" y="0"/>
                  </a:moveTo>
                  <a:lnTo>
                    <a:pt x="0" y="2361"/>
                  </a:lnTo>
                  <a:lnTo>
                    <a:pt x="787" y="1967"/>
                  </a:lnTo>
                  <a:lnTo>
                    <a:pt x="3934" y="1574"/>
                  </a:lnTo>
                  <a:lnTo>
                    <a:pt x="6688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11" name="Freeform: Shape 2605">
              <a:extLst>
                <a:ext uri="{FF2B5EF4-FFF2-40B4-BE49-F238E27FC236}">
                  <a16:creationId xmlns:a16="http://schemas.microsoft.com/office/drawing/2014/main" id="{DAF62C89-A813-41FD-B548-FDCACAE0C8F4}"/>
                </a:ext>
              </a:extLst>
            </p:cNvPr>
            <p:cNvSpPr/>
            <p:nvPr/>
          </p:nvSpPr>
          <p:spPr>
            <a:xfrm>
              <a:off x="5795029" y="1197921"/>
              <a:ext cx="11803" cy="3934"/>
            </a:xfrm>
            <a:custGeom>
              <a:avLst/>
              <a:gdLst>
                <a:gd name="connsiteX0" fmla="*/ 13377 w 11802"/>
                <a:gd name="connsiteY0" fmla="*/ 393 h 3934"/>
                <a:gd name="connsiteX1" fmla="*/ 12196 w 11802"/>
                <a:gd name="connsiteY1" fmla="*/ 0 h 3934"/>
                <a:gd name="connsiteX2" fmla="*/ 9049 w 11802"/>
                <a:gd name="connsiteY2" fmla="*/ 393 h 3934"/>
                <a:gd name="connsiteX3" fmla="*/ 5901 w 11802"/>
                <a:gd name="connsiteY3" fmla="*/ 2754 h 3934"/>
                <a:gd name="connsiteX4" fmla="*/ 3148 w 11802"/>
                <a:gd name="connsiteY4" fmla="*/ 3934 h 3934"/>
                <a:gd name="connsiteX5" fmla="*/ 0 w 11802"/>
                <a:gd name="connsiteY5" fmla="*/ 5901 h 3934"/>
                <a:gd name="connsiteX6" fmla="*/ 3148 w 11802"/>
                <a:gd name="connsiteY6" fmla="*/ 6295 h 3934"/>
                <a:gd name="connsiteX7" fmla="*/ 6295 w 11802"/>
                <a:gd name="connsiteY7" fmla="*/ 5901 h 3934"/>
                <a:gd name="connsiteX8" fmla="*/ 9442 w 11802"/>
                <a:gd name="connsiteY8" fmla="*/ 5508 h 3934"/>
                <a:gd name="connsiteX9" fmla="*/ 12589 w 11802"/>
                <a:gd name="connsiteY9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13377" y="393"/>
                  </a:moveTo>
                  <a:lnTo>
                    <a:pt x="12196" y="0"/>
                  </a:lnTo>
                  <a:lnTo>
                    <a:pt x="9049" y="393"/>
                  </a:lnTo>
                  <a:lnTo>
                    <a:pt x="5901" y="2754"/>
                  </a:lnTo>
                  <a:lnTo>
                    <a:pt x="3148" y="3934"/>
                  </a:lnTo>
                  <a:lnTo>
                    <a:pt x="0" y="5901"/>
                  </a:lnTo>
                  <a:lnTo>
                    <a:pt x="3148" y="6295"/>
                  </a:lnTo>
                  <a:lnTo>
                    <a:pt x="6295" y="5901"/>
                  </a:lnTo>
                  <a:lnTo>
                    <a:pt x="9442" y="5508"/>
                  </a:lnTo>
                  <a:lnTo>
                    <a:pt x="12589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12" name="Freeform: Shape 2606">
              <a:extLst>
                <a:ext uri="{FF2B5EF4-FFF2-40B4-BE49-F238E27FC236}">
                  <a16:creationId xmlns:a16="http://schemas.microsoft.com/office/drawing/2014/main" id="{D13C58B1-7BE3-4728-A997-9D7D5CB53BC9}"/>
                </a:ext>
              </a:extLst>
            </p:cNvPr>
            <p:cNvSpPr/>
            <p:nvPr/>
          </p:nvSpPr>
          <p:spPr>
            <a:xfrm>
              <a:off x="5796209" y="1179037"/>
              <a:ext cx="3934" cy="3934"/>
            </a:xfrm>
            <a:custGeom>
              <a:avLst/>
              <a:gdLst>
                <a:gd name="connsiteX0" fmla="*/ 6295 w 3934"/>
                <a:gd name="connsiteY0" fmla="*/ 0 h 0"/>
                <a:gd name="connsiteX1" fmla="*/ 5901 w 3934"/>
                <a:gd name="connsiteY1" fmla="*/ 0 h 0"/>
                <a:gd name="connsiteX2" fmla="*/ 3147 w 3934"/>
                <a:gd name="connsiteY2" fmla="*/ 0 h 0"/>
                <a:gd name="connsiteX3" fmla="*/ 0 w 3934"/>
                <a:gd name="connsiteY3" fmla="*/ 2361 h 0"/>
                <a:gd name="connsiteX4" fmla="*/ 3147 w 3934"/>
                <a:gd name="connsiteY4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0"/>
                  </a:moveTo>
                  <a:lnTo>
                    <a:pt x="5901" y="0"/>
                  </a:lnTo>
                  <a:lnTo>
                    <a:pt x="3147" y="0"/>
                  </a:lnTo>
                  <a:lnTo>
                    <a:pt x="0" y="2361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13" name="Freeform: Shape 2607">
              <a:extLst>
                <a:ext uri="{FF2B5EF4-FFF2-40B4-BE49-F238E27FC236}">
                  <a16:creationId xmlns:a16="http://schemas.microsoft.com/office/drawing/2014/main" id="{BE4CD929-C0E5-4762-9A92-0813771031F4}"/>
                </a:ext>
              </a:extLst>
            </p:cNvPr>
            <p:cNvSpPr/>
            <p:nvPr/>
          </p:nvSpPr>
          <p:spPr>
            <a:xfrm>
              <a:off x="5804078" y="1174316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2754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275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14" name="Freeform: Shape 2608">
              <a:extLst>
                <a:ext uri="{FF2B5EF4-FFF2-40B4-BE49-F238E27FC236}">
                  <a16:creationId xmlns:a16="http://schemas.microsoft.com/office/drawing/2014/main" id="{7B7AA391-AB30-4C72-971C-2E2CD5ED15C0}"/>
                </a:ext>
              </a:extLst>
            </p:cNvPr>
            <p:cNvSpPr/>
            <p:nvPr/>
          </p:nvSpPr>
          <p:spPr>
            <a:xfrm>
              <a:off x="5811159" y="1165267"/>
              <a:ext cx="7869" cy="3934"/>
            </a:xfrm>
            <a:custGeom>
              <a:avLst/>
              <a:gdLst>
                <a:gd name="connsiteX0" fmla="*/ 7869 w 7868"/>
                <a:gd name="connsiteY0" fmla="*/ 393 h 3934"/>
                <a:gd name="connsiteX1" fmla="*/ 6689 w 7868"/>
                <a:gd name="connsiteY1" fmla="*/ 0 h 3934"/>
                <a:gd name="connsiteX2" fmla="*/ 3541 w 7868"/>
                <a:gd name="connsiteY2" fmla="*/ 1574 h 3934"/>
                <a:gd name="connsiteX3" fmla="*/ 787 w 7868"/>
                <a:gd name="connsiteY3" fmla="*/ 2754 h 3934"/>
                <a:gd name="connsiteX4" fmla="*/ 0 w 7868"/>
                <a:gd name="connsiteY4" fmla="*/ 5901 h 3934"/>
                <a:gd name="connsiteX5" fmla="*/ 2754 w 7868"/>
                <a:gd name="connsiteY5" fmla="*/ 4721 h 3934"/>
                <a:gd name="connsiteX6" fmla="*/ 6295 w 7868"/>
                <a:gd name="connsiteY6" fmla="*/ 3934 h 3934"/>
                <a:gd name="connsiteX7" fmla="*/ 9049 w 7868"/>
                <a:gd name="connsiteY7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7869" y="393"/>
                  </a:moveTo>
                  <a:lnTo>
                    <a:pt x="6689" y="0"/>
                  </a:lnTo>
                  <a:lnTo>
                    <a:pt x="3541" y="1574"/>
                  </a:lnTo>
                  <a:lnTo>
                    <a:pt x="787" y="2754"/>
                  </a:lnTo>
                  <a:lnTo>
                    <a:pt x="0" y="5901"/>
                  </a:lnTo>
                  <a:lnTo>
                    <a:pt x="2754" y="4721"/>
                  </a:lnTo>
                  <a:lnTo>
                    <a:pt x="6295" y="3934"/>
                  </a:lnTo>
                  <a:lnTo>
                    <a:pt x="9049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15" name="Freeform: Shape 2609">
              <a:extLst>
                <a:ext uri="{FF2B5EF4-FFF2-40B4-BE49-F238E27FC236}">
                  <a16:creationId xmlns:a16="http://schemas.microsoft.com/office/drawing/2014/main" id="{4C51DA5D-2E25-4EF7-86A3-C3E6C5DEB2E7}"/>
                </a:ext>
              </a:extLst>
            </p:cNvPr>
            <p:cNvSpPr/>
            <p:nvPr/>
          </p:nvSpPr>
          <p:spPr>
            <a:xfrm>
              <a:off x="2151506" y="1601970"/>
              <a:ext cx="31474" cy="15737"/>
            </a:xfrm>
            <a:custGeom>
              <a:avLst/>
              <a:gdLst>
                <a:gd name="connsiteX0" fmla="*/ 0 w 31474"/>
                <a:gd name="connsiteY0" fmla="*/ 16131 h 15737"/>
                <a:gd name="connsiteX1" fmla="*/ 2754 w 31474"/>
                <a:gd name="connsiteY1" fmla="*/ 14950 h 15737"/>
                <a:gd name="connsiteX2" fmla="*/ 5901 w 31474"/>
                <a:gd name="connsiteY2" fmla="*/ 12983 h 15737"/>
                <a:gd name="connsiteX3" fmla="*/ 8655 w 31474"/>
                <a:gd name="connsiteY3" fmla="*/ 11803 h 15737"/>
                <a:gd name="connsiteX4" fmla="*/ 11803 w 31474"/>
                <a:gd name="connsiteY4" fmla="*/ 11016 h 15737"/>
                <a:gd name="connsiteX5" fmla="*/ 14950 w 31474"/>
                <a:gd name="connsiteY5" fmla="*/ 9836 h 15737"/>
                <a:gd name="connsiteX6" fmla="*/ 17704 w 31474"/>
                <a:gd name="connsiteY6" fmla="*/ 9049 h 15737"/>
                <a:gd name="connsiteX7" fmla="*/ 20852 w 31474"/>
                <a:gd name="connsiteY7" fmla="*/ 9049 h 15737"/>
                <a:gd name="connsiteX8" fmla="*/ 17704 w 31474"/>
                <a:gd name="connsiteY8" fmla="*/ 9442 h 15737"/>
                <a:gd name="connsiteX9" fmla="*/ 20458 w 31474"/>
                <a:gd name="connsiteY9" fmla="*/ 9049 h 15737"/>
                <a:gd name="connsiteX10" fmla="*/ 23212 w 31474"/>
                <a:gd name="connsiteY10" fmla="*/ 9049 h 15737"/>
                <a:gd name="connsiteX11" fmla="*/ 26360 w 31474"/>
                <a:gd name="connsiteY11" fmla="*/ 9836 h 15737"/>
                <a:gd name="connsiteX12" fmla="*/ 29114 w 31474"/>
                <a:gd name="connsiteY12" fmla="*/ 9049 h 15737"/>
                <a:gd name="connsiteX13" fmla="*/ 31868 w 31474"/>
                <a:gd name="connsiteY13" fmla="*/ 7869 h 15737"/>
                <a:gd name="connsiteX14" fmla="*/ 35015 w 31474"/>
                <a:gd name="connsiteY14" fmla="*/ 5115 h 15737"/>
                <a:gd name="connsiteX15" fmla="*/ 32261 w 31474"/>
                <a:gd name="connsiteY15" fmla="*/ 4328 h 15737"/>
                <a:gd name="connsiteX16" fmla="*/ 29114 w 31474"/>
                <a:gd name="connsiteY16" fmla="*/ 4328 h 15737"/>
                <a:gd name="connsiteX17" fmla="*/ 26360 w 31474"/>
                <a:gd name="connsiteY17" fmla="*/ 5508 h 15737"/>
                <a:gd name="connsiteX18" fmla="*/ 23606 w 31474"/>
                <a:gd name="connsiteY18" fmla="*/ 3541 h 15737"/>
                <a:gd name="connsiteX19" fmla="*/ 20458 w 31474"/>
                <a:gd name="connsiteY19" fmla="*/ 1574 h 15737"/>
                <a:gd name="connsiteX20" fmla="*/ 17704 w 31474"/>
                <a:gd name="connsiteY20" fmla="*/ 787 h 15737"/>
                <a:gd name="connsiteX21" fmla="*/ 14557 w 31474"/>
                <a:gd name="connsiteY21" fmla="*/ 0 h 15737"/>
                <a:gd name="connsiteX22" fmla="*/ 393 w 31474"/>
                <a:gd name="connsiteY22" fmla="*/ 9836 h 15737"/>
                <a:gd name="connsiteX23" fmla="*/ 787 w 31474"/>
                <a:gd name="connsiteY23" fmla="*/ 10229 h 15737"/>
                <a:gd name="connsiteX24" fmla="*/ 393 w 31474"/>
                <a:gd name="connsiteY24" fmla="*/ 13377 h 15737"/>
                <a:gd name="connsiteX25" fmla="*/ 2754 w 31474"/>
                <a:gd name="connsiteY25" fmla="*/ 10229 h 15737"/>
                <a:gd name="connsiteX26" fmla="*/ 2361 w 31474"/>
                <a:gd name="connsiteY26" fmla="*/ 12983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474" h="15737">
                  <a:moveTo>
                    <a:pt x="0" y="16131"/>
                  </a:moveTo>
                  <a:lnTo>
                    <a:pt x="2754" y="14950"/>
                  </a:lnTo>
                  <a:lnTo>
                    <a:pt x="5901" y="12983"/>
                  </a:lnTo>
                  <a:lnTo>
                    <a:pt x="8655" y="11803"/>
                  </a:lnTo>
                  <a:lnTo>
                    <a:pt x="11803" y="11016"/>
                  </a:lnTo>
                  <a:lnTo>
                    <a:pt x="14950" y="9836"/>
                  </a:lnTo>
                  <a:lnTo>
                    <a:pt x="17704" y="9049"/>
                  </a:lnTo>
                  <a:lnTo>
                    <a:pt x="20852" y="9049"/>
                  </a:lnTo>
                  <a:lnTo>
                    <a:pt x="17704" y="9442"/>
                  </a:lnTo>
                  <a:lnTo>
                    <a:pt x="20458" y="9049"/>
                  </a:lnTo>
                  <a:lnTo>
                    <a:pt x="23212" y="9049"/>
                  </a:lnTo>
                  <a:lnTo>
                    <a:pt x="26360" y="9836"/>
                  </a:lnTo>
                  <a:lnTo>
                    <a:pt x="29114" y="9049"/>
                  </a:lnTo>
                  <a:lnTo>
                    <a:pt x="31868" y="7869"/>
                  </a:lnTo>
                  <a:lnTo>
                    <a:pt x="35015" y="5115"/>
                  </a:lnTo>
                  <a:lnTo>
                    <a:pt x="32261" y="4328"/>
                  </a:lnTo>
                  <a:lnTo>
                    <a:pt x="29114" y="4328"/>
                  </a:lnTo>
                  <a:lnTo>
                    <a:pt x="26360" y="5508"/>
                  </a:lnTo>
                  <a:lnTo>
                    <a:pt x="23606" y="3541"/>
                  </a:lnTo>
                  <a:lnTo>
                    <a:pt x="20458" y="1574"/>
                  </a:lnTo>
                  <a:lnTo>
                    <a:pt x="17704" y="787"/>
                  </a:lnTo>
                  <a:lnTo>
                    <a:pt x="14557" y="0"/>
                  </a:lnTo>
                  <a:lnTo>
                    <a:pt x="393" y="9836"/>
                  </a:lnTo>
                  <a:lnTo>
                    <a:pt x="787" y="10229"/>
                  </a:lnTo>
                  <a:lnTo>
                    <a:pt x="393" y="13377"/>
                  </a:lnTo>
                  <a:lnTo>
                    <a:pt x="2754" y="10229"/>
                  </a:lnTo>
                  <a:lnTo>
                    <a:pt x="2361" y="1298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16" name="Freeform: Shape 2610">
              <a:extLst>
                <a:ext uri="{FF2B5EF4-FFF2-40B4-BE49-F238E27FC236}">
                  <a16:creationId xmlns:a16="http://schemas.microsoft.com/office/drawing/2014/main" id="{4F04CEAB-3430-43C6-B6CA-6B3637B04AF8}"/>
                </a:ext>
              </a:extLst>
            </p:cNvPr>
            <p:cNvSpPr/>
            <p:nvPr/>
          </p:nvSpPr>
          <p:spPr>
            <a:xfrm>
              <a:off x="2588603" y="1412732"/>
              <a:ext cx="11803" cy="3934"/>
            </a:xfrm>
            <a:custGeom>
              <a:avLst/>
              <a:gdLst>
                <a:gd name="connsiteX0" fmla="*/ 8655 w 11802"/>
                <a:gd name="connsiteY0" fmla="*/ 1967 h 3934"/>
                <a:gd name="connsiteX1" fmla="*/ 5901 w 11802"/>
                <a:gd name="connsiteY1" fmla="*/ 3147 h 3934"/>
                <a:gd name="connsiteX2" fmla="*/ 2754 w 11802"/>
                <a:gd name="connsiteY2" fmla="*/ 4721 h 3934"/>
                <a:gd name="connsiteX3" fmla="*/ 0 w 11802"/>
                <a:gd name="connsiteY3" fmla="*/ 5901 h 3934"/>
                <a:gd name="connsiteX4" fmla="*/ 14950 w 11802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02" h="3934">
                  <a:moveTo>
                    <a:pt x="8655" y="1967"/>
                  </a:moveTo>
                  <a:lnTo>
                    <a:pt x="5901" y="3147"/>
                  </a:lnTo>
                  <a:lnTo>
                    <a:pt x="2754" y="4721"/>
                  </a:lnTo>
                  <a:lnTo>
                    <a:pt x="0" y="5901"/>
                  </a:lnTo>
                  <a:lnTo>
                    <a:pt x="1495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17" name="Freeform: Shape 2611">
              <a:extLst>
                <a:ext uri="{FF2B5EF4-FFF2-40B4-BE49-F238E27FC236}">
                  <a16:creationId xmlns:a16="http://schemas.microsoft.com/office/drawing/2014/main" id="{6DE0EFC4-467F-41FF-A03E-4962E6D41333}"/>
                </a:ext>
              </a:extLst>
            </p:cNvPr>
            <p:cNvSpPr/>
            <p:nvPr/>
          </p:nvSpPr>
          <p:spPr>
            <a:xfrm>
              <a:off x="2603553" y="1411945"/>
              <a:ext cx="3934" cy="3934"/>
            </a:xfrm>
            <a:custGeom>
              <a:avLst/>
              <a:gdLst>
                <a:gd name="connsiteX0" fmla="*/ 1574 w 0"/>
                <a:gd name="connsiteY0" fmla="*/ 0 h 0"/>
                <a:gd name="connsiteX1" fmla="*/ 0 w 0"/>
                <a:gd name="connsiteY1" fmla="*/ 787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0"/>
                  </a:moveTo>
                  <a:lnTo>
                    <a:pt x="0" y="787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18" name="Freeform: Shape 2612">
              <a:extLst>
                <a:ext uri="{FF2B5EF4-FFF2-40B4-BE49-F238E27FC236}">
                  <a16:creationId xmlns:a16="http://schemas.microsoft.com/office/drawing/2014/main" id="{29CAD2D7-AB8A-4E6C-8A6B-ABF25018F667}"/>
                </a:ext>
              </a:extLst>
            </p:cNvPr>
            <p:cNvSpPr/>
            <p:nvPr/>
          </p:nvSpPr>
          <p:spPr>
            <a:xfrm>
              <a:off x="2606307" y="1409978"/>
              <a:ext cx="3934" cy="3934"/>
            </a:xfrm>
            <a:custGeom>
              <a:avLst/>
              <a:gdLst>
                <a:gd name="connsiteX0" fmla="*/ 3147 w 3934"/>
                <a:gd name="connsiteY0" fmla="*/ 787 h 0"/>
                <a:gd name="connsiteX1" fmla="*/ 0 w 3934"/>
                <a:gd name="connsiteY1" fmla="*/ 1574 h 0"/>
                <a:gd name="connsiteX2" fmla="*/ 5114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3147" y="787"/>
                  </a:moveTo>
                  <a:lnTo>
                    <a:pt x="0" y="1574"/>
                  </a:lnTo>
                  <a:lnTo>
                    <a:pt x="511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19" name="Freeform: Shape 2613">
              <a:extLst>
                <a:ext uri="{FF2B5EF4-FFF2-40B4-BE49-F238E27FC236}">
                  <a16:creationId xmlns:a16="http://schemas.microsoft.com/office/drawing/2014/main" id="{4AF53579-94D8-4068-9581-3BB6264CA241}"/>
                </a:ext>
              </a:extLst>
            </p:cNvPr>
            <p:cNvSpPr/>
            <p:nvPr/>
          </p:nvSpPr>
          <p:spPr>
            <a:xfrm>
              <a:off x="10507884" y="1604724"/>
              <a:ext cx="3934" cy="3934"/>
            </a:xfrm>
            <a:custGeom>
              <a:avLst/>
              <a:gdLst>
                <a:gd name="connsiteX0" fmla="*/ 1574 w 0"/>
                <a:gd name="connsiteY0" fmla="*/ 0 h 0"/>
                <a:gd name="connsiteX1" fmla="*/ 0 w 0"/>
                <a:gd name="connsiteY1" fmla="*/ 0 h 0"/>
                <a:gd name="connsiteX2" fmla="*/ 196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0"/>
                  </a:moveTo>
                  <a:lnTo>
                    <a:pt x="0" y="0"/>
                  </a:lnTo>
                  <a:lnTo>
                    <a:pt x="196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20" name="Freeform: Shape 2614">
              <a:extLst>
                <a:ext uri="{FF2B5EF4-FFF2-40B4-BE49-F238E27FC236}">
                  <a16:creationId xmlns:a16="http://schemas.microsoft.com/office/drawing/2014/main" id="{70AEDBE9-D0A6-412B-B642-CAB0DFA18C12}"/>
                </a:ext>
              </a:extLst>
            </p:cNvPr>
            <p:cNvSpPr/>
            <p:nvPr/>
          </p:nvSpPr>
          <p:spPr>
            <a:xfrm>
              <a:off x="10509851" y="1605118"/>
              <a:ext cx="3934" cy="3934"/>
            </a:xfrm>
            <a:custGeom>
              <a:avLst/>
              <a:gdLst>
                <a:gd name="connsiteX0" fmla="*/ 5901 w 3934"/>
                <a:gd name="connsiteY0" fmla="*/ 1180 h 0"/>
                <a:gd name="connsiteX1" fmla="*/ 2755 w 3934"/>
                <a:gd name="connsiteY1" fmla="*/ 393 h 0"/>
                <a:gd name="connsiteX2" fmla="*/ 0 w 3934"/>
                <a:gd name="connsiteY2" fmla="*/ 0 h 0"/>
                <a:gd name="connsiteX3" fmla="*/ 2755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1180"/>
                  </a:moveTo>
                  <a:lnTo>
                    <a:pt x="2755" y="393"/>
                  </a:lnTo>
                  <a:lnTo>
                    <a:pt x="0" y="0"/>
                  </a:lnTo>
                  <a:lnTo>
                    <a:pt x="2755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21" name="Freeform: Shape 2615">
              <a:extLst>
                <a:ext uri="{FF2B5EF4-FFF2-40B4-BE49-F238E27FC236}">
                  <a16:creationId xmlns:a16="http://schemas.microsoft.com/office/drawing/2014/main" id="{EA84C49E-26B6-49B4-A5DD-89BAE381A4B7}"/>
                </a:ext>
              </a:extLst>
            </p:cNvPr>
            <p:cNvSpPr/>
            <p:nvPr/>
          </p:nvSpPr>
          <p:spPr>
            <a:xfrm>
              <a:off x="10501590" y="1603937"/>
              <a:ext cx="3934" cy="3934"/>
            </a:xfrm>
            <a:custGeom>
              <a:avLst/>
              <a:gdLst>
                <a:gd name="connsiteX0" fmla="*/ 6294 w 3934"/>
                <a:gd name="connsiteY0" fmla="*/ 787 h 0"/>
                <a:gd name="connsiteX1" fmla="*/ 2754 w 3934"/>
                <a:gd name="connsiteY1" fmla="*/ 0 h 0"/>
                <a:gd name="connsiteX2" fmla="*/ 0 w 3934"/>
                <a:gd name="connsiteY2" fmla="*/ 0 h 0"/>
                <a:gd name="connsiteX3" fmla="*/ 2754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4" y="787"/>
                  </a:moveTo>
                  <a:lnTo>
                    <a:pt x="2754" y="0"/>
                  </a:lnTo>
                  <a:lnTo>
                    <a:pt x="0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22" name="Freeform: Shape 2616">
              <a:extLst>
                <a:ext uri="{FF2B5EF4-FFF2-40B4-BE49-F238E27FC236}">
                  <a16:creationId xmlns:a16="http://schemas.microsoft.com/office/drawing/2014/main" id="{1A377699-3C94-413D-9204-C8ACE77B7932}"/>
                </a:ext>
              </a:extLst>
            </p:cNvPr>
            <p:cNvSpPr/>
            <p:nvPr/>
          </p:nvSpPr>
          <p:spPr>
            <a:xfrm>
              <a:off x="10515752" y="1606298"/>
              <a:ext cx="3934" cy="3934"/>
            </a:xfrm>
            <a:custGeom>
              <a:avLst/>
              <a:gdLst>
                <a:gd name="connsiteX0" fmla="*/ 5901 w 3934"/>
                <a:gd name="connsiteY0" fmla="*/ 2361 h 0"/>
                <a:gd name="connsiteX1" fmla="*/ 3148 w 3934"/>
                <a:gd name="connsiteY1" fmla="*/ 1180 h 0"/>
                <a:gd name="connsiteX2" fmla="*/ 0 w 3934"/>
                <a:gd name="connsiteY2" fmla="*/ 0 h 0"/>
                <a:gd name="connsiteX3" fmla="*/ 2755 w 3934"/>
                <a:gd name="connsiteY3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2361"/>
                  </a:moveTo>
                  <a:lnTo>
                    <a:pt x="3148" y="1180"/>
                  </a:lnTo>
                  <a:lnTo>
                    <a:pt x="0" y="0"/>
                  </a:lnTo>
                  <a:lnTo>
                    <a:pt x="2755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23" name="Freeform: Shape 2617">
              <a:extLst>
                <a:ext uri="{FF2B5EF4-FFF2-40B4-BE49-F238E27FC236}">
                  <a16:creationId xmlns:a16="http://schemas.microsoft.com/office/drawing/2014/main" id="{0D8A114C-6DE3-40BA-9BE8-1B58C8E55472}"/>
                </a:ext>
              </a:extLst>
            </p:cNvPr>
            <p:cNvSpPr/>
            <p:nvPr/>
          </p:nvSpPr>
          <p:spPr>
            <a:xfrm>
              <a:off x="10507884" y="1604724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24" name="Freeform: Shape 2618">
              <a:extLst>
                <a:ext uri="{FF2B5EF4-FFF2-40B4-BE49-F238E27FC236}">
                  <a16:creationId xmlns:a16="http://schemas.microsoft.com/office/drawing/2014/main" id="{76B253D8-56EA-4B8C-BE38-CA9C21CC5FF2}"/>
                </a:ext>
              </a:extLst>
            </p:cNvPr>
            <p:cNvSpPr/>
            <p:nvPr/>
          </p:nvSpPr>
          <p:spPr>
            <a:xfrm>
              <a:off x="10468935" y="1593708"/>
              <a:ext cx="62948" cy="15737"/>
            </a:xfrm>
            <a:custGeom>
              <a:avLst/>
              <a:gdLst>
                <a:gd name="connsiteX0" fmla="*/ 5115 w 62948"/>
                <a:gd name="connsiteY0" fmla="*/ 5901 h 15737"/>
                <a:gd name="connsiteX1" fmla="*/ 11409 w 62948"/>
                <a:gd name="connsiteY1" fmla="*/ 9836 h 15737"/>
                <a:gd name="connsiteX2" fmla="*/ 14164 w 62948"/>
                <a:gd name="connsiteY2" fmla="*/ 11016 h 15737"/>
                <a:gd name="connsiteX3" fmla="*/ 17310 w 62948"/>
                <a:gd name="connsiteY3" fmla="*/ 11803 h 15737"/>
                <a:gd name="connsiteX4" fmla="*/ 20458 w 62948"/>
                <a:gd name="connsiteY4" fmla="*/ 12196 h 15737"/>
                <a:gd name="connsiteX5" fmla="*/ 23212 w 62948"/>
                <a:gd name="connsiteY5" fmla="*/ 12983 h 15737"/>
                <a:gd name="connsiteX6" fmla="*/ 26359 w 62948"/>
                <a:gd name="connsiteY6" fmla="*/ 10622 h 15737"/>
                <a:gd name="connsiteX7" fmla="*/ 29507 w 62948"/>
                <a:gd name="connsiteY7" fmla="*/ 9836 h 15737"/>
                <a:gd name="connsiteX8" fmla="*/ 32655 w 62948"/>
                <a:gd name="connsiteY8" fmla="*/ 10229 h 15737"/>
                <a:gd name="connsiteX9" fmla="*/ 28720 w 62948"/>
                <a:gd name="connsiteY9" fmla="*/ 9442 h 15737"/>
                <a:gd name="connsiteX10" fmla="*/ 31868 w 62948"/>
                <a:gd name="connsiteY10" fmla="*/ 9049 h 15737"/>
                <a:gd name="connsiteX11" fmla="*/ 35015 w 62948"/>
                <a:gd name="connsiteY11" fmla="*/ 9836 h 15737"/>
                <a:gd name="connsiteX12" fmla="*/ 37769 w 62948"/>
                <a:gd name="connsiteY12" fmla="*/ 10229 h 15737"/>
                <a:gd name="connsiteX13" fmla="*/ 40916 w 62948"/>
                <a:gd name="connsiteY13" fmla="*/ 10622 h 15737"/>
                <a:gd name="connsiteX14" fmla="*/ 44064 w 62948"/>
                <a:gd name="connsiteY14" fmla="*/ 11409 h 15737"/>
                <a:gd name="connsiteX15" fmla="*/ 46817 w 62948"/>
                <a:gd name="connsiteY15" fmla="*/ 12196 h 15737"/>
                <a:gd name="connsiteX16" fmla="*/ 49572 w 62948"/>
                <a:gd name="connsiteY16" fmla="*/ 13376 h 15737"/>
                <a:gd name="connsiteX17" fmla="*/ 52719 w 62948"/>
                <a:gd name="connsiteY17" fmla="*/ 14163 h 15737"/>
                <a:gd name="connsiteX18" fmla="*/ 55866 w 62948"/>
                <a:gd name="connsiteY18" fmla="*/ 14950 h 15737"/>
                <a:gd name="connsiteX19" fmla="*/ 58620 w 62948"/>
                <a:gd name="connsiteY19" fmla="*/ 17311 h 15737"/>
                <a:gd name="connsiteX20" fmla="*/ 61768 w 62948"/>
                <a:gd name="connsiteY20" fmla="*/ 17311 h 15737"/>
                <a:gd name="connsiteX21" fmla="*/ 66096 w 62948"/>
                <a:gd name="connsiteY21" fmla="*/ 18491 h 15737"/>
                <a:gd name="connsiteX22" fmla="*/ 51539 w 62948"/>
                <a:gd name="connsiteY22" fmla="*/ 8262 h 15737"/>
                <a:gd name="connsiteX23" fmla="*/ 47605 w 62948"/>
                <a:gd name="connsiteY23" fmla="*/ 6295 h 15737"/>
                <a:gd name="connsiteX24" fmla="*/ 44850 w 62948"/>
                <a:gd name="connsiteY24" fmla="*/ 4721 h 15737"/>
                <a:gd name="connsiteX25" fmla="*/ 41704 w 62948"/>
                <a:gd name="connsiteY25" fmla="*/ 3934 h 15737"/>
                <a:gd name="connsiteX26" fmla="*/ 38556 w 62948"/>
                <a:gd name="connsiteY26" fmla="*/ 3147 h 15737"/>
                <a:gd name="connsiteX27" fmla="*/ 35802 w 62948"/>
                <a:gd name="connsiteY27" fmla="*/ 1967 h 15737"/>
                <a:gd name="connsiteX28" fmla="*/ 33047 w 62948"/>
                <a:gd name="connsiteY28" fmla="*/ 1967 h 15737"/>
                <a:gd name="connsiteX29" fmla="*/ 30294 w 62948"/>
                <a:gd name="connsiteY29" fmla="*/ 2361 h 15737"/>
                <a:gd name="connsiteX30" fmla="*/ 27146 w 62948"/>
                <a:gd name="connsiteY30" fmla="*/ 4721 h 15737"/>
                <a:gd name="connsiteX31" fmla="*/ 23999 w 62948"/>
                <a:gd name="connsiteY31" fmla="*/ 5115 h 15737"/>
                <a:gd name="connsiteX32" fmla="*/ 21245 w 62948"/>
                <a:gd name="connsiteY32" fmla="*/ 4721 h 15737"/>
                <a:gd name="connsiteX33" fmla="*/ 18098 w 62948"/>
                <a:gd name="connsiteY33" fmla="*/ 3934 h 15737"/>
                <a:gd name="connsiteX34" fmla="*/ 14950 w 62948"/>
                <a:gd name="connsiteY34" fmla="*/ 3934 h 15737"/>
                <a:gd name="connsiteX35" fmla="*/ 12197 w 62948"/>
                <a:gd name="connsiteY35" fmla="*/ 4328 h 15737"/>
                <a:gd name="connsiteX36" fmla="*/ 9442 w 62948"/>
                <a:gd name="connsiteY36" fmla="*/ 2754 h 15737"/>
                <a:gd name="connsiteX37" fmla="*/ 6295 w 62948"/>
                <a:gd name="connsiteY37" fmla="*/ 1967 h 15737"/>
                <a:gd name="connsiteX38" fmla="*/ 3148 w 62948"/>
                <a:gd name="connsiteY38" fmla="*/ 1180 h 15737"/>
                <a:gd name="connsiteX39" fmla="*/ 0 w 62948"/>
                <a:gd name="connsiteY39" fmla="*/ 0 h 15737"/>
                <a:gd name="connsiteX40" fmla="*/ 3148 w 62948"/>
                <a:gd name="connsiteY40" fmla="*/ 2754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62948" h="15737">
                  <a:moveTo>
                    <a:pt x="5115" y="5901"/>
                  </a:moveTo>
                  <a:lnTo>
                    <a:pt x="11409" y="9836"/>
                  </a:lnTo>
                  <a:lnTo>
                    <a:pt x="14164" y="11016"/>
                  </a:lnTo>
                  <a:lnTo>
                    <a:pt x="17310" y="11803"/>
                  </a:lnTo>
                  <a:lnTo>
                    <a:pt x="20458" y="12196"/>
                  </a:lnTo>
                  <a:lnTo>
                    <a:pt x="23212" y="12983"/>
                  </a:lnTo>
                  <a:lnTo>
                    <a:pt x="26359" y="10622"/>
                  </a:lnTo>
                  <a:lnTo>
                    <a:pt x="29507" y="9836"/>
                  </a:lnTo>
                  <a:lnTo>
                    <a:pt x="32655" y="10229"/>
                  </a:lnTo>
                  <a:lnTo>
                    <a:pt x="28720" y="9442"/>
                  </a:lnTo>
                  <a:lnTo>
                    <a:pt x="31868" y="9049"/>
                  </a:lnTo>
                  <a:lnTo>
                    <a:pt x="35015" y="9836"/>
                  </a:lnTo>
                  <a:lnTo>
                    <a:pt x="37769" y="10229"/>
                  </a:lnTo>
                  <a:lnTo>
                    <a:pt x="40916" y="10622"/>
                  </a:lnTo>
                  <a:lnTo>
                    <a:pt x="44064" y="11409"/>
                  </a:lnTo>
                  <a:lnTo>
                    <a:pt x="46817" y="12196"/>
                  </a:lnTo>
                  <a:lnTo>
                    <a:pt x="49572" y="13376"/>
                  </a:lnTo>
                  <a:lnTo>
                    <a:pt x="52719" y="14163"/>
                  </a:lnTo>
                  <a:lnTo>
                    <a:pt x="55866" y="14950"/>
                  </a:lnTo>
                  <a:lnTo>
                    <a:pt x="58620" y="17311"/>
                  </a:lnTo>
                  <a:lnTo>
                    <a:pt x="61768" y="17311"/>
                  </a:lnTo>
                  <a:lnTo>
                    <a:pt x="66096" y="18491"/>
                  </a:lnTo>
                  <a:lnTo>
                    <a:pt x="51539" y="8262"/>
                  </a:lnTo>
                  <a:lnTo>
                    <a:pt x="47605" y="6295"/>
                  </a:lnTo>
                  <a:lnTo>
                    <a:pt x="44850" y="4721"/>
                  </a:lnTo>
                  <a:lnTo>
                    <a:pt x="41704" y="3934"/>
                  </a:lnTo>
                  <a:lnTo>
                    <a:pt x="38556" y="3147"/>
                  </a:lnTo>
                  <a:lnTo>
                    <a:pt x="35802" y="1967"/>
                  </a:lnTo>
                  <a:lnTo>
                    <a:pt x="33047" y="1967"/>
                  </a:lnTo>
                  <a:lnTo>
                    <a:pt x="30294" y="2361"/>
                  </a:lnTo>
                  <a:lnTo>
                    <a:pt x="27146" y="4721"/>
                  </a:lnTo>
                  <a:lnTo>
                    <a:pt x="23999" y="5115"/>
                  </a:lnTo>
                  <a:lnTo>
                    <a:pt x="21245" y="4721"/>
                  </a:lnTo>
                  <a:lnTo>
                    <a:pt x="18098" y="3934"/>
                  </a:lnTo>
                  <a:lnTo>
                    <a:pt x="14950" y="3934"/>
                  </a:lnTo>
                  <a:lnTo>
                    <a:pt x="12197" y="4328"/>
                  </a:lnTo>
                  <a:lnTo>
                    <a:pt x="9442" y="2754"/>
                  </a:lnTo>
                  <a:lnTo>
                    <a:pt x="6295" y="1967"/>
                  </a:lnTo>
                  <a:lnTo>
                    <a:pt x="3148" y="1180"/>
                  </a:lnTo>
                  <a:lnTo>
                    <a:pt x="0" y="0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25" name="Freeform: Shape 2619">
              <a:extLst>
                <a:ext uri="{FF2B5EF4-FFF2-40B4-BE49-F238E27FC236}">
                  <a16:creationId xmlns:a16="http://schemas.microsoft.com/office/drawing/2014/main" id="{8CF9A9F7-00B7-4995-81E1-DB54702C0380}"/>
                </a:ext>
              </a:extLst>
            </p:cNvPr>
            <p:cNvSpPr/>
            <p:nvPr/>
          </p:nvSpPr>
          <p:spPr>
            <a:xfrm>
              <a:off x="10405200" y="1560267"/>
              <a:ext cx="7869" cy="3934"/>
            </a:xfrm>
            <a:custGeom>
              <a:avLst/>
              <a:gdLst>
                <a:gd name="connsiteX0" fmla="*/ 6294 w 7868"/>
                <a:gd name="connsiteY0" fmla="*/ 1180 h 3934"/>
                <a:gd name="connsiteX1" fmla="*/ 3148 w 7868"/>
                <a:gd name="connsiteY1" fmla="*/ 0 h 3934"/>
                <a:gd name="connsiteX2" fmla="*/ 0 w 7868"/>
                <a:gd name="connsiteY2" fmla="*/ 0 h 3934"/>
                <a:gd name="connsiteX3" fmla="*/ 0 w 7868"/>
                <a:gd name="connsiteY3" fmla="*/ 3147 h 3934"/>
                <a:gd name="connsiteX4" fmla="*/ 0 w 7868"/>
                <a:gd name="connsiteY4" fmla="*/ 3934 h 3934"/>
                <a:gd name="connsiteX5" fmla="*/ 3148 w 7868"/>
                <a:gd name="connsiteY5" fmla="*/ 4721 h 3934"/>
                <a:gd name="connsiteX6" fmla="*/ 6294 w 7868"/>
                <a:gd name="connsiteY6" fmla="*/ 4328 h 3934"/>
                <a:gd name="connsiteX7" fmla="*/ 9049 w 7868"/>
                <a:gd name="connsiteY7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6294" y="1180"/>
                  </a:moveTo>
                  <a:lnTo>
                    <a:pt x="3148" y="0"/>
                  </a:lnTo>
                  <a:lnTo>
                    <a:pt x="0" y="0"/>
                  </a:lnTo>
                  <a:lnTo>
                    <a:pt x="0" y="3147"/>
                  </a:lnTo>
                  <a:lnTo>
                    <a:pt x="0" y="3934"/>
                  </a:lnTo>
                  <a:lnTo>
                    <a:pt x="3148" y="4721"/>
                  </a:lnTo>
                  <a:lnTo>
                    <a:pt x="6294" y="4328"/>
                  </a:lnTo>
                  <a:lnTo>
                    <a:pt x="9049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26" name="Freeform: Shape 2620">
              <a:extLst>
                <a:ext uri="{FF2B5EF4-FFF2-40B4-BE49-F238E27FC236}">
                  <a16:creationId xmlns:a16="http://schemas.microsoft.com/office/drawing/2014/main" id="{C440AFB4-51D2-44EA-8B5B-E1DCC1D73C2D}"/>
                </a:ext>
              </a:extLst>
            </p:cNvPr>
            <p:cNvSpPr/>
            <p:nvPr/>
          </p:nvSpPr>
          <p:spPr>
            <a:xfrm>
              <a:off x="2542572" y="1703081"/>
              <a:ext cx="11803" cy="3934"/>
            </a:xfrm>
            <a:custGeom>
              <a:avLst/>
              <a:gdLst>
                <a:gd name="connsiteX0" fmla="*/ 11803 w 11802"/>
                <a:gd name="connsiteY0" fmla="*/ 0 h 3934"/>
                <a:gd name="connsiteX1" fmla="*/ 12196 w 11802"/>
                <a:gd name="connsiteY1" fmla="*/ 0 h 3934"/>
                <a:gd name="connsiteX2" fmla="*/ 9049 w 11802"/>
                <a:gd name="connsiteY2" fmla="*/ 1574 h 3934"/>
                <a:gd name="connsiteX3" fmla="*/ 6295 w 11802"/>
                <a:gd name="connsiteY3" fmla="*/ 1967 h 3934"/>
                <a:gd name="connsiteX4" fmla="*/ 3147 w 11802"/>
                <a:gd name="connsiteY4" fmla="*/ 4328 h 3934"/>
                <a:gd name="connsiteX5" fmla="*/ 0 w 11802"/>
                <a:gd name="connsiteY5" fmla="*/ 5114 h 3934"/>
                <a:gd name="connsiteX6" fmla="*/ 3147 w 11802"/>
                <a:gd name="connsiteY6" fmla="*/ 5114 h 3934"/>
                <a:gd name="connsiteX7" fmla="*/ 6295 w 11802"/>
                <a:gd name="connsiteY7" fmla="*/ 3934 h 3934"/>
                <a:gd name="connsiteX8" fmla="*/ 9049 w 11802"/>
                <a:gd name="connsiteY8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 h="3934">
                  <a:moveTo>
                    <a:pt x="11803" y="0"/>
                  </a:moveTo>
                  <a:lnTo>
                    <a:pt x="12196" y="0"/>
                  </a:lnTo>
                  <a:lnTo>
                    <a:pt x="9049" y="1574"/>
                  </a:lnTo>
                  <a:lnTo>
                    <a:pt x="6295" y="1967"/>
                  </a:lnTo>
                  <a:lnTo>
                    <a:pt x="3147" y="4328"/>
                  </a:lnTo>
                  <a:lnTo>
                    <a:pt x="0" y="5114"/>
                  </a:lnTo>
                  <a:lnTo>
                    <a:pt x="3147" y="5114"/>
                  </a:lnTo>
                  <a:lnTo>
                    <a:pt x="6295" y="3934"/>
                  </a:lnTo>
                  <a:lnTo>
                    <a:pt x="9049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27" name="Freeform: Shape 2621">
              <a:extLst>
                <a:ext uri="{FF2B5EF4-FFF2-40B4-BE49-F238E27FC236}">
                  <a16:creationId xmlns:a16="http://schemas.microsoft.com/office/drawing/2014/main" id="{3A922B5A-67ED-4809-8768-91D32A534F82}"/>
                </a:ext>
              </a:extLst>
            </p:cNvPr>
            <p:cNvSpPr/>
            <p:nvPr/>
          </p:nvSpPr>
          <p:spPr>
            <a:xfrm>
              <a:off x="2585062" y="1686950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2754 w 0"/>
                <a:gd name="connsiteY1" fmla="*/ 0 h 0"/>
                <a:gd name="connsiteX2" fmla="*/ 0 w 0"/>
                <a:gd name="connsiteY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2754" y="0"/>
                  </a:lnTo>
                  <a:lnTo>
                    <a:pt x="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28" name="Freeform: Shape 2622">
              <a:extLst>
                <a:ext uri="{FF2B5EF4-FFF2-40B4-BE49-F238E27FC236}">
                  <a16:creationId xmlns:a16="http://schemas.microsoft.com/office/drawing/2014/main" id="{83C5BE43-5A59-4B8F-8439-23E696A3D083}"/>
                </a:ext>
              </a:extLst>
            </p:cNvPr>
            <p:cNvSpPr/>
            <p:nvPr/>
          </p:nvSpPr>
          <p:spPr>
            <a:xfrm>
              <a:off x="2088558" y="1696786"/>
              <a:ext cx="43277" cy="19671"/>
            </a:xfrm>
            <a:custGeom>
              <a:avLst/>
              <a:gdLst>
                <a:gd name="connsiteX0" fmla="*/ 1967 w 43276"/>
                <a:gd name="connsiteY0" fmla="*/ 12196 h 19671"/>
                <a:gd name="connsiteX1" fmla="*/ 2754 w 43276"/>
                <a:gd name="connsiteY1" fmla="*/ 12196 h 19671"/>
                <a:gd name="connsiteX2" fmla="*/ 2754 w 43276"/>
                <a:gd name="connsiteY2" fmla="*/ 12196 h 19671"/>
                <a:gd name="connsiteX3" fmla="*/ 3934 w 43276"/>
                <a:gd name="connsiteY3" fmla="*/ 12196 h 19671"/>
                <a:gd name="connsiteX4" fmla="*/ 3541 w 43276"/>
                <a:gd name="connsiteY4" fmla="*/ 12590 h 19671"/>
                <a:gd name="connsiteX5" fmla="*/ 6295 w 43276"/>
                <a:gd name="connsiteY5" fmla="*/ 15737 h 19671"/>
                <a:gd name="connsiteX6" fmla="*/ 9442 w 43276"/>
                <a:gd name="connsiteY6" fmla="*/ 16524 h 19671"/>
                <a:gd name="connsiteX7" fmla="*/ 12196 w 43276"/>
                <a:gd name="connsiteY7" fmla="*/ 16917 h 19671"/>
                <a:gd name="connsiteX8" fmla="*/ 14557 w 43276"/>
                <a:gd name="connsiteY8" fmla="*/ 19671 h 19671"/>
                <a:gd name="connsiteX9" fmla="*/ 16131 w 43276"/>
                <a:gd name="connsiteY9" fmla="*/ 16917 h 19671"/>
                <a:gd name="connsiteX10" fmla="*/ 18884 w 43276"/>
                <a:gd name="connsiteY10" fmla="*/ 17311 h 19671"/>
                <a:gd name="connsiteX11" fmla="*/ 22032 w 43276"/>
                <a:gd name="connsiteY11" fmla="*/ 16524 h 19671"/>
                <a:gd name="connsiteX12" fmla="*/ 24786 w 43276"/>
                <a:gd name="connsiteY12" fmla="*/ 16131 h 19671"/>
                <a:gd name="connsiteX13" fmla="*/ 27540 w 43276"/>
                <a:gd name="connsiteY13" fmla="*/ 15344 h 19671"/>
                <a:gd name="connsiteX14" fmla="*/ 30687 w 43276"/>
                <a:gd name="connsiteY14" fmla="*/ 15344 h 19671"/>
                <a:gd name="connsiteX15" fmla="*/ 33441 w 43276"/>
                <a:gd name="connsiteY15" fmla="*/ 15344 h 19671"/>
                <a:gd name="connsiteX16" fmla="*/ 36589 w 43276"/>
                <a:gd name="connsiteY16" fmla="*/ 12196 h 19671"/>
                <a:gd name="connsiteX17" fmla="*/ 38162 w 43276"/>
                <a:gd name="connsiteY17" fmla="*/ 9442 h 19671"/>
                <a:gd name="connsiteX18" fmla="*/ 41310 w 43276"/>
                <a:gd name="connsiteY18" fmla="*/ 7082 h 19671"/>
                <a:gd name="connsiteX19" fmla="*/ 44457 w 43276"/>
                <a:gd name="connsiteY19" fmla="*/ 4721 h 19671"/>
                <a:gd name="connsiteX20" fmla="*/ 46424 w 43276"/>
                <a:gd name="connsiteY20" fmla="*/ 1574 h 19671"/>
                <a:gd name="connsiteX21" fmla="*/ 43277 w 43276"/>
                <a:gd name="connsiteY21" fmla="*/ 1967 h 19671"/>
                <a:gd name="connsiteX22" fmla="*/ 40130 w 43276"/>
                <a:gd name="connsiteY22" fmla="*/ 0 h 19671"/>
                <a:gd name="connsiteX23" fmla="*/ 37376 w 43276"/>
                <a:gd name="connsiteY23" fmla="*/ 0 h 19671"/>
                <a:gd name="connsiteX24" fmla="*/ 34228 w 43276"/>
                <a:gd name="connsiteY24" fmla="*/ 787 h 19671"/>
                <a:gd name="connsiteX25" fmla="*/ 31474 w 43276"/>
                <a:gd name="connsiteY25" fmla="*/ 393 h 19671"/>
                <a:gd name="connsiteX26" fmla="*/ 28327 w 43276"/>
                <a:gd name="connsiteY26" fmla="*/ 1180 h 19671"/>
                <a:gd name="connsiteX27" fmla="*/ 25573 w 43276"/>
                <a:gd name="connsiteY27" fmla="*/ 2361 h 19671"/>
                <a:gd name="connsiteX28" fmla="*/ 22425 w 43276"/>
                <a:gd name="connsiteY28" fmla="*/ 2754 h 19671"/>
                <a:gd name="connsiteX29" fmla="*/ 19278 w 43276"/>
                <a:gd name="connsiteY29" fmla="*/ 3541 h 19671"/>
                <a:gd name="connsiteX30" fmla="*/ 16524 w 43276"/>
                <a:gd name="connsiteY30" fmla="*/ 5508 h 19671"/>
                <a:gd name="connsiteX31" fmla="*/ 13770 w 43276"/>
                <a:gd name="connsiteY31" fmla="*/ 5115 h 19671"/>
                <a:gd name="connsiteX32" fmla="*/ 10623 w 43276"/>
                <a:gd name="connsiteY32" fmla="*/ 5115 h 19671"/>
                <a:gd name="connsiteX33" fmla="*/ 7475 w 43276"/>
                <a:gd name="connsiteY33" fmla="*/ 5115 h 19671"/>
                <a:gd name="connsiteX34" fmla="*/ 4721 w 43276"/>
                <a:gd name="connsiteY34" fmla="*/ 5115 h 19671"/>
                <a:gd name="connsiteX35" fmla="*/ 1574 w 43276"/>
                <a:gd name="connsiteY35" fmla="*/ 6295 h 19671"/>
                <a:gd name="connsiteX36" fmla="*/ 0 w 43276"/>
                <a:gd name="connsiteY36" fmla="*/ 9442 h 19671"/>
                <a:gd name="connsiteX37" fmla="*/ 787 w 43276"/>
                <a:gd name="connsiteY37" fmla="*/ 12196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3276" h="19671">
                  <a:moveTo>
                    <a:pt x="1967" y="12196"/>
                  </a:moveTo>
                  <a:lnTo>
                    <a:pt x="2754" y="12196"/>
                  </a:lnTo>
                  <a:lnTo>
                    <a:pt x="2754" y="12196"/>
                  </a:lnTo>
                  <a:lnTo>
                    <a:pt x="3934" y="12196"/>
                  </a:lnTo>
                  <a:lnTo>
                    <a:pt x="3541" y="12590"/>
                  </a:lnTo>
                  <a:lnTo>
                    <a:pt x="6295" y="15737"/>
                  </a:lnTo>
                  <a:lnTo>
                    <a:pt x="9442" y="16524"/>
                  </a:lnTo>
                  <a:lnTo>
                    <a:pt x="12196" y="16917"/>
                  </a:lnTo>
                  <a:lnTo>
                    <a:pt x="14557" y="19671"/>
                  </a:lnTo>
                  <a:lnTo>
                    <a:pt x="16131" y="16917"/>
                  </a:lnTo>
                  <a:lnTo>
                    <a:pt x="18884" y="17311"/>
                  </a:lnTo>
                  <a:lnTo>
                    <a:pt x="22032" y="16524"/>
                  </a:lnTo>
                  <a:lnTo>
                    <a:pt x="24786" y="16131"/>
                  </a:lnTo>
                  <a:lnTo>
                    <a:pt x="27540" y="15344"/>
                  </a:lnTo>
                  <a:lnTo>
                    <a:pt x="30687" y="15344"/>
                  </a:lnTo>
                  <a:lnTo>
                    <a:pt x="33441" y="15344"/>
                  </a:lnTo>
                  <a:lnTo>
                    <a:pt x="36589" y="12196"/>
                  </a:lnTo>
                  <a:lnTo>
                    <a:pt x="38162" y="9442"/>
                  </a:lnTo>
                  <a:lnTo>
                    <a:pt x="41310" y="7082"/>
                  </a:lnTo>
                  <a:lnTo>
                    <a:pt x="44457" y="4721"/>
                  </a:lnTo>
                  <a:lnTo>
                    <a:pt x="46424" y="1574"/>
                  </a:lnTo>
                  <a:lnTo>
                    <a:pt x="43277" y="1967"/>
                  </a:lnTo>
                  <a:lnTo>
                    <a:pt x="40130" y="0"/>
                  </a:lnTo>
                  <a:lnTo>
                    <a:pt x="37376" y="0"/>
                  </a:lnTo>
                  <a:lnTo>
                    <a:pt x="34228" y="787"/>
                  </a:lnTo>
                  <a:lnTo>
                    <a:pt x="31474" y="393"/>
                  </a:lnTo>
                  <a:lnTo>
                    <a:pt x="28327" y="1180"/>
                  </a:lnTo>
                  <a:lnTo>
                    <a:pt x="25573" y="2361"/>
                  </a:lnTo>
                  <a:lnTo>
                    <a:pt x="22425" y="2754"/>
                  </a:lnTo>
                  <a:lnTo>
                    <a:pt x="19278" y="3541"/>
                  </a:lnTo>
                  <a:lnTo>
                    <a:pt x="16524" y="5508"/>
                  </a:lnTo>
                  <a:lnTo>
                    <a:pt x="13770" y="5115"/>
                  </a:lnTo>
                  <a:lnTo>
                    <a:pt x="10623" y="5115"/>
                  </a:lnTo>
                  <a:lnTo>
                    <a:pt x="7475" y="5115"/>
                  </a:lnTo>
                  <a:lnTo>
                    <a:pt x="4721" y="5115"/>
                  </a:lnTo>
                  <a:lnTo>
                    <a:pt x="1574" y="6295"/>
                  </a:lnTo>
                  <a:lnTo>
                    <a:pt x="0" y="9442"/>
                  </a:lnTo>
                  <a:lnTo>
                    <a:pt x="787" y="1219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29" name="Freeform: Shape 2623">
              <a:extLst>
                <a:ext uri="{FF2B5EF4-FFF2-40B4-BE49-F238E27FC236}">
                  <a16:creationId xmlns:a16="http://schemas.microsoft.com/office/drawing/2014/main" id="{A7AAC55E-FEBB-4EE5-BEF0-04CBE8B54B03}"/>
                </a:ext>
              </a:extLst>
            </p:cNvPr>
            <p:cNvSpPr/>
            <p:nvPr/>
          </p:nvSpPr>
          <p:spPr>
            <a:xfrm>
              <a:off x="2556736" y="1696786"/>
              <a:ext cx="3934" cy="3934"/>
            </a:xfrm>
            <a:custGeom>
              <a:avLst/>
              <a:gdLst>
                <a:gd name="connsiteX0" fmla="*/ 0 w 3934"/>
                <a:gd name="connsiteY0" fmla="*/ 3147 h 0"/>
                <a:gd name="connsiteX1" fmla="*/ 2754 w 3934"/>
                <a:gd name="connsiteY1" fmla="*/ 2754 h 0"/>
                <a:gd name="connsiteX2" fmla="*/ 5901 w 3934"/>
                <a:gd name="connsiteY2" fmla="*/ 787 h 0"/>
                <a:gd name="connsiteX3" fmla="*/ 5901 w 3934"/>
                <a:gd name="connsiteY3" fmla="*/ 0 h 0"/>
                <a:gd name="connsiteX4" fmla="*/ 3147 w 3934"/>
                <a:gd name="connsiteY4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3147"/>
                  </a:moveTo>
                  <a:lnTo>
                    <a:pt x="2754" y="2754"/>
                  </a:lnTo>
                  <a:lnTo>
                    <a:pt x="5901" y="787"/>
                  </a:lnTo>
                  <a:lnTo>
                    <a:pt x="5901" y="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30" name="Freeform: Shape 2624">
              <a:extLst>
                <a:ext uri="{FF2B5EF4-FFF2-40B4-BE49-F238E27FC236}">
                  <a16:creationId xmlns:a16="http://schemas.microsoft.com/office/drawing/2014/main" id="{3C6D597A-BF18-483B-AC36-D6A1ABC8CFEA}"/>
                </a:ext>
              </a:extLst>
            </p:cNvPr>
            <p:cNvSpPr/>
            <p:nvPr/>
          </p:nvSpPr>
          <p:spPr>
            <a:xfrm>
              <a:off x="2560670" y="1693638"/>
              <a:ext cx="11803" cy="7869"/>
            </a:xfrm>
            <a:custGeom>
              <a:avLst/>
              <a:gdLst>
                <a:gd name="connsiteX0" fmla="*/ 0 w 11802"/>
                <a:gd name="connsiteY0" fmla="*/ 9836 h 7868"/>
                <a:gd name="connsiteX1" fmla="*/ 3147 w 11802"/>
                <a:gd name="connsiteY1" fmla="*/ 7475 h 7868"/>
                <a:gd name="connsiteX2" fmla="*/ 6295 w 11802"/>
                <a:gd name="connsiteY2" fmla="*/ 5901 h 7868"/>
                <a:gd name="connsiteX3" fmla="*/ 9049 w 11802"/>
                <a:gd name="connsiteY3" fmla="*/ 3147 h 7868"/>
                <a:gd name="connsiteX4" fmla="*/ 12196 w 11802"/>
                <a:gd name="connsiteY4" fmla="*/ 2361 h 7868"/>
                <a:gd name="connsiteX5" fmla="*/ 12590 w 11802"/>
                <a:gd name="connsiteY5" fmla="*/ 0 h 7868"/>
                <a:gd name="connsiteX6" fmla="*/ 9836 w 11802"/>
                <a:gd name="connsiteY6" fmla="*/ 787 h 7868"/>
                <a:gd name="connsiteX7" fmla="*/ 7082 w 11802"/>
                <a:gd name="connsiteY7" fmla="*/ 3147 h 7868"/>
                <a:gd name="connsiteX8" fmla="*/ 4328 w 11802"/>
                <a:gd name="connsiteY8" fmla="*/ 5508 h 7868"/>
                <a:gd name="connsiteX9" fmla="*/ 1180 w 11802"/>
                <a:gd name="connsiteY9" fmla="*/ 708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7868">
                  <a:moveTo>
                    <a:pt x="0" y="9836"/>
                  </a:moveTo>
                  <a:lnTo>
                    <a:pt x="3147" y="7475"/>
                  </a:lnTo>
                  <a:lnTo>
                    <a:pt x="6295" y="5901"/>
                  </a:lnTo>
                  <a:lnTo>
                    <a:pt x="9049" y="3147"/>
                  </a:lnTo>
                  <a:lnTo>
                    <a:pt x="12196" y="2361"/>
                  </a:lnTo>
                  <a:lnTo>
                    <a:pt x="12590" y="0"/>
                  </a:lnTo>
                  <a:lnTo>
                    <a:pt x="9836" y="787"/>
                  </a:lnTo>
                  <a:lnTo>
                    <a:pt x="7082" y="3147"/>
                  </a:lnTo>
                  <a:lnTo>
                    <a:pt x="4328" y="5508"/>
                  </a:lnTo>
                  <a:lnTo>
                    <a:pt x="1180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31" name="Freeform: Shape 2625">
              <a:extLst>
                <a:ext uri="{FF2B5EF4-FFF2-40B4-BE49-F238E27FC236}">
                  <a16:creationId xmlns:a16="http://schemas.microsoft.com/office/drawing/2014/main" id="{ED691904-EADB-43B7-BF7C-B6405D058FE2}"/>
                </a:ext>
              </a:extLst>
            </p:cNvPr>
            <p:cNvSpPr/>
            <p:nvPr/>
          </p:nvSpPr>
          <p:spPr>
            <a:xfrm>
              <a:off x="2574833" y="1685770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967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967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32" name="Freeform: Shape 2626">
              <a:extLst>
                <a:ext uri="{FF2B5EF4-FFF2-40B4-BE49-F238E27FC236}">
                  <a16:creationId xmlns:a16="http://schemas.microsoft.com/office/drawing/2014/main" id="{5A0F35CC-9184-45F9-B23B-4D17F53E4C39}"/>
                </a:ext>
              </a:extLst>
            </p:cNvPr>
            <p:cNvSpPr/>
            <p:nvPr/>
          </p:nvSpPr>
          <p:spPr>
            <a:xfrm>
              <a:off x="2590964" y="1694032"/>
              <a:ext cx="15737" cy="3934"/>
            </a:xfrm>
            <a:custGeom>
              <a:avLst/>
              <a:gdLst>
                <a:gd name="connsiteX0" fmla="*/ 11803 w 15737"/>
                <a:gd name="connsiteY0" fmla="*/ 787 h 3934"/>
                <a:gd name="connsiteX1" fmla="*/ 8655 w 15737"/>
                <a:gd name="connsiteY1" fmla="*/ 0 h 3934"/>
                <a:gd name="connsiteX2" fmla="*/ 5508 w 15737"/>
                <a:gd name="connsiteY2" fmla="*/ 1574 h 3934"/>
                <a:gd name="connsiteX3" fmla="*/ 2754 w 15737"/>
                <a:gd name="connsiteY3" fmla="*/ 3934 h 3934"/>
                <a:gd name="connsiteX4" fmla="*/ 5508 w 15737"/>
                <a:gd name="connsiteY4" fmla="*/ 3934 h 3934"/>
                <a:gd name="connsiteX5" fmla="*/ 2754 w 15737"/>
                <a:gd name="connsiteY5" fmla="*/ 5115 h 3934"/>
                <a:gd name="connsiteX6" fmla="*/ 0 w 15737"/>
                <a:gd name="connsiteY6" fmla="*/ 7475 h 3934"/>
                <a:gd name="connsiteX7" fmla="*/ 2754 w 15737"/>
                <a:gd name="connsiteY7" fmla="*/ 6295 h 3934"/>
                <a:gd name="connsiteX8" fmla="*/ 5508 w 15737"/>
                <a:gd name="connsiteY8" fmla="*/ 5508 h 3934"/>
                <a:gd name="connsiteX9" fmla="*/ 8262 w 15737"/>
                <a:gd name="connsiteY9" fmla="*/ 4721 h 3934"/>
                <a:gd name="connsiteX10" fmla="*/ 11409 w 15737"/>
                <a:gd name="connsiteY10" fmla="*/ 3934 h 3934"/>
                <a:gd name="connsiteX11" fmla="*/ 14557 w 15737"/>
                <a:gd name="connsiteY11" fmla="*/ 3147 h 3934"/>
                <a:gd name="connsiteX12" fmla="*/ 17311 w 15737"/>
                <a:gd name="connsiteY12" fmla="*/ 2754 h 3934"/>
                <a:gd name="connsiteX13" fmla="*/ 17704 w 15737"/>
                <a:gd name="connsiteY13" fmla="*/ 1574 h 3934"/>
                <a:gd name="connsiteX14" fmla="*/ 14557 w 15737"/>
                <a:gd name="connsiteY14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737" h="3934">
                  <a:moveTo>
                    <a:pt x="11803" y="787"/>
                  </a:moveTo>
                  <a:lnTo>
                    <a:pt x="8655" y="0"/>
                  </a:lnTo>
                  <a:lnTo>
                    <a:pt x="5508" y="1574"/>
                  </a:lnTo>
                  <a:lnTo>
                    <a:pt x="2754" y="3934"/>
                  </a:lnTo>
                  <a:lnTo>
                    <a:pt x="5508" y="3934"/>
                  </a:lnTo>
                  <a:lnTo>
                    <a:pt x="2754" y="5115"/>
                  </a:lnTo>
                  <a:lnTo>
                    <a:pt x="0" y="7475"/>
                  </a:lnTo>
                  <a:lnTo>
                    <a:pt x="2754" y="6295"/>
                  </a:lnTo>
                  <a:lnTo>
                    <a:pt x="5508" y="5508"/>
                  </a:lnTo>
                  <a:lnTo>
                    <a:pt x="8262" y="4721"/>
                  </a:lnTo>
                  <a:lnTo>
                    <a:pt x="11409" y="3934"/>
                  </a:lnTo>
                  <a:lnTo>
                    <a:pt x="14557" y="3147"/>
                  </a:lnTo>
                  <a:lnTo>
                    <a:pt x="17311" y="2754"/>
                  </a:lnTo>
                  <a:lnTo>
                    <a:pt x="17704" y="1574"/>
                  </a:lnTo>
                  <a:lnTo>
                    <a:pt x="1455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33" name="Freeform: Shape 2627">
              <a:extLst>
                <a:ext uri="{FF2B5EF4-FFF2-40B4-BE49-F238E27FC236}">
                  <a16:creationId xmlns:a16="http://schemas.microsoft.com/office/drawing/2014/main" id="{05AC7AFD-0468-485C-9452-8FCE9C6CAB74}"/>
                </a:ext>
              </a:extLst>
            </p:cNvPr>
            <p:cNvSpPr/>
            <p:nvPr/>
          </p:nvSpPr>
          <p:spPr>
            <a:xfrm>
              <a:off x="2607488" y="1690098"/>
              <a:ext cx="11803" cy="3934"/>
            </a:xfrm>
            <a:custGeom>
              <a:avLst/>
              <a:gdLst>
                <a:gd name="connsiteX0" fmla="*/ 14950 w 11802"/>
                <a:gd name="connsiteY0" fmla="*/ 787 h 3934"/>
                <a:gd name="connsiteX1" fmla="*/ 14950 w 11802"/>
                <a:gd name="connsiteY1" fmla="*/ 0 h 3934"/>
                <a:gd name="connsiteX2" fmla="*/ 12196 w 11802"/>
                <a:gd name="connsiteY2" fmla="*/ 787 h 3934"/>
                <a:gd name="connsiteX3" fmla="*/ 9049 w 11802"/>
                <a:gd name="connsiteY3" fmla="*/ 1574 h 3934"/>
                <a:gd name="connsiteX4" fmla="*/ 5901 w 11802"/>
                <a:gd name="connsiteY4" fmla="*/ 1967 h 3934"/>
                <a:gd name="connsiteX5" fmla="*/ 3147 w 11802"/>
                <a:gd name="connsiteY5" fmla="*/ 2754 h 3934"/>
                <a:gd name="connsiteX6" fmla="*/ 0 w 11802"/>
                <a:gd name="connsiteY6" fmla="*/ 4721 h 3934"/>
                <a:gd name="connsiteX7" fmla="*/ 3147 w 11802"/>
                <a:gd name="connsiteY7" fmla="*/ 4328 h 3934"/>
                <a:gd name="connsiteX8" fmla="*/ 5901 w 11802"/>
                <a:gd name="connsiteY8" fmla="*/ 3541 h 3934"/>
                <a:gd name="connsiteX9" fmla="*/ 9049 w 11802"/>
                <a:gd name="connsiteY9" fmla="*/ 2754 h 3934"/>
                <a:gd name="connsiteX10" fmla="*/ 12196 w 11802"/>
                <a:gd name="connsiteY10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3934">
                  <a:moveTo>
                    <a:pt x="14950" y="787"/>
                  </a:moveTo>
                  <a:lnTo>
                    <a:pt x="14950" y="0"/>
                  </a:lnTo>
                  <a:lnTo>
                    <a:pt x="12196" y="787"/>
                  </a:lnTo>
                  <a:lnTo>
                    <a:pt x="9049" y="1574"/>
                  </a:lnTo>
                  <a:lnTo>
                    <a:pt x="5901" y="1967"/>
                  </a:lnTo>
                  <a:lnTo>
                    <a:pt x="3147" y="2754"/>
                  </a:lnTo>
                  <a:lnTo>
                    <a:pt x="0" y="4721"/>
                  </a:lnTo>
                  <a:lnTo>
                    <a:pt x="3147" y="4328"/>
                  </a:lnTo>
                  <a:lnTo>
                    <a:pt x="5901" y="3541"/>
                  </a:lnTo>
                  <a:lnTo>
                    <a:pt x="9049" y="2754"/>
                  </a:lnTo>
                  <a:lnTo>
                    <a:pt x="12196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34" name="Freeform: Shape 2628">
              <a:extLst>
                <a:ext uri="{FF2B5EF4-FFF2-40B4-BE49-F238E27FC236}">
                  <a16:creationId xmlns:a16="http://schemas.microsoft.com/office/drawing/2014/main" id="{CD1BED45-BF6C-4C08-8FE0-0267DD8435E6}"/>
                </a:ext>
              </a:extLst>
            </p:cNvPr>
            <p:cNvSpPr/>
            <p:nvPr/>
          </p:nvSpPr>
          <p:spPr>
            <a:xfrm>
              <a:off x="2626766" y="1695999"/>
              <a:ext cx="3934" cy="3934"/>
            </a:xfrm>
            <a:custGeom>
              <a:avLst/>
              <a:gdLst>
                <a:gd name="connsiteX0" fmla="*/ 5901 w 3934"/>
                <a:gd name="connsiteY0" fmla="*/ 787 h 0"/>
                <a:gd name="connsiteX1" fmla="*/ 5901 w 3934"/>
                <a:gd name="connsiteY1" fmla="*/ 0 h 0"/>
                <a:gd name="connsiteX2" fmla="*/ 3147 w 3934"/>
                <a:gd name="connsiteY2" fmla="*/ 1180 h 0"/>
                <a:gd name="connsiteX3" fmla="*/ 0 w 3934"/>
                <a:gd name="connsiteY3" fmla="*/ 3147 h 0"/>
                <a:gd name="connsiteX4" fmla="*/ 2754 w 3934"/>
                <a:gd name="connsiteY4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787"/>
                  </a:moveTo>
                  <a:lnTo>
                    <a:pt x="5901" y="0"/>
                  </a:lnTo>
                  <a:lnTo>
                    <a:pt x="3147" y="1180"/>
                  </a:lnTo>
                  <a:lnTo>
                    <a:pt x="0" y="3147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35" name="Freeform: Shape 2629">
              <a:extLst>
                <a:ext uri="{FF2B5EF4-FFF2-40B4-BE49-F238E27FC236}">
                  <a16:creationId xmlns:a16="http://schemas.microsoft.com/office/drawing/2014/main" id="{C27F85EF-136E-45CB-B59F-BD7E3C2D6E64}"/>
                </a:ext>
              </a:extLst>
            </p:cNvPr>
            <p:cNvSpPr/>
            <p:nvPr/>
          </p:nvSpPr>
          <p:spPr>
            <a:xfrm>
              <a:off x="2545326" y="1704654"/>
              <a:ext cx="7869" cy="3934"/>
            </a:xfrm>
            <a:custGeom>
              <a:avLst/>
              <a:gdLst>
                <a:gd name="connsiteX0" fmla="*/ 0 w 7868"/>
                <a:gd name="connsiteY0" fmla="*/ 4328 h 3934"/>
                <a:gd name="connsiteX1" fmla="*/ 787 w 7868"/>
                <a:gd name="connsiteY1" fmla="*/ 4328 h 3934"/>
                <a:gd name="connsiteX2" fmla="*/ 3541 w 7868"/>
                <a:gd name="connsiteY2" fmla="*/ 3147 h 3934"/>
                <a:gd name="connsiteX3" fmla="*/ 6295 w 7868"/>
                <a:gd name="connsiteY3" fmla="*/ 2361 h 3934"/>
                <a:gd name="connsiteX4" fmla="*/ 9049 w 7868"/>
                <a:gd name="connsiteY4" fmla="*/ 0 h 3934"/>
                <a:gd name="connsiteX5" fmla="*/ 5901 w 7868"/>
                <a:gd name="connsiteY5" fmla="*/ 1180 h 3934"/>
                <a:gd name="connsiteX6" fmla="*/ 3541 w 7868"/>
                <a:gd name="connsiteY6" fmla="*/ 2361 h 3934"/>
                <a:gd name="connsiteX7" fmla="*/ 3147 w 7868"/>
                <a:gd name="connsiteY7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0" y="4328"/>
                  </a:moveTo>
                  <a:lnTo>
                    <a:pt x="787" y="4328"/>
                  </a:lnTo>
                  <a:lnTo>
                    <a:pt x="3541" y="3147"/>
                  </a:lnTo>
                  <a:lnTo>
                    <a:pt x="6295" y="2361"/>
                  </a:lnTo>
                  <a:lnTo>
                    <a:pt x="9049" y="0"/>
                  </a:lnTo>
                  <a:lnTo>
                    <a:pt x="5901" y="1180"/>
                  </a:lnTo>
                  <a:lnTo>
                    <a:pt x="3541" y="2361"/>
                  </a:lnTo>
                  <a:lnTo>
                    <a:pt x="3147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36" name="Freeform: Shape 2630">
              <a:extLst>
                <a:ext uri="{FF2B5EF4-FFF2-40B4-BE49-F238E27FC236}">
                  <a16:creationId xmlns:a16="http://schemas.microsoft.com/office/drawing/2014/main" id="{37733683-B751-4774-A608-2EC2BA0F3754}"/>
                </a:ext>
              </a:extLst>
            </p:cNvPr>
            <p:cNvSpPr/>
            <p:nvPr/>
          </p:nvSpPr>
          <p:spPr>
            <a:xfrm>
              <a:off x="3689804" y="1451288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787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78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37" name="Freeform: Shape 2631">
              <a:extLst>
                <a:ext uri="{FF2B5EF4-FFF2-40B4-BE49-F238E27FC236}">
                  <a16:creationId xmlns:a16="http://schemas.microsoft.com/office/drawing/2014/main" id="{A8E6A0E0-E5F6-4F8B-85F2-8ED296B6EFAB}"/>
                </a:ext>
              </a:extLst>
            </p:cNvPr>
            <p:cNvSpPr/>
            <p:nvPr/>
          </p:nvSpPr>
          <p:spPr>
            <a:xfrm>
              <a:off x="2541786" y="1707802"/>
              <a:ext cx="7869" cy="3934"/>
            </a:xfrm>
            <a:custGeom>
              <a:avLst/>
              <a:gdLst>
                <a:gd name="connsiteX0" fmla="*/ 7869 w 7868"/>
                <a:gd name="connsiteY0" fmla="*/ 0 h 0"/>
                <a:gd name="connsiteX1" fmla="*/ 4721 w 7868"/>
                <a:gd name="connsiteY1" fmla="*/ 1180 h 0"/>
                <a:gd name="connsiteX2" fmla="*/ 2754 w 7868"/>
                <a:gd name="connsiteY2" fmla="*/ 1967 h 0"/>
                <a:gd name="connsiteX3" fmla="*/ 0 w 7868"/>
                <a:gd name="connsiteY3" fmla="*/ 3147 h 0"/>
                <a:gd name="connsiteX4" fmla="*/ 2754 w 7868"/>
                <a:gd name="connsiteY4" fmla="*/ 2361 h 0"/>
                <a:gd name="connsiteX5" fmla="*/ 5901 w 7868"/>
                <a:gd name="connsiteY5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7869" y="0"/>
                  </a:moveTo>
                  <a:lnTo>
                    <a:pt x="4721" y="1180"/>
                  </a:lnTo>
                  <a:lnTo>
                    <a:pt x="2754" y="1967"/>
                  </a:lnTo>
                  <a:lnTo>
                    <a:pt x="0" y="3147"/>
                  </a:lnTo>
                  <a:lnTo>
                    <a:pt x="2754" y="2361"/>
                  </a:lnTo>
                  <a:lnTo>
                    <a:pt x="590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38" name="Freeform: Shape 2632">
              <a:extLst>
                <a:ext uri="{FF2B5EF4-FFF2-40B4-BE49-F238E27FC236}">
                  <a16:creationId xmlns:a16="http://schemas.microsoft.com/office/drawing/2014/main" id="{3063A36E-4283-45E1-9047-C5BE4E83FB9D}"/>
                </a:ext>
              </a:extLst>
            </p:cNvPr>
            <p:cNvSpPr/>
            <p:nvPr/>
          </p:nvSpPr>
          <p:spPr>
            <a:xfrm>
              <a:off x="2546113" y="1697179"/>
              <a:ext cx="35408" cy="15737"/>
            </a:xfrm>
            <a:custGeom>
              <a:avLst/>
              <a:gdLst>
                <a:gd name="connsiteX0" fmla="*/ 36589 w 35408"/>
                <a:gd name="connsiteY0" fmla="*/ 0 h 15737"/>
                <a:gd name="connsiteX1" fmla="*/ 33441 w 35408"/>
                <a:gd name="connsiteY1" fmla="*/ 1967 h 15737"/>
                <a:gd name="connsiteX2" fmla="*/ 30294 w 35408"/>
                <a:gd name="connsiteY2" fmla="*/ 4328 h 15737"/>
                <a:gd name="connsiteX3" fmla="*/ 27540 w 35408"/>
                <a:gd name="connsiteY3" fmla="*/ 4721 h 15737"/>
                <a:gd name="connsiteX4" fmla="*/ 24392 w 35408"/>
                <a:gd name="connsiteY4" fmla="*/ 6295 h 15737"/>
                <a:gd name="connsiteX5" fmla="*/ 21638 w 35408"/>
                <a:gd name="connsiteY5" fmla="*/ 7869 h 15737"/>
                <a:gd name="connsiteX6" fmla="*/ 18884 w 35408"/>
                <a:gd name="connsiteY6" fmla="*/ 9049 h 15737"/>
                <a:gd name="connsiteX7" fmla="*/ 15737 w 35408"/>
                <a:gd name="connsiteY7" fmla="*/ 9836 h 15737"/>
                <a:gd name="connsiteX8" fmla="*/ 12590 w 35408"/>
                <a:gd name="connsiteY8" fmla="*/ 11016 h 15737"/>
                <a:gd name="connsiteX9" fmla="*/ 9836 w 35408"/>
                <a:gd name="connsiteY9" fmla="*/ 11803 h 15737"/>
                <a:gd name="connsiteX10" fmla="*/ 9049 w 35408"/>
                <a:gd name="connsiteY10" fmla="*/ 12983 h 15737"/>
                <a:gd name="connsiteX11" fmla="*/ 5901 w 35408"/>
                <a:gd name="connsiteY11" fmla="*/ 13770 h 15737"/>
                <a:gd name="connsiteX12" fmla="*/ 2754 w 35408"/>
                <a:gd name="connsiteY12" fmla="*/ 15737 h 15737"/>
                <a:gd name="connsiteX13" fmla="*/ 0 w 35408"/>
                <a:gd name="connsiteY13" fmla="*/ 18098 h 15737"/>
                <a:gd name="connsiteX14" fmla="*/ 2754 w 35408"/>
                <a:gd name="connsiteY14" fmla="*/ 17704 h 15737"/>
                <a:gd name="connsiteX15" fmla="*/ 5901 w 35408"/>
                <a:gd name="connsiteY15" fmla="*/ 16524 h 15737"/>
                <a:gd name="connsiteX16" fmla="*/ 8655 w 35408"/>
                <a:gd name="connsiteY16" fmla="*/ 16524 h 15737"/>
                <a:gd name="connsiteX17" fmla="*/ 11803 w 35408"/>
                <a:gd name="connsiteY17" fmla="*/ 14950 h 15737"/>
                <a:gd name="connsiteX18" fmla="*/ 14557 w 35408"/>
                <a:gd name="connsiteY18" fmla="*/ 12983 h 15737"/>
                <a:gd name="connsiteX19" fmla="*/ 17704 w 35408"/>
                <a:gd name="connsiteY19" fmla="*/ 11803 h 15737"/>
                <a:gd name="connsiteX20" fmla="*/ 19278 w 35408"/>
                <a:gd name="connsiteY20" fmla="*/ 10622 h 15737"/>
                <a:gd name="connsiteX21" fmla="*/ 22425 w 35408"/>
                <a:gd name="connsiteY21" fmla="*/ 9049 h 15737"/>
                <a:gd name="connsiteX22" fmla="*/ 25573 w 35408"/>
                <a:gd name="connsiteY22" fmla="*/ 7869 h 15737"/>
                <a:gd name="connsiteX23" fmla="*/ 28327 w 35408"/>
                <a:gd name="connsiteY23" fmla="*/ 6688 h 15737"/>
                <a:gd name="connsiteX24" fmla="*/ 31081 w 35408"/>
                <a:gd name="connsiteY24" fmla="*/ 5901 h 15737"/>
                <a:gd name="connsiteX25" fmla="*/ 34228 w 35408"/>
                <a:gd name="connsiteY25" fmla="*/ 4721 h 15737"/>
                <a:gd name="connsiteX26" fmla="*/ 36982 w 35408"/>
                <a:gd name="connsiteY26" fmla="*/ 2754 h 15737"/>
                <a:gd name="connsiteX27" fmla="*/ 34228 w 35408"/>
                <a:gd name="connsiteY27" fmla="*/ 314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5408" h="15737">
                  <a:moveTo>
                    <a:pt x="36589" y="0"/>
                  </a:moveTo>
                  <a:lnTo>
                    <a:pt x="33441" y="1967"/>
                  </a:lnTo>
                  <a:lnTo>
                    <a:pt x="30294" y="4328"/>
                  </a:lnTo>
                  <a:lnTo>
                    <a:pt x="27540" y="4721"/>
                  </a:lnTo>
                  <a:lnTo>
                    <a:pt x="24392" y="6295"/>
                  </a:lnTo>
                  <a:lnTo>
                    <a:pt x="21638" y="7869"/>
                  </a:lnTo>
                  <a:lnTo>
                    <a:pt x="18884" y="9049"/>
                  </a:lnTo>
                  <a:lnTo>
                    <a:pt x="15737" y="9836"/>
                  </a:lnTo>
                  <a:lnTo>
                    <a:pt x="12590" y="11016"/>
                  </a:lnTo>
                  <a:lnTo>
                    <a:pt x="9836" y="11803"/>
                  </a:lnTo>
                  <a:lnTo>
                    <a:pt x="9049" y="12983"/>
                  </a:lnTo>
                  <a:lnTo>
                    <a:pt x="5901" y="13770"/>
                  </a:lnTo>
                  <a:lnTo>
                    <a:pt x="2754" y="15737"/>
                  </a:lnTo>
                  <a:lnTo>
                    <a:pt x="0" y="18098"/>
                  </a:lnTo>
                  <a:lnTo>
                    <a:pt x="2754" y="17704"/>
                  </a:lnTo>
                  <a:lnTo>
                    <a:pt x="5901" y="16524"/>
                  </a:lnTo>
                  <a:lnTo>
                    <a:pt x="8655" y="16524"/>
                  </a:lnTo>
                  <a:lnTo>
                    <a:pt x="11803" y="14950"/>
                  </a:lnTo>
                  <a:lnTo>
                    <a:pt x="14557" y="12983"/>
                  </a:lnTo>
                  <a:lnTo>
                    <a:pt x="17704" y="11803"/>
                  </a:lnTo>
                  <a:lnTo>
                    <a:pt x="19278" y="10622"/>
                  </a:lnTo>
                  <a:lnTo>
                    <a:pt x="22425" y="9049"/>
                  </a:lnTo>
                  <a:lnTo>
                    <a:pt x="25573" y="7869"/>
                  </a:lnTo>
                  <a:lnTo>
                    <a:pt x="28327" y="6688"/>
                  </a:lnTo>
                  <a:lnTo>
                    <a:pt x="31081" y="5901"/>
                  </a:lnTo>
                  <a:lnTo>
                    <a:pt x="34228" y="4721"/>
                  </a:lnTo>
                  <a:lnTo>
                    <a:pt x="36982" y="2754"/>
                  </a:lnTo>
                  <a:lnTo>
                    <a:pt x="3422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39" name="Freeform: Shape 2633">
              <a:extLst>
                <a:ext uri="{FF2B5EF4-FFF2-40B4-BE49-F238E27FC236}">
                  <a16:creationId xmlns:a16="http://schemas.microsoft.com/office/drawing/2014/main" id="{F7040144-01DA-4AE3-B14C-2FBF7364B658}"/>
                </a:ext>
              </a:extLst>
            </p:cNvPr>
            <p:cNvSpPr/>
            <p:nvPr/>
          </p:nvSpPr>
          <p:spPr>
            <a:xfrm>
              <a:off x="3100058" y="1420601"/>
              <a:ext cx="7869" cy="3934"/>
            </a:xfrm>
            <a:custGeom>
              <a:avLst/>
              <a:gdLst>
                <a:gd name="connsiteX0" fmla="*/ 5901 w 7868"/>
                <a:gd name="connsiteY0" fmla="*/ 1574 h 0"/>
                <a:gd name="connsiteX1" fmla="*/ 9049 w 7868"/>
                <a:gd name="connsiteY1" fmla="*/ 0 h 0"/>
                <a:gd name="connsiteX2" fmla="*/ 5901 w 7868"/>
                <a:gd name="connsiteY2" fmla="*/ 0 h 0"/>
                <a:gd name="connsiteX3" fmla="*/ 3147 w 7868"/>
                <a:gd name="connsiteY3" fmla="*/ 393 h 0"/>
                <a:gd name="connsiteX4" fmla="*/ 0 w 7868"/>
                <a:gd name="connsiteY4" fmla="*/ 1967 h 0"/>
                <a:gd name="connsiteX5" fmla="*/ 2754 w 7868"/>
                <a:gd name="connsiteY5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5901" y="1574"/>
                  </a:moveTo>
                  <a:lnTo>
                    <a:pt x="9049" y="0"/>
                  </a:lnTo>
                  <a:lnTo>
                    <a:pt x="5901" y="0"/>
                  </a:lnTo>
                  <a:lnTo>
                    <a:pt x="3147" y="393"/>
                  </a:lnTo>
                  <a:lnTo>
                    <a:pt x="0" y="1967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40" name="Freeform: Shape 2634">
              <a:extLst>
                <a:ext uri="{FF2B5EF4-FFF2-40B4-BE49-F238E27FC236}">
                  <a16:creationId xmlns:a16="http://schemas.microsoft.com/office/drawing/2014/main" id="{89E60C7D-0B6E-4BA4-AFC0-7802A6A655DA}"/>
                </a:ext>
              </a:extLst>
            </p:cNvPr>
            <p:cNvSpPr/>
            <p:nvPr/>
          </p:nvSpPr>
          <p:spPr>
            <a:xfrm>
              <a:off x="3174809" y="1427289"/>
              <a:ext cx="3934" cy="3934"/>
            </a:xfrm>
            <a:custGeom>
              <a:avLst/>
              <a:gdLst>
                <a:gd name="connsiteX0" fmla="*/ 3147 w 0"/>
                <a:gd name="connsiteY0" fmla="*/ 2754 h 0"/>
                <a:gd name="connsiteX1" fmla="*/ 3147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2754"/>
                  </a:moveTo>
                  <a:lnTo>
                    <a:pt x="3147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41" name="Freeform: Shape 2635">
              <a:extLst>
                <a:ext uri="{FF2B5EF4-FFF2-40B4-BE49-F238E27FC236}">
                  <a16:creationId xmlns:a16="http://schemas.microsoft.com/office/drawing/2014/main" id="{58B7C590-3A35-4483-BA49-A216E5769AB9}"/>
                </a:ext>
              </a:extLst>
            </p:cNvPr>
            <p:cNvSpPr/>
            <p:nvPr/>
          </p:nvSpPr>
          <p:spPr>
            <a:xfrm>
              <a:off x="3181890" y="1419814"/>
              <a:ext cx="3934" cy="3934"/>
            </a:xfrm>
            <a:custGeom>
              <a:avLst/>
              <a:gdLst>
                <a:gd name="connsiteX0" fmla="*/ 5901 w 3934"/>
                <a:gd name="connsiteY0" fmla="*/ 0 h 0"/>
                <a:gd name="connsiteX1" fmla="*/ 3147 w 3934"/>
                <a:gd name="connsiteY1" fmla="*/ 787 h 0"/>
                <a:gd name="connsiteX2" fmla="*/ 0 w 3934"/>
                <a:gd name="connsiteY2" fmla="*/ 2361 h 0"/>
                <a:gd name="connsiteX3" fmla="*/ 0 w 3934"/>
                <a:gd name="connsiteY3" fmla="*/ 2754 h 0"/>
                <a:gd name="connsiteX4" fmla="*/ 2754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0"/>
                  </a:moveTo>
                  <a:lnTo>
                    <a:pt x="3147" y="787"/>
                  </a:lnTo>
                  <a:lnTo>
                    <a:pt x="0" y="2361"/>
                  </a:lnTo>
                  <a:lnTo>
                    <a:pt x="0" y="2754"/>
                  </a:lnTo>
                  <a:lnTo>
                    <a:pt x="275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42" name="Freeform: Shape 2636">
              <a:extLst>
                <a:ext uri="{FF2B5EF4-FFF2-40B4-BE49-F238E27FC236}">
                  <a16:creationId xmlns:a16="http://schemas.microsoft.com/office/drawing/2014/main" id="{70511702-FA0B-4189-B0BE-842C40F8B62E}"/>
                </a:ext>
              </a:extLst>
            </p:cNvPr>
            <p:cNvSpPr/>
            <p:nvPr/>
          </p:nvSpPr>
          <p:spPr>
            <a:xfrm>
              <a:off x="3216118" y="1420994"/>
              <a:ext cx="3934" cy="3934"/>
            </a:xfrm>
            <a:custGeom>
              <a:avLst/>
              <a:gdLst>
                <a:gd name="connsiteX0" fmla="*/ 0 w 0"/>
                <a:gd name="connsiteY0" fmla="*/ 1574 h 0"/>
                <a:gd name="connsiteX1" fmla="*/ 3147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574"/>
                  </a:move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43" name="Freeform: Shape 2637">
              <a:extLst>
                <a:ext uri="{FF2B5EF4-FFF2-40B4-BE49-F238E27FC236}">
                  <a16:creationId xmlns:a16="http://schemas.microsoft.com/office/drawing/2014/main" id="{200BBC57-5DD9-4D42-A375-49A01508D56D}"/>
                </a:ext>
              </a:extLst>
            </p:cNvPr>
            <p:cNvSpPr/>
            <p:nvPr/>
          </p:nvSpPr>
          <p:spPr>
            <a:xfrm>
              <a:off x="3151596" y="1419420"/>
              <a:ext cx="66882" cy="27540"/>
            </a:xfrm>
            <a:custGeom>
              <a:avLst/>
              <a:gdLst>
                <a:gd name="connsiteX0" fmla="*/ 27933 w 66882"/>
                <a:gd name="connsiteY0" fmla="*/ 22425 h 27539"/>
                <a:gd name="connsiteX1" fmla="*/ 28720 w 66882"/>
                <a:gd name="connsiteY1" fmla="*/ 19278 h 27539"/>
                <a:gd name="connsiteX2" fmla="*/ 29507 w 66882"/>
                <a:gd name="connsiteY2" fmla="*/ 18491 h 27539"/>
                <a:gd name="connsiteX3" fmla="*/ 32261 w 66882"/>
                <a:gd name="connsiteY3" fmla="*/ 17704 h 27539"/>
                <a:gd name="connsiteX4" fmla="*/ 35408 w 66882"/>
                <a:gd name="connsiteY4" fmla="*/ 16130 h 27539"/>
                <a:gd name="connsiteX5" fmla="*/ 38556 w 66882"/>
                <a:gd name="connsiteY5" fmla="*/ 15737 h 27539"/>
                <a:gd name="connsiteX6" fmla="*/ 41703 w 66882"/>
                <a:gd name="connsiteY6" fmla="*/ 14950 h 27539"/>
                <a:gd name="connsiteX7" fmla="*/ 44457 w 66882"/>
                <a:gd name="connsiteY7" fmla="*/ 13377 h 27539"/>
                <a:gd name="connsiteX8" fmla="*/ 47605 w 66882"/>
                <a:gd name="connsiteY8" fmla="*/ 12196 h 27539"/>
                <a:gd name="connsiteX9" fmla="*/ 50752 w 66882"/>
                <a:gd name="connsiteY9" fmla="*/ 10622 h 27539"/>
                <a:gd name="connsiteX10" fmla="*/ 53506 w 66882"/>
                <a:gd name="connsiteY10" fmla="*/ 9442 h 27539"/>
                <a:gd name="connsiteX11" fmla="*/ 56654 w 66882"/>
                <a:gd name="connsiteY11" fmla="*/ 8262 h 27539"/>
                <a:gd name="connsiteX12" fmla="*/ 59801 w 66882"/>
                <a:gd name="connsiteY12" fmla="*/ 7475 h 27539"/>
                <a:gd name="connsiteX13" fmla="*/ 65702 w 66882"/>
                <a:gd name="connsiteY13" fmla="*/ 5508 h 27539"/>
                <a:gd name="connsiteX14" fmla="*/ 68850 w 66882"/>
                <a:gd name="connsiteY14" fmla="*/ 2754 h 27539"/>
                <a:gd name="connsiteX15" fmla="*/ 65702 w 66882"/>
                <a:gd name="connsiteY15" fmla="*/ 3541 h 27539"/>
                <a:gd name="connsiteX16" fmla="*/ 62948 w 66882"/>
                <a:gd name="connsiteY16" fmla="*/ 4721 h 27539"/>
                <a:gd name="connsiteX17" fmla="*/ 59801 w 66882"/>
                <a:gd name="connsiteY17" fmla="*/ 2361 h 27539"/>
                <a:gd name="connsiteX18" fmla="*/ 62948 w 66882"/>
                <a:gd name="connsiteY18" fmla="*/ 1180 h 27539"/>
                <a:gd name="connsiteX19" fmla="*/ 59801 w 66882"/>
                <a:gd name="connsiteY19" fmla="*/ 0 h 27539"/>
                <a:gd name="connsiteX20" fmla="*/ 57047 w 66882"/>
                <a:gd name="connsiteY20" fmla="*/ 1180 h 27539"/>
                <a:gd name="connsiteX21" fmla="*/ 53899 w 66882"/>
                <a:gd name="connsiteY21" fmla="*/ 2754 h 27539"/>
                <a:gd name="connsiteX22" fmla="*/ 51145 w 66882"/>
                <a:gd name="connsiteY22" fmla="*/ 3934 h 27539"/>
                <a:gd name="connsiteX23" fmla="*/ 48392 w 66882"/>
                <a:gd name="connsiteY23" fmla="*/ 6295 h 27539"/>
                <a:gd name="connsiteX24" fmla="*/ 45638 w 66882"/>
                <a:gd name="connsiteY24" fmla="*/ 5508 h 27539"/>
                <a:gd name="connsiteX25" fmla="*/ 42490 w 66882"/>
                <a:gd name="connsiteY25" fmla="*/ 5508 h 27539"/>
                <a:gd name="connsiteX26" fmla="*/ 37769 w 66882"/>
                <a:gd name="connsiteY26" fmla="*/ 5508 h 27539"/>
                <a:gd name="connsiteX27" fmla="*/ 35015 w 66882"/>
                <a:gd name="connsiteY27" fmla="*/ 5901 h 27539"/>
                <a:gd name="connsiteX28" fmla="*/ 31868 w 66882"/>
                <a:gd name="connsiteY28" fmla="*/ 6688 h 27539"/>
                <a:gd name="connsiteX29" fmla="*/ 29114 w 66882"/>
                <a:gd name="connsiteY29" fmla="*/ 9442 h 27539"/>
                <a:gd name="connsiteX30" fmla="*/ 27147 w 66882"/>
                <a:gd name="connsiteY30" fmla="*/ 11803 h 27539"/>
                <a:gd name="connsiteX31" fmla="*/ 21245 w 66882"/>
                <a:gd name="connsiteY31" fmla="*/ 9442 h 27539"/>
                <a:gd name="connsiteX32" fmla="*/ 18491 w 66882"/>
                <a:gd name="connsiteY32" fmla="*/ 11409 h 27539"/>
                <a:gd name="connsiteX33" fmla="*/ 15344 w 66882"/>
                <a:gd name="connsiteY33" fmla="*/ 10229 h 27539"/>
                <a:gd name="connsiteX34" fmla="*/ 12590 w 66882"/>
                <a:gd name="connsiteY34" fmla="*/ 11409 h 27539"/>
                <a:gd name="connsiteX35" fmla="*/ 13377 w 66882"/>
                <a:gd name="connsiteY35" fmla="*/ 14557 h 27539"/>
                <a:gd name="connsiteX36" fmla="*/ 16131 w 66882"/>
                <a:gd name="connsiteY36" fmla="*/ 15737 h 27539"/>
                <a:gd name="connsiteX37" fmla="*/ 13377 w 66882"/>
                <a:gd name="connsiteY37" fmla="*/ 15737 h 27539"/>
                <a:gd name="connsiteX38" fmla="*/ 11409 w 66882"/>
                <a:gd name="connsiteY38" fmla="*/ 12983 h 27539"/>
                <a:gd name="connsiteX39" fmla="*/ 8262 w 66882"/>
                <a:gd name="connsiteY39" fmla="*/ 12983 h 27539"/>
                <a:gd name="connsiteX40" fmla="*/ 5115 w 66882"/>
                <a:gd name="connsiteY40" fmla="*/ 15737 h 27539"/>
                <a:gd name="connsiteX41" fmla="*/ 6688 w 66882"/>
                <a:gd name="connsiteY41" fmla="*/ 18884 h 27539"/>
                <a:gd name="connsiteX42" fmla="*/ 9442 w 66882"/>
                <a:gd name="connsiteY42" fmla="*/ 18491 h 27539"/>
                <a:gd name="connsiteX43" fmla="*/ 11016 w 66882"/>
                <a:gd name="connsiteY43" fmla="*/ 18491 h 27539"/>
                <a:gd name="connsiteX44" fmla="*/ 3541 w 66882"/>
                <a:gd name="connsiteY44" fmla="*/ 19671 h 27539"/>
                <a:gd name="connsiteX45" fmla="*/ 394 w 66882"/>
                <a:gd name="connsiteY45" fmla="*/ 18491 h 27539"/>
                <a:gd name="connsiteX46" fmla="*/ 0 w 66882"/>
                <a:gd name="connsiteY46" fmla="*/ 20458 h 27539"/>
                <a:gd name="connsiteX47" fmla="*/ 1967 w 66882"/>
                <a:gd name="connsiteY47" fmla="*/ 22032 h 27539"/>
                <a:gd name="connsiteX48" fmla="*/ 4721 w 66882"/>
                <a:gd name="connsiteY48" fmla="*/ 21638 h 27539"/>
                <a:gd name="connsiteX49" fmla="*/ 7475 w 66882"/>
                <a:gd name="connsiteY49" fmla="*/ 20852 h 27539"/>
                <a:gd name="connsiteX50" fmla="*/ 10623 w 66882"/>
                <a:gd name="connsiteY50" fmla="*/ 20065 h 27539"/>
                <a:gd name="connsiteX51" fmla="*/ 11016 w 66882"/>
                <a:gd name="connsiteY51" fmla="*/ 19671 h 27539"/>
                <a:gd name="connsiteX52" fmla="*/ 14163 w 66882"/>
                <a:gd name="connsiteY52" fmla="*/ 21245 h 27539"/>
                <a:gd name="connsiteX53" fmla="*/ 17311 w 66882"/>
                <a:gd name="connsiteY53" fmla="*/ 22425 h 27539"/>
                <a:gd name="connsiteX54" fmla="*/ 20458 w 66882"/>
                <a:gd name="connsiteY54" fmla="*/ 21638 h 27539"/>
                <a:gd name="connsiteX55" fmla="*/ 23212 w 66882"/>
                <a:gd name="connsiteY55" fmla="*/ 20065 h 27539"/>
                <a:gd name="connsiteX56" fmla="*/ 24392 w 66882"/>
                <a:gd name="connsiteY56" fmla="*/ 19671 h 27539"/>
                <a:gd name="connsiteX57" fmla="*/ 25573 w 66882"/>
                <a:gd name="connsiteY57" fmla="*/ 20458 h 27539"/>
                <a:gd name="connsiteX58" fmla="*/ 24392 w 66882"/>
                <a:gd name="connsiteY58" fmla="*/ 25966 h 27539"/>
                <a:gd name="connsiteX59" fmla="*/ 27540 w 66882"/>
                <a:gd name="connsiteY59" fmla="*/ 27933 h 27539"/>
                <a:gd name="connsiteX60" fmla="*/ 26360 w 66882"/>
                <a:gd name="connsiteY60" fmla="*/ 25179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66882" h="27539">
                  <a:moveTo>
                    <a:pt x="27933" y="22425"/>
                  </a:moveTo>
                  <a:lnTo>
                    <a:pt x="28720" y="19278"/>
                  </a:lnTo>
                  <a:lnTo>
                    <a:pt x="29507" y="18491"/>
                  </a:lnTo>
                  <a:lnTo>
                    <a:pt x="32261" y="17704"/>
                  </a:lnTo>
                  <a:lnTo>
                    <a:pt x="35408" y="16130"/>
                  </a:lnTo>
                  <a:lnTo>
                    <a:pt x="38556" y="15737"/>
                  </a:lnTo>
                  <a:lnTo>
                    <a:pt x="41703" y="14950"/>
                  </a:lnTo>
                  <a:lnTo>
                    <a:pt x="44457" y="13377"/>
                  </a:lnTo>
                  <a:lnTo>
                    <a:pt x="47605" y="12196"/>
                  </a:lnTo>
                  <a:lnTo>
                    <a:pt x="50752" y="10622"/>
                  </a:lnTo>
                  <a:lnTo>
                    <a:pt x="53506" y="9442"/>
                  </a:lnTo>
                  <a:lnTo>
                    <a:pt x="56654" y="8262"/>
                  </a:lnTo>
                  <a:lnTo>
                    <a:pt x="59801" y="7475"/>
                  </a:lnTo>
                  <a:lnTo>
                    <a:pt x="65702" y="5508"/>
                  </a:lnTo>
                  <a:lnTo>
                    <a:pt x="68850" y="2754"/>
                  </a:lnTo>
                  <a:lnTo>
                    <a:pt x="65702" y="3541"/>
                  </a:lnTo>
                  <a:lnTo>
                    <a:pt x="62948" y="4721"/>
                  </a:lnTo>
                  <a:lnTo>
                    <a:pt x="59801" y="2361"/>
                  </a:lnTo>
                  <a:lnTo>
                    <a:pt x="62948" y="1180"/>
                  </a:lnTo>
                  <a:lnTo>
                    <a:pt x="59801" y="0"/>
                  </a:lnTo>
                  <a:lnTo>
                    <a:pt x="57047" y="1180"/>
                  </a:lnTo>
                  <a:lnTo>
                    <a:pt x="53899" y="2754"/>
                  </a:lnTo>
                  <a:lnTo>
                    <a:pt x="51145" y="3934"/>
                  </a:lnTo>
                  <a:lnTo>
                    <a:pt x="48392" y="6295"/>
                  </a:lnTo>
                  <a:lnTo>
                    <a:pt x="45638" y="5508"/>
                  </a:lnTo>
                  <a:lnTo>
                    <a:pt x="42490" y="5508"/>
                  </a:lnTo>
                  <a:lnTo>
                    <a:pt x="37769" y="5508"/>
                  </a:lnTo>
                  <a:lnTo>
                    <a:pt x="35015" y="5901"/>
                  </a:lnTo>
                  <a:lnTo>
                    <a:pt x="31868" y="6688"/>
                  </a:lnTo>
                  <a:lnTo>
                    <a:pt x="29114" y="9442"/>
                  </a:lnTo>
                  <a:lnTo>
                    <a:pt x="27147" y="11803"/>
                  </a:lnTo>
                  <a:lnTo>
                    <a:pt x="21245" y="9442"/>
                  </a:lnTo>
                  <a:lnTo>
                    <a:pt x="18491" y="11409"/>
                  </a:lnTo>
                  <a:lnTo>
                    <a:pt x="15344" y="10229"/>
                  </a:lnTo>
                  <a:lnTo>
                    <a:pt x="12590" y="11409"/>
                  </a:lnTo>
                  <a:lnTo>
                    <a:pt x="13377" y="14557"/>
                  </a:lnTo>
                  <a:lnTo>
                    <a:pt x="16131" y="15737"/>
                  </a:lnTo>
                  <a:lnTo>
                    <a:pt x="13377" y="15737"/>
                  </a:lnTo>
                  <a:lnTo>
                    <a:pt x="11409" y="12983"/>
                  </a:lnTo>
                  <a:lnTo>
                    <a:pt x="8262" y="12983"/>
                  </a:lnTo>
                  <a:lnTo>
                    <a:pt x="5115" y="15737"/>
                  </a:lnTo>
                  <a:lnTo>
                    <a:pt x="6688" y="18884"/>
                  </a:lnTo>
                  <a:lnTo>
                    <a:pt x="9442" y="18491"/>
                  </a:lnTo>
                  <a:lnTo>
                    <a:pt x="11016" y="18491"/>
                  </a:lnTo>
                  <a:lnTo>
                    <a:pt x="3541" y="19671"/>
                  </a:lnTo>
                  <a:lnTo>
                    <a:pt x="394" y="18491"/>
                  </a:lnTo>
                  <a:lnTo>
                    <a:pt x="0" y="20458"/>
                  </a:lnTo>
                  <a:lnTo>
                    <a:pt x="1967" y="22032"/>
                  </a:lnTo>
                  <a:lnTo>
                    <a:pt x="4721" y="21638"/>
                  </a:lnTo>
                  <a:lnTo>
                    <a:pt x="7475" y="20852"/>
                  </a:lnTo>
                  <a:lnTo>
                    <a:pt x="10623" y="20065"/>
                  </a:lnTo>
                  <a:lnTo>
                    <a:pt x="11016" y="19671"/>
                  </a:lnTo>
                  <a:lnTo>
                    <a:pt x="14163" y="21245"/>
                  </a:lnTo>
                  <a:lnTo>
                    <a:pt x="17311" y="22425"/>
                  </a:lnTo>
                  <a:lnTo>
                    <a:pt x="20458" y="21638"/>
                  </a:lnTo>
                  <a:lnTo>
                    <a:pt x="23212" y="20065"/>
                  </a:lnTo>
                  <a:lnTo>
                    <a:pt x="24392" y="19671"/>
                  </a:lnTo>
                  <a:lnTo>
                    <a:pt x="25573" y="20458"/>
                  </a:lnTo>
                  <a:lnTo>
                    <a:pt x="24392" y="25966"/>
                  </a:lnTo>
                  <a:lnTo>
                    <a:pt x="27540" y="27933"/>
                  </a:lnTo>
                  <a:lnTo>
                    <a:pt x="26360" y="2517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44" name="Freeform: Shape 2638">
              <a:extLst>
                <a:ext uri="{FF2B5EF4-FFF2-40B4-BE49-F238E27FC236}">
                  <a16:creationId xmlns:a16="http://schemas.microsoft.com/office/drawing/2014/main" id="{9AB827F3-019E-4EEF-8741-7482D9C0DEAE}"/>
                </a:ext>
              </a:extLst>
            </p:cNvPr>
            <p:cNvSpPr/>
            <p:nvPr/>
          </p:nvSpPr>
          <p:spPr>
            <a:xfrm>
              <a:off x="3682329" y="1451681"/>
              <a:ext cx="3934" cy="3934"/>
            </a:xfrm>
            <a:custGeom>
              <a:avLst/>
              <a:gdLst>
                <a:gd name="connsiteX0" fmla="*/ 5508 w 3934"/>
                <a:gd name="connsiteY0" fmla="*/ 1967 h 0"/>
                <a:gd name="connsiteX1" fmla="*/ 5901 w 3934"/>
                <a:gd name="connsiteY1" fmla="*/ 0 h 0"/>
                <a:gd name="connsiteX2" fmla="*/ 3147 w 3934"/>
                <a:gd name="connsiteY2" fmla="*/ 393 h 0"/>
                <a:gd name="connsiteX3" fmla="*/ 0 w 3934"/>
                <a:gd name="connsiteY3" fmla="*/ 2361 h 0"/>
                <a:gd name="connsiteX4" fmla="*/ 2754 w 3934"/>
                <a:gd name="connsiteY4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508" y="1967"/>
                  </a:moveTo>
                  <a:lnTo>
                    <a:pt x="5901" y="0"/>
                  </a:lnTo>
                  <a:lnTo>
                    <a:pt x="3147" y="393"/>
                  </a:lnTo>
                  <a:lnTo>
                    <a:pt x="0" y="2361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45" name="Freeform: Shape 2639">
              <a:extLst>
                <a:ext uri="{FF2B5EF4-FFF2-40B4-BE49-F238E27FC236}">
                  <a16:creationId xmlns:a16="http://schemas.microsoft.com/office/drawing/2014/main" id="{5C5EF6DB-6DB6-4D53-BDDD-5F7A0F8BA3FE}"/>
                </a:ext>
              </a:extLst>
            </p:cNvPr>
            <p:cNvSpPr/>
            <p:nvPr/>
          </p:nvSpPr>
          <p:spPr>
            <a:xfrm>
              <a:off x="3630396" y="1462697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3147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46" name="Freeform: Shape 2640">
              <a:extLst>
                <a:ext uri="{FF2B5EF4-FFF2-40B4-BE49-F238E27FC236}">
                  <a16:creationId xmlns:a16="http://schemas.microsoft.com/office/drawing/2014/main" id="{1B757AF8-8F54-4C81-90F0-4F539A3D11F2}"/>
                </a:ext>
              </a:extLst>
            </p:cNvPr>
            <p:cNvSpPr/>
            <p:nvPr/>
          </p:nvSpPr>
          <p:spPr>
            <a:xfrm>
              <a:off x="3593808" y="1470959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3147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3147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47" name="Freeform: Shape 2641">
              <a:extLst>
                <a:ext uri="{FF2B5EF4-FFF2-40B4-BE49-F238E27FC236}">
                  <a16:creationId xmlns:a16="http://schemas.microsoft.com/office/drawing/2014/main" id="{21DDECF1-5635-412C-89AD-D2AA1813FB36}"/>
                </a:ext>
              </a:extLst>
            </p:cNvPr>
            <p:cNvSpPr/>
            <p:nvPr/>
          </p:nvSpPr>
          <p:spPr>
            <a:xfrm>
              <a:off x="3594201" y="1468599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787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787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48" name="Freeform: Shape 2642">
              <a:extLst>
                <a:ext uri="{FF2B5EF4-FFF2-40B4-BE49-F238E27FC236}">
                  <a16:creationId xmlns:a16="http://schemas.microsoft.com/office/drawing/2014/main" id="{845F8EA7-CF0D-469E-BA21-DA3AB8448A27}"/>
                </a:ext>
              </a:extLst>
            </p:cNvPr>
            <p:cNvSpPr/>
            <p:nvPr/>
          </p:nvSpPr>
          <p:spPr>
            <a:xfrm>
              <a:off x="3607971" y="1469779"/>
              <a:ext cx="3934" cy="3934"/>
            </a:xfrm>
            <a:custGeom>
              <a:avLst/>
              <a:gdLst>
                <a:gd name="connsiteX0" fmla="*/ 0 w 3934"/>
                <a:gd name="connsiteY0" fmla="*/ 787 h 0"/>
                <a:gd name="connsiteX1" fmla="*/ 3148 w 3934"/>
                <a:gd name="connsiteY1" fmla="*/ 787 h 0"/>
                <a:gd name="connsiteX2" fmla="*/ 5901 w 3934"/>
                <a:gd name="connsiteY2" fmla="*/ 393 h 0"/>
                <a:gd name="connsiteX3" fmla="*/ 5901 w 3934"/>
                <a:gd name="connsiteY3" fmla="*/ 0 h 0"/>
                <a:gd name="connsiteX4" fmla="*/ 2754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787"/>
                  </a:moveTo>
                  <a:lnTo>
                    <a:pt x="3148" y="787"/>
                  </a:lnTo>
                  <a:lnTo>
                    <a:pt x="5901" y="393"/>
                  </a:lnTo>
                  <a:lnTo>
                    <a:pt x="5901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49" name="Freeform: Shape 2643">
              <a:extLst>
                <a:ext uri="{FF2B5EF4-FFF2-40B4-BE49-F238E27FC236}">
                  <a16:creationId xmlns:a16="http://schemas.microsoft.com/office/drawing/2014/main" id="{0F370729-8EE8-43E7-A569-9F81C570BBCE}"/>
                </a:ext>
              </a:extLst>
            </p:cNvPr>
            <p:cNvSpPr/>
            <p:nvPr/>
          </p:nvSpPr>
          <p:spPr>
            <a:xfrm>
              <a:off x="3658723" y="1458763"/>
              <a:ext cx="3934" cy="3934"/>
            </a:xfrm>
            <a:custGeom>
              <a:avLst/>
              <a:gdLst>
                <a:gd name="connsiteX0" fmla="*/ 6295 w 3934"/>
                <a:gd name="connsiteY0" fmla="*/ 0 h 0"/>
                <a:gd name="connsiteX1" fmla="*/ 3147 w 3934"/>
                <a:gd name="connsiteY1" fmla="*/ 393 h 0"/>
                <a:gd name="connsiteX2" fmla="*/ 0 w 3934"/>
                <a:gd name="connsiteY2" fmla="*/ 2361 h 0"/>
                <a:gd name="connsiteX3" fmla="*/ 2754 w 3934"/>
                <a:gd name="connsiteY3" fmla="*/ 1180 h 0"/>
                <a:gd name="connsiteX4" fmla="*/ 5901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0"/>
                  </a:moveTo>
                  <a:lnTo>
                    <a:pt x="3147" y="393"/>
                  </a:lnTo>
                  <a:lnTo>
                    <a:pt x="0" y="2361"/>
                  </a:lnTo>
                  <a:lnTo>
                    <a:pt x="2754" y="1180"/>
                  </a:lnTo>
                  <a:lnTo>
                    <a:pt x="590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50" name="Freeform: Shape 2644">
              <a:extLst>
                <a:ext uri="{FF2B5EF4-FFF2-40B4-BE49-F238E27FC236}">
                  <a16:creationId xmlns:a16="http://schemas.microsoft.com/office/drawing/2014/main" id="{A5E43A7A-20FF-4DF0-9170-13FDE176A5D7}"/>
                </a:ext>
              </a:extLst>
            </p:cNvPr>
            <p:cNvSpPr/>
            <p:nvPr/>
          </p:nvSpPr>
          <p:spPr>
            <a:xfrm>
              <a:off x="3661084" y="1468992"/>
              <a:ext cx="7869" cy="3934"/>
            </a:xfrm>
            <a:custGeom>
              <a:avLst/>
              <a:gdLst>
                <a:gd name="connsiteX0" fmla="*/ 5508 w 7868"/>
                <a:gd name="connsiteY0" fmla="*/ 1967 h 0"/>
                <a:gd name="connsiteX1" fmla="*/ 8655 w 7868"/>
                <a:gd name="connsiteY1" fmla="*/ 393 h 0"/>
                <a:gd name="connsiteX2" fmla="*/ 8655 w 7868"/>
                <a:gd name="connsiteY2" fmla="*/ 0 h 0"/>
                <a:gd name="connsiteX3" fmla="*/ 5508 w 7868"/>
                <a:gd name="connsiteY3" fmla="*/ 1180 h 0"/>
                <a:gd name="connsiteX4" fmla="*/ 2754 w 7868"/>
                <a:gd name="connsiteY4" fmla="*/ 1967 h 0"/>
                <a:gd name="connsiteX5" fmla="*/ 0 w 7868"/>
                <a:gd name="connsiteY5" fmla="*/ 3147 h 0"/>
                <a:gd name="connsiteX6" fmla="*/ 2754 w 7868"/>
                <a:gd name="connsiteY6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5508" y="1967"/>
                  </a:moveTo>
                  <a:lnTo>
                    <a:pt x="8655" y="393"/>
                  </a:lnTo>
                  <a:lnTo>
                    <a:pt x="8655" y="0"/>
                  </a:lnTo>
                  <a:lnTo>
                    <a:pt x="5508" y="1180"/>
                  </a:lnTo>
                  <a:lnTo>
                    <a:pt x="2754" y="1967"/>
                  </a:lnTo>
                  <a:lnTo>
                    <a:pt x="0" y="3147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51" name="Freeform: Shape 2645">
              <a:extLst>
                <a:ext uri="{FF2B5EF4-FFF2-40B4-BE49-F238E27FC236}">
                  <a16:creationId xmlns:a16="http://schemas.microsoft.com/office/drawing/2014/main" id="{C6EA0917-FC3A-4A73-8587-7A9307ADB197}"/>
                </a:ext>
              </a:extLst>
            </p:cNvPr>
            <p:cNvSpPr/>
            <p:nvPr/>
          </p:nvSpPr>
          <p:spPr>
            <a:xfrm>
              <a:off x="3680755" y="1466238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3148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3148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52" name="Freeform: Shape 2646">
              <a:extLst>
                <a:ext uri="{FF2B5EF4-FFF2-40B4-BE49-F238E27FC236}">
                  <a16:creationId xmlns:a16="http://schemas.microsoft.com/office/drawing/2014/main" id="{F415E308-E56D-4B49-A53D-8680C2D8510B}"/>
                </a:ext>
              </a:extLst>
            </p:cNvPr>
            <p:cNvSpPr/>
            <p:nvPr/>
          </p:nvSpPr>
          <p:spPr>
            <a:xfrm>
              <a:off x="3685870" y="1463484"/>
              <a:ext cx="7869" cy="3934"/>
            </a:xfrm>
            <a:custGeom>
              <a:avLst/>
              <a:gdLst>
                <a:gd name="connsiteX0" fmla="*/ 5901 w 7868"/>
                <a:gd name="connsiteY0" fmla="*/ 1967 h 0"/>
                <a:gd name="connsiteX1" fmla="*/ 7082 w 7868"/>
                <a:gd name="connsiteY1" fmla="*/ 1967 h 0"/>
                <a:gd name="connsiteX2" fmla="*/ 10229 w 7868"/>
                <a:gd name="connsiteY2" fmla="*/ 0 h 0"/>
                <a:gd name="connsiteX3" fmla="*/ 7082 w 7868"/>
                <a:gd name="connsiteY3" fmla="*/ 787 h 0"/>
                <a:gd name="connsiteX4" fmla="*/ 5901 w 7868"/>
                <a:gd name="connsiteY4" fmla="*/ 1180 h 0"/>
                <a:gd name="connsiteX5" fmla="*/ 3147 w 7868"/>
                <a:gd name="connsiteY5" fmla="*/ 1967 h 0"/>
                <a:gd name="connsiteX6" fmla="*/ 0 w 7868"/>
                <a:gd name="connsiteY6" fmla="*/ 2754 h 0"/>
                <a:gd name="connsiteX7" fmla="*/ 3147 w 7868"/>
                <a:gd name="connsiteY7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>
                  <a:moveTo>
                    <a:pt x="5901" y="1967"/>
                  </a:moveTo>
                  <a:lnTo>
                    <a:pt x="7082" y="1967"/>
                  </a:lnTo>
                  <a:lnTo>
                    <a:pt x="10229" y="0"/>
                  </a:lnTo>
                  <a:lnTo>
                    <a:pt x="7082" y="787"/>
                  </a:lnTo>
                  <a:lnTo>
                    <a:pt x="5901" y="1180"/>
                  </a:lnTo>
                  <a:lnTo>
                    <a:pt x="3147" y="1967"/>
                  </a:lnTo>
                  <a:lnTo>
                    <a:pt x="0" y="2754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53" name="Freeform: Shape 2647">
              <a:extLst>
                <a:ext uri="{FF2B5EF4-FFF2-40B4-BE49-F238E27FC236}">
                  <a16:creationId xmlns:a16="http://schemas.microsoft.com/office/drawing/2014/main" id="{910D53E8-1740-4522-8476-7B565C2E7ED0}"/>
                </a:ext>
              </a:extLst>
            </p:cNvPr>
            <p:cNvSpPr/>
            <p:nvPr/>
          </p:nvSpPr>
          <p:spPr>
            <a:xfrm>
              <a:off x="3904221" y="1432797"/>
              <a:ext cx="3934" cy="3934"/>
            </a:xfrm>
            <a:custGeom>
              <a:avLst/>
              <a:gdLst>
                <a:gd name="connsiteX0" fmla="*/ 0 w 3934"/>
                <a:gd name="connsiteY0" fmla="*/ 3147 h 0"/>
                <a:gd name="connsiteX1" fmla="*/ 3147 w 3934"/>
                <a:gd name="connsiteY1" fmla="*/ 2754 h 0"/>
                <a:gd name="connsiteX2" fmla="*/ 6295 w 3934"/>
                <a:gd name="connsiteY2" fmla="*/ 0 h 0"/>
                <a:gd name="connsiteX3" fmla="*/ 6295 w 3934"/>
                <a:gd name="connsiteY3" fmla="*/ 0 h 0"/>
                <a:gd name="connsiteX4" fmla="*/ 3147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3147"/>
                  </a:moveTo>
                  <a:lnTo>
                    <a:pt x="3147" y="2754"/>
                  </a:lnTo>
                  <a:lnTo>
                    <a:pt x="6295" y="0"/>
                  </a:lnTo>
                  <a:lnTo>
                    <a:pt x="6295" y="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54" name="Freeform: Shape 2648">
              <a:extLst>
                <a:ext uri="{FF2B5EF4-FFF2-40B4-BE49-F238E27FC236}">
                  <a16:creationId xmlns:a16="http://schemas.microsoft.com/office/drawing/2014/main" id="{9182F6DE-9D0C-407F-A51F-24CE8B496E8C}"/>
                </a:ext>
              </a:extLst>
            </p:cNvPr>
            <p:cNvSpPr/>
            <p:nvPr/>
          </p:nvSpPr>
          <p:spPr>
            <a:xfrm>
              <a:off x="3923499" y="1421781"/>
              <a:ext cx="3934" cy="3934"/>
            </a:xfrm>
            <a:custGeom>
              <a:avLst/>
              <a:gdLst>
                <a:gd name="connsiteX0" fmla="*/ 5901 w 3934"/>
                <a:gd name="connsiteY0" fmla="*/ 2361 h 3934"/>
                <a:gd name="connsiteX1" fmla="*/ 6295 w 3934"/>
                <a:gd name="connsiteY1" fmla="*/ 1574 h 3934"/>
                <a:gd name="connsiteX2" fmla="*/ 3147 w 3934"/>
                <a:gd name="connsiteY2" fmla="*/ 0 h 3934"/>
                <a:gd name="connsiteX3" fmla="*/ 0 w 3934"/>
                <a:gd name="connsiteY3" fmla="*/ 2361 h 3934"/>
                <a:gd name="connsiteX4" fmla="*/ 0 w 3934"/>
                <a:gd name="connsiteY4" fmla="*/ 5115 h 3934"/>
                <a:gd name="connsiteX5" fmla="*/ 3147 w 3934"/>
                <a:gd name="connsiteY5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5901" y="2361"/>
                  </a:moveTo>
                  <a:lnTo>
                    <a:pt x="6295" y="1574"/>
                  </a:lnTo>
                  <a:lnTo>
                    <a:pt x="3147" y="0"/>
                  </a:lnTo>
                  <a:lnTo>
                    <a:pt x="0" y="2361"/>
                  </a:lnTo>
                  <a:lnTo>
                    <a:pt x="0" y="5115"/>
                  </a:lnTo>
                  <a:lnTo>
                    <a:pt x="3147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55" name="Freeform: Shape 2649">
              <a:extLst>
                <a:ext uri="{FF2B5EF4-FFF2-40B4-BE49-F238E27FC236}">
                  <a16:creationId xmlns:a16="http://schemas.microsoft.com/office/drawing/2014/main" id="{7925EF4F-1735-4362-87FF-DDE357C3F55D}"/>
                </a:ext>
              </a:extLst>
            </p:cNvPr>
            <p:cNvSpPr/>
            <p:nvPr/>
          </p:nvSpPr>
          <p:spPr>
            <a:xfrm>
              <a:off x="3915631" y="1456796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275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56" name="Freeform: Shape 2650">
              <a:extLst>
                <a:ext uri="{FF2B5EF4-FFF2-40B4-BE49-F238E27FC236}">
                  <a16:creationId xmlns:a16="http://schemas.microsoft.com/office/drawing/2014/main" id="{9F417BBD-223E-4FF8-A848-FA35FA7B99C3}"/>
                </a:ext>
              </a:extLst>
            </p:cNvPr>
            <p:cNvSpPr/>
            <p:nvPr/>
          </p:nvSpPr>
          <p:spPr>
            <a:xfrm>
              <a:off x="3813340" y="1461517"/>
              <a:ext cx="3934" cy="3934"/>
            </a:xfrm>
            <a:custGeom>
              <a:avLst/>
              <a:gdLst>
                <a:gd name="connsiteX0" fmla="*/ 0 w 3934"/>
                <a:gd name="connsiteY0" fmla="*/ 3934 h 3934"/>
                <a:gd name="connsiteX1" fmla="*/ 3147 w 3934"/>
                <a:gd name="connsiteY1" fmla="*/ 2361 h 3934"/>
                <a:gd name="connsiteX2" fmla="*/ 6295 w 3934"/>
                <a:gd name="connsiteY2" fmla="*/ 393 h 3934"/>
                <a:gd name="connsiteX3" fmla="*/ 5901 w 3934"/>
                <a:gd name="connsiteY3" fmla="*/ 0 h 3934"/>
                <a:gd name="connsiteX4" fmla="*/ 3147 w 3934"/>
                <a:gd name="connsiteY4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3934"/>
                  </a:moveTo>
                  <a:lnTo>
                    <a:pt x="3147" y="2361"/>
                  </a:lnTo>
                  <a:lnTo>
                    <a:pt x="6295" y="393"/>
                  </a:lnTo>
                  <a:lnTo>
                    <a:pt x="5901" y="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57" name="Freeform: Shape 2651">
              <a:extLst>
                <a:ext uri="{FF2B5EF4-FFF2-40B4-BE49-F238E27FC236}">
                  <a16:creationId xmlns:a16="http://schemas.microsoft.com/office/drawing/2014/main" id="{12921022-7045-454E-99BA-94988F93B2DF}"/>
                </a:ext>
              </a:extLst>
            </p:cNvPr>
            <p:cNvSpPr/>
            <p:nvPr/>
          </p:nvSpPr>
          <p:spPr>
            <a:xfrm>
              <a:off x="3723245" y="1465451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180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18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58" name="Freeform: Shape 2652">
              <a:extLst>
                <a:ext uri="{FF2B5EF4-FFF2-40B4-BE49-F238E27FC236}">
                  <a16:creationId xmlns:a16="http://schemas.microsoft.com/office/drawing/2014/main" id="{5279D89F-EC1F-4CAA-83AA-B684743CB1E3}"/>
                </a:ext>
              </a:extLst>
            </p:cNvPr>
            <p:cNvSpPr/>
            <p:nvPr/>
          </p:nvSpPr>
          <p:spPr>
            <a:xfrm>
              <a:off x="3751965" y="1461517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787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787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59" name="Freeform: Shape 2653">
              <a:extLst>
                <a:ext uri="{FF2B5EF4-FFF2-40B4-BE49-F238E27FC236}">
                  <a16:creationId xmlns:a16="http://schemas.microsoft.com/office/drawing/2014/main" id="{6081D2E1-4C71-4E54-BC1F-8C24C0D69E97}"/>
                </a:ext>
              </a:extLst>
            </p:cNvPr>
            <p:cNvSpPr/>
            <p:nvPr/>
          </p:nvSpPr>
          <p:spPr>
            <a:xfrm>
              <a:off x="3727179" y="1464664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60" name="Freeform: Shape 2654">
              <a:extLst>
                <a:ext uri="{FF2B5EF4-FFF2-40B4-BE49-F238E27FC236}">
                  <a16:creationId xmlns:a16="http://schemas.microsoft.com/office/drawing/2014/main" id="{23294BD9-5A38-4AC7-BC39-5046534ABA4D}"/>
                </a:ext>
              </a:extLst>
            </p:cNvPr>
            <p:cNvSpPr/>
            <p:nvPr/>
          </p:nvSpPr>
          <p:spPr>
            <a:xfrm>
              <a:off x="3724425" y="1460730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2754" y="0"/>
                  </a:lnTo>
                  <a:lnTo>
                    <a:pt x="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61" name="Freeform: Shape 2655">
              <a:extLst>
                <a:ext uri="{FF2B5EF4-FFF2-40B4-BE49-F238E27FC236}">
                  <a16:creationId xmlns:a16="http://schemas.microsoft.com/office/drawing/2014/main" id="{2034EF11-12CD-4AFE-9E92-D5767657C5E7}"/>
                </a:ext>
              </a:extLst>
            </p:cNvPr>
            <p:cNvSpPr/>
            <p:nvPr/>
          </p:nvSpPr>
          <p:spPr>
            <a:xfrm>
              <a:off x="3697279" y="1460337"/>
              <a:ext cx="7869" cy="3934"/>
            </a:xfrm>
            <a:custGeom>
              <a:avLst/>
              <a:gdLst>
                <a:gd name="connsiteX0" fmla="*/ 8655 w 7868"/>
                <a:gd name="connsiteY0" fmla="*/ 0 h 0"/>
                <a:gd name="connsiteX1" fmla="*/ 5901 w 7868"/>
                <a:gd name="connsiteY1" fmla="*/ 787 h 0"/>
                <a:gd name="connsiteX2" fmla="*/ 2754 w 7868"/>
                <a:gd name="connsiteY2" fmla="*/ 1967 h 0"/>
                <a:gd name="connsiteX3" fmla="*/ 0 w 7868"/>
                <a:gd name="connsiteY3" fmla="*/ 3147 h 0"/>
                <a:gd name="connsiteX4" fmla="*/ 2754 w 7868"/>
                <a:gd name="connsiteY4" fmla="*/ 2754 h 0"/>
                <a:gd name="connsiteX5" fmla="*/ 5901 w 7868"/>
                <a:gd name="connsiteY5" fmla="*/ 1180 h 0"/>
                <a:gd name="connsiteX6" fmla="*/ 8655 w 7868"/>
                <a:gd name="connsiteY6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8655" y="0"/>
                  </a:moveTo>
                  <a:lnTo>
                    <a:pt x="5901" y="787"/>
                  </a:lnTo>
                  <a:lnTo>
                    <a:pt x="2754" y="1967"/>
                  </a:lnTo>
                  <a:lnTo>
                    <a:pt x="0" y="3147"/>
                  </a:lnTo>
                  <a:lnTo>
                    <a:pt x="2754" y="2754"/>
                  </a:lnTo>
                  <a:lnTo>
                    <a:pt x="5901" y="1180"/>
                  </a:lnTo>
                  <a:lnTo>
                    <a:pt x="8655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62" name="Freeform: Shape 2656">
              <a:extLst>
                <a:ext uri="{FF2B5EF4-FFF2-40B4-BE49-F238E27FC236}">
                  <a16:creationId xmlns:a16="http://schemas.microsoft.com/office/drawing/2014/main" id="{3D03B9DD-7B30-4F47-A1A8-712F4C2C2D27}"/>
                </a:ext>
              </a:extLst>
            </p:cNvPr>
            <p:cNvSpPr/>
            <p:nvPr/>
          </p:nvSpPr>
          <p:spPr>
            <a:xfrm>
              <a:off x="3701213" y="1473320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2754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2754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63" name="Freeform: Shape 2657">
              <a:extLst>
                <a:ext uri="{FF2B5EF4-FFF2-40B4-BE49-F238E27FC236}">
                  <a16:creationId xmlns:a16="http://schemas.microsoft.com/office/drawing/2014/main" id="{A233D0BD-2875-476D-8705-11516EBB380B}"/>
                </a:ext>
              </a:extLst>
            </p:cNvPr>
            <p:cNvSpPr/>
            <p:nvPr/>
          </p:nvSpPr>
          <p:spPr>
            <a:xfrm>
              <a:off x="3701607" y="1465058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2361 h 0"/>
                <a:gd name="connsiteX2" fmla="*/ 314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2361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64" name="Freeform: Shape 2658">
              <a:extLst>
                <a:ext uri="{FF2B5EF4-FFF2-40B4-BE49-F238E27FC236}">
                  <a16:creationId xmlns:a16="http://schemas.microsoft.com/office/drawing/2014/main" id="{AADBF70A-64F2-4772-9173-DF9A5709CE3F}"/>
                </a:ext>
              </a:extLst>
            </p:cNvPr>
            <p:cNvSpPr/>
            <p:nvPr/>
          </p:nvSpPr>
          <p:spPr>
            <a:xfrm>
              <a:off x="3707901" y="1468205"/>
              <a:ext cx="3934" cy="3934"/>
            </a:xfrm>
            <a:custGeom>
              <a:avLst/>
              <a:gdLst>
                <a:gd name="connsiteX0" fmla="*/ 3147 w 3934"/>
                <a:gd name="connsiteY0" fmla="*/ 0 h 0"/>
                <a:gd name="connsiteX1" fmla="*/ 0 w 3934"/>
                <a:gd name="connsiteY1" fmla="*/ 1967 h 0"/>
                <a:gd name="connsiteX2" fmla="*/ 2754 w 3934"/>
                <a:gd name="connsiteY2" fmla="*/ 3147 h 0"/>
                <a:gd name="connsiteX3" fmla="*/ 4328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147" y="0"/>
                  </a:moveTo>
                  <a:lnTo>
                    <a:pt x="0" y="1967"/>
                  </a:lnTo>
                  <a:lnTo>
                    <a:pt x="2754" y="3147"/>
                  </a:lnTo>
                  <a:lnTo>
                    <a:pt x="432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65" name="Freeform: Shape 2659">
              <a:extLst>
                <a:ext uri="{FF2B5EF4-FFF2-40B4-BE49-F238E27FC236}">
                  <a16:creationId xmlns:a16="http://schemas.microsoft.com/office/drawing/2014/main" id="{6EA9DD6E-506B-44C8-8610-B1B3A0A1CD2C}"/>
                </a:ext>
              </a:extLst>
            </p:cNvPr>
            <p:cNvSpPr/>
            <p:nvPr/>
          </p:nvSpPr>
          <p:spPr>
            <a:xfrm>
              <a:off x="3710656" y="1480401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2361 h 0"/>
                <a:gd name="connsiteX2" fmla="*/ 314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2361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66" name="Freeform: Shape 2660">
              <a:extLst>
                <a:ext uri="{FF2B5EF4-FFF2-40B4-BE49-F238E27FC236}">
                  <a16:creationId xmlns:a16="http://schemas.microsoft.com/office/drawing/2014/main" id="{FE05644D-BE0B-4840-8354-6CF0C54F6C63}"/>
                </a:ext>
              </a:extLst>
            </p:cNvPr>
            <p:cNvSpPr/>
            <p:nvPr/>
          </p:nvSpPr>
          <p:spPr>
            <a:xfrm>
              <a:off x="3712229" y="1480401"/>
              <a:ext cx="3934" cy="3934"/>
            </a:xfrm>
            <a:custGeom>
              <a:avLst/>
              <a:gdLst>
                <a:gd name="connsiteX0" fmla="*/ 4721 w 3934"/>
                <a:gd name="connsiteY0" fmla="*/ 0 h 0"/>
                <a:gd name="connsiteX1" fmla="*/ 3148 w 3934"/>
                <a:gd name="connsiteY1" fmla="*/ 1180 h 0"/>
                <a:gd name="connsiteX2" fmla="*/ 0 w 3934"/>
                <a:gd name="connsiteY2" fmla="*/ 3147 h 0"/>
                <a:gd name="connsiteX3" fmla="*/ 3148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4721" y="0"/>
                  </a:moveTo>
                  <a:lnTo>
                    <a:pt x="3148" y="1180"/>
                  </a:lnTo>
                  <a:lnTo>
                    <a:pt x="0" y="3147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67" name="Freeform: Shape 2661">
              <a:extLst>
                <a:ext uri="{FF2B5EF4-FFF2-40B4-BE49-F238E27FC236}">
                  <a16:creationId xmlns:a16="http://schemas.microsoft.com/office/drawing/2014/main" id="{46A56847-9B43-4C38-8638-AFB5DD39909B}"/>
                </a:ext>
              </a:extLst>
            </p:cNvPr>
            <p:cNvSpPr/>
            <p:nvPr/>
          </p:nvSpPr>
          <p:spPr>
            <a:xfrm>
              <a:off x="3716163" y="1477254"/>
              <a:ext cx="7869" cy="3934"/>
            </a:xfrm>
            <a:custGeom>
              <a:avLst/>
              <a:gdLst>
                <a:gd name="connsiteX0" fmla="*/ 5901 w 7868"/>
                <a:gd name="connsiteY0" fmla="*/ 3541 h 3934"/>
                <a:gd name="connsiteX1" fmla="*/ 7869 w 7868"/>
                <a:gd name="connsiteY1" fmla="*/ 787 h 3934"/>
                <a:gd name="connsiteX2" fmla="*/ 5115 w 7868"/>
                <a:gd name="connsiteY2" fmla="*/ 0 h 3934"/>
                <a:gd name="connsiteX3" fmla="*/ 3148 w 7868"/>
                <a:gd name="connsiteY3" fmla="*/ 3147 h 3934"/>
                <a:gd name="connsiteX4" fmla="*/ 0 w 7868"/>
                <a:gd name="connsiteY4" fmla="*/ 5901 h 3934"/>
                <a:gd name="connsiteX5" fmla="*/ 3148 w 7868"/>
                <a:gd name="connsiteY5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5901" y="3541"/>
                  </a:moveTo>
                  <a:lnTo>
                    <a:pt x="7869" y="787"/>
                  </a:lnTo>
                  <a:lnTo>
                    <a:pt x="5115" y="0"/>
                  </a:lnTo>
                  <a:lnTo>
                    <a:pt x="3148" y="3147"/>
                  </a:lnTo>
                  <a:lnTo>
                    <a:pt x="0" y="5901"/>
                  </a:lnTo>
                  <a:lnTo>
                    <a:pt x="3148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68" name="Freeform: Shape 2662">
              <a:extLst>
                <a:ext uri="{FF2B5EF4-FFF2-40B4-BE49-F238E27FC236}">
                  <a16:creationId xmlns:a16="http://schemas.microsoft.com/office/drawing/2014/main" id="{11AE64E9-07D6-4EAC-A43F-AE2DC2B66502}"/>
                </a:ext>
              </a:extLst>
            </p:cNvPr>
            <p:cNvSpPr/>
            <p:nvPr/>
          </p:nvSpPr>
          <p:spPr>
            <a:xfrm>
              <a:off x="3725212" y="1468205"/>
              <a:ext cx="3934" cy="3934"/>
            </a:xfrm>
            <a:custGeom>
              <a:avLst/>
              <a:gdLst>
                <a:gd name="connsiteX0" fmla="*/ 6295 w 3934"/>
                <a:gd name="connsiteY0" fmla="*/ 1180 h 0"/>
                <a:gd name="connsiteX1" fmla="*/ 6295 w 3934"/>
                <a:gd name="connsiteY1" fmla="*/ 0 h 0"/>
                <a:gd name="connsiteX2" fmla="*/ 3147 w 3934"/>
                <a:gd name="connsiteY2" fmla="*/ 787 h 0"/>
                <a:gd name="connsiteX3" fmla="*/ 0 w 3934"/>
                <a:gd name="connsiteY3" fmla="*/ 3147 h 0"/>
                <a:gd name="connsiteX4" fmla="*/ 3147 w 3934"/>
                <a:gd name="connsiteY4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1180"/>
                  </a:moveTo>
                  <a:lnTo>
                    <a:pt x="6295" y="0"/>
                  </a:lnTo>
                  <a:lnTo>
                    <a:pt x="3147" y="787"/>
                  </a:lnTo>
                  <a:lnTo>
                    <a:pt x="0" y="3147"/>
                  </a:lnTo>
                  <a:lnTo>
                    <a:pt x="314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69" name="Freeform: Shape 2663">
              <a:extLst>
                <a:ext uri="{FF2B5EF4-FFF2-40B4-BE49-F238E27FC236}">
                  <a16:creationId xmlns:a16="http://schemas.microsoft.com/office/drawing/2014/main" id="{B35A0157-ACD6-4403-A31C-0036918A31E5}"/>
                </a:ext>
              </a:extLst>
            </p:cNvPr>
            <p:cNvSpPr/>
            <p:nvPr/>
          </p:nvSpPr>
          <p:spPr>
            <a:xfrm>
              <a:off x="3814127" y="1450894"/>
              <a:ext cx="11803" cy="3934"/>
            </a:xfrm>
            <a:custGeom>
              <a:avLst/>
              <a:gdLst>
                <a:gd name="connsiteX0" fmla="*/ 9049 w 11802"/>
                <a:gd name="connsiteY0" fmla="*/ 5115 h 3934"/>
                <a:gd name="connsiteX1" fmla="*/ 12196 w 11802"/>
                <a:gd name="connsiteY1" fmla="*/ 3147 h 3934"/>
                <a:gd name="connsiteX2" fmla="*/ 9442 w 11802"/>
                <a:gd name="connsiteY2" fmla="*/ 393 h 3934"/>
                <a:gd name="connsiteX3" fmla="*/ 9049 w 11802"/>
                <a:gd name="connsiteY3" fmla="*/ 0 h 3934"/>
                <a:gd name="connsiteX4" fmla="*/ 3147 w 11802"/>
                <a:gd name="connsiteY4" fmla="*/ 0 h 3934"/>
                <a:gd name="connsiteX5" fmla="*/ 0 w 11802"/>
                <a:gd name="connsiteY5" fmla="*/ 1967 h 3934"/>
                <a:gd name="connsiteX6" fmla="*/ 3147 w 11802"/>
                <a:gd name="connsiteY6" fmla="*/ 4328 h 3934"/>
                <a:gd name="connsiteX7" fmla="*/ 6295 w 11802"/>
                <a:gd name="connsiteY7" fmla="*/ 511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 h="3934">
                  <a:moveTo>
                    <a:pt x="9049" y="5115"/>
                  </a:moveTo>
                  <a:lnTo>
                    <a:pt x="12196" y="3147"/>
                  </a:lnTo>
                  <a:lnTo>
                    <a:pt x="9442" y="393"/>
                  </a:lnTo>
                  <a:lnTo>
                    <a:pt x="9049" y="0"/>
                  </a:lnTo>
                  <a:lnTo>
                    <a:pt x="3147" y="0"/>
                  </a:lnTo>
                  <a:lnTo>
                    <a:pt x="0" y="1967"/>
                  </a:lnTo>
                  <a:lnTo>
                    <a:pt x="3147" y="4328"/>
                  </a:lnTo>
                  <a:lnTo>
                    <a:pt x="6295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70" name="Freeform: Shape 2664">
              <a:extLst>
                <a:ext uri="{FF2B5EF4-FFF2-40B4-BE49-F238E27FC236}">
                  <a16:creationId xmlns:a16="http://schemas.microsoft.com/office/drawing/2014/main" id="{A073AFCD-B6E3-4096-9FEB-325D43EF88F9}"/>
                </a:ext>
              </a:extLst>
            </p:cNvPr>
            <p:cNvSpPr/>
            <p:nvPr/>
          </p:nvSpPr>
          <p:spPr>
            <a:xfrm>
              <a:off x="3880222" y="1444206"/>
              <a:ext cx="11803" cy="3934"/>
            </a:xfrm>
            <a:custGeom>
              <a:avLst/>
              <a:gdLst>
                <a:gd name="connsiteX0" fmla="*/ 8655 w 11802"/>
                <a:gd name="connsiteY0" fmla="*/ 0 h 3934"/>
                <a:gd name="connsiteX1" fmla="*/ 5901 w 11802"/>
                <a:gd name="connsiteY1" fmla="*/ 1574 h 3934"/>
                <a:gd name="connsiteX2" fmla="*/ 2754 w 11802"/>
                <a:gd name="connsiteY2" fmla="*/ 2361 h 3934"/>
                <a:gd name="connsiteX3" fmla="*/ 0 w 11802"/>
                <a:gd name="connsiteY3" fmla="*/ 4721 h 3934"/>
                <a:gd name="connsiteX4" fmla="*/ 2754 w 11802"/>
                <a:gd name="connsiteY4" fmla="*/ 5901 h 3934"/>
                <a:gd name="connsiteX5" fmla="*/ 5901 w 11802"/>
                <a:gd name="connsiteY5" fmla="*/ 7082 h 3934"/>
                <a:gd name="connsiteX6" fmla="*/ 9049 w 11802"/>
                <a:gd name="connsiteY6" fmla="*/ 4721 h 3934"/>
                <a:gd name="connsiteX7" fmla="*/ 11803 w 11802"/>
                <a:gd name="connsiteY7" fmla="*/ 3934 h 3934"/>
                <a:gd name="connsiteX8" fmla="*/ 14557 w 11802"/>
                <a:gd name="connsiteY8" fmla="*/ 1180 h 3934"/>
                <a:gd name="connsiteX9" fmla="*/ 14557 w 11802"/>
                <a:gd name="connsiteY9" fmla="*/ 787 h 3934"/>
                <a:gd name="connsiteX10" fmla="*/ 11803 w 11802"/>
                <a:gd name="connsiteY10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3934">
                  <a:moveTo>
                    <a:pt x="8655" y="0"/>
                  </a:moveTo>
                  <a:lnTo>
                    <a:pt x="5901" y="1574"/>
                  </a:lnTo>
                  <a:lnTo>
                    <a:pt x="2754" y="2361"/>
                  </a:lnTo>
                  <a:lnTo>
                    <a:pt x="0" y="4721"/>
                  </a:lnTo>
                  <a:lnTo>
                    <a:pt x="2754" y="5901"/>
                  </a:lnTo>
                  <a:lnTo>
                    <a:pt x="5901" y="7082"/>
                  </a:lnTo>
                  <a:lnTo>
                    <a:pt x="9049" y="4721"/>
                  </a:lnTo>
                  <a:lnTo>
                    <a:pt x="11803" y="3934"/>
                  </a:lnTo>
                  <a:lnTo>
                    <a:pt x="14557" y="1180"/>
                  </a:lnTo>
                  <a:lnTo>
                    <a:pt x="14557" y="787"/>
                  </a:lnTo>
                  <a:lnTo>
                    <a:pt x="1180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71" name="Freeform: Shape 2665">
              <a:extLst>
                <a:ext uri="{FF2B5EF4-FFF2-40B4-BE49-F238E27FC236}">
                  <a16:creationId xmlns:a16="http://schemas.microsoft.com/office/drawing/2014/main" id="{8383D33B-480B-4CE1-9198-296B0CC877E5}"/>
                </a:ext>
              </a:extLst>
            </p:cNvPr>
            <p:cNvSpPr/>
            <p:nvPr/>
          </p:nvSpPr>
          <p:spPr>
            <a:xfrm>
              <a:off x="3919958" y="1437911"/>
              <a:ext cx="11803" cy="7869"/>
            </a:xfrm>
            <a:custGeom>
              <a:avLst/>
              <a:gdLst>
                <a:gd name="connsiteX0" fmla="*/ 0 w 11802"/>
                <a:gd name="connsiteY0" fmla="*/ 7082 h 7868"/>
                <a:gd name="connsiteX1" fmla="*/ 3147 w 11802"/>
                <a:gd name="connsiteY1" fmla="*/ 8655 h 7868"/>
                <a:gd name="connsiteX2" fmla="*/ 5901 w 11802"/>
                <a:gd name="connsiteY2" fmla="*/ 7082 h 7868"/>
                <a:gd name="connsiteX3" fmla="*/ 9049 w 11802"/>
                <a:gd name="connsiteY3" fmla="*/ 6295 h 7868"/>
                <a:gd name="connsiteX4" fmla="*/ 11803 w 11802"/>
                <a:gd name="connsiteY4" fmla="*/ 3934 h 7868"/>
                <a:gd name="connsiteX5" fmla="*/ 11016 w 11802"/>
                <a:gd name="connsiteY5" fmla="*/ 1180 h 7868"/>
                <a:gd name="connsiteX6" fmla="*/ 9836 w 11802"/>
                <a:gd name="connsiteY6" fmla="*/ 0 h 7868"/>
                <a:gd name="connsiteX7" fmla="*/ 7082 w 11802"/>
                <a:gd name="connsiteY7" fmla="*/ 0 h 7868"/>
                <a:gd name="connsiteX8" fmla="*/ 4328 w 11802"/>
                <a:gd name="connsiteY8" fmla="*/ 2361 h 7868"/>
                <a:gd name="connsiteX9" fmla="*/ 1180 w 11802"/>
                <a:gd name="connsiteY9" fmla="*/ 393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7868">
                  <a:moveTo>
                    <a:pt x="0" y="7082"/>
                  </a:moveTo>
                  <a:lnTo>
                    <a:pt x="3147" y="8655"/>
                  </a:lnTo>
                  <a:lnTo>
                    <a:pt x="5901" y="7082"/>
                  </a:lnTo>
                  <a:lnTo>
                    <a:pt x="9049" y="6295"/>
                  </a:lnTo>
                  <a:lnTo>
                    <a:pt x="11803" y="3934"/>
                  </a:lnTo>
                  <a:lnTo>
                    <a:pt x="11016" y="1180"/>
                  </a:lnTo>
                  <a:lnTo>
                    <a:pt x="9836" y="0"/>
                  </a:lnTo>
                  <a:lnTo>
                    <a:pt x="7082" y="0"/>
                  </a:lnTo>
                  <a:lnTo>
                    <a:pt x="4328" y="2361"/>
                  </a:lnTo>
                  <a:lnTo>
                    <a:pt x="1180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72" name="Freeform: Shape 2666">
              <a:extLst>
                <a:ext uri="{FF2B5EF4-FFF2-40B4-BE49-F238E27FC236}">
                  <a16:creationId xmlns:a16="http://schemas.microsoft.com/office/drawing/2014/main" id="{564CBF2C-4B7E-45B0-9B34-34F62187A7E5}"/>
                </a:ext>
              </a:extLst>
            </p:cNvPr>
            <p:cNvSpPr/>
            <p:nvPr/>
          </p:nvSpPr>
          <p:spPr>
            <a:xfrm>
              <a:off x="3933728" y="1435551"/>
              <a:ext cx="3934" cy="3934"/>
            </a:xfrm>
            <a:custGeom>
              <a:avLst/>
              <a:gdLst>
                <a:gd name="connsiteX0" fmla="*/ 5901 w 3934"/>
                <a:gd name="connsiteY0" fmla="*/ 1967 h 3934"/>
                <a:gd name="connsiteX1" fmla="*/ 3934 w 3934"/>
                <a:gd name="connsiteY1" fmla="*/ 0 h 3934"/>
                <a:gd name="connsiteX2" fmla="*/ 787 w 3934"/>
                <a:gd name="connsiteY2" fmla="*/ 1574 h 3934"/>
                <a:gd name="connsiteX3" fmla="*/ 0 w 3934"/>
                <a:gd name="connsiteY3" fmla="*/ 4328 h 3934"/>
                <a:gd name="connsiteX4" fmla="*/ 3147 w 3934"/>
                <a:gd name="connsiteY4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901" y="1967"/>
                  </a:moveTo>
                  <a:lnTo>
                    <a:pt x="3934" y="0"/>
                  </a:lnTo>
                  <a:lnTo>
                    <a:pt x="787" y="1574"/>
                  </a:lnTo>
                  <a:lnTo>
                    <a:pt x="0" y="4328"/>
                  </a:lnTo>
                  <a:lnTo>
                    <a:pt x="3147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73" name="Freeform: Shape 2667">
              <a:extLst>
                <a:ext uri="{FF2B5EF4-FFF2-40B4-BE49-F238E27FC236}">
                  <a16:creationId xmlns:a16="http://schemas.microsoft.com/office/drawing/2014/main" id="{B012E816-8DEB-4AE1-B7C9-0AE0BFBA8723}"/>
                </a:ext>
              </a:extLst>
            </p:cNvPr>
            <p:cNvSpPr/>
            <p:nvPr/>
          </p:nvSpPr>
          <p:spPr>
            <a:xfrm>
              <a:off x="3586333" y="1316343"/>
              <a:ext cx="358018" cy="137699"/>
            </a:xfrm>
            <a:custGeom>
              <a:avLst/>
              <a:gdLst>
                <a:gd name="connsiteX0" fmla="*/ 356838 w 358018"/>
                <a:gd name="connsiteY0" fmla="*/ 97570 h 137699"/>
                <a:gd name="connsiteX1" fmla="*/ 358805 w 358018"/>
                <a:gd name="connsiteY1" fmla="*/ 94422 h 137699"/>
                <a:gd name="connsiteX2" fmla="*/ 359592 w 358018"/>
                <a:gd name="connsiteY2" fmla="*/ 93635 h 137699"/>
                <a:gd name="connsiteX3" fmla="*/ 361166 w 358018"/>
                <a:gd name="connsiteY3" fmla="*/ 90881 h 137699"/>
                <a:gd name="connsiteX4" fmla="*/ 358018 w 358018"/>
                <a:gd name="connsiteY4" fmla="*/ 89308 h 137699"/>
                <a:gd name="connsiteX5" fmla="*/ 355264 w 358018"/>
                <a:gd name="connsiteY5" fmla="*/ 88521 h 137699"/>
                <a:gd name="connsiteX6" fmla="*/ 352904 w 358018"/>
                <a:gd name="connsiteY6" fmla="*/ 89701 h 137699"/>
                <a:gd name="connsiteX7" fmla="*/ 350543 w 358018"/>
                <a:gd name="connsiteY7" fmla="*/ 88127 h 137699"/>
                <a:gd name="connsiteX8" fmla="*/ 352117 w 358018"/>
                <a:gd name="connsiteY8" fmla="*/ 86554 h 137699"/>
                <a:gd name="connsiteX9" fmla="*/ 349363 w 358018"/>
                <a:gd name="connsiteY9" fmla="*/ 85374 h 137699"/>
                <a:gd name="connsiteX10" fmla="*/ 347396 w 358018"/>
                <a:gd name="connsiteY10" fmla="*/ 86160 h 137699"/>
                <a:gd name="connsiteX11" fmla="*/ 334806 w 358018"/>
                <a:gd name="connsiteY11" fmla="*/ 78292 h 137699"/>
                <a:gd name="connsiteX12" fmla="*/ 335199 w 358018"/>
                <a:gd name="connsiteY12" fmla="*/ 76718 h 137699"/>
                <a:gd name="connsiteX13" fmla="*/ 332052 w 358018"/>
                <a:gd name="connsiteY13" fmla="*/ 74751 h 137699"/>
                <a:gd name="connsiteX14" fmla="*/ 330872 w 358018"/>
                <a:gd name="connsiteY14" fmla="*/ 75931 h 137699"/>
                <a:gd name="connsiteX15" fmla="*/ 317102 w 358018"/>
                <a:gd name="connsiteY15" fmla="*/ 67276 h 137699"/>
                <a:gd name="connsiteX16" fmla="*/ 317102 w 358018"/>
                <a:gd name="connsiteY16" fmla="*/ 66882 h 137699"/>
                <a:gd name="connsiteX17" fmla="*/ 314348 w 358018"/>
                <a:gd name="connsiteY17" fmla="*/ 65702 h 137699"/>
                <a:gd name="connsiteX18" fmla="*/ 317889 w 358018"/>
                <a:gd name="connsiteY18" fmla="*/ 60588 h 137699"/>
                <a:gd name="connsiteX19" fmla="*/ 319069 w 358018"/>
                <a:gd name="connsiteY19" fmla="*/ 59801 h 137699"/>
                <a:gd name="connsiteX20" fmla="*/ 322216 w 358018"/>
                <a:gd name="connsiteY20" fmla="*/ 57047 h 137699"/>
                <a:gd name="connsiteX21" fmla="*/ 324970 w 358018"/>
                <a:gd name="connsiteY21" fmla="*/ 55473 h 137699"/>
                <a:gd name="connsiteX22" fmla="*/ 328118 w 358018"/>
                <a:gd name="connsiteY22" fmla="*/ 55473 h 137699"/>
                <a:gd name="connsiteX23" fmla="*/ 330478 w 358018"/>
                <a:gd name="connsiteY23" fmla="*/ 52719 h 137699"/>
                <a:gd name="connsiteX24" fmla="*/ 332839 w 358018"/>
                <a:gd name="connsiteY24" fmla="*/ 49572 h 137699"/>
                <a:gd name="connsiteX25" fmla="*/ 333232 w 358018"/>
                <a:gd name="connsiteY25" fmla="*/ 46818 h 137699"/>
                <a:gd name="connsiteX26" fmla="*/ 333232 w 358018"/>
                <a:gd name="connsiteY26" fmla="*/ 43670 h 137699"/>
                <a:gd name="connsiteX27" fmla="*/ 332445 w 358018"/>
                <a:gd name="connsiteY27" fmla="*/ 40916 h 137699"/>
                <a:gd name="connsiteX28" fmla="*/ 335199 w 358018"/>
                <a:gd name="connsiteY28" fmla="*/ 38162 h 137699"/>
                <a:gd name="connsiteX29" fmla="*/ 335199 w 358018"/>
                <a:gd name="connsiteY29" fmla="*/ 35015 h 137699"/>
                <a:gd name="connsiteX30" fmla="*/ 338347 w 358018"/>
                <a:gd name="connsiteY30" fmla="*/ 33441 h 137699"/>
                <a:gd name="connsiteX31" fmla="*/ 339527 w 358018"/>
                <a:gd name="connsiteY31" fmla="*/ 30294 h 137699"/>
                <a:gd name="connsiteX32" fmla="*/ 340314 w 358018"/>
                <a:gd name="connsiteY32" fmla="*/ 27540 h 137699"/>
                <a:gd name="connsiteX33" fmla="*/ 343461 w 358018"/>
                <a:gd name="connsiteY33" fmla="*/ 24392 h 137699"/>
                <a:gd name="connsiteX34" fmla="*/ 344248 w 358018"/>
                <a:gd name="connsiteY34" fmla="*/ 21638 h 137699"/>
                <a:gd name="connsiteX35" fmla="*/ 347002 w 358018"/>
                <a:gd name="connsiteY35" fmla="*/ 19671 h 137699"/>
                <a:gd name="connsiteX36" fmla="*/ 346215 w 358018"/>
                <a:gd name="connsiteY36" fmla="*/ 17704 h 137699"/>
                <a:gd name="connsiteX37" fmla="*/ 349363 w 358018"/>
                <a:gd name="connsiteY37" fmla="*/ 17311 h 137699"/>
                <a:gd name="connsiteX38" fmla="*/ 348576 w 358018"/>
                <a:gd name="connsiteY38" fmla="*/ 14557 h 137699"/>
                <a:gd name="connsiteX39" fmla="*/ 349363 w 358018"/>
                <a:gd name="connsiteY39" fmla="*/ 11409 h 137699"/>
                <a:gd name="connsiteX40" fmla="*/ 347002 w 358018"/>
                <a:gd name="connsiteY40" fmla="*/ 8262 h 137699"/>
                <a:gd name="connsiteX41" fmla="*/ 344248 w 358018"/>
                <a:gd name="connsiteY41" fmla="*/ 9049 h 137699"/>
                <a:gd name="connsiteX42" fmla="*/ 341101 w 358018"/>
                <a:gd name="connsiteY42" fmla="*/ 7869 h 137699"/>
                <a:gd name="connsiteX43" fmla="*/ 339134 w 358018"/>
                <a:gd name="connsiteY43" fmla="*/ 5115 h 137699"/>
                <a:gd name="connsiteX44" fmla="*/ 336380 w 358018"/>
                <a:gd name="connsiteY44" fmla="*/ 3934 h 137699"/>
                <a:gd name="connsiteX45" fmla="*/ 333232 w 358018"/>
                <a:gd name="connsiteY45" fmla="*/ 1967 h 137699"/>
                <a:gd name="connsiteX46" fmla="*/ 332052 w 358018"/>
                <a:gd name="connsiteY46" fmla="*/ 1967 h 137699"/>
                <a:gd name="connsiteX47" fmla="*/ 324184 w 358018"/>
                <a:gd name="connsiteY47" fmla="*/ 3934 h 137699"/>
                <a:gd name="connsiteX48" fmla="*/ 323003 w 358018"/>
                <a:gd name="connsiteY48" fmla="*/ 3147 h 137699"/>
                <a:gd name="connsiteX49" fmla="*/ 320249 w 358018"/>
                <a:gd name="connsiteY49" fmla="*/ 1574 h 137699"/>
                <a:gd name="connsiteX50" fmla="*/ 317102 w 358018"/>
                <a:gd name="connsiteY50" fmla="*/ 1180 h 137699"/>
                <a:gd name="connsiteX51" fmla="*/ 314348 w 358018"/>
                <a:gd name="connsiteY51" fmla="*/ 787 h 137699"/>
                <a:gd name="connsiteX52" fmla="*/ 311200 w 358018"/>
                <a:gd name="connsiteY52" fmla="*/ 393 h 137699"/>
                <a:gd name="connsiteX53" fmla="*/ 308446 w 358018"/>
                <a:gd name="connsiteY53" fmla="*/ 1967 h 137699"/>
                <a:gd name="connsiteX54" fmla="*/ 310414 w 358018"/>
                <a:gd name="connsiteY54" fmla="*/ 4721 h 137699"/>
                <a:gd name="connsiteX55" fmla="*/ 304512 w 358018"/>
                <a:gd name="connsiteY55" fmla="*/ 4721 h 137699"/>
                <a:gd name="connsiteX56" fmla="*/ 301365 w 358018"/>
                <a:gd name="connsiteY56" fmla="*/ 5508 h 137699"/>
                <a:gd name="connsiteX57" fmla="*/ 299791 w 358018"/>
                <a:gd name="connsiteY57" fmla="*/ 8262 h 137699"/>
                <a:gd name="connsiteX58" fmla="*/ 296644 w 358018"/>
                <a:gd name="connsiteY58" fmla="*/ 11409 h 137699"/>
                <a:gd name="connsiteX59" fmla="*/ 291529 w 358018"/>
                <a:gd name="connsiteY59" fmla="*/ 16917 h 137699"/>
                <a:gd name="connsiteX60" fmla="*/ 291529 w 358018"/>
                <a:gd name="connsiteY60" fmla="*/ 17704 h 137699"/>
                <a:gd name="connsiteX61" fmla="*/ 263596 w 358018"/>
                <a:gd name="connsiteY61" fmla="*/ 46031 h 137699"/>
                <a:gd name="connsiteX62" fmla="*/ 263202 w 358018"/>
                <a:gd name="connsiteY62" fmla="*/ 46031 h 137699"/>
                <a:gd name="connsiteX63" fmla="*/ 261235 w 358018"/>
                <a:gd name="connsiteY63" fmla="*/ 48391 h 137699"/>
                <a:gd name="connsiteX64" fmla="*/ 260448 w 358018"/>
                <a:gd name="connsiteY64" fmla="*/ 40523 h 137699"/>
                <a:gd name="connsiteX65" fmla="*/ 260842 w 358018"/>
                <a:gd name="connsiteY65" fmla="*/ 40523 h 137699"/>
                <a:gd name="connsiteX66" fmla="*/ 263596 w 358018"/>
                <a:gd name="connsiteY66" fmla="*/ 38949 h 137699"/>
                <a:gd name="connsiteX67" fmla="*/ 260842 w 358018"/>
                <a:gd name="connsiteY67" fmla="*/ 39736 h 137699"/>
                <a:gd name="connsiteX68" fmla="*/ 260448 w 358018"/>
                <a:gd name="connsiteY68" fmla="*/ 37769 h 137699"/>
                <a:gd name="connsiteX69" fmla="*/ 263202 w 358018"/>
                <a:gd name="connsiteY69" fmla="*/ 35802 h 137699"/>
                <a:gd name="connsiteX70" fmla="*/ 263596 w 358018"/>
                <a:gd name="connsiteY70" fmla="*/ 32654 h 137699"/>
                <a:gd name="connsiteX71" fmla="*/ 265956 w 358018"/>
                <a:gd name="connsiteY71" fmla="*/ 29900 h 137699"/>
                <a:gd name="connsiteX72" fmla="*/ 267924 w 358018"/>
                <a:gd name="connsiteY72" fmla="*/ 27146 h 137699"/>
                <a:gd name="connsiteX73" fmla="*/ 271071 w 358018"/>
                <a:gd name="connsiteY73" fmla="*/ 25179 h 137699"/>
                <a:gd name="connsiteX74" fmla="*/ 273825 w 358018"/>
                <a:gd name="connsiteY74" fmla="*/ 22819 h 137699"/>
                <a:gd name="connsiteX75" fmla="*/ 270678 w 358018"/>
                <a:gd name="connsiteY75" fmla="*/ 20852 h 137699"/>
                <a:gd name="connsiteX76" fmla="*/ 267530 w 358018"/>
                <a:gd name="connsiteY76" fmla="*/ 22032 h 137699"/>
                <a:gd name="connsiteX77" fmla="*/ 271071 w 358018"/>
                <a:gd name="connsiteY77" fmla="*/ 19278 h 137699"/>
                <a:gd name="connsiteX78" fmla="*/ 269891 w 358018"/>
                <a:gd name="connsiteY78" fmla="*/ 17704 h 137699"/>
                <a:gd name="connsiteX79" fmla="*/ 269104 w 358018"/>
                <a:gd name="connsiteY79" fmla="*/ 16524 h 137699"/>
                <a:gd name="connsiteX80" fmla="*/ 263596 w 358018"/>
                <a:gd name="connsiteY80" fmla="*/ 13376 h 137699"/>
                <a:gd name="connsiteX81" fmla="*/ 264383 w 358018"/>
                <a:gd name="connsiteY81" fmla="*/ 12196 h 137699"/>
                <a:gd name="connsiteX82" fmla="*/ 262022 w 358018"/>
                <a:gd name="connsiteY82" fmla="*/ 12196 h 137699"/>
                <a:gd name="connsiteX83" fmla="*/ 259268 w 358018"/>
                <a:gd name="connsiteY83" fmla="*/ 10623 h 137699"/>
                <a:gd name="connsiteX84" fmla="*/ 256121 w 358018"/>
                <a:gd name="connsiteY84" fmla="*/ 10229 h 137699"/>
                <a:gd name="connsiteX85" fmla="*/ 252973 w 358018"/>
                <a:gd name="connsiteY85" fmla="*/ 9836 h 137699"/>
                <a:gd name="connsiteX86" fmla="*/ 246678 w 358018"/>
                <a:gd name="connsiteY86" fmla="*/ 9836 h 137699"/>
                <a:gd name="connsiteX87" fmla="*/ 243531 w 358018"/>
                <a:gd name="connsiteY87" fmla="*/ 10623 h 137699"/>
                <a:gd name="connsiteX88" fmla="*/ 243924 w 358018"/>
                <a:gd name="connsiteY88" fmla="*/ 13376 h 137699"/>
                <a:gd name="connsiteX89" fmla="*/ 244318 w 358018"/>
                <a:gd name="connsiteY89" fmla="*/ 14557 h 137699"/>
                <a:gd name="connsiteX90" fmla="*/ 249039 w 358018"/>
                <a:gd name="connsiteY90" fmla="*/ 16130 h 137699"/>
                <a:gd name="connsiteX91" fmla="*/ 250219 w 358018"/>
                <a:gd name="connsiteY91" fmla="*/ 16917 h 137699"/>
                <a:gd name="connsiteX92" fmla="*/ 251400 w 358018"/>
                <a:gd name="connsiteY92" fmla="*/ 17311 h 137699"/>
                <a:gd name="connsiteX93" fmla="*/ 250219 w 358018"/>
                <a:gd name="connsiteY93" fmla="*/ 18491 h 137699"/>
                <a:gd name="connsiteX94" fmla="*/ 247072 w 358018"/>
                <a:gd name="connsiteY94" fmla="*/ 17704 h 137699"/>
                <a:gd name="connsiteX95" fmla="*/ 243924 w 358018"/>
                <a:gd name="connsiteY95" fmla="*/ 18884 h 137699"/>
                <a:gd name="connsiteX96" fmla="*/ 246678 w 358018"/>
                <a:gd name="connsiteY96" fmla="*/ 19278 h 137699"/>
                <a:gd name="connsiteX97" fmla="*/ 247465 w 358018"/>
                <a:gd name="connsiteY97" fmla="*/ 20458 h 137699"/>
                <a:gd name="connsiteX98" fmla="*/ 244318 w 358018"/>
                <a:gd name="connsiteY98" fmla="*/ 23606 h 137699"/>
                <a:gd name="connsiteX99" fmla="*/ 241171 w 358018"/>
                <a:gd name="connsiteY99" fmla="*/ 22032 h 137699"/>
                <a:gd name="connsiteX100" fmla="*/ 243138 w 358018"/>
                <a:gd name="connsiteY100" fmla="*/ 23999 h 137699"/>
                <a:gd name="connsiteX101" fmla="*/ 241957 w 358018"/>
                <a:gd name="connsiteY101" fmla="*/ 25179 h 137699"/>
                <a:gd name="connsiteX102" fmla="*/ 239203 w 358018"/>
                <a:gd name="connsiteY102" fmla="*/ 23212 h 137699"/>
                <a:gd name="connsiteX103" fmla="*/ 236843 w 358018"/>
                <a:gd name="connsiteY103" fmla="*/ 22819 h 137699"/>
                <a:gd name="connsiteX104" fmla="*/ 225040 w 358018"/>
                <a:gd name="connsiteY104" fmla="*/ 18098 h 137699"/>
                <a:gd name="connsiteX105" fmla="*/ 221893 w 358018"/>
                <a:gd name="connsiteY105" fmla="*/ 17311 h 137699"/>
                <a:gd name="connsiteX106" fmla="*/ 219139 w 358018"/>
                <a:gd name="connsiteY106" fmla="*/ 15344 h 137699"/>
                <a:gd name="connsiteX107" fmla="*/ 216385 w 358018"/>
                <a:gd name="connsiteY107" fmla="*/ 14163 h 137699"/>
                <a:gd name="connsiteX108" fmla="*/ 213631 w 358018"/>
                <a:gd name="connsiteY108" fmla="*/ 13376 h 137699"/>
                <a:gd name="connsiteX109" fmla="*/ 210483 w 358018"/>
                <a:gd name="connsiteY109" fmla="*/ 12983 h 137699"/>
                <a:gd name="connsiteX110" fmla="*/ 207729 w 358018"/>
                <a:gd name="connsiteY110" fmla="*/ 12590 h 137699"/>
                <a:gd name="connsiteX111" fmla="*/ 204188 w 358018"/>
                <a:gd name="connsiteY111" fmla="*/ 11016 h 137699"/>
                <a:gd name="connsiteX112" fmla="*/ 201434 w 358018"/>
                <a:gd name="connsiteY112" fmla="*/ 10623 h 137699"/>
                <a:gd name="connsiteX113" fmla="*/ 198680 w 358018"/>
                <a:gd name="connsiteY113" fmla="*/ 10229 h 137699"/>
                <a:gd name="connsiteX114" fmla="*/ 195533 w 358018"/>
                <a:gd name="connsiteY114" fmla="*/ 10229 h 137699"/>
                <a:gd name="connsiteX115" fmla="*/ 192386 w 358018"/>
                <a:gd name="connsiteY115" fmla="*/ 10623 h 137699"/>
                <a:gd name="connsiteX116" fmla="*/ 189632 w 358018"/>
                <a:gd name="connsiteY116" fmla="*/ 11409 h 137699"/>
                <a:gd name="connsiteX117" fmla="*/ 186484 w 358018"/>
                <a:gd name="connsiteY117" fmla="*/ 12590 h 137699"/>
                <a:gd name="connsiteX118" fmla="*/ 183337 w 358018"/>
                <a:gd name="connsiteY118" fmla="*/ 14163 h 137699"/>
                <a:gd name="connsiteX119" fmla="*/ 180190 w 358018"/>
                <a:gd name="connsiteY119" fmla="*/ 15344 h 137699"/>
                <a:gd name="connsiteX120" fmla="*/ 177042 w 358018"/>
                <a:gd name="connsiteY120" fmla="*/ 16524 h 137699"/>
                <a:gd name="connsiteX121" fmla="*/ 177042 w 358018"/>
                <a:gd name="connsiteY121" fmla="*/ 16524 h 137699"/>
                <a:gd name="connsiteX122" fmla="*/ 149896 w 358018"/>
                <a:gd name="connsiteY122" fmla="*/ 22425 h 137699"/>
                <a:gd name="connsiteX123" fmla="*/ 150683 w 358018"/>
                <a:gd name="connsiteY123" fmla="*/ 21245 h 137699"/>
                <a:gd name="connsiteX124" fmla="*/ 153830 w 358018"/>
                <a:gd name="connsiteY124" fmla="*/ 20458 h 137699"/>
                <a:gd name="connsiteX125" fmla="*/ 156977 w 358018"/>
                <a:gd name="connsiteY125" fmla="*/ 19278 h 137699"/>
                <a:gd name="connsiteX126" fmla="*/ 160125 w 358018"/>
                <a:gd name="connsiteY126" fmla="*/ 18884 h 137699"/>
                <a:gd name="connsiteX127" fmla="*/ 160912 w 358018"/>
                <a:gd name="connsiteY127" fmla="*/ 18491 h 137699"/>
                <a:gd name="connsiteX128" fmla="*/ 170747 w 358018"/>
                <a:gd name="connsiteY128" fmla="*/ 15344 h 137699"/>
                <a:gd name="connsiteX129" fmla="*/ 173501 w 358018"/>
                <a:gd name="connsiteY129" fmla="*/ 12196 h 137699"/>
                <a:gd name="connsiteX130" fmla="*/ 176255 w 358018"/>
                <a:gd name="connsiteY130" fmla="*/ 10229 h 137699"/>
                <a:gd name="connsiteX131" fmla="*/ 179403 w 358018"/>
                <a:gd name="connsiteY131" fmla="*/ 8262 h 137699"/>
                <a:gd name="connsiteX132" fmla="*/ 182157 w 358018"/>
                <a:gd name="connsiteY132" fmla="*/ 6688 h 137699"/>
                <a:gd name="connsiteX133" fmla="*/ 183337 w 358018"/>
                <a:gd name="connsiteY133" fmla="*/ 3934 h 137699"/>
                <a:gd name="connsiteX134" fmla="*/ 182157 w 358018"/>
                <a:gd name="connsiteY134" fmla="*/ 1180 h 137699"/>
                <a:gd name="connsiteX135" fmla="*/ 179403 w 358018"/>
                <a:gd name="connsiteY135" fmla="*/ 393 h 137699"/>
                <a:gd name="connsiteX136" fmla="*/ 175862 w 358018"/>
                <a:gd name="connsiteY136" fmla="*/ 0 h 137699"/>
                <a:gd name="connsiteX137" fmla="*/ 173108 w 358018"/>
                <a:gd name="connsiteY137" fmla="*/ 393 h 137699"/>
                <a:gd name="connsiteX138" fmla="*/ 172321 w 358018"/>
                <a:gd name="connsiteY138" fmla="*/ 787 h 137699"/>
                <a:gd name="connsiteX139" fmla="*/ 169567 w 358018"/>
                <a:gd name="connsiteY139" fmla="*/ 1180 h 137699"/>
                <a:gd name="connsiteX140" fmla="*/ 166420 w 358018"/>
                <a:gd name="connsiteY140" fmla="*/ 1967 h 137699"/>
                <a:gd name="connsiteX141" fmla="*/ 163272 w 358018"/>
                <a:gd name="connsiteY141" fmla="*/ 2361 h 137699"/>
                <a:gd name="connsiteX142" fmla="*/ 160125 w 358018"/>
                <a:gd name="connsiteY142" fmla="*/ 3147 h 137699"/>
                <a:gd name="connsiteX143" fmla="*/ 156977 w 358018"/>
                <a:gd name="connsiteY143" fmla="*/ 3147 h 137699"/>
                <a:gd name="connsiteX144" fmla="*/ 154223 w 358018"/>
                <a:gd name="connsiteY144" fmla="*/ 4328 h 137699"/>
                <a:gd name="connsiteX145" fmla="*/ 151076 w 358018"/>
                <a:gd name="connsiteY145" fmla="*/ 4721 h 137699"/>
                <a:gd name="connsiteX146" fmla="*/ 147928 w 358018"/>
                <a:gd name="connsiteY146" fmla="*/ 5115 h 137699"/>
                <a:gd name="connsiteX147" fmla="*/ 145174 w 358018"/>
                <a:gd name="connsiteY147" fmla="*/ 5115 h 137699"/>
                <a:gd name="connsiteX148" fmla="*/ 142027 w 358018"/>
                <a:gd name="connsiteY148" fmla="*/ 5901 h 137699"/>
                <a:gd name="connsiteX149" fmla="*/ 138880 w 358018"/>
                <a:gd name="connsiteY149" fmla="*/ 6295 h 137699"/>
                <a:gd name="connsiteX150" fmla="*/ 136126 w 358018"/>
                <a:gd name="connsiteY150" fmla="*/ 6688 h 137699"/>
                <a:gd name="connsiteX151" fmla="*/ 133372 w 358018"/>
                <a:gd name="connsiteY151" fmla="*/ 7475 h 137699"/>
                <a:gd name="connsiteX152" fmla="*/ 130224 w 358018"/>
                <a:gd name="connsiteY152" fmla="*/ 7869 h 137699"/>
                <a:gd name="connsiteX153" fmla="*/ 127077 w 358018"/>
                <a:gd name="connsiteY153" fmla="*/ 8262 h 137699"/>
                <a:gd name="connsiteX154" fmla="*/ 123929 w 358018"/>
                <a:gd name="connsiteY154" fmla="*/ 9049 h 137699"/>
                <a:gd name="connsiteX155" fmla="*/ 121176 w 358018"/>
                <a:gd name="connsiteY155" fmla="*/ 9442 h 137699"/>
                <a:gd name="connsiteX156" fmla="*/ 118028 w 358018"/>
                <a:gd name="connsiteY156" fmla="*/ 10229 h 137699"/>
                <a:gd name="connsiteX157" fmla="*/ 115274 w 358018"/>
                <a:gd name="connsiteY157" fmla="*/ 11409 h 137699"/>
                <a:gd name="connsiteX158" fmla="*/ 112127 w 358018"/>
                <a:gd name="connsiteY158" fmla="*/ 11409 h 137699"/>
                <a:gd name="connsiteX159" fmla="*/ 108979 w 358018"/>
                <a:gd name="connsiteY159" fmla="*/ 12196 h 137699"/>
                <a:gd name="connsiteX160" fmla="*/ 106225 w 358018"/>
                <a:gd name="connsiteY160" fmla="*/ 12196 h 137699"/>
                <a:gd name="connsiteX161" fmla="*/ 103078 w 358018"/>
                <a:gd name="connsiteY161" fmla="*/ 12590 h 137699"/>
                <a:gd name="connsiteX162" fmla="*/ 99930 w 358018"/>
                <a:gd name="connsiteY162" fmla="*/ 14163 h 137699"/>
                <a:gd name="connsiteX163" fmla="*/ 96783 w 358018"/>
                <a:gd name="connsiteY163" fmla="*/ 14950 h 137699"/>
                <a:gd name="connsiteX164" fmla="*/ 94029 w 358018"/>
                <a:gd name="connsiteY164" fmla="*/ 15737 h 137699"/>
                <a:gd name="connsiteX165" fmla="*/ 85374 w 358018"/>
                <a:gd name="connsiteY165" fmla="*/ 18491 h 137699"/>
                <a:gd name="connsiteX166" fmla="*/ 82226 w 358018"/>
                <a:gd name="connsiteY166" fmla="*/ 19278 h 137699"/>
                <a:gd name="connsiteX167" fmla="*/ 79472 w 358018"/>
                <a:gd name="connsiteY167" fmla="*/ 19671 h 137699"/>
                <a:gd name="connsiteX168" fmla="*/ 76325 w 358018"/>
                <a:gd name="connsiteY168" fmla="*/ 20458 h 137699"/>
                <a:gd name="connsiteX169" fmla="*/ 73571 w 358018"/>
                <a:gd name="connsiteY169" fmla="*/ 21638 h 137699"/>
                <a:gd name="connsiteX170" fmla="*/ 70423 w 358018"/>
                <a:gd name="connsiteY170" fmla="*/ 22425 h 137699"/>
                <a:gd name="connsiteX171" fmla="*/ 67276 w 358018"/>
                <a:gd name="connsiteY171" fmla="*/ 23212 h 137699"/>
                <a:gd name="connsiteX172" fmla="*/ 64129 w 358018"/>
                <a:gd name="connsiteY172" fmla="*/ 24392 h 137699"/>
                <a:gd name="connsiteX173" fmla="*/ 60981 w 358018"/>
                <a:gd name="connsiteY173" fmla="*/ 25573 h 137699"/>
                <a:gd name="connsiteX174" fmla="*/ 64129 w 358018"/>
                <a:gd name="connsiteY174" fmla="*/ 28327 h 137699"/>
                <a:gd name="connsiteX175" fmla="*/ 66882 w 358018"/>
                <a:gd name="connsiteY175" fmla="*/ 28720 h 137699"/>
                <a:gd name="connsiteX176" fmla="*/ 64129 w 358018"/>
                <a:gd name="connsiteY176" fmla="*/ 31474 h 137699"/>
                <a:gd name="connsiteX177" fmla="*/ 60981 w 358018"/>
                <a:gd name="connsiteY177" fmla="*/ 31868 h 137699"/>
                <a:gd name="connsiteX178" fmla="*/ 57834 w 358018"/>
                <a:gd name="connsiteY178" fmla="*/ 32261 h 137699"/>
                <a:gd name="connsiteX179" fmla="*/ 55080 w 358018"/>
                <a:gd name="connsiteY179" fmla="*/ 32654 h 137699"/>
                <a:gd name="connsiteX180" fmla="*/ 51932 w 358018"/>
                <a:gd name="connsiteY180" fmla="*/ 33048 h 137699"/>
                <a:gd name="connsiteX181" fmla="*/ 48785 w 358018"/>
                <a:gd name="connsiteY181" fmla="*/ 33835 h 137699"/>
                <a:gd name="connsiteX182" fmla="*/ 45638 w 358018"/>
                <a:gd name="connsiteY182" fmla="*/ 35802 h 137699"/>
                <a:gd name="connsiteX183" fmla="*/ 42884 w 358018"/>
                <a:gd name="connsiteY183" fmla="*/ 36589 h 137699"/>
                <a:gd name="connsiteX184" fmla="*/ 39736 w 358018"/>
                <a:gd name="connsiteY184" fmla="*/ 37376 h 137699"/>
                <a:gd name="connsiteX185" fmla="*/ 33835 w 358018"/>
                <a:gd name="connsiteY185" fmla="*/ 39736 h 137699"/>
                <a:gd name="connsiteX186" fmla="*/ 30687 w 358018"/>
                <a:gd name="connsiteY186" fmla="*/ 41310 h 137699"/>
                <a:gd name="connsiteX187" fmla="*/ 27540 w 358018"/>
                <a:gd name="connsiteY187" fmla="*/ 43277 h 137699"/>
                <a:gd name="connsiteX188" fmla="*/ 24786 w 358018"/>
                <a:gd name="connsiteY188" fmla="*/ 45637 h 137699"/>
                <a:gd name="connsiteX189" fmla="*/ 24786 w 358018"/>
                <a:gd name="connsiteY189" fmla="*/ 48785 h 137699"/>
                <a:gd name="connsiteX190" fmla="*/ 27540 w 358018"/>
                <a:gd name="connsiteY190" fmla="*/ 47605 h 137699"/>
                <a:gd name="connsiteX191" fmla="*/ 30687 w 358018"/>
                <a:gd name="connsiteY191" fmla="*/ 47211 h 137699"/>
                <a:gd name="connsiteX192" fmla="*/ 36589 w 358018"/>
                <a:gd name="connsiteY192" fmla="*/ 47211 h 137699"/>
                <a:gd name="connsiteX193" fmla="*/ 39343 w 358018"/>
                <a:gd name="connsiteY193" fmla="*/ 48785 h 137699"/>
                <a:gd name="connsiteX194" fmla="*/ 42490 w 358018"/>
                <a:gd name="connsiteY194" fmla="*/ 47605 h 137699"/>
                <a:gd name="connsiteX195" fmla="*/ 45638 w 358018"/>
                <a:gd name="connsiteY195" fmla="*/ 46818 h 137699"/>
                <a:gd name="connsiteX196" fmla="*/ 48785 w 358018"/>
                <a:gd name="connsiteY196" fmla="*/ 46818 h 137699"/>
                <a:gd name="connsiteX197" fmla="*/ 51932 w 358018"/>
                <a:gd name="connsiteY197" fmla="*/ 46818 h 137699"/>
                <a:gd name="connsiteX198" fmla="*/ 48785 w 358018"/>
                <a:gd name="connsiteY198" fmla="*/ 47605 h 137699"/>
                <a:gd name="connsiteX199" fmla="*/ 46031 w 358018"/>
                <a:gd name="connsiteY199" fmla="*/ 48785 h 137699"/>
                <a:gd name="connsiteX200" fmla="*/ 48785 w 358018"/>
                <a:gd name="connsiteY200" fmla="*/ 48785 h 137699"/>
                <a:gd name="connsiteX201" fmla="*/ 46031 w 358018"/>
                <a:gd name="connsiteY201" fmla="*/ 50359 h 137699"/>
                <a:gd name="connsiteX202" fmla="*/ 42884 w 358018"/>
                <a:gd name="connsiteY202" fmla="*/ 50359 h 137699"/>
                <a:gd name="connsiteX203" fmla="*/ 39736 w 358018"/>
                <a:gd name="connsiteY203" fmla="*/ 50752 h 137699"/>
                <a:gd name="connsiteX204" fmla="*/ 36982 w 358018"/>
                <a:gd name="connsiteY204" fmla="*/ 51145 h 137699"/>
                <a:gd name="connsiteX205" fmla="*/ 33835 w 358018"/>
                <a:gd name="connsiteY205" fmla="*/ 52326 h 137699"/>
                <a:gd name="connsiteX206" fmla="*/ 36982 w 358018"/>
                <a:gd name="connsiteY206" fmla="*/ 55080 h 137699"/>
                <a:gd name="connsiteX207" fmla="*/ 40130 w 358018"/>
                <a:gd name="connsiteY207" fmla="*/ 54686 h 137699"/>
                <a:gd name="connsiteX208" fmla="*/ 42884 w 358018"/>
                <a:gd name="connsiteY208" fmla="*/ 54686 h 137699"/>
                <a:gd name="connsiteX209" fmla="*/ 46031 w 358018"/>
                <a:gd name="connsiteY209" fmla="*/ 55080 h 137699"/>
                <a:gd name="connsiteX210" fmla="*/ 48785 w 358018"/>
                <a:gd name="connsiteY210" fmla="*/ 53899 h 137699"/>
                <a:gd name="connsiteX211" fmla="*/ 51932 w 358018"/>
                <a:gd name="connsiteY211" fmla="*/ 51932 h 137699"/>
                <a:gd name="connsiteX212" fmla="*/ 55080 w 358018"/>
                <a:gd name="connsiteY212" fmla="*/ 54293 h 137699"/>
                <a:gd name="connsiteX213" fmla="*/ 57834 w 358018"/>
                <a:gd name="connsiteY213" fmla="*/ 53899 h 137699"/>
                <a:gd name="connsiteX214" fmla="*/ 60981 w 358018"/>
                <a:gd name="connsiteY214" fmla="*/ 53899 h 137699"/>
                <a:gd name="connsiteX215" fmla="*/ 63735 w 358018"/>
                <a:gd name="connsiteY215" fmla="*/ 53506 h 137699"/>
                <a:gd name="connsiteX216" fmla="*/ 66882 w 358018"/>
                <a:gd name="connsiteY216" fmla="*/ 52719 h 137699"/>
                <a:gd name="connsiteX217" fmla="*/ 70030 w 358018"/>
                <a:gd name="connsiteY217" fmla="*/ 52719 h 137699"/>
                <a:gd name="connsiteX218" fmla="*/ 72784 w 358018"/>
                <a:gd name="connsiteY218" fmla="*/ 51932 h 137699"/>
                <a:gd name="connsiteX219" fmla="*/ 75931 w 358018"/>
                <a:gd name="connsiteY219" fmla="*/ 51932 h 137699"/>
                <a:gd name="connsiteX220" fmla="*/ 79079 w 358018"/>
                <a:gd name="connsiteY220" fmla="*/ 51932 h 137699"/>
                <a:gd name="connsiteX221" fmla="*/ 81833 w 358018"/>
                <a:gd name="connsiteY221" fmla="*/ 51145 h 137699"/>
                <a:gd name="connsiteX222" fmla="*/ 84980 w 358018"/>
                <a:gd name="connsiteY222" fmla="*/ 50752 h 137699"/>
                <a:gd name="connsiteX223" fmla="*/ 88128 w 358018"/>
                <a:gd name="connsiteY223" fmla="*/ 50752 h 137699"/>
                <a:gd name="connsiteX224" fmla="*/ 90488 w 358018"/>
                <a:gd name="connsiteY224" fmla="*/ 49965 h 137699"/>
                <a:gd name="connsiteX225" fmla="*/ 87734 w 358018"/>
                <a:gd name="connsiteY225" fmla="*/ 51932 h 137699"/>
                <a:gd name="connsiteX226" fmla="*/ 84587 w 358018"/>
                <a:gd name="connsiteY226" fmla="*/ 52326 h 137699"/>
                <a:gd name="connsiteX227" fmla="*/ 81833 w 358018"/>
                <a:gd name="connsiteY227" fmla="*/ 52719 h 137699"/>
                <a:gd name="connsiteX228" fmla="*/ 78685 w 358018"/>
                <a:gd name="connsiteY228" fmla="*/ 53506 h 137699"/>
                <a:gd name="connsiteX229" fmla="*/ 79079 w 358018"/>
                <a:gd name="connsiteY229" fmla="*/ 53506 h 137699"/>
                <a:gd name="connsiteX230" fmla="*/ 67669 w 358018"/>
                <a:gd name="connsiteY230" fmla="*/ 56260 h 137699"/>
                <a:gd name="connsiteX231" fmla="*/ 66489 w 358018"/>
                <a:gd name="connsiteY231" fmla="*/ 56260 h 137699"/>
                <a:gd name="connsiteX232" fmla="*/ 63735 w 358018"/>
                <a:gd name="connsiteY232" fmla="*/ 57047 h 137699"/>
                <a:gd name="connsiteX233" fmla="*/ 60588 w 358018"/>
                <a:gd name="connsiteY233" fmla="*/ 57440 h 137699"/>
                <a:gd name="connsiteX234" fmla="*/ 58227 w 358018"/>
                <a:gd name="connsiteY234" fmla="*/ 58227 h 137699"/>
                <a:gd name="connsiteX235" fmla="*/ 55473 w 358018"/>
                <a:gd name="connsiteY235" fmla="*/ 59014 h 137699"/>
                <a:gd name="connsiteX236" fmla="*/ 52326 w 358018"/>
                <a:gd name="connsiteY236" fmla="*/ 59014 h 137699"/>
                <a:gd name="connsiteX237" fmla="*/ 49572 w 358018"/>
                <a:gd name="connsiteY237" fmla="*/ 59014 h 137699"/>
                <a:gd name="connsiteX238" fmla="*/ 46425 w 358018"/>
                <a:gd name="connsiteY238" fmla="*/ 59801 h 137699"/>
                <a:gd name="connsiteX239" fmla="*/ 43670 w 358018"/>
                <a:gd name="connsiteY239" fmla="*/ 60194 h 137699"/>
                <a:gd name="connsiteX240" fmla="*/ 40523 w 358018"/>
                <a:gd name="connsiteY240" fmla="*/ 60588 h 137699"/>
                <a:gd name="connsiteX241" fmla="*/ 37376 w 358018"/>
                <a:gd name="connsiteY241" fmla="*/ 60981 h 137699"/>
                <a:gd name="connsiteX242" fmla="*/ 34228 w 358018"/>
                <a:gd name="connsiteY242" fmla="*/ 60981 h 137699"/>
                <a:gd name="connsiteX243" fmla="*/ 31474 w 358018"/>
                <a:gd name="connsiteY243" fmla="*/ 61375 h 137699"/>
                <a:gd name="connsiteX244" fmla="*/ 28327 w 358018"/>
                <a:gd name="connsiteY244" fmla="*/ 62161 h 137699"/>
                <a:gd name="connsiteX245" fmla="*/ 25573 w 358018"/>
                <a:gd name="connsiteY245" fmla="*/ 62948 h 137699"/>
                <a:gd name="connsiteX246" fmla="*/ 22425 w 358018"/>
                <a:gd name="connsiteY246" fmla="*/ 63735 h 137699"/>
                <a:gd name="connsiteX247" fmla="*/ 19671 w 358018"/>
                <a:gd name="connsiteY247" fmla="*/ 64128 h 137699"/>
                <a:gd name="connsiteX248" fmla="*/ 16524 w 358018"/>
                <a:gd name="connsiteY248" fmla="*/ 64915 h 137699"/>
                <a:gd name="connsiteX249" fmla="*/ 14163 w 358018"/>
                <a:gd name="connsiteY249" fmla="*/ 68063 h 137699"/>
                <a:gd name="connsiteX250" fmla="*/ 15737 w 358018"/>
                <a:gd name="connsiteY250" fmla="*/ 71210 h 137699"/>
                <a:gd name="connsiteX251" fmla="*/ 18491 w 358018"/>
                <a:gd name="connsiteY251" fmla="*/ 72784 h 137699"/>
                <a:gd name="connsiteX252" fmla="*/ 18098 w 358018"/>
                <a:gd name="connsiteY252" fmla="*/ 75538 h 137699"/>
                <a:gd name="connsiteX253" fmla="*/ 21245 w 358018"/>
                <a:gd name="connsiteY253" fmla="*/ 76718 h 137699"/>
                <a:gd name="connsiteX254" fmla="*/ 24392 w 358018"/>
                <a:gd name="connsiteY254" fmla="*/ 75931 h 137699"/>
                <a:gd name="connsiteX255" fmla="*/ 27540 w 358018"/>
                <a:gd name="connsiteY255" fmla="*/ 76325 h 137699"/>
                <a:gd name="connsiteX256" fmla="*/ 30687 w 358018"/>
                <a:gd name="connsiteY256" fmla="*/ 76718 h 137699"/>
                <a:gd name="connsiteX257" fmla="*/ 36589 w 358018"/>
                <a:gd name="connsiteY257" fmla="*/ 76718 h 137699"/>
                <a:gd name="connsiteX258" fmla="*/ 39736 w 358018"/>
                <a:gd name="connsiteY258" fmla="*/ 76325 h 137699"/>
                <a:gd name="connsiteX259" fmla="*/ 42884 w 358018"/>
                <a:gd name="connsiteY259" fmla="*/ 75931 h 137699"/>
                <a:gd name="connsiteX260" fmla="*/ 48785 w 358018"/>
                <a:gd name="connsiteY260" fmla="*/ 75931 h 137699"/>
                <a:gd name="connsiteX261" fmla="*/ 51932 w 358018"/>
                <a:gd name="connsiteY261" fmla="*/ 77505 h 137699"/>
                <a:gd name="connsiteX262" fmla="*/ 55080 w 358018"/>
                <a:gd name="connsiteY262" fmla="*/ 77112 h 137699"/>
                <a:gd name="connsiteX263" fmla="*/ 64129 w 358018"/>
                <a:gd name="connsiteY263" fmla="*/ 77112 h 137699"/>
                <a:gd name="connsiteX264" fmla="*/ 67276 w 358018"/>
                <a:gd name="connsiteY264" fmla="*/ 76718 h 137699"/>
                <a:gd name="connsiteX265" fmla="*/ 73177 w 358018"/>
                <a:gd name="connsiteY265" fmla="*/ 76718 h 137699"/>
                <a:gd name="connsiteX266" fmla="*/ 76325 w 358018"/>
                <a:gd name="connsiteY266" fmla="*/ 76325 h 137699"/>
                <a:gd name="connsiteX267" fmla="*/ 79079 w 358018"/>
                <a:gd name="connsiteY267" fmla="*/ 75931 h 137699"/>
                <a:gd name="connsiteX268" fmla="*/ 82226 w 358018"/>
                <a:gd name="connsiteY268" fmla="*/ 75931 h 137699"/>
                <a:gd name="connsiteX269" fmla="*/ 84980 w 358018"/>
                <a:gd name="connsiteY269" fmla="*/ 75931 h 137699"/>
                <a:gd name="connsiteX270" fmla="*/ 87734 w 358018"/>
                <a:gd name="connsiteY270" fmla="*/ 75144 h 137699"/>
                <a:gd name="connsiteX271" fmla="*/ 90882 w 358018"/>
                <a:gd name="connsiteY271" fmla="*/ 74751 h 137699"/>
                <a:gd name="connsiteX272" fmla="*/ 94029 w 358018"/>
                <a:gd name="connsiteY272" fmla="*/ 74751 h 137699"/>
                <a:gd name="connsiteX273" fmla="*/ 96783 w 358018"/>
                <a:gd name="connsiteY273" fmla="*/ 74358 h 137699"/>
                <a:gd name="connsiteX274" fmla="*/ 99930 w 358018"/>
                <a:gd name="connsiteY274" fmla="*/ 73571 h 137699"/>
                <a:gd name="connsiteX275" fmla="*/ 102684 w 358018"/>
                <a:gd name="connsiteY275" fmla="*/ 73571 h 137699"/>
                <a:gd name="connsiteX276" fmla="*/ 105438 w 358018"/>
                <a:gd name="connsiteY276" fmla="*/ 74358 h 137699"/>
                <a:gd name="connsiteX277" fmla="*/ 108586 w 358018"/>
                <a:gd name="connsiteY277" fmla="*/ 75144 h 137699"/>
                <a:gd name="connsiteX278" fmla="*/ 110159 w 358018"/>
                <a:gd name="connsiteY278" fmla="*/ 75144 h 137699"/>
                <a:gd name="connsiteX279" fmla="*/ 132191 w 358018"/>
                <a:gd name="connsiteY279" fmla="*/ 82620 h 137699"/>
                <a:gd name="connsiteX280" fmla="*/ 132191 w 358018"/>
                <a:gd name="connsiteY280" fmla="*/ 82620 h 137699"/>
                <a:gd name="connsiteX281" fmla="*/ 134159 w 358018"/>
                <a:gd name="connsiteY281" fmla="*/ 83013 h 137699"/>
                <a:gd name="connsiteX282" fmla="*/ 128650 w 358018"/>
                <a:gd name="connsiteY282" fmla="*/ 83800 h 137699"/>
                <a:gd name="connsiteX283" fmla="*/ 126683 w 358018"/>
                <a:gd name="connsiteY283" fmla="*/ 83406 h 137699"/>
                <a:gd name="connsiteX284" fmla="*/ 126683 w 358018"/>
                <a:gd name="connsiteY284" fmla="*/ 83800 h 137699"/>
                <a:gd name="connsiteX285" fmla="*/ 107799 w 358018"/>
                <a:gd name="connsiteY285" fmla="*/ 85374 h 137699"/>
                <a:gd name="connsiteX286" fmla="*/ 107799 w 358018"/>
                <a:gd name="connsiteY286" fmla="*/ 85374 h 137699"/>
                <a:gd name="connsiteX287" fmla="*/ 106619 w 358018"/>
                <a:gd name="connsiteY287" fmla="*/ 85374 h 137699"/>
                <a:gd name="connsiteX288" fmla="*/ 100324 w 358018"/>
                <a:gd name="connsiteY288" fmla="*/ 85767 h 137699"/>
                <a:gd name="connsiteX289" fmla="*/ 98357 w 358018"/>
                <a:gd name="connsiteY289" fmla="*/ 85767 h 137699"/>
                <a:gd name="connsiteX290" fmla="*/ 95603 w 358018"/>
                <a:gd name="connsiteY290" fmla="*/ 86160 h 137699"/>
                <a:gd name="connsiteX291" fmla="*/ 92849 w 358018"/>
                <a:gd name="connsiteY291" fmla="*/ 86160 h 137699"/>
                <a:gd name="connsiteX292" fmla="*/ 90095 w 358018"/>
                <a:gd name="connsiteY292" fmla="*/ 86160 h 137699"/>
                <a:gd name="connsiteX293" fmla="*/ 86947 w 358018"/>
                <a:gd name="connsiteY293" fmla="*/ 85767 h 137699"/>
                <a:gd name="connsiteX294" fmla="*/ 84193 w 358018"/>
                <a:gd name="connsiteY294" fmla="*/ 84980 h 137699"/>
                <a:gd name="connsiteX295" fmla="*/ 81439 w 358018"/>
                <a:gd name="connsiteY295" fmla="*/ 84587 h 137699"/>
                <a:gd name="connsiteX296" fmla="*/ 78292 w 358018"/>
                <a:gd name="connsiteY296" fmla="*/ 84980 h 137699"/>
                <a:gd name="connsiteX297" fmla="*/ 75145 w 358018"/>
                <a:gd name="connsiteY297" fmla="*/ 84980 h 137699"/>
                <a:gd name="connsiteX298" fmla="*/ 72391 w 358018"/>
                <a:gd name="connsiteY298" fmla="*/ 85374 h 137699"/>
                <a:gd name="connsiteX299" fmla="*/ 69637 w 358018"/>
                <a:gd name="connsiteY299" fmla="*/ 85374 h 137699"/>
                <a:gd name="connsiteX300" fmla="*/ 66489 w 358018"/>
                <a:gd name="connsiteY300" fmla="*/ 85767 h 137699"/>
                <a:gd name="connsiteX301" fmla="*/ 60588 w 358018"/>
                <a:gd name="connsiteY301" fmla="*/ 85767 h 137699"/>
                <a:gd name="connsiteX302" fmla="*/ 57834 w 358018"/>
                <a:gd name="connsiteY302" fmla="*/ 86160 h 137699"/>
                <a:gd name="connsiteX303" fmla="*/ 55080 w 358018"/>
                <a:gd name="connsiteY303" fmla="*/ 86554 h 137699"/>
                <a:gd name="connsiteX304" fmla="*/ 51932 w 358018"/>
                <a:gd name="connsiteY304" fmla="*/ 86554 h 137699"/>
                <a:gd name="connsiteX305" fmla="*/ 48785 w 358018"/>
                <a:gd name="connsiteY305" fmla="*/ 86947 h 137699"/>
                <a:gd name="connsiteX306" fmla="*/ 46031 w 358018"/>
                <a:gd name="connsiteY306" fmla="*/ 86947 h 137699"/>
                <a:gd name="connsiteX307" fmla="*/ 42884 w 358018"/>
                <a:gd name="connsiteY307" fmla="*/ 87341 h 137699"/>
                <a:gd name="connsiteX308" fmla="*/ 40130 w 358018"/>
                <a:gd name="connsiteY308" fmla="*/ 87341 h 137699"/>
                <a:gd name="connsiteX309" fmla="*/ 37376 w 358018"/>
                <a:gd name="connsiteY309" fmla="*/ 88127 h 137699"/>
                <a:gd name="connsiteX310" fmla="*/ 34622 w 358018"/>
                <a:gd name="connsiteY310" fmla="*/ 88127 h 137699"/>
                <a:gd name="connsiteX311" fmla="*/ 31868 w 358018"/>
                <a:gd name="connsiteY311" fmla="*/ 88521 h 137699"/>
                <a:gd name="connsiteX312" fmla="*/ 28720 w 358018"/>
                <a:gd name="connsiteY312" fmla="*/ 88914 h 137699"/>
                <a:gd name="connsiteX313" fmla="*/ 25573 w 358018"/>
                <a:gd name="connsiteY313" fmla="*/ 89308 h 137699"/>
                <a:gd name="connsiteX314" fmla="*/ 22819 w 358018"/>
                <a:gd name="connsiteY314" fmla="*/ 89701 h 137699"/>
                <a:gd name="connsiteX315" fmla="*/ 20065 w 358018"/>
                <a:gd name="connsiteY315" fmla="*/ 90095 h 137699"/>
                <a:gd name="connsiteX316" fmla="*/ 16918 w 358018"/>
                <a:gd name="connsiteY316" fmla="*/ 90095 h 137699"/>
                <a:gd name="connsiteX317" fmla="*/ 14163 w 358018"/>
                <a:gd name="connsiteY317" fmla="*/ 90488 h 137699"/>
                <a:gd name="connsiteX318" fmla="*/ 11016 w 358018"/>
                <a:gd name="connsiteY318" fmla="*/ 91275 h 137699"/>
                <a:gd name="connsiteX319" fmla="*/ 7869 w 358018"/>
                <a:gd name="connsiteY319" fmla="*/ 92062 h 137699"/>
                <a:gd name="connsiteX320" fmla="*/ 5115 w 358018"/>
                <a:gd name="connsiteY320" fmla="*/ 92849 h 137699"/>
                <a:gd name="connsiteX321" fmla="*/ 3148 w 358018"/>
                <a:gd name="connsiteY321" fmla="*/ 93635 h 137699"/>
                <a:gd name="connsiteX322" fmla="*/ 1180 w 358018"/>
                <a:gd name="connsiteY322" fmla="*/ 96389 h 137699"/>
                <a:gd name="connsiteX323" fmla="*/ 0 w 358018"/>
                <a:gd name="connsiteY323" fmla="*/ 99537 h 137699"/>
                <a:gd name="connsiteX324" fmla="*/ 1180 w 358018"/>
                <a:gd name="connsiteY324" fmla="*/ 102291 h 137699"/>
                <a:gd name="connsiteX325" fmla="*/ 3934 w 358018"/>
                <a:gd name="connsiteY325" fmla="*/ 103471 h 137699"/>
                <a:gd name="connsiteX326" fmla="*/ 1180 w 358018"/>
                <a:gd name="connsiteY326" fmla="*/ 105438 h 137699"/>
                <a:gd name="connsiteX327" fmla="*/ 3934 w 358018"/>
                <a:gd name="connsiteY327" fmla="*/ 106619 h 137699"/>
                <a:gd name="connsiteX328" fmla="*/ 7082 w 358018"/>
                <a:gd name="connsiteY328" fmla="*/ 106225 h 137699"/>
                <a:gd name="connsiteX329" fmla="*/ 4328 w 358018"/>
                <a:gd name="connsiteY329" fmla="*/ 108586 h 137699"/>
                <a:gd name="connsiteX330" fmla="*/ 6688 w 358018"/>
                <a:gd name="connsiteY330" fmla="*/ 111340 h 137699"/>
                <a:gd name="connsiteX331" fmla="*/ 9836 w 358018"/>
                <a:gd name="connsiteY331" fmla="*/ 112520 h 137699"/>
                <a:gd name="connsiteX332" fmla="*/ 12590 w 358018"/>
                <a:gd name="connsiteY332" fmla="*/ 114094 h 137699"/>
                <a:gd name="connsiteX333" fmla="*/ 15344 w 358018"/>
                <a:gd name="connsiteY333" fmla="*/ 114094 h 137699"/>
                <a:gd name="connsiteX334" fmla="*/ 18491 w 358018"/>
                <a:gd name="connsiteY334" fmla="*/ 114487 h 137699"/>
                <a:gd name="connsiteX335" fmla="*/ 21638 w 358018"/>
                <a:gd name="connsiteY335" fmla="*/ 114880 h 137699"/>
                <a:gd name="connsiteX336" fmla="*/ 24392 w 358018"/>
                <a:gd name="connsiteY336" fmla="*/ 114880 h 137699"/>
                <a:gd name="connsiteX337" fmla="*/ 27147 w 358018"/>
                <a:gd name="connsiteY337" fmla="*/ 115667 h 137699"/>
                <a:gd name="connsiteX338" fmla="*/ 30294 w 358018"/>
                <a:gd name="connsiteY338" fmla="*/ 115274 h 137699"/>
                <a:gd name="connsiteX339" fmla="*/ 33441 w 358018"/>
                <a:gd name="connsiteY339" fmla="*/ 114487 h 137699"/>
                <a:gd name="connsiteX340" fmla="*/ 36195 w 358018"/>
                <a:gd name="connsiteY340" fmla="*/ 115274 h 137699"/>
                <a:gd name="connsiteX341" fmla="*/ 39343 w 358018"/>
                <a:gd name="connsiteY341" fmla="*/ 114880 h 137699"/>
                <a:gd name="connsiteX342" fmla="*/ 42490 w 358018"/>
                <a:gd name="connsiteY342" fmla="*/ 114487 h 137699"/>
                <a:gd name="connsiteX343" fmla="*/ 45638 w 358018"/>
                <a:gd name="connsiteY343" fmla="*/ 114487 h 137699"/>
                <a:gd name="connsiteX344" fmla="*/ 48392 w 358018"/>
                <a:gd name="connsiteY344" fmla="*/ 114094 h 137699"/>
                <a:gd name="connsiteX345" fmla="*/ 51145 w 358018"/>
                <a:gd name="connsiteY345" fmla="*/ 115274 h 137699"/>
                <a:gd name="connsiteX346" fmla="*/ 53899 w 358018"/>
                <a:gd name="connsiteY346" fmla="*/ 115274 h 137699"/>
                <a:gd name="connsiteX347" fmla="*/ 57047 w 358018"/>
                <a:gd name="connsiteY347" fmla="*/ 116061 h 137699"/>
                <a:gd name="connsiteX348" fmla="*/ 60194 w 358018"/>
                <a:gd name="connsiteY348" fmla="*/ 116454 h 137699"/>
                <a:gd name="connsiteX349" fmla="*/ 57047 w 358018"/>
                <a:gd name="connsiteY349" fmla="*/ 118421 h 137699"/>
                <a:gd name="connsiteX350" fmla="*/ 54686 w 358018"/>
                <a:gd name="connsiteY350" fmla="*/ 121569 h 137699"/>
                <a:gd name="connsiteX351" fmla="*/ 48785 w 358018"/>
                <a:gd name="connsiteY351" fmla="*/ 127077 h 137699"/>
                <a:gd name="connsiteX352" fmla="*/ 47605 w 358018"/>
                <a:gd name="connsiteY352" fmla="*/ 129831 h 137699"/>
                <a:gd name="connsiteX353" fmla="*/ 46818 w 358018"/>
                <a:gd name="connsiteY353" fmla="*/ 132978 h 137699"/>
                <a:gd name="connsiteX354" fmla="*/ 49965 w 358018"/>
                <a:gd name="connsiteY354" fmla="*/ 134945 h 137699"/>
                <a:gd name="connsiteX355" fmla="*/ 46818 w 358018"/>
                <a:gd name="connsiteY355" fmla="*/ 136912 h 137699"/>
                <a:gd name="connsiteX356" fmla="*/ 49965 w 358018"/>
                <a:gd name="connsiteY356" fmla="*/ 137699 h 137699"/>
                <a:gd name="connsiteX357" fmla="*/ 52719 w 358018"/>
                <a:gd name="connsiteY357" fmla="*/ 137699 h 137699"/>
                <a:gd name="connsiteX358" fmla="*/ 55867 w 358018"/>
                <a:gd name="connsiteY358" fmla="*/ 137699 h 137699"/>
                <a:gd name="connsiteX359" fmla="*/ 59014 w 358018"/>
                <a:gd name="connsiteY359" fmla="*/ 137699 h 137699"/>
                <a:gd name="connsiteX360" fmla="*/ 62162 w 358018"/>
                <a:gd name="connsiteY360" fmla="*/ 136912 h 137699"/>
                <a:gd name="connsiteX361" fmla="*/ 64915 w 358018"/>
                <a:gd name="connsiteY361" fmla="*/ 136912 h 137699"/>
                <a:gd name="connsiteX362" fmla="*/ 68063 w 358018"/>
                <a:gd name="connsiteY362" fmla="*/ 136126 h 137699"/>
                <a:gd name="connsiteX363" fmla="*/ 74358 w 358018"/>
                <a:gd name="connsiteY363" fmla="*/ 136126 h 137699"/>
                <a:gd name="connsiteX364" fmla="*/ 77112 w 358018"/>
                <a:gd name="connsiteY364" fmla="*/ 135732 h 137699"/>
                <a:gd name="connsiteX365" fmla="*/ 80259 w 358018"/>
                <a:gd name="connsiteY365" fmla="*/ 135732 h 137699"/>
                <a:gd name="connsiteX366" fmla="*/ 83406 w 358018"/>
                <a:gd name="connsiteY366" fmla="*/ 135732 h 137699"/>
                <a:gd name="connsiteX367" fmla="*/ 86160 w 358018"/>
                <a:gd name="connsiteY367" fmla="*/ 135732 h 137699"/>
                <a:gd name="connsiteX368" fmla="*/ 89308 w 358018"/>
                <a:gd name="connsiteY368" fmla="*/ 136126 h 137699"/>
                <a:gd name="connsiteX369" fmla="*/ 92455 w 358018"/>
                <a:gd name="connsiteY369" fmla="*/ 135732 h 137699"/>
                <a:gd name="connsiteX370" fmla="*/ 89308 w 358018"/>
                <a:gd name="connsiteY370" fmla="*/ 134945 h 137699"/>
                <a:gd name="connsiteX371" fmla="*/ 92455 w 358018"/>
                <a:gd name="connsiteY371" fmla="*/ 134552 h 137699"/>
                <a:gd name="connsiteX372" fmla="*/ 95603 w 358018"/>
                <a:gd name="connsiteY372" fmla="*/ 134552 h 137699"/>
                <a:gd name="connsiteX373" fmla="*/ 98357 w 358018"/>
                <a:gd name="connsiteY373" fmla="*/ 133765 h 137699"/>
                <a:gd name="connsiteX374" fmla="*/ 101504 w 358018"/>
                <a:gd name="connsiteY374" fmla="*/ 133765 h 137699"/>
                <a:gd name="connsiteX375" fmla="*/ 98357 w 358018"/>
                <a:gd name="connsiteY375" fmla="*/ 134945 h 137699"/>
                <a:gd name="connsiteX376" fmla="*/ 101504 w 358018"/>
                <a:gd name="connsiteY376" fmla="*/ 134945 h 137699"/>
                <a:gd name="connsiteX377" fmla="*/ 104652 w 358018"/>
                <a:gd name="connsiteY377" fmla="*/ 134552 h 137699"/>
                <a:gd name="connsiteX378" fmla="*/ 107406 w 358018"/>
                <a:gd name="connsiteY378" fmla="*/ 133765 h 137699"/>
                <a:gd name="connsiteX379" fmla="*/ 110553 w 358018"/>
                <a:gd name="connsiteY379" fmla="*/ 133765 h 137699"/>
                <a:gd name="connsiteX380" fmla="*/ 113700 w 358018"/>
                <a:gd name="connsiteY380" fmla="*/ 134552 h 137699"/>
                <a:gd name="connsiteX381" fmla="*/ 116454 w 358018"/>
                <a:gd name="connsiteY381" fmla="*/ 133372 h 137699"/>
                <a:gd name="connsiteX382" fmla="*/ 119602 w 358018"/>
                <a:gd name="connsiteY382" fmla="*/ 132978 h 137699"/>
                <a:gd name="connsiteX383" fmla="*/ 121962 w 358018"/>
                <a:gd name="connsiteY383" fmla="*/ 133372 h 137699"/>
                <a:gd name="connsiteX384" fmla="*/ 125896 w 358018"/>
                <a:gd name="connsiteY384" fmla="*/ 132978 h 137699"/>
                <a:gd name="connsiteX385" fmla="*/ 127864 w 358018"/>
                <a:gd name="connsiteY385" fmla="*/ 132978 h 137699"/>
                <a:gd name="connsiteX386" fmla="*/ 131011 w 358018"/>
                <a:gd name="connsiteY386" fmla="*/ 132585 h 137699"/>
                <a:gd name="connsiteX387" fmla="*/ 133765 w 358018"/>
                <a:gd name="connsiteY387" fmla="*/ 131798 h 137699"/>
                <a:gd name="connsiteX388" fmla="*/ 135339 w 358018"/>
                <a:gd name="connsiteY388" fmla="*/ 131798 h 137699"/>
                <a:gd name="connsiteX389" fmla="*/ 139666 w 358018"/>
                <a:gd name="connsiteY389" fmla="*/ 131011 h 137699"/>
                <a:gd name="connsiteX390" fmla="*/ 140060 w 358018"/>
                <a:gd name="connsiteY390" fmla="*/ 131011 h 137699"/>
                <a:gd name="connsiteX391" fmla="*/ 142814 w 358018"/>
                <a:gd name="connsiteY391" fmla="*/ 130618 h 137699"/>
                <a:gd name="connsiteX392" fmla="*/ 144781 w 358018"/>
                <a:gd name="connsiteY392" fmla="*/ 130618 h 137699"/>
                <a:gd name="connsiteX393" fmla="*/ 234876 w 358018"/>
                <a:gd name="connsiteY393" fmla="*/ 118815 h 137699"/>
                <a:gd name="connsiteX394" fmla="*/ 236056 w 358018"/>
                <a:gd name="connsiteY394" fmla="*/ 119602 h 137699"/>
                <a:gd name="connsiteX395" fmla="*/ 238810 w 358018"/>
                <a:gd name="connsiteY395" fmla="*/ 119602 h 137699"/>
                <a:gd name="connsiteX396" fmla="*/ 241564 w 358018"/>
                <a:gd name="connsiteY396" fmla="*/ 120388 h 137699"/>
                <a:gd name="connsiteX397" fmla="*/ 244711 w 358018"/>
                <a:gd name="connsiteY397" fmla="*/ 119602 h 137699"/>
                <a:gd name="connsiteX398" fmla="*/ 241957 w 358018"/>
                <a:gd name="connsiteY398" fmla="*/ 122749 h 137699"/>
                <a:gd name="connsiteX399" fmla="*/ 239203 w 358018"/>
                <a:gd name="connsiteY399" fmla="*/ 122749 h 137699"/>
                <a:gd name="connsiteX400" fmla="*/ 236056 w 358018"/>
                <a:gd name="connsiteY400" fmla="*/ 123536 h 137699"/>
                <a:gd name="connsiteX401" fmla="*/ 238810 w 358018"/>
                <a:gd name="connsiteY401" fmla="*/ 125503 h 137699"/>
                <a:gd name="connsiteX402" fmla="*/ 241957 w 358018"/>
                <a:gd name="connsiteY402" fmla="*/ 125896 h 137699"/>
                <a:gd name="connsiteX403" fmla="*/ 244711 w 358018"/>
                <a:gd name="connsiteY403" fmla="*/ 126290 h 137699"/>
                <a:gd name="connsiteX404" fmla="*/ 247465 w 358018"/>
                <a:gd name="connsiteY404" fmla="*/ 126290 h 137699"/>
                <a:gd name="connsiteX405" fmla="*/ 250613 w 358018"/>
                <a:gd name="connsiteY405" fmla="*/ 125503 h 137699"/>
                <a:gd name="connsiteX406" fmla="*/ 253760 w 358018"/>
                <a:gd name="connsiteY406" fmla="*/ 124323 h 137699"/>
                <a:gd name="connsiteX407" fmla="*/ 256514 w 358018"/>
                <a:gd name="connsiteY407" fmla="*/ 123929 h 137699"/>
                <a:gd name="connsiteX408" fmla="*/ 259661 w 358018"/>
                <a:gd name="connsiteY408" fmla="*/ 126683 h 137699"/>
                <a:gd name="connsiteX409" fmla="*/ 262416 w 358018"/>
                <a:gd name="connsiteY409" fmla="*/ 126683 h 137699"/>
                <a:gd name="connsiteX410" fmla="*/ 265563 w 358018"/>
                <a:gd name="connsiteY410" fmla="*/ 127470 h 137699"/>
                <a:gd name="connsiteX411" fmla="*/ 268317 w 358018"/>
                <a:gd name="connsiteY411" fmla="*/ 127470 h 137699"/>
                <a:gd name="connsiteX412" fmla="*/ 271464 w 358018"/>
                <a:gd name="connsiteY412" fmla="*/ 128650 h 137699"/>
                <a:gd name="connsiteX413" fmla="*/ 274612 w 358018"/>
                <a:gd name="connsiteY413" fmla="*/ 127077 h 137699"/>
                <a:gd name="connsiteX414" fmla="*/ 277366 w 358018"/>
                <a:gd name="connsiteY414" fmla="*/ 126683 h 137699"/>
                <a:gd name="connsiteX415" fmla="*/ 280513 w 358018"/>
                <a:gd name="connsiteY415" fmla="*/ 128257 h 137699"/>
                <a:gd name="connsiteX416" fmla="*/ 283267 w 358018"/>
                <a:gd name="connsiteY416" fmla="*/ 127864 h 137699"/>
                <a:gd name="connsiteX417" fmla="*/ 286021 w 358018"/>
                <a:gd name="connsiteY417" fmla="*/ 127077 h 137699"/>
                <a:gd name="connsiteX418" fmla="*/ 289168 w 358018"/>
                <a:gd name="connsiteY418" fmla="*/ 125503 h 137699"/>
                <a:gd name="connsiteX419" fmla="*/ 292316 w 358018"/>
                <a:gd name="connsiteY419" fmla="*/ 126290 h 137699"/>
                <a:gd name="connsiteX420" fmla="*/ 295070 w 358018"/>
                <a:gd name="connsiteY420" fmla="*/ 125503 h 137699"/>
                <a:gd name="connsiteX421" fmla="*/ 298217 w 358018"/>
                <a:gd name="connsiteY421" fmla="*/ 123536 h 137699"/>
                <a:gd name="connsiteX422" fmla="*/ 301365 w 358018"/>
                <a:gd name="connsiteY422" fmla="*/ 123929 h 137699"/>
                <a:gd name="connsiteX423" fmla="*/ 304119 w 358018"/>
                <a:gd name="connsiteY423" fmla="*/ 123536 h 137699"/>
                <a:gd name="connsiteX424" fmla="*/ 306873 w 358018"/>
                <a:gd name="connsiteY424" fmla="*/ 122356 h 137699"/>
                <a:gd name="connsiteX425" fmla="*/ 310020 w 358018"/>
                <a:gd name="connsiteY425" fmla="*/ 122749 h 137699"/>
                <a:gd name="connsiteX426" fmla="*/ 312774 w 358018"/>
                <a:gd name="connsiteY426" fmla="*/ 120782 h 137699"/>
                <a:gd name="connsiteX427" fmla="*/ 315922 w 358018"/>
                <a:gd name="connsiteY427" fmla="*/ 119602 h 137699"/>
                <a:gd name="connsiteX428" fmla="*/ 317889 w 358018"/>
                <a:gd name="connsiteY428" fmla="*/ 116454 h 137699"/>
                <a:gd name="connsiteX429" fmla="*/ 315135 w 358018"/>
                <a:gd name="connsiteY429" fmla="*/ 115274 h 137699"/>
                <a:gd name="connsiteX430" fmla="*/ 311987 w 358018"/>
                <a:gd name="connsiteY430" fmla="*/ 116848 h 137699"/>
                <a:gd name="connsiteX431" fmla="*/ 318282 w 358018"/>
                <a:gd name="connsiteY431" fmla="*/ 111733 h 137699"/>
                <a:gd name="connsiteX432" fmla="*/ 321036 w 358018"/>
                <a:gd name="connsiteY432" fmla="*/ 110553 h 137699"/>
                <a:gd name="connsiteX433" fmla="*/ 318282 w 358018"/>
                <a:gd name="connsiteY433" fmla="*/ 108586 h 137699"/>
                <a:gd name="connsiteX434" fmla="*/ 315135 w 358018"/>
                <a:gd name="connsiteY434" fmla="*/ 108192 h 137699"/>
                <a:gd name="connsiteX435" fmla="*/ 311987 w 358018"/>
                <a:gd name="connsiteY435" fmla="*/ 108586 h 137699"/>
                <a:gd name="connsiteX436" fmla="*/ 308840 w 358018"/>
                <a:gd name="connsiteY436" fmla="*/ 110159 h 137699"/>
                <a:gd name="connsiteX437" fmla="*/ 306086 w 358018"/>
                <a:gd name="connsiteY437" fmla="*/ 110553 h 137699"/>
                <a:gd name="connsiteX438" fmla="*/ 302938 w 358018"/>
                <a:gd name="connsiteY438" fmla="*/ 111340 h 137699"/>
                <a:gd name="connsiteX439" fmla="*/ 300185 w 358018"/>
                <a:gd name="connsiteY439" fmla="*/ 111340 h 137699"/>
                <a:gd name="connsiteX440" fmla="*/ 297431 w 358018"/>
                <a:gd name="connsiteY440" fmla="*/ 113700 h 137699"/>
                <a:gd name="connsiteX441" fmla="*/ 294677 w 358018"/>
                <a:gd name="connsiteY441" fmla="*/ 114487 h 137699"/>
                <a:gd name="connsiteX442" fmla="*/ 291529 w 358018"/>
                <a:gd name="connsiteY442" fmla="*/ 116454 h 137699"/>
                <a:gd name="connsiteX443" fmla="*/ 288382 w 358018"/>
                <a:gd name="connsiteY443" fmla="*/ 117634 h 137699"/>
                <a:gd name="connsiteX444" fmla="*/ 285628 w 358018"/>
                <a:gd name="connsiteY444" fmla="*/ 119208 h 137699"/>
                <a:gd name="connsiteX445" fmla="*/ 288775 w 358018"/>
                <a:gd name="connsiteY445" fmla="*/ 116454 h 137699"/>
                <a:gd name="connsiteX446" fmla="*/ 291529 w 358018"/>
                <a:gd name="connsiteY446" fmla="*/ 115667 h 137699"/>
                <a:gd name="connsiteX447" fmla="*/ 294677 w 358018"/>
                <a:gd name="connsiteY447" fmla="*/ 113700 h 137699"/>
                <a:gd name="connsiteX448" fmla="*/ 297431 w 358018"/>
                <a:gd name="connsiteY448" fmla="*/ 110946 h 137699"/>
                <a:gd name="connsiteX449" fmla="*/ 332839 w 358018"/>
                <a:gd name="connsiteY449" fmla="*/ 101111 h 137699"/>
                <a:gd name="connsiteX450" fmla="*/ 333232 w 358018"/>
                <a:gd name="connsiteY450" fmla="*/ 101504 h 137699"/>
                <a:gd name="connsiteX451" fmla="*/ 336380 w 358018"/>
                <a:gd name="connsiteY451" fmla="*/ 102291 h 137699"/>
                <a:gd name="connsiteX452" fmla="*/ 339134 w 358018"/>
                <a:gd name="connsiteY452" fmla="*/ 100324 h 137699"/>
                <a:gd name="connsiteX453" fmla="*/ 342281 w 358018"/>
                <a:gd name="connsiteY453" fmla="*/ 98357 h 137699"/>
                <a:gd name="connsiteX454" fmla="*/ 342281 w 358018"/>
                <a:gd name="connsiteY454" fmla="*/ 98357 h 137699"/>
                <a:gd name="connsiteX455" fmla="*/ 343855 w 358018"/>
                <a:gd name="connsiteY455" fmla="*/ 97963 h 137699"/>
                <a:gd name="connsiteX456" fmla="*/ 342281 w 358018"/>
                <a:gd name="connsiteY456" fmla="*/ 99537 h 137699"/>
                <a:gd name="connsiteX457" fmla="*/ 342281 w 358018"/>
                <a:gd name="connsiteY457" fmla="*/ 102291 h 137699"/>
                <a:gd name="connsiteX458" fmla="*/ 345035 w 358018"/>
                <a:gd name="connsiteY458" fmla="*/ 103078 h 137699"/>
                <a:gd name="connsiteX459" fmla="*/ 348182 w 358018"/>
                <a:gd name="connsiteY459" fmla="*/ 103078 h 137699"/>
                <a:gd name="connsiteX460" fmla="*/ 350936 w 358018"/>
                <a:gd name="connsiteY460" fmla="*/ 102291 h 137699"/>
                <a:gd name="connsiteX461" fmla="*/ 354084 w 358018"/>
                <a:gd name="connsiteY461" fmla="*/ 100324 h 137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</a:cxnLst>
              <a:rect l="l" t="t" r="r" b="b"/>
              <a:pathLst>
                <a:path w="358018" h="137699">
                  <a:moveTo>
                    <a:pt x="356838" y="97570"/>
                  </a:moveTo>
                  <a:lnTo>
                    <a:pt x="358805" y="94422"/>
                  </a:lnTo>
                  <a:lnTo>
                    <a:pt x="359592" y="93635"/>
                  </a:lnTo>
                  <a:lnTo>
                    <a:pt x="361166" y="90881"/>
                  </a:lnTo>
                  <a:lnTo>
                    <a:pt x="358018" y="89308"/>
                  </a:lnTo>
                  <a:lnTo>
                    <a:pt x="355264" y="88521"/>
                  </a:lnTo>
                  <a:lnTo>
                    <a:pt x="352904" y="89701"/>
                  </a:lnTo>
                  <a:lnTo>
                    <a:pt x="350543" y="88127"/>
                  </a:lnTo>
                  <a:lnTo>
                    <a:pt x="352117" y="86554"/>
                  </a:lnTo>
                  <a:lnTo>
                    <a:pt x="349363" y="85374"/>
                  </a:lnTo>
                  <a:lnTo>
                    <a:pt x="347396" y="86160"/>
                  </a:lnTo>
                  <a:lnTo>
                    <a:pt x="334806" y="78292"/>
                  </a:lnTo>
                  <a:lnTo>
                    <a:pt x="335199" y="76718"/>
                  </a:lnTo>
                  <a:lnTo>
                    <a:pt x="332052" y="74751"/>
                  </a:lnTo>
                  <a:lnTo>
                    <a:pt x="330872" y="75931"/>
                  </a:lnTo>
                  <a:lnTo>
                    <a:pt x="317102" y="67276"/>
                  </a:lnTo>
                  <a:lnTo>
                    <a:pt x="317102" y="66882"/>
                  </a:lnTo>
                  <a:lnTo>
                    <a:pt x="314348" y="65702"/>
                  </a:lnTo>
                  <a:lnTo>
                    <a:pt x="317889" y="60588"/>
                  </a:lnTo>
                  <a:lnTo>
                    <a:pt x="319069" y="59801"/>
                  </a:lnTo>
                  <a:lnTo>
                    <a:pt x="322216" y="57047"/>
                  </a:lnTo>
                  <a:lnTo>
                    <a:pt x="324970" y="55473"/>
                  </a:lnTo>
                  <a:lnTo>
                    <a:pt x="328118" y="55473"/>
                  </a:lnTo>
                  <a:lnTo>
                    <a:pt x="330478" y="52719"/>
                  </a:lnTo>
                  <a:lnTo>
                    <a:pt x="332839" y="49572"/>
                  </a:lnTo>
                  <a:lnTo>
                    <a:pt x="333232" y="46818"/>
                  </a:lnTo>
                  <a:lnTo>
                    <a:pt x="333232" y="43670"/>
                  </a:lnTo>
                  <a:lnTo>
                    <a:pt x="332445" y="40916"/>
                  </a:lnTo>
                  <a:lnTo>
                    <a:pt x="335199" y="38162"/>
                  </a:lnTo>
                  <a:lnTo>
                    <a:pt x="335199" y="35015"/>
                  </a:lnTo>
                  <a:lnTo>
                    <a:pt x="338347" y="33441"/>
                  </a:lnTo>
                  <a:lnTo>
                    <a:pt x="339527" y="30294"/>
                  </a:lnTo>
                  <a:lnTo>
                    <a:pt x="340314" y="27540"/>
                  </a:lnTo>
                  <a:lnTo>
                    <a:pt x="343461" y="24392"/>
                  </a:lnTo>
                  <a:lnTo>
                    <a:pt x="344248" y="21638"/>
                  </a:lnTo>
                  <a:lnTo>
                    <a:pt x="347002" y="19671"/>
                  </a:lnTo>
                  <a:lnTo>
                    <a:pt x="346215" y="17704"/>
                  </a:lnTo>
                  <a:lnTo>
                    <a:pt x="349363" y="17311"/>
                  </a:lnTo>
                  <a:lnTo>
                    <a:pt x="348576" y="14557"/>
                  </a:lnTo>
                  <a:lnTo>
                    <a:pt x="349363" y="11409"/>
                  </a:lnTo>
                  <a:lnTo>
                    <a:pt x="347002" y="8262"/>
                  </a:lnTo>
                  <a:lnTo>
                    <a:pt x="344248" y="9049"/>
                  </a:lnTo>
                  <a:lnTo>
                    <a:pt x="341101" y="7869"/>
                  </a:lnTo>
                  <a:lnTo>
                    <a:pt x="339134" y="5115"/>
                  </a:lnTo>
                  <a:lnTo>
                    <a:pt x="336380" y="3934"/>
                  </a:lnTo>
                  <a:lnTo>
                    <a:pt x="333232" y="1967"/>
                  </a:lnTo>
                  <a:lnTo>
                    <a:pt x="332052" y="1967"/>
                  </a:lnTo>
                  <a:lnTo>
                    <a:pt x="324184" y="3934"/>
                  </a:lnTo>
                  <a:lnTo>
                    <a:pt x="323003" y="3147"/>
                  </a:lnTo>
                  <a:lnTo>
                    <a:pt x="320249" y="1574"/>
                  </a:lnTo>
                  <a:lnTo>
                    <a:pt x="317102" y="1180"/>
                  </a:lnTo>
                  <a:lnTo>
                    <a:pt x="314348" y="787"/>
                  </a:lnTo>
                  <a:lnTo>
                    <a:pt x="311200" y="393"/>
                  </a:lnTo>
                  <a:lnTo>
                    <a:pt x="308446" y="1967"/>
                  </a:lnTo>
                  <a:lnTo>
                    <a:pt x="310414" y="4721"/>
                  </a:lnTo>
                  <a:lnTo>
                    <a:pt x="304512" y="4721"/>
                  </a:lnTo>
                  <a:lnTo>
                    <a:pt x="301365" y="5508"/>
                  </a:lnTo>
                  <a:lnTo>
                    <a:pt x="299791" y="8262"/>
                  </a:lnTo>
                  <a:lnTo>
                    <a:pt x="296644" y="11409"/>
                  </a:lnTo>
                  <a:lnTo>
                    <a:pt x="291529" y="16917"/>
                  </a:lnTo>
                  <a:lnTo>
                    <a:pt x="291529" y="17704"/>
                  </a:lnTo>
                  <a:lnTo>
                    <a:pt x="263596" y="46031"/>
                  </a:lnTo>
                  <a:lnTo>
                    <a:pt x="263202" y="46031"/>
                  </a:lnTo>
                  <a:lnTo>
                    <a:pt x="261235" y="48391"/>
                  </a:lnTo>
                  <a:lnTo>
                    <a:pt x="260448" y="40523"/>
                  </a:lnTo>
                  <a:lnTo>
                    <a:pt x="260842" y="40523"/>
                  </a:lnTo>
                  <a:lnTo>
                    <a:pt x="263596" y="38949"/>
                  </a:lnTo>
                  <a:lnTo>
                    <a:pt x="260842" y="39736"/>
                  </a:lnTo>
                  <a:lnTo>
                    <a:pt x="260448" y="37769"/>
                  </a:lnTo>
                  <a:lnTo>
                    <a:pt x="263202" y="35802"/>
                  </a:lnTo>
                  <a:lnTo>
                    <a:pt x="263596" y="32654"/>
                  </a:lnTo>
                  <a:lnTo>
                    <a:pt x="265956" y="29900"/>
                  </a:lnTo>
                  <a:lnTo>
                    <a:pt x="267924" y="27146"/>
                  </a:lnTo>
                  <a:lnTo>
                    <a:pt x="271071" y="25179"/>
                  </a:lnTo>
                  <a:lnTo>
                    <a:pt x="273825" y="22819"/>
                  </a:lnTo>
                  <a:lnTo>
                    <a:pt x="270678" y="20852"/>
                  </a:lnTo>
                  <a:lnTo>
                    <a:pt x="267530" y="22032"/>
                  </a:lnTo>
                  <a:lnTo>
                    <a:pt x="271071" y="19278"/>
                  </a:lnTo>
                  <a:lnTo>
                    <a:pt x="269891" y="17704"/>
                  </a:lnTo>
                  <a:lnTo>
                    <a:pt x="269104" y="16524"/>
                  </a:lnTo>
                  <a:lnTo>
                    <a:pt x="263596" y="13376"/>
                  </a:lnTo>
                  <a:lnTo>
                    <a:pt x="264383" y="12196"/>
                  </a:lnTo>
                  <a:lnTo>
                    <a:pt x="262022" y="12196"/>
                  </a:lnTo>
                  <a:lnTo>
                    <a:pt x="259268" y="10623"/>
                  </a:lnTo>
                  <a:lnTo>
                    <a:pt x="256121" y="10229"/>
                  </a:lnTo>
                  <a:lnTo>
                    <a:pt x="252973" y="9836"/>
                  </a:lnTo>
                  <a:lnTo>
                    <a:pt x="246678" y="9836"/>
                  </a:lnTo>
                  <a:lnTo>
                    <a:pt x="243531" y="10623"/>
                  </a:lnTo>
                  <a:lnTo>
                    <a:pt x="243924" y="13376"/>
                  </a:lnTo>
                  <a:lnTo>
                    <a:pt x="244318" y="14557"/>
                  </a:lnTo>
                  <a:lnTo>
                    <a:pt x="249039" y="16130"/>
                  </a:lnTo>
                  <a:lnTo>
                    <a:pt x="250219" y="16917"/>
                  </a:lnTo>
                  <a:lnTo>
                    <a:pt x="251400" y="17311"/>
                  </a:lnTo>
                  <a:lnTo>
                    <a:pt x="250219" y="18491"/>
                  </a:lnTo>
                  <a:lnTo>
                    <a:pt x="247072" y="17704"/>
                  </a:lnTo>
                  <a:lnTo>
                    <a:pt x="243924" y="18884"/>
                  </a:lnTo>
                  <a:lnTo>
                    <a:pt x="246678" y="19278"/>
                  </a:lnTo>
                  <a:lnTo>
                    <a:pt x="247465" y="20458"/>
                  </a:lnTo>
                  <a:lnTo>
                    <a:pt x="244318" y="23606"/>
                  </a:lnTo>
                  <a:lnTo>
                    <a:pt x="241171" y="22032"/>
                  </a:lnTo>
                  <a:lnTo>
                    <a:pt x="243138" y="23999"/>
                  </a:lnTo>
                  <a:lnTo>
                    <a:pt x="241957" y="25179"/>
                  </a:lnTo>
                  <a:lnTo>
                    <a:pt x="239203" y="23212"/>
                  </a:lnTo>
                  <a:lnTo>
                    <a:pt x="236843" y="22819"/>
                  </a:lnTo>
                  <a:lnTo>
                    <a:pt x="225040" y="18098"/>
                  </a:lnTo>
                  <a:lnTo>
                    <a:pt x="221893" y="17311"/>
                  </a:lnTo>
                  <a:lnTo>
                    <a:pt x="219139" y="15344"/>
                  </a:lnTo>
                  <a:lnTo>
                    <a:pt x="216385" y="14163"/>
                  </a:lnTo>
                  <a:lnTo>
                    <a:pt x="213631" y="13376"/>
                  </a:lnTo>
                  <a:lnTo>
                    <a:pt x="210483" y="12983"/>
                  </a:lnTo>
                  <a:lnTo>
                    <a:pt x="207729" y="12590"/>
                  </a:lnTo>
                  <a:lnTo>
                    <a:pt x="204188" y="11016"/>
                  </a:lnTo>
                  <a:lnTo>
                    <a:pt x="201434" y="10623"/>
                  </a:lnTo>
                  <a:lnTo>
                    <a:pt x="198680" y="10229"/>
                  </a:lnTo>
                  <a:lnTo>
                    <a:pt x="195533" y="10229"/>
                  </a:lnTo>
                  <a:lnTo>
                    <a:pt x="192386" y="10623"/>
                  </a:lnTo>
                  <a:lnTo>
                    <a:pt x="189632" y="11409"/>
                  </a:lnTo>
                  <a:lnTo>
                    <a:pt x="186484" y="12590"/>
                  </a:lnTo>
                  <a:lnTo>
                    <a:pt x="183337" y="14163"/>
                  </a:lnTo>
                  <a:lnTo>
                    <a:pt x="180190" y="15344"/>
                  </a:lnTo>
                  <a:lnTo>
                    <a:pt x="177042" y="16524"/>
                  </a:lnTo>
                  <a:lnTo>
                    <a:pt x="177042" y="16524"/>
                  </a:lnTo>
                  <a:lnTo>
                    <a:pt x="149896" y="22425"/>
                  </a:lnTo>
                  <a:lnTo>
                    <a:pt x="150683" y="21245"/>
                  </a:lnTo>
                  <a:lnTo>
                    <a:pt x="153830" y="20458"/>
                  </a:lnTo>
                  <a:lnTo>
                    <a:pt x="156977" y="19278"/>
                  </a:lnTo>
                  <a:lnTo>
                    <a:pt x="160125" y="18884"/>
                  </a:lnTo>
                  <a:lnTo>
                    <a:pt x="160912" y="18491"/>
                  </a:lnTo>
                  <a:lnTo>
                    <a:pt x="170747" y="15344"/>
                  </a:lnTo>
                  <a:lnTo>
                    <a:pt x="173501" y="12196"/>
                  </a:lnTo>
                  <a:lnTo>
                    <a:pt x="176255" y="10229"/>
                  </a:lnTo>
                  <a:lnTo>
                    <a:pt x="179403" y="8262"/>
                  </a:lnTo>
                  <a:lnTo>
                    <a:pt x="182157" y="6688"/>
                  </a:lnTo>
                  <a:lnTo>
                    <a:pt x="183337" y="3934"/>
                  </a:lnTo>
                  <a:lnTo>
                    <a:pt x="182157" y="1180"/>
                  </a:lnTo>
                  <a:lnTo>
                    <a:pt x="179403" y="393"/>
                  </a:lnTo>
                  <a:lnTo>
                    <a:pt x="175862" y="0"/>
                  </a:lnTo>
                  <a:lnTo>
                    <a:pt x="173108" y="393"/>
                  </a:lnTo>
                  <a:lnTo>
                    <a:pt x="172321" y="787"/>
                  </a:lnTo>
                  <a:lnTo>
                    <a:pt x="169567" y="1180"/>
                  </a:lnTo>
                  <a:lnTo>
                    <a:pt x="166420" y="1967"/>
                  </a:lnTo>
                  <a:lnTo>
                    <a:pt x="163272" y="2361"/>
                  </a:lnTo>
                  <a:lnTo>
                    <a:pt x="160125" y="3147"/>
                  </a:lnTo>
                  <a:lnTo>
                    <a:pt x="156977" y="3147"/>
                  </a:lnTo>
                  <a:lnTo>
                    <a:pt x="154223" y="4328"/>
                  </a:lnTo>
                  <a:lnTo>
                    <a:pt x="151076" y="4721"/>
                  </a:lnTo>
                  <a:lnTo>
                    <a:pt x="147928" y="5115"/>
                  </a:lnTo>
                  <a:lnTo>
                    <a:pt x="145174" y="5115"/>
                  </a:lnTo>
                  <a:lnTo>
                    <a:pt x="142027" y="5901"/>
                  </a:lnTo>
                  <a:lnTo>
                    <a:pt x="138880" y="6295"/>
                  </a:lnTo>
                  <a:lnTo>
                    <a:pt x="136126" y="6688"/>
                  </a:lnTo>
                  <a:lnTo>
                    <a:pt x="133372" y="7475"/>
                  </a:lnTo>
                  <a:lnTo>
                    <a:pt x="130224" y="7869"/>
                  </a:lnTo>
                  <a:lnTo>
                    <a:pt x="127077" y="8262"/>
                  </a:lnTo>
                  <a:lnTo>
                    <a:pt x="123929" y="9049"/>
                  </a:lnTo>
                  <a:lnTo>
                    <a:pt x="121176" y="9442"/>
                  </a:lnTo>
                  <a:lnTo>
                    <a:pt x="118028" y="10229"/>
                  </a:lnTo>
                  <a:lnTo>
                    <a:pt x="115274" y="11409"/>
                  </a:lnTo>
                  <a:lnTo>
                    <a:pt x="112127" y="11409"/>
                  </a:lnTo>
                  <a:lnTo>
                    <a:pt x="108979" y="12196"/>
                  </a:lnTo>
                  <a:lnTo>
                    <a:pt x="106225" y="12196"/>
                  </a:lnTo>
                  <a:lnTo>
                    <a:pt x="103078" y="12590"/>
                  </a:lnTo>
                  <a:lnTo>
                    <a:pt x="99930" y="14163"/>
                  </a:lnTo>
                  <a:lnTo>
                    <a:pt x="96783" y="14950"/>
                  </a:lnTo>
                  <a:lnTo>
                    <a:pt x="94029" y="15737"/>
                  </a:lnTo>
                  <a:lnTo>
                    <a:pt x="85374" y="18491"/>
                  </a:lnTo>
                  <a:lnTo>
                    <a:pt x="82226" y="19278"/>
                  </a:lnTo>
                  <a:lnTo>
                    <a:pt x="79472" y="19671"/>
                  </a:lnTo>
                  <a:lnTo>
                    <a:pt x="76325" y="20458"/>
                  </a:lnTo>
                  <a:lnTo>
                    <a:pt x="73571" y="21638"/>
                  </a:lnTo>
                  <a:lnTo>
                    <a:pt x="70423" y="22425"/>
                  </a:lnTo>
                  <a:lnTo>
                    <a:pt x="67276" y="23212"/>
                  </a:lnTo>
                  <a:lnTo>
                    <a:pt x="64129" y="24392"/>
                  </a:lnTo>
                  <a:lnTo>
                    <a:pt x="60981" y="25573"/>
                  </a:lnTo>
                  <a:lnTo>
                    <a:pt x="64129" y="28327"/>
                  </a:lnTo>
                  <a:lnTo>
                    <a:pt x="66882" y="28720"/>
                  </a:lnTo>
                  <a:lnTo>
                    <a:pt x="64129" y="31474"/>
                  </a:lnTo>
                  <a:lnTo>
                    <a:pt x="60981" y="31868"/>
                  </a:lnTo>
                  <a:lnTo>
                    <a:pt x="57834" y="32261"/>
                  </a:lnTo>
                  <a:lnTo>
                    <a:pt x="55080" y="32654"/>
                  </a:lnTo>
                  <a:lnTo>
                    <a:pt x="51932" y="33048"/>
                  </a:lnTo>
                  <a:lnTo>
                    <a:pt x="48785" y="33835"/>
                  </a:lnTo>
                  <a:lnTo>
                    <a:pt x="45638" y="35802"/>
                  </a:lnTo>
                  <a:lnTo>
                    <a:pt x="42884" y="36589"/>
                  </a:lnTo>
                  <a:lnTo>
                    <a:pt x="39736" y="37376"/>
                  </a:lnTo>
                  <a:lnTo>
                    <a:pt x="33835" y="39736"/>
                  </a:lnTo>
                  <a:lnTo>
                    <a:pt x="30687" y="41310"/>
                  </a:lnTo>
                  <a:lnTo>
                    <a:pt x="27540" y="43277"/>
                  </a:lnTo>
                  <a:lnTo>
                    <a:pt x="24786" y="45637"/>
                  </a:lnTo>
                  <a:lnTo>
                    <a:pt x="24786" y="48785"/>
                  </a:lnTo>
                  <a:lnTo>
                    <a:pt x="27540" y="47605"/>
                  </a:lnTo>
                  <a:lnTo>
                    <a:pt x="30687" y="47211"/>
                  </a:lnTo>
                  <a:lnTo>
                    <a:pt x="36589" y="47211"/>
                  </a:lnTo>
                  <a:lnTo>
                    <a:pt x="39343" y="48785"/>
                  </a:lnTo>
                  <a:lnTo>
                    <a:pt x="42490" y="47605"/>
                  </a:lnTo>
                  <a:lnTo>
                    <a:pt x="45638" y="46818"/>
                  </a:lnTo>
                  <a:lnTo>
                    <a:pt x="48785" y="46818"/>
                  </a:lnTo>
                  <a:lnTo>
                    <a:pt x="51932" y="46818"/>
                  </a:lnTo>
                  <a:lnTo>
                    <a:pt x="48785" y="47605"/>
                  </a:lnTo>
                  <a:lnTo>
                    <a:pt x="46031" y="48785"/>
                  </a:lnTo>
                  <a:lnTo>
                    <a:pt x="48785" y="48785"/>
                  </a:lnTo>
                  <a:lnTo>
                    <a:pt x="46031" y="50359"/>
                  </a:lnTo>
                  <a:lnTo>
                    <a:pt x="42884" y="50359"/>
                  </a:lnTo>
                  <a:lnTo>
                    <a:pt x="39736" y="50752"/>
                  </a:lnTo>
                  <a:lnTo>
                    <a:pt x="36982" y="51145"/>
                  </a:lnTo>
                  <a:lnTo>
                    <a:pt x="33835" y="52326"/>
                  </a:lnTo>
                  <a:lnTo>
                    <a:pt x="36982" y="55080"/>
                  </a:lnTo>
                  <a:lnTo>
                    <a:pt x="40130" y="54686"/>
                  </a:lnTo>
                  <a:lnTo>
                    <a:pt x="42884" y="54686"/>
                  </a:lnTo>
                  <a:lnTo>
                    <a:pt x="46031" y="55080"/>
                  </a:lnTo>
                  <a:lnTo>
                    <a:pt x="48785" y="53899"/>
                  </a:lnTo>
                  <a:lnTo>
                    <a:pt x="51932" y="51932"/>
                  </a:lnTo>
                  <a:lnTo>
                    <a:pt x="55080" y="54293"/>
                  </a:lnTo>
                  <a:lnTo>
                    <a:pt x="57834" y="53899"/>
                  </a:lnTo>
                  <a:lnTo>
                    <a:pt x="60981" y="53899"/>
                  </a:lnTo>
                  <a:lnTo>
                    <a:pt x="63735" y="53506"/>
                  </a:lnTo>
                  <a:lnTo>
                    <a:pt x="66882" y="52719"/>
                  </a:lnTo>
                  <a:lnTo>
                    <a:pt x="70030" y="52719"/>
                  </a:lnTo>
                  <a:lnTo>
                    <a:pt x="72784" y="51932"/>
                  </a:lnTo>
                  <a:lnTo>
                    <a:pt x="75931" y="51932"/>
                  </a:lnTo>
                  <a:lnTo>
                    <a:pt x="79079" y="51932"/>
                  </a:lnTo>
                  <a:lnTo>
                    <a:pt x="81833" y="51145"/>
                  </a:lnTo>
                  <a:lnTo>
                    <a:pt x="84980" y="50752"/>
                  </a:lnTo>
                  <a:lnTo>
                    <a:pt x="88128" y="50752"/>
                  </a:lnTo>
                  <a:lnTo>
                    <a:pt x="90488" y="49965"/>
                  </a:lnTo>
                  <a:lnTo>
                    <a:pt x="87734" y="51932"/>
                  </a:lnTo>
                  <a:lnTo>
                    <a:pt x="84587" y="52326"/>
                  </a:lnTo>
                  <a:lnTo>
                    <a:pt x="81833" y="52719"/>
                  </a:lnTo>
                  <a:lnTo>
                    <a:pt x="78685" y="53506"/>
                  </a:lnTo>
                  <a:lnTo>
                    <a:pt x="79079" y="53506"/>
                  </a:lnTo>
                  <a:lnTo>
                    <a:pt x="67669" y="56260"/>
                  </a:lnTo>
                  <a:lnTo>
                    <a:pt x="66489" y="56260"/>
                  </a:lnTo>
                  <a:lnTo>
                    <a:pt x="63735" y="57047"/>
                  </a:lnTo>
                  <a:lnTo>
                    <a:pt x="60588" y="57440"/>
                  </a:lnTo>
                  <a:lnTo>
                    <a:pt x="58227" y="58227"/>
                  </a:lnTo>
                  <a:lnTo>
                    <a:pt x="55473" y="59014"/>
                  </a:lnTo>
                  <a:lnTo>
                    <a:pt x="52326" y="59014"/>
                  </a:lnTo>
                  <a:lnTo>
                    <a:pt x="49572" y="59014"/>
                  </a:lnTo>
                  <a:lnTo>
                    <a:pt x="46425" y="59801"/>
                  </a:lnTo>
                  <a:lnTo>
                    <a:pt x="43670" y="60194"/>
                  </a:lnTo>
                  <a:lnTo>
                    <a:pt x="40523" y="60588"/>
                  </a:lnTo>
                  <a:lnTo>
                    <a:pt x="37376" y="60981"/>
                  </a:lnTo>
                  <a:lnTo>
                    <a:pt x="34228" y="60981"/>
                  </a:lnTo>
                  <a:lnTo>
                    <a:pt x="31474" y="61375"/>
                  </a:lnTo>
                  <a:lnTo>
                    <a:pt x="28327" y="62161"/>
                  </a:lnTo>
                  <a:lnTo>
                    <a:pt x="25573" y="62948"/>
                  </a:lnTo>
                  <a:lnTo>
                    <a:pt x="22425" y="63735"/>
                  </a:lnTo>
                  <a:lnTo>
                    <a:pt x="19671" y="64128"/>
                  </a:lnTo>
                  <a:lnTo>
                    <a:pt x="16524" y="64915"/>
                  </a:lnTo>
                  <a:lnTo>
                    <a:pt x="14163" y="68063"/>
                  </a:lnTo>
                  <a:lnTo>
                    <a:pt x="15737" y="71210"/>
                  </a:lnTo>
                  <a:lnTo>
                    <a:pt x="18491" y="72784"/>
                  </a:lnTo>
                  <a:lnTo>
                    <a:pt x="18098" y="75538"/>
                  </a:lnTo>
                  <a:lnTo>
                    <a:pt x="21245" y="76718"/>
                  </a:lnTo>
                  <a:lnTo>
                    <a:pt x="24392" y="75931"/>
                  </a:lnTo>
                  <a:lnTo>
                    <a:pt x="27540" y="76325"/>
                  </a:lnTo>
                  <a:lnTo>
                    <a:pt x="30687" y="76718"/>
                  </a:lnTo>
                  <a:lnTo>
                    <a:pt x="36589" y="76718"/>
                  </a:lnTo>
                  <a:lnTo>
                    <a:pt x="39736" y="76325"/>
                  </a:lnTo>
                  <a:lnTo>
                    <a:pt x="42884" y="75931"/>
                  </a:lnTo>
                  <a:lnTo>
                    <a:pt x="48785" y="75931"/>
                  </a:lnTo>
                  <a:lnTo>
                    <a:pt x="51932" y="77505"/>
                  </a:lnTo>
                  <a:lnTo>
                    <a:pt x="55080" y="77112"/>
                  </a:lnTo>
                  <a:lnTo>
                    <a:pt x="64129" y="77112"/>
                  </a:lnTo>
                  <a:lnTo>
                    <a:pt x="67276" y="76718"/>
                  </a:lnTo>
                  <a:lnTo>
                    <a:pt x="73177" y="76718"/>
                  </a:lnTo>
                  <a:lnTo>
                    <a:pt x="76325" y="76325"/>
                  </a:lnTo>
                  <a:lnTo>
                    <a:pt x="79079" y="75931"/>
                  </a:lnTo>
                  <a:lnTo>
                    <a:pt x="82226" y="75931"/>
                  </a:lnTo>
                  <a:lnTo>
                    <a:pt x="84980" y="75931"/>
                  </a:lnTo>
                  <a:lnTo>
                    <a:pt x="87734" y="75144"/>
                  </a:lnTo>
                  <a:lnTo>
                    <a:pt x="90882" y="74751"/>
                  </a:lnTo>
                  <a:lnTo>
                    <a:pt x="94029" y="74751"/>
                  </a:lnTo>
                  <a:lnTo>
                    <a:pt x="96783" y="74358"/>
                  </a:lnTo>
                  <a:lnTo>
                    <a:pt x="99930" y="73571"/>
                  </a:lnTo>
                  <a:lnTo>
                    <a:pt x="102684" y="73571"/>
                  </a:lnTo>
                  <a:lnTo>
                    <a:pt x="105438" y="74358"/>
                  </a:lnTo>
                  <a:lnTo>
                    <a:pt x="108586" y="75144"/>
                  </a:lnTo>
                  <a:lnTo>
                    <a:pt x="110159" y="75144"/>
                  </a:lnTo>
                  <a:lnTo>
                    <a:pt x="132191" y="82620"/>
                  </a:lnTo>
                  <a:lnTo>
                    <a:pt x="132191" y="82620"/>
                  </a:lnTo>
                  <a:lnTo>
                    <a:pt x="134159" y="83013"/>
                  </a:lnTo>
                  <a:lnTo>
                    <a:pt x="128650" y="83800"/>
                  </a:lnTo>
                  <a:lnTo>
                    <a:pt x="126683" y="83406"/>
                  </a:lnTo>
                  <a:lnTo>
                    <a:pt x="126683" y="83800"/>
                  </a:lnTo>
                  <a:lnTo>
                    <a:pt x="107799" y="85374"/>
                  </a:lnTo>
                  <a:lnTo>
                    <a:pt x="107799" y="85374"/>
                  </a:lnTo>
                  <a:lnTo>
                    <a:pt x="106619" y="85374"/>
                  </a:lnTo>
                  <a:lnTo>
                    <a:pt x="100324" y="85767"/>
                  </a:lnTo>
                  <a:lnTo>
                    <a:pt x="98357" y="85767"/>
                  </a:lnTo>
                  <a:lnTo>
                    <a:pt x="95603" y="86160"/>
                  </a:lnTo>
                  <a:lnTo>
                    <a:pt x="92849" y="86160"/>
                  </a:lnTo>
                  <a:lnTo>
                    <a:pt x="90095" y="86160"/>
                  </a:lnTo>
                  <a:lnTo>
                    <a:pt x="86947" y="85767"/>
                  </a:lnTo>
                  <a:lnTo>
                    <a:pt x="84193" y="84980"/>
                  </a:lnTo>
                  <a:lnTo>
                    <a:pt x="81439" y="84587"/>
                  </a:lnTo>
                  <a:lnTo>
                    <a:pt x="78292" y="84980"/>
                  </a:lnTo>
                  <a:lnTo>
                    <a:pt x="75145" y="84980"/>
                  </a:lnTo>
                  <a:lnTo>
                    <a:pt x="72391" y="85374"/>
                  </a:lnTo>
                  <a:lnTo>
                    <a:pt x="69637" y="85374"/>
                  </a:lnTo>
                  <a:lnTo>
                    <a:pt x="66489" y="85767"/>
                  </a:lnTo>
                  <a:lnTo>
                    <a:pt x="60588" y="85767"/>
                  </a:lnTo>
                  <a:lnTo>
                    <a:pt x="57834" y="86160"/>
                  </a:lnTo>
                  <a:lnTo>
                    <a:pt x="55080" y="86554"/>
                  </a:lnTo>
                  <a:lnTo>
                    <a:pt x="51932" y="86554"/>
                  </a:lnTo>
                  <a:lnTo>
                    <a:pt x="48785" y="86947"/>
                  </a:lnTo>
                  <a:lnTo>
                    <a:pt x="46031" y="86947"/>
                  </a:lnTo>
                  <a:lnTo>
                    <a:pt x="42884" y="87341"/>
                  </a:lnTo>
                  <a:lnTo>
                    <a:pt x="40130" y="87341"/>
                  </a:lnTo>
                  <a:lnTo>
                    <a:pt x="37376" y="88127"/>
                  </a:lnTo>
                  <a:lnTo>
                    <a:pt x="34622" y="88127"/>
                  </a:lnTo>
                  <a:lnTo>
                    <a:pt x="31868" y="88521"/>
                  </a:lnTo>
                  <a:lnTo>
                    <a:pt x="28720" y="88914"/>
                  </a:lnTo>
                  <a:lnTo>
                    <a:pt x="25573" y="89308"/>
                  </a:lnTo>
                  <a:lnTo>
                    <a:pt x="22819" y="89701"/>
                  </a:lnTo>
                  <a:lnTo>
                    <a:pt x="20065" y="90095"/>
                  </a:lnTo>
                  <a:lnTo>
                    <a:pt x="16918" y="90095"/>
                  </a:lnTo>
                  <a:lnTo>
                    <a:pt x="14163" y="90488"/>
                  </a:lnTo>
                  <a:lnTo>
                    <a:pt x="11016" y="91275"/>
                  </a:lnTo>
                  <a:lnTo>
                    <a:pt x="7869" y="92062"/>
                  </a:lnTo>
                  <a:lnTo>
                    <a:pt x="5115" y="92849"/>
                  </a:lnTo>
                  <a:lnTo>
                    <a:pt x="3148" y="93635"/>
                  </a:lnTo>
                  <a:lnTo>
                    <a:pt x="1180" y="96389"/>
                  </a:lnTo>
                  <a:lnTo>
                    <a:pt x="0" y="99537"/>
                  </a:lnTo>
                  <a:lnTo>
                    <a:pt x="1180" y="102291"/>
                  </a:lnTo>
                  <a:lnTo>
                    <a:pt x="3934" y="103471"/>
                  </a:lnTo>
                  <a:lnTo>
                    <a:pt x="1180" y="105438"/>
                  </a:lnTo>
                  <a:lnTo>
                    <a:pt x="3934" y="106619"/>
                  </a:lnTo>
                  <a:lnTo>
                    <a:pt x="7082" y="106225"/>
                  </a:lnTo>
                  <a:lnTo>
                    <a:pt x="4328" y="108586"/>
                  </a:lnTo>
                  <a:lnTo>
                    <a:pt x="6688" y="111340"/>
                  </a:lnTo>
                  <a:lnTo>
                    <a:pt x="9836" y="112520"/>
                  </a:lnTo>
                  <a:lnTo>
                    <a:pt x="12590" y="114094"/>
                  </a:lnTo>
                  <a:lnTo>
                    <a:pt x="15344" y="114094"/>
                  </a:lnTo>
                  <a:lnTo>
                    <a:pt x="18491" y="114487"/>
                  </a:lnTo>
                  <a:lnTo>
                    <a:pt x="21638" y="114880"/>
                  </a:lnTo>
                  <a:lnTo>
                    <a:pt x="24392" y="114880"/>
                  </a:lnTo>
                  <a:lnTo>
                    <a:pt x="27147" y="115667"/>
                  </a:lnTo>
                  <a:lnTo>
                    <a:pt x="30294" y="115274"/>
                  </a:lnTo>
                  <a:lnTo>
                    <a:pt x="33441" y="114487"/>
                  </a:lnTo>
                  <a:lnTo>
                    <a:pt x="36195" y="115274"/>
                  </a:lnTo>
                  <a:lnTo>
                    <a:pt x="39343" y="114880"/>
                  </a:lnTo>
                  <a:lnTo>
                    <a:pt x="42490" y="114487"/>
                  </a:lnTo>
                  <a:lnTo>
                    <a:pt x="45638" y="114487"/>
                  </a:lnTo>
                  <a:lnTo>
                    <a:pt x="48392" y="114094"/>
                  </a:lnTo>
                  <a:lnTo>
                    <a:pt x="51145" y="115274"/>
                  </a:lnTo>
                  <a:lnTo>
                    <a:pt x="53899" y="115274"/>
                  </a:lnTo>
                  <a:lnTo>
                    <a:pt x="57047" y="116061"/>
                  </a:lnTo>
                  <a:lnTo>
                    <a:pt x="60194" y="116454"/>
                  </a:lnTo>
                  <a:lnTo>
                    <a:pt x="57047" y="118421"/>
                  </a:lnTo>
                  <a:lnTo>
                    <a:pt x="54686" y="121569"/>
                  </a:lnTo>
                  <a:lnTo>
                    <a:pt x="48785" y="127077"/>
                  </a:lnTo>
                  <a:lnTo>
                    <a:pt x="47605" y="129831"/>
                  </a:lnTo>
                  <a:lnTo>
                    <a:pt x="46818" y="132978"/>
                  </a:lnTo>
                  <a:lnTo>
                    <a:pt x="49965" y="134945"/>
                  </a:lnTo>
                  <a:lnTo>
                    <a:pt x="46818" y="136912"/>
                  </a:lnTo>
                  <a:lnTo>
                    <a:pt x="49965" y="137699"/>
                  </a:lnTo>
                  <a:lnTo>
                    <a:pt x="52719" y="137699"/>
                  </a:lnTo>
                  <a:lnTo>
                    <a:pt x="55867" y="137699"/>
                  </a:lnTo>
                  <a:lnTo>
                    <a:pt x="59014" y="137699"/>
                  </a:lnTo>
                  <a:lnTo>
                    <a:pt x="62162" y="136912"/>
                  </a:lnTo>
                  <a:lnTo>
                    <a:pt x="64915" y="136912"/>
                  </a:lnTo>
                  <a:lnTo>
                    <a:pt x="68063" y="136126"/>
                  </a:lnTo>
                  <a:lnTo>
                    <a:pt x="74358" y="136126"/>
                  </a:lnTo>
                  <a:lnTo>
                    <a:pt x="77112" y="135732"/>
                  </a:lnTo>
                  <a:lnTo>
                    <a:pt x="80259" y="135732"/>
                  </a:lnTo>
                  <a:lnTo>
                    <a:pt x="83406" y="135732"/>
                  </a:lnTo>
                  <a:lnTo>
                    <a:pt x="86160" y="135732"/>
                  </a:lnTo>
                  <a:lnTo>
                    <a:pt x="89308" y="136126"/>
                  </a:lnTo>
                  <a:lnTo>
                    <a:pt x="92455" y="135732"/>
                  </a:lnTo>
                  <a:lnTo>
                    <a:pt x="89308" y="134945"/>
                  </a:lnTo>
                  <a:lnTo>
                    <a:pt x="92455" y="134552"/>
                  </a:lnTo>
                  <a:lnTo>
                    <a:pt x="95603" y="134552"/>
                  </a:lnTo>
                  <a:lnTo>
                    <a:pt x="98357" y="133765"/>
                  </a:lnTo>
                  <a:lnTo>
                    <a:pt x="101504" y="133765"/>
                  </a:lnTo>
                  <a:lnTo>
                    <a:pt x="98357" y="134945"/>
                  </a:lnTo>
                  <a:lnTo>
                    <a:pt x="101504" y="134945"/>
                  </a:lnTo>
                  <a:lnTo>
                    <a:pt x="104652" y="134552"/>
                  </a:lnTo>
                  <a:lnTo>
                    <a:pt x="107406" y="133765"/>
                  </a:lnTo>
                  <a:lnTo>
                    <a:pt x="110553" y="133765"/>
                  </a:lnTo>
                  <a:lnTo>
                    <a:pt x="113700" y="134552"/>
                  </a:lnTo>
                  <a:lnTo>
                    <a:pt x="116454" y="133372"/>
                  </a:lnTo>
                  <a:lnTo>
                    <a:pt x="119602" y="132978"/>
                  </a:lnTo>
                  <a:lnTo>
                    <a:pt x="121962" y="133372"/>
                  </a:lnTo>
                  <a:lnTo>
                    <a:pt x="125896" y="132978"/>
                  </a:lnTo>
                  <a:lnTo>
                    <a:pt x="127864" y="132978"/>
                  </a:lnTo>
                  <a:lnTo>
                    <a:pt x="131011" y="132585"/>
                  </a:lnTo>
                  <a:lnTo>
                    <a:pt x="133765" y="131798"/>
                  </a:lnTo>
                  <a:lnTo>
                    <a:pt x="135339" y="131798"/>
                  </a:lnTo>
                  <a:lnTo>
                    <a:pt x="139666" y="131011"/>
                  </a:lnTo>
                  <a:lnTo>
                    <a:pt x="140060" y="131011"/>
                  </a:lnTo>
                  <a:lnTo>
                    <a:pt x="142814" y="130618"/>
                  </a:lnTo>
                  <a:lnTo>
                    <a:pt x="144781" y="130618"/>
                  </a:lnTo>
                  <a:lnTo>
                    <a:pt x="234876" y="118815"/>
                  </a:lnTo>
                  <a:lnTo>
                    <a:pt x="236056" y="119602"/>
                  </a:lnTo>
                  <a:lnTo>
                    <a:pt x="238810" y="119602"/>
                  </a:lnTo>
                  <a:lnTo>
                    <a:pt x="241564" y="120388"/>
                  </a:lnTo>
                  <a:lnTo>
                    <a:pt x="244711" y="119602"/>
                  </a:lnTo>
                  <a:lnTo>
                    <a:pt x="241957" y="122749"/>
                  </a:lnTo>
                  <a:lnTo>
                    <a:pt x="239203" y="122749"/>
                  </a:lnTo>
                  <a:lnTo>
                    <a:pt x="236056" y="123536"/>
                  </a:lnTo>
                  <a:lnTo>
                    <a:pt x="238810" y="125503"/>
                  </a:lnTo>
                  <a:lnTo>
                    <a:pt x="241957" y="125896"/>
                  </a:lnTo>
                  <a:lnTo>
                    <a:pt x="244711" y="126290"/>
                  </a:lnTo>
                  <a:lnTo>
                    <a:pt x="247465" y="126290"/>
                  </a:lnTo>
                  <a:lnTo>
                    <a:pt x="250613" y="125503"/>
                  </a:lnTo>
                  <a:lnTo>
                    <a:pt x="253760" y="124323"/>
                  </a:lnTo>
                  <a:lnTo>
                    <a:pt x="256514" y="123929"/>
                  </a:lnTo>
                  <a:lnTo>
                    <a:pt x="259661" y="126683"/>
                  </a:lnTo>
                  <a:lnTo>
                    <a:pt x="262416" y="126683"/>
                  </a:lnTo>
                  <a:lnTo>
                    <a:pt x="265563" y="127470"/>
                  </a:lnTo>
                  <a:lnTo>
                    <a:pt x="268317" y="127470"/>
                  </a:lnTo>
                  <a:lnTo>
                    <a:pt x="271464" y="128650"/>
                  </a:lnTo>
                  <a:lnTo>
                    <a:pt x="274612" y="127077"/>
                  </a:lnTo>
                  <a:lnTo>
                    <a:pt x="277366" y="126683"/>
                  </a:lnTo>
                  <a:lnTo>
                    <a:pt x="280513" y="128257"/>
                  </a:lnTo>
                  <a:lnTo>
                    <a:pt x="283267" y="127864"/>
                  </a:lnTo>
                  <a:lnTo>
                    <a:pt x="286021" y="127077"/>
                  </a:lnTo>
                  <a:lnTo>
                    <a:pt x="289168" y="125503"/>
                  </a:lnTo>
                  <a:lnTo>
                    <a:pt x="292316" y="126290"/>
                  </a:lnTo>
                  <a:lnTo>
                    <a:pt x="295070" y="125503"/>
                  </a:lnTo>
                  <a:lnTo>
                    <a:pt x="298217" y="123536"/>
                  </a:lnTo>
                  <a:lnTo>
                    <a:pt x="301365" y="123929"/>
                  </a:lnTo>
                  <a:lnTo>
                    <a:pt x="304119" y="123536"/>
                  </a:lnTo>
                  <a:lnTo>
                    <a:pt x="306873" y="122356"/>
                  </a:lnTo>
                  <a:lnTo>
                    <a:pt x="310020" y="122749"/>
                  </a:lnTo>
                  <a:lnTo>
                    <a:pt x="312774" y="120782"/>
                  </a:lnTo>
                  <a:lnTo>
                    <a:pt x="315922" y="119602"/>
                  </a:lnTo>
                  <a:lnTo>
                    <a:pt x="317889" y="116454"/>
                  </a:lnTo>
                  <a:lnTo>
                    <a:pt x="315135" y="115274"/>
                  </a:lnTo>
                  <a:lnTo>
                    <a:pt x="311987" y="116848"/>
                  </a:lnTo>
                  <a:lnTo>
                    <a:pt x="318282" y="111733"/>
                  </a:lnTo>
                  <a:lnTo>
                    <a:pt x="321036" y="110553"/>
                  </a:lnTo>
                  <a:lnTo>
                    <a:pt x="318282" y="108586"/>
                  </a:lnTo>
                  <a:lnTo>
                    <a:pt x="315135" y="108192"/>
                  </a:lnTo>
                  <a:lnTo>
                    <a:pt x="311987" y="108586"/>
                  </a:lnTo>
                  <a:lnTo>
                    <a:pt x="308840" y="110159"/>
                  </a:lnTo>
                  <a:lnTo>
                    <a:pt x="306086" y="110553"/>
                  </a:lnTo>
                  <a:lnTo>
                    <a:pt x="302938" y="111340"/>
                  </a:lnTo>
                  <a:lnTo>
                    <a:pt x="300185" y="111340"/>
                  </a:lnTo>
                  <a:lnTo>
                    <a:pt x="297431" y="113700"/>
                  </a:lnTo>
                  <a:lnTo>
                    <a:pt x="294677" y="114487"/>
                  </a:lnTo>
                  <a:lnTo>
                    <a:pt x="291529" y="116454"/>
                  </a:lnTo>
                  <a:lnTo>
                    <a:pt x="288382" y="117634"/>
                  </a:lnTo>
                  <a:lnTo>
                    <a:pt x="285628" y="119208"/>
                  </a:lnTo>
                  <a:lnTo>
                    <a:pt x="288775" y="116454"/>
                  </a:lnTo>
                  <a:lnTo>
                    <a:pt x="291529" y="115667"/>
                  </a:lnTo>
                  <a:lnTo>
                    <a:pt x="294677" y="113700"/>
                  </a:lnTo>
                  <a:lnTo>
                    <a:pt x="297431" y="110946"/>
                  </a:lnTo>
                  <a:lnTo>
                    <a:pt x="332839" y="101111"/>
                  </a:lnTo>
                  <a:lnTo>
                    <a:pt x="333232" y="101504"/>
                  </a:lnTo>
                  <a:lnTo>
                    <a:pt x="336380" y="102291"/>
                  </a:lnTo>
                  <a:lnTo>
                    <a:pt x="339134" y="100324"/>
                  </a:lnTo>
                  <a:lnTo>
                    <a:pt x="342281" y="98357"/>
                  </a:lnTo>
                  <a:lnTo>
                    <a:pt x="342281" y="98357"/>
                  </a:lnTo>
                  <a:lnTo>
                    <a:pt x="343855" y="97963"/>
                  </a:lnTo>
                  <a:lnTo>
                    <a:pt x="342281" y="99537"/>
                  </a:lnTo>
                  <a:lnTo>
                    <a:pt x="342281" y="102291"/>
                  </a:lnTo>
                  <a:lnTo>
                    <a:pt x="345035" y="103078"/>
                  </a:lnTo>
                  <a:lnTo>
                    <a:pt x="348182" y="103078"/>
                  </a:lnTo>
                  <a:lnTo>
                    <a:pt x="350936" y="102291"/>
                  </a:lnTo>
                  <a:lnTo>
                    <a:pt x="354084" y="10032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74" name="Freeform: Shape 2668">
              <a:extLst>
                <a:ext uri="{FF2B5EF4-FFF2-40B4-BE49-F238E27FC236}">
                  <a16:creationId xmlns:a16="http://schemas.microsoft.com/office/drawing/2014/main" id="{BABFEABF-75CE-4123-9320-EA0EFEE98135}"/>
                </a:ext>
              </a:extLst>
            </p:cNvPr>
            <p:cNvSpPr/>
            <p:nvPr/>
          </p:nvSpPr>
          <p:spPr>
            <a:xfrm>
              <a:off x="3948679" y="1413519"/>
              <a:ext cx="86554" cy="39343"/>
            </a:xfrm>
            <a:custGeom>
              <a:avLst/>
              <a:gdLst>
                <a:gd name="connsiteX0" fmla="*/ 23212 w 86553"/>
                <a:gd name="connsiteY0" fmla="*/ 34228 h 39342"/>
                <a:gd name="connsiteX1" fmla="*/ 26360 w 86553"/>
                <a:gd name="connsiteY1" fmla="*/ 34622 h 39342"/>
                <a:gd name="connsiteX2" fmla="*/ 29113 w 86553"/>
                <a:gd name="connsiteY2" fmla="*/ 35015 h 39342"/>
                <a:gd name="connsiteX3" fmla="*/ 31474 w 86553"/>
                <a:gd name="connsiteY3" fmla="*/ 38162 h 39342"/>
                <a:gd name="connsiteX4" fmla="*/ 34228 w 86553"/>
                <a:gd name="connsiteY4" fmla="*/ 38162 h 39342"/>
                <a:gd name="connsiteX5" fmla="*/ 36982 w 86553"/>
                <a:gd name="connsiteY5" fmla="*/ 38949 h 39342"/>
                <a:gd name="connsiteX6" fmla="*/ 40130 w 86553"/>
                <a:gd name="connsiteY6" fmla="*/ 38949 h 39342"/>
                <a:gd name="connsiteX7" fmla="*/ 42883 w 86553"/>
                <a:gd name="connsiteY7" fmla="*/ 38556 h 39342"/>
                <a:gd name="connsiteX8" fmla="*/ 45637 w 86553"/>
                <a:gd name="connsiteY8" fmla="*/ 39736 h 39342"/>
                <a:gd name="connsiteX9" fmla="*/ 48785 w 86553"/>
                <a:gd name="connsiteY9" fmla="*/ 40523 h 39342"/>
                <a:gd name="connsiteX10" fmla="*/ 50752 w 86553"/>
                <a:gd name="connsiteY10" fmla="*/ 41310 h 39342"/>
                <a:gd name="connsiteX11" fmla="*/ 53506 w 86553"/>
                <a:gd name="connsiteY11" fmla="*/ 40523 h 39342"/>
                <a:gd name="connsiteX12" fmla="*/ 56653 w 86553"/>
                <a:gd name="connsiteY12" fmla="*/ 40523 h 39342"/>
                <a:gd name="connsiteX13" fmla="*/ 59801 w 86553"/>
                <a:gd name="connsiteY13" fmla="*/ 38949 h 39342"/>
                <a:gd name="connsiteX14" fmla="*/ 62555 w 86553"/>
                <a:gd name="connsiteY14" fmla="*/ 37769 h 39342"/>
                <a:gd name="connsiteX15" fmla="*/ 65702 w 86553"/>
                <a:gd name="connsiteY15" fmla="*/ 36589 h 39342"/>
                <a:gd name="connsiteX16" fmla="*/ 68456 w 86553"/>
                <a:gd name="connsiteY16" fmla="*/ 36589 h 39342"/>
                <a:gd name="connsiteX17" fmla="*/ 71604 w 86553"/>
                <a:gd name="connsiteY17" fmla="*/ 34622 h 39342"/>
                <a:gd name="connsiteX18" fmla="*/ 74751 w 86553"/>
                <a:gd name="connsiteY18" fmla="*/ 32654 h 39342"/>
                <a:gd name="connsiteX19" fmla="*/ 77898 w 86553"/>
                <a:gd name="connsiteY19" fmla="*/ 32654 h 39342"/>
                <a:gd name="connsiteX20" fmla="*/ 81046 w 86553"/>
                <a:gd name="connsiteY20" fmla="*/ 33441 h 39342"/>
                <a:gd name="connsiteX21" fmla="*/ 83800 w 86553"/>
                <a:gd name="connsiteY21" fmla="*/ 32261 h 39342"/>
                <a:gd name="connsiteX22" fmla="*/ 86947 w 86553"/>
                <a:gd name="connsiteY22" fmla="*/ 31474 h 39342"/>
                <a:gd name="connsiteX23" fmla="*/ 89701 w 86553"/>
                <a:gd name="connsiteY23" fmla="*/ 29507 h 39342"/>
                <a:gd name="connsiteX24" fmla="*/ 86947 w 86553"/>
                <a:gd name="connsiteY24" fmla="*/ 28327 h 39342"/>
                <a:gd name="connsiteX25" fmla="*/ 83800 w 86553"/>
                <a:gd name="connsiteY25" fmla="*/ 29507 h 39342"/>
                <a:gd name="connsiteX26" fmla="*/ 81046 w 86553"/>
                <a:gd name="connsiteY26" fmla="*/ 30294 h 39342"/>
                <a:gd name="connsiteX27" fmla="*/ 77898 w 86553"/>
                <a:gd name="connsiteY27" fmla="*/ 28720 h 39342"/>
                <a:gd name="connsiteX28" fmla="*/ 79472 w 86553"/>
                <a:gd name="connsiteY28" fmla="*/ 25966 h 39342"/>
                <a:gd name="connsiteX29" fmla="*/ 80259 w 86553"/>
                <a:gd name="connsiteY29" fmla="*/ 23212 h 39342"/>
                <a:gd name="connsiteX30" fmla="*/ 81439 w 86553"/>
                <a:gd name="connsiteY30" fmla="*/ 20458 h 39342"/>
                <a:gd name="connsiteX31" fmla="*/ 78292 w 86553"/>
                <a:gd name="connsiteY31" fmla="*/ 20065 h 39342"/>
                <a:gd name="connsiteX32" fmla="*/ 75538 w 86553"/>
                <a:gd name="connsiteY32" fmla="*/ 23212 h 39342"/>
                <a:gd name="connsiteX33" fmla="*/ 77111 w 86553"/>
                <a:gd name="connsiteY33" fmla="*/ 20065 h 39342"/>
                <a:gd name="connsiteX34" fmla="*/ 79866 w 86553"/>
                <a:gd name="connsiteY34" fmla="*/ 18098 h 39342"/>
                <a:gd name="connsiteX35" fmla="*/ 79472 w 86553"/>
                <a:gd name="connsiteY35" fmla="*/ 15344 h 39342"/>
                <a:gd name="connsiteX36" fmla="*/ 76718 w 86553"/>
                <a:gd name="connsiteY36" fmla="*/ 12983 h 39342"/>
                <a:gd name="connsiteX37" fmla="*/ 73964 w 86553"/>
                <a:gd name="connsiteY37" fmla="*/ 12196 h 39342"/>
                <a:gd name="connsiteX38" fmla="*/ 70817 w 86553"/>
                <a:gd name="connsiteY38" fmla="*/ 11016 h 39342"/>
                <a:gd name="connsiteX39" fmla="*/ 68850 w 86553"/>
                <a:gd name="connsiteY39" fmla="*/ 8262 h 39342"/>
                <a:gd name="connsiteX40" fmla="*/ 68063 w 86553"/>
                <a:gd name="connsiteY40" fmla="*/ 5115 h 39342"/>
                <a:gd name="connsiteX41" fmla="*/ 64915 w 86553"/>
                <a:gd name="connsiteY41" fmla="*/ 6688 h 39342"/>
                <a:gd name="connsiteX42" fmla="*/ 65702 w 86553"/>
                <a:gd name="connsiteY42" fmla="*/ 3934 h 39342"/>
                <a:gd name="connsiteX43" fmla="*/ 62948 w 86553"/>
                <a:gd name="connsiteY43" fmla="*/ 2361 h 39342"/>
                <a:gd name="connsiteX44" fmla="*/ 59801 w 86553"/>
                <a:gd name="connsiteY44" fmla="*/ 0 h 39342"/>
                <a:gd name="connsiteX45" fmla="*/ 56653 w 86553"/>
                <a:gd name="connsiteY45" fmla="*/ 0 h 39342"/>
                <a:gd name="connsiteX46" fmla="*/ 53899 w 86553"/>
                <a:gd name="connsiteY46" fmla="*/ 1574 h 39342"/>
                <a:gd name="connsiteX47" fmla="*/ 50752 w 86553"/>
                <a:gd name="connsiteY47" fmla="*/ 2361 h 39342"/>
                <a:gd name="connsiteX48" fmla="*/ 47605 w 86553"/>
                <a:gd name="connsiteY48" fmla="*/ 3541 h 39342"/>
                <a:gd name="connsiteX49" fmla="*/ 44850 w 86553"/>
                <a:gd name="connsiteY49" fmla="*/ 5901 h 39342"/>
                <a:gd name="connsiteX50" fmla="*/ 41703 w 86553"/>
                <a:gd name="connsiteY50" fmla="*/ 7869 h 39342"/>
                <a:gd name="connsiteX51" fmla="*/ 43670 w 86553"/>
                <a:gd name="connsiteY51" fmla="*/ 11016 h 39342"/>
                <a:gd name="connsiteX52" fmla="*/ 40523 w 86553"/>
                <a:gd name="connsiteY52" fmla="*/ 9049 h 39342"/>
                <a:gd name="connsiteX53" fmla="*/ 37769 w 86553"/>
                <a:gd name="connsiteY53" fmla="*/ 8262 h 39342"/>
                <a:gd name="connsiteX54" fmla="*/ 34621 w 86553"/>
                <a:gd name="connsiteY54" fmla="*/ 9836 h 39342"/>
                <a:gd name="connsiteX55" fmla="*/ 31867 w 86553"/>
                <a:gd name="connsiteY55" fmla="*/ 12590 h 39342"/>
                <a:gd name="connsiteX56" fmla="*/ 33835 w 86553"/>
                <a:gd name="connsiteY56" fmla="*/ 15344 h 39342"/>
                <a:gd name="connsiteX57" fmla="*/ 30687 w 86553"/>
                <a:gd name="connsiteY57" fmla="*/ 16524 h 39342"/>
                <a:gd name="connsiteX58" fmla="*/ 27933 w 86553"/>
                <a:gd name="connsiteY58" fmla="*/ 17311 h 39342"/>
                <a:gd name="connsiteX59" fmla="*/ 24786 w 86553"/>
                <a:gd name="connsiteY59" fmla="*/ 17704 h 39342"/>
                <a:gd name="connsiteX60" fmla="*/ 21638 w 86553"/>
                <a:gd name="connsiteY60" fmla="*/ 20065 h 39342"/>
                <a:gd name="connsiteX61" fmla="*/ 18884 w 86553"/>
                <a:gd name="connsiteY61" fmla="*/ 20458 h 39342"/>
                <a:gd name="connsiteX62" fmla="*/ 16130 w 86553"/>
                <a:gd name="connsiteY62" fmla="*/ 21245 h 39342"/>
                <a:gd name="connsiteX63" fmla="*/ 13376 w 86553"/>
                <a:gd name="connsiteY63" fmla="*/ 21245 h 39342"/>
                <a:gd name="connsiteX64" fmla="*/ 10229 w 86553"/>
                <a:gd name="connsiteY64" fmla="*/ 20852 h 39342"/>
                <a:gd name="connsiteX65" fmla="*/ 7082 w 86553"/>
                <a:gd name="connsiteY65" fmla="*/ 21245 h 39342"/>
                <a:gd name="connsiteX66" fmla="*/ 4328 w 86553"/>
                <a:gd name="connsiteY66" fmla="*/ 21245 h 39342"/>
                <a:gd name="connsiteX67" fmla="*/ 1180 w 86553"/>
                <a:gd name="connsiteY67" fmla="*/ 23212 h 39342"/>
                <a:gd name="connsiteX68" fmla="*/ 0 w 86553"/>
                <a:gd name="connsiteY68" fmla="*/ 25966 h 39342"/>
                <a:gd name="connsiteX69" fmla="*/ 1180 w 86553"/>
                <a:gd name="connsiteY69" fmla="*/ 29114 h 39342"/>
                <a:gd name="connsiteX70" fmla="*/ 4328 w 86553"/>
                <a:gd name="connsiteY70" fmla="*/ 29507 h 39342"/>
                <a:gd name="connsiteX71" fmla="*/ 7082 w 86553"/>
                <a:gd name="connsiteY71" fmla="*/ 27540 h 39342"/>
                <a:gd name="connsiteX72" fmla="*/ 9836 w 86553"/>
                <a:gd name="connsiteY72" fmla="*/ 26753 h 39342"/>
                <a:gd name="connsiteX73" fmla="*/ 12983 w 86553"/>
                <a:gd name="connsiteY73" fmla="*/ 27146 h 39342"/>
                <a:gd name="connsiteX74" fmla="*/ 10229 w 86553"/>
                <a:gd name="connsiteY74" fmla="*/ 29507 h 39342"/>
                <a:gd name="connsiteX75" fmla="*/ 12983 w 86553"/>
                <a:gd name="connsiteY75" fmla="*/ 31081 h 39342"/>
                <a:gd name="connsiteX76" fmla="*/ 16130 w 86553"/>
                <a:gd name="connsiteY76" fmla="*/ 32654 h 39342"/>
                <a:gd name="connsiteX77" fmla="*/ 18884 w 86553"/>
                <a:gd name="connsiteY77" fmla="*/ 31474 h 39342"/>
                <a:gd name="connsiteX78" fmla="*/ 22032 w 86553"/>
                <a:gd name="connsiteY78" fmla="*/ 29507 h 39342"/>
                <a:gd name="connsiteX79" fmla="*/ 20458 w 86553"/>
                <a:gd name="connsiteY79" fmla="*/ 32654 h 39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86553" h="39342">
                  <a:moveTo>
                    <a:pt x="23212" y="34228"/>
                  </a:moveTo>
                  <a:lnTo>
                    <a:pt x="26360" y="34622"/>
                  </a:lnTo>
                  <a:lnTo>
                    <a:pt x="29113" y="35015"/>
                  </a:lnTo>
                  <a:lnTo>
                    <a:pt x="31474" y="38162"/>
                  </a:lnTo>
                  <a:lnTo>
                    <a:pt x="34228" y="38162"/>
                  </a:lnTo>
                  <a:lnTo>
                    <a:pt x="36982" y="38949"/>
                  </a:lnTo>
                  <a:lnTo>
                    <a:pt x="40130" y="38949"/>
                  </a:lnTo>
                  <a:lnTo>
                    <a:pt x="42883" y="38556"/>
                  </a:lnTo>
                  <a:lnTo>
                    <a:pt x="45637" y="39736"/>
                  </a:lnTo>
                  <a:lnTo>
                    <a:pt x="48785" y="40523"/>
                  </a:lnTo>
                  <a:lnTo>
                    <a:pt x="50752" y="41310"/>
                  </a:lnTo>
                  <a:lnTo>
                    <a:pt x="53506" y="40523"/>
                  </a:lnTo>
                  <a:lnTo>
                    <a:pt x="56653" y="40523"/>
                  </a:lnTo>
                  <a:lnTo>
                    <a:pt x="59801" y="38949"/>
                  </a:lnTo>
                  <a:lnTo>
                    <a:pt x="62555" y="37769"/>
                  </a:lnTo>
                  <a:lnTo>
                    <a:pt x="65702" y="36589"/>
                  </a:lnTo>
                  <a:lnTo>
                    <a:pt x="68456" y="36589"/>
                  </a:lnTo>
                  <a:lnTo>
                    <a:pt x="71604" y="34622"/>
                  </a:lnTo>
                  <a:lnTo>
                    <a:pt x="74751" y="32654"/>
                  </a:lnTo>
                  <a:lnTo>
                    <a:pt x="77898" y="32654"/>
                  </a:lnTo>
                  <a:lnTo>
                    <a:pt x="81046" y="33441"/>
                  </a:lnTo>
                  <a:lnTo>
                    <a:pt x="83800" y="32261"/>
                  </a:lnTo>
                  <a:lnTo>
                    <a:pt x="86947" y="31474"/>
                  </a:lnTo>
                  <a:lnTo>
                    <a:pt x="89701" y="29507"/>
                  </a:lnTo>
                  <a:lnTo>
                    <a:pt x="86947" y="28327"/>
                  </a:lnTo>
                  <a:lnTo>
                    <a:pt x="83800" y="29507"/>
                  </a:lnTo>
                  <a:lnTo>
                    <a:pt x="81046" y="30294"/>
                  </a:lnTo>
                  <a:lnTo>
                    <a:pt x="77898" y="28720"/>
                  </a:lnTo>
                  <a:lnTo>
                    <a:pt x="79472" y="25966"/>
                  </a:lnTo>
                  <a:lnTo>
                    <a:pt x="80259" y="23212"/>
                  </a:lnTo>
                  <a:lnTo>
                    <a:pt x="81439" y="20458"/>
                  </a:lnTo>
                  <a:lnTo>
                    <a:pt x="78292" y="20065"/>
                  </a:lnTo>
                  <a:lnTo>
                    <a:pt x="75538" y="23212"/>
                  </a:lnTo>
                  <a:lnTo>
                    <a:pt x="77111" y="20065"/>
                  </a:lnTo>
                  <a:lnTo>
                    <a:pt x="79866" y="18098"/>
                  </a:lnTo>
                  <a:lnTo>
                    <a:pt x="79472" y="15344"/>
                  </a:lnTo>
                  <a:lnTo>
                    <a:pt x="76718" y="12983"/>
                  </a:lnTo>
                  <a:lnTo>
                    <a:pt x="73964" y="12196"/>
                  </a:lnTo>
                  <a:lnTo>
                    <a:pt x="70817" y="11016"/>
                  </a:lnTo>
                  <a:lnTo>
                    <a:pt x="68850" y="8262"/>
                  </a:lnTo>
                  <a:lnTo>
                    <a:pt x="68063" y="5115"/>
                  </a:lnTo>
                  <a:lnTo>
                    <a:pt x="64915" y="6688"/>
                  </a:lnTo>
                  <a:lnTo>
                    <a:pt x="65702" y="3934"/>
                  </a:lnTo>
                  <a:lnTo>
                    <a:pt x="62948" y="2361"/>
                  </a:lnTo>
                  <a:lnTo>
                    <a:pt x="59801" y="0"/>
                  </a:lnTo>
                  <a:lnTo>
                    <a:pt x="56653" y="0"/>
                  </a:lnTo>
                  <a:lnTo>
                    <a:pt x="53899" y="1574"/>
                  </a:lnTo>
                  <a:lnTo>
                    <a:pt x="50752" y="2361"/>
                  </a:lnTo>
                  <a:lnTo>
                    <a:pt x="47605" y="3541"/>
                  </a:lnTo>
                  <a:lnTo>
                    <a:pt x="44850" y="5901"/>
                  </a:lnTo>
                  <a:lnTo>
                    <a:pt x="41703" y="7869"/>
                  </a:lnTo>
                  <a:lnTo>
                    <a:pt x="43670" y="11016"/>
                  </a:lnTo>
                  <a:lnTo>
                    <a:pt x="40523" y="9049"/>
                  </a:lnTo>
                  <a:lnTo>
                    <a:pt x="37769" y="8262"/>
                  </a:lnTo>
                  <a:lnTo>
                    <a:pt x="34621" y="9836"/>
                  </a:lnTo>
                  <a:lnTo>
                    <a:pt x="31867" y="12590"/>
                  </a:lnTo>
                  <a:lnTo>
                    <a:pt x="33835" y="15344"/>
                  </a:lnTo>
                  <a:lnTo>
                    <a:pt x="30687" y="16524"/>
                  </a:lnTo>
                  <a:lnTo>
                    <a:pt x="27933" y="17311"/>
                  </a:lnTo>
                  <a:lnTo>
                    <a:pt x="24786" y="17704"/>
                  </a:lnTo>
                  <a:lnTo>
                    <a:pt x="21638" y="20065"/>
                  </a:lnTo>
                  <a:lnTo>
                    <a:pt x="18884" y="20458"/>
                  </a:lnTo>
                  <a:lnTo>
                    <a:pt x="16130" y="21245"/>
                  </a:lnTo>
                  <a:lnTo>
                    <a:pt x="13376" y="21245"/>
                  </a:lnTo>
                  <a:lnTo>
                    <a:pt x="10229" y="20852"/>
                  </a:lnTo>
                  <a:lnTo>
                    <a:pt x="7082" y="21245"/>
                  </a:lnTo>
                  <a:lnTo>
                    <a:pt x="4328" y="21245"/>
                  </a:lnTo>
                  <a:lnTo>
                    <a:pt x="1180" y="23212"/>
                  </a:lnTo>
                  <a:lnTo>
                    <a:pt x="0" y="25966"/>
                  </a:lnTo>
                  <a:lnTo>
                    <a:pt x="1180" y="29114"/>
                  </a:lnTo>
                  <a:lnTo>
                    <a:pt x="4328" y="29507"/>
                  </a:lnTo>
                  <a:lnTo>
                    <a:pt x="7082" y="27540"/>
                  </a:lnTo>
                  <a:lnTo>
                    <a:pt x="9836" y="26753"/>
                  </a:lnTo>
                  <a:lnTo>
                    <a:pt x="12983" y="27146"/>
                  </a:lnTo>
                  <a:lnTo>
                    <a:pt x="10229" y="29507"/>
                  </a:lnTo>
                  <a:lnTo>
                    <a:pt x="12983" y="31081"/>
                  </a:lnTo>
                  <a:lnTo>
                    <a:pt x="16130" y="32654"/>
                  </a:lnTo>
                  <a:lnTo>
                    <a:pt x="18884" y="31474"/>
                  </a:lnTo>
                  <a:lnTo>
                    <a:pt x="22032" y="29507"/>
                  </a:lnTo>
                  <a:lnTo>
                    <a:pt x="20458" y="326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75" name="Freeform: Shape 2669">
              <a:extLst>
                <a:ext uri="{FF2B5EF4-FFF2-40B4-BE49-F238E27FC236}">
                  <a16:creationId xmlns:a16="http://schemas.microsoft.com/office/drawing/2014/main" id="{D9BADFA2-6FAD-4E9B-8792-B853FD42FA16}"/>
                </a:ext>
              </a:extLst>
            </p:cNvPr>
            <p:cNvSpPr/>
            <p:nvPr/>
          </p:nvSpPr>
          <p:spPr>
            <a:xfrm>
              <a:off x="3910516" y="1649575"/>
              <a:ext cx="3934" cy="3934"/>
            </a:xfrm>
            <a:custGeom>
              <a:avLst/>
              <a:gdLst>
                <a:gd name="connsiteX0" fmla="*/ 0 w 3934"/>
                <a:gd name="connsiteY0" fmla="*/ 2754 h 0"/>
                <a:gd name="connsiteX1" fmla="*/ 787 w 3934"/>
                <a:gd name="connsiteY1" fmla="*/ 2754 h 0"/>
                <a:gd name="connsiteX2" fmla="*/ 3934 w 3934"/>
                <a:gd name="connsiteY2" fmla="*/ 787 h 0"/>
                <a:gd name="connsiteX3" fmla="*/ 78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754"/>
                  </a:moveTo>
                  <a:lnTo>
                    <a:pt x="787" y="2754"/>
                  </a:lnTo>
                  <a:lnTo>
                    <a:pt x="3934" y="787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76" name="Freeform: Shape 2670">
              <a:extLst>
                <a:ext uri="{FF2B5EF4-FFF2-40B4-BE49-F238E27FC236}">
                  <a16:creationId xmlns:a16="http://schemas.microsoft.com/office/drawing/2014/main" id="{5F524A6F-A6D7-4204-9A75-FD8406886638}"/>
                </a:ext>
              </a:extLst>
            </p:cNvPr>
            <p:cNvSpPr/>
            <p:nvPr/>
          </p:nvSpPr>
          <p:spPr>
            <a:xfrm>
              <a:off x="3991562" y="1489450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574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574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77" name="Freeform: Shape 2671">
              <a:extLst>
                <a:ext uri="{FF2B5EF4-FFF2-40B4-BE49-F238E27FC236}">
                  <a16:creationId xmlns:a16="http://schemas.microsoft.com/office/drawing/2014/main" id="{5359150C-58B5-4F86-970E-CF5A20E897BE}"/>
                </a:ext>
              </a:extLst>
            </p:cNvPr>
            <p:cNvSpPr/>
            <p:nvPr/>
          </p:nvSpPr>
          <p:spPr>
            <a:xfrm>
              <a:off x="4153260" y="1434764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967 h 0"/>
                <a:gd name="connsiteX2" fmla="*/ 3147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967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78" name="Freeform: Shape 2672">
              <a:extLst>
                <a:ext uri="{FF2B5EF4-FFF2-40B4-BE49-F238E27FC236}">
                  <a16:creationId xmlns:a16="http://schemas.microsoft.com/office/drawing/2014/main" id="{7248F9D0-E6E8-42C7-B2E9-F81EB94A179E}"/>
                </a:ext>
              </a:extLst>
            </p:cNvPr>
            <p:cNvSpPr/>
            <p:nvPr/>
          </p:nvSpPr>
          <p:spPr>
            <a:xfrm>
              <a:off x="4146965" y="1428076"/>
              <a:ext cx="3934" cy="3934"/>
            </a:xfrm>
            <a:custGeom>
              <a:avLst/>
              <a:gdLst>
                <a:gd name="connsiteX0" fmla="*/ 3541 w 3934"/>
                <a:gd name="connsiteY0" fmla="*/ 4721 h 3934"/>
                <a:gd name="connsiteX1" fmla="*/ 6295 w 3934"/>
                <a:gd name="connsiteY1" fmla="*/ 2754 h 3934"/>
                <a:gd name="connsiteX2" fmla="*/ 5901 w 3934"/>
                <a:gd name="connsiteY2" fmla="*/ 0 h 3934"/>
                <a:gd name="connsiteX3" fmla="*/ 3148 w 3934"/>
                <a:gd name="connsiteY3" fmla="*/ 393 h 3934"/>
                <a:gd name="connsiteX4" fmla="*/ 0 w 3934"/>
                <a:gd name="connsiteY4" fmla="*/ 2754 h 3934"/>
                <a:gd name="connsiteX5" fmla="*/ 3148 w 3934"/>
                <a:gd name="connsiteY5" fmla="*/ 1967 h 3934"/>
                <a:gd name="connsiteX6" fmla="*/ 1967 w 3934"/>
                <a:gd name="connsiteY6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3541" y="4721"/>
                  </a:moveTo>
                  <a:lnTo>
                    <a:pt x="6295" y="2754"/>
                  </a:lnTo>
                  <a:lnTo>
                    <a:pt x="5901" y="0"/>
                  </a:lnTo>
                  <a:lnTo>
                    <a:pt x="3148" y="393"/>
                  </a:lnTo>
                  <a:lnTo>
                    <a:pt x="0" y="2754"/>
                  </a:lnTo>
                  <a:lnTo>
                    <a:pt x="3148" y="1967"/>
                  </a:lnTo>
                  <a:lnTo>
                    <a:pt x="1967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79" name="Freeform: Shape 2673">
              <a:extLst>
                <a:ext uri="{FF2B5EF4-FFF2-40B4-BE49-F238E27FC236}">
                  <a16:creationId xmlns:a16="http://schemas.microsoft.com/office/drawing/2014/main" id="{896C2777-77E7-49E2-9E8B-C8CC482380E3}"/>
                </a:ext>
              </a:extLst>
            </p:cNvPr>
            <p:cNvSpPr/>
            <p:nvPr/>
          </p:nvSpPr>
          <p:spPr>
            <a:xfrm>
              <a:off x="4154047" y="1425715"/>
              <a:ext cx="7869" cy="3934"/>
            </a:xfrm>
            <a:custGeom>
              <a:avLst/>
              <a:gdLst>
                <a:gd name="connsiteX0" fmla="*/ 5901 w 7868"/>
                <a:gd name="connsiteY0" fmla="*/ 3541 h 3934"/>
                <a:gd name="connsiteX1" fmla="*/ 9049 w 7868"/>
                <a:gd name="connsiteY1" fmla="*/ 1180 h 3934"/>
                <a:gd name="connsiteX2" fmla="*/ 9442 w 7868"/>
                <a:gd name="connsiteY2" fmla="*/ 0 h 3934"/>
                <a:gd name="connsiteX3" fmla="*/ 6295 w 7868"/>
                <a:gd name="connsiteY3" fmla="*/ 787 h 3934"/>
                <a:gd name="connsiteX4" fmla="*/ 3147 w 7868"/>
                <a:gd name="connsiteY4" fmla="*/ 1574 h 3934"/>
                <a:gd name="connsiteX5" fmla="*/ 0 w 7868"/>
                <a:gd name="connsiteY5" fmla="*/ 3541 h 3934"/>
                <a:gd name="connsiteX6" fmla="*/ 3147 w 7868"/>
                <a:gd name="connsiteY6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5901" y="3541"/>
                  </a:moveTo>
                  <a:lnTo>
                    <a:pt x="9049" y="1180"/>
                  </a:lnTo>
                  <a:lnTo>
                    <a:pt x="9442" y="0"/>
                  </a:lnTo>
                  <a:lnTo>
                    <a:pt x="6295" y="787"/>
                  </a:lnTo>
                  <a:lnTo>
                    <a:pt x="3147" y="1574"/>
                  </a:lnTo>
                  <a:lnTo>
                    <a:pt x="0" y="3541"/>
                  </a:lnTo>
                  <a:lnTo>
                    <a:pt x="314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0" name="Freeform: Shape 2674">
              <a:extLst>
                <a:ext uri="{FF2B5EF4-FFF2-40B4-BE49-F238E27FC236}">
                  <a16:creationId xmlns:a16="http://schemas.microsoft.com/office/drawing/2014/main" id="{3CF96D80-4116-4472-86F0-63EE03FCF207}"/>
                </a:ext>
              </a:extLst>
            </p:cNvPr>
            <p:cNvSpPr/>
            <p:nvPr/>
          </p:nvSpPr>
          <p:spPr>
            <a:xfrm>
              <a:off x="4037986" y="1420601"/>
              <a:ext cx="11803" cy="7869"/>
            </a:xfrm>
            <a:custGeom>
              <a:avLst/>
              <a:gdLst>
                <a:gd name="connsiteX0" fmla="*/ 4721 w 11802"/>
                <a:gd name="connsiteY0" fmla="*/ 9049 h 7868"/>
                <a:gd name="connsiteX1" fmla="*/ 7869 w 11802"/>
                <a:gd name="connsiteY1" fmla="*/ 8262 h 7868"/>
                <a:gd name="connsiteX2" fmla="*/ 10622 w 11802"/>
                <a:gd name="connsiteY2" fmla="*/ 7082 h 7868"/>
                <a:gd name="connsiteX3" fmla="*/ 13376 w 11802"/>
                <a:gd name="connsiteY3" fmla="*/ 4721 h 7868"/>
                <a:gd name="connsiteX4" fmla="*/ 14163 w 11802"/>
                <a:gd name="connsiteY4" fmla="*/ 1967 h 7868"/>
                <a:gd name="connsiteX5" fmla="*/ 12196 w 11802"/>
                <a:gd name="connsiteY5" fmla="*/ 393 h 7868"/>
                <a:gd name="connsiteX6" fmla="*/ 9049 w 11802"/>
                <a:gd name="connsiteY6" fmla="*/ 0 h 7868"/>
                <a:gd name="connsiteX7" fmla="*/ 5901 w 11802"/>
                <a:gd name="connsiteY7" fmla="*/ 787 h 7868"/>
                <a:gd name="connsiteX8" fmla="*/ 2754 w 11802"/>
                <a:gd name="connsiteY8" fmla="*/ 2754 h 7868"/>
                <a:gd name="connsiteX9" fmla="*/ 0 w 11802"/>
                <a:gd name="connsiteY9" fmla="*/ 4721 h 7868"/>
                <a:gd name="connsiteX10" fmla="*/ 0 w 11802"/>
                <a:gd name="connsiteY10" fmla="*/ 7475 h 7868"/>
                <a:gd name="connsiteX11" fmla="*/ 3147 w 11802"/>
                <a:gd name="connsiteY11" fmla="*/ 5901 h 7868"/>
                <a:gd name="connsiteX12" fmla="*/ 5508 w 11802"/>
                <a:gd name="connsiteY12" fmla="*/ 2754 h 7868"/>
                <a:gd name="connsiteX13" fmla="*/ 8655 w 11802"/>
                <a:gd name="connsiteY13" fmla="*/ 3147 h 7868"/>
                <a:gd name="connsiteX14" fmla="*/ 6295 w 11802"/>
                <a:gd name="connsiteY14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802" h="7868">
                  <a:moveTo>
                    <a:pt x="4721" y="9049"/>
                  </a:moveTo>
                  <a:lnTo>
                    <a:pt x="7869" y="8262"/>
                  </a:lnTo>
                  <a:lnTo>
                    <a:pt x="10622" y="7082"/>
                  </a:lnTo>
                  <a:lnTo>
                    <a:pt x="13376" y="4721"/>
                  </a:lnTo>
                  <a:lnTo>
                    <a:pt x="14163" y="1967"/>
                  </a:lnTo>
                  <a:lnTo>
                    <a:pt x="12196" y="393"/>
                  </a:lnTo>
                  <a:lnTo>
                    <a:pt x="9049" y="0"/>
                  </a:lnTo>
                  <a:lnTo>
                    <a:pt x="5901" y="787"/>
                  </a:lnTo>
                  <a:lnTo>
                    <a:pt x="2754" y="2754"/>
                  </a:lnTo>
                  <a:lnTo>
                    <a:pt x="0" y="4721"/>
                  </a:lnTo>
                  <a:lnTo>
                    <a:pt x="0" y="7475"/>
                  </a:lnTo>
                  <a:lnTo>
                    <a:pt x="3147" y="5901"/>
                  </a:lnTo>
                  <a:lnTo>
                    <a:pt x="5508" y="2754"/>
                  </a:lnTo>
                  <a:lnTo>
                    <a:pt x="8655" y="3147"/>
                  </a:lnTo>
                  <a:lnTo>
                    <a:pt x="6295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1" name="Freeform: Shape 2675">
              <a:extLst>
                <a:ext uri="{FF2B5EF4-FFF2-40B4-BE49-F238E27FC236}">
                  <a16:creationId xmlns:a16="http://schemas.microsoft.com/office/drawing/2014/main" id="{F3E98023-94F6-464C-A414-90C3324F3ABE}"/>
                </a:ext>
              </a:extLst>
            </p:cNvPr>
            <p:cNvSpPr/>
            <p:nvPr/>
          </p:nvSpPr>
          <p:spPr>
            <a:xfrm>
              <a:off x="4025003" y="1422174"/>
              <a:ext cx="11803" cy="3934"/>
            </a:xfrm>
            <a:custGeom>
              <a:avLst/>
              <a:gdLst>
                <a:gd name="connsiteX0" fmla="*/ 4721 w 11802"/>
                <a:gd name="connsiteY0" fmla="*/ 5508 h 3934"/>
                <a:gd name="connsiteX1" fmla="*/ 7475 w 11802"/>
                <a:gd name="connsiteY1" fmla="*/ 5508 h 3934"/>
                <a:gd name="connsiteX2" fmla="*/ 10229 w 11802"/>
                <a:gd name="connsiteY2" fmla="*/ 3541 h 3934"/>
                <a:gd name="connsiteX3" fmla="*/ 12196 w 11802"/>
                <a:gd name="connsiteY3" fmla="*/ 787 h 3934"/>
                <a:gd name="connsiteX4" fmla="*/ 12196 w 11802"/>
                <a:gd name="connsiteY4" fmla="*/ 393 h 3934"/>
                <a:gd name="connsiteX5" fmla="*/ 9049 w 11802"/>
                <a:gd name="connsiteY5" fmla="*/ 1180 h 3934"/>
                <a:gd name="connsiteX6" fmla="*/ 5901 w 11802"/>
                <a:gd name="connsiteY6" fmla="*/ 393 h 3934"/>
                <a:gd name="connsiteX7" fmla="*/ 3148 w 11802"/>
                <a:gd name="connsiteY7" fmla="*/ 393 h 3934"/>
                <a:gd name="connsiteX8" fmla="*/ 0 w 11802"/>
                <a:gd name="connsiteY8" fmla="*/ 0 h 3934"/>
                <a:gd name="connsiteX9" fmla="*/ 1574 w 11802"/>
                <a:gd name="connsiteY9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4721" y="5508"/>
                  </a:moveTo>
                  <a:lnTo>
                    <a:pt x="7475" y="5508"/>
                  </a:lnTo>
                  <a:lnTo>
                    <a:pt x="10229" y="3541"/>
                  </a:lnTo>
                  <a:lnTo>
                    <a:pt x="12196" y="787"/>
                  </a:lnTo>
                  <a:lnTo>
                    <a:pt x="12196" y="393"/>
                  </a:lnTo>
                  <a:lnTo>
                    <a:pt x="9049" y="1180"/>
                  </a:lnTo>
                  <a:lnTo>
                    <a:pt x="5901" y="393"/>
                  </a:lnTo>
                  <a:lnTo>
                    <a:pt x="3148" y="393"/>
                  </a:lnTo>
                  <a:lnTo>
                    <a:pt x="0" y="0"/>
                  </a:lnTo>
                  <a:lnTo>
                    <a:pt x="157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2" name="Freeform: Shape 2676">
              <a:extLst>
                <a:ext uri="{FF2B5EF4-FFF2-40B4-BE49-F238E27FC236}">
                  <a16:creationId xmlns:a16="http://schemas.microsoft.com/office/drawing/2014/main" id="{925ECCD0-3AAB-41A1-9EDD-7456223CF777}"/>
                </a:ext>
              </a:extLst>
            </p:cNvPr>
            <p:cNvSpPr/>
            <p:nvPr/>
          </p:nvSpPr>
          <p:spPr>
            <a:xfrm>
              <a:off x="4141851" y="1413519"/>
              <a:ext cx="3934" cy="3934"/>
            </a:xfrm>
            <a:custGeom>
              <a:avLst/>
              <a:gdLst>
                <a:gd name="connsiteX0" fmla="*/ 0 w 3934"/>
                <a:gd name="connsiteY0" fmla="*/ 4328 h 3934"/>
                <a:gd name="connsiteX1" fmla="*/ 2361 w 3934"/>
                <a:gd name="connsiteY1" fmla="*/ 3147 h 3934"/>
                <a:gd name="connsiteX2" fmla="*/ 4721 w 3934"/>
                <a:gd name="connsiteY2" fmla="*/ 0 h 3934"/>
                <a:gd name="connsiteX3" fmla="*/ 1574 w 3934"/>
                <a:gd name="connsiteY3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0" y="4328"/>
                  </a:moveTo>
                  <a:lnTo>
                    <a:pt x="2361" y="3147"/>
                  </a:lnTo>
                  <a:lnTo>
                    <a:pt x="4721" y="0"/>
                  </a:lnTo>
                  <a:lnTo>
                    <a:pt x="157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3" name="Freeform: Shape 2677">
              <a:extLst>
                <a:ext uri="{FF2B5EF4-FFF2-40B4-BE49-F238E27FC236}">
                  <a16:creationId xmlns:a16="http://schemas.microsoft.com/office/drawing/2014/main" id="{EE3B9B93-78AD-454D-ACB1-49378C7BFF70}"/>
                </a:ext>
              </a:extLst>
            </p:cNvPr>
            <p:cNvSpPr/>
            <p:nvPr/>
          </p:nvSpPr>
          <p:spPr>
            <a:xfrm>
              <a:off x="4018708" y="1411552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574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574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4" name="Freeform: Shape 2678">
              <a:extLst>
                <a:ext uri="{FF2B5EF4-FFF2-40B4-BE49-F238E27FC236}">
                  <a16:creationId xmlns:a16="http://schemas.microsoft.com/office/drawing/2014/main" id="{95A89278-963E-4E28-9F69-91E35FABE06E}"/>
                </a:ext>
              </a:extLst>
            </p:cNvPr>
            <p:cNvSpPr/>
            <p:nvPr/>
          </p:nvSpPr>
          <p:spPr>
            <a:xfrm>
              <a:off x="4235093" y="1579545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180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18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5" name="Freeform: Shape 2679">
              <a:extLst>
                <a:ext uri="{FF2B5EF4-FFF2-40B4-BE49-F238E27FC236}">
                  <a16:creationId xmlns:a16="http://schemas.microsoft.com/office/drawing/2014/main" id="{AC609BED-AAD1-4FC0-8D94-B9FF200412B7}"/>
                </a:ext>
              </a:extLst>
            </p:cNvPr>
            <p:cNvSpPr/>
            <p:nvPr/>
          </p:nvSpPr>
          <p:spPr>
            <a:xfrm>
              <a:off x="4187882" y="1525645"/>
              <a:ext cx="7869" cy="11803"/>
            </a:xfrm>
            <a:custGeom>
              <a:avLst/>
              <a:gdLst>
                <a:gd name="connsiteX0" fmla="*/ 2754 w 7868"/>
                <a:gd name="connsiteY0" fmla="*/ 3147 h 11802"/>
                <a:gd name="connsiteX1" fmla="*/ 787 w 7868"/>
                <a:gd name="connsiteY1" fmla="*/ 5901 h 11802"/>
                <a:gd name="connsiteX2" fmla="*/ 0 w 7868"/>
                <a:gd name="connsiteY2" fmla="*/ 8655 h 11802"/>
                <a:gd name="connsiteX3" fmla="*/ 2754 w 7868"/>
                <a:gd name="connsiteY3" fmla="*/ 11016 h 11802"/>
                <a:gd name="connsiteX4" fmla="*/ 4721 w 7868"/>
                <a:gd name="connsiteY4" fmla="*/ 13770 h 11802"/>
                <a:gd name="connsiteX5" fmla="*/ 7475 w 7868"/>
                <a:gd name="connsiteY5" fmla="*/ 12590 h 11802"/>
                <a:gd name="connsiteX6" fmla="*/ 9442 w 7868"/>
                <a:gd name="connsiteY6" fmla="*/ 9442 h 11802"/>
                <a:gd name="connsiteX7" fmla="*/ 9836 w 7868"/>
                <a:gd name="connsiteY7" fmla="*/ 6295 h 11802"/>
                <a:gd name="connsiteX8" fmla="*/ 9836 w 7868"/>
                <a:gd name="connsiteY8" fmla="*/ 3541 h 11802"/>
                <a:gd name="connsiteX9" fmla="*/ 9836 w 7868"/>
                <a:gd name="connsiteY9" fmla="*/ 787 h 11802"/>
                <a:gd name="connsiteX10" fmla="*/ 7869 w 7868"/>
                <a:gd name="connsiteY10" fmla="*/ 393 h 11802"/>
                <a:gd name="connsiteX11" fmla="*/ 5114 w 7868"/>
                <a:gd name="connsiteY11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868" h="11802">
                  <a:moveTo>
                    <a:pt x="2754" y="3147"/>
                  </a:moveTo>
                  <a:lnTo>
                    <a:pt x="787" y="5901"/>
                  </a:lnTo>
                  <a:lnTo>
                    <a:pt x="0" y="8655"/>
                  </a:lnTo>
                  <a:lnTo>
                    <a:pt x="2754" y="11016"/>
                  </a:lnTo>
                  <a:lnTo>
                    <a:pt x="4721" y="13770"/>
                  </a:lnTo>
                  <a:lnTo>
                    <a:pt x="7475" y="12590"/>
                  </a:lnTo>
                  <a:lnTo>
                    <a:pt x="9442" y="9442"/>
                  </a:lnTo>
                  <a:lnTo>
                    <a:pt x="9836" y="6295"/>
                  </a:lnTo>
                  <a:lnTo>
                    <a:pt x="9836" y="3541"/>
                  </a:lnTo>
                  <a:lnTo>
                    <a:pt x="9836" y="787"/>
                  </a:lnTo>
                  <a:lnTo>
                    <a:pt x="7869" y="393"/>
                  </a:lnTo>
                  <a:lnTo>
                    <a:pt x="511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6" name="Freeform: Shape 2680">
              <a:extLst>
                <a:ext uri="{FF2B5EF4-FFF2-40B4-BE49-F238E27FC236}">
                  <a16:creationId xmlns:a16="http://schemas.microsoft.com/office/drawing/2014/main" id="{8B6CD741-9724-4B51-AFCC-9E4639865C89}"/>
                </a:ext>
              </a:extLst>
            </p:cNvPr>
            <p:cNvSpPr/>
            <p:nvPr/>
          </p:nvSpPr>
          <p:spPr>
            <a:xfrm>
              <a:off x="4209914" y="1522498"/>
              <a:ext cx="15737" cy="11803"/>
            </a:xfrm>
            <a:custGeom>
              <a:avLst/>
              <a:gdLst>
                <a:gd name="connsiteX0" fmla="*/ 12983 w 15737"/>
                <a:gd name="connsiteY0" fmla="*/ 5508 h 11802"/>
                <a:gd name="connsiteX1" fmla="*/ 10229 w 15737"/>
                <a:gd name="connsiteY1" fmla="*/ 3541 h 11802"/>
                <a:gd name="connsiteX2" fmla="*/ 8655 w 15737"/>
                <a:gd name="connsiteY2" fmla="*/ 1967 h 11802"/>
                <a:gd name="connsiteX3" fmla="*/ 5901 w 15737"/>
                <a:gd name="connsiteY3" fmla="*/ 1574 h 11802"/>
                <a:gd name="connsiteX4" fmla="*/ 2754 w 15737"/>
                <a:gd name="connsiteY4" fmla="*/ 0 h 11802"/>
                <a:gd name="connsiteX5" fmla="*/ 0 w 15737"/>
                <a:gd name="connsiteY5" fmla="*/ 1180 h 11802"/>
                <a:gd name="connsiteX6" fmla="*/ 0 w 15737"/>
                <a:gd name="connsiteY6" fmla="*/ 3934 h 11802"/>
                <a:gd name="connsiteX7" fmla="*/ 2754 w 15737"/>
                <a:gd name="connsiteY7" fmla="*/ 5508 h 11802"/>
                <a:gd name="connsiteX8" fmla="*/ 1967 w 15737"/>
                <a:gd name="connsiteY8" fmla="*/ 8262 h 11802"/>
                <a:gd name="connsiteX9" fmla="*/ 787 w 15737"/>
                <a:gd name="connsiteY9" fmla="*/ 11409 h 11802"/>
                <a:gd name="connsiteX10" fmla="*/ 9836 w 15737"/>
                <a:gd name="connsiteY10" fmla="*/ 11409 h 11802"/>
                <a:gd name="connsiteX11" fmla="*/ 6688 w 15737"/>
                <a:gd name="connsiteY11" fmla="*/ 13770 h 11802"/>
                <a:gd name="connsiteX12" fmla="*/ 9836 w 15737"/>
                <a:gd name="connsiteY12" fmla="*/ 13770 h 11802"/>
                <a:gd name="connsiteX13" fmla="*/ 12590 w 15737"/>
                <a:gd name="connsiteY13" fmla="*/ 14163 h 11802"/>
                <a:gd name="connsiteX14" fmla="*/ 15344 w 15737"/>
                <a:gd name="connsiteY14" fmla="*/ 14950 h 11802"/>
                <a:gd name="connsiteX15" fmla="*/ 17311 w 15737"/>
                <a:gd name="connsiteY15" fmla="*/ 11803 h 11802"/>
                <a:gd name="connsiteX16" fmla="*/ 14557 w 15737"/>
                <a:gd name="connsiteY16" fmla="*/ 11803 h 11802"/>
                <a:gd name="connsiteX17" fmla="*/ 11409 w 15737"/>
                <a:gd name="connsiteY17" fmla="*/ 10623 h 11802"/>
                <a:gd name="connsiteX18" fmla="*/ 8655 w 15737"/>
                <a:gd name="connsiteY18" fmla="*/ 9442 h 11802"/>
                <a:gd name="connsiteX19" fmla="*/ 11803 w 15737"/>
                <a:gd name="connsiteY19" fmla="*/ 8262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737" h="11802">
                  <a:moveTo>
                    <a:pt x="12983" y="5508"/>
                  </a:moveTo>
                  <a:lnTo>
                    <a:pt x="10229" y="3541"/>
                  </a:lnTo>
                  <a:lnTo>
                    <a:pt x="8655" y="1967"/>
                  </a:lnTo>
                  <a:lnTo>
                    <a:pt x="5901" y="1574"/>
                  </a:lnTo>
                  <a:lnTo>
                    <a:pt x="2754" y="0"/>
                  </a:lnTo>
                  <a:lnTo>
                    <a:pt x="0" y="1180"/>
                  </a:lnTo>
                  <a:lnTo>
                    <a:pt x="0" y="3934"/>
                  </a:lnTo>
                  <a:lnTo>
                    <a:pt x="2754" y="5508"/>
                  </a:lnTo>
                  <a:lnTo>
                    <a:pt x="1967" y="8262"/>
                  </a:lnTo>
                  <a:lnTo>
                    <a:pt x="787" y="11409"/>
                  </a:lnTo>
                  <a:lnTo>
                    <a:pt x="9836" y="11409"/>
                  </a:lnTo>
                  <a:lnTo>
                    <a:pt x="6688" y="13770"/>
                  </a:lnTo>
                  <a:lnTo>
                    <a:pt x="9836" y="13770"/>
                  </a:lnTo>
                  <a:lnTo>
                    <a:pt x="12590" y="14163"/>
                  </a:lnTo>
                  <a:lnTo>
                    <a:pt x="15344" y="14950"/>
                  </a:lnTo>
                  <a:lnTo>
                    <a:pt x="17311" y="11803"/>
                  </a:lnTo>
                  <a:lnTo>
                    <a:pt x="14557" y="11803"/>
                  </a:lnTo>
                  <a:lnTo>
                    <a:pt x="11409" y="10623"/>
                  </a:lnTo>
                  <a:lnTo>
                    <a:pt x="8655" y="9442"/>
                  </a:lnTo>
                  <a:lnTo>
                    <a:pt x="11803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7" name="Freeform: Shape 2681">
              <a:extLst>
                <a:ext uri="{FF2B5EF4-FFF2-40B4-BE49-F238E27FC236}">
                  <a16:creationId xmlns:a16="http://schemas.microsoft.com/office/drawing/2014/main" id="{DE3FF95A-5CE4-4884-B22A-7DD016874716}"/>
                </a:ext>
              </a:extLst>
            </p:cNvPr>
            <p:cNvSpPr/>
            <p:nvPr/>
          </p:nvSpPr>
          <p:spPr>
            <a:xfrm>
              <a:off x="4226044" y="1529973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967 h 0"/>
                <a:gd name="connsiteX2" fmla="*/ 3147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967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8" name="Freeform: Shape 2682">
              <a:extLst>
                <a:ext uri="{FF2B5EF4-FFF2-40B4-BE49-F238E27FC236}">
                  <a16:creationId xmlns:a16="http://schemas.microsoft.com/office/drawing/2014/main" id="{C497181A-3FCA-4E5C-8479-92A12681AAEA}"/>
                </a:ext>
              </a:extLst>
            </p:cNvPr>
            <p:cNvSpPr/>
            <p:nvPr/>
          </p:nvSpPr>
          <p:spPr>
            <a:xfrm>
              <a:off x="4242175" y="1516203"/>
              <a:ext cx="3934" cy="3934"/>
            </a:xfrm>
            <a:custGeom>
              <a:avLst/>
              <a:gdLst>
                <a:gd name="connsiteX0" fmla="*/ 5901 w 3934"/>
                <a:gd name="connsiteY0" fmla="*/ 2754 h 3934"/>
                <a:gd name="connsiteX1" fmla="*/ 6295 w 3934"/>
                <a:gd name="connsiteY1" fmla="*/ 1967 h 3934"/>
                <a:gd name="connsiteX2" fmla="*/ 3147 w 3934"/>
                <a:gd name="connsiteY2" fmla="*/ 2754 h 3934"/>
                <a:gd name="connsiteX3" fmla="*/ 0 w 3934"/>
                <a:gd name="connsiteY3" fmla="*/ 0 h 3934"/>
                <a:gd name="connsiteX4" fmla="*/ 0 w 3934"/>
                <a:gd name="connsiteY4" fmla="*/ 2754 h 3934"/>
                <a:gd name="connsiteX5" fmla="*/ 3147 w 3934"/>
                <a:gd name="connsiteY5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5901" y="2754"/>
                  </a:moveTo>
                  <a:lnTo>
                    <a:pt x="6295" y="1967"/>
                  </a:lnTo>
                  <a:lnTo>
                    <a:pt x="3147" y="2754"/>
                  </a:lnTo>
                  <a:lnTo>
                    <a:pt x="0" y="0"/>
                  </a:lnTo>
                  <a:lnTo>
                    <a:pt x="0" y="2754"/>
                  </a:lnTo>
                  <a:lnTo>
                    <a:pt x="3147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9" name="Freeform: Shape 2683">
              <a:extLst>
                <a:ext uri="{FF2B5EF4-FFF2-40B4-BE49-F238E27FC236}">
                  <a16:creationId xmlns:a16="http://schemas.microsoft.com/office/drawing/2014/main" id="{EE8BF5E3-964C-4D26-B96B-6C9C02BB66EE}"/>
                </a:ext>
              </a:extLst>
            </p:cNvPr>
            <p:cNvSpPr/>
            <p:nvPr/>
          </p:nvSpPr>
          <p:spPr>
            <a:xfrm>
              <a:off x="4196537" y="1458763"/>
              <a:ext cx="15737" cy="15737"/>
            </a:xfrm>
            <a:custGeom>
              <a:avLst/>
              <a:gdLst>
                <a:gd name="connsiteX0" fmla="*/ 12983 w 15737"/>
                <a:gd name="connsiteY0" fmla="*/ 1574 h 15737"/>
                <a:gd name="connsiteX1" fmla="*/ 9836 w 15737"/>
                <a:gd name="connsiteY1" fmla="*/ 2754 h 15737"/>
                <a:gd name="connsiteX2" fmla="*/ 7082 w 15737"/>
                <a:gd name="connsiteY2" fmla="*/ 5115 h 15737"/>
                <a:gd name="connsiteX3" fmla="*/ 3934 w 15737"/>
                <a:gd name="connsiteY3" fmla="*/ 7475 h 15737"/>
                <a:gd name="connsiteX4" fmla="*/ 3934 w 15737"/>
                <a:gd name="connsiteY4" fmla="*/ 10229 h 15737"/>
                <a:gd name="connsiteX5" fmla="*/ 787 w 15737"/>
                <a:gd name="connsiteY5" fmla="*/ 11409 h 15737"/>
                <a:gd name="connsiteX6" fmla="*/ 0 w 15737"/>
                <a:gd name="connsiteY6" fmla="*/ 14557 h 15737"/>
                <a:gd name="connsiteX7" fmla="*/ 2754 w 15737"/>
                <a:gd name="connsiteY7" fmla="*/ 16524 h 15737"/>
                <a:gd name="connsiteX8" fmla="*/ 5508 w 15737"/>
                <a:gd name="connsiteY8" fmla="*/ 16130 h 15737"/>
                <a:gd name="connsiteX9" fmla="*/ 8655 w 15737"/>
                <a:gd name="connsiteY9" fmla="*/ 14557 h 15737"/>
                <a:gd name="connsiteX10" fmla="*/ 11803 w 15737"/>
                <a:gd name="connsiteY10" fmla="*/ 12590 h 15737"/>
                <a:gd name="connsiteX11" fmla="*/ 14557 w 15737"/>
                <a:gd name="connsiteY11" fmla="*/ 9836 h 15737"/>
                <a:gd name="connsiteX12" fmla="*/ 16130 w 15737"/>
                <a:gd name="connsiteY12" fmla="*/ 7082 h 15737"/>
                <a:gd name="connsiteX13" fmla="*/ 18098 w 15737"/>
                <a:gd name="connsiteY13" fmla="*/ 4328 h 15737"/>
                <a:gd name="connsiteX14" fmla="*/ 18884 w 15737"/>
                <a:gd name="connsiteY14" fmla="*/ 1574 h 15737"/>
                <a:gd name="connsiteX15" fmla="*/ 15737 w 15737"/>
                <a:gd name="connsiteY15" fmla="*/ 0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737" h="15737">
                  <a:moveTo>
                    <a:pt x="12983" y="1574"/>
                  </a:moveTo>
                  <a:lnTo>
                    <a:pt x="9836" y="2754"/>
                  </a:lnTo>
                  <a:lnTo>
                    <a:pt x="7082" y="5115"/>
                  </a:lnTo>
                  <a:lnTo>
                    <a:pt x="3934" y="7475"/>
                  </a:lnTo>
                  <a:lnTo>
                    <a:pt x="3934" y="10229"/>
                  </a:lnTo>
                  <a:lnTo>
                    <a:pt x="787" y="11409"/>
                  </a:lnTo>
                  <a:lnTo>
                    <a:pt x="0" y="14557"/>
                  </a:lnTo>
                  <a:lnTo>
                    <a:pt x="2754" y="16524"/>
                  </a:lnTo>
                  <a:lnTo>
                    <a:pt x="5508" y="16130"/>
                  </a:lnTo>
                  <a:lnTo>
                    <a:pt x="8655" y="14557"/>
                  </a:lnTo>
                  <a:lnTo>
                    <a:pt x="11803" y="12590"/>
                  </a:lnTo>
                  <a:lnTo>
                    <a:pt x="14557" y="9836"/>
                  </a:lnTo>
                  <a:lnTo>
                    <a:pt x="16130" y="7082"/>
                  </a:lnTo>
                  <a:lnTo>
                    <a:pt x="18098" y="4328"/>
                  </a:lnTo>
                  <a:lnTo>
                    <a:pt x="18884" y="1574"/>
                  </a:lnTo>
                  <a:lnTo>
                    <a:pt x="1573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0" name="Freeform: Shape 2684">
              <a:extLst>
                <a:ext uri="{FF2B5EF4-FFF2-40B4-BE49-F238E27FC236}">
                  <a16:creationId xmlns:a16="http://schemas.microsoft.com/office/drawing/2014/main" id="{EB02847D-3290-414D-8A94-422878E9A3ED}"/>
                </a:ext>
              </a:extLst>
            </p:cNvPr>
            <p:cNvSpPr/>
            <p:nvPr/>
          </p:nvSpPr>
          <p:spPr>
            <a:xfrm>
              <a:off x="4310237" y="1456402"/>
              <a:ext cx="3934" cy="3934"/>
            </a:xfrm>
            <a:custGeom>
              <a:avLst/>
              <a:gdLst>
                <a:gd name="connsiteX0" fmla="*/ 5901 w 3934"/>
                <a:gd name="connsiteY0" fmla="*/ 787 h 0"/>
                <a:gd name="connsiteX1" fmla="*/ 2754 w 3934"/>
                <a:gd name="connsiteY1" fmla="*/ 0 h 0"/>
                <a:gd name="connsiteX2" fmla="*/ 0 w 3934"/>
                <a:gd name="connsiteY2" fmla="*/ 1180 h 0"/>
                <a:gd name="connsiteX3" fmla="*/ 2754 w 3934"/>
                <a:gd name="connsiteY3" fmla="*/ 1967 h 0"/>
                <a:gd name="connsiteX4" fmla="*/ 5901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787"/>
                  </a:moveTo>
                  <a:lnTo>
                    <a:pt x="2754" y="0"/>
                  </a:lnTo>
                  <a:lnTo>
                    <a:pt x="0" y="1180"/>
                  </a:lnTo>
                  <a:lnTo>
                    <a:pt x="2754" y="1967"/>
                  </a:lnTo>
                  <a:lnTo>
                    <a:pt x="5901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1" name="Freeform: Shape 2685">
              <a:extLst>
                <a:ext uri="{FF2B5EF4-FFF2-40B4-BE49-F238E27FC236}">
                  <a16:creationId xmlns:a16="http://schemas.microsoft.com/office/drawing/2014/main" id="{CDAA9334-E463-4408-BB2E-64A20845CFF4}"/>
                </a:ext>
              </a:extLst>
            </p:cNvPr>
            <p:cNvSpPr/>
            <p:nvPr/>
          </p:nvSpPr>
          <p:spPr>
            <a:xfrm>
              <a:off x="4259879" y="1435944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18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2" name="Freeform: Shape 2686">
              <a:extLst>
                <a:ext uri="{FF2B5EF4-FFF2-40B4-BE49-F238E27FC236}">
                  <a16:creationId xmlns:a16="http://schemas.microsoft.com/office/drawing/2014/main" id="{DD68C5A8-DCF4-4FA7-A453-3E47719BAB97}"/>
                </a:ext>
              </a:extLst>
            </p:cNvPr>
            <p:cNvSpPr/>
            <p:nvPr/>
          </p:nvSpPr>
          <p:spPr>
            <a:xfrm>
              <a:off x="4309844" y="1415486"/>
              <a:ext cx="3934" cy="3934"/>
            </a:xfrm>
            <a:custGeom>
              <a:avLst/>
              <a:gdLst>
                <a:gd name="connsiteX0" fmla="*/ 0 w 3934"/>
                <a:gd name="connsiteY0" fmla="*/ 1967 h 0"/>
                <a:gd name="connsiteX1" fmla="*/ 2754 w 3934"/>
                <a:gd name="connsiteY1" fmla="*/ 1180 h 0"/>
                <a:gd name="connsiteX2" fmla="*/ 5901 w 3934"/>
                <a:gd name="connsiteY2" fmla="*/ 787 h 0"/>
                <a:gd name="connsiteX3" fmla="*/ 5901 w 3934"/>
                <a:gd name="connsiteY3" fmla="*/ 393 h 0"/>
                <a:gd name="connsiteX4" fmla="*/ 2754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967"/>
                  </a:moveTo>
                  <a:lnTo>
                    <a:pt x="2754" y="1180"/>
                  </a:lnTo>
                  <a:lnTo>
                    <a:pt x="5901" y="787"/>
                  </a:lnTo>
                  <a:lnTo>
                    <a:pt x="5901" y="393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3" name="Freeform: Shape 2687">
              <a:extLst>
                <a:ext uri="{FF2B5EF4-FFF2-40B4-BE49-F238E27FC236}">
                  <a16:creationId xmlns:a16="http://schemas.microsoft.com/office/drawing/2014/main" id="{101DF034-A941-43C8-8899-64C6F049E96F}"/>
                </a:ext>
              </a:extLst>
            </p:cNvPr>
            <p:cNvSpPr/>
            <p:nvPr/>
          </p:nvSpPr>
          <p:spPr>
            <a:xfrm>
              <a:off x="4338171" y="141351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93 w 0"/>
                <a:gd name="connsiteY1" fmla="*/ 2361 h 0"/>
                <a:gd name="connsiteX2" fmla="*/ 3147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93" y="2361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4" name="Freeform: Shape 2688">
              <a:extLst>
                <a:ext uri="{FF2B5EF4-FFF2-40B4-BE49-F238E27FC236}">
                  <a16:creationId xmlns:a16="http://schemas.microsoft.com/office/drawing/2014/main" id="{96A61BE6-746C-4A89-9F8A-FF7E4704A5E2}"/>
                </a:ext>
              </a:extLst>
            </p:cNvPr>
            <p:cNvSpPr/>
            <p:nvPr/>
          </p:nvSpPr>
          <p:spPr>
            <a:xfrm>
              <a:off x="4090312" y="1529186"/>
              <a:ext cx="161305" cy="82620"/>
            </a:xfrm>
            <a:custGeom>
              <a:avLst/>
              <a:gdLst>
                <a:gd name="connsiteX0" fmla="*/ 158157 w 161304"/>
                <a:gd name="connsiteY0" fmla="*/ 65702 h 82619"/>
                <a:gd name="connsiteX1" fmla="*/ 161698 w 161304"/>
                <a:gd name="connsiteY1" fmla="*/ 65309 h 82619"/>
                <a:gd name="connsiteX2" fmla="*/ 164452 w 161304"/>
                <a:gd name="connsiteY2" fmla="*/ 64522 h 82619"/>
                <a:gd name="connsiteX3" fmla="*/ 163272 w 161304"/>
                <a:gd name="connsiteY3" fmla="*/ 61768 h 82619"/>
                <a:gd name="connsiteX4" fmla="*/ 160125 w 161304"/>
                <a:gd name="connsiteY4" fmla="*/ 60981 h 82619"/>
                <a:gd name="connsiteX5" fmla="*/ 156977 w 161304"/>
                <a:gd name="connsiteY5" fmla="*/ 60588 h 82619"/>
                <a:gd name="connsiteX6" fmla="*/ 160125 w 161304"/>
                <a:gd name="connsiteY6" fmla="*/ 60194 h 82619"/>
                <a:gd name="connsiteX7" fmla="*/ 162092 w 161304"/>
                <a:gd name="connsiteY7" fmla="*/ 57440 h 82619"/>
                <a:gd name="connsiteX8" fmla="*/ 158944 w 161304"/>
                <a:gd name="connsiteY8" fmla="*/ 56653 h 82619"/>
                <a:gd name="connsiteX9" fmla="*/ 156977 w 161304"/>
                <a:gd name="connsiteY9" fmla="*/ 53899 h 82619"/>
                <a:gd name="connsiteX10" fmla="*/ 154223 w 161304"/>
                <a:gd name="connsiteY10" fmla="*/ 54686 h 82619"/>
                <a:gd name="connsiteX11" fmla="*/ 151469 w 161304"/>
                <a:gd name="connsiteY11" fmla="*/ 56653 h 82619"/>
                <a:gd name="connsiteX12" fmla="*/ 148715 w 161304"/>
                <a:gd name="connsiteY12" fmla="*/ 55473 h 82619"/>
                <a:gd name="connsiteX13" fmla="*/ 145961 w 161304"/>
                <a:gd name="connsiteY13" fmla="*/ 54686 h 82619"/>
                <a:gd name="connsiteX14" fmla="*/ 142814 w 161304"/>
                <a:gd name="connsiteY14" fmla="*/ 55867 h 82619"/>
                <a:gd name="connsiteX15" fmla="*/ 139666 w 161304"/>
                <a:gd name="connsiteY15" fmla="*/ 56260 h 82619"/>
                <a:gd name="connsiteX16" fmla="*/ 136519 w 161304"/>
                <a:gd name="connsiteY16" fmla="*/ 56653 h 82619"/>
                <a:gd name="connsiteX17" fmla="*/ 133765 w 161304"/>
                <a:gd name="connsiteY17" fmla="*/ 57047 h 82619"/>
                <a:gd name="connsiteX18" fmla="*/ 130618 w 161304"/>
                <a:gd name="connsiteY18" fmla="*/ 57440 h 82619"/>
                <a:gd name="connsiteX19" fmla="*/ 133371 w 161304"/>
                <a:gd name="connsiteY19" fmla="*/ 54293 h 82619"/>
                <a:gd name="connsiteX20" fmla="*/ 136519 w 161304"/>
                <a:gd name="connsiteY20" fmla="*/ 54293 h 82619"/>
                <a:gd name="connsiteX21" fmla="*/ 139666 w 161304"/>
                <a:gd name="connsiteY21" fmla="*/ 53506 h 82619"/>
                <a:gd name="connsiteX22" fmla="*/ 142420 w 161304"/>
                <a:gd name="connsiteY22" fmla="*/ 51539 h 82619"/>
                <a:gd name="connsiteX23" fmla="*/ 140847 w 161304"/>
                <a:gd name="connsiteY23" fmla="*/ 48391 h 82619"/>
                <a:gd name="connsiteX24" fmla="*/ 142814 w 161304"/>
                <a:gd name="connsiteY24" fmla="*/ 45637 h 82619"/>
                <a:gd name="connsiteX25" fmla="*/ 144781 w 161304"/>
                <a:gd name="connsiteY25" fmla="*/ 42883 h 82619"/>
                <a:gd name="connsiteX26" fmla="*/ 143601 w 161304"/>
                <a:gd name="connsiteY26" fmla="*/ 39736 h 82619"/>
                <a:gd name="connsiteX27" fmla="*/ 142027 w 161304"/>
                <a:gd name="connsiteY27" fmla="*/ 36982 h 82619"/>
                <a:gd name="connsiteX28" fmla="*/ 138879 w 161304"/>
                <a:gd name="connsiteY28" fmla="*/ 36195 h 82619"/>
                <a:gd name="connsiteX29" fmla="*/ 135732 w 161304"/>
                <a:gd name="connsiteY29" fmla="*/ 33835 h 82619"/>
                <a:gd name="connsiteX30" fmla="*/ 132978 w 161304"/>
                <a:gd name="connsiteY30" fmla="*/ 34622 h 82619"/>
                <a:gd name="connsiteX31" fmla="*/ 129831 w 161304"/>
                <a:gd name="connsiteY31" fmla="*/ 33835 h 82619"/>
                <a:gd name="connsiteX32" fmla="*/ 128650 w 161304"/>
                <a:gd name="connsiteY32" fmla="*/ 30687 h 82619"/>
                <a:gd name="connsiteX33" fmla="*/ 125503 w 161304"/>
                <a:gd name="connsiteY33" fmla="*/ 29507 h 82619"/>
                <a:gd name="connsiteX34" fmla="*/ 122356 w 161304"/>
                <a:gd name="connsiteY34" fmla="*/ 28720 h 82619"/>
                <a:gd name="connsiteX35" fmla="*/ 121175 w 161304"/>
                <a:gd name="connsiteY35" fmla="*/ 25966 h 82619"/>
                <a:gd name="connsiteX36" fmla="*/ 121962 w 161304"/>
                <a:gd name="connsiteY36" fmla="*/ 23212 h 82619"/>
                <a:gd name="connsiteX37" fmla="*/ 118815 w 161304"/>
                <a:gd name="connsiteY37" fmla="*/ 22032 h 82619"/>
                <a:gd name="connsiteX38" fmla="*/ 113307 w 161304"/>
                <a:gd name="connsiteY38" fmla="*/ 22032 h 82619"/>
                <a:gd name="connsiteX39" fmla="*/ 110553 w 161304"/>
                <a:gd name="connsiteY39" fmla="*/ 21245 h 82619"/>
                <a:gd name="connsiteX40" fmla="*/ 107405 w 161304"/>
                <a:gd name="connsiteY40" fmla="*/ 20458 h 82619"/>
                <a:gd name="connsiteX41" fmla="*/ 108192 w 161304"/>
                <a:gd name="connsiteY41" fmla="*/ 17704 h 82619"/>
                <a:gd name="connsiteX42" fmla="*/ 105438 w 161304"/>
                <a:gd name="connsiteY42" fmla="*/ 14950 h 82619"/>
                <a:gd name="connsiteX43" fmla="*/ 102291 w 161304"/>
                <a:gd name="connsiteY43" fmla="*/ 12983 h 82619"/>
                <a:gd name="connsiteX44" fmla="*/ 99537 w 161304"/>
                <a:gd name="connsiteY44" fmla="*/ 14950 h 82619"/>
                <a:gd name="connsiteX45" fmla="*/ 96389 w 161304"/>
                <a:gd name="connsiteY45" fmla="*/ 16524 h 82619"/>
                <a:gd name="connsiteX46" fmla="*/ 93242 w 161304"/>
                <a:gd name="connsiteY46" fmla="*/ 19278 h 82619"/>
                <a:gd name="connsiteX47" fmla="*/ 90095 w 161304"/>
                <a:gd name="connsiteY47" fmla="*/ 20458 h 82619"/>
                <a:gd name="connsiteX48" fmla="*/ 89308 w 161304"/>
                <a:gd name="connsiteY48" fmla="*/ 17704 h 82619"/>
                <a:gd name="connsiteX49" fmla="*/ 91668 w 161304"/>
                <a:gd name="connsiteY49" fmla="*/ 14950 h 82619"/>
                <a:gd name="connsiteX50" fmla="*/ 88521 w 161304"/>
                <a:gd name="connsiteY50" fmla="*/ 12196 h 82619"/>
                <a:gd name="connsiteX51" fmla="*/ 91668 w 161304"/>
                <a:gd name="connsiteY51" fmla="*/ 9836 h 82619"/>
                <a:gd name="connsiteX52" fmla="*/ 94422 w 161304"/>
                <a:gd name="connsiteY52" fmla="*/ 9049 h 82619"/>
                <a:gd name="connsiteX53" fmla="*/ 94816 w 161304"/>
                <a:gd name="connsiteY53" fmla="*/ 5901 h 82619"/>
                <a:gd name="connsiteX54" fmla="*/ 96389 w 161304"/>
                <a:gd name="connsiteY54" fmla="*/ 3147 h 82619"/>
                <a:gd name="connsiteX55" fmla="*/ 93242 w 161304"/>
                <a:gd name="connsiteY55" fmla="*/ 1967 h 82619"/>
                <a:gd name="connsiteX56" fmla="*/ 90488 w 161304"/>
                <a:gd name="connsiteY56" fmla="*/ 3147 h 82619"/>
                <a:gd name="connsiteX57" fmla="*/ 92062 w 161304"/>
                <a:gd name="connsiteY57" fmla="*/ 393 h 82619"/>
                <a:gd name="connsiteX58" fmla="*/ 89308 w 161304"/>
                <a:gd name="connsiteY58" fmla="*/ 0 h 82619"/>
                <a:gd name="connsiteX59" fmla="*/ 86160 w 161304"/>
                <a:gd name="connsiteY59" fmla="*/ 787 h 82619"/>
                <a:gd name="connsiteX60" fmla="*/ 83013 w 161304"/>
                <a:gd name="connsiteY60" fmla="*/ 1967 h 82619"/>
                <a:gd name="connsiteX61" fmla="*/ 79866 w 161304"/>
                <a:gd name="connsiteY61" fmla="*/ 3541 h 82619"/>
                <a:gd name="connsiteX62" fmla="*/ 77111 w 161304"/>
                <a:gd name="connsiteY62" fmla="*/ 4721 h 82619"/>
                <a:gd name="connsiteX63" fmla="*/ 71210 w 161304"/>
                <a:gd name="connsiteY63" fmla="*/ 9836 h 82619"/>
                <a:gd name="connsiteX64" fmla="*/ 65309 w 161304"/>
                <a:gd name="connsiteY64" fmla="*/ 14950 h 82619"/>
                <a:gd name="connsiteX65" fmla="*/ 62948 w 161304"/>
                <a:gd name="connsiteY65" fmla="*/ 18098 h 82619"/>
                <a:gd name="connsiteX66" fmla="*/ 60981 w 161304"/>
                <a:gd name="connsiteY66" fmla="*/ 20852 h 82619"/>
                <a:gd name="connsiteX67" fmla="*/ 58620 w 161304"/>
                <a:gd name="connsiteY67" fmla="*/ 23999 h 82619"/>
                <a:gd name="connsiteX68" fmla="*/ 55867 w 161304"/>
                <a:gd name="connsiteY68" fmla="*/ 25573 h 82619"/>
                <a:gd name="connsiteX69" fmla="*/ 54293 w 161304"/>
                <a:gd name="connsiteY69" fmla="*/ 28327 h 82619"/>
                <a:gd name="connsiteX70" fmla="*/ 51539 w 161304"/>
                <a:gd name="connsiteY70" fmla="*/ 31081 h 82619"/>
                <a:gd name="connsiteX71" fmla="*/ 48785 w 161304"/>
                <a:gd name="connsiteY71" fmla="*/ 33048 h 82619"/>
                <a:gd name="connsiteX72" fmla="*/ 45637 w 161304"/>
                <a:gd name="connsiteY72" fmla="*/ 35408 h 82619"/>
                <a:gd name="connsiteX73" fmla="*/ 42883 w 161304"/>
                <a:gd name="connsiteY73" fmla="*/ 37769 h 82619"/>
                <a:gd name="connsiteX74" fmla="*/ 40523 w 161304"/>
                <a:gd name="connsiteY74" fmla="*/ 40523 h 82619"/>
                <a:gd name="connsiteX75" fmla="*/ 37769 w 161304"/>
                <a:gd name="connsiteY75" fmla="*/ 43277 h 82619"/>
                <a:gd name="connsiteX76" fmla="*/ 35802 w 161304"/>
                <a:gd name="connsiteY76" fmla="*/ 46424 h 82619"/>
                <a:gd name="connsiteX77" fmla="*/ 35408 w 161304"/>
                <a:gd name="connsiteY77" fmla="*/ 49572 h 82619"/>
                <a:gd name="connsiteX78" fmla="*/ 35802 w 161304"/>
                <a:gd name="connsiteY78" fmla="*/ 52326 h 82619"/>
                <a:gd name="connsiteX79" fmla="*/ 32654 w 161304"/>
                <a:gd name="connsiteY79" fmla="*/ 54686 h 82619"/>
                <a:gd name="connsiteX80" fmla="*/ 29507 w 161304"/>
                <a:gd name="connsiteY80" fmla="*/ 55080 h 82619"/>
                <a:gd name="connsiteX81" fmla="*/ 26360 w 161304"/>
                <a:gd name="connsiteY81" fmla="*/ 56260 h 82619"/>
                <a:gd name="connsiteX82" fmla="*/ 23606 w 161304"/>
                <a:gd name="connsiteY82" fmla="*/ 56653 h 82619"/>
                <a:gd name="connsiteX83" fmla="*/ 20458 w 161304"/>
                <a:gd name="connsiteY83" fmla="*/ 57440 h 82619"/>
                <a:gd name="connsiteX84" fmla="*/ 17704 w 161304"/>
                <a:gd name="connsiteY84" fmla="*/ 58227 h 82619"/>
                <a:gd name="connsiteX85" fmla="*/ 14557 w 161304"/>
                <a:gd name="connsiteY85" fmla="*/ 59407 h 82619"/>
                <a:gd name="connsiteX86" fmla="*/ 11409 w 161304"/>
                <a:gd name="connsiteY86" fmla="*/ 60588 h 82619"/>
                <a:gd name="connsiteX87" fmla="*/ 8655 w 161304"/>
                <a:gd name="connsiteY87" fmla="*/ 62161 h 82619"/>
                <a:gd name="connsiteX88" fmla="*/ 5901 w 161304"/>
                <a:gd name="connsiteY88" fmla="*/ 63735 h 82619"/>
                <a:gd name="connsiteX89" fmla="*/ 2754 w 161304"/>
                <a:gd name="connsiteY89" fmla="*/ 65702 h 82619"/>
                <a:gd name="connsiteX90" fmla="*/ 0 w 161304"/>
                <a:gd name="connsiteY90" fmla="*/ 68063 h 82619"/>
                <a:gd name="connsiteX91" fmla="*/ 3147 w 161304"/>
                <a:gd name="connsiteY91" fmla="*/ 70817 h 82619"/>
                <a:gd name="connsiteX92" fmla="*/ 5901 w 161304"/>
                <a:gd name="connsiteY92" fmla="*/ 70817 h 82619"/>
                <a:gd name="connsiteX93" fmla="*/ 9049 w 161304"/>
                <a:gd name="connsiteY93" fmla="*/ 69636 h 82619"/>
                <a:gd name="connsiteX94" fmla="*/ 11803 w 161304"/>
                <a:gd name="connsiteY94" fmla="*/ 68456 h 82619"/>
                <a:gd name="connsiteX95" fmla="*/ 14950 w 161304"/>
                <a:gd name="connsiteY95" fmla="*/ 67276 h 82619"/>
                <a:gd name="connsiteX96" fmla="*/ 17704 w 161304"/>
                <a:gd name="connsiteY96" fmla="*/ 67276 h 82619"/>
                <a:gd name="connsiteX97" fmla="*/ 20852 w 161304"/>
                <a:gd name="connsiteY97" fmla="*/ 67669 h 82619"/>
                <a:gd name="connsiteX98" fmla="*/ 23606 w 161304"/>
                <a:gd name="connsiteY98" fmla="*/ 67669 h 82619"/>
                <a:gd name="connsiteX99" fmla="*/ 26753 w 161304"/>
                <a:gd name="connsiteY99" fmla="*/ 66882 h 82619"/>
                <a:gd name="connsiteX100" fmla="*/ 29507 w 161304"/>
                <a:gd name="connsiteY100" fmla="*/ 66489 h 82619"/>
                <a:gd name="connsiteX101" fmla="*/ 32654 w 161304"/>
                <a:gd name="connsiteY101" fmla="*/ 66096 h 82619"/>
                <a:gd name="connsiteX102" fmla="*/ 35802 w 161304"/>
                <a:gd name="connsiteY102" fmla="*/ 65309 h 82619"/>
                <a:gd name="connsiteX103" fmla="*/ 37769 w 161304"/>
                <a:gd name="connsiteY103" fmla="*/ 64128 h 82619"/>
                <a:gd name="connsiteX104" fmla="*/ 37769 w 161304"/>
                <a:gd name="connsiteY104" fmla="*/ 66882 h 82619"/>
                <a:gd name="connsiteX105" fmla="*/ 35802 w 161304"/>
                <a:gd name="connsiteY105" fmla="*/ 70030 h 82619"/>
                <a:gd name="connsiteX106" fmla="*/ 33441 w 161304"/>
                <a:gd name="connsiteY106" fmla="*/ 72784 h 82619"/>
                <a:gd name="connsiteX107" fmla="*/ 30687 w 161304"/>
                <a:gd name="connsiteY107" fmla="*/ 75538 h 82619"/>
                <a:gd name="connsiteX108" fmla="*/ 28720 w 161304"/>
                <a:gd name="connsiteY108" fmla="*/ 78685 h 82619"/>
                <a:gd name="connsiteX109" fmla="*/ 27540 w 161304"/>
                <a:gd name="connsiteY109" fmla="*/ 81833 h 82619"/>
                <a:gd name="connsiteX110" fmla="*/ 30294 w 161304"/>
                <a:gd name="connsiteY110" fmla="*/ 83800 h 82619"/>
                <a:gd name="connsiteX111" fmla="*/ 33441 w 161304"/>
                <a:gd name="connsiteY111" fmla="*/ 83800 h 82619"/>
                <a:gd name="connsiteX112" fmla="*/ 36589 w 161304"/>
                <a:gd name="connsiteY112" fmla="*/ 83406 h 82619"/>
                <a:gd name="connsiteX113" fmla="*/ 39343 w 161304"/>
                <a:gd name="connsiteY113" fmla="*/ 82226 h 82619"/>
                <a:gd name="connsiteX114" fmla="*/ 42097 w 161304"/>
                <a:gd name="connsiteY114" fmla="*/ 81833 h 82619"/>
                <a:gd name="connsiteX115" fmla="*/ 45244 w 161304"/>
                <a:gd name="connsiteY115" fmla="*/ 80652 h 82619"/>
                <a:gd name="connsiteX116" fmla="*/ 47998 w 161304"/>
                <a:gd name="connsiteY116" fmla="*/ 79866 h 82619"/>
                <a:gd name="connsiteX117" fmla="*/ 51145 w 161304"/>
                <a:gd name="connsiteY117" fmla="*/ 78292 h 82619"/>
                <a:gd name="connsiteX118" fmla="*/ 53899 w 161304"/>
                <a:gd name="connsiteY118" fmla="*/ 77898 h 82619"/>
                <a:gd name="connsiteX119" fmla="*/ 57047 w 161304"/>
                <a:gd name="connsiteY119" fmla="*/ 75931 h 82619"/>
                <a:gd name="connsiteX120" fmla="*/ 59801 w 161304"/>
                <a:gd name="connsiteY120" fmla="*/ 73571 h 82619"/>
                <a:gd name="connsiteX121" fmla="*/ 62948 w 161304"/>
                <a:gd name="connsiteY121" fmla="*/ 71210 h 82619"/>
                <a:gd name="connsiteX122" fmla="*/ 66096 w 161304"/>
                <a:gd name="connsiteY122" fmla="*/ 69636 h 82619"/>
                <a:gd name="connsiteX123" fmla="*/ 69243 w 161304"/>
                <a:gd name="connsiteY123" fmla="*/ 68456 h 82619"/>
                <a:gd name="connsiteX124" fmla="*/ 71997 w 161304"/>
                <a:gd name="connsiteY124" fmla="*/ 68456 h 82619"/>
                <a:gd name="connsiteX125" fmla="*/ 75144 w 161304"/>
                <a:gd name="connsiteY125" fmla="*/ 66882 h 82619"/>
                <a:gd name="connsiteX126" fmla="*/ 77898 w 161304"/>
                <a:gd name="connsiteY126" fmla="*/ 66489 h 82619"/>
                <a:gd name="connsiteX127" fmla="*/ 81046 w 161304"/>
                <a:gd name="connsiteY127" fmla="*/ 64522 h 82619"/>
                <a:gd name="connsiteX128" fmla="*/ 83800 w 161304"/>
                <a:gd name="connsiteY128" fmla="*/ 63735 h 82619"/>
                <a:gd name="connsiteX129" fmla="*/ 86554 w 161304"/>
                <a:gd name="connsiteY129" fmla="*/ 63735 h 82619"/>
                <a:gd name="connsiteX130" fmla="*/ 88521 w 161304"/>
                <a:gd name="connsiteY130" fmla="*/ 60588 h 82619"/>
                <a:gd name="connsiteX131" fmla="*/ 90095 w 161304"/>
                <a:gd name="connsiteY131" fmla="*/ 57440 h 82619"/>
                <a:gd name="connsiteX132" fmla="*/ 93242 w 161304"/>
                <a:gd name="connsiteY132" fmla="*/ 55473 h 82619"/>
                <a:gd name="connsiteX133" fmla="*/ 95996 w 161304"/>
                <a:gd name="connsiteY133" fmla="*/ 53506 h 82619"/>
                <a:gd name="connsiteX134" fmla="*/ 99144 w 161304"/>
                <a:gd name="connsiteY134" fmla="*/ 53899 h 82619"/>
                <a:gd name="connsiteX135" fmla="*/ 102291 w 161304"/>
                <a:gd name="connsiteY135" fmla="*/ 52719 h 82619"/>
                <a:gd name="connsiteX136" fmla="*/ 105045 w 161304"/>
                <a:gd name="connsiteY136" fmla="*/ 52326 h 82619"/>
                <a:gd name="connsiteX137" fmla="*/ 107799 w 161304"/>
                <a:gd name="connsiteY137" fmla="*/ 51539 h 82619"/>
                <a:gd name="connsiteX138" fmla="*/ 107405 w 161304"/>
                <a:gd name="connsiteY138" fmla="*/ 54293 h 82619"/>
                <a:gd name="connsiteX139" fmla="*/ 104651 w 161304"/>
                <a:gd name="connsiteY139" fmla="*/ 55867 h 82619"/>
                <a:gd name="connsiteX140" fmla="*/ 107405 w 161304"/>
                <a:gd name="connsiteY140" fmla="*/ 57440 h 82619"/>
                <a:gd name="connsiteX141" fmla="*/ 110553 w 161304"/>
                <a:gd name="connsiteY141" fmla="*/ 57834 h 82619"/>
                <a:gd name="connsiteX142" fmla="*/ 113700 w 161304"/>
                <a:gd name="connsiteY142" fmla="*/ 57834 h 82619"/>
                <a:gd name="connsiteX143" fmla="*/ 116454 w 161304"/>
                <a:gd name="connsiteY143" fmla="*/ 58621 h 82619"/>
                <a:gd name="connsiteX144" fmla="*/ 117241 w 161304"/>
                <a:gd name="connsiteY144" fmla="*/ 61375 h 82619"/>
                <a:gd name="connsiteX145" fmla="*/ 114487 w 161304"/>
                <a:gd name="connsiteY145" fmla="*/ 62555 h 82619"/>
                <a:gd name="connsiteX146" fmla="*/ 111340 w 161304"/>
                <a:gd name="connsiteY146" fmla="*/ 63735 h 82619"/>
                <a:gd name="connsiteX147" fmla="*/ 110946 w 161304"/>
                <a:gd name="connsiteY147" fmla="*/ 66489 h 82619"/>
                <a:gd name="connsiteX148" fmla="*/ 113700 w 161304"/>
                <a:gd name="connsiteY148" fmla="*/ 67669 h 82619"/>
                <a:gd name="connsiteX149" fmla="*/ 116848 w 161304"/>
                <a:gd name="connsiteY149" fmla="*/ 66489 h 82619"/>
                <a:gd name="connsiteX150" fmla="*/ 119601 w 161304"/>
                <a:gd name="connsiteY150" fmla="*/ 66489 h 82619"/>
                <a:gd name="connsiteX151" fmla="*/ 122356 w 161304"/>
                <a:gd name="connsiteY151" fmla="*/ 67669 h 82619"/>
                <a:gd name="connsiteX152" fmla="*/ 125503 w 161304"/>
                <a:gd name="connsiteY152" fmla="*/ 67669 h 82619"/>
                <a:gd name="connsiteX153" fmla="*/ 128650 w 161304"/>
                <a:gd name="connsiteY153" fmla="*/ 70030 h 82619"/>
                <a:gd name="connsiteX154" fmla="*/ 131404 w 161304"/>
                <a:gd name="connsiteY154" fmla="*/ 70423 h 82619"/>
                <a:gd name="connsiteX155" fmla="*/ 134552 w 161304"/>
                <a:gd name="connsiteY155" fmla="*/ 71997 h 82619"/>
                <a:gd name="connsiteX156" fmla="*/ 137306 w 161304"/>
                <a:gd name="connsiteY156" fmla="*/ 73177 h 82619"/>
                <a:gd name="connsiteX157" fmla="*/ 140453 w 161304"/>
                <a:gd name="connsiteY157" fmla="*/ 73571 h 82619"/>
                <a:gd name="connsiteX158" fmla="*/ 143601 w 161304"/>
                <a:gd name="connsiteY158" fmla="*/ 71604 h 82619"/>
                <a:gd name="connsiteX159" fmla="*/ 146355 w 161304"/>
                <a:gd name="connsiteY159" fmla="*/ 70817 h 82619"/>
                <a:gd name="connsiteX160" fmla="*/ 149502 w 161304"/>
                <a:gd name="connsiteY160" fmla="*/ 69636 h 82619"/>
                <a:gd name="connsiteX161" fmla="*/ 152256 w 161304"/>
                <a:gd name="connsiteY161" fmla="*/ 68456 h 82619"/>
                <a:gd name="connsiteX162" fmla="*/ 155010 w 161304"/>
                <a:gd name="connsiteY162" fmla="*/ 67276 h 82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</a:cxnLst>
              <a:rect l="l" t="t" r="r" b="b"/>
              <a:pathLst>
                <a:path w="161304" h="82619">
                  <a:moveTo>
                    <a:pt x="158157" y="65702"/>
                  </a:moveTo>
                  <a:lnTo>
                    <a:pt x="161698" y="65309"/>
                  </a:lnTo>
                  <a:lnTo>
                    <a:pt x="164452" y="64522"/>
                  </a:lnTo>
                  <a:lnTo>
                    <a:pt x="163272" y="61768"/>
                  </a:lnTo>
                  <a:lnTo>
                    <a:pt x="160125" y="60981"/>
                  </a:lnTo>
                  <a:lnTo>
                    <a:pt x="156977" y="60588"/>
                  </a:lnTo>
                  <a:lnTo>
                    <a:pt x="160125" y="60194"/>
                  </a:lnTo>
                  <a:lnTo>
                    <a:pt x="162092" y="57440"/>
                  </a:lnTo>
                  <a:lnTo>
                    <a:pt x="158944" y="56653"/>
                  </a:lnTo>
                  <a:lnTo>
                    <a:pt x="156977" y="53899"/>
                  </a:lnTo>
                  <a:lnTo>
                    <a:pt x="154223" y="54686"/>
                  </a:lnTo>
                  <a:lnTo>
                    <a:pt x="151469" y="56653"/>
                  </a:lnTo>
                  <a:lnTo>
                    <a:pt x="148715" y="55473"/>
                  </a:lnTo>
                  <a:lnTo>
                    <a:pt x="145961" y="54686"/>
                  </a:lnTo>
                  <a:lnTo>
                    <a:pt x="142814" y="55867"/>
                  </a:lnTo>
                  <a:lnTo>
                    <a:pt x="139666" y="56260"/>
                  </a:lnTo>
                  <a:lnTo>
                    <a:pt x="136519" y="56653"/>
                  </a:lnTo>
                  <a:lnTo>
                    <a:pt x="133765" y="57047"/>
                  </a:lnTo>
                  <a:lnTo>
                    <a:pt x="130618" y="57440"/>
                  </a:lnTo>
                  <a:lnTo>
                    <a:pt x="133371" y="54293"/>
                  </a:lnTo>
                  <a:lnTo>
                    <a:pt x="136519" y="54293"/>
                  </a:lnTo>
                  <a:lnTo>
                    <a:pt x="139666" y="53506"/>
                  </a:lnTo>
                  <a:lnTo>
                    <a:pt x="142420" y="51539"/>
                  </a:lnTo>
                  <a:lnTo>
                    <a:pt x="140847" y="48391"/>
                  </a:lnTo>
                  <a:lnTo>
                    <a:pt x="142814" y="45637"/>
                  </a:lnTo>
                  <a:lnTo>
                    <a:pt x="144781" y="42883"/>
                  </a:lnTo>
                  <a:lnTo>
                    <a:pt x="143601" y="39736"/>
                  </a:lnTo>
                  <a:lnTo>
                    <a:pt x="142027" y="36982"/>
                  </a:lnTo>
                  <a:lnTo>
                    <a:pt x="138879" y="36195"/>
                  </a:lnTo>
                  <a:lnTo>
                    <a:pt x="135732" y="33835"/>
                  </a:lnTo>
                  <a:lnTo>
                    <a:pt x="132978" y="34622"/>
                  </a:lnTo>
                  <a:lnTo>
                    <a:pt x="129831" y="33835"/>
                  </a:lnTo>
                  <a:lnTo>
                    <a:pt x="128650" y="30687"/>
                  </a:lnTo>
                  <a:lnTo>
                    <a:pt x="125503" y="29507"/>
                  </a:lnTo>
                  <a:lnTo>
                    <a:pt x="122356" y="28720"/>
                  </a:lnTo>
                  <a:lnTo>
                    <a:pt x="121175" y="25966"/>
                  </a:lnTo>
                  <a:lnTo>
                    <a:pt x="121962" y="23212"/>
                  </a:lnTo>
                  <a:lnTo>
                    <a:pt x="118815" y="22032"/>
                  </a:lnTo>
                  <a:lnTo>
                    <a:pt x="113307" y="22032"/>
                  </a:lnTo>
                  <a:lnTo>
                    <a:pt x="110553" y="21245"/>
                  </a:lnTo>
                  <a:lnTo>
                    <a:pt x="107405" y="20458"/>
                  </a:lnTo>
                  <a:lnTo>
                    <a:pt x="108192" y="17704"/>
                  </a:lnTo>
                  <a:lnTo>
                    <a:pt x="105438" y="14950"/>
                  </a:lnTo>
                  <a:lnTo>
                    <a:pt x="102291" y="12983"/>
                  </a:lnTo>
                  <a:lnTo>
                    <a:pt x="99537" y="14950"/>
                  </a:lnTo>
                  <a:lnTo>
                    <a:pt x="96389" y="16524"/>
                  </a:lnTo>
                  <a:lnTo>
                    <a:pt x="93242" y="19278"/>
                  </a:lnTo>
                  <a:lnTo>
                    <a:pt x="90095" y="20458"/>
                  </a:lnTo>
                  <a:lnTo>
                    <a:pt x="89308" y="17704"/>
                  </a:lnTo>
                  <a:lnTo>
                    <a:pt x="91668" y="14950"/>
                  </a:lnTo>
                  <a:lnTo>
                    <a:pt x="88521" y="12196"/>
                  </a:lnTo>
                  <a:lnTo>
                    <a:pt x="91668" y="9836"/>
                  </a:lnTo>
                  <a:lnTo>
                    <a:pt x="94422" y="9049"/>
                  </a:lnTo>
                  <a:lnTo>
                    <a:pt x="94816" y="5901"/>
                  </a:lnTo>
                  <a:lnTo>
                    <a:pt x="96389" y="3147"/>
                  </a:lnTo>
                  <a:lnTo>
                    <a:pt x="93242" y="1967"/>
                  </a:lnTo>
                  <a:lnTo>
                    <a:pt x="90488" y="3147"/>
                  </a:lnTo>
                  <a:lnTo>
                    <a:pt x="92062" y="393"/>
                  </a:lnTo>
                  <a:lnTo>
                    <a:pt x="89308" y="0"/>
                  </a:lnTo>
                  <a:lnTo>
                    <a:pt x="86160" y="787"/>
                  </a:lnTo>
                  <a:lnTo>
                    <a:pt x="83013" y="1967"/>
                  </a:lnTo>
                  <a:lnTo>
                    <a:pt x="79866" y="3541"/>
                  </a:lnTo>
                  <a:lnTo>
                    <a:pt x="77111" y="4721"/>
                  </a:lnTo>
                  <a:lnTo>
                    <a:pt x="71210" y="9836"/>
                  </a:lnTo>
                  <a:lnTo>
                    <a:pt x="65309" y="14950"/>
                  </a:lnTo>
                  <a:lnTo>
                    <a:pt x="62948" y="18098"/>
                  </a:lnTo>
                  <a:lnTo>
                    <a:pt x="60981" y="20852"/>
                  </a:lnTo>
                  <a:lnTo>
                    <a:pt x="58620" y="23999"/>
                  </a:lnTo>
                  <a:lnTo>
                    <a:pt x="55867" y="25573"/>
                  </a:lnTo>
                  <a:lnTo>
                    <a:pt x="54293" y="28327"/>
                  </a:lnTo>
                  <a:lnTo>
                    <a:pt x="51539" y="31081"/>
                  </a:lnTo>
                  <a:lnTo>
                    <a:pt x="48785" y="33048"/>
                  </a:lnTo>
                  <a:lnTo>
                    <a:pt x="45637" y="35408"/>
                  </a:lnTo>
                  <a:lnTo>
                    <a:pt x="42883" y="37769"/>
                  </a:lnTo>
                  <a:lnTo>
                    <a:pt x="40523" y="40523"/>
                  </a:lnTo>
                  <a:lnTo>
                    <a:pt x="37769" y="43277"/>
                  </a:lnTo>
                  <a:lnTo>
                    <a:pt x="35802" y="46424"/>
                  </a:lnTo>
                  <a:lnTo>
                    <a:pt x="35408" y="49572"/>
                  </a:lnTo>
                  <a:lnTo>
                    <a:pt x="35802" y="52326"/>
                  </a:lnTo>
                  <a:lnTo>
                    <a:pt x="32654" y="54686"/>
                  </a:lnTo>
                  <a:lnTo>
                    <a:pt x="29507" y="55080"/>
                  </a:lnTo>
                  <a:lnTo>
                    <a:pt x="26360" y="56260"/>
                  </a:lnTo>
                  <a:lnTo>
                    <a:pt x="23606" y="56653"/>
                  </a:lnTo>
                  <a:lnTo>
                    <a:pt x="20458" y="57440"/>
                  </a:lnTo>
                  <a:lnTo>
                    <a:pt x="17704" y="58227"/>
                  </a:lnTo>
                  <a:lnTo>
                    <a:pt x="14557" y="59407"/>
                  </a:lnTo>
                  <a:lnTo>
                    <a:pt x="11409" y="60588"/>
                  </a:lnTo>
                  <a:lnTo>
                    <a:pt x="8655" y="62161"/>
                  </a:lnTo>
                  <a:lnTo>
                    <a:pt x="5901" y="63735"/>
                  </a:lnTo>
                  <a:lnTo>
                    <a:pt x="2754" y="65702"/>
                  </a:lnTo>
                  <a:lnTo>
                    <a:pt x="0" y="68063"/>
                  </a:lnTo>
                  <a:lnTo>
                    <a:pt x="3147" y="70817"/>
                  </a:lnTo>
                  <a:lnTo>
                    <a:pt x="5901" y="70817"/>
                  </a:lnTo>
                  <a:lnTo>
                    <a:pt x="9049" y="69636"/>
                  </a:lnTo>
                  <a:lnTo>
                    <a:pt x="11803" y="68456"/>
                  </a:lnTo>
                  <a:lnTo>
                    <a:pt x="14950" y="67276"/>
                  </a:lnTo>
                  <a:lnTo>
                    <a:pt x="17704" y="67276"/>
                  </a:lnTo>
                  <a:lnTo>
                    <a:pt x="20852" y="67669"/>
                  </a:lnTo>
                  <a:lnTo>
                    <a:pt x="23606" y="67669"/>
                  </a:lnTo>
                  <a:lnTo>
                    <a:pt x="26753" y="66882"/>
                  </a:lnTo>
                  <a:lnTo>
                    <a:pt x="29507" y="66489"/>
                  </a:lnTo>
                  <a:lnTo>
                    <a:pt x="32654" y="66096"/>
                  </a:lnTo>
                  <a:lnTo>
                    <a:pt x="35802" y="65309"/>
                  </a:lnTo>
                  <a:lnTo>
                    <a:pt x="37769" y="64128"/>
                  </a:lnTo>
                  <a:lnTo>
                    <a:pt x="37769" y="66882"/>
                  </a:lnTo>
                  <a:lnTo>
                    <a:pt x="35802" y="70030"/>
                  </a:lnTo>
                  <a:lnTo>
                    <a:pt x="33441" y="72784"/>
                  </a:lnTo>
                  <a:lnTo>
                    <a:pt x="30687" y="75538"/>
                  </a:lnTo>
                  <a:lnTo>
                    <a:pt x="28720" y="78685"/>
                  </a:lnTo>
                  <a:lnTo>
                    <a:pt x="27540" y="81833"/>
                  </a:lnTo>
                  <a:lnTo>
                    <a:pt x="30294" y="83800"/>
                  </a:lnTo>
                  <a:lnTo>
                    <a:pt x="33441" y="83800"/>
                  </a:lnTo>
                  <a:lnTo>
                    <a:pt x="36589" y="83406"/>
                  </a:lnTo>
                  <a:lnTo>
                    <a:pt x="39343" y="82226"/>
                  </a:lnTo>
                  <a:lnTo>
                    <a:pt x="42097" y="81833"/>
                  </a:lnTo>
                  <a:lnTo>
                    <a:pt x="45244" y="80652"/>
                  </a:lnTo>
                  <a:lnTo>
                    <a:pt x="47998" y="79866"/>
                  </a:lnTo>
                  <a:lnTo>
                    <a:pt x="51145" y="78292"/>
                  </a:lnTo>
                  <a:lnTo>
                    <a:pt x="53899" y="77898"/>
                  </a:lnTo>
                  <a:lnTo>
                    <a:pt x="57047" y="75931"/>
                  </a:lnTo>
                  <a:lnTo>
                    <a:pt x="59801" y="73571"/>
                  </a:lnTo>
                  <a:lnTo>
                    <a:pt x="62948" y="71210"/>
                  </a:lnTo>
                  <a:lnTo>
                    <a:pt x="66096" y="69636"/>
                  </a:lnTo>
                  <a:lnTo>
                    <a:pt x="69243" y="68456"/>
                  </a:lnTo>
                  <a:lnTo>
                    <a:pt x="71997" y="68456"/>
                  </a:lnTo>
                  <a:lnTo>
                    <a:pt x="75144" y="66882"/>
                  </a:lnTo>
                  <a:lnTo>
                    <a:pt x="77898" y="66489"/>
                  </a:lnTo>
                  <a:lnTo>
                    <a:pt x="81046" y="64522"/>
                  </a:lnTo>
                  <a:lnTo>
                    <a:pt x="83800" y="63735"/>
                  </a:lnTo>
                  <a:lnTo>
                    <a:pt x="86554" y="63735"/>
                  </a:lnTo>
                  <a:lnTo>
                    <a:pt x="88521" y="60588"/>
                  </a:lnTo>
                  <a:lnTo>
                    <a:pt x="90095" y="57440"/>
                  </a:lnTo>
                  <a:lnTo>
                    <a:pt x="93242" y="55473"/>
                  </a:lnTo>
                  <a:lnTo>
                    <a:pt x="95996" y="53506"/>
                  </a:lnTo>
                  <a:lnTo>
                    <a:pt x="99144" y="53899"/>
                  </a:lnTo>
                  <a:lnTo>
                    <a:pt x="102291" y="52719"/>
                  </a:lnTo>
                  <a:lnTo>
                    <a:pt x="105045" y="52326"/>
                  </a:lnTo>
                  <a:lnTo>
                    <a:pt x="107799" y="51539"/>
                  </a:lnTo>
                  <a:lnTo>
                    <a:pt x="107405" y="54293"/>
                  </a:lnTo>
                  <a:lnTo>
                    <a:pt x="104651" y="55867"/>
                  </a:lnTo>
                  <a:lnTo>
                    <a:pt x="107405" y="57440"/>
                  </a:lnTo>
                  <a:lnTo>
                    <a:pt x="110553" y="57834"/>
                  </a:lnTo>
                  <a:lnTo>
                    <a:pt x="113700" y="57834"/>
                  </a:lnTo>
                  <a:lnTo>
                    <a:pt x="116454" y="58621"/>
                  </a:lnTo>
                  <a:lnTo>
                    <a:pt x="117241" y="61375"/>
                  </a:lnTo>
                  <a:lnTo>
                    <a:pt x="114487" y="62555"/>
                  </a:lnTo>
                  <a:lnTo>
                    <a:pt x="111340" y="63735"/>
                  </a:lnTo>
                  <a:lnTo>
                    <a:pt x="110946" y="66489"/>
                  </a:lnTo>
                  <a:lnTo>
                    <a:pt x="113700" y="67669"/>
                  </a:lnTo>
                  <a:lnTo>
                    <a:pt x="116848" y="66489"/>
                  </a:lnTo>
                  <a:lnTo>
                    <a:pt x="119601" y="66489"/>
                  </a:lnTo>
                  <a:lnTo>
                    <a:pt x="122356" y="67669"/>
                  </a:lnTo>
                  <a:lnTo>
                    <a:pt x="125503" y="67669"/>
                  </a:lnTo>
                  <a:lnTo>
                    <a:pt x="128650" y="70030"/>
                  </a:lnTo>
                  <a:lnTo>
                    <a:pt x="131404" y="70423"/>
                  </a:lnTo>
                  <a:lnTo>
                    <a:pt x="134552" y="71997"/>
                  </a:lnTo>
                  <a:lnTo>
                    <a:pt x="137306" y="73177"/>
                  </a:lnTo>
                  <a:lnTo>
                    <a:pt x="140453" y="73571"/>
                  </a:lnTo>
                  <a:lnTo>
                    <a:pt x="143601" y="71604"/>
                  </a:lnTo>
                  <a:lnTo>
                    <a:pt x="146355" y="70817"/>
                  </a:lnTo>
                  <a:lnTo>
                    <a:pt x="149502" y="69636"/>
                  </a:lnTo>
                  <a:lnTo>
                    <a:pt x="152256" y="68456"/>
                  </a:lnTo>
                  <a:lnTo>
                    <a:pt x="155010" y="6727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5" name="Freeform: Shape 2689">
              <a:extLst>
                <a:ext uri="{FF2B5EF4-FFF2-40B4-BE49-F238E27FC236}">
                  <a16:creationId xmlns:a16="http://schemas.microsoft.com/office/drawing/2014/main" id="{FE545A82-893A-4500-B217-42F2A074BEDF}"/>
                </a:ext>
              </a:extLst>
            </p:cNvPr>
            <p:cNvSpPr/>
            <p:nvPr/>
          </p:nvSpPr>
          <p:spPr>
            <a:xfrm>
              <a:off x="4139490" y="1616920"/>
              <a:ext cx="55080" cy="23606"/>
            </a:xfrm>
            <a:custGeom>
              <a:avLst/>
              <a:gdLst>
                <a:gd name="connsiteX0" fmla="*/ 53113 w 55079"/>
                <a:gd name="connsiteY0" fmla="*/ 8262 h 23605"/>
                <a:gd name="connsiteX1" fmla="*/ 55080 w 55079"/>
                <a:gd name="connsiteY1" fmla="*/ 5508 h 23605"/>
                <a:gd name="connsiteX2" fmla="*/ 58227 w 55079"/>
                <a:gd name="connsiteY2" fmla="*/ 3147 h 23605"/>
                <a:gd name="connsiteX3" fmla="*/ 55080 w 55079"/>
                <a:gd name="connsiteY3" fmla="*/ 1180 h 23605"/>
                <a:gd name="connsiteX4" fmla="*/ 52326 w 55079"/>
                <a:gd name="connsiteY4" fmla="*/ 0 h 23605"/>
                <a:gd name="connsiteX5" fmla="*/ 49178 w 55079"/>
                <a:gd name="connsiteY5" fmla="*/ 787 h 23605"/>
                <a:gd name="connsiteX6" fmla="*/ 46031 w 55079"/>
                <a:gd name="connsiteY6" fmla="*/ 1967 h 23605"/>
                <a:gd name="connsiteX7" fmla="*/ 42883 w 55079"/>
                <a:gd name="connsiteY7" fmla="*/ 1180 h 23605"/>
                <a:gd name="connsiteX8" fmla="*/ 40130 w 55079"/>
                <a:gd name="connsiteY8" fmla="*/ 1574 h 23605"/>
                <a:gd name="connsiteX9" fmla="*/ 36982 w 55079"/>
                <a:gd name="connsiteY9" fmla="*/ 2361 h 23605"/>
                <a:gd name="connsiteX10" fmla="*/ 33835 w 55079"/>
                <a:gd name="connsiteY10" fmla="*/ 3541 h 23605"/>
                <a:gd name="connsiteX11" fmla="*/ 31081 w 55079"/>
                <a:gd name="connsiteY11" fmla="*/ 4328 h 23605"/>
                <a:gd name="connsiteX12" fmla="*/ 27933 w 55079"/>
                <a:gd name="connsiteY12" fmla="*/ 4328 h 23605"/>
                <a:gd name="connsiteX13" fmla="*/ 25179 w 55079"/>
                <a:gd name="connsiteY13" fmla="*/ 1967 h 23605"/>
                <a:gd name="connsiteX14" fmla="*/ 22425 w 55079"/>
                <a:gd name="connsiteY14" fmla="*/ 3147 h 23605"/>
                <a:gd name="connsiteX15" fmla="*/ 19278 w 55079"/>
                <a:gd name="connsiteY15" fmla="*/ 4721 h 23605"/>
                <a:gd name="connsiteX16" fmla="*/ 16524 w 55079"/>
                <a:gd name="connsiteY16" fmla="*/ 7082 h 23605"/>
                <a:gd name="connsiteX17" fmla="*/ 13770 w 55079"/>
                <a:gd name="connsiteY17" fmla="*/ 9836 h 23605"/>
                <a:gd name="connsiteX18" fmla="*/ 10623 w 55079"/>
                <a:gd name="connsiteY18" fmla="*/ 11409 h 23605"/>
                <a:gd name="connsiteX19" fmla="*/ 7869 w 55079"/>
                <a:gd name="connsiteY19" fmla="*/ 13377 h 23605"/>
                <a:gd name="connsiteX20" fmla="*/ 4721 w 55079"/>
                <a:gd name="connsiteY20" fmla="*/ 14163 h 23605"/>
                <a:gd name="connsiteX21" fmla="*/ 1967 w 55079"/>
                <a:gd name="connsiteY21" fmla="*/ 15344 h 23605"/>
                <a:gd name="connsiteX22" fmla="*/ 1180 w 55079"/>
                <a:gd name="connsiteY22" fmla="*/ 16131 h 23605"/>
                <a:gd name="connsiteX23" fmla="*/ 393 w 55079"/>
                <a:gd name="connsiteY23" fmla="*/ 18884 h 23605"/>
                <a:gd name="connsiteX24" fmla="*/ 1967 w 55079"/>
                <a:gd name="connsiteY24" fmla="*/ 21638 h 23605"/>
                <a:gd name="connsiteX25" fmla="*/ 0 w 55079"/>
                <a:gd name="connsiteY25" fmla="*/ 24392 h 23605"/>
                <a:gd name="connsiteX26" fmla="*/ 3147 w 55079"/>
                <a:gd name="connsiteY26" fmla="*/ 24786 h 23605"/>
                <a:gd name="connsiteX27" fmla="*/ 5901 w 55079"/>
                <a:gd name="connsiteY27" fmla="*/ 23606 h 23605"/>
                <a:gd name="connsiteX28" fmla="*/ 9049 w 55079"/>
                <a:gd name="connsiteY28" fmla="*/ 22819 h 23605"/>
                <a:gd name="connsiteX29" fmla="*/ 11803 w 55079"/>
                <a:gd name="connsiteY29" fmla="*/ 22425 h 23605"/>
                <a:gd name="connsiteX30" fmla="*/ 14950 w 55079"/>
                <a:gd name="connsiteY30" fmla="*/ 24786 h 23605"/>
                <a:gd name="connsiteX31" fmla="*/ 17704 w 55079"/>
                <a:gd name="connsiteY31" fmla="*/ 23606 h 23605"/>
                <a:gd name="connsiteX32" fmla="*/ 20852 w 55079"/>
                <a:gd name="connsiteY32" fmla="*/ 22425 h 23605"/>
                <a:gd name="connsiteX33" fmla="*/ 23606 w 55079"/>
                <a:gd name="connsiteY33" fmla="*/ 21638 h 23605"/>
                <a:gd name="connsiteX34" fmla="*/ 26753 w 55079"/>
                <a:gd name="connsiteY34" fmla="*/ 20458 h 23605"/>
                <a:gd name="connsiteX35" fmla="*/ 29507 w 55079"/>
                <a:gd name="connsiteY35" fmla="*/ 18491 h 23605"/>
                <a:gd name="connsiteX36" fmla="*/ 32261 w 55079"/>
                <a:gd name="connsiteY36" fmla="*/ 17311 h 23605"/>
                <a:gd name="connsiteX37" fmla="*/ 35408 w 55079"/>
                <a:gd name="connsiteY37" fmla="*/ 16131 h 23605"/>
                <a:gd name="connsiteX38" fmla="*/ 38162 w 55079"/>
                <a:gd name="connsiteY38" fmla="*/ 14163 h 23605"/>
                <a:gd name="connsiteX39" fmla="*/ 41310 w 55079"/>
                <a:gd name="connsiteY39" fmla="*/ 12590 h 23605"/>
                <a:gd name="connsiteX40" fmla="*/ 44064 w 55079"/>
                <a:gd name="connsiteY40" fmla="*/ 12196 h 23605"/>
                <a:gd name="connsiteX41" fmla="*/ 47211 w 55079"/>
                <a:gd name="connsiteY41" fmla="*/ 11409 h 23605"/>
                <a:gd name="connsiteX42" fmla="*/ 50359 w 55079"/>
                <a:gd name="connsiteY42" fmla="*/ 9836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55079" h="23605">
                  <a:moveTo>
                    <a:pt x="53113" y="8262"/>
                  </a:moveTo>
                  <a:lnTo>
                    <a:pt x="55080" y="5508"/>
                  </a:lnTo>
                  <a:lnTo>
                    <a:pt x="58227" y="3147"/>
                  </a:lnTo>
                  <a:lnTo>
                    <a:pt x="55080" y="1180"/>
                  </a:lnTo>
                  <a:lnTo>
                    <a:pt x="52326" y="0"/>
                  </a:lnTo>
                  <a:lnTo>
                    <a:pt x="49178" y="787"/>
                  </a:lnTo>
                  <a:lnTo>
                    <a:pt x="46031" y="1967"/>
                  </a:lnTo>
                  <a:lnTo>
                    <a:pt x="42883" y="1180"/>
                  </a:lnTo>
                  <a:lnTo>
                    <a:pt x="40130" y="1574"/>
                  </a:lnTo>
                  <a:lnTo>
                    <a:pt x="36982" y="2361"/>
                  </a:lnTo>
                  <a:lnTo>
                    <a:pt x="33835" y="3541"/>
                  </a:lnTo>
                  <a:lnTo>
                    <a:pt x="31081" y="4328"/>
                  </a:lnTo>
                  <a:lnTo>
                    <a:pt x="27933" y="4328"/>
                  </a:lnTo>
                  <a:lnTo>
                    <a:pt x="25179" y="1967"/>
                  </a:lnTo>
                  <a:lnTo>
                    <a:pt x="22425" y="3147"/>
                  </a:lnTo>
                  <a:lnTo>
                    <a:pt x="19278" y="4721"/>
                  </a:lnTo>
                  <a:lnTo>
                    <a:pt x="16524" y="7082"/>
                  </a:lnTo>
                  <a:lnTo>
                    <a:pt x="13770" y="9836"/>
                  </a:lnTo>
                  <a:lnTo>
                    <a:pt x="10623" y="11409"/>
                  </a:lnTo>
                  <a:lnTo>
                    <a:pt x="7869" y="13377"/>
                  </a:lnTo>
                  <a:lnTo>
                    <a:pt x="4721" y="14163"/>
                  </a:lnTo>
                  <a:lnTo>
                    <a:pt x="1967" y="15344"/>
                  </a:lnTo>
                  <a:lnTo>
                    <a:pt x="1180" y="16131"/>
                  </a:lnTo>
                  <a:lnTo>
                    <a:pt x="393" y="18884"/>
                  </a:lnTo>
                  <a:lnTo>
                    <a:pt x="1967" y="21638"/>
                  </a:lnTo>
                  <a:lnTo>
                    <a:pt x="0" y="24392"/>
                  </a:lnTo>
                  <a:lnTo>
                    <a:pt x="3147" y="24786"/>
                  </a:lnTo>
                  <a:lnTo>
                    <a:pt x="5901" y="23606"/>
                  </a:lnTo>
                  <a:lnTo>
                    <a:pt x="9049" y="22819"/>
                  </a:lnTo>
                  <a:lnTo>
                    <a:pt x="11803" y="22425"/>
                  </a:lnTo>
                  <a:lnTo>
                    <a:pt x="14950" y="24786"/>
                  </a:lnTo>
                  <a:lnTo>
                    <a:pt x="17704" y="23606"/>
                  </a:lnTo>
                  <a:lnTo>
                    <a:pt x="20852" y="22425"/>
                  </a:lnTo>
                  <a:lnTo>
                    <a:pt x="23606" y="21638"/>
                  </a:lnTo>
                  <a:lnTo>
                    <a:pt x="26753" y="20458"/>
                  </a:lnTo>
                  <a:lnTo>
                    <a:pt x="29507" y="18491"/>
                  </a:lnTo>
                  <a:lnTo>
                    <a:pt x="32261" y="17311"/>
                  </a:lnTo>
                  <a:lnTo>
                    <a:pt x="35408" y="16131"/>
                  </a:lnTo>
                  <a:lnTo>
                    <a:pt x="38162" y="14163"/>
                  </a:lnTo>
                  <a:lnTo>
                    <a:pt x="41310" y="12590"/>
                  </a:lnTo>
                  <a:lnTo>
                    <a:pt x="44064" y="12196"/>
                  </a:lnTo>
                  <a:lnTo>
                    <a:pt x="47211" y="11409"/>
                  </a:lnTo>
                  <a:lnTo>
                    <a:pt x="50359" y="983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6" name="Freeform: Shape 2690">
              <a:extLst>
                <a:ext uri="{FF2B5EF4-FFF2-40B4-BE49-F238E27FC236}">
                  <a16:creationId xmlns:a16="http://schemas.microsoft.com/office/drawing/2014/main" id="{76F8B01D-951A-488D-BB9A-1E03393C5472}"/>
                </a:ext>
              </a:extLst>
            </p:cNvPr>
            <p:cNvSpPr/>
            <p:nvPr/>
          </p:nvSpPr>
          <p:spPr>
            <a:xfrm>
              <a:off x="4150113" y="1444206"/>
              <a:ext cx="3934" cy="3934"/>
            </a:xfrm>
            <a:custGeom>
              <a:avLst/>
              <a:gdLst>
                <a:gd name="connsiteX0" fmla="*/ 5114 w 3934"/>
                <a:gd name="connsiteY0" fmla="*/ 0 h 0"/>
                <a:gd name="connsiteX1" fmla="*/ 2360 w 3934"/>
                <a:gd name="connsiteY1" fmla="*/ 0 h 0"/>
                <a:gd name="connsiteX2" fmla="*/ 1967 w 3934"/>
                <a:gd name="connsiteY2" fmla="*/ 0 h 0"/>
                <a:gd name="connsiteX3" fmla="*/ 1574 w 3934"/>
                <a:gd name="connsiteY3" fmla="*/ 393 h 0"/>
                <a:gd name="connsiteX4" fmla="*/ 1180 w 3934"/>
                <a:gd name="connsiteY4" fmla="*/ 787 h 0"/>
                <a:gd name="connsiteX5" fmla="*/ 0 w 3934"/>
                <a:gd name="connsiteY5" fmla="*/ 2361 h 0"/>
                <a:gd name="connsiteX6" fmla="*/ 3147 w 3934"/>
                <a:gd name="connsiteY6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>
                  <a:moveTo>
                    <a:pt x="5114" y="0"/>
                  </a:moveTo>
                  <a:lnTo>
                    <a:pt x="2360" y="0"/>
                  </a:lnTo>
                  <a:lnTo>
                    <a:pt x="1967" y="0"/>
                  </a:lnTo>
                  <a:lnTo>
                    <a:pt x="1574" y="393"/>
                  </a:lnTo>
                  <a:lnTo>
                    <a:pt x="1180" y="787"/>
                  </a:lnTo>
                  <a:lnTo>
                    <a:pt x="0" y="2361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7" name="Freeform: Shape 2691">
              <a:extLst>
                <a:ext uri="{FF2B5EF4-FFF2-40B4-BE49-F238E27FC236}">
                  <a16:creationId xmlns:a16="http://schemas.microsoft.com/office/drawing/2014/main" id="{DFAF59DF-5000-4965-9F1E-0DACD4A0CEAF}"/>
                </a:ext>
              </a:extLst>
            </p:cNvPr>
            <p:cNvSpPr/>
            <p:nvPr/>
          </p:nvSpPr>
          <p:spPr>
            <a:xfrm>
              <a:off x="4281517" y="1629117"/>
              <a:ext cx="3934" cy="3934"/>
            </a:xfrm>
            <a:custGeom>
              <a:avLst/>
              <a:gdLst>
                <a:gd name="connsiteX0" fmla="*/ 0 w 0"/>
                <a:gd name="connsiteY0" fmla="*/ 1180 h 0"/>
                <a:gd name="connsiteX1" fmla="*/ 3147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180"/>
                  </a:moveTo>
                  <a:lnTo>
                    <a:pt x="314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8" name="Freeform: Shape 2692">
              <a:extLst>
                <a:ext uri="{FF2B5EF4-FFF2-40B4-BE49-F238E27FC236}">
                  <a16:creationId xmlns:a16="http://schemas.microsoft.com/office/drawing/2014/main" id="{D4B5C895-65F0-49C5-B253-1EEF01CA5278}"/>
                </a:ext>
              </a:extLst>
            </p:cNvPr>
            <p:cNvSpPr/>
            <p:nvPr/>
          </p:nvSpPr>
          <p:spPr>
            <a:xfrm>
              <a:off x="4286632" y="1629117"/>
              <a:ext cx="3934" cy="3934"/>
            </a:xfrm>
            <a:custGeom>
              <a:avLst/>
              <a:gdLst>
                <a:gd name="connsiteX0" fmla="*/ 0 w 0"/>
                <a:gd name="connsiteY0" fmla="*/ 1574 h 0"/>
                <a:gd name="connsiteX1" fmla="*/ 3148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574"/>
                  </a:moveTo>
                  <a:lnTo>
                    <a:pt x="314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9" name="Freeform: Shape 2693">
              <a:extLst>
                <a:ext uri="{FF2B5EF4-FFF2-40B4-BE49-F238E27FC236}">
                  <a16:creationId xmlns:a16="http://schemas.microsoft.com/office/drawing/2014/main" id="{E871E4D6-A0CF-4402-AEA7-2277C71A3763}"/>
                </a:ext>
              </a:extLst>
            </p:cNvPr>
            <p:cNvSpPr/>
            <p:nvPr/>
          </p:nvSpPr>
          <p:spPr>
            <a:xfrm>
              <a:off x="4311418" y="1585446"/>
              <a:ext cx="7869" cy="3934"/>
            </a:xfrm>
            <a:custGeom>
              <a:avLst/>
              <a:gdLst>
                <a:gd name="connsiteX0" fmla="*/ 2754 w 7868"/>
                <a:gd name="connsiteY0" fmla="*/ 2361 h 0"/>
                <a:gd name="connsiteX1" fmla="*/ 5508 w 7868"/>
                <a:gd name="connsiteY1" fmla="*/ 2361 h 0"/>
                <a:gd name="connsiteX2" fmla="*/ 8655 w 7868"/>
                <a:gd name="connsiteY2" fmla="*/ 787 h 0"/>
                <a:gd name="connsiteX3" fmla="*/ 8655 w 7868"/>
                <a:gd name="connsiteY3" fmla="*/ 0 h 0"/>
                <a:gd name="connsiteX4" fmla="*/ 5901 w 7868"/>
                <a:gd name="connsiteY4" fmla="*/ 0 h 0"/>
                <a:gd name="connsiteX5" fmla="*/ 3147 w 7868"/>
                <a:gd name="connsiteY5" fmla="*/ 393 h 0"/>
                <a:gd name="connsiteX6" fmla="*/ 0 w 7868"/>
                <a:gd name="connsiteY6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2754" y="2361"/>
                  </a:moveTo>
                  <a:lnTo>
                    <a:pt x="5508" y="2361"/>
                  </a:lnTo>
                  <a:lnTo>
                    <a:pt x="8655" y="787"/>
                  </a:lnTo>
                  <a:lnTo>
                    <a:pt x="8655" y="0"/>
                  </a:lnTo>
                  <a:lnTo>
                    <a:pt x="5901" y="0"/>
                  </a:lnTo>
                  <a:lnTo>
                    <a:pt x="3147" y="393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00" name="Freeform: Shape 2694">
              <a:extLst>
                <a:ext uri="{FF2B5EF4-FFF2-40B4-BE49-F238E27FC236}">
                  <a16:creationId xmlns:a16="http://schemas.microsoft.com/office/drawing/2014/main" id="{D7A3DB72-0F69-46E6-A68E-2AF3AD389F9C}"/>
                </a:ext>
              </a:extLst>
            </p:cNvPr>
            <p:cNvSpPr/>
            <p:nvPr/>
          </p:nvSpPr>
          <p:spPr>
            <a:xfrm>
              <a:off x="4333056" y="1415879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3147 w 3934"/>
                <a:gd name="connsiteY1" fmla="*/ 2361 h 0"/>
                <a:gd name="connsiteX2" fmla="*/ 5901 w 3934"/>
                <a:gd name="connsiteY2" fmla="*/ 1180 h 0"/>
                <a:gd name="connsiteX3" fmla="*/ 314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3147" y="2361"/>
                  </a:lnTo>
                  <a:lnTo>
                    <a:pt x="5901" y="118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01" name="Freeform: Shape 2695">
              <a:extLst>
                <a:ext uri="{FF2B5EF4-FFF2-40B4-BE49-F238E27FC236}">
                  <a16:creationId xmlns:a16="http://schemas.microsoft.com/office/drawing/2014/main" id="{19EF1AA6-C503-49A5-95C7-894A651EE3CF}"/>
                </a:ext>
              </a:extLst>
            </p:cNvPr>
            <p:cNvSpPr/>
            <p:nvPr/>
          </p:nvSpPr>
          <p:spPr>
            <a:xfrm>
              <a:off x="4376726" y="1457583"/>
              <a:ext cx="3934" cy="3934"/>
            </a:xfrm>
            <a:custGeom>
              <a:avLst/>
              <a:gdLst>
                <a:gd name="connsiteX0" fmla="*/ 3934 w 3934"/>
                <a:gd name="connsiteY0" fmla="*/ 0 h 3934"/>
                <a:gd name="connsiteX1" fmla="*/ 3147 w 3934"/>
                <a:gd name="connsiteY1" fmla="*/ 0 h 3934"/>
                <a:gd name="connsiteX2" fmla="*/ 0 w 3934"/>
                <a:gd name="connsiteY2" fmla="*/ 2361 h 3934"/>
                <a:gd name="connsiteX3" fmla="*/ 1180 w 3934"/>
                <a:gd name="connsiteY3" fmla="*/ 5115 h 3934"/>
                <a:gd name="connsiteX4" fmla="*/ 4328 w 3934"/>
                <a:gd name="connsiteY4" fmla="*/ 3934 h 3934"/>
                <a:gd name="connsiteX5" fmla="*/ 7475 w 3934"/>
                <a:gd name="connsiteY5" fmla="*/ 2754 h 3934"/>
                <a:gd name="connsiteX6" fmla="*/ 6688 w 3934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3934" y="0"/>
                  </a:moveTo>
                  <a:lnTo>
                    <a:pt x="3147" y="0"/>
                  </a:lnTo>
                  <a:lnTo>
                    <a:pt x="0" y="2361"/>
                  </a:lnTo>
                  <a:lnTo>
                    <a:pt x="1180" y="5115"/>
                  </a:lnTo>
                  <a:lnTo>
                    <a:pt x="4328" y="3934"/>
                  </a:lnTo>
                  <a:lnTo>
                    <a:pt x="7475" y="2754"/>
                  </a:lnTo>
                  <a:lnTo>
                    <a:pt x="668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02" name="Freeform: Shape 2696">
              <a:extLst>
                <a:ext uri="{FF2B5EF4-FFF2-40B4-BE49-F238E27FC236}">
                  <a16:creationId xmlns:a16="http://schemas.microsoft.com/office/drawing/2014/main" id="{0CB036AF-CBBF-4E57-B550-11F2E90DF48C}"/>
                </a:ext>
              </a:extLst>
            </p:cNvPr>
            <p:cNvSpPr/>
            <p:nvPr/>
          </p:nvSpPr>
          <p:spPr>
            <a:xfrm>
              <a:off x="4386562" y="1448534"/>
              <a:ext cx="11803" cy="3934"/>
            </a:xfrm>
            <a:custGeom>
              <a:avLst/>
              <a:gdLst>
                <a:gd name="connsiteX0" fmla="*/ 2754 w 11802"/>
                <a:gd name="connsiteY0" fmla="*/ 3934 h 3934"/>
                <a:gd name="connsiteX1" fmla="*/ 0 w 11802"/>
                <a:gd name="connsiteY1" fmla="*/ 5508 h 3934"/>
                <a:gd name="connsiteX2" fmla="*/ 2754 w 11802"/>
                <a:gd name="connsiteY2" fmla="*/ 6295 h 3934"/>
                <a:gd name="connsiteX3" fmla="*/ 5901 w 11802"/>
                <a:gd name="connsiteY3" fmla="*/ 5508 h 3934"/>
                <a:gd name="connsiteX4" fmla="*/ 8655 w 11802"/>
                <a:gd name="connsiteY4" fmla="*/ 2754 h 3934"/>
                <a:gd name="connsiteX5" fmla="*/ 11803 w 11802"/>
                <a:gd name="connsiteY5" fmla="*/ 787 h 3934"/>
                <a:gd name="connsiteX6" fmla="*/ 8655 w 11802"/>
                <a:gd name="connsiteY6" fmla="*/ 0 h 3934"/>
                <a:gd name="connsiteX7" fmla="*/ 5508 w 11802"/>
                <a:gd name="connsiteY7" fmla="*/ 393 h 3934"/>
                <a:gd name="connsiteX8" fmla="*/ 8655 w 11802"/>
                <a:gd name="connsiteY8" fmla="*/ 2361 h 3934"/>
                <a:gd name="connsiteX9" fmla="*/ 5508 w 11802"/>
                <a:gd name="connsiteY9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2754" y="3934"/>
                  </a:moveTo>
                  <a:lnTo>
                    <a:pt x="0" y="5508"/>
                  </a:lnTo>
                  <a:lnTo>
                    <a:pt x="2754" y="6295"/>
                  </a:lnTo>
                  <a:lnTo>
                    <a:pt x="5901" y="5508"/>
                  </a:lnTo>
                  <a:lnTo>
                    <a:pt x="8655" y="2754"/>
                  </a:lnTo>
                  <a:lnTo>
                    <a:pt x="11803" y="787"/>
                  </a:lnTo>
                  <a:lnTo>
                    <a:pt x="8655" y="0"/>
                  </a:lnTo>
                  <a:lnTo>
                    <a:pt x="5508" y="393"/>
                  </a:lnTo>
                  <a:lnTo>
                    <a:pt x="8655" y="2361"/>
                  </a:lnTo>
                  <a:lnTo>
                    <a:pt x="550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03" name="Freeform: Shape 2697">
              <a:extLst>
                <a:ext uri="{FF2B5EF4-FFF2-40B4-BE49-F238E27FC236}">
                  <a16:creationId xmlns:a16="http://schemas.microsoft.com/office/drawing/2014/main" id="{4DBBA216-231E-45EA-A7D2-A09DB6854785}"/>
                </a:ext>
              </a:extLst>
            </p:cNvPr>
            <p:cNvSpPr/>
            <p:nvPr/>
          </p:nvSpPr>
          <p:spPr>
            <a:xfrm>
              <a:off x="4438101" y="1425715"/>
              <a:ext cx="15737" cy="7869"/>
            </a:xfrm>
            <a:custGeom>
              <a:avLst/>
              <a:gdLst>
                <a:gd name="connsiteX0" fmla="*/ 4721 w 15737"/>
                <a:gd name="connsiteY0" fmla="*/ 9049 h 7868"/>
                <a:gd name="connsiteX1" fmla="*/ 7869 w 15737"/>
                <a:gd name="connsiteY1" fmla="*/ 9049 h 7868"/>
                <a:gd name="connsiteX2" fmla="*/ 9836 w 15737"/>
                <a:gd name="connsiteY2" fmla="*/ 6295 h 7868"/>
                <a:gd name="connsiteX3" fmla="*/ 12983 w 15737"/>
                <a:gd name="connsiteY3" fmla="*/ 5115 h 7868"/>
                <a:gd name="connsiteX4" fmla="*/ 15737 w 15737"/>
                <a:gd name="connsiteY4" fmla="*/ 4328 h 7868"/>
                <a:gd name="connsiteX5" fmla="*/ 16524 w 15737"/>
                <a:gd name="connsiteY5" fmla="*/ 1180 h 7868"/>
                <a:gd name="connsiteX6" fmla="*/ 13377 w 15737"/>
                <a:gd name="connsiteY6" fmla="*/ 1574 h 7868"/>
                <a:gd name="connsiteX7" fmla="*/ 10229 w 15737"/>
                <a:gd name="connsiteY7" fmla="*/ 0 h 7868"/>
                <a:gd name="connsiteX8" fmla="*/ 9049 w 15737"/>
                <a:gd name="connsiteY8" fmla="*/ 0 h 7868"/>
                <a:gd name="connsiteX9" fmla="*/ 5901 w 15737"/>
                <a:gd name="connsiteY9" fmla="*/ 1180 h 7868"/>
                <a:gd name="connsiteX10" fmla="*/ 2361 w 15737"/>
                <a:gd name="connsiteY10" fmla="*/ 3934 h 7868"/>
                <a:gd name="connsiteX11" fmla="*/ 0 w 15737"/>
                <a:gd name="connsiteY11" fmla="*/ 6688 h 7868"/>
                <a:gd name="connsiteX12" fmla="*/ 1574 w 15737"/>
                <a:gd name="connsiteY12" fmla="*/ 944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7868">
                  <a:moveTo>
                    <a:pt x="4721" y="9049"/>
                  </a:moveTo>
                  <a:lnTo>
                    <a:pt x="7869" y="9049"/>
                  </a:lnTo>
                  <a:lnTo>
                    <a:pt x="9836" y="6295"/>
                  </a:lnTo>
                  <a:lnTo>
                    <a:pt x="12983" y="5115"/>
                  </a:lnTo>
                  <a:lnTo>
                    <a:pt x="15737" y="4328"/>
                  </a:lnTo>
                  <a:lnTo>
                    <a:pt x="16524" y="1180"/>
                  </a:lnTo>
                  <a:lnTo>
                    <a:pt x="13377" y="1574"/>
                  </a:lnTo>
                  <a:lnTo>
                    <a:pt x="10229" y="0"/>
                  </a:lnTo>
                  <a:lnTo>
                    <a:pt x="9049" y="0"/>
                  </a:lnTo>
                  <a:lnTo>
                    <a:pt x="5901" y="1180"/>
                  </a:lnTo>
                  <a:lnTo>
                    <a:pt x="2361" y="3934"/>
                  </a:lnTo>
                  <a:lnTo>
                    <a:pt x="0" y="6688"/>
                  </a:lnTo>
                  <a:lnTo>
                    <a:pt x="1574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04" name="Freeform: Shape 2698">
              <a:extLst>
                <a:ext uri="{FF2B5EF4-FFF2-40B4-BE49-F238E27FC236}">
                  <a16:creationId xmlns:a16="http://schemas.microsoft.com/office/drawing/2014/main" id="{422BA7BE-38FC-4FE4-890B-5E31789A103F}"/>
                </a:ext>
              </a:extLst>
            </p:cNvPr>
            <p:cNvSpPr/>
            <p:nvPr/>
          </p:nvSpPr>
          <p:spPr>
            <a:xfrm>
              <a:off x="4373579" y="1415879"/>
              <a:ext cx="31474" cy="7869"/>
            </a:xfrm>
            <a:custGeom>
              <a:avLst/>
              <a:gdLst>
                <a:gd name="connsiteX0" fmla="*/ 26360 w 31474"/>
                <a:gd name="connsiteY0" fmla="*/ 0 h 7868"/>
                <a:gd name="connsiteX1" fmla="*/ 23606 w 31474"/>
                <a:gd name="connsiteY1" fmla="*/ 1180 h 7868"/>
                <a:gd name="connsiteX2" fmla="*/ 20065 w 31474"/>
                <a:gd name="connsiteY2" fmla="*/ 1967 h 7868"/>
                <a:gd name="connsiteX3" fmla="*/ 18491 w 31474"/>
                <a:gd name="connsiteY3" fmla="*/ 1967 h 7868"/>
                <a:gd name="connsiteX4" fmla="*/ 15343 w 31474"/>
                <a:gd name="connsiteY4" fmla="*/ 1967 h 7868"/>
                <a:gd name="connsiteX5" fmla="*/ 12590 w 31474"/>
                <a:gd name="connsiteY5" fmla="*/ 393 h 7868"/>
                <a:gd name="connsiteX6" fmla="*/ 9836 w 31474"/>
                <a:gd name="connsiteY6" fmla="*/ 0 h 7868"/>
                <a:gd name="connsiteX7" fmla="*/ 8655 w 31474"/>
                <a:gd name="connsiteY7" fmla="*/ 2754 h 7868"/>
                <a:gd name="connsiteX8" fmla="*/ 5508 w 31474"/>
                <a:gd name="connsiteY8" fmla="*/ 1967 h 7868"/>
                <a:gd name="connsiteX9" fmla="*/ 2754 w 31474"/>
                <a:gd name="connsiteY9" fmla="*/ 1574 h 7868"/>
                <a:gd name="connsiteX10" fmla="*/ 0 w 31474"/>
                <a:gd name="connsiteY10" fmla="*/ 2754 h 7868"/>
                <a:gd name="connsiteX11" fmla="*/ 3147 w 31474"/>
                <a:gd name="connsiteY11" fmla="*/ 3934 h 7868"/>
                <a:gd name="connsiteX12" fmla="*/ 5901 w 31474"/>
                <a:gd name="connsiteY12" fmla="*/ 3934 h 7868"/>
                <a:gd name="connsiteX13" fmla="*/ 7475 w 31474"/>
                <a:gd name="connsiteY13" fmla="*/ 6688 h 7868"/>
                <a:gd name="connsiteX14" fmla="*/ 10229 w 31474"/>
                <a:gd name="connsiteY14" fmla="*/ 5115 h 7868"/>
                <a:gd name="connsiteX15" fmla="*/ 11803 w 31474"/>
                <a:gd name="connsiteY15" fmla="*/ 8262 h 7868"/>
                <a:gd name="connsiteX16" fmla="*/ 12983 w 31474"/>
                <a:gd name="connsiteY16" fmla="*/ 8655 h 7868"/>
                <a:gd name="connsiteX17" fmla="*/ 14950 w 31474"/>
                <a:gd name="connsiteY17" fmla="*/ 6295 h 7868"/>
                <a:gd name="connsiteX18" fmla="*/ 15343 w 31474"/>
                <a:gd name="connsiteY18" fmla="*/ 5508 h 7868"/>
                <a:gd name="connsiteX19" fmla="*/ 16524 w 31474"/>
                <a:gd name="connsiteY19" fmla="*/ 4328 h 7868"/>
                <a:gd name="connsiteX20" fmla="*/ 19278 w 31474"/>
                <a:gd name="connsiteY20" fmla="*/ 5115 h 7868"/>
                <a:gd name="connsiteX21" fmla="*/ 22425 w 31474"/>
                <a:gd name="connsiteY21" fmla="*/ 5115 h 7868"/>
                <a:gd name="connsiteX22" fmla="*/ 25179 w 31474"/>
                <a:gd name="connsiteY22" fmla="*/ 4721 h 7868"/>
                <a:gd name="connsiteX23" fmla="*/ 28327 w 31474"/>
                <a:gd name="connsiteY23" fmla="*/ 3934 h 7868"/>
                <a:gd name="connsiteX24" fmla="*/ 31474 w 31474"/>
                <a:gd name="connsiteY24" fmla="*/ 2754 h 7868"/>
                <a:gd name="connsiteX25" fmla="*/ 32261 w 31474"/>
                <a:gd name="connsiteY25" fmla="*/ 0 h 7868"/>
                <a:gd name="connsiteX26" fmla="*/ 29113 w 31474"/>
                <a:gd name="connsiteY26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474" h="7868">
                  <a:moveTo>
                    <a:pt x="26360" y="0"/>
                  </a:moveTo>
                  <a:lnTo>
                    <a:pt x="23606" y="1180"/>
                  </a:lnTo>
                  <a:lnTo>
                    <a:pt x="20065" y="1967"/>
                  </a:lnTo>
                  <a:lnTo>
                    <a:pt x="18491" y="1967"/>
                  </a:lnTo>
                  <a:lnTo>
                    <a:pt x="15343" y="1967"/>
                  </a:lnTo>
                  <a:lnTo>
                    <a:pt x="12590" y="393"/>
                  </a:lnTo>
                  <a:lnTo>
                    <a:pt x="9836" y="0"/>
                  </a:lnTo>
                  <a:lnTo>
                    <a:pt x="8655" y="2754"/>
                  </a:lnTo>
                  <a:lnTo>
                    <a:pt x="5508" y="1967"/>
                  </a:lnTo>
                  <a:lnTo>
                    <a:pt x="2754" y="1574"/>
                  </a:lnTo>
                  <a:lnTo>
                    <a:pt x="0" y="2754"/>
                  </a:lnTo>
                  <a:lnTo>
                    <a:pt x="3147" y="3934"/>
                  </a:lnTo>
                  <a:lnTo>
                    <a:pt x="5901" y="3934"/>
                  </a:lnTo>
                  <a:lnTo>
                    <a:pt x="7475" y="6688"/>
                  </a:lnTo>
                  <a:lnTo>
                    <a:pt x="10229" y="5115"/>
                  </a:lnTo>
                  <a:lnTo>
                    <a:pt x="11803" y="8262"/>
                  </a:lnTo>
                  <a:lnTo>
                    <a:pt x="12983" y="8655"/>
                  </a:lnTo>
                  <a:lnTo>
                    <a:pt x="14950" y="6295"/>
                  </a:lnTo>
                  <a:lnTo>
                    <a:pt x="15343" y="5508"/>
                  </a:lnTo>
                  <a:lnTo>
                    <a:pt x="16524" y="4328"/>
                  </a:lnTo>
                  <a:lnTo>
                    <a:pt x="19278" y="5115"/>
                  </a:lnTo>
                  <a:lnTo>
                    <a:pt x="22425" y="5115"/>
                  </a:lnTo>
                  <a:lnTo>
                    <a:pt x="25179" y="4721"/>
                  </a:lnTo>
                  <a:lnTo>
                    <a:pt x="28327" y="3934"/>
                  </a:lnTo>
                  <a:lnTo>
                    <a:pt x="31474" y="2754"/>
                  </a:lnTo>
                  <a:lnTo>
                    <a:pt x="32261" y="0"/>
                  </a:lnTo>
                  <a:lnTo>
                    <a:pt x="2911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05" name="Freeform: Shape 2699">
              <a:extLst>
                <a:ext uri="{FF2B5EF4-FFF2-40B4-BE49-F238E27FC236}">
                  <a16:creationId xmlns:a16="http://schemas.microsoft.com/office/drawing/2014/main" id="{6CE9F9C9-EA8F-444F-8892-A76921A79EAC}"/>
                </a:ext>
              </a:extLst>
            </p:cNvPr>
            <p:cNvSpPr/>
            <p:nvPr/>
          </p:nvSpPr>
          <p:spPr>
            <a:xfrm>
              <a:off x="4386169" y="1427682"/>
              <a:ext cx="31474" cy="15737"/>
            </a:xfrm>
            <a:custGeom>
              <a:avLst/>
              <a:gdLst>
                <a:gd name="connsiteX0" fmla="*/ 19671 w 31474"/>
                <a:gd name="connsiteY0" fmla="*/ 5115 h 15737"/>
                <a:gd name="connsiteX1" fmla="*/ 16917 w 31474"/>
                <a:gd name="connsiteY1" fmla="*/ 7082 h 15737"/>
                <a:gd name="connsiteX2" fmla="*/ 13770 w 31474"/>
                <a:gd name="connsiteY2" fmla="*/ 8262 h 15737"/>
                <a:gd name="connsiteX3" fmla="*/ 11016 w 31474"/>
                <a:gd name="connsiteY3" fmla="*/ 8655 h 15737"/>
                <a:gd name="connsiteX4" fmla="*/ 7869 w 31474"/>
                <a:gd name="connsiteY4" fmla="*/ 8655 h 15737"/>
                <a:gd name="connsiteX5" fmla="*/ 4721 w 31474"/>
                <a:gd name="connsiteY5" fmla="*/ 11016 h 15737"/>
                <a:gd name="connsiteX6" fmla="*/ 1967 w 31474"/>
                <a:gd name="connsiteY6" fmla="*/ 12590 h 15737"/>
                <a:gd name="connsiteX7" fmla="*/ 0 w 31474"/>
                <a:gd name="connsiteY7" fmla="*/ 15344 h 15737"/>
                <a:gd name="connsiteX8" fmla="*/ 3147 w 31474"/>
                <a:gd name="connsiteY8" fmla="*/ 15737 h 15737"/>
                <a:gd name="connsiteX9" fmla="*/ 6295 w 31474"/>
                <a:gd name="connsiteY9" fmla="*/ 14557 h 15737"/>
                <a:gd name="connsiteX10" fmla="*/ 9442 w 31474"/>
                <a:gd name="connsiteY10" fmla="*/ 14163 h 15737"/>
                <a:gd name="connsiteX11" fmla="*/ 12196 w 31474"/>
                <a:gd name="connsiteY11" fmla="*/ 13770 h 15737"/>
                <a:gd name="connsiteX12" fmla="*/ 15737 w 31474"/>
                <a:gd name="connsiteY12" fmla="*/ 12196 h 15737"/>
                <a:gd name="connsiteX13" fmla="*/ 18491 w 31474"/>
                <a:gd name="connsiteY13" fmla="*/ 10229 h 15737"/>
                <a:gd name="connsiteX14" fmla="*/ 21245 w 31474"/>
                <a:gd name="connsiteY14" fmla="*/ 9049 h 15737"/>
                <a:gd name="connsiteX15" fmla="*/ 23999 w 31474"/>
                <a:gd name="connsiteY15" fmla="*/ 7082 h 15737"/>
                <a:gd name="connsiteX16" fmla="*/ 27146 w 31474"/>
                <a:gd name="connsiteY16" fmla="*/ 5115 h 15737"/>
                <a:gd name="connsiteX17" fmla="*/ 30294 w 31474"/>
                <a:gd name="connsiteY17" fmla="*/ 5115 h 15737"/>
                <a:gd name="connsiteX18" fmla="*/ 33048 w 31474"/>
                <a:gd name="connsiteY18" fmla="*/ 3147 h 15737"/>
                <a:gd name="connsiteX19" fmla="*/ 35015 w 31474"/>
                <a:gd name="connsiteY19" fmla="*/ 393 h 15737"/>
                <a:gd name="connsiteX20" fmla="*/ 32261 w 31474"/>
                <a:gd name="connsiteY20" fmla="*/ 0 h 15737"/>
                <a:gd name="connsiteX21" fmla="*/ 31867 w 31474"/>
                <a:gd name="connsiteY21" fmla="*/ 0 h 15737"/>
                <a:gd name="connsiteX22" fmla="*/ 28720 w 31474"/>
                <a:gd name="connsiteY22" fmla="*/ 0 h 15737"/>
                <a:gd name="connsiteX23" fmla="*/ 25966 w 31474"/>
                <a:gd name="connsiteY23" fmla="*/ 1180 h 15737"/>
                <a:gd name="connsiteX24" fmla="*/ 22819 w 31474"/>
                <a:gd name="connsiteY24" fmla="*/ 314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1474" h="15737">
                  <a:moveTo>
                    <a:pt x="19671" y="5115"/>
                  </a:moveTo>
                  <a:lnTo>
                    <a:pt x="16917" y="7082"/>
                  </a:lnTo>
                  <a:lnTo>
                    <a:pt x="13770" y="8262"/>
                  </a:lnTo>
                  <a:lnTo>
                    <a:pt x="11016" y="8655"/>
                  </a:lnTo>
                  <a:lnTo>
                    <a:pt x="7869" y="8655"/>
                  </a:lnTo>
                  <a:lnTo>
                    <a:pt x="4721" y="11016"/>
                  </a:lnTo>
                  <a:lnTo>
                    <a:pt x="1967" y="12590"/>
                  </a:lnTo>
                  <a:lnTo>
                    <a:pt x="0" y="15344"/>
                  </a:lnTo>
                  <a:lnTo>
                    <a:pt x="3147" y="15737"/>
                  </a:lnTo>
                  <a:lnTo>
                    <a:pt x="6295" y="14557"/>
                  </a:lnTo>
                  <a:lnTo>
                    <a:pt x="9442" y="14163"/>
                  </a:lnTo>
                  <a:lnTo>
                    <a:pt x="12196" y="13770"/>
                  </a:lnTo>
                  <a:lnTo>
                    <a:pt x="15737" y="12196"/>
                  </a:lnTo>
                  <a:lnTo>
                    <a:pt x="18491" y="10229"/>
                  </a:lnTo>
                  <a:lnTo>
                    <a:pt x="21245" y="9049"/>
                  </a:lnTo>
                  <a:lnTo>
                    <a:pt x="23999" y="7082"/>
                  </a:lnTo>
                  <a:lnTo>
                    <a:pt x="27146" y="5115"/>
                  </a:lnTo>
                  <a:lnTo>
                    <a:pt x="30294" y="5115"/>
                  </a:lnTo>
                  <a:lnTo>
                    <a:pt x="33048" y="3147"/>
                  </a:lnTo>
                  <a:lnTo>
                    <a:pt x="35015" y="393"/>
                  </a:lnTo>
                  <a:lnTo>
                    <a:pt x="32261" y="0"/>
                  </a:lnTo>
                  <a:lnTo>
                    <a:pt x="31867" y="0"/>
                  </a:lnTo>
                  <a:lnTo>
                    <a:pt x="28720" y="0"/>
                  </a:lnTo>
                  <a:lnTo>
                    <a:pt x="25966" y="1180"/>
                  </a:lnTo>
                  <a:lnTo>
                    <a:pt x="22819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06" name="Freeform: Shape 2700">
              <a:extLst>
                <a:ext uri="{FF2B5EF4-FFF2-40B4-BE49-F238E27FC236}">
                  <a16:creationId xmlns:a16="http://schemas.microsoft.com/office/drawing/2014/main" id="{C3F94262-DB5A-4020-A3E4-C7061F3FB2E5}"/>
                </a:ext>
              </a:extLst>
            </p:cNvPr>
            <p:cNvSpPr/>
            <p:nvPr/>
          </p:nvSpPr>
          <p:spPr>
            <a:xfrm>
              <a:off x="4401906" y="1457976"/>
              <a:ext cx="62948" cy="31474"/>
            </a:xfrm>
            <a:custGeom>
              <a:avLst/>
              <a:gdLst>
                <a:gd name="connsiteX0" fmla="*/ 31474 w 62948"/>
                <a:gd name="connsiteY0" fmla="*/ 1574 h 31474"/>
                <a:gd name="connsiteX1" fmla="*/ 28327 w 62948"/>
                <a:gd name="connsiteY1" fmla="*/ 2754 h 31474"/>
                <a:gd name="connsiteX2" fmla="*/ 25573 w 62948"/>
                <a:gd name="connsiteY2" fmla="*/ 4328 h 31474"/>
                <a:gd name="connsiteX3" fmla="*/ 22425 w 62948"/>
                <a:gd name="connsiteY3" fmla="*/ 5901 h 31474"/>
                <a:gd name="connsiteX4" fmla="*/ 19278 w 62948"/>
                <a:gd name="connsiteY4" fmla="*/ 7475 h 31474"/>
                <a:gd name="connsiteX5" fmla="*/ 16524 w 62948"/>
                <a:gd name="connsiteY5" fmla="*/ 9442 h 31474"/>
                <a:gd name="connsiteX6" fmla="*/ 13770 w 62948"/>
                <a:gd name="connsiteY6" fmla="*/ 11409 h 31474"/>
                <a:gd name="connsiteX7" fmla="*/ 8262 w 62948"/>
                <a:gd name="connsiteY7" fmla="*/ 14557 h 31474"/>
                <a:gd name="connsiteX8" fmla="*/ 5114 w 62948"/>
                <a:gd name="connsiteY8" fmla="*/ 17311 h 31474"/>
                <a:gd name="connsiteX9" fmla="*/ 3147 w 62948"/>
                <a:gd name="connsiteY9" fmla="*/ 20065 h 31474"/>
                <a:gd name="connsiteX10" fmla="*/ 2360 w 62948"/>
                <a:gd name="connsiteY10" fmla="*/ 22819 h 31474"/>
                <a:gd name="connsiteX11" fmla="*/ 0 w 62948"/>
                <a:gd name="connsiteY11" fmla="*/ 25966 h 31474"/>
                <a:gd name="connsiteX12" fmla="*/ 1180 w 62948"/>
                <a:gd name="connsiteY12" fmla="*/ 26360 h 31474"/>
                <a:gd name="connsiteX13" fmla="*/ 0 w 62948"/>
                <a:gd name="connsiteY13" fmla="*/ 29507 h 31474"/>
                <a:gd name="connsiteX14" fmla="*/ 3147 w 62948"/>
                <a:gd name="connsiteY14" fmla="*/ 31868 h 31474"/>
                <a:gd name="connsiteX15" fmla="*/ 6295 w 62948"/>
                <a:gd name="connsiteY15" fmla="*/ 32261 h 31474"/>
                <a:gd name="connsiteX16" fmla="*/ 9442 w 62948"/>
                <a:gd name="connsiteY16" fmla="*/ 32261 h 31474"/>
                <a:gd name="connsiteX17" fmla="*/ 12196 w 62948"/>
                <a:gd name="connsiteY17" fmla="*/ 31868 h 31474"/>
                <a:gd name="connsiteX18" fmla="*/ 15343 w 62948"/>
                <a:gd name="connsiteY18" fmla="*/ 31868 h 31474"/>
                <a:gd name="connsiteX19" fmla="*/ 18491 w 62948"/>
                <a:gd name="connsiteY19" fmla="*/ 31081 h 31474"/>
                <a:gd name="connsiteX20" fmla="*/ 21245 w 62948"/>
                <a:gd name="connsiteY20" fmla="*/ 31081 h 31474"/>
                <a:gd name="connsiteX21" fmla="*/ 24392 w 62948"/>
                <a:gd name="connsiteY21" fmla="*/ 31474 h 31474"/>
                <a:gd name="connsiteX22" fmla="*/ 27540 w 62948"/>
                <a:gd name="connsiteY22" fmla="*/ 31081 h 31474"/>
                <a:gd name="connsiteX23" fmla="*/ 30687 w 62948"/>
                <a:gd name="connsiteY23" fmla="*/ 30294 h 31474"/>
                <a:gd name="connsiteX24" fmla="*/ 33441 w 62948"/>
                <a:gd name="connsiteY24" fmla="*/ 29900 h 31474"/>
                <a:gd name="connsiteX25" fmla="*/ 36589 w 62948"/>
                <a:gd name="connsiteY25" fmla="*/ 28720 h 31474"/>
                <a:gd name="connsiteX26" fmla="*/ 39343 w 62948"/>
                <a:gd name="connsiteY26" fmla="*/ 28720 h 31474"/>
                <a:gd name="connsiteX27" fmla="*/ 42096 w 62948"/>
                <a:gd name="connsiteY27" fmla="*/ 26753 h 31474"/>
                <a:gd name="connsiteX28" fmla="*/ 45244 w 62948"/>
                <a:gd name="connsiteY28" fmla="*/ 25966 h 31474"/>
                <a:gd name="connsiteX29" fmla="*/ 47998 w 62948"/>
                <a:gd name="connsiteY29" fmla="*/ 24392 h 31474"/>
                <a:gd name="connsiteX30" fmla="*/ 51145 w 62948"/>
                <a:gd name="connsiteY30" fmla="*/ 22425 h 31474"/>
                <a:gd name="connsiteX31" fmla="*/ 53506 w 62948"/>
                <a:gd name="connsiteY31" fmla="*/ 19278 h 31474"/>
                <a:gd name="connsiteX32" fmla="*/ 55080 w 62948"/>
                <a:gd name="connsiteY32" fmla="*/ 16524 h 31474"/>
                <a:gd name="connsiteX33" fmla="*/ 56260 w 62948"/>
                <a:gd name="connsiteY33" fmla="*/ 13376 h 31474"/>
                <a:gd name="connsiteX34" fmla="*/ 57047 w 62948"/>
                <a:gd name="connsiteY34" fmla="*/ 10622 h 31474"/>
                <a:gd name="connsiteX35" fmla="*/ 60194 w 62948"/>
                <a:gd name="connsiteY35" fmla="*/ 9049 h 31474"/>
                <a:gd name="connsiteX36" fmla="*/ 63342 w 62948"/>
                <a:gd name="connsiteY36" fmla="*/ 6688 h 31474"/>
                <a:gd name="connsiteX37" fmla="*/ 64128 w 62948"/>
                <a:gd name="connsiteY37" fmla="*/ 3934 h 31474"/>
                <a:gd name="connsiteX38" fmla="*/ 60981 w 62948"/>
                <a:gd name="connsiteY38" fmla="*/ 2361 h 31474"/>
                <a:gd name="connsiteX39" fmla="*/ 57833 w 62948"/>
                <a:gd name="connsiteY39" fmla="*/ 2361 h 31474"/>
                <a:gd name="connsiteX40" fmla="*/ 55080 w 62948"/>
                <a:gd name="connsiteY40" fmla="*/ 1180 h 31474"/>
                <a:gd name="connsiteX41" fmla="*/ 52326 w 62948"/>
                <a:gd name="connsiteY41" fmla="*/ 0 h 31474"/>
                <a:gd name="connsiteX42" fmla="*/ 49178 w 62948"/>
                <a:gd name="connsiteY42" fmla="*/ 0 h 31474"/>
                <a:gd name="connsiteX43" fmla="*/ 46424 w 62948"/>
                <a:gd name="connsiteY43" fmla="*/ 393 h 31474"/>
                <a:gd name="connsiteX44" fmla="*/ 43277 w 62948"/>
                <a:gd name="connsiteY44" fmla="*/ 1180 h 31474"/>
                <a:gd name="connsiteX45" fmla="*/ 40523 w 62948"/>
                <a:gd name="connsiteY45" fmla="*/ 0 h 31474"/>
                <a:gd name="connsiteX46" fmla="*/ 37376 w 62948"/>
                <a:gd name="connsiteY46" fmla="*/ 787 h 31474"/>
                <a:gd name="connsiteX47" fmla="*/ 34228 w 62948"/>
                <a:gd name="connsiteY47" fmla="*/ 1180 h 3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2948" h="31474">
                  <a:moveTo>
                    <a:pt x="31474" y="1574"/>
                  </a:moveTo>
                  <a:lnTo>
                    <a:pt x="28327" y="2754"/>
                  </a:lnTo>
                  <a:lnTo>
                    <a:pt x="25573" y="4328"/>
                  </a:lnTo>
                  <a:lnTo>
                    <a:pt x="22425" y="5901"/>
                  </a:lnTo>
                  <a:lnTo>
                    <a:pt x="19278" y="7475"/>
                  </a:lnTo>
                  <a:lnTo>
                    <a:pt x="16524" y="9442"/>
                  </a:lnTo>
                  <a:lnTo>
                    <a:pt x="13770" y="11409"/>
                  </a:lnTo>
                  <a:lnTo>
                    <a:pt x="8262" y="14557"/>
                  </a:lnTo>
                  <a:lnTo>
                    <a:pt x="5114" y="17311"/>
                  </a:lnTo>
                  <a:lnTo>
                    <a:pt x="3147" y="20065"/>
                  </a:lnTo>
                  <a:lnTo>
                    <a:pt x="2360" y="22819"/>
                  </a:lnTo>
                  <a:lnTo>
                    <a:pt x="0" y="25966"/>
                  </a:lnTo>
                  <a:lnTo>
                    <a:pt x="1180" y="26360"/>
                  </a:lnTo>
                  <a:lnTo>
                    <a:pt x="0" y="29507"/>
                  </a:lnTo>
                  <a:lnTo>
                    <a:pt x="3147" y="31868"/>
                  </a:lnTo>
                  <a:lnTo>
                    <a:pt x="6295" y="32261"/>
                  </a:lnTo>
                  <a:lnTo>
                    <a:pt x="9442" y="32261"/>
                  </a:lnTo>
                  <a:lnTo>
                    <a:pt x="12196" y="31868"/>
                  </a:lnTo>
                  <a:lnTo>
                    <a:pt x="15343" y="31868"/>
                  </a:lnTo>
                  <a:lnTo>
                    <a:pt x="18491" y="31081"/>
                  </a:lnTo>
                  <a:lnTo>
                    <a:pt x="21245" y="31081"/>
                  </a:lnTo>
                  <a:lnTo>
                    <a:pt x="24392" y="31474"/>
                  </a:lnTo>
                  <a:lnTo>
                    <a:pt x="27540" y="31081"/>
                  </a:lnTo>
                  <a:lnTo>
                    <a:pt x="30687" y="30294"/>
                  </a:lnTo>
                  <a:lnTo>
                    <a:pt x="33441" y="29900"/>
                  </a:lnTo>
                  <a:lnTo>
                    <a:pt x="36589" y="28720"/>
                  </a:lnTo>
                  <a:lnTo>
                    <a:pt x="39343" y="28720"/>
                  </a:lnTo>
                  <a:lnTo>
                    <a:pt x="42096" y="26753"/>
                  </a:lnTo>
                  <a:lnTo>
                    <a:pt x="45244" y="25966"/>
                  </a:lnTo>
                  <a:lnTo>
                    <a:pt x="47998" y="24392"/>
                  </a:lnTo>
                  <a:lnTo>
                    <a:pt x="51145" y="22425"/>
                  </a:lnTo>
                  <a:lnTo>
                    <a:pt x="53506" y="19278"/>
                  </a:lnTo>
                  <a:lnTo>
                    <a:pt x="55080" y="16524"/>
                  </a:lnTo>
                  <a:lnTo>
                    <a:pt x="56260" y="13376"/>
                  </a:lnTo>
                  <a:lnTo>
                    <a:pt x="57047" y="10622"/>
                  </a:lnTo>
                  <a:lnTo>
                    <a:pt x="60194" y="9049"/>
                  </a:lnTo>
                  <a:lnTo>
                    <a:pt x="63342" y="6688"/>
                  </a:lnTo>
                  <a:lnTo>
                    <a:pt x="64128" y="3934"/>
                  </a:lnTo>
                  <a:lnTo>
                    <a:pt x="60981" y="2361"/>
                  </a:lnTo>
                  <a:lnTo>
                    <a:pt x="57833" y="2361"/>
                  </a:lnTo>
                  <a:lnTo>
                    <a:pt x="55080" y="1180"/>
                  </a:lnTo>
                  <a:lnTo>
                    <a:pt x="52326" y="0"/>
                  </a:lnTo>
                  <a:lnTo>
                    <a:pt x="49178" y="0"/>
                  </a:lnTo>
                  <a:lnTo>
                    <a:pt x="46424" y="393"/>
                  </a:lnTo>
                  <a:lnTo>
                    <a:pt x="43277" y="1180"/>
                  </a:lnTo>
                  <a:lnTo>
                    <a:pt x="40523" y="0"/>
                  </a:lnTo>
                  <a:lnTo>
                    <a:pt x="37376" y="787"/>
                  </a:lnTo>
                  <a:lnTo>
                    <a:pt x="3422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07" name="Freeform: Shape 2701">
              <a:extLst>
                <a:ext uri="{FF2B5EF4-FFF2-40B4-BE49-F238E27FC236}">
                  <a16:creationId xmlns:a16="http://schemas.microsoft.com/office/drawing/2014/main" id="{83B7F1EC-8378-4F58-9803-E5FBD017D577}"/>
                </a:ext>
              </a:extLst>
            </p:cNvPr>
            <p:cNvSpPr/>
            <p:nvPr/>
          </p:nvSpPr>
          <p:spPr>
            <a:xfrm>
              <a:off x="4411348" y="1417453"/>
              <a:ext cx="19671" cy="3934"/>
            </a:xfrm>
            <a:custGeom>
              <a:avLst/>
              <a:gdLst>
                <a:gd name="connsiteX0" fmla="*/ 18098 w 19671"/>
                <a:gd name="connsiteY0" fmla="*/ 393 h 3934"/>
                <a:gd name="connsiteX1" fmla="*/ 14950 w 19671"/>
                <a:gd name="connsiteY1" fmla="*/ 1180 h 3934"/>
                <a:gd name="connsiteX2" fmla="*/ 11803 w 19671"/>
                <a:gd name="connsiteY2" fmla="*/ 2754 h 3934"/>
                <a:gd name="connsiteX3" fmla="*/ 9049 w 19671"/>
                <a:gd name="connsiteY3" fmla="*/ 3147 h 3934"/>
                <a:gd name="connsiteX4" fmla="*/ 5901 w 19671"/>
                <a:gd name="connsiteY4" fmla="*/ 4721 h 3934"/>
                <a:gd name="connsiteX5" fmla="*/ 2754 w 19671"/>
                <a:gd name="connsiteY5" fmla="*/ 6295 h 3934"/>
                <a:gd name="connsiteX6" fmla="*/ 0 w 19671"/>
                <a:gd name="connsiteY6" fmla="*/ 7082 h 3934"/>
                <a:gd name="connsiteX7" fmla="*/ 2754 w 19671"/>
                <a:gd name="connsiteY7" fmla="*/ 7475 h 3934"/>
                <a:gd name="connsiteX8" fmla="*/ 5901 w 19671"/>
                <a:gd name="connsiteY8" fmla="*/ 6688 h 3934"/>
                <a:gd name="connsiteX9" fmla="*/ 9049 w 19671"/>
                <a:gd name="connsiteY9" fmla="*/ 6688 h 3934"/>
                <a:gd name="connsiteX10" fmla="*/ 11803 w 19671"/>
                <a:gd name="connsiteY10" fmla="*/ 5901 h 3934"/>
                <a:gd name="connsiteX11" fmla="*/ 14950 w 19671"/>
                <a:gd name="connsiteY11" fmla="*/ 5115 h 3934"/>
                <a:gd name="connsiteX12" fmla="*/ 18098 w 19671"/>
                <a:gd name="connsiteY12" fmla="*/ 4721 h 3934"/>
                <a:gd name="connsiteX13" fmla="*/ 21638 w 19671"/>
                <a:gd name="connsiteY13" fmla="*/ 3147 h 3934"/>
                <a:gd name="connsiteX14" fmla="*/ 22425 w 19671"/>
                <a:gd name="connsiteY14" fmla="*/ 393 h 3934"/>
                <a:gd name="connsiteX15" fmla="*/ 21245 w 19671"/>
                <a:gd name="connsiteY1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9671" h="3934">
                  <a:moveTo>
                    <a:pt x="18098" y="393"/>
                  </a:moveTo>
                  <a:lnTo>
                    <a:pt x="14950" y="1180"/>
                  </a:lnTo>
                  <a:lnTo>
                    <a:pt x="11803" y="2754"/>
                  </a:lnTo>
                  <a:lnTo>
                    <a:pt x="9049" y="3147"/>
                  </a:lnTo>
                  <a:lnTo>
                    <a:pt x="5901" y="4721"/>
                  </a:lnTo>
                  <a:lnTo>
                    <a:pt x="2754" y="6295"/>
                  </a:lnTo>
                  <a:lnTo>
                    <a:pt x="0" y="7082"/>
                  </a:lnTo>
                  <a:lnTo>
                    <a:pt x="2754" y="7475"/>
                  </a:lnTo>
                  <a:lnTo>
                    <a:pt x="5901" y="6688"/>
                  </a:lnTo>
                  <a:lnTo>
                    <a:pt x="9049" y="6688"/>
                  </a:lnTo>
                  <a:lnTo>
                    <a:pt x="11803" y="5901"/>
                  </a:lnTo>
                  <a:lnTo>
                    <a:pt x="14950" y="5115"/>
                  </a:lnTo>
                  <a:lnTo>
                    <a:pt x="18098" y="4721"/>
                  </a:lnTo>
                  <a:lnTo>
                    <a:pt x="21638" y="3147"/>
                  </a:lnTo>
                  <a:lnTo>
                    <a:pt x="22425" y="393"/>
                  </a:lnTo>
                  <a:lnTo>
                    <a:pt x="2124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08" name="Freeform: Shape 2702">
              <a:extLst>
                <a:ext uri="{FF2B5EF4-FFF2-40B4-BE49-F238E27FC236}">
                  <a16:creationId xmlns:a16="http://schemas.microsoft.com/office/drawing/2014/main" id="{CD03253E-F1EC-415A-9756-82CAF08E610E}"/>
                </a:ext>
              </a:extLst>
            </p:cNvPr>
            <p:cNvSpPr/>
            <p:nvPr/>
          </p:nvSpPr>
          <p:spPr>
            <a:xfrm>
              <a:off x="4427479" y="1594888"/>
              <a:ext cx="3934" cy="3934"/>
            </a:xfrm>
            <a:custGeom>
              <a:avLst/>
              <a:gdLst>
                <a:gd name="connsiteX0" fmla="*/ 3147 w 3934"/>
                <a:gd name="connsiteY0" fmla="*/ 787 h 0"/>
                <a:gd name="connsiteX1" fmla="*/ 5901 w 3934"/>
                <a:gd name="connsiteY1" fmla="*/ 393 h 0"/>
                <a:gd name="connsiteX2" fmla="*/ 5901 w 3934"/>
                <a:gd name="connsiteY2" fmla="*/ 0 h 0"/>
                <a:gd name="connsiteX3" fmla="*/ 3147 w 3934"/>
                <a:gd name="connsiteY3" fmla="*/ 787 h 0"/>
                <a:gd name="connsiteX4" fmla="*/ 0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147" y="787"/>
                  </a:moveTo>
                  <a:lnTo>
                    <a:pt x="5901" y="393"/>
                  </a:lnTo>
                  <a:lnTo>
                    <a:pt x="5901" y="0"/>
                  </a:lnTo>
                  <a:lnTo>
                    <a:pt x="3147" y="787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09" name="Freeform: Shape 2703">
              <a:extLst>
                <a:ext uri="{FF2B5EF4-FFF2-40B4-BE49-F238E27FC236}">
                  <a16:creationId xmlns:a16="http://schemas.microsoft.com/office/drawing/2014/main" id="{C94C3E07-8E93-4D3A-BE75-22435470A5DF}"/>
                </a:ext>
              </a:extLst>
            </p:cNvPr>
            <p:cNvSpPr/>
            <p:nvPr/>
          </p:nvSpPr>
          <p:spPr>
            <a:xfrm>
              <a:off x="4213061" y="1634624"/>
              <a:ext cx="31474" cy="23606"/>
            </a:xfrm>
            <a:custGeom>
              <a:avLst/>
              <a:gdLst>
                <a:gd name="connsiteX0" fmla="*/ 31867 w 31474"/>
                <a:gd name="connsiteY0" fmla="*/ 5508 h 23605"/>
                <a:gd name="connsiteX1" fmla="*/ 31081 w 31474"/>
                <a:gd name="connsiteY1" fmla="*/ 2754 h 23605"/>
                <a:gd name="connsiteX2" fmla="*/ 29113 w 31474"/>
                <a:gd name="connsiteY2" fmla="*/ 0 h 23605"/>
                <a:gd name="connsiteX3" fmla="*/ 26359 w 31474"/>
                <a:gd name="connsiteY3" fmla="*/ 393 h 23605"/>
                <a:gd name="connsiteX4" fmla="*/ 20458 w 31474"/>
                <a:gd name="connsiteY4" fmla="*/ 393 h 23605"/>
                <a:gd name="connsiteX5" fmla="*/ 17704 w 31474"/>
                <a:gd name="connsiteY5" fmla="*/ 1574 h 23605"/>
                <a:gd name="connsiteX6" fmla="*/ 15737 w 31474"/>
                <a:gd name="connsiteY6" fmla="*/ 2754 h 23605"/>
                <a:gd name="connsiteX7" fmla="*/ 12589 w 31474"/>
                <a:gd name="connsiteY7" fmla="*/ 4721 h 23605"/>
                <a:gd name="connsiteX8" fmla="*/ 9836 w 31474"/>
                <a:gd name="connsiteY8" fmla="*/ 6295 h 23605"/>
                <a:gd name="connsiteX9" fmla="*/ 6688 w 31474"/>
                <a:gd name="connsiteY9" fmla="*/ 8655 h 23605"/>
                <a:gd name="connsiteX10" fmla="*/ 3934 w 31474"/>
                <a:gd name="connsiteY10" fmla="*/ 11409 h 23605"/>
                <a:gd name="connsiteX11" fmla="*/ 1967 w 31474"/>
                <a:gd name="connsiteY11" fmla="*/ 14557 h 23605"/>
                <a:gd name="connsiteX12" fmla="*/ 0 w 31474"/>
                <a:gd name="connsiteY12" fmla="*/ 17311 h 23605"/>
                <a:gd name="connsiteX13" fmla="*/ 787 w 31474"/>
                <a:gd name="connsiteY13" fmla="*/ 20065 h 23605"/>
                <a:gd name="connsiteX14" fmla="*/ 3541 w 31474"/>
                <a:gd name="connsiteY14" fmla="*/ 22032 h 23605"/>
                <a:gd name="connsiteX15" fmla="*/ 3934 w 31474"/>
                <a:gd name="connsiteY15" fmla="*/ 22819 h 23605"/>
                <a:gd name="connsiteX16" fmla="*/ 5901 w 31474"/>
                <a:gd name="connsiteY16" fmla="*/ 25966 h 23605"/>
                <a:gd name="connsiteX17" fmla="*/ 9049 w 31474"/>
                <a:gd name="connsiteY17" fmla="*/ 23999 h 23605"/>
                <a:gd name="connsiteX18" fmla="*/ 11803 w 31474"/>
                <a:gd name="connsiteY18" fmla="*/ 22425 h 23605"/>
                <a:gd name="connsiteX19" fmla="*/ 14950 w 31474"/>
                <a:gd name="connsiteY19" fmla="*/ 19671 h 23605"/>
                <a:gd name="connsiteX20" fmla="*/ 17704 w 31474"/>
                <a:gd name="connsiteY20" fmla="*/ 17704 h 23605"/>
                <a:gd name="connsiteX21" fmla="*/ 20458 w 31474"/>
                <a:gd name="connsiteY21" fmla="*/ 15737 h 23605"/>
                <a:gd name="connsiteX22" fmla="*/ 26753 w 31474"/>
                <a:gd name="connsiteY22" fmla="*/ 11016 h 23605"/>
                <a:gd name="connsiteX23" fmla="*/ 29507 w 31474"/>
                <a:gd name="connsiteY23" fmla="*/ 8655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1474" h="23605">
                  <a:moveTo>
                    <a:pt x="31867" y="5508"/>
                  </a:moveTo>
                  <a:lnTo>
                    <a:pt x="31081" y="2754"/>
                  </a:lnTo>
                  <a:lnTo>
                    <a:pt x="29113" y="0"/>
                  </a:lnTo>
                  <a:lnTo>
                    <a:pt x="26359" y="393"/>
                  </a:lnTo>
                  <a:lnTo>
                    <a:pt x="20458" y="393"/>
                  </a:lnTo>
                  <a:lnTo>
                    <a:pt x="17704" y="1574"/>
                  </a:lnTo>
                  <a:lnTo>
                    <a:pt x="15737" y="2754"/>
                  </a:lnTo>
                  <a:lnTo>
                    <a:pt x="12589" y="4721"/>
                  </a:lnTo>
                  <a:lnTo>
                    <a:pt x="9836" y="6295"/>
                  </a:lnTo>
                  <a:lnTo>
                    <a:pt x="6688" y="8655"/>
                  </a:lnTo>
                  <a:lnTo>
                    <a:pt x="3934" y="11409"/>
                  </a:lnTo>
                  <a:lnTo>
                    <a:pt x="1967" y="14557"/>
                  </a:lnTo>
                  <a:lnTo>
                    <a:pt x="0" y="17311"/>
                  </a:lnTo>
                  <a:lnTo>
                    <a:pt x="787" y="20065"/>
                  </a:lnTo>
                  <a:lnTo>
                    <a:pt x="3541" y="22032"/>
                  </a:lnTo>
                  <a:lnTo>
                    <a:pt x="3934" y="22819"/>
                  </a:lnTo>
                  <a:lnTo>
                    <a:pt x="5901" y="25966"/>
                  </a:lnTo>
                  <a:lnTo>
                    <a:pt x="9049" y="23999"/>
                  </a:lnTo>
                  <a:lnTo>
                    <a:pt x="11803" y="22425"/>
                  </a:lnTo>
                  <a:lnTo>
                    <a:pt x="14950" y="19671"/>
                  </a:lnTo>
                  <a:lnTo>
                    <a:pt x="17704" y="17704"/>
                  </a:lnTo>
                  <a:lnTo>
                    <a:pt x="20458" y="15737"/>
                  </a:lnTo>
                  <a:lnTo>
                    <a:pt x="26753" y="11016"/>
                  </a:lnTo>
                  <a:lnTo>
                    <a:pt x="29507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10" name="Freeform: Shape 2704">
              <a:extLst>
                <a:ext uri="{FF2B5EF4-FFF2-40B4-BE49-F238E27FC236}">
                  <a16:creationId xmlns:a16="http://schemas.microsoft.com/office/drawing/2014/main" id="{B3558966-BF77-4AEE-8607-65B4D6BFF8C5}"/>
                </a:ext>
              </a:extLst>
            </p:cNvPr>
            <p:cNvSpPr/>
            <p:nvPr/>
          </p:nvSpPr>
          <p:spPr>
            <a:xfrm>
              <a:off x="4228405" y="1683803"/>
              <a:ext cx="11803" cy="3934"/>
            </a:xfrm>
            <a:custGeom>
              <a:avLst/>
              <a:gdLst>
                <a:gd name="connsiteX0" fmla="*/ 5901 w 11802"/>
                <a:gd name="connsiteY0" fmla="*/ 393 h 0"/>
                <a:gd name="connsiteX1" fmla="*/ 3147 w 11802"/>
                <a:gd name="connsiteY1" fmla="*/ 1180 h 0"/>
                <a:gd name="connsiteX2" fmla="*/ 0 w 11802"/>
                <a:gd name="connsiteY2" fmla="*/ 2361 h 0"/>
                <a:gd name="connsiteX3" fmla="*/ 3147 w 11802"/>
                <a:gd name="connsiteY3" fmla="*/ 2754 h 0"/>
                <a:gd name="connsiteX4" fmla="*/ 5901 w 11802"/>
                <a:gd name="connsiteY4" fmla="*/ 1967 h 0"/>
                <a:gd name="connsiteX5" fmla="*/ 9049 w 11802"/>
                <a:gd name="connsiteY5" fmla="*/ 1574 h 0"/>
                <a:gd name="connsiteX6" fmla="*/ 11803 w 11802"/>
                <a:gd name="connsiteY6" fmla="*/ 0 h 0"/>
                <a:gd name="connsiteX7" fmla="*/ 9049 w 11802"/>
                <a:gd name="connsiteY7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>
                  <a:moveTo>
                    <a:pt x="5901" y="393"/>
                  </a:moveTo>
                  <a:lnTo>
                    <a:pt x="3147" y="1180"/>
                  </a:lnTo>
                  <a:lnTo>
                    <a:pt x="0" y="2361"/>
                  </a:lnTo>
                  <a:lnTo>
                    <a:pt x="3147" y="2754"/>
                  </a:lnTo>
                  <a:lnTo>
                    <a:pt x="5901" y="1967"/>
                  </a:lnTo>
                  <a:lnTo>
                    <a:pt x="9049" y="1574"/>
                  </a:lnTo>
                  <a:lnTo>
                    <a:pt x="11803" y="0"/>
                  </a:lnTo>
                  <a:lnTo>
                    <a:pt x="9049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11" name="Freeform: Shape 2705">
              <a:extLst>
                <a:ext uri="{FF2B5EF4-FFF2-40B4-BE49-F238E27FC236}">
                  <a16:creationId xmlns:a16="http://schemas.microsoft.com/office/drawing/2014/main" id="{9AE4FF2D-2137-43F6-AA82-45EB43FF1957}"/>
                </a:ext>
              </a:extLst>
            </p:cNvPr>
            <p:cNvSpPr/>
            <p:nvPr/>
          </p:nvSpPr>
          <p:spPr>
            <a:xfrm>
              <a:off x="4287025" y="1601577"/>
              <a:ext cx="19671" cy="11803"/>
            </a:xfrm>
            <a:custGeom>
              <a:avLst/>
              <a:gdLst>
                <a:gd name="connsiteX0" fmla="*/ 7475 w 19671"/>
                <a:gd name="connsiteY0" fmla="*/ 12196 h 11802"/>
                <a:gd name="connsiteX1" fmla="*/ 10229 w 19671"/>
                <a:gd name="connsiteY1" fmla="*/ 11409 h 11802"/>
                <a:gd name="connsiteX2" fmla="*/ 13376 w 19671"/>
                <a:gd name="connsiteY2" fmla="*/ 10229 h 11802"/>
                <a:gd name="connsiteX3" fmla="*/ 16130 w 19671"/>
                <a:gd name="connsiteY3" fmla="*/ 9836 h 11802"/>
                <a:gd name="connsiteX4" fmla="*/ 19278 w 19671"/>
                <a:gd name="connsiteY4" fmla="*/ 7869 h 11802"/>
                <a:gd name="connsiteX5" fmla="*/ 20458 w 19671"/>
                <a:gd name="connsiteY5" fmla="*/ 5115 h 11802"/>
                <a:gd name="connsiteX6" fmla="*/ 19671 w 19671"/>
                <a:gd name="connsiteY6" fmla="*/ 2361 h 11802"/>
                <a:gd name="connsiteX7" fmla="*/ 16524 w 19671"/>
                <a:gd name="connsiteY7" fmla="*/ 1967 h 11802"/>
                <a:gd name="connsiteX8" fmla="*/ 13770 w 19671"/>
                <a:gd name="connsiteY8" fmla="*/ 393 h 11802"/>
                <a:gd name="connsiteX9" fmla="*/ 10623 w 19671"/>
                <a:gd name="connsiteY9" fmla="*/ 393 h 11802"/>
                <a:gd name="connsiteX10" fmla="*/ 9049 w 19671"/>
                <a:gd name="connsiteY10" fmla="*/ 0 h 11802"/>
                <a:gd name="connsiteX11" fmla="*/ 5901 w 19671"/>
                <a:gd name="connsiteY11" fmla="*/ 393 h 11802"/>
                <a:gd name="connsiteX12" fmla="*/ 3147 w 19671"/>
                <a:gd name="connsiteY12" fmla="*/ 1180 h 11802"/>
                <a:gd name="connsiteX13" fmla="*/ 0 w 19671"/>
                <a:gd name="connsiteY13" fmla="*/ 1180 h 11802"/>
                <a:gd name="connsiteX14" fmla="*/ 787 w 19671"/>
                <a:gd name="connsiteY14" fmla="*/ 4328 h 11802"/>
                <a:gd name="connsiteX15" fmla="*/ 2360 w 19671"/>
                <a:gd name="connsiteY15" fmla="*/ 7475 h 11802"/>
                <a:gd name="connsiteX16" fmla="*/ 4328 w 19671"/>
                <a:gd name="connsiteY16" fmla="*/ 1022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671" h="11802">
                  <a:moveTo>
                    <a:pt x="7475" y="12196"/>
                  </a:moveTo>
                  <a:lnTo>
                    <a:pt x="10229" y="11409"/>
                  </a:lnTo>
                  <a:lnTo>
                    <a:pt x="13376" y="10229"/>
                  </a:lnTo>
                  <a:lnTo>
                    <a:pt x="16130" y="9836"/>
                  </a:lnTo>
                  <a:lnTo>
                    <a:pt x="19278" y="7869"/>
                  </a:lnTo>
                  <a:lnTo>
                    <a:pt x="20458" y="5115"/>
                  </a:lnTo>
                  <a:lnTo>
                    <a:pt x="19671" y="2361"/>
                  </a:lnTo>
                  <a:lnTo>
                    <a:pt x="16524" y="1967"/>
                  </a:lnTo>
                  <a:lnTo>
                    <a:pt x="13770" y="393"/>
                  </a:lnTo>
                  <a:lnTo>
                    <a:pt x="10623" y="393"/>
                  </a:lnTo>
                  <a:lnTo>
                    <a:pt x="9049" y="0"/>
                  </a:lnTo>
                  <a:lnTo>
                    <a:pt x="5901" y="393"/>
                  </a:lnTo>
                  <a:lnTo>
                    <a:pt x="3147" y="1180"/>
                  </a:lnTo>
                  <a:lnTo>
                    <a:pt x="0" y="1180"/>
                  </a:lnTo>
                  <a:lnTo>
                    <a:pt x="787" y="4328"/>
                  </a:lnTo>
                  <a:lnTo>
                    <a:pt x="2360" y="7475"/>
                  </a:lnTo>
                  <a:lnTo>
                    <a:pt x="4328" y="1022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12" name="Freeform: Shape 2706">
              <a:extLst>
                <a:ext uri="{FF2B5EF4-FFF2-40B4-BE49-F238E27FC236}">
                  <a16:creationId xmlns:a16="http://schemas.microsoft.com/office/drawing/2014/main" id="{A57CDEE6-D53F-4E28-A10A-8F22C082098F}"/>
                </a:ext>
              </a:extLst>
            </p:cNvPr>
            <p:cNvSpPr/>
            <p:nvPr/>
          </p:nvSpPr>
          <p:spPr>
            <a:xfrm>
              <a:off x="4316926" y="1595675"/>
              <a:ext cx="15737" cy="7869"/>
            </a:xfrm>
            <a:custGeom>
              <a:avLst/>
              <a:gdLst>
                <a:gd name="connsiteX0" fmla="*/ 4328 w 15737"/>
                <a:gd name="connsiteY0" fmla="*/ 6295 h 7868"/>
                <a:gd name="connsiteX1" fmla="*/ 7475 w 15737"/>
                <a:gd name="connsiteY1" fmla="*/ 8262 h 7868"/>
                <a:gd name="connsiteX2" fmla="*/ 10229 w 15737"/>
                <a:gd name="connsiteY2" fmla="*/ 9442 h 7868"/>
                <a:gd name="connsiteX3" fmla="*/ 13377 w 15737"/>
                <a:gd name="connsiteY3" fmla="*/ 8655 h 7868"/>
                <a:gd name="connsiteX4" fmla="*/ 16131 w 15737"/>
                <a:gd name="connsiteY4" fmla="*/ 7082 h 7868"/>
                <a:gd name="connsiteX5" fmla="*/ 14163 w 15737"/>
                <a:gd name="connsiteY5" fmla="*/ 6295 h 7868"/>
                <a:gd name="connsiteX6" fmla="*/ 14950 w 15737"/>
                <a:gd name="connsiteY6" fmla="*/ 3147 h 7868"/>
                <a:gd name="connsiteX7" fmla="*/ 11803 w 15737"/>
                <a:gd name="connsiteY7" fmla="*/ 1967 h 7868"/>
                <a:gd name="connsiteX8" fmla="*/ 9049 w 15737"/>
                <a:gd name="connsiteY8" fmla="*/ 0 h 7868"/>
                <a:gd name="connsiteX9" fmla="*/ 5901 w 15737"/>
                <a:gd name="connsiteY9" fmla="*/ 0 h 7868"/>
                <a:gd name="connsiteX10" fmla="*/ 3147 w 15737"/>
                <a:gd name="connsiteY10" fmla="*/ 0 h 7868"/>
                <a:gd name="connsiteX11" fmla="*/ 0 w 15737"/>
                <a:gd name="connsiteY11" fmla="*/ 1180 h 7868"/>
                <a:gd name="connsiteX12" fmla="*/ 1180 w 15737"/>
                <a:gd name="connsiteY12" fmla="*/ 393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7868">
                  <a:moveTo>
                    <a:pt x="4328" y="6295"/>
                  </a:moveTo>
                  <a:lnTo>
                    <a:pt x="7475" y="8262"/>
                  </a:lnTo>
                  <a:lnTo>
                    <a:pt x="10229" y="9442"/>
                  </a:lnTo>
                  <a:lnTo>
                    <a:pt x="13377" y="8655"/>
                  </a:lnTo>
                  <a:lnTo>
                    <a:pt x="16131" y="7082"/>
                  </a:lnTo>
                  <a:lnTo>
                    <a:pt x="14163" y="6295"/>
                  </a:lnTo>
                  <a:lnTo>
                    <a:pt x="14950" y="3147"/>
                  </a:lnTo>
                  <a:lnTo>
                    <a:pt x="11803" y="1967"/>
                  </a:lnTo>
                  <a:lnTo>
                    <a:pt x="9049" y="0"/>
                  </a:lnTo>
                  <a:lnTo>
                    <a:pt x="5901" y="0"/>
                  </a:lnTo>
                  <a:lnTo>
                    <a:pt x="3147" y="0"/>
                  </a:lnTo>
                  <a:lnTo>
                    <a:pt x="0" y="1180"/>
                  </a:lnTo>
                  <a:lnTo>
                    <a:pt x="1180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13" name="Freeform: Shape 2707">
              <a:extLst>
                <a:ext uri="{FF2B5EF4-FFF2-40B4-BE49-F238E27FC236}">
                  <a16:creationId xmlns:a16="http://schemas.microsoft.com/office/drawing/2014/main" id="{EA474179-94EF-48E5-B0D6-B2D75677FEF7}"/>
                </a:ext>
              </a:extLst>
            </p:cNvPr>
            <p:cNvSpPr/>
            <p:nvPr/>
          </p:nvSpPr>
          <p:spPr>
            <a:xfrm>
              <a:off x="4364924" y="1624395"/>
              <a:ext cx="11803" cy="3934"/>
            </a:xfrm>
            <a:custGeom>
              <a:avLst/>
              <a:gdLst>
                <a:gd name="connsiteX0" fmla="*/ 2754 w 11802"/>
                <a:gd name="connsiteY0" fmla="*/ 0 h 3934"/>
                <a:gd name="connsiteX1" fmla="*/ 0 w 11802"/>
                <a:gd name="connsiteY1" fmla="*/ 2361 h 3934"/>
                <a:gd name="connsiteX2" fmla="*/ 2754 w 11802"/>
                <a:gd name="connsiteY2" fmla="*/ 3147 h 3934"/>
                <a:gd name="connsiteX3" fmla="*/ 5901 w 11802"/>
                <a:gd name="connsiteY3" fmla="*/ 3934 h 3934"/>
                <a:gd name="connsiteX4" fmla="*/ 9049 w 11802"/>
                <a:gd name="connsiteY4" fmla="*/ 4328 h 3934"/>
                <a:gd name="connsiteX5" fmla="*/ 11803 w 11802"/>
                <a:gd name="connsiteY5" fmla="*/ 2361 h 3934"/>
                <a:gd name="connsiteX6" fmla="*/ 8655 w 11802"/>
                <a:gd name="connsiteY6" fmla="*/ 1574 h 3934"/>
                <a:gd name="connsiteX7" fmla="*/ 5901 w 11802"/>
                <a:gd name="connsiteY7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 h="3934">
                  <a:moveTo>
                    <a:pt x="2754" y="0"/>
                  </a:moveTo>
                  <a:lnTo>
                    <a:pt x="0" y="2361"/>
                  </a:lnTo>
                  <a:lnTo>
                    <a:pt x="2754" y="3147"/>
                  </a:lnTo>
                  <a:lnTo>
                    <a:pt x="5901" y="3934"/>
                  </a:lnTo>
                  <a:lnTo>
                    <a:pt x="9049" y="4328"/>
                  </a:lnTo>
                  <a:lnTo>
                    <a:pt x="11803" y="2361"/>
                  </a:lnTo>
                  <a:lnTo>
                    <a:pt x="8655" y="1574"/>
                  </a:lnTo>
                  <a:lnTo>
                    <a:pt x="590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14" name="Freeform: Shape 2708">
              <a:extLst>
                <a:ext uri="{FF2B5EF4-FFF2-40B4-BE49-F238E27FC236}">
                  <a16:creationId xmlns:a16="http://schemas.microsoft.com/office/drawing/2014/main" id="{EC27BB16-51EA-4466-919D-B116979FF080}"/>
                </a:ext>
              </a:extLst>
            </p:cNvPr>
            <p:cNvSpPr/>
            <p:nvPr/>
          </p:nvSpPr>
          <p:spPr>
            <a:xfrm>
              <a:off x="4465641" y="1446960"/>
              <a:ext cx="11803" cy="7869"/>
            </a:xfrm>
            <a:custGeom>
              <a:avLst/>
              <a:gdLst>
                <a:gd name="connsiteX0" fmla="*/ 11016 w 11802"/>
                <a:gd name="connsiteY0" fmla="*/ 787 h 7868"/>
                <a:gd name="connsiteX1" fmla="*/ 7869 w 11802"/>
                <a:gd name="connsiteY1" fmla="*/ 0 h 7868"/>
                <a:gd name="connsiteX2" fmla="*/ 5115 w 11802"/>
                <a:gd name="connsiteY2" fmla="*/ 1180 h 7868"/>
                <a:gd name="connsiteX3" fmla="*/ 1967 w 11802"/>
                <a:gd name="connsiteY3" fmla="*/ 3147 h 7868"/>
                <a:gd name="connsiteX4" fmla="*/ 0 w 11802"/>
                <a:gd name="connsiteY4" fmla="*/ 6295 h 7868"/>
                <a:gd name="connsiteX5" fmla="*/ 2754 w 11802"/>
                <a:gd name="connsiteY5" fmla="*/ 8262 h 7868"/>
                <a:gd name="connsiteX6" fmla="*/ 5115 w 11802"/>
                <a:gd name="connsiteY6" fmla="*/ 11016 h 7868"/>
                <a:gd name="connsiteX7" fmla="*/ 6295 w 11802"/>
                <a:gd name="connsiteY7" fmla="*/ 11016 h 7868"/>
                <a:gd name="connsiteX8" fmla="*/ 9049 w 11802"/>
                <a:gd name="connsiteY8" fmla="*/ 10622 h 7868"/>
                <a:gd name="connsiteX9" fmla="*/ 10229 w 11802"/>
                <a:gd name="connsiteY9" fmla="*/ 7869 h 7868"/>
                <a:gd name="connsiteX10" fmla="*/ 12983 w 11802"/>
                <a:gd name="connsiteY10" fmla="*/ 6295 h 7868"/>
                <a:gd name="connsiteX11" fmla="*/ 11409 w 11802"/>
                <a:gd name="connsiteY11" fmla="*/ 354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7868">
                  <a:moveTo>
                    <a:pt x="11016" y="787"/>
                  </a:moveTo>
                  <a:lnTo>
                    <a:pt x="7869" y="0"/>
                  </a:lnTo>
                  <a:lnTo>
                    <a:pt x="5115" y="1180"/>
                  </a:lnTo>
                  <a:lnTo>
                    <a:pt x="1967" y="3147"/>
                  </a:lnTo>
                  <a:lnTo>
                    <a:pt x="0" y="6295"/>
                  </a:lnTo>
                  <a:lnTo>
                    <a:pt x="2754" y="8262"/>
                  </a:lnTo>
                  <a:lnTo>
                    <a:pt x="5115" y="11016"/>
                  </a:lnTo>
                  <a:lnTo>
                    <a:pt x="6295" y="11016"/>
                  </a:lnTo>
                  <a:lnTo>
                    <a:pt x="9049" y="10622"/>
                  </a:lnTo>
                  <a:lnTo>
                    <a:pt x="10229" y="7869"/>
                  </a:lnTo>
                  <a:lnTo>
                    <a:pt x="12983" y="6295"/>
                  </a:lnTo>
                  <a:lnTo>
                    <a:pt x="11409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15" name="Freeform: Shape 2709">
              <a:extLst>
                <a:ext uri="{FF2B5EF4-FFF2-40B4-BE49-F238E27FC236}">
                  <a16:creationId xmlns:a16="http://schemas.microsoft.com/office/drawing/2014/main" id="{7A235F81-5FC6-44F1-8448-70605100B67B}"/>
                </a:ext>
              </a:extLst>
            </p:cNvPr>
            <p:cNvSpPr/>
            <p:nvPr/>
          </p:nvSpPr>
          <p:spPr>
            <a:xfrm>
              <a:off x="4479804" y="1448140"/>
              <a:ext cx="3934" cy="3934"/>
            </a:xfrm>
            <a:custGeom>
              <a:avLst/>
              <a:gdLst>
                <a:gd name="connsiteX0" fmla="*/ 1967 w 3934"/>
                <a:gd name="connsiteY0" fmla="*/ 0 h 0"/>
                <a:gd name="connsiteX1" fmla="*/ 0 w 3934"/>
                <a:gd name="connsiteY1" fmla="*/ 3147 h 0"/>
                <a:gd name="connsiteX2" fmla="*/ 2754 w 3934"/>
                <a:gd name="connsiteY2" fmla="*/ 3147 h 0"/>
                <a:gd name="connsiteX3" fmla="*/ 5901 w 3934"/>
                <a:gd name="connsiteY3" fmla="*/ 2754 h 0"/>
                <a:gd name="connsiteX4" fmla="*/ 3147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1967" y="0"/>
                  </a:moveTo>
                  <a:lnTo>
                    <a:pt x="0" y="3147"/>
                  </a:lnTo>
                  <a:lnTo>
                    <a:pt x="2754" y="3147"/>
                  </a:lnTo>
                  <a:lnTo>
                    <a:pt x="5901" y="275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16" name="Freeform: Shape 2710">
              <a:extLst>
                <a:ext uri="{FF2B5EF4-FFF2-40B4-BE49-F238E27FC236}">
                  <a16:creationId xmlns:a16="http://schemas.microsoft.com/office/drawing/2014/main" id="{65DA9A32-A411-4269-AD99-B97B7F791570}"/>
                </a:ext>
              </a:extLst>
            </p:cNvPr>
            <p:cNvSpPr/>
            <p:nvPr/>
          </p:nvSpPr>
          <p:spPr>
            <a:xfrm>
              <a:off x="4485706" y="1454042"/>
              <a:ext cx="3934" cy="3934"/>
            </a:xfrm>
            <a:custGeom>
              <a:avLst/>
              <a:gdLst>
                <a:gd name="connsiteX0" fmla="*/ 4721 w 3934"/>
                <a:gd name="connsiteY0" fmla="*/ 3147 h 3934"/>
                <a:gd name="connsiteX1" fmla="*/ 2360 w 3934"/>
                <a:gd name="connsiteY1" fmla="*/ 0 h 3934"/>
                <a:gd name="connsiteX2" fmla="*/ 1574 w 3934"/>
                <a:gd name="connsiteY2" fmla="*/ 0 h 3934"/>
                <a:gd name="connsiteX3" fmla="*/ 0 w 3934"/>
                <a:gd name="connsiteY3" fmla="*/ 3147 h 3934"/>
                <a:gd name="connsiteX4" fmla="*/ 2360 w 3934"/>
                <a:gd name="connsiteY4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4721" y="3147"/>
                  </a:moveTo>
                  <a:lnTo>
                    <a:pt x="2360" y="0"/>
                  </a:lnTo>
                  <a:lnTo>
                    <a:pt x="1574" y="0"/>
                  </a:lnTo>
                  <a:lnTo>
                    <a:pt x="0" y="3147"/>
                  </a:lnTo>
                  <a:lnTo>
                    <a:pt x="2360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17" name="Freeform: Shape 2711">
              <a:extLst>
                <a:ext uri="{FF2B5EF4-FFF2-40B4-BE49-F238E27FC236}">
                  <a16:creationId xmlns:a16="http://schemas.microsoft.com/office/drawing/2014/main" id="{C570DD32-7706-43E7-AF45-4E67FDCC0602}"/>
                </a:ext>
              </a:extLst>
            </p:cNvPr>
            <p:cNvSpPr/>
            <p:nvPr/>
          </p:nvSpPr>
          <p:spPr>
            <a:xfrm>
              <a:off x="4447543" y="1620855"/>
              <a:ext cx="15737" cy="7869"/>
            </a:xfrm>
            <a:custGeom>
              <a:avLst/>
              <a:gdLst>
                <a:gd name="connsiteX0" fmla="*/ 3541 w 15737"/>
                <a:gd name="connsiteY0" fmla="*/ 6295 h 7868"/>
                <a:gd name="connsiteX1" fmla="*/ 4328 w 15737"/>
                <a:gd name="connsiteY1" fmla="*/ 9442 h 7868"/>
                <a:gd name="connsiteX2" fmla="*/ 7082 w 15737"/>
                <a:gd name="connsiteY2" fmla="*/ 9836 h 7868"/>
                <a:gd name="connsiteX3" fmla="*/ 10229 w 15737"/>
                <a:gd name="connsiteY3" fmla="*/ 10229 h 7868"/>
                <a:gd name="connsiteX4" fmla="*/ 12983 w 15737"/>
                <a:gd name="connsiteY4" fmla="*/ 9442 h 7868"/>
                <a:gd name="connsiteX5" fmla="*/ 16130 w 15737"/>
                <a:gd name="connsiteY5" fmla="*/ 6688 h 7868"/>
                <a:gd name="connsiteX6" fmla="*/ 14557 w 15737"/>
                <a:gd name="connsiteY6" fmla="*/ 3934 h 7868"/>
                <a:gd name="connsiteX7" fmla="*/ 11803 w 15737"/>
                <a:gd name="connsiteY7" fmla="*/ 2361 h 7868"/>
                <a:gd name="connsiteX8" fmla="*/ 9049 w 15737"/>
                <a:gd name="connsiteY8" fmla="*/ 1180 h 7868"/>
                <a:gd name="connsiteX9" fmla="*/ 5901 w 15737"/>
                <a:gd name="connsiteY9" fmla="*/ 787 h 7868"/>
                <a:gd name="connsiteX10" fmla="*/ 3147 w 15737"/>
                <a:gd name="connsiteY10" fmla="*/ 0 h 7868"/>
                <a:gd name="connsiteX11" fmla="*/ 0 w 15737"/>
                <a:gd name="connsiteY11" fmla="*/ 1967 h 7868"/>
                <a:gd name="connsiteX12" fmla="*/ 3147 w 15737"/>
                <a:gd name="connsiteY12" fmla="*/ 1967 h 7868"/>
                <a:gd name="connsiteX13" fmla="*/ 6295 w 15737"/>
                <a:gd name="connsiteY13" fmla="*/ 3541 h 7868"/>
                <a:gd name="connsiteX14" fmla="*/ 3147 w 15737"/>
                <a:gd name="connsiteY14" fmla="*/ 354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737" h="7868">
                  <a:moveTo>
                    <a:pt x="3541" y="6295"/>
                  </a:moveTo>
                  <a:lnTo>
                    <a:pt x="4328" y="9442"/>
                  </a:lnTo>
                  <a:lnTo>
                    <a:pt x="7082" y="9836"/>
                  </a:lnTo>
                  <a:lnTo>
                    <a:pt x="10229" y="10229"/>
                  </a:lnTo>
                  <a:lnTo>
                    <a:pt x="12983" y="9442"/>
                  </a:lnTo>
                  <a:lnTo>
                    <a:pt x="16130" y="6688"/>
                  </a:lnTo>
                  <a:lnTo>
                    <a:pt x="14557" y="3934"/>
                  </a:lnTo>
                  <a:lnTo>
                    <a:pt x="11803" y="2361"/>
                  </a:lnTo>
                  <a:lnTo>
                    <a:pt x="9049" y="1180"/>
                  </a:lnTo>
                  <a:lnTo>
                    <a:pt x="5901" y="787"/>
                  </a:lnTo>
                  <a:lnTo>
                    <a:pt x="3147" y="0"/>
                  </a:lnTo>
                  <a:lnTo>
                    <a:pt x="0" y="1967"/>
                  </a:lnTo>
                  <a:lnTo>
                    <a:pt x="3147" y="1967"/>
                  </a:lnTo>
                  <a:lnTo>
                    <a:pt x="6295" y="3541"/>
                  </a:lnTo>
                  <a:lnTo>
                    <a:pt x="3147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18" name="Freeform: Shape 2712">
              <a:extLst>
                <a:ext uri="{FF2B5EF4-FFF2-40B4-BE49-F238E27FC236}">
                  <a16:creationId xmlns:a16="http://schemas.microsoft.com/office/drawing/2014/main" id="{D56DC85F-8266-40F5-81F8-7A39E76E0F0C}"/>
                </a:ext>
              </a:extLst>
            </p:cNvPr>
            <p:cNvSpPr/>
            <p:nvPr/>
          </p:nvSpPr>
          <p:spPr>
            <a:xfrm>
              <a:off x="4468001" y="1463091"/>
              <a:ext cx="27540" cy="7869"/>
            </a:xfrm>
            <a:custGeom>
              <a:avLst/>
              <a:gdLst>
                <a:gd name="connsiteX0" fmla="*/ 8655 w 27539"/>
                <a:gd name="connsiteY0" fmla="*/ 2754 h 7868"/>
                <a:gd name="connsiteX1" fmla="*/ 5901 w 27539"/>
                <a:gd name="connsiteY1" fmla="*/ 2361 h 7868"/>
                <a:gd name="connsiteX2" fmla="*/ 2754 w 27539"/>
                <a:gd name="connsiteY2" fmla="*/ 2361 h 7868"/>
                <a:gd name="connsiteX3" fmla="*/ 0 w 27539"/>
                <a:gd name="connsiteY3" fmla="*/ 5115 h 7868"/>
                <a:gd name="connsiteX4" fmla="*/ 0 w 27539"/>
                <a:gd name="connsiteY4" fmla="*/ 8262 h 7868"/>
                <a:gd name="connsiteX5" fmla="*/ 3147 w 27539"/>
                <a:gd name="connsiteY5" fmla="*/ 10623 h 7868"/>
                <a:gd name="connsiteX6" fmla="*/ 5901 w 27539"/>
                <a:gd name="connsiteY6" fmla="*/ 11409 h 7868"/>
                <a:gd name="connsiteX7" fmla="*/ 9049 w 27539"/>
                <a:gd name="connsiteY7" fmla="*/ 11016 h 7868"/>
                <a:gd name="connsiteX8" fmla="*/ 12196 w 27539"/>
                <a:gd name="connsiteY8" fmla="*/ 10623 h 7868"/>
                <a:gd name="connsiteX9" fmla="*/ 14950 w 27539"/>
                <a:gd name="connsiteY9" fmla="*/ 10623 h 7868"/>
                <a:gd name="connsiteX10" fmla="*/ 18098 w 27539"/>
                <a:gd name="connsiteY10" fmla="*/ 11409 h 7868"/>
                <a:gd name="connsiteX11" fmla="*/ 21245 w 27539"/>
                <a:gd name="connsiteY11" fmla="*/ 11016 h 7868"/>
                <a:gd name="connsiteX12" fmla="*/ 23999 w 27539"/>
                <a:gd name="connsiteY12" fmla="*/ 11409 h 7868"/>
                <a:gd name="connsiteX13" fmla="*/ 27146 w 27539"/>
                <a:gd name="connsiteY13" fmla="*/ 10623 h 7868"/>
                <a:gd name="connsiteX14" fmla="*/ 29900 w 27539"/>
                <a:gd name="connsiteY14" fmla="*/ 5115 h 7868"/>
                <a:gd name="connsiteX15" fmla="*/ 26753 w 27539"/>
                <a:gd name="connsiteY15" fmla="*/ 4328 h 7868"/>
                <a:gd name="connsiteX16" fmla="*/ 25179 w 27539"/>
                <a:gd name="connsiteY16" fmla="*/ 4328 h 7868"/>
                <a:gd name="connsiteX17" fmla="*/ 22425 w 27539"/>
                <a:gd name="connsiteY17" fmla="*/ 4721 h 7868"/>
                <a:gd name="connsiteX18" fmla="*/ 19671 w 27539"/>
                <a:gd name="connsiteY18" fmla="*/ 3541 h 7868"/>
                <a:gd name="connsiteX19" fmla="*/ 16524 w 27539"/>
                <a:gd name="connsiteY19" fmla="*/ 2754 h 7868"/>
                <a:gd name="connsiteX20" fmla="*/ 13376 w 27539"/>
                <a:gd name="connsiteY20" fmla="*/ 2754 h 7868"/>
                <a:gd name="connsiteX21" fmla="*/ 14557 w 27539"/>
                <a:gd name="connsiteY21" fmla="*/ 0 h 7868"/>
                <a:gd name="connsiteX22" fmla="*/ 11803 w 27539"/>
                <a:gd name="connsiteY22" fmla="*/ 118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7539" h="7868">
                  <a:moveTo>
                    <a:pt x="8655" y="2754"/>
                  </a:moveTo>
                  <a:lnTo>
                    <a:pt x="5901" y="2361"/>
                  </a:lnTo>
                  <a:lnTo>
                    <a:pt x="2754" y="2361"/>
                  </a:lnTo>
                  <a:lnTo>
                    <a:pt x="0" y="5115"/>
                  </a:lnTo>
                  <a:lnTo>
                    <a:pt x="0" y="8262"/>
                  </a:lnTo>
                  <a:lnTo>
                    <a:pt x="3147" y="10623"/>
                  </a:lnTo>
                  <a:lnTo>
                    <a:pt x="5901" y="11409"/>
                  </a:lnTo>
                  <a:lnTo>
                    <a:pt x="9049" y="11016"/>
                  </a:lnTo>
                  <a:lnTo>
                    <a:pt x="12196" y="10623"/>
                  </a:lnTo>
                  <a:lnTo>
                    <a:pt x="14950" y="10623"/>
                  </a:lnTo>
                  <a:lnTo>
                    <a:pt x="18098" y="11409"/>
                  </a:lnTo>
                  <a:lnTo>
                    <a:pt x="21245" y="11016"/>
                  </a:lnTo>
                  <a:lnTo>
                    <a:pt x="23999" y="11409"/>
                  </a:lnTo>
                  <a:lnTo>
                    <a:pt x="27146" y="10623"/>
                  </a:lnTo>
                  <a:lnTo>
                    <a:pt x="29900" y="5115"/>
                  </a:lnTo>
                  <a:lnTo>
                    <a:pt x="26753" y="4328"/>
                  </a:lnTo>
                  <a:lnTo>
                    <a:pt x="25179" y="4328"/>
                  </a:lnTo>
                  <a:lnTo>
                    <a:pt x="22425" y="4721"/>
                  </a:lnTo>
                  <a:lnTo>
                    <a:pt x="19671" y="3541"/>
                  </a:lnTo>
                  <a:lnTo>
                    <a:pt x="16524" y="2754"/>
                  </a:lnTo>
                  <a:lnTo>
                    <a:pt x="13376" y="2754"/>
                  </a:lnTo>
                  <a:lnTo>
                    <a:pt x="14557" y="0"/>
                  </a:lnTo>
                  <a:lnTo>
                    <a:pt x="11803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19" name="Freeform: Shape 2713">
              <a:extLst>
                <a:ext uri="{FF2B5EF4-FFF2-40B4-BE49-F238E27FC236}">
                  <a16:creationId xmlns:a16="http://schemas.microsoft.com/office/drawing/2014/main" id="{85F628B2-9377-43D1-9F12-7DB87A10EBE0}"/>
                </a:ext>
              </a:extLst>
            </p:cNvPr>
            <p:cNvSpPr/>
            <p:nvPr/>
          </p:nvSpPr>
          <p:spPr>
            <a:xfrm>
              <a:off x="4583275" y="1628723"/>
              <a:ext cx="3934" cy="3934"/>
            </a:xfrm>
            <a:custGeom>
              <a:avLst/>
              <a:gdLst>
                <a:gd name="connsiteX0" fmla="*/ 5901 w 3934"/>
                <a:gd name="connsiteY0" fmla="*/ 393 h 0"/>
                <a:gd name="connsiteX1" fmla="*/ 5901 w 3934"/>
                <a:gd name="connsiteY1" fmla="*/ 0 h 0"/>
                <a:gd name="connsiteX2" fmla="*/ 3147 w 3934"/>
                <a:gd name="connsiteY2" fmla="*/ 393 h 0"/>
                <a:gd name="connsiteX3" fmla="*/ 0 w 3934"/>
                <a:gd name="connsiteY3" fmla="*/ 1967 h 0"/>
                <a:gd name="connsiteX4" fmla="*/ 3147 w 3934"/>
                <a:gd name="connsiteY4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393"/>
                  </a:moveTo>
                  <a:lnTo>
                    <a:pt x="5901" y="0"/>
                  </a:lnTo>
                  <a:lnTo>
                    <a:pt x="3147" y="393"/>
                  </a:lnTo>
                  <a:lnTo>
                    <a:pt x="0" y="1967"/>
                  </a:lnTo>
                  <a:lnTo>
                    <a:pt x="3147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20" name="Freeform: Shape 2714">
              <a:extLst>
                <a:ext uri="{FF2B5EF4-FFF2-40B4-BE49-F238E27FC236}">
                  <a16:creationId xmlns:a16="http://schemas.microsoft.com/office/drawing/2014/main" id="{401EDEE2-55AF-401B-868B-AEFE9C60556E}"/>
                </a:ext>
              </a:extLst>
            </p:cNvPr>
            <p:cNvSpPr/>
            <p:nvPr/>
          </p:nvSpPr>
          <p:spPr>
            <a:xfrm>
              <a:off x="4585242" y="1629903"/>
              <a:ext cx="11803" cy="3934"/>
            </a:xfrm>
            <a:custGeom>
              <a:avLst/>
              <a:gdLst>
                <a:gd name="connsiteX0" fmla="*/ 5901 w 11802"/>
                <a:gd name="connsiteY0" fmla="*/ 5901 h 3934"/>
                <a:gd name="connsiteX1" fmla="*/ 9049 w 11802"/>
                <a:gd name="connsiteY1" fmla="*/ 5508 h 3934"/>
                <a:gd name="connsiteX2" fmla="*/ 11803 w 11802"/>
                <a:gd name="connsiteY2" fmla="*/ 2361 h 3934"/>
                <a:gd name="connsiteX3" fmla="*/ 14557 w 11802"/>
                <a:gd name="connsiteY3" fmla="*/ 1180 h 3934"/>
                <a:gd name="connsiteX4" fmla="*/ 14557 w 11802"/>
                <a:gd name="connsiteY4" fmla="*/ 787 h 3934"/>
                <a:gd name="connsiteX5" fmla="*/ 11803 w 11802"/>
                <a:gd name="connsiteY5" fmla="*/ 393 h 3934"/>
                <a:gd name="connsiteX6" fmla="*/ 9049 w 11802"/>
                <a:gd name="connsiteY6" fmla="*/ 393 h 3934"/>
                <a:gd name="connsiteX7" fmla="*/ 5901 w 11802"/>
                <a:gd name="connsiteY7" fmla="*/ 0 h 3934"/>
                <a:gd name="connsiteX8" fmla="*/ 3147 w 11802"/>
                <a:gd name="connsiteY8" fmla="*/ 2361 h 3934"/>
                <a:gd name="connsiteX9" fmla="*/ 0 w 11802"/>
                <a:gd name="connsiteY9" fmla="*/ 4328 h 3934"/>
                <a:gd name="connsiteX10" fmla="*/ 3147 w 11802"/>
                <a:gd name="connsiteY10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3934">
                  <a:moveTo>
                    <a:pt x="5901" y="5901"/>
                  </a:moveTo>
                  <a:lnTo>
                    <a:pt x="9049" y="5508"/>
                  </a:lnTo>
                  <a:lnTo>
                    <a:pt x="11803" y="2361"/>
                  </a:lnTo>
                  <a:lnTo>
                    <a:pt x="14557" y="1180"/>
                  </a:lnTo>
                  <a:lnTo>
                    <a:pt x="14557" y="787"/>
                  </a:lnTo>
                  <a:lnTo>
                    <a:pt x="11803" y="393"/>
                  </a:lnTo>
                  <a:lnTo>
                    <a:pt x="9049" y="393"/>
                  </a:lnTo>
                  <a:lnTo>
                    <a:pt x="5901" y="0"/>
                  </a:lnTo>
                  <a:lnTo>
                    <a:pt x="3147" y="2361"/>
                  </a:lnTo>
                  <a:lnTo>
                    <a:pt x="0" y="4328"/>
                  </a:lnTo>
                  <a:lnTo>
                    <a:pt x="3147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21" name="Freeform: Shape 2715">
              <a:extLst>
                <a:ext uri="{FF2B5EF4-FFF2-40B4-BE49-F238E27FC236}">
                  <a16:creationId xmlns:a16="http://schemas.microsoft.com/office/drawing/2014/main" id="{11FE7794-3602-493A-8496-A613E22A3F09}"/>
                </a:ext>
              </a:extLst>
            </p:cNvPr>
            <p:cNvSpPr/>
            <p:nvPr/>
          </p:nvSpPr>
          <p:spPr>
            <a:xfrm>
              <a:off x="4606488" y="1564201"/>
              <a:ext cx="7869" cy="3934"/>
            </a:xfrm>
            <a:custGeom>
              <a:avLst/>
              <a:gdLst>
                <a:gd name="connsiteX0" fmla="*/ 0 w 7868"/>
                <a:gd name="connsiteY0" fmla="*/ 6295 h 3934"/>
                <a:gd name="connsiteX1" fmla="*/ 2754 w 7868"/>
                <a:gd name="connsiteY1" fmla="*/ 5508 h 3934"/>
                <a:gd name="connsiteX2" fmla="*/ 5901 w 7868"/>
                <a:gd name="connsiteY2" fmla="*/ 4328 h 3934"/>
                <a:gd name="connsiteX3" fmla="*/ 8655 w 7868"/>
                <a:gd name="connsiteY3" fmla="*/ 3934 h 3934"/>
                <a:gd name="connsiteX4" fmla="*/ 11409 w 7868"/>
                <a:gd name="connsiteY4" fmla="*/ 1180 h 3934"/>
                <a:gd name="connsiteX5" fmla="*/ 11016 w 7868"/>
                <a:gd name="connsiteY5" fmla="*/ 0 h 3934"/>
                <a:gd name="connsiteX6" fmla="*/ 8262 w 7868"/>
                <a:gd name="connsiteY6" fmla="*/ 393 h 3934"/>
                <a:gd name="connsiteX7" fmla="*/ 5508 w 7868"/>
                <a:gd name="connsiteY7" fmla="*/ 2361 h 3934"/>
                <a:gd name="connsiteX8" fmla="*/ 2360 w 7868"/>
                <a:gd name="connsiteY8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0" y="6295"/>
                  </a:moveTo>
                  <a:lnTo>
                    <a:pt x="2754" y="5508"/>
                  </a:lnTo>
                  <a:lnTo>
                    <a:pt x="5901" y="4328"/>
                  </a:lnTo>
                  <a:lnTo>
                    <a:pt x="8655" y="3934"/>
                  </a:lnTo>
                  <a:lnTo>
                    <a:pt x="11409" y="1180"/>
                  </a:lnTo>
                  <a:lnTo>
                    <a:pt x="11016" y="0"/>
                  </a:lnTo>
                  <a:lnTo>
                    <a:pt x="8262" y="393"/>
                  </a:lnTo>
                  <a:lnTo>
                    <a:pt x="5508" y="2361"/>
                  </a:lnTo>
                  <a:lnTo>
                    <a:pt x="236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22" name="Freeform: Shape 2716">
              <a:extLst>
                <a:ext uri="{FF2B5EF4-FFF2-40B4-BE49-F238E27FC236}">
                  <a16:creationId xmlns:a16="http://schemas.microsoft.com/office/drawing/2014/main" id="{CA41A2D6-25B2-496A-AF81-5CC0257419EC}"/>
                </a:ext>
              </a:extLst>
            </p:cNvPr>
            <p:cNvSpPr/>
            <p:nvPr/>
          </p:nvSpPr>
          <p:spPr>
            <a:xfrm>
              <a:off x="4615930" y="1596856"/>
              <a:ext cx="3934" cy="7869"/>
            </a:xfrm>
            <a:custGeom>
              <a:avLst/>
              <a:gdLst>
                <a:gd name="connsiteX0" fmla="*/ 4721 w 3934"/>
                <a:gd name="connsiteY0" fmla="*/ 393 h 7868"/>
                <a:gd name="connsiteX1" fmla="*/ 3541 w 3934"/>
                <a:gd name="connsiteY1" fmla="*/ 0 h 7868"/>
                <a:gd name="connsiteX2" fmla="*/ 394 w 3934"/>
                <a:gd name="connsiteY2" fmla="*/ 1180 h 7868"/>
                <a:gd name="connsiteX3" fmla="*/ 787 w 3934"/>
                <a:gd name="connsiteY3" fmla="*/ 3934 h 7868"/>
                <a:gd name="connsiteX4" fmla="*/ 0 w 3934"/>
                <a:gd name="connsiteY4" fmla="*/ 7082 h 7868"/>
                <a:gd name="connsiteX5" fmla="*/ 1180 w 3934"/>
                <a:gd name="connsiteY5" fmla="*/ 10229 h 7868"/>
                <a:gd name="connsiteX6" fmla="*/ 3934 w 3934"/>
                <a:gd name="connsiteY6" fmla="*/ 9049 h 7868"/>
                <a:gd name="connsiteX7" fmla="*/ 3147 w 3934"/>
                <a:gd name="connsiteY7" fmla="*/ 5901 h 7868"/>
                <a:gd name="connsiteX8" fmla="*/ 3541 w 3934"/>
                <a:gd name="connsiteY8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4721" y="393"/>
                  </a:moveTo>
                  <a:lnTo>
                    <a:pt x="3541" y="0"/>
                  </a:lnTo>
                  <a:lnTo>
                    <a:pt x="394" y="1180"/>
                  </a:lnTo>
                  <a:lnTo>
                    <a:pt x="787" y="3934"/>
                  </a:lnTo>
                  <a:lnTo>
                    <a:pt x="0" y="7082"/>
                  </a:lnTo>
                  <a:lnTo>
                    <a:pt x="1180" y="10229"/>
                  </a:lnTo>
                  <a:lnTo>
                    <a:pt x="3934" y="9049"/>
                  </a:lnTo>
                  <a:lnTo>
                    <a:pt x="3147" y="5901"/>
                  </a:lnTo>
                  <a:lnTo>
                    <a:pt x="354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23" name="Freeform: Shape 2717">
              <a:extLst>
                <a:ext uri="{FF2B5EF4-FFF2-40B4-BE49-F238E27FC236}">
                  <a16:creationId xmlns:a16="http://schemas.microsoft.com/office/drawing/2014/main" id="{7AF4525C-F32F-4964-8380-FAA24B9D9C21}"/>
                </a:ext>
              </a:extLst>
            </p:cNvPr>
            <p:cNvSpPr/>
            <p:nvPr/>
          </p:nvSpPr>
          <p:spPr>
            <a:xfrm>
              <a:off x="4644256" y="1418633"/>
              <a:ext cx="7869" cy="3934"/>
            </a:xfrm>
            <a:custGeom>
              <a:avLst/>
              <a:gdLst>
                <a:gd name="connsiteX0" fmla="*/ 5901 w 7868"/>
                <a:gd name="connsiteY0" fmla="*/ 787 h 3934"/>
                <a:gd name="connsiteX1" fmla="*/ 3147 w 7868"/>
                <a:gd name="connsiteY1" fmla="*/ 1967 h 3934"/>
                <a:gd name="connsiteX2" fmla="*/ 0 w 7868"/>
                <a:gd name="connsiteY2" fmla="*/ 3541 h 3934"/>
                <a:gd name="connsiteX3" fmla="*/ 2754 w 7868"/>
                <a:gd name="connsiteY3" fmla="*/ 4721 h 3934"/>
                <a:gd name="connsiteX4" fmla="*/ 5508 w 7868"/>
                <a:gd name="connsiteY4" fmla="*/ 5115 h 3934"/>
                <a:gd name="connsiteX5" fmla="*/ 8655 w 7868"/>
                <a:gd name="connsiteY5" fmla="*/ 3147 h 3934"/>
                <a:gd name="connsiteX6" fmla="*/ 10229 w 7868"/>
                <a:gd name="connsiteY6" fmla="*/ 0 h 3934"/>
                <a:gd name="connsiteX7" fmla="*/ 9049 w 7868"/>
                <a:gd name="connsiteY7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901" y="787"/>
                  </a:moveTo>
                  <a:lnTo>
                    <a:pt x="3147" y="1967"/>
                  </a:lnTo>
                  <a:lnTo>
                    <a:pt x="0" y="3541"/>
                  </a:lnTo>
                  <a:lnTo>
                    <a:pt x="2754" y="4721"/>
                  </a:lnTo>
                  <a:lnTo>
                    <a:pt x="5508" y="5115"/>
                  </a:lnTo>
                  <a:lnTo>
                    <a:pt x="8655" y="3147"/>
                  </a:lnTo>
                  <a:lnTo>
                    <a:pt x="10229" y="0"/>
                  </a:lnTo>
                  <a:lnTo>
                    <a:pt x="9049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24" name="Freeform: Shape 2718">
              <a:extLst>
                <a:ext uri="{FF2B5EF4-FFF2-40B4-BE49-F238E27FC236}">
                  <a16:creationId xmlns:a16="http://schemas.microsoft.com/office/drawing/2014/main" id="{C2A36464-4B6A-48D4-BAD9-0E1A5436D66E}"/>
                </a:ext>
              </a:extLst>
            </p:cNvPr>
            <p:cNvSpPr/>
            <p:nvPr/>
          </p:nvSpPr>
          <p:spPr>
            <a:xfrm>
              <a:off x="4652125" y="1460337"/>
              <a:ext cx="7869" cy="3934"/>
            </a:xfrm>
            <a:custGeom>
              <a:avLst/>
              <a:gdLst>
                <a:gd name="connsiteX0" fmla="*/ 2754 w 7868"/>
                <a:gd name="connsiteY0" fmla="*/ 787 h 0"/>
                <a:gd name="connsiteX1" fmla="*/ 0 w 7868"/>
                <a:gd name="connsiteY1" fmla="*/ 1967 h 0"/>
                <a:gd name="connsiteX2" fmla="*/ 2754 w 7868"/>
                <a:gd name="connsiteY2" fmla="*/ 2361 h 0"/>
                <a:gd name="connsiteX3" fmla="*/ 5901 w 7868"/>
                <a:gd name="connsiteY3" fmla="*/ 2754 h 0"/>
                <a:gd name="connsiteX4" fmla="*/ 6688 w 7868"/>
                <a:gd name="connsiteY4" fmla="*/ 2754 h 0"/>
                <a:gd name="connsiteX5" fmla="*/ 8655 w 7868"/>
                <a:gd name="connsiteY5" fmla="*/ 0 h 0"/>
                <a:gd name="connsiteX6" fmla="*/ 5901 w 7868"/>
                <a:gd name="connsiteY6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2754" y="787"/>
                  </a:moveTo>
                  <a:lnTo>
                    <a:pt x="0" y="1967"/>
                  </a:lnTo>
                  <a:lnTo>
                    <a:pt x="2754" y="2361"/>
                  </a:lnTo>
                  <a:lnTo>
                    <a:pt x="5901" y="2754"/>
                  </a:lnTo>
                  <a:lnTo>
                    <a:pt x="6688" y="2754"/>
                  </a:lnTo>
                  <a:lnTo>
                    <a:pt x="8655" y="0"/>
                  </a:lnTo>
                  <a:lnTo>
                    <a:pt x="590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25" name="Freeform: Shape 2719">
              <a:extLst>
                <a:ext uri="{FF2B5EF4-FFF2-40B4-BE49-F238E27FC236}">
                  <a16:creationId xmlns:a16="http://schemas.microsoft.com/office/drawing/2014/main" id="{B1895F0A-A3BC-4A6D-90EC-40972E69F706}"/>
                </a:ext>
              </a:extLst>
            </p:cNvPr>
            <p:cNvSpPr/>
            <p:nvPr/>
          </p:nvSpPr>
          <p:spPr>
            <a:xfrm>
              <a:off x="4655272" y="1421781"/>
              <a:ext cx="3934" cy="3934"/>
            </a:xfrm>
            <a:custGeom>
              <a:avLst/>
              <a:gdLst>
                <a:gd name="connsiteX0" fmla="*/ 0 w 3934"/>
                <a:gd name="connsiteY0" fmla="*/ 2361 h 0"/>
                <a:gd name="connsiteX1" fmla="*/ 3147 w 3934"/>
                <a:gd name="connsiteY1" fmla="*/ 1967 h 0"/>
                <a:gd name="connsiteX2" fmla="*/ 6295 w 3934"/>
                <a:gd name="connsiteY2" fmla="*/ 0 h 0"/>
                <a:gd name="connsiteX3" fmla="*/ 2754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361"/>
                  </a:moveTo>
                  <a:lnTo>
                    <a:pt x="3147" y="1967"/>
                  </a:lnTo>
                  <a:lnTo>
                    <a:pt x="6295" y="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26" name="Freeform: Shape 2720">
              <a:extLst>
                <a:ext uri="{FF2B5EF4-FFF2-40B4-BE49-F238E27FC236}">
                  <a16:creationId xmlns:a16="http://schemas.microsoft.com/office/drawing/2014/main" id="{605E4FF8-EE7A-490F-A071-C43397214773}"/>
                </a:ext>
              </a:extLst>
            </p:cNvPr>
            <p:cNvSpPr/>
            <p:nvPr/>
          </p:nvSpPr>
          <p:spPr>
            <a:xfrm>
              <a:off x="4697369" y="1478434"/>
              <a:ext cx="3934" cy="3934"/>
            </a:xfrm>
            <a:custGeom>
              <a:avLst/>
              <a:gdLst>
                <a:gd name="connsiteX0" fmla="*/ 2360 w 3934"/>
                <a:gd name="connsiteY0" fmla="*/ 787 h 0"/>
                <a:gd name="connsiteX1" fmla="*/ 0 w 3934"/>
                <a:gd name="connsiteY1" fmla="*/ 3541 h 0"/>
                <a:gd name="connsiteX2" fmla="*/ 3147 w 3934"/>
                <a:gd name="connsiteY2" fmla="*/ 3541 h 0"/>
                <a:gd name="connsiteX3" fmla="*/ 5901 w 3934"/>
                <a:gd name="connsiteY3" fmla="*/ 2754 h 0"/>
                <a:gd name="connsiteX4" fmla="*/ 4328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2360" y="787"/>
                  </a:moveTo>
                  <a:lnTo>
                    <a:pt x="0" y="3541"/>
                  </a:lnTo>
                  <a:lnTo>
                    <a:pt x="3147" y="3541"/>
                  </a:lnTo>
                  <a:lnTo>
                    <a:pt x="5901" y="2754"/>
                  </a:lnTo>
                  <a:lnTo>
                    <a:pt x="432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27" name="Freeform: Shape 2721">
              <a:extLst>
                <a:ext uri="{FF2B5EF4-FFF2-40B4-BE49-F238E27FC236}">
                  <a16:creationId xmlns:a16="http://schemas.microsoft.com/office/drawing/2014/main" id="{0C501985-2D03-4143-9E02-7DDC103EB399}"/>
                </a:ext>
              </a:extLst>
            </p:cNvPr>
            <p:cNvSpPr/>
            <p:nvPr/>
          </p:nvSpPr>
          <p:spPr>
            <a:xfrm>
              <a:off x="4698943" y="1486696"/>
              <a:ext cx="7869" cy="3934"/>
            </a:xfrm>
            <a:custGeom>
              <a:avLst/>
              <a:gdLst>
                <a:gd name="connsiteX0" fmla="*/ 3541 w 7868"/>
                <a:gd name="connsiteY0" fmla="*/ 1967 h 0"/>
                <a:gd name="connsiteX1" fmla="*/ 6688 w 7868"/>
                <a:gd name="connsiteY1" fmla="*/ 2361 h 0"/>
                <a:gd name="connsiteX2" fmla="*/ 9049 w 7868"/>
                <a:gd name="connsiteY2" fmla="*/ 1574 h 0"/>
                <a:gd name="connsiteX3" fmla="*/ 6295 w 7868"/>
                <a:gd name="connsiteY3" fmla="*/ 787 h 0"/>
                <a:gd name="connsiteX4" fmla="*/ 3147 w 7868"/>
                <a:gd name="connsiteY4" fmla="*/ 0 h 0"/>
                <a:gd name="connsiteX5" fmla="*/ 0 w 7868"/>
                <a:gd name="connsiteY5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3541" y="1967"/>
                  </a:moveTo>
                  <a:lnTo>
                    <a:pt x="6688" y="2361"/>
                  </a:lnTo>
                  <a:lnTo>
                    <a:pt x="9049" y="1574"/>
                  </a:lnTo>
                  <a:lnTo>
                    <a:pt x="6295" y="787"/>
                  </a:lnTo>
                  <a:lnTo>
                    <a:pt x="3147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28" name="Freeform: Shape 2722">
              <a:extLst>
                <a:ext uri="{FF2B5EF4-FFF2-40B4-BE49-F238E27FC236}">
                  <a16:creationId xmlns:a16="http://schemas.microsoft.com/office/drawing/2014/main" id="{6B586DB7-C2AC-4E12-B30C-95A2FB25B7D3}"/>
                </a:ext>
              </a:extLst>
            </p:cNvPr>
            <p:cNvSpPr/>
            <p:nvPr/>
          </p:nvSpPr>
          <p:spPr>
            <a:xfrm>
              <a:off x="4699729" y="1534301"/>
              <a:ext cx="3934" cy="3934"/>
            </a:xfrm>
            <a:custGeom>
              <a:avLst/>
              <a:gdLst>
                <a:gd name="connsiteX0" fmla="*/ 0 w 3934"/>
                <a:gd name="connsiteY0" fmla="*/ 393 h 0"/>
                <a:gd name="connsiteX1" fmla="*/ 1967 w 3934"/>
                <a:gd name="connsiteY1" fmla="*/ 3541 h 0"/>
                <a:gd name="connsiteX2" fmla="*/ 4721 w 3934"/>
                <a:gd name="connsiteY2" fmla="*/ 2754 h 0"/>
                <a:gd name="connsiteX3" fmla="*/ 5115 w 3934"/>
                <a:gd name="connsiteY3" fmla="*/ 0 h 0"/>
                <a:gd name="connsiteX4" fmla="*/ 2754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393"/>
                  </a:moveTo>
                  <a:lnTo>
                    <a:pt x="1967" y="3541"/>
                  </a:lnTo>
                  <a:lnTo>
                    <a:pt x="4721" y="2754"/>
                  </a:lnTo>
                  <a:lnTo>
                    <a:pt x="5115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29" name="Freeform: Shape 2723">
              <a:extLst>
                <a:ext uri="{FF2B5EF4-FFF2-40B4-BE49-F238E27FC236}">
                  <a16:creationId xmlns:a16="http://schemas.microsoft.com/office/drawing/2014/main" id="{1467B5CD-E6BA-4B0F-99A4-F0E0C0C6D5AD}"/>
                </a:ext>
              </a:extLst>
            </p:cNvPr>
            <p:cNvSpPr/>
            <p:nvPr/>
          </p:nvSpPr>
          <p:spPr>
            <a:xfrm>
              <a:off x="4714286" y="1491417"/>
              <a:ext cx="11803" cy="3934"/>
            </a:xfrm>
            <a:custGeom>
              <a:avLst/>
              <a:gdLst>
                <a:gd name="connsiteX0" fmla="*/ 5508 w 11802"/>
                <a:gd name="connsiteY0" fmla="*/ 1574 h 3934"/>
                <a:gd name="connsiteX1" fmla="*/ 2754 w 11802"/>
                <a:gd name="connsiteY1" fmla="*/ 2361 h 3934"/>
                <a:gd name="connsiteX2" fmla="*/ 0 w 11802"/>
                <a:gd name="connsiteY2" fmla="*/ 3541 h 3934"/>
                <a:gd name="connsiteX3" fmla="*/ 0 w 11802"/>
                <a:gd name="connsiteY3" fmla="*/ 3934 h 3934"/>
                <a:gd name="connsiteX4" fmla="*/ 3147 w 11802"/>
                <a:gd name="connsiteY4" fmla="*/ 4328 h 3934"/>
                <a:gd name="connsiteX5" fmla="*/ 5901 w 11802"/>
                <a:gd name="connsiteY5" fmla="*/ 3147 h 3934"/>
                <a:gd name="connsiteX6" fmla="*/ 8655 w 11802"/>
                <a:gd name="connsiteY6" fmla="*/ 2361 h 3934"/>
                <a:gd name="connsiteX7" fmla="*/ 11803 w 11802"/>
                <a:gd name="connsiteY7" fmla="*/ 0 h 3934"/>
                <a:gd name="connsiteX8" fmla="*/ 8655 w 11802"/>
                <a:gd name="connsiteY8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 h="3934">
                  <a:moveTo>
                    <a:pt x="5508" y="1574"/>
                  </a:moveTo>
                  <a:lnTo>
                    <a:pt x="2754" y="2361"/>
                  </a:lnTo>
                  <a:lnTo>
                    <a:pt x="0" y="3541"/>
                  </a:lnTo>
                  <a:lnTo>
                    <a:pt x="0" y="3934"/>
                  </a:lnTo>
                  <a:lnTo>
                    <a:pt x="3147" y="4328"/>
                  </a:lnTo>
                  <a:lnTo>
                    <a:pt x="5901" y="3147"/>
                  </a:lnTo>
                  <a:lnTo>
                    <a:pt x="8655" y="2361"/>
                  </a:lnTo>
                  <a:lnTo>
                    <a:pt x="11803" y="0"/>
                  </a:lnTo>
                  <a:lnTo>
                    <a:pt x="865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30" name="Freeform: Shape 2724">
              <a:extLst>
                <a:ext uri="{FF2B5EF4-FFF2-40B4-BE49-F238E27FC236}">
                  <a16:creationId xmlns:a16="http://schemas.microsoft.com/office/drawing/2014/main" id="{57E0CB05-DAE6-405F-8A87-DC192D346030}"/>
                </a:ext>
              </a:extLst>
            </p:cNvPr>
            <p:cNvSpPr/>
            <p:nvPr/>
          </p:nvSpPr>
          <p:spPr>
            <a:xfrm>
              <a:off x="4560063" y="1687737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2754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2754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31" name="Freeform: Shape 2725">
              <a:extLst>
                <a:ext uri="{FF2B5EF4-FFF2-40B4-BE49-F238E27FC236}">
                  <a16:creationId xmlns:a16="http://schemas.microsoft.com/office/drawing/2014/main" id="{2EC91C2F-4299-4783-AB4D-88DA4E30AFAE}"/>
                </a:ext>
              </a:extLst>
            </p:cNvPr>
            <p:cNvSpPr/>
            <p:nvPr/>
          </p:nvSpPr>
          <p:spPr>
            <a:xfrm>
              <a:off x="4465247" y="1690884"/>
              <a:ext cx="15737" cy="7869"/>
            </a:xfrm>
            <a:custGeom>
              <a:avLst/>
              <a:gdLst>
                <a:gd name="connsiteX0" fmla="*/ 13377 w 15737"/>
                <a:gd name="connsiteY0" fmla="*/ 0 h 7868"/>
                <a:gd name="connsiteX1" fmla="*/ 10229 w 15737"/>
                <a:gd name="connsiteY1" fmla="*/ 1180 h 7868"/>
                <a:gd name="connsiteX2" fmla="*/ 7475 w 15737"/>
                <a:gd name="connsiteY2" fmla="*/ 3934 h 7868"/>
                <a:gd name="connsiteX3" fmla="*/ 4721 w 15737"/>
                <a:gd name="connsiteY3" fmla="*/ 5508 h 7868"/>
                <a:gd name="connsiteX4" fmla="*/ 1574 w 15737"/>
                <a:gd name="connsiteY4" fmla="*/ 8262 h 7868"/>
                <a:gd name="connsiteX5" fmla="*/ 0 w 15737"/>
                <a:gd name="connsiteY5" fmla="*/ 11016 h 7868"/>
                <a:gd name="connsiteX6" fmla="*/ 3147 w 15737"/>
                <a:gd name="connsiteY6" fmla="*/ 11016 h 7868"/>
                <a:gd name="connsiteX7" fmla="*/ 5901 w 15737"/>
                <a:gd name="connsiteY7" fmla="*/ 10229 h 7868"/>
                <a:gd name="connsiteX8" fmla="*/ 8655 w 15737"/>
                <a:gd name="connsiteY8" fmla="*/ 9049 h 7868"/>
                <a:gd name="connsiteX9" fmla="*/ 11803 w 15737"/>
                <a:gd name="connsiteY9" fmla="*/ 8262 h 7868"/>
                <a:gd name="connsiteX10" fmla="*/ 14950 w 15737"/>
                <a:gd name="connsiteY10" fmla="*/ 6295 h 7868"/>
                <a:gd name="connsiteX11" fmla="*/ 17311 w 15737"/>
                <a:gd name="connsiteY11" fmla="*/ 3541 h 7868"/>
                <a:gd name="connsiteX12" fmla="*/ 15737 w 15737"/>
                <a:gd name="connsiteY12" fmla="*/ 78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7868">
                  <a:moveTo>
                    <a:pt x="13377" y="0"/>
                  </a:moveTo>
                  <a:lnTo>
                    <a:pt x="10229" y="1180"/>
                  </a:lnTo>
                  <a:lnTo>
                    <a:pt x="7475" y="3934"/>
                  </a:lnTo>
                  <a:lnTo>
                    <a:pt x="4721" y="5508"/>
                  </a:lnTo>
                  <a:lnTo>
                    <a:pt x="1574" y="8262"/>
                  </a:lnTo>
                  <a:lnTo>
                    <a:pt x="0" y="11016"/>
                  </a:lnTo>
                  <a:lnTo>
                    <a:pt x="3147" y="11016"/>
                  </a:lnTo>
                  <a:lnTo>
                    <a:pt x="5901" y="10229"/>
                  </a:lnTo>
                  <a:lnTo>
                    <a:pt x="8655" y="9049"/>
                  </a:lnTo>
                  <a:lnTo>
                    <a:pt x="11803" y="8262"/>
                  </a:lnTo>
                  <a:lnTo>
                    <a:pt x="14950" y="6295"/>
                  </a:lnTo>
                  <a:lnTo>
                    <a:pt x="17311" y="3541"/>
                  </a:lnTo>
                  <a:lnTo>
                    <a:pt x="1573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32" name="Freeform: Shape 2726">
              <a:extLst>
                <a:ext uri="{FF2B5EF4-FFF2-40B4-BE49-F238E27FC236}">
                  <a16:creationId xmlns:a16="http://schemas.microsoft.com/office/drawing/2014/main" id="{6F2985BB-C348-4A07-A391-5193DA3A03D3}"/>
                </a:ext>
              </a:extLst>
            </p:cNvPr>
            <p:cNvSpPr/>
            <p:nvPr/>
          </p:nvSpPr>
          <p:spPr>
            <a:xfrm>
              <a:off x="4550621" y="1651935"/>
              <a:ext cx="3934" cy="3934"/>
            </a:xfrm>
            <a:custGeom>
              <a:avLst/>
              <a:gdLst>
                <a:gd name="connsiteX0" fmla="*/ 5508 w 3934"/>
                <a:gd name="connsiteY0" fmla="*/ 0 h 0"/>
                <a:gd name="connsiteX1" fmla="*/ 2754 w 3934"/>
                <a:gd name="connsiteY1" fmla="*/ 393 h 0"/>
                <a:gd name="connsiteX2" fmla="*/ 0 w 3934"/>
                <a:gd name="connsiteY2" fmla="*/ 1967 h 0"/>
                <a:gd name="connsiteX3" fmla="*/ 2754 w 3934"/>
                <a:gd name="connsiteY3" fmla="*/ 2361 h 0"/>
                <a:gd name="connsiteX4" fmla="*/ 5901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508" y="0"/>
                  </a:moveTo>
                  <a:lnTo>
                    <a:pt x="2754" y="393"/>
                  </a:lnTo>
                  <a:lnTo>
                    <a:pt x="0" y="1967"/>
                  </a:lnTo>
                  <a:lnTo>
                    <a:pt x="2754" y="2361"/>
                  </a:lnTo>
                  <a:lnTo>
                    <a:pt x="590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33" name="Freeform: Shape 2727">
              <a:extLst>
                <a:ext uri="{FF2B5EF4-FFF2-40B4-BE49-F238E27FC236}">
                  <a16:creationId xmlns:a16="http://schemas.microsoft.com/office/drawing/2014/main" id="{FA2F74DA-2C20-4062-BCB7-59BF8A349376}"/>
                </a:ext>
              </a:extLst>
            </p:cNvPr>
            <p:cNvSpPr/>
            <p:nvPr/>
          </p:nvSpPr>
          <p:spPr>
            <a:xfrm>
              <a:off x="4568718" y="1648788"/>
              <a:ext cx="3934" cy="3934"/>
            </a:xfrm>
            <a:custGeom>
              <a:avLst/>
              <a:gdLst>
                <a:gd name="connsiteX0" fmla="*/ 5901 w 3934"/>
                <a:gd name="connsiteY0" fmla="*/ 6688 h 3934"/>
                <a:gd name="connsiteX1" fmla="*/ 5508 w 3934"/>
                <a:gd name="connsiteY1" fmla="*/ 3541 h 3934"/>
                <a:gd name="connsiteX2" fmla="*/ 4721 w 3934"/>
                <a:gd name="connsiteY2" fmla="*/ 787 h 3934"/>
                <a:gd name="connsiteX3" fmla="*/ 3147 w 3934"/>
                <a:gd name="connsiteY3" fmla="*/ 0 h 3934"/>
                <a:gd name="connsiteX4" fmla="*/ 0 w 3934"/>
                <a:gd name="connsiteY4" fmla="*/ 1180 h 3934"/>
                <a:gd name="connsiteX5" fmla="*/ 0 w 3934"/>
                <a:gd name="connsiteY5" fmla="*/ 3934 h 3934"/>
                <a:gd name="connsiteX6" fmla="*/ 2754 w 3934"/>
                <a:gd name="connsiteY6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5901" y="6688"/>
                  </a:moveTo>
                  <a:lnTo>
                    <a:pt x="5508" y="3541"/>
                  </a:lnTo>
                  <a:lnTo>
                    <a:pt x="4721" y="787"/>
                  </a:lnTo>
                  <a:lnTo>
                    <a:pt x="3147" y="0"/>
                  </a:lnTo>
                  <a:lnTo>
                    <a:pt x="0" y="1180"/>
                  </a:lnTo>
                  <a:lnTo>
                    <a:pt x="0" y="3934"/>
                  </a:lnTo>
                  <a:lnTo>
                    <a:pt x="2754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34" name="Freeform: Shape 2728">
              <a:extLst>
                <a:ext uri="{FF2B5EF4-FFF2-40B4-BE49-F238E27FC236}">
                  <a16:creationId xmlns:a16="http://schemas.microsoft.com/office/drawing/2014/main" id="{260E2ACB-CA7E-4ADD-A50D-5784480AF77D}"/>
                </a:ext>
              </a:extLst>
            </p:cNvPr>
            <p:cNvSpPr/>
            <p:nvPr/>
          </p:nvSpPr>
          <p:spPr>
            <a:xfrm>
              <a:off x="4216208" y="1302966"/>
              <a:ext cx="523257" cy="346215"/>
            </a:xfrm>
            <a:custGeom>
              <a:avLst/>
              <a:gdLst>
                <a:gd name="connsiteX0" fmla="*/ 517749 w 523257"/>
                <a:gd name="connsiteY0" fmla="*/ 206942 h 346215"/>
                <a:gd name="connsiteX1" fmla="*/ 520503 w 523257"/>
                <a:gd name="connsiteY1" fmla="*/ 207336 h 346215"/>
                <a:gd name="connsiteX2" fmla="*/ 523257 w 523257"/>
                <a:gd name="connsiteY2" fmla="*/ 206549 h 346215"/>
                <a:gd name="connsiteX3" fmla="*/ 526011 w 523257"/>
                <a:gd name="connsiteY3" fmla="*/ 204975 h 346215"/>
                <a:gd name="connsiteX4" fmla="*/ 525618 w 523257"/>
                <a:gd name="connsiteY4" fmla="*/ 202221 h 346215"/>
                <a:gd name="connsiteX5" fmla="*/ 522864 w 523257"/>
                <a:gd name="connsiteY5" fmla="*/ 199467 h 346215"/>
                <a:gd name="connsiteX6" fmla="*/ 519716 w 523257"/>
                <a:gd name="connsiteY6" fmla="*/ 199074 h 346215"/>
                <a:gd name="connsiteX7" fmla="*/ 522864 w 523257"/>
                <a:gd name="connsiteY7" fmla="*/ 197893 h 346215"/>
                <a:gd name="connsiteX8" fmla="*/ 520110 w 523257"/>
                <a:gd name="connsiteY8" fmla="*/ 197500 h 346215"/>
                <a:gd name="connsiteX9" fmla="*/ 516962 w 523257"/>
                <a:gd name="connsiteY9" fmla="*/ 197107 h 346215"/>
                <a:gd name="connsiteX10" fmla="*/ 514208 w 523257"/>
                <a:gd name="connsiteY10" fmla="*/ 197500 h 346215"/>
                <a:gd name="connsiteX11" fmla="*/ 516962 w 523257"/>
                <a:gd name="connsiteY11" fmla="*/ 196713 h 346215"/>
                <a:gd name="connsiteX12" fmla="*/ 520110 w 523257"/>
                <a:gd name="connsiteY12" fmla="*/ 196713 h 346215"/>
                <a:gd name="connsiteX13" fmla="*/ 517356 w 523257"/>
                <a:gd name="connsiteY13" fmla="*/ 194746 h 346215"/>
                <a:gd name="connsiteX14" fmla="*/ 514208 w 523257"/>
                <a:gd name="connsiteY14" fmla="*/ 196713 h 346215"/>
                <a:gd name="connsiteX15" fmla="*/ 515782 w 523257"/>
                <a:gd name="connsiteY15" fmla="*/ 193959 h 346215"/>
                <a:gd name="connsiteX16" fmla="*/ 513028 w 523257"/>
                <a:gd name="connsiteY16" fmla="*/ 192385 h 346215"/>
                <a:gd name="connsiteX17" fmla="*/ 510274 w 523257"/>
                <a:gd name="connsiteY17" fmla="*/ 194746 h 346215"/>
                <a:gd name="connsiteX18" fmla="*/ 507127 w 523257"/>
                <a:gd name="connsiteY18" fmla="*/ 195926 h 346215"/>
                <a:gd name="connsiteX19" fmla="*/ 505553 w 523257"/>
                <a:gd name="connsiteY19" fmla="*/ 198680 h 346215"/>
                <a:gd name="connsiteX20" fmla="*/ 505553 w 523257"/>
                <a:gd name="connsiteY20" fmla="*/ 201434 h 346215"/>
                <a:gd name="connsiteX21" fmla="*/ 503979 w 523257"/>
                <a:gd name="connsiteY21" fmla="*/ 198680 h 346215"/>
                <a:gd name="connsiteX22" fmla="*/ 503586 w 523257"/>
                <a:gd name="connsiteY22" fmla="*/ 195926 h 346215"/>
                <a:gd name="connsiteX23" fmla="*/ 500832 w 523257"/>
                <a:gd name="connsiteY23" fmla="*/ 195533 h 346215"/>
                <a:gd name="connsiteX24" fmla="*/ 498078 w 523257"/>
                <a:gd name="connsiteY24" fmla="*/ 197893 h 346215"/>
                <a:gd name="connsiteX25" fmla="*/ 495324 w 523257"/>
                <a:gd name="connsiteY25" fmla="*/ 200647 h 346215"/>
                <a:gd name="connsiteX26" fmla="*/ 492570 w 523257"/>
                <a:gd name="connsiteY26" fmla="*/ 203401 h 346215"/>
                <a:gd name="connsiteX27" fmla="*/ 490996 w 523257"/>
                <a:gd name="connsiteY27" fmla="*/ 203401 h 346215"/>
                <a:gd name="connsiteX28" fmla="*/ 494144 w 523257"/>
                <a:gd name="connsiteY28" fmla="*/ 200647 h 346215"/>
                <a:gd name="connsiteX29" fmla="*/ 496504 w 523257"/>
                <a:gd name="connsiteY29" fmla="*/ 197893 h 346215"/>
                <a:gd name="connsiteX30" fmla="*/ 497684 w 523257"/>
                <a:gd name="connsiteY30" fmla="*/ 194746 h 346215"/>
                <a:gd name="connsiteX31" fmla="*/ 494930 w 523257"/>
                <a:gd name="connsiteY31" fmla="*/ 194746 h 346215"/>
                <a:gd name="connsiteX32" fmla="*/ 492176 w 523257"/>
                <a:gd name="connsiteY32" fmla="*/ 195533 h 346215"/>
                <a:gd name="connsiteX33" fmla="*/ 489422 w 523257"/>
                <a:gd name="connsiteY33" fmla="*/ 196320 h 346215"/>
                <a:gd name="connsiteX34" fmla="*/ 486275 w 523257"/>
                <a:gd name="connsiteY34" fmla="*/ 196713 h 346215"/>
                <a:gd name="connsiteX35" fmla="*/ 484701 w 523257"/>
                <a:gd name="connsiteY35" fmla="*/ 198680 h 346215"/>
                <a:gd name="connsiteX36" fmla="*/ 481554 w 523257"/>
                <a:gd name="connsiteY36" fmla="*/ 196320 h 346215"/>
                <a:gd name="connsiteX37" fmla="*/ 484701 w 523257"/>
                <a:gd name="connsiteY37" fmla="*/ 195926 h 346215"/>
                <a:gd name="connsiteX38" fmla="*/ 487849 w 523257"/>
                <a:gd name="connsiteY38" fmla="*/ 195533 h 346215"/>
                <a:gd name="connsiteX39" fmla="*/ 490603 w 523257"/>
                <a:gd name="connsiteY39" fmla="*/ 193172 h 346215"/>
                <a:gd name="connsiteX40" fmla="*/ 491390 w 523257"/>
                <a:gd name="connsiteY40" fmla="*/ 190418 h 346215"/>
                <a:gd name="connsiteX41" fmla="*/ 494537 w 523257"/>
                <a:gd name="connsiteY41" fmla="*/ 189631 h 346215"/>
                <a:gd name="connsiteX42" fmla="*/ 497291 w 523257"/>
                <a:gd name="connsiteY42" fmla="*/ 188845 h 346215"/>
                <a:gd name="connsiteX43" fmla="*/ 500045 w 523257"/>
                <a:gd name="connsiteY43" fmla="*/ 186091 h 346215"/>
                <a:gd name="connsiteX44" fmla="*/ 496898 w 523257"/>
                <a:gd name="connsiteY44" fmla="*/ 184517 h 346215"/>
                <a:gd name="connsiteX45" fmla="*/ 493750 w 523257"/>
                <a:gd name="connsiteY45" fmla="*/ 186878 h 346215"/>
                <a:gd name="connsiteX46" fmla="*/ 490996 w 523257"/>
                <a:gd name="connsiteY46" fmla="*/ 187271 h 346215"/>
                <a:gd name="connsiteX47" fmla="*/ 488242 w 523257"/>
                <a:gd name="connsiteY47" fmla="*/ 190025 h 346215"/>
                <a:gd name="connsiteX48" fmla="*/ 485488 w 523257"/>
                <a:gd name="connsiteY48" fmla="*/ 191599 h 346215"/>
                <a:gd name="connsiteX49" fmla="*/ 482341 w 523257"/>
                <a:gd name="connsiteY49" fmla="*/ 192385 h 346215"/>
                <a:gd name="connsiteX50" fmla="*/ 479193 w 523257"/>
                <a:gd name="connsiteY50" fmla="*/ 193172 h 346215"/>
                <a:gd name="connsiteX51" fmla="*/ 482341 w 523257"/>
                <a:gd name="connsiteY51" fmla="*/ 191599 h 346215"/>
                <a:gd name="connsiteX52" fmla="*/ 485095 w 523257"/>
                <a:gd name="connsiteY52" fmla="*/ 190418 h 346215"/>
                <a:gd name="connsiteX53" fmla="*/ 488242 w 523257"/>
                <a:gd name="connsiteY53" fmla="*/ 188451 h 346215"/>
                <a:gd name="connsiteX54" fmla="*/ 485095 w 523257"/>
                <a:gd name="connsiteY54" fmla="*/ 186878 h 346215"/>
                <a:gd name="connsiteX55" fmla="*/ 482341 w 523257"/>
                <a:gd name="connsiteY55" fmla="*/ 187271 h 346215"/>
                <a:gd name="connsiteX56" fmla="*/ 479587 w 523257"/>
                <a:gd name="connsiteY56" fmla="*/ 186878 h 346215"/>
                <a:gd name="connsiteX57" fmla="*/ 476439 w 523257"/>
                <a:gd name="connsiteY57" fmla="*/ 188451 h 346215"/>
                <a:gd name="connsiteX58" fmla="*/ 473292 w 523257"/>
                <a:gd name="connsiteY58" fmla="*/ 188451 h 346215"/>
                <a:gd name="connsiteX59" fmla="*/ 470538 w 523257"/>
                <a:gd name="connsiteY59" fmla="*/ 188845 h 346215"/>
                <a:gd name="connsiteX60" fmla="*/ 467784 w 523257"/>
                <a:gd name="connsiteY60" fmla="*/ 189631 h 346215"/>
                <a:gd name="connsiteX61" fmla="*/ 464637 w 523257"/>
                <a:gd name="connsiteY61" fmla="*/ 189631 h 346215"/>
                <a:gd name="connsiteX62" fmla="*/ 461489 w 523257"/>
                <a:gd name="connsiteY62" fmla="*/ 190812 h 346215"/>
                <a:gd name="connsiteX63" fmla="*/ 463850 w 523257"/>
                <a:gd name="connsiteY63" fmla="*/ 189238 h 346215"/>
                <a:gd name="connsiteX64" fmla="*/ 465817 w 523257"/>
                <a:gd name="connsiteY64" fmla="*/ 188845 h 346215"/>
                <a:gd name="connsiteX65" fmla="*/ 468571 w 523257"/>
                <a:gd name="connsiteY65" fmla="*/ 188451 h 346215"/>
                <a:gd name="connsiteX66" fmla="*/ 471325 w 523257"/>
                <a:gd name="connsiteY66" fmla="*/ 188058 h 346215"/>
                <a:gd name="connsiteX67" fmla="*/ 474079 w 523257"/>
                <a:gd name="connsiteY67" fmla="*/ 187664 h 346215"/>
                <a:gd name="connsiteX68" fmla="*/ 477226 w 523257"/>
                <a:gd name="connsiteY68" fmla="*/ 186878 h 346215"/>
                <a:gd name="connsiteX69" fmla="*/ 474079 w 523257"/>
                <a:gd name="connsiteY69" fmla="*/ 186091 h 346215"/>
                <a:gd name="connsiteX70" fmla="*/ 471325 w 523257"/>
                <a:gd name="connsiteY70" fmla="*/ 186878 h 346215"/>
                <a:gd name="connsiteX71" fmla="*/ 468177 w 523257"/>
                <a:gd name="connsiteY71" fmla="*/ 187271 h 346215"/>
                <a:gd name="connsiteX72" fmla="*/ 466604 w 523257"/>
                <a:gd name="connsiteY72" fmla="*/ 187271 h 346215"/>
                <a:gd name="connsiteX73" fmla="*/ 467391 w 523257"/>
                <a:gd name="connsiteY73" fmla="*/ 186878 h 346215"/>
                <a:gd name="connsiteX74" fmla="*/ 468177 w 523257"/>
                <a:gd name="connsiteY74" fmla="*/ 186878 h 346215"/>
                <a:gd name="connsiteX75" fmla="*/ 471325 w 523257"/>
                <a:gd name="connsiteY75" fmla="*/ 186484 h 346215"/>
                <a:gd name="connsiteX76" fmla="*/ 469358 w 523257"/>
                <a:gd name="connsiteY76" fmla="*/ 185697 h 346215"/>
                <a:gd name="connsiteX77" fmla="*/ 470538 w 523257"/>
                <a:gd name="connsiteY77" fmla="*/ 184910 h 346215"/>
                <a:gd name="connsiteX78" fmla="*/ 474472 w 523257"/>
                <a:gd name="connsiteY78" fmla="*/ 185304 h 346215"/>
                <a:gd name="connsiteX79" fmla="*/ 477620 w 523257"/>
                <a:gd name="connsiteY79" fmla="*/ 185697 h 346215"/>
                <a:gd name="connsiteX80" fmla="*/ 480374 w 523257"/>
                <a:gd name="connsiteY80" fmla="*/ 184124 h 346215"/>
                <a:gd name="connsiteX81" fmla="*/ 479980 w 523257"/>
                <a:gd name="connsiteY81" fmla="*/ 181370 h 346215"/>
                <a:gd name="connsiteX82" fmla="*/ 476833 w 523257"/>
                <a:gd name="connsiteY82" fmla="*/ 181370 h 346215"/>
                <a:gd name="connsiteX83" fmla="*/ 475652 w 523257"/>
                <a:gd name="connsiteY83" fmla="*/ 181370 h 346215"/>
                <a:gd name="connsiteX84" fmla="*/ 476439 w 523257"/>
                <a:gd name="connsiteY84" fmla="*/ 180976 h 346215"/>
                <a:gd name="connsiteX85" fmla="*/ 476833 w 523257"/>
                <a:gd name="connsiteY85" fmla="*/ 180976 h 346215"/>
                <a:gd name="connsiteX86" fmla="*/ 479980 w 523257"/>
                <a:gd name="connsiteY86" fmla="*/ 179796 h 346215"/>
                <a:gd name="connsiteX87" fmla="*/ 481554 w 523257"/>
                <a:gd name="connsiteY87" fmla="*/ 177435 h 346215"/>
                <a:gd name="connsiteX88" fmla="*/ 478800 w 523257"/>
                <a:gd name="connsiteY88" fmla="*/ 176648 h 346215"/>
                <a:gd name="connsiteX89" fmla="*/ 479193 w 523257"/>
                <a:gd name="connsiteY89" fmla="*/ 174288 h 346215"/>
                <a:gd name="connsiteX90" fmla="*/ 476046 w 523257"/>
                <a:gd name="connsiteY90" fmla="*/ 174681 h 346215"/>
                <a:gd name="connsiteX91" fmla="*/ 473292 w 523257"/>
                <a:gd name="connsiteY91" fmla="*/ 175075 h 346215"/>
                <a:gd name="connsiteX92" fmla="*/ 473292 w 523257"/>
                <a:gd name="connsiteY92" fmla="*/ 175075 h 346215"/>
                <a:gd name="connsiteX93" fmla="*/ 472505 w 523257"/>
                <a:gd name="connsiteY93" fmla="*/ 174681 h 346215"/>
                <a:gd name="connsiteX94" fmla="*/ 473292 w 523257"/>
                <a:gd name="connsiteY94" fmla="*/ 174288 h 346215"/>
                <a:gd name="connsiteX95" fmla="*/ 476046 w 523257"/>
                <a:gd name="connsiteY95" fmla="*/ 173894 h 346215"/>
                <a:gd name="connsiteX96" fmla="*/ 475259 w 523257"/>
                <a:gd name="connsiteY96" fmla="*/ 171140 h 346215"/>
                <a:gd name="connsiteX97" fmla="*/ 472505 w 523257"/>
                <a:gd name="connsiteY97" fmla="*/ 170747 h 346215"/>
                <a:gd name="connsiteX98" fmla="*/ 469751 w 523257"/>
                <a:gd name="connsiteY98" fmla="*/ 171927 h 346215"/>
                <a:gd name="connsiteX99" fmla="*/ 467784 w 523257"/>
                <a:gd name="connsiteY99" fmla="*/ 173501 h 346215"/>
                <a:gd name="connsiteX100" fmla="*/ 466604 w 523257"/>
                <a:gd name="connsiteY100" fmla="*/ 173108 h 346215"/>
                <a:gd name="connsiteX101" fmla="*/ 466604 w 523257"/>
                <a:gd name="connsiteY101" fmla="*/ 171534 h 346215"/>
                <a:gd name="connsiteX102" fmla="*/ 463456 w 523257"/>
                <a:gd name="connsiteY102" fmla="*/ 171927 h 346215"/>
                <a:gd name="connsiteX103" fmla="*/ 463456 w 523257"/>
                <a:gd name="connsiteY103" fmla="*/ 171927 h 346215"/>
                <a:gd name="connsiteX104" fmla="*/ 462669 w 523257"/>
                <a:gd name="connsiteY104" fmla="*/ 171927 h 346215"/>
                <a:gd name="connsiteX105" fmla="*/ 465423 w 523257"/>
                <a:gd name="connsiteY105" fmla="*/ 168780 h 346215"/>
                <a:gd name="connsiteX106" fmla="*/ 468177 w 523257"/>
                <a:gd name="connsiteY106" fmla="*/ 167206 h 346215"/>
                <a:gd name="connsiteX107" fmla="*/ 471325 w 523257"/>
                <a:gd name="connsiteY107" fmla="*/ 166813 h 346215"/>
                <a:gd name="connsiteX108" fmla="*/ 468571 w 523257"/>
                <a:gd name="connsiteY108" fmla="*/ 164059 h 346215"/>
                <a:gd name="connsiteX109" fmla="*/ 465817 w 523257"/>
                <a:gd name="connsiteY109" fmla="*/ 164846 h 346215"/>
                <a:gd name="connsiteX110" fmla="*/ 462669 w 523257"/>
                <a:gd name="connsiteY110" fmla="*/ 166813 h 346215"/>
                <a:gd name="connsiteX111" fmla="*/ 459522 w 523257"/>
                <a:gd name="connsiteY111" fmla="*/ 167206 h 346215"/>
                <a:gd name="connsiteX112" fmla="*/ 456375 w 523257"/>
                <a:gd name="connsiteY112" fmla="*/ 167993 h 346215"/>
                <a:gd name="connsiteX113" fmla="*/ 454408 w 523257"/>
                <a:gd name="connsiteY113" fmla="*/ 169567 h 346215"/>
                <a:gd name="connsiteX114" fmla="*/ 453621 w 523257"/>
                <a:gd name="connsiteY114" fmla="*/ 169173 h 346215"/>
                <a:gd name="connsiteX115" fmla="*/ 455588 w 523257"/>
                <a:gd name="connsiteY115" fmla="*/ 167600 h 346215"/>
                <a:gd name="connsiteX116" fmla="*/ 452834 w 523257"/>
                <a:gd name="connsiteY116" fmla="*/ 165239 h 346215"/>
                <a:gd name="connsiteX117" fmla="*/ 450080 w 523257"/>
                <a:gd name="connsiteY117" fmla="*/ 165632 h 346215"/>
                <a:gd name="connsiteX118" fmla="*/ 448899 w 523257"/>
                <a:gd name="connsiteY118" fmla="*/ 167600 h 346215"/>
                <a:gd name="connsiteX119" fmla="*/ 444965 w 523257"/>
                <a:gd name="connsiteY119" fmla="*/ 166419 h 346215"/>
                <a:gd name="connsiteX120" fmla="*/ 444965 w 523257"/>
                <a:gd name="connsiteY120" fmla="*/ 166419 h 346215"/>
                <a:gd name="connsiteX121" fmla="*/ 444572 w 523257"/>
                <a:gd name="connsiteY121" fmla="*/ 166419 h 346215"/>
                <a:gd name="connsiteX122" fmla="*/ 450080 w 523257"/>
                <a:gd name="connsiteY122" fmla="*/ 162879 h 346215"/>
                <a:gd name="connsiteX123" fmla="*/ 450473 w 523257"/>
                <a:gd name="connsiteY123" fmla="*/ 160125 h 346215"/>
                <a:gd name="connsiteX124" fmla="*/ 447719 w 523257"/>
                <a:gd name="connsiteY124" fmla="*/ 162879 h 346215"/>
                <a:gd name="connsiteX125" fmla="*/ 444965 w 523257"/>
                <a:gd name="connsiteY125" fmla="*/ 164059 h 346215"/>
                <a:gd name="connsiteX126" fmla="*/ 442211 w 523257"/>
                <a:gd name="connsiteY126" fmla="*/ 165632 h 346215"/>
                <a:gd name="connsiteX127" fmla="*/ 439851 w 523257"/>
                <a:gd name="connsiteY127" fmla="*/ 165632 h 346215"/>
                <a:gd name="connsiteX128" fmla="*/ 436703 w 523257"/>
                <a:gd name="connsiteY128" fmla="*/ 167600 h 346215"/>
                <a:gd name="connsiteX129" fmla="*/ 435916 w 523257"/>
                <a:gd name="connsiteY129" fmla="*/ 168386 h 346215"/>
                <a:gd name="connsiteX130" fmla="*/ 431982 w 523257"/>
                <a:gd name="connsiteY130" fmla="*/ 169567 h 346215"/>
                <a:gd name="connsiteX131" fmla="*/ 431589 w 523257"/>
                <a:gd name="connsiteY131" fmla="*/ 168780 h 346215"/>
                <a:gd name="connsiteX132" fmla="*/ 431982 w 523257"/>
                <a:gd name="connsiteY132" fmla="*/ 168780 h 346215"/>
                <a:gd name="connsiteX133" fmla="*/ 434736 w 523257"/>
                <a:gd name="connsiteY133" fmla="*/ 168386 h 346215"/>
                <a:gd name="connsiteX134" fmla="*/ 437884 w 523257"/>
                <a:gd name="connsiteY134" fmla="*/ 166026 h 346215"/>
                <a:gd name="connsiteX135" fmla="*/ 440638 w 523257"/>
                <a:gd name="connsiteY135" fmla="*/ 164452 h 346215"/>
                <a:gd name="connsiteX136" fmla="*/ 437884 w 523257"/>
                <a:gd name="connsiteY136" fmla="*/ 162485 h 346215"/>
                <a:gd name="connsiteX137" fmla="*/ 441031 w 523257"/>
                <a:gd name="connsiteY137" fmla="*/ 161698 h 346215"/>
                <a:gd name="connsiteX138" fmla="*/ 437884 w 523257"/>
                <a:gd name="connsiteY138" fmla="*/ 160125 h 346215"/>
                <a:gd name="connsiteX139" fmla="*/ 434736 w 523257"/>
                <a:gd name="connsiteY139" fmla="*/ 160518 h 346215"/>
                <a:gd name="connsiteX140" fmla="*/ 432376 w 523257"/>
                <a:gd name="connsiteY140" fmla="*/ 163665 h 346215"/>
                <a:gd name="connsiteX141" fmla="*/ 433556 w 523257"/>
                <a:gd name="connsiteY141" fmla="*/ 160911 h 346215"/>
                <a:gd name="connsiteX142" fmla="*/ 430408 w 523257"/>
                <a:gd name="connsiteY142" fmla="*/ 161305 h 346215"/>
                <a:gd name="connsiteX143" fmla="*/ 428441 w 523257"/>
                <a:gd name="connsiteY143" fmla="*/ 162092 h 346215"/>
                <a:gd name="connsiteX144" fmla="*/ 428441 w 523257"/>
                <a:gd name="connsiteY144" fmla="*/ 161698 h 346215"/>
                <a:gd name="connsiteX145" fmla="*/ 430802 w 523257"/>
                <a:gd name="connsiteY145" fmla="*/ 159731 h 346215"/>
                <a:gd name="connsiteX146" fmla="*/ 433556 w 523257"/>
                <a:gd name="connsiteY146" fmla="*/ 157371 h 346215"/>
                <a:gd name="connsiteX147" fmla="*/ 430802 w 523257"/>
                <a:gd name="connsiteY147" fmla="*/ 156977 h 346215"/>
                <a:gd name="connsiteX148" fmla="*/ 427655 w 523257"/>
                <a:gd name="connsiteY148" fmla="*/ 156190 h 346215"/>
                <a:gd name="connsiteX149" fmla="*/ 426081 w 523257"/>
                <a:gd name="connsiteY149" fmla="*/ 156584 h 346215"/>
                <a:gd name="connsiteX150" fmla="*/ 425687 w 523257"/>
                <a:gd name="connsiteY150" fmla="*/ 156190 h 346215"/>
                <a:gd name="connsiteX151" fmla="*/ 427261 w 523257"/>
                <a:gd name="connsiteY151" fmla="*/ 155797 h 346215"/>
                <a:gd name="connsiteX152" fmla="*/ 424901 w 523257"/>
                <a:gd name="connsiteY152" fmla="*/ 154617 h 346215"/>
                <a:gd name="connsiteX153" fmla="*/ 424507 w 523257"/>
                <a:gd name="connsiteY153" fmla="*/ 153436 h 346215"/>
                <a:gd name="connsiteX154" fmla="*/ 427261 w 523257"/>
                <a:gd name="connsiteY154" fmla="*/ 153436 h 346215"/>
                <a:gd name="connsiteX155" fmla="*/ 430015 w 523257"/>
                <a:gd name="connsiteY155" fmla="*/ 154617 h 346215"/>
                <a:gd name="connsiteX156" fmla="*/ 433162 w 523257"/>
                <a:gd name="connsiteY156" fmla="*/ 153830 h 346215"/>
                <a:gd name="connsiteX157" fmla="*/ 438671 w 523257"/>
                <a:gd name="connsiteY157" fmla="*/ 152649 h 346215"/>
                <a:gd name="connsiteX158" fmla="*/ 435523 w 523257"/>
                <a:gd name="connsiteY158" fmla="*/ 151863 h 346215"/>
                <a:gd name="connsiteX159" fmla="*/ 432769 w 523257"/>
                <a:gd name="connsiteY159" fmla="*/ 152256 h 346215"/>
                <a:gd name="connsiteX160" fmla="*/ 430015 w 523257"/>
                <a:gd name="connsiteY160" fmla="*/ 152256 h 346215"/>
                <a:gd name="connsiteX161" fmla="*/ 426868 w 523257"/>
                <a:gd name="connsiteY161" fmla="*/ 152649 h 346215"/>
                <a:gd name="connsiteX162" fmla="*/ 424114 w 523257"/>
                <a:gd name="connsiteY162" fmla="*/ 150289 h 346215"/>
                <a:gd name="connsiteX163" fmla="*/ 423327 w 523257"/>
                <a:gd name="connsiteY163" fmla="*/ 150289 h 346215"/>
                <a:gd name="connsiteX164" fmla="*/ 420179 w 523257"/>
                <a:gd name="connsiteY164" fmla="*/ 143207 h 346215"/>
                <a:gd name="connsiteX165" fmla="*/ 420573 w 523257"/>
                <a:gd name="connsiteY165" fmla="*/ 143207 h 346215"/>
                <a:gd name="connsiteX166" fmla="*/ 420179 w 523257"/>
                <a:gd name="connsiteY166" fmla="*/ 143207 h 346215"/>
                <a:gd name="connsiteX167" fmla="*/ 419786 w 523257"/>
                <a:gd name="connsiteY167" fmla="*/ 142027 h 346215"/>
                <a:gd name="connsiteX168" fmla="*/ 419393 w 523257"/>
                <a:gd name="connsiteY168" fmla="*/ 142027 h 346215"/>
                <a:gd name="connsiteX169" fmla="*/ 416638 w 523257"/>
                <a:gd name="connsiteY169" fmla="*/ 140453 h 346215"/>
                <a:gd name="connsiteX170" fmla="*/ 419786 w 523257"/>
                <a:gd name="connsiteY170" fmla="*/ 142027 h 346215"/>
                <a:gd name="connsiteX171" fmla="*/ 416638 w 523257"/>
                <a:gd name="connsiteY171" fmla="*/ 139666 h 346215"/>
                <a:gd name="connsiteX172" fmla="*/ 418999 w 523257"/>
                <a:gd name="connsiteY172" fmla="*/ 139666 h 346215"/>
                <a:gd name="connsiteX173" fmla="*/ 416245 w 523257"/>
                <a:gd name="connsiteY173" fmla="*/ 137306 h 346215"/>
                <a:gd name="connsiteX174" fmla="*/ 413098 w 523257"/>
                <a:gd name="connsiteY174" fmla="*/ 136519 h 346215"/>
                <a:gd name="connsiteX175" fmla="*/ 412704 w 523257"/>
                <a:gd name="connsiteY175" fmla="*/ 136519 h 346215"/>
                <a:gd name="connsiteX176" fmla="*/ 412311 w 523257"/>
                <a:gd name="connsiteY176" fmla="*/ 136126 h 346215"/>
                <a:gd name="connsiteX177" fmla="*/ 413491 w 523257"/>
                <a:gd name="connsiteY177" fmla="*/ 135732 h 346215"/>
                <a:gd name="connsiteX178" fmla="*/ 416245 w 523257"/>
                <a:gd name="connsiteY178" fmla="*/ 136126 h 346215"/>
                <a:gd name="connsiteX179" fmla="*/ 419393 w 523257"/>
                <a:gd name="connsiteY179" fmla="*/ 136519 h 346215"/>
                <a:gd name="connsiteX180" fmla="*/ 422147 w 523257"/>
                <a:gd name="connsiteY180" fmla="*/ 135732 h 346215"/>
                <a:gd name="connsiteX181" fmla="*/ 425294 w 523257"/>
                <a:gd name="connsiteY181" fmla="*/ 135732 h 346215"/>
                <a:gd name="connsiteX182" fmla="*/ 428048 w 523257"/>
                <a:gd name="connsiteY182" fmla="*/ 135339 h 346215"/>
                <a:gd name="connsiteX183" fmla="*/ 425294 w 523257"/>
                <a:gd name="connsiteY183" fmla="*/ 133372 h 346215"/>
                <a:gd name="connsiteX184" fmla="*/ 422147 w 523257"/>
                <a:gd name="connsiteY184" fmla="*/ 132191 h 346215"/>
                <a:gd name="connsiteX185" fmla="*/ 419393 w 523257"/>
                <a:gd name="connsiteY185" fmla="*/ 131404 h 346215"/>
                <a:gd name="connsiteX186" fmla="*/ 416245 w 523257"/>
                <a:gd name="connsiteY186" fmla="*/ 130618 h 346215"/>
                <a:gd name="connsiteX187" fmla="*/ 413098 w 523257"/>
                <a:gd name="connsiteY187" fmla="*/ 131011 h 346215"/>
                <a:gd name="connsiteX188" fmla="*/ 409950 w 523257"/>
                <a:gd name="connsiteY188" fmla="*/ 131798 h 346215"/>
                <a:gd name="connsiteX189" fmla="*/ 407983 w 523257"/>
                <a:gd name="connsiteY189" fmla="*/ 132191 h 346215"/>
                <a:gd name="connsiteX190" fmla="*/ 407196 w 523257"/>
                <a:gd name="connsiteY190" fmla="*/ 131404 h 346215"/>
                <a:gd name="connsiteX191" fmla="*/ 409164 w 523257"/>
                <a:gd name="connsiteY191" fmla="*/ 131404 h 346215"/>
                <a:gd name="connsiteX192" fmla="*/ 412311 w 523257"/>
                <a:gd name="connsiteY192" fmla="*/ 130224 h 346215"/>
                <a:gd name="connsiteX193" fmla="*/ 409164 w 523257"/>
                <a:gd name="connsiteY193" fmla="*/ 129437 h 346215"/>
                <a:gd name="connsiteX194" fmla="*/ 407590 w 523257"/>
                <a:gd name="connsiteY194" fmla="*/ 129437 h 346215"/>
                <a:gd name="connsiteX195" fmla="*/ 410737 w 523257"/>
                <a:gd name="connsiteY195" fmla="*/ 129044 h 346215"/>
                <a:gd name="connsiteX196" fmla="*/ 413885 w 523257"/>
                <a:gd name="connsiteY196" fmla="*/ 129044 h 346215"/>
                <a:gd name="connsiteX197" fmla="*/ 417032 w 523257"/>
                <a:gd name="connsiteY197" fmla="*/ 129437 h 346215"/>
                <a:gd name="connsiteX198" fmla="*/ 419786 w 523257"/>
                <a:gd name="connsiteY198" fmla="*/ 129831 h 346215"/>
                <a:gd name="connsiteX199" fmla="*/ 422933 w 523257"/>
                <a:gd name="connsiteY199" fmla="*/ 130224 h 346215"/>
                <a:gd name="connsiteX200" fmla="*/ 419786 w 523257"/>
                <a:gd name="connsiteY200" fmla="*/ 127864 h 346215"/>
                <a:gd name="connsiteX201" fmla="*/ 416638 w 523257"/>
                <a:gd name="connsiteY201" fmla="*/ 128257 h 346215"/>
                <a:gd name="connsiteX202" fmla="*/ 413885 w 523257"/>
                <a:gd name="connsiteY202" fmla="*/ 127470 h 346215"/>
                <a:gd name="connsiteX203" fmla="*/ 411131 w 523257"/>
                <a:gd name="connsiteY203" fmla="*/ 127077 h 346215"/>
                <a:gd name="connsiteX204" fmla="*/ 407983 w 523257"/>
                <a:gd name="connsiteY204" fmla="*/ 126683 h 346215"/>
                <a:gd name="connsiteX205" fmla="*/ 404836 w 523257"/>
                <a:gd name="connsiteY205" fmla="*/ 127077 h 346215"/>
                <a:gd name="connsiteX206" fmla="*/ 402082 w 523257"/>
                <a:gd name="connsiteY206" fmla="*/ 127864 h 346215"/>
                <a:gd name="connsiteX207" fmla="*/ 404836 w 523257"/>
                <a:gd name="connsiteY207" fmla="*/ 126290 h 346215"/>
                <a:gd name="connsiteX208" fmla="*/ 407983 w 523257"/>
                <a:gd name="connsiteY208" fmla="*/ 125896 h 346215"/>
                <a:gd name="connsiteX209" fmla="*/ 410737 w 523257"/>
                <a:gd name="connsiteY209" fmla="*/ 126290 h 346215"/>
                <a:gd name="connsiteX210" fmla="*/ 413885 w 523257"/>
                <a:gd name="connsiteY210" fmla="*/ 126683 h 346215"/>
                <a:gd name="connsiteX211" fmla="*/ 416638 w 523257"/>
                <a:gd name="connsiteY211" fmla="*/ 127077 h 346215"/>
                <a:gd name="connsiteX212" fmla="*/ 419786 w 523257"/>
                <a:gd name="connsiteY212" fmla="*/ 127470 h 346215"/>
                <a:gd name="connsiteX213" fmla="*/ 422933 w 523257"/>
                <a:gd name="connsiteY213" fmla="*/ 127077 h 346215"/>
                <a:gd name="connsiteX214" fmla="*/ 425687 w 523257"/>
                <a:gd name="connsiteY214" fmla="*/ 128650 h 346215"/>
                <a:gd name="connsiteX215" fmla="*/ 428441 w 523257"/>
                <a:gd name="connsiteY215" fmla="*/ 129831 h 346215"/>
                <a:gd name="connsiteX216" fmla="*/ 431195 w 523257"/>
                <a:gd name="connsiteY216" fmla="*/ 131404 h 346215"/>
                <a:gd name="connsiteX217" fmla="*/ 434343 w 523257"/>
                <a:gd name="connsiteY217" fmla="*/ 131798 h 346215"/>
                <a:gd name="connsiteX218" fmla="*/ 437097 w 523257"/>
                <a:gd name="connsiteY218" fmla="*/ 131404 h 346215"/>
                <a:gd name="connsiteX219" fmla="*/ 440244 w 523257"/>
                <a:gd name="connsiteY219" fmla="*/ 131798 h 346215"/>
                <a:gd name="connsiteX220" fmla="*/ 442998 w 523257"/>
                <a:gd name="connsiteY220" fmla="*/ 131404 h 346215"/>
                <a:gd name="connsiteX221" fmla="*/ 446145 w 523257"/>
                <a:gd name="connsiteY221" fmla="*/ 131404 h 346215"/>
                <a:gd name="connsiteX222" fmla="*/ 448899 w 523257"/>
                <a:gd name="connsiteY222" fmla="*/ 132585 h 346215"/>
                <a:gd name="connsiteX223" fmla="*/ 452047 w 523257"/>
                <a:gd name="connsiteY223" fmla="*/ 132585 h 346215"/>
                <a:gd name="connsiteX224" fmla="*/ 454801 w 523257"/>
                <a:gd name="connsiteY224" fmla="*/ 130618 h 346215"/>
                <a:gd name="connsiteX225" fmla="*/ 454408 w 523257"/>
                <a:gd name="connsiteY225" fmla="*/ 127864 h 346215"/>
                <a:gd name="connsiteX226" fmla="*/ 451654 w 523257"/>
                <a:gd name="connsiteY226" fmla="*/ 125503 h 346215"/>
                <a:gd name="connsiteX227" fmla="*/ 448506 w 523257"/>
                <a:gd name="connsiteY227" fmla="*/ 123929 h 346215"/>
                <a:gd name="connsiteX228" fmla="*/ 445752 w 523257"/>
                <a:gd name="connsiteY228" fmla="*/ 123536 h 346215"/>
                <a:gd name="connsiteX229" fmla="*/ 442998 w 523257"/>
                <a:gd name="connsiteY229" fmla="*/ 123536 h 346215"/>
                <a:gd name="connsiteX230" fmla="*/ 439851 w 523257"/>
                <a:gd name="connsiteY230" fmla="*/ 123142 h 346215"/>
                <a:gd name="connsiteX231" fmla="*/ 437097 w 523257"/>
                <a:gd name="connsiteY231" fmla="*/ 122749 h 346215"/>
                <a:gd name="connsiteX232" fmla="*/ 434343 w 523257"/>
                <a:gd name="connsiteY232" fmla="*/ 123142 h 346215"/>
                <a:gd name="connsiteX233" fmla="*/ 431195 w 523257"/>
                <a:gd name="connsiteY233" fmla="*/ 123536 h 346215"/>
                <a:gd name="connsiteX234" fmla="*/ 428441 w 523257"/>
                <a:gd name="connsiteY234" fmla="*/ 122749 h 346215"/>
                <a:gd name="connsiteX235" fmla="*/ 425687 w 523257"/>
                <a:gd name="connsiteY235" fmla="*/ 121569 h 346215"/>
                <a:gd name="connsiteX236" fmla="*/ 422933 w 523257"/>
                <a:gd name="connsiteY236" fmla="*/ 120388 h 346215"/>
                <a:gd name="connsiteX237" fmla="*/ 419786 w 523257"/>
                <a:gd name="connsiteY237" fmla="*/ 119995 h 346215"/>
                <a:gd name="connsiteX238" fmla="*/ 416638 w 523257"/>
                <a:gd name="connsiteY238" fmla="*/ 119995 h 346215"/>
                <a:gd name="connsiteX239" fmla="*/ 413885 w 523257"/>
                <a:gd name="connsiteY239" fmla="*/ 120388 h 346215"/>
                <a:gd name="connsiteX240" fmla="*/ 410737 w 523257"/>
                <a:gd name="connsiteY240" fmla="*/ 121175 h 346215"/>
                <a:gd name="connsiteX241" fmla="*/ 407590 w 523257"/>
                <a:gd name="connsiteY241" fmla="*/ 121569 h 346215"/>
                <a:gd name="connsiteX242" fmla="*/ 404836 w 523257"/>
                <a:gd name="connsiteY242" fmla="*/ 121962 h 346215"/>
                <a:gd name="connsiteX243" fmla="*/ 401688 w 523257"/>
                <a:gd name="connsiteY243" fmla="*/ 121962 h 346215"/>
                <a:gd name="connsiteX244" fmla="*/ 398541 w 523257"/>
                <a:gd name="connsiteY244" fmla="*/ 121569 h 346215"/>
                <a:gd name="connsiteX245" fmla="*/ 395787 w 523257"/>
                <a:gd name="connsiteY245" fmla="*/ 121175 h 346215"/>
                <a:gd name="connsiteX246" fmla="*/ 393033 w 523257"/>
                <a:gd name="connsiteY246" fmla="*/ 121569 h 346215"/>
                <a:gd name="connsiteX247" fmla="*/ 389492 w 523257"/>
                <a:gd name="connsiteY247" fmla="*/ 121962 h 346215"/>
                <a:gd name="connsiteX248" fmla="*/ 388705 w 523257"/>
                <a:gd name="connsiteY248" fmla="*/ 121962 h 346215"/>
                <a:gd name="connsiteX249" fmla="*/ 389099 w 523257"/>
                <a:gd name="connsiteY249" fmla="*/ 121569 h 346215"/>
                <a:gd name="connsiteX250" fmla="*/ 392246 w 523257"/>
                <a:gd name="connsiteY250" fmla="*/ 121175 h 346215"/>
                <a:gd name="connsiteX251" fmla="*/ 395000 w 523257"/>
                <a:gd name="connsiteY251" fmla="*/ 120782 h 346215"/>
                <a:gd name="connsiteX252" fmla="*/ 397754 w 523257"/>
                <a:gd name="connsiteY252" fmla="*/ 120782 h 346215"/>
                <a:gd name="connsiteX253" fmla="*/ 400901 w 523257"/>
                <a:gd name="connsiteY253" fmla="*/ 121175 h 346215"/>
                <a:gd name="connsiteX254" fmla="*/ 404049 w 523257"/>
                <a:gd name="connsiteY254" fmla="*/ 121569 h 346215"/>
                <a:gd name="connsiteX255" fmla="*/ 406803 w 523257"/>
                <a:gd name="connsiteY255" fmla="*/ 121175 h 346215"/>
                <a:gd name="connsiteX256" fmla="*/ 409950 w 523257"/>
                <a:gd name="connsiteY256" fmla="*/ 120782 h 346215"/>
                <a:gd name="connsiteX257" fmla="*/ 413491 w 523257"/>
                <a:gd name="connsiteY257" fmla="*/ 119995 h 346215"/>
                <a:gd name="connsiteX258" fmla="*/ 416638 w 523257"/>
                <a:gd name="connsiteY258" fmla="*/ 119208 h 346215"/>
                <a:gd name="connsiteX259" fmla="*/ 420179 w 523257"/>
                <a:gd name="connsiteY259" fmla="*/ 118815 h 346215"/>
                <a:gd name="connsiteX260" fmla="*/ 423327 w 523257"/>
                <a:gd name="connsiteY260" fmla="*/ 119208 h 346215"/>
                <a:gd name="connsiteX261" fmla="*/ 426081 w 523257"/>
                <a:gd name="connsiteY261" fmla="*/ 118815 h 346215"/>
                <a:gd name="connsiteX262" fmla="*/ 429228 w 523257"/>
                <a:gd name="connsiteY262" fmla="*/ 118028 h 346215"/>
                <a:gd name="connsiteX263" fmla="*/ 432376 w 523257"/>
                <a:gd name="connsiteY263" fmla="*/ 116454 h 346215"/>
                <a:gd name="connsiteX264" fmla="*/ 435523 w 523257"/>
                <a:gd name="connsiteY264" fmla="*/ 115274 h 346215"/>
                <a:gd name="connsiteX265" fmla="*/ 438277 w 523257"/>
                <a:gd name="connsiteY265" fmla="*/ 114880 h 346215"/>
                <a:gd name="connsiteX266" fmla="*/ 441818 w 523257"/>
                <a:gd name="connsiteY266" fmla="*/ 114487 h 346215"/>
                <a:gd name="connsiteX267" fmla="*/ 444572 w 523257"/>
                <a:gd name="connsiteY267" fmla="*/ 114880 h 346215"/>
                <a:gd name="connsiteX268" fmla="*/ 447326 w 523257"/>
                <a:gd name="connsiteY268" fmla="*/ 115667 h 346215"/>
                <a:gd name="connsiteX269" fmla="*/ 450080 w 523257"/>
                <a:gd name="connsiteY269" fmla="*/ 116061 h 346215"/>
                <a:gd name="connsiteX270" fmla="*/ 453227 w 523257"/>
                <a:gd name="connsiteY270" fmla="*/ 115667 h 346215"/>
                <a:gd name="connsiteX271" fmla="*/ 455981 w 523257"/>
                <a:gd name="connsiteY271" fmla="*/ 113307 h 346215"/>
                <a:gd name="connsiteX272" fmla="*/ 456768 w 523257"/>
                <a:gd name="connsiteY272" fmla="*/ 110553 h 346215"/>
                <a:gd name="connsiteX273" fmla="*/ 455588 w 523257"/>
                <a:gd name="connsiteY273" fmla="*/ 107799 h 346215"/>
                <a:gd name="connsiteX274" fmla="*/ 455194 w 523257"/>
                <a:gd name="connsiteY274" fmla="*/ 105045 h 346215"/>
                <a:gd name="connsiteX275" fmla="*/ 452440 w 523257"/>
                <a:gd name="connsiteY275" fmla="*/ 101897 h 346215"/>
                <a:gd name="connsiteX276" fmla="*/ 449686 w 523257"/>
                <a:gd name="connsiteY276" fmla="*/ 100324 h 346215"/>
                <a:gd name="connsiteX277" fmla="*/ 446539 w 523257"/>
                <a:gd name="connsiteY277" fmla="*/ 98750 h 346215"/>
                <a:gd name="connsiteX278" fmla="*/ 443392 w 523257"/>
                <a:gd name="connsiteY278" fmla="*/ 100324 h 346215"/>
                <a:gd name="connsiteX279" fmla="*/ 440244 w 523257"/>
                <a:gd name="connsiteY279" fmla="*/ 101504 h 346215"/>
                <a:gd name="connsiteX280" fmla="*/ 437490 w 523257"/>
                <a:gd name="connsiteY280" fmla="*/ 103865 h 346215"/>
                <a:gd name="connsiteX281" fmla="*/ 434343 w 523257"/>
                <a:gd name="connsiteY281" fmla="*/ 105832 h 346215"/>
                <a:gd name="connsiteX282" fmla="*/ 431589 w 523257"/>
                <a:gd name="connsiteY282" fmla="*/ 106225 h 346215"/>
                <a:gd name="connsiteX283" fmla="*/ 428835 w 523257"/>
                <a:gd name="connsiteY283" fmla="*/ 107799 h 346215"/>
                <a:gd name="connsiteX284" fmla="*/ 423720 w 523257"/>
                <a:gd name="connsiteY284" fmla="*/ 109373 h 346215"/>
                <a:gd name="connsiteX285" fmla="*/ 423327 w 523257"/>
                <a:gd name="connsiteY285" fmla="*/ 109373 h 346215"/>
                <a:gd name="connsiteX286" fmla="*/ 420179 w 523257"/>
                <a:gd name="connsiteY286" fmla="*/ 109373 h 346215"/>
                <a:gd name="connsiteX287" fmla="*/ 417032 w 523257"/>
                <a:gd name="connsiteY287" fmla="*/ 110159 h 346215"/>
                <a:gd name="connsiteX288" fmla="*/ 413885 w 523257"/>
                <a:gd name="connsiteY288" fmla="*/ 110946 h 346215"/>
                <a:gd name="connsiteX289" fmla="*/ 411131 w 523257"/>
                <a:gd name="connsiteY289" fmla="*/ 112520 h 346215"/>
                <a:gd name="connsiteX290" fmla="*/ 407983 w 523257"/>
                <a:gd name="connsiteY290" fmla="*/ 114094 h 346215"/>
                <a:gd name="connsiteX291" fmla="*/ 407983 w 523257"/>
                <a:gd name="connsiteY291" fmla="*/ 114094 h 346215"/>
                <a:gd name="connsiteX292" fmla="*/ 404836 w 523257"/>
                <a:gd name="connsiteY292" fmla="*/ 114487 h 346215"/>
                <a:gd name="connsiteX293" fmla="*/ 403262 w 523257"/>
                <a:gd name="connsiteY293" fmla="*/ 114094 h 346215"/>
                <a:gd name="connsiteX294" fmla="*/ 406016 w 523257"/>
                <a:gd name="connsiteY294" fmla="*/ 113307 h 346215"/>
                <a:gd name="connsiteX295" fmla="*/ 407196 w 523257"/>
                <a:gd name="connsiteY295" fmla="*/ 113700 h 346215"/>
                <a:gd name="connsiteX296" fmla="*/ 409950 w 523257"/>
                <a:gd name="connsiteY296" fmla="*/ 112520 h 346215"/>
                <a:gd name="connsiteX297" fmla="*/ 413098 w 523257"/>
                <a:gd name="connsiteY297" fmla="*/ 110946 h 346215"/>
                <a:gd name="connsiteX298" fmla="*/ 413098 w 523257"/>
                <a:gd name="connsiteY298" fmla="*/ 110946 h 346215"/>
                <a:gd name="connsiteX299" fmla="*/ 420573 w 523257"/>
                <a:gd name="connsiteY299" fmla="*/ 108586 h 346215"/>
                <a:gd name="connsiteX300" fmla="*/ 423327 w 523257"/>
                <a:gd name="connsiteY300" fmla="*/ 108192 h 346215"/>
                <a:gd name="connsiteX301" fmla="*/ 426474 w 523257"/>
                <a:gd name="connsiteY301" fmla="*/ 107012 h 346215"/>
                <a:gd name="connsiteX302" fmla="*/ 429228 w 523257"/>
                <a:gd name="connsiteY302" fmla="*/ 105045 h 346215"/>
                <a:gd name="connsiteX303" fmla="*/ 426081 w 523257"/>
                <a:gd name="connsiteY303" fmla="*/ 103078 h 346215"/>
                <a:gd name="connsiteX304" fmla="*/ 422933 w 523257"/>
                <a:gd name="connsiteY304" fmla="*/ 102684 h 346215"/>
                <a:gd name="connsiteX305" fmla="*/ 420179 w 523257"/>
                <a:gd name="connsiteY305" fmla="*/ 103078 h 346215"/>
                <a:gd name="connsiteX306" fmla="*/ 417425 w 523257"/>
                <a:gd name="connsiteY306" fmla="*/ 103471 h 346215"/>
                <a:gd name="connsiteX307" fmla="*/ 413885 w 523257"/>
                <a:gd name="connsiteY307" fmla="*/ 103865 h 346215"/>
                <a:gd name="connsiteX308" fmla="*/ 410737 w 523257"/>
                <a:gd name="connsiteY308" fmla="*/ 104258 h 346215"/>
                <a:gd name="connsiteX309" fmla="*/ 407590 w 523257"/>
                <a:gd name="connsiteY309" fmla="*/ 104651 h 346215"/>
                <a:gd name="connsiteX310" fmla="*/ 404836 w 523257"/>
                <a:gd name="connsiteY310" fmla="*/ 105832 h 346215"/>
                <a:gd name="connsiteX311" fmla="*/ 404049 w 523257"/>
                <a:gd name="connsiteY311" fmla="*/ 108192 h 346215"/>
                <a:gd name="connsiteX312" fmla="*/ 401295 w 523257"/>
                <a:gd name="connsiteY312" fmla="*/ 108586 h 346215"/>
                <a:gd name="connsiteX313" fmla="*/ 402082 w 523257"/>
                <a:gd name="connsiteY313" fmla="*/ 108192 h 346215"/>
                <a:gd name="connsiteX314" fmla="*/ 399328 w 523257"/>
                <a:gd name="connsiteY314" fmla="*/ 106619 h 346215"/>
                <a:gd name="connsiteX315" fmla="*/ 399721 w 523257"/>
                <a:gd name="connsiteY315" fmla="*/ 106225 h 346215"/>
                <a:gd name="connsiteX316" fmla="*/ 402869 w 523257"/>
                <a:gd name="connsiteY316" fmla="*/ 105438 h 346215"/>
                <a:gd name="connsiteX317" fmla="*/ 405623 w 523257"/>
                <a:gd name="connsiteY317" fmla="*/ 103865 h 346215"/>
                <a:gd name="connsiteX318" fmla="*/ 408377 w 523257"/>
                <a:gd name="connsiteY318" fmla="*/ 103078 h 346215"/>
                <a:gd name="connsiteX319" fmla="*/ 411524 w 523257"/>
                <a:gd name="connsiteY319" fmla="*/ 102684 h 346215"/>
                <a:gd name="connsiteX320" fmla="*/ 414671 w 523257"/>
                <a:gd name="connsiteY320" fmla="*/ 101897 h 346215"/>
                <a:gd name="connsiteX321" fmla="*/ 417425 w 523257"/>
                <a:gd name="connsiteY321" fmla="*/ 101504 h 346215"/>
                <a:gd name="connsiteX322" fmla="*/ 420573 w 523257"/>
                <a:gd name="connsiteY322" fmla="*/ 101111 h 346215"/>
                <a:gd name="connsiteX323" fmla="*/ 423327 w 523257"/>
                <a:gd name="connsiteY323" fmla="*/ 100717 h 346215"/>
                <a:gd name="connsiteX324" fmla="*/ 426474 w 523257"/>
                <a:gd name="connsiteY324" fmla="*/ 100324 h 346215"/>
                <a:gd name="connsiteX325" fmla="*/ 430015 w 523257"/>
                <a:gd name="connsiteY325" fmla="*/ 99930 h 346215"/>
                <a:gd name="connsiteX326" fmla="*/ 432769 w 523257"/>
                <a:gd name="connsiteY326" fmla="*/ 99537 h 346215"/>
                <a:gd name="connsiteX327" fmla="*/ 435523 w 523257"/>
                <a:gd name="connsiteY327" fmla="*/ 96783 h 346215"/>
                <a:gd name="connsiteX328" fmla="*/ 438671 w 523257"/>
                <a:gd name="connsiteY328" fmla="*/ 95209 h 346215"/>
                <a:gd name="connsiteX329" fmla="*/ 441818 w 523257"/>
                <a:gd name="connsiteY329" fmla="*/ 96389 h 346215"/>
                <a:gd name="connsiteX330" fmla="*/ 444965 w 523257"/>
                <a:gd name="connsiteY330" fmla="*/ 94816 h 346215"/>
                <a:gd name="connsiteX331" fmla="*/ 444178 w 523257"/>
                <a:gd name="connsiteY331" fmla="*/ 92062 h 346215"/>
                <a:gd name="connsiteX332" fmla="*/ 441031 w 523257"/>
                <a:gd name="connsiteY332" fmla="*/ 91275 h 346215"/>
                <a:gd name="connsiteX333" fmla="*/ 437884 w 523257"/>
                <a:gd name="connsiteY333" fmla="*/ 90488 h 346215"/>
                <a:gd name="connsiteX334" fmla="*/ 435130 w 523257"/>
                <a:gd name="connsiteY334" fmla="*/ 89701 h 346215"/>
                <a:gd name="connsiteX335" fmla="*/ 432376 w 523257"/>
                <a:gd name="connsiteY335" fmla="*/ 88521 h 346215"/>
                <a:gd name="connsiteX336" fmla="*/ 428835 w 523257"/>
                <a:gd name="connsiteY336" fmla="*/ 86947 h 346215"/>
                <a:gd name="connsiteX337" fmla="*/ 426081 w 523257"/>
                <a:gd name="connsiteY337" fmla="*/ 86554 h 346215"/>
                <a:gd name="connsiteX338" fmla="*/ 422933 w 523257"/>
                <a:gd name="connsiteY338" fmla="*/ 86947 h 346215"/>
                <a:gd name="connsiteX339" fmla="*/ 420179 w 523257"/>
                <a:gd name="connsiteY339" fmla="*/ 88914 h 346215"/>
                <a:gd name="connsiteX340" fmla="*/ 417032 w 523257"/>
                <a:gd name="connsiteY340" fmla="*/ 88914 h 346215"/>
                <a:gd name="connsiteX341" fmla="*/ 413885 w 523257"/>
                <a:gd name="connsiteY341" fmla="*/ 90095 h 346215"/>
                <a:gd name="connsiteX342" fmla="*/ 411131 w 523257"/>
                <a:gd name="connsiteY342" fmla="*/ 90881 h 346215"/>
                <a:gd name="connsiteX343" fmla="*/ 412704 w 523257"/>
                <a:gd name="connsiteY343" fmla="*/ 88521 h 346215"/>
                <a:gd name="connsiteX344" fmla="*/ 415852 w 523257"/>
                <a:gd name="connsiteY344" fmla="*/ 87341 h 346215"/>
                <a:gd name="connsiteX345" fmla="*/ 418606 w 523257"/>
                <a:gd name="connsiteY345" fmla="*/ 85767 h 346215"/>
                <a:gd name="connsiteX346" fmla="*/ 416245 w 523257"/>
                <a:gd name="connsiteY346" fmla="*/ 83013 h 346215"/>
                <a:gd name="connsiteX347" fmla="*/ 415852 w 523257"/>
                <a:gd name="connsiteY347" fmla="*/ 83013 h 346215"/>
                <a:gd name="connsiteX348" fmla="*/ 413098 w 523257"/>
                <a:gd name="connsiteY348" fmla="*/ 83800 h 346215"/>
                <a:gd name="connsiteX349" fmla="*/ 410344 w 523257"/>
                <a:gd name="connsiteY349" fmla="*/ 84193 h 346215"/>
                <a:gd name="connsiteX350" fmla="*/ 407196 w 523257"/>
                <a:gd name="connsiteY350" fmla="*/ 84587 h 346215"/>
                <a:gd name="connsiteX351" fmla="*/ 404442 w 523257"/>
                <a:gd name="connsiteY351" fmla="*/ 84980 h 346215"/>
                <a:gd name="connsiteX352" fmla="*/ 401688 w 523257"/>
                <a:gd name="connsiteY352" fmla="*/ 85767 h 346215"/>
                <a:gd name="connsiteX353" fmla="*/ 398541 w 523257"/>
                <a:gd name="connsiteY353" fmla="*/ 86554 h 346215"/>
                <a:gd name="connsiteX354" fmla="*/ 395394 w 523257"/>
                <a:gd name="connsiteY354" fmla="*/ 87734 h 346215"/>
                <a:gd name="connsiteX355" fmla="*/ 391853 w 523257"/>
                <a:gd name="connsiteY355" fmla="*/ 88128 h 346215"/>
                <a:gd name="connsiteX356" fmla="*/ 389099 w 523257"/>
                <a:gd name="connsiteY356" fmla="*/ 89701 h 346215"/>
                <a:gd name="connsiteX357" fmla="*/ 385951 w 523257"/>
                <a:gd name="connsiteY357" fmla="*/ 91668 h 346215"/>
                <a:gd name="connsiteX358" fmla="*/ 383197 w 523257"/>
                <a:gd name="connsiteY358" fmla="*/ 94029 h 346215"/>
                <a:gd name="connsiteX359" fmla="*/ 380050 w 523257"/>
                <a:gd name="connsiteY359" fmla="*/ 96389 h 346215"/>
                <a:gd name="connsiteX360" fmla="*/ 377296 w 523257"/>
                <a:gd name="connsiteY360" fmla="*/ 99537 h 346215"/>
                <a:gd name="connsiteX361" fmla="*/ 374542 w 523257"/>
                <a:gd name="connsiteY361" fmla="*/ 101111 h 346215"/>
                <a:gd name="connsiteX362" fmla="*/ 371394 w 523257"/>
                <a:gd name="connsiteY362" fmla="*/ 103471 h 346215"/>
                <a:gd name="connsiteX363" fmla="*/ 369821 w 523257"/>
                <a:gd name="connsiteY363" fmla="*/ 104258 h 346215"/>
                <a:gd name="connsiteX364" fmla="*/ 369427 w 523257"/>
                <a:gd name="connsiteY364" fmla="*/ 103865 h 346215"/>
                <a:gd name="connsiteX365" fmla="*/ 369821 w 523257"/>
                <a:gd name="connsiteY365" fmla="*/ 103471 h 346215"/>
                <a:gd name="connsiteX366" fmla="*/ 372575 w 523257"/>
                <a:gd name="connsiteY366" fmla="*/ 101504 h 346215"/>
                <a:gd name="connsiteX367" fmla="*/ 375329 w 523257"/>
                <a:gd name="connsiteY367" fmla="*/ 99930 h 346215"/>
                <a:gd name="connsiteX368" fmla="*/ 378083 w 523257"/>
                <a:gd name="connsiteY368" fmla="*/ 97176 h 346215"/>
                <a:gd name="connsiteX369" fmla="*/ 380837 w 523257"/>
                <a:gd name="connsiteY369" fmla="*/ 94816 h 346215"/>
                <a:gd name="connsiteX370" fmla="*/ 383984 w 523257"/>
                <a:gd name="connsiteY370" fmla="*/ 92455 h 346215"/>
                <a:gd name="connsiteX371" fmla="*/ 380837 w 523257"/>
                <a:gd name="connsiteY371" fmla="*/ 90881 h 346215"/>
                <a:gd name="connsiteX372" fmla="*/ 377689 w 523257"/>
                <a:gd name="connsiteY372" fmla="*/ 90488 h 346215"/>
                <a:gd name="connsiteX373" fmla="*/ 374935 w 523257"/>
                <a:gd name="connsiteY373" fmla="*/ 92849 h 346215"/>
                <a:gd name="connsiteX374" fmla="*/ 372181 w 523257"/>
                <a:gd name="connsiteY374" fmla="*/ 94422 h 346215"/>
                <a:gd name="connsiteX375" fmla="*/ 369034 w 523257"/>
                <a:gd name="connsiteY375" fmla="*/ 96783 h 346215"/>
                <a:gd name="connsiteX376" fmla="*/ 366280 w 523257"/>
                <a:gd name="connsiteY376" fmla="*/ 98357 h 346215"/>
                <a:gd name="connsiteX377" fmla="*/ 364706 w 523257"/>
                <a:gd name="connsiteY377" fmla="*/ 98750 h 346215"/>
                <a:gd name="connsiteX378" fmla="*/ 367460 w 523257"/>
                <a:gd name="connsiteY378" fmla="*/ 97176 h 346215"/>
                <a:gd name="connsiteX379" fmla="*/ 364706 w 523257"/>
                <a:gd name="connsiteY379" fmla="*/ 95209 h 346215"/>
                <a:gd name="connsiteX380" fmla="*/ 367854 w 523257"/>
                <a:gd name="connsiteY380" fmla="*/ 94422 h 346215"/>
                <a:gd name="connsiteX381" fmla="*/ 373362 w 523257"/>
                <a:gd name="connsiteY381" fmla="*/ 92062 h 346215"/>
                <a:gd name="connsiteX382" fmla="*/ 376116 w 523257"/>
                <a:gd name="connsiteY382" fmla="*/ 89701 h 346215"/>
                <a:gd name="connsiteX383" fmla="*/ 379263 w 523257"/>
                <a:gd name="connsiteY383" fmla="*/ 89308 h 346215"/>
                <a:gd name="connsiteX384" fmla="*/ 382411 w 523257"/>
                <a:gd name="connsiteY384" fmla="*/ 90095 h 346215"/>
                <a:gd name="connsiteX385" fmla="*/ 385164 w 523257"/>
                <a:gd name="connsiteY385" fmla="*/ 89701 h 346215"/>
                <a:gd name="connsiteX386" fmla="*/ 388312 w 523257"/>
                <a:gd name="connsiteY386" fmla="*/ 87734 h 346215"/>
                <a:gd name="connsiteX387" fmla="*/ 391459 w 523257"/>
                <a:gd name="connsiteY387" fmla="*/ 87341 h 346215"/>
                <a:gd name="connsiteX388" fmla="*/ 395000 w 523257"/>
                <a:gd name="connsiteY388" fmla="*/ 86554 h 346215"/>
                <a:gd name="connsiteX389" fmla="*/ 397754 w 523257"/>
                <a:gd name="connsiteY389" fmla="*/ 85767 h 346215"/>
                <a:gd name="connsiteX390" fmla="*/ 400508 w 523257"/>
                <a:gd name="connsiteY390" fmla="*/ 83406 h 346215"/>
                <a:gd name="connsiteX391" fmla="*/ 403655 w 523257"/>
                <a:gd name="connsiteY391" fmla="*/ 82226 h 346215"/>
                <a:gd name="connsiteX392" fmla="*/ 406409 w 523257"/>
                <a:gd name="connsiteY392" fmla="*/ 80652 h 346215"/>
                <a:gd name="connsiteX393" fmla="*/ 406803 w 523257"/>
                <a:gd name="connsiteY393" fmla="*/ 77898 h 346215"/>
                <a:gd name="connsiteX394" fmla="*/ 404049 w 523257"/>
                <a:gd name="connsiteY394" fmla="*/ 75538 h 346215"/>
                <a:gd name="connsiteX395" fmla="*/ 400901 w 523257"/>
                <a:gd name="connsiteY395" fmla="*/ 76325 h 346215"/>
                <a:gd name="connsiteX396" fmla="*/ 397361 w 523257"/>
                <a:gd name="connsiteY396" fmla="*/ 77505 h 346215"/>
                <a:gd name="connsiteX397" fmla="*/ 394607 w 523257"/>
                <a:gd name="connsiteY397" fmla="*/ 77898 h 346215"/>
                <a:gd name="connsiteX398" fmla="*/ 391066 w 523257"/>
                <a:gd name="connsiteY398" fmla="*/ 80259 h 346215"/>
                <a:gd name="connsiteX399" fmla="*/ 388312 w 523257"/>
                <a:gd name="connsiteY399" fmla="*/ 81833 h 346215"/>
                <a:gd name="connsiteX400" fmla="*/ 384771 w 523257"/>
                <a:gd name="connsiteY400" fmla="*/ 82226 h 346215"/>
                <a:gd name="connsiteX401" fmla="*/ 381624 w 523257"/>
                <a:gd name="connsiteY401" fmla="*/ 82226 h 346215"/>
                <a:gd name="connsiteX402" fmla="*/ 378870 w 523257"/>
                <a:gd name="connsiteY402" fmla="*/ 83013 h 346215"/>
                <a:gd name="connsiteX403" fmla="*/ 376116 w 523257"/>
                <a:gd name="connsiteY403" fmla="*/ 83406 h 346215"/>
                <a:gd name="connsiteX404" fmla="*/ 372968 w 523257"/>
                <a:gd name="connsiteY404" fmla="*/ 84193 h 346215"/>
                <a:gd name="connsiteX405" fmla="*/ 369427 w 523257"/>
                <a:gd name="connsiteY405" fmla="*/ 84587 h 346215"/>
                <a:gd name="connsiteX406" fmla="*/ 366280 w 523257"/>
                <a:gd name="connsiteY406" fmla="*/ 84980 h 346215"/>
                <a:gd name="connsiteX407" fmla="*/ 363526 w 523257"/>
                <a:gd name="connsiteY407" fmla="*/ 86554 h 346215"/>
                <a:gd name="connsiteX408" fmla="*/ 360379 w 523257"/>
                <a:gd name="connsiteY408" fmla="*/ 88128 h 346215"/>
                <a:gd name="connsiteX409" fmla="*/ 357231 w 523257"/>
                <a:gd name="connsiteY409" fmla="*/ 88521 h 346215"/>
                <a:gd name="connsiteX410" fmla="*/ 354477 w 523257"/>
                <a:gd name="connsiteY410" fmla="*/ 88521 h 346215"/>
                <a:gd name="connsiteX411" fmla="*/ 357625 w 523257"/>
                <a:gd name="connsiteY411" fmla="*/ 88128 h 346215"/>
                <a:gd name="connsiteX412" fmla="*/ 360772 w 523257"/>
                <a:gd name="connsiteY412" fmla="*/ 86947 h 346215"/>
                <a:gd name="connsiteX413" fmla="*/ 363526 w 523257"/>
                <a:gd name="connsiteY413" fmla="*/ 84980 h 346215"/>
                <a:gd name="connsiteX414" fmla="*/ 366674 w 523257"/>
                <a:gd name="connsiteY414" fmla="*/ 83406 h 346215"/>
                <a:gd name="connsiteX415" fmla="*/ 363526 w 523257"/>
                <a:gd name="connsiteY415" fmla="*/ 82226 h 346215"/>
                <a:gd name="connsiteX416" fmla="*/ 360772 w 523257"/>
                <a:gd name="connsiteY416" fmla="*/ 82620 h 346215"/>
                <a:gd name="connsiteX417" fmla="*/ 358805 w 523257"/>
                <a:gd name="connsiteY417" fmla="*/ 82620 h 346215"/>
                <a:gd name="connsiteX418" fmla="*/ 359198 w 523257"/>
                <a:gd name="connsiteY418" fmla="*/ 82226 h 346215"/>
                <a:gd name="connsiteX419" fmla="*/ 360772 w 523257"/>
                <a:gd name="connsiteY419" fmla="*/ 81833 h 346215"/>
                <a:gd name="connsiteX420" fmla="*/ 363919 w 523257"/>
                <a:gd name="connsiteY420" fmla="*/ 81439 h 346215"/>
                <a:gd name="connsiteX421" fmla="*/ 366674 w 523257"/>
                <a:gd name="connsiteY421" fmla="*/ 81046 h 346215"/>
                <a:gd name="connsiteX422" fmla="*/ 369821 w 523257"/>
                <a:gd name="connsiteY422" fmla="*/ 79079 h 346215"/>
                <a:gd name="connsiteX423" fmla="*/ 372575 w 523257"/>
                <a:gd name="connsiteY423" fmla="*/ 78292 h 346215"/>
                <a:gd name="connsiteX424" fmla="*/ 375722 w 523257"/>
                <a:gd name="connsiteY424" fmla="*/ 75931 h 346215"/>
                <a:gd name="connsiteX425" fmla="*/ 378870 w 523257"/>
                <a:gd name="connsiteY425" fmla="*/ 75144 h 346215"/>
                <a:gd name="connsiteX426" fmla="*/ 381624 w 523257"/>
                <a:gd name="connsiteY426" fmla="*/ 74751 h 346215"/>
                <a:gd name="connsiteX427" fmla="*/ 384771 w 523257"/>
                <a:gd name="connsiteY427" fmla="*/ 75144 h 346215"/>
                <a:gd name="connsiteX428" fmla="*/ 387525 w 523257"/>
                <a:gd name="connsiteY428" fmla="*/ 75538 h 346215"/>
                <a:gd name="connsiteX429" fmla="*/ 390672 w 523257"/>
                <a:gd name="connsiteY429" fmla="*/ 74751 h 346215"/>
                <a:gd name="connsiteX430" fmla="*/ 393426 w 523257"/>
                <a:gd name="connsiteY430" fmla="*/ 73177 h 346215"/>
                <a:gd name="connsiteX431" fmla="*/ 396180 w 523257"/>
                <a:gd name="connsiteY431" fmla="*/ 71604 h 346215"/>
                <a:gd name="connsiteX432" fmla="*/ 399328 w 523257"/>
                <a:gd name="connsiteY432" fmla="*/ 70817 h 346215"/>
                <a:gd name="connsiteX433" fmla="*/ 399721 w 523257"/>
                <a:gd name="connsiteY433" fmla="*/ 67669 h 346215"/>
                <a:gd name="connsiteX434" fmla="*/ 398148 w 523257"/>
                <a:gd name="connsiteY434" fmla="*/ 64915 h 346215"/>
                <a:gd name="connsiteX435" fmla="*/ 395000 w 523257"/>
                <a:gd name="connsiteY435" fmla="*/ 62948 h 346215"/>
                <a:gd name="connsiteX436" fmla="*/ 391853 w 523257"/>
                <a:gd name="connsiteY436" fmla="*/ 62555 h 346215"/>
                <a:gd name="connsiteX437" fmla="*/ 388705 w 523257"/>
                <a:gd name="connsiteY437" fmla="*/ 61375 h 346215"/>
                <a:gd name="connsiteX438" fmla="*/ 385951 w 523257"/>
                <a:gd name="connsiteY438" fmla="*/ 60981 h 346215"/>
                <a:gd name="connsiteX439" fmla="*/ 382804 w 523257"/>
                <a:gd name="connsiteY439" fmla="*/ 60194 h 346215"/>
                <a:gd name="connsiteX440" fmla="*/ 380050 w 523257"/>
                <a:gd name="connsiteY440" fmla="*/ 59407 h 346215"/>
                <a:gd name="connsiteX441" fmla="*/ 376903 w 523257"/>
                <a:gd name="connsiteY441" fmla="*/ 59801 h 346215"/>
                <a:gd name="connsiteX442" fmla="*/ 374148 w 523257"/>
                <a:gd name="connsiteY442" fmla="*/ 62161 h 346215"/>
                <a:gd name="connsiteX443" fmla="*/ 365493 w 523257"/>
                <a:gd name="connsiteY443" fmla="*/ 64128 h 346215"/>
                <a:gd name="connsiteX444" fmla="*/ 366674 w 523257"/>
                <a:gd name="connsiteY444" fmla="*/ 62948 h 346215"/>
                <a:gd name="connsiteX445" fmla="*/ 363919 w 523257"/>
                <a:gd name="connsiteY445" fmla="*/ 63735 h 346215"/>
                <a:gd name="connsiteX446" fmla="*/ 361165 w 523257"/>
                <a:gd name="connsiteY446" fmla="*/ 64128 h 346215"/>
                <a:gd name="connsiteX447" fmla="*/ 363919 w 523257"/>
                <a:gd name="connsiteY447" fmla="*/ 61375 h 346215"/>
                <a:gd name="connsiteX448" fmla="*/ 361165 w 523257"/>
                <a:gd name="connsiteY448" fmla="*/ 61768 h 346215"/>
                <a:gd name="connsiteX449" fmla="*/ 358018 w 523257"/>
                <a:gd name="connsiteY449" fmla="*/ 64128 h 346215"/>
                <a:gd name="connsiteX450" fmla="*/ 357231 w 523257"/>
                <a:gd name="connsiteY450" fmla="*/ 65702 h 346215"/>
                <a:gd name="connsiteX451" fmla="*/ 352510 w 523257"/>
                <a:gd name="connsiteY451" fmla="*/ 66882 h 346215"/>
                <a:gd name="connsiteX452" fmla="*/ 349756 w 523257"/>
                <a:gd name="connsiteY452" fmla="*/ 66489 h 346215"/>
                <a:gd name="connsiteX453" fmla="*/ 350936 w 523257"/>
                <a:gd name="connsiteY453" fmla="*/ 64522 h 346215"/>
                <a:gd name="connsiteX454" fmla="*/ 354084 w 523257"/>
                <a:gd name="connsiteY454" fmla="*/ 62161 h 346215"/>
                <a:gd name="connsiteX455" fmla="*/ 350543 w 523257"/>
                <a:gd name="connsiteY455" fmla="*/ 60981 h 346215"/>
                <a:gd name="connsiteX456" fmla="*/ 347789 w 523257"/>
                <a:gd name="connsiteY456" fmla="*/ 62555 h 346215"/>
                <a:gd name="connsiteX457" fmla="*/ 345035 w 523257"/>
                <a:gd name="connsiteY457" fmla="*/ 64915 h 346215"/>
                <a:gd name="connsiteX458" fmla="*/ 343461 w 523257"/>
                <a:gd name="connsiteY458" fmla="*/ 65702 h 346215"/>
                <a:gd name="connsiteX459" fmla="*/ 341494 w 523257"/>
                <a:gd name="connsiteY459" fmla="*/ 65309 h 346215"/>
                <a:gd name="connsiteX460" fmla="*/ 341494 w 523257"/>
                <a:gd name="connsiteY460" fmla="*/ 65309 h 346215"/>
                <a:gd name="connsiteX461" fmla="*/ 341494 w 523257"/>
                <a:gd name="connsiteY461" fmla="*/ 65309 h 346215"/>
                <a:gd name="connsiteX462" fmla="*/ 339527 w 523257"/>
                <a:gd name="connsiteY462" fmla="*/ 64915 h 346215"/>
                <a:gd name="connsiteX463" fmla="*/ 342281 w 523257"/>
                <a:gd name="connsiteY463" fmla="*/ 64522 h 346215"/>
                <a:gd name="connsiteX464" fmla="*/ 345428 w 523257"/>
                <a:gd name="connsiteY464" fmla="*/ 62948 h 346215"/>
                <a:gd name="connsiteX465" fmla="*/ 348576 w 523257"/>
                <a:gd name="connsiteY465" fmla="*/ 61375 h 346215"/>
                <a:gd name="connsiteX466" fmla="*/ 351330 w 523257"/>
                <a:gd name="connsiteY466" fmla="*/ 60194 h 346215"/>
                <a:gd name="connsiteX467" fmla="*/ 354477 w 523257"/>
                <a:gd name="connsiteY467" fmla="*/ 58621 h 346215"/>
                <a:gd name="connsiteX468" fmla="*/ 357231 w 523257"/>
                <a:gd name="connsiteY468" fmla="*/ 57834 h 346215"/>
                <a:gd name="connsiteX469" fmla="*/ 353690 w 523257"/>
                <a:gd name="connsiteY469" fmla="*/ 56260 h 346215"/>
                <a:gd name="connsiteX470" fmla="*/ 350543 w 523257"/>
                <a:gd name="connsiteY470" fmla="*/ 56653 h 346215"/>
                <a:gd name="connsiteX471" fmla="*/ 347789 w 523257"/>
                <a:gd name="connsiteY471" fmla="*/ 58227 h 346215"/>
                <a:gd name="connsiteX472" fmla="*/ 344641 w 523257"/>
                <a:gd name="connsiteY472" fmla="*/ 59801 h 346215"/>
                <a:gd name="connsiteX473" fmla="*/ 342281 w 523257"/>
                <a:gd name="connsiteY473" fmla="*/ 62555 h 346215"/>
                <a:gd name="connsiteX474" fmla="*/ 343068 w 523257"/>
                <a:gd name="connsiteY474" fmla="*/ 59801 h 346215"/>
                <a:gd name="connsiteX475" fmla="*/ 345822 w 523257"/>
                <a:gd name="connsiteY475" fmla="*/ 58621 h 346215"/>
                <a:gd name="connsiteX476" fmla="*/ 343068 w 523257"/>
                <a:gd name="connsiteY476" fmla="*/ 57440 h 346215"/>
                <a:gd name="connsiteX477" fmla="*/ 339920 w 523257"/>
                <a:gd name="connsiteY477" fmla="*/ 58621 h 346215"/>
                <a:gd name="connsiteX478" fmla="*/ 336773 w 523257"/>
                <a:gd name="connsiteY478" fmla="*/ 59014 h 346215"/>
                <a:gd name="connsiteX479" fmla="*/ 333626 w 523257"/>
                <a:gd name="connsiteY479" fmla="*/ 61375 h 346215"/>
                <a:gd name="connsiteX480" fmla="*/ 330478 w 523257"/>
                <a:gd name="connsiteY480" fmla="*/ 62161 h 346215"/>
                <a:gd name="connsiteX481" fmla="*/ 330085 w 523257"/>
                <a:gd name="connsiteY481" fmla="*/ 63735 h 346215"/>
                <a:gd name="connsiteX482" fmla="*/ 324183 w 523257"/>
                <a:gd name="connsiteY482" fmla="*/ 62948 h 346215"/>
                <a:gd name="connsiteX483" fmla="*/ 324577 w 523257"/>
                <a:gd name="connsiteY483" fmla="*/ 62555 h 346215"/>
                <a:gd name="connsiteX484" fmla="*/ 327331 w 523257"/>
                <a:gd name="connsiteY484" fmla="*/ 62161 h 346215"/>
                <a:gd name="connsiteX485" fmla="*/ 330872 w 523257"/>
                <a:gd name="connsiteY485" fmla="*/ 61375 h 346215"/>
                <a:gd name="connsiteX486" fmla="*/ 333626 w 523257"/>
                <a:gd name="connsiteY486" fmla="*/ 59801 h 346215"/>
                <a:gd name="connsiteX487" fmla="*/ 330872 w 523257"/>
                <a:gd name="connsiteY487" fmla="*/ 59014 h 346215"/>
                <a:gd name="connsiteX488" fmla="*/ 328118 w 523257"/>
                <a:gd name="connsiteY488" fmla="*/ 60194 h 346215"/>
                <a:gd name="connsiteX489" fmla="*/ 326150 w 523257"/>
                <a:gd name="connsiteY489" fmla="*/ 60588 h 346215"/>
                <a:gd name="connsiteX490" fmla="*/ 326937 w 523257"/>
                <a:gd name="connsiteY490" fmla="*/ 59407 h 346215"/>
                <a:gd name="connsiteX491" fmla="*/ 328511 w 523257"/>
                <a:gd name="connsiteY491" fmla="*/ 59014 h 346215"/>
                <a:gd name="connsiteX492" fmla="*/ 327724 w 523257"/>
                <a:gd name="connsiteY492" fmla="*/ 58621 h 346215"/>
                <a:gd name="connsiteX493" fmla="*/ 328904 w 523257"/>
                <a:gd name="connsiteY493" fmla="*/ 57440 h 346215"/>
                <a:gd name="connsiteX494" fmla="*/ 331658 w 523257"/>
                <a:gd name="connsiteY494" fmla="*/ 57440 h 346215"/>
                <a:gd name="connsiteX495" fmla="*/ 334806 w 523257"/>
                <a:gd name="connsiteY495" fmla="*/ 57047 h 346215"/>
                <a:gd name="connsiteX496" fmla="*/ 337953 w 523257"/>
                <a:gd name="connsiteY496" fmla="*/ 55867 h 346215"/>
                <a:gd name="connsiteX497" fmla="*/ 341101 w 523257"/>
                <a:gd name="connsiteY497" fmla="*/ 54293 h 346215"/>
                <a:gd name="connsiteX498" fmla="*/ 344641 w 523257"/>
                <a:gd name="connsiteY498" fmla="*/ 54686 h 346215"/>
                <a:gd name="connsiteX499" fmla="*/ 347789 w 523257"/>
                <a:gd name="connsiteY499" fmla="*/ 54293 h 346215"/>
                <a:gd name="connsiteX500" fmla="*/ 350543 w 523257"/>
                <a:gd name="connsiteY500" fmla="*/ 51539 h 346215"/>
                <a:gd name="connsiteX501" fmla="*/ 353297 w 523257"/>
                <a:gd name="connsiteY501" fmla="*/ 51539 h 346215"/>
                <a:gd name="connsiteX502" fmla="*/ 350543 w 523257"/>
                <a:gd name="connsiteY502" fmla="*/ 48785 h 346215"/>
                <a:gd name="connsiteX503" fmla="*/ 347396 w 523257"/>
                <a:gd name="connsiteY503" fmla="*/ 48785 h 346215"/>
                <a:gd name="connsiteX504" fmla="*/ 344248 w 523257"/>
                <a:gd name="connsiteY504" fmla="*/ 48391 h 346215"/>
                <a:gd name="connsiteX505" fmla="*/ 341494 w 523257"/>
                <a:gd name="connsiteY505" fmla="*/ 47998 h 346215"/>
                <a:gd name="connsiteX506" fmla="*/ 338347 w 523257"/>
                <a:gd name="connsiteY506" fmla="*/ 47605 h 346215"/>
                <a:gd name="connsiteX507" fmla="*/ 337953 w 523257"/>
                <a:gd name="connsiteY507" fmla="*/ 47605 h 346215"/>
                <a:gd name="connsiteX508" fmla="*/ 340314 w 523257"/>
                <a:gd name="connsiteY508" fmla="*/ 44851 h 346215"/>
                <a:gd name="connsiteX509" fmla="*/ 341887 w 523257"/>
                <a:gd name="connsiteY509" fmla="*/ 41703 h 346215"/>
                <a:gd name="connsiteX510" fmla="*/ 341887 w 523257"/>
                <a:gd name="connsiteY510" fmla="*/ 38949 h 346215"/>
                <a:gd name="connsiteX511" fmla="*/ 339134 w 523257"/>
                <a:gd name="connsiteY511" fmla="*/ 36982 h 346215"/>
                <a:gd name="connsiteX512" fmla="*/ 335986 w 523257"/>
                <a:gd name="connsiteY512" fmla="*/ 35802 h 346215"/>
                <a:gd name="connsiteX513" fmla="*/ 332839 w 523257"/>
                <a:gd name="connsiteY513" fmla="*/ 35408 h 346215"/>
                <a:gd name="connsiteX514" fmla="*/ 329691 w 523257"/>
                <a:gd name="connsiteY514" fmla="*/ 35015 h 346215"/>
                <a:gd name="connsiteX515" fmla="*/ 326544 w 523257"/>
                <a:gd name="connsiteY515" fmla="*/ 35408 h 346215"/>
                <a:gd name="connsiteX516" fmla="*/ 323790 w 523257"/>
                <a:gd name="connsiteY516" fmla="*/ 37769 h 346215"/>
                <a:gd name="connsiteX517" fmla="*/ 324577 w 523257"/>
                <a:gd name="connsiteY517" fmla="*/ 35015 h 346215"/>
                <a:gd name="connsiteX518" fmla="*/ 321429 w 523257"/>
                <a:gd name="connsiteY518" fmla="*/ 34228 h 346215"/>
                <a:gd name="connsiteX519" fmla="*/ 318675 w 523257"/>
                <a:gd name="connsiteY519" fmla="*/ 33835 h 346215"/>
                <a:gd name="connsiteX520" fmla="*/ 315528 w 523257"/>
                <a:gd name="connsiteY520" fmla="*/ 33441 h 346215"/>
                <a:gd name="connsiteX521" fmla="*/ 312380 w 523257"/>
                <a:gd name="connsiteY521" fmla="*/ 30687 h 346215"/>
                <a:gd name="connsiteX522" fmla="*/ 309627 w 523257"/>
                <a:gd name="connsiteY522" fmla="*/ 30294 h 346215"/>
                <a:gd name="connsiteX523" fmla="*/ 300578 w 523257"/>
                <a:gd name="connsiteY523" fmla="*/ 30294 h 346215"/>
                <a:gd name="connsiteX524" fmla="*/ 297430 w 523257"/>
                <a:gd name="connsiteY524" fmla="*/ 30687 h 346215"/>
                <a:gd name="connsiteX525" fmla="*/ 294283 w 523257"/>
                <a:gd name="connsiteY525" fmla="*/ 31474 h 346215"/>
                <a:gd name="connsiteX526" fmla="*/ 290742 w 523257"/>
                <a:gd name="connsiteY526" fmla="*/ 31868 h 346215"/>
                <a:gd name="connsiteX527" fmla="*/ 287595 w 523257"/>
                <a:gd name="connsiteY527" fmla="*/ 32654 h 346215"/>
                <a:gd name="connsiteX528" fmla="*/ 284447 w 523257"/>
                <a:gd name="connsiteY528" fmla="*/ 33048 h 346215"/>
                <a:gd name="connsiteX529" fmla="*/ 281300 w 523257"/>
                <a:gd name="connsiteY529" fmla="*/ 33835 h 346215"/>
                <a:gd name="connsiteX530" fmla="*/ 278153 w 523257"/>
                <a:gd name="connsiteY530" fmla="*/ 35015 h 346215"/>
                <a:gd name="connsiteX531" fmla="*/ 275399 w 523257"/>
                <a:gd name="connsiteY531" fmla="*/ 36195 h 346215"/>
                <a:gd name="connsiteX532" fmla="*/ 272251 w 523257"/>
                <a:gd name="connsiteY532" fmla="*/ 37376 h 346215"/>
                <a:gd name="connsiteX533" fmla="*/ 271071 w 523257"/>
                <a:gd name="connsiteY533" fmla="*/ 40129 h 346215"/>
                <a:gd name="connsiteX534" fmla="*/ 273825 w 523257"/>
                <a:gd name="connsiteY534" fmla="*/ 41703 h 346215"/>
                <a:gd name="connsiteX535" fmla="*/ 276579 w 523257"/>
                <a:gd name="connsiteY535" fmla="*/ 42490 h 346215"/>
                <a:gd name="connsiteX536" fmla="*/ 279726 w 523257"/>
                <a:gd name="connsiteY536" fmla="*/ 42883 h 346215"/>
                <a:gd name="connsiteX537" fmla="*/ 282873 w 523257"/>
                <a:gd name="connsiteY537" fmla="*/ 44064 h 346215"/>
                <a:gd name="connsiteX538" fmla="*/ 285628 w 523257"/>
                <a:gd name="connsiteY538" fmla="*/ 45637 h 346215"/>
                <a:gd name="connsiteX539" fmla="*/ 291529 w 523257"/>
                <a:gd name="connsiteY539" fmla="*/ 45637 h 346215"/>
                <a:gd name="connsiteX540" fmla="*/ 292316 w 523257"/>
                <a:gd name="connsiteY540" fmla="*/ 46031 h 346215"/>
                <a:gd name="connsiteX541" fmla="*/ 290349 w 523257"/>
                <a:gd name="connsiteY541" fmla="*/ 46031 h 346215"/>
                <a:gd name="connsiteX542" fmla="*/ 287595 w 523257"/>
                <a:gd name="connsiteY542" fmla="*/ 46424 h 346215"/>
                <a:gd name="connsiteX543" fmla="*/ 284447 w 523257"/>
                <a:gd name="connsiteY543" fmla="*/ 46424 h 346215"/>
                <a:gd name="connsiteX544" fmla="*/ 281300 w 523257"/>
                <a:gd name="connsiteY544" fmla="*/ 48785 h 346215"/>
                <a:gd name="connsiteX545" fmla="*/ 284054 w 523257"/>
                <a:gd name="connsiteY545" fmla="*/ 46031 h 346215"/>
                <a:gd name="connsiteX546" fmla="*/ 280906 w 523257"/>
                <a:gd name="connsiteY546" fmla="*/ 44457 h 346215"/>
                <a:gd name="connsiteX547" fmla="*/ 277759 w 523257"/>
                <a:gd name="connsiteY547" fmla="*/ 44851 h 346215"/>
                <a:gd name="connsiteX548" fmla="*/ 275005 w 523257"/>
                <a:gd name="connsiteY548" fmla="*/ 43670 h 346215"/>
                <a:gd name="connsiteX549" fmla="*/ 271858 w 523257"/>
                <a:gd name="connsiteY549" fmla="*/ 42883 h 346215"/>
                <a:gd name="connsiteX550" fmla="*/ 269104 w 523257"/>
                <a:gd name="connsiteY550" fmla="*/ 44457 h 346215"/>
                <a:gd name="connsiteX551" fmla="*/ 267530 w 523257"/>
                <a:gd name="connsiteY551" fmla="*/ 47211 h 346215"/>
                <a:gd name="connsiteX552" fmla="*/ 267923 w 523257"/>
                <a:gd name="connsiteY552" fmla="*/ 44457 h 346215"/>
                <a:gd name="connsiteX553" fmla="*/ 264776 w 523257"/>
                <a:gd name="connsiteY553" fmla="*/ 42883 h 346215"/>
                <a:gd name="connsiteX554" fmla="*/ 262022 w 523257"/>
                <a:gd name="connsiteY554" fmla="*/ 44851 h 346215"/>
                <a:gd name="connsiteX555" fmla="*/ 262809 w 523257"/>
                <a:gd name="connsiteY555" fmla="*/ 47605 h 346215"/>
                <a:gd name="connsiteX556" fmla="*/ 265563 w 523257"/>
                <a:gd name="connsiteY556" fmla="*/ 48391 h 346215"/>
                <a:gd name="connsiteX557" fmla="*/ 265169 w 523257"/>
                <a:gd name="connsiteY557" fmla="*/ 51539 h 346215"/>
                <a:gd name="connsiteX558" fmla="*/ 268317 w 523257"/>
                <a:gd name="connsiteY558" fmla="*/ 52326 h 346215"/>
                <a:gd name="connsiteX559" fmla="*/ 269890 w 523257"/>
                <a:gd name="connsiteY559" fmla="*/ 54686 h 346215"/>
                <a:gd name="connsiteX560" fmla="*/ 269104 w 523257"/>
                <a:gd name="connsiteY560" fmla="*/ 55080 h 346215"/>
                <a:gd name="connsiteX561" fmla="*/ 268317 w 523257"/>
                <a:gd name="connsiteY561" fmla="*/ 53899 h 346215"/>
                <a:gd name="connsiteX562" fmla="*/ 265563 w 523257"/>
                <a:gd name="connsiteY562" fmla="*/ 52719 h 346215"/>
                <a:gd name="connsiteX563" fmla="*/ 264383 w 523257"/>
                <a:gd name="connsiteY563" fmla="*/ 55867 h 346215"/>
                <a:gd name="connsiteX564" fmla="*/ 265563 w 523257"/>
                <a:gd name="connsiteY564" fmla="*/ 56653 h 346215"/>
                <a:gd name="connsiteX565" fmla="*/ 264383 w 523257"/>
                <a:gd name="connsiteY565" fmla="*/ 57047 h 346215"/>
                <a:gd name="connsiteX566" fmla="*/ 262809 w 523257"/>
                <a:gd name="connsiteY566" fmla="*/ 54293 h 346215"/>
                <a:gd name="connsiteX567" fmla="*/ 263989 w 523257"/>
                <a:gd name="connsiteY567" fmla="*/ 51145 h 346215"/>
                <a:gd name="connsiteX568" fmla="*/ 262022 w 523257"/>
                <a:gd name="connsiteY568" fmla="*/ 48391 h 346215"/>
                <a:gd name="connsiteX569" fmla="*/ 259268 w 523257"/>
                <a:gd name="connsiteY569" fmla="*/ 47211 h 346215"/>
                <a:gd name="connsiteX570" fmla="*/ 256121 w 523257"/>
                <a:gd name="connsiteY570" fmla="*/ 49178 h 346215"/>
                <a:gd name="connsiteX571" fmla="*/ 254547 w 523257"/>
                <a:gd name="connsiteY571" fmla="*/ 50359 h 346215"/>
                <a:gd name="connsiteX572" fmla="*/ 252580 w 523257"/>
                <a:gd name="connsiteY572" fmla="*/ 49178 h 346215"/>
                <a:gd name="connsiteX573" fmla="*/ 252973 w 523257"/>
                <a:gd name="connsiteY573" fmla="*/ 48785 h 346215"/>
                <a:gd name="connsiteX574" fmla="*/ 256121 w 523257"/>
                <a:gd name="connsiteY574" fmla="*/ 46818 h 346215"/>
                <a:gd name="connsiteX575" fmla="*/ 258875 w 523257"/>
                <a:gd name="connsiteY575" fmla="*/ 44064 h 346215"/>
                <a:gd name="connsiteX576" fmla="*/ 256121 w 523257"/>
                <a:gd name="connsiteY576" fmla="*/ 41703 h 346215"/>
                <a:gd name="connsiteX577" fmla="*/ 253366 w 523257"/>
                <a:gd name="connsiteY577" fmla="*/ 40916 h 346215"/>
                <a:gd name="connsiteX578" fmla="*/ 250219 w 523257"/>
                <a:gd name="connsiteY578" fmla="*/ 42490 h 346215"/>
                <a:gd name="connsiteX579" fmla="*/ 247465 w 523257"/>
                <a:gd name="connsiteY579" fmla="*/ 44064 h 346215"/>
                <a:gd name="connsiteX580" fmla="*/ 245498 w 523257"/>
                <a:gd name="connsiteY580" fmla="*/ 44457 h 346215"/>
                <a:gd name="connsiteX581" fmla="*/ 244711 w 523257"/>
                <a:gd name="connsiteY581" fmla="*/ 43670 h 346215"/>
                <a:gd name="connsiteX582" fmla="*/ 245892 w 523257"/>
                <a:gd name="connsiteY582" fmla="*/ 40916 h 346215"/>
                <a:gd name="connsiteX583" fmla="*/ 247465 w 523257"/>
                <a:gd name="connsiteY583" fmla="*/ 38162 h 346215"/>
                <a:gd name="connsiteX584" fmla="*/ 244318 w 523257"/>
                <a:gd name="connsiteY584" fmla="*/ 39343 h 346215"/>
                <a:gd name="connsiteX585" fmla="*/ 241170 w 523257"/>
                <a:gd name="connsiteY585" fmla="*/ 40523 h 346215"/>
                <a:gd name="connsiteX586" fmla="*/ 239990 w 523257"/>
                <a:gd name="connsiteY586" fmla="*/ 40916 h 346215"/>
                <a:gd name="connsiteX587" fmla="*/ 237236 w 523257"/>
                <a:gd name="connsiteY587" fmla="*/ 42097 h 346215"/>
                <a:gd name="connsiteX588" fmla="*/ 235662 w 523257"/>
                <a:gd name="connsiteY588" fmla="*/ 44851 h 346215"/>
                <a:gd name="connsiteX589" fmla="*/ 236056 w 523257"/>
                <a:gd name="connsiteY589" fmla="*/ 45637 h 346215"/>
                <a:gd name="connsiteX590" fmla="*/ 234876 w 523257"/>
                <a:gd name="connsiteY590" fmla="*/ 47211 h 346215"/>
                <a:gd name="connsiteX591" fmla="*/ 233695 w 523257"/>
                <a:gd name="connsiteY591" fmla="*/ 44457 h 346215"/>
                <a:gd name="connsiteX592" fmla="*/ 230548 w 523257"/>
                <a:gd name="connsiteY592" fmla="*/ 44851 h 346215"/>
                <a:gd name="connsiteX593" fmla="*/ 229761 w 523257"/>
                <a:gd name="connsiteY593" fmla="*/ 45637 h 346215"/>
                <a:gd name="connsiteX594" fmla="*/ 222679 w 523257"/>
                <a:gd name="connsiteY594" fmla="*/ 43277 h 346215"/>
                <a:gd name="connsiteX595" fmla="*/ 225040 w 523257"/>
                <a:gd name="connsiteY595" fmla="*/ 42097 h 346215"/>
                <a:gd name="connsiteX596" fmla="*/ 228187 w 523257"/>
                <a:gd name="connsiteY596" fmla="*/ 41703 h 346215"/>
                <a:gd name="connsiteX597" fmla="*/ 230941 w 523257"/>
                <a:gd name="connsiteY597" fmla="*/ 39736 h 346215"/>
                <a:gd name="connsiteX598" fmla="*/ 228187 w 523257"/>
                <a:gd name="connsiteY598" fmla="*/ 38556 h 346215"/>
                <a:gd name="connsiteX599" fmla="*/ 225040 w 523257"/>
                <a:gd name="connsiteY599" fmla="*/ 39736 h 346215"/>
                <a:gd name="connsiteX600" fmla="*/ 221892 w 523257"/>
                <a:gd name="connsiteY600" fmla="*/ 40129 h 346215"/>
                <a:gd name="connsiteX601" fmla="*/ 218745 w 523257"/>
                <a:gd name="connsiteY601" fmla="*/ 41703 h 346215"/>
                <a:gd name="connsiteX602" fmla="*/ 218352 w 523257"/>
                <a:gd name="connsiteY602" fmla="*/ 41703 h 346215"/>
                <a:gd name="connsiteX603" fmla="*/ 217171 w 523257"/>
                <a:gd name="connsiteY603" fmla="*/ 41310 h 346215"/>
                <a:gd name="connsiteX604" fmla="*/ 218352 w 523257"/>
                <a:gd name="connsiteY604" fmla="*/ 40916 h 346215"/>
                <a:gd name="connsiteX605" fmla="*/ 221499 w 523257"/>
                <a:gd name="connsiteY605" fmla="*/ 39343 h 346215"/>
                <a:gd name="connsiteX606" fmla="*/ 224646 w 523257"/>
                <a:gd name="connsiteY606" fmla="*/ 38556 h 346215"/>
                <a:gd name="connsiteX607" fmla="*/ 227794 w 523257"/>
                <a:gd name="connsiteY607" fmla="*/ 37376 h 346215"/>
                <a:gd name="connsiteX608" fmla="*/ 230941 w 523257"/>
                <a:gd name="connsiteY608" fmla="*/ 36589 h 346215"/>
                <a:gd name="connsiteX609" fmla="*/ 234089 w 523257"/>
                <a:gd name="connsiteY609" fmla="*/ 35015 h 346215"/>
                <a:gd name="connsiteX610" fmla="*/ 236843 w 523257"/>
                <a:gd name="connsiteY610" fmla="*/ 33835 h 346215"/>
                <a:gd name="connsiteX611" fmla="*/ 239203 w 523257"/>
                <a:gd name="connsiteY611" fmla="*/ 31868 h 346215"/>
                <a:gd name="connsiteX612" fmla="*/ 242351 w 523257"/>
                <a:gd name="connsiteY612" fmla="*/ 31081 h 346215"/>
                <a:gd name="connsiteX613" fmla="*/ 239597 w 523257"/>
                <a:gd name="connsiteY613" fmla="*/ 28327 h 346215"/>
                <a:gd name="connsiteX614" fmla="*/ 239597 w 523257"/>
                <a:gd name="connsiteY614" fmla="*/ 25573 h 346215"/>
                <a:gd name="connsiteX615" fmla="*/ 242351 w 523257"/>
                <a:gd name="connsiteY615" fmla="*/ 23606 h 346215"/>
                <a:gd name="connsiteX616" fmla="*/ 245105 w 523257"/>
                <a:gd name="connsiteY616" fmla="*/ 21245 h 346215"/>
                <a:gd name="connsiteX617" fmla="*/ 242351 w 523257"/>
                <a:gd name="connsiteY617" fmla="*/ 18491 h 346215"/>
                <a:gd name="connsiteX618" fmla="*/ 239203 w 523257"/>
                <a:gd name="connsiteY618" fmla="*/ 18098 h 346215"/>
                <a:gd name="connsiteX619" fmla="*/ 236449 w 523257"/>
                <a:gd name="connsiteY619" fmla="*/ 17311 h 346215"/>
                <a:gd name="connsiteX620" fmla="*/ 238810 w 523257"/>
                <a:gd name="connsiteY620" fmla="*/ 14557 h 346215"/>
                <a:gd name="connsiteX621" fmla="*/ 241170 w 523257"/>
                <a:gd name="connsiteY621" fmla="*/ 11409 h 346215"/>
                <a:gd name="connsiteX622" fmla="*/ 242351 w 523257"/>
                <a:gd name="connsiteY622" fmla="*/ 8655 h 346215"/>
                <a:gd name="connsiteX623" fmla="*/ 241564 w 523257"/>
                <a:gd name="connsiteY623" fmla="*/ 5508 h 346215"/>
                <a:gd name="connsiteX624" fmla="*/ 238810 w 523257"/>
                <a:gd name="connsiteY624" fmla="*/ 4721 h 346215"/>
                <a:gd name="connsiteX625" fmla="*/ 235662 w 523257"/>
                <a:gd name="connsiteY625" fmla="*/ 4721 h 346215"/>
                <a:gd name="connsiteX626" fmla="*/ 232909 w 523257"/>
                <a:gd name="connsiteY626" fmla="*/ 4328 h 346215"/>
                <a:gd name="connsiteX627" fmla="*/ 229761 w 523257"/>
                <a:gd name="connsiteY627" fmla="*/ 4328 h 346215"/>
                <a:gd name="connsiteX628" fmla="*/ 226220 w 523257"/>
                <a:gd name="connsiteY628" fmla="*/ 4721 h 346215"/>
                <a:gd name="connsiteX629" fmla="*/ 223073 w 523257"/>
                <a:gd name="connsiteY629" fmla="*/ 4721 h 346215"/>
                <a:gd name="connsiteX630" fmla="*/ 219925 w 523257"/>
                <a:gd name="connsiteY630" fmla="*/ 4328 h 346215"/>
                <a:gd name="connsiteX631" fmla="*/ 213631 w 523257"/>
                <a:gd name="connsiteY631" fmla="*/ 4328 h 346215"/>
                <a:gd name="connsiteX632" fmla="*/ 210876 w 523257"/>
                <a:gd name="connsiteY632" fmla="*/ 5508 h 346215"/>
                <a:gd name="connsiteX633" fmla="*/ 207729 w 523257"/>
                <a:gd name="connsiteY633" fmla="*/ 6688 h 346215"/>
                <a:gd name="connsiteX634" fmla="*/ 204188 w 523257"/>
                <a:gd name="connsiteY634" fmla="*/ 6295 h 346215"/>
                <a:gd name="connsiteX635" fmla="*/ 200647 w 523257"/>
                <a:gd name="connsiteY635" fmla="*/ 6688 h 346215"/>
                <a:gd name="connsiteX636" fmla="*/ 197893 w 523257"/>
                <a:gd name="connsiteY636" fmla="*/ 7082 h 346215"/>
                <a:gd name="connsiteX637" fmla="*/ 194746 w 523257"/>
                <a:gd name="connsiteY637" fmla="*/ 7475 h 346215"/>
                <a:gd name="connsiteX638" fmla="*/ 191599 w 523257"/>
                <a:gd name="connsiteY638" fmla="*/ 7869 h 346215"/>
                <a:gd name="connsiteX639" fmla="*/ 188058 w 523257"/>
                <a:gd name="connsiteY639" fmla="*/ 8655 h 346215"/>
                <a:gd name="connsiteX640" fmla="*/ 185304 w 523257"/>
                <a:gd name="connsiteY640" fmla="*/ 9049 h 346215"/>
                <a:gd name="connsiteX641" fmla="*/ 188058 w 523257"/>
                <a:gd name="connsiteY641" fmla="*/ 10622 h 346215"/>
                <a:gd name="connsiteX642" fmla="*/ 187271 w 523257"/>
                <a:gd name="connsiteY642" fmla="*/ 13376 h 346215"/>
                <a:gd name="connsiteX643" fmla="*/ 184124 w 523257"/>
                <a:gd name="connsiteY643" fmla="*/ 11016 h 346215"/>
                <a:gd name="connsiteX644" fmla="*/ 181370 w 523257"/>
                <a:gd name="connsiteY644" fmla="*/ 10622 h 346215"/>
                <a:gd name="connsiteX645" fmla="*/ 178222 w 523257"/>
                <a:gd name="connsiteY645" fmla="*/ 10622 h 346215"/>
                <a:gd name="connsiteX646" fmla="*/ 175468 w 523257"/>
                <a:gd name="connsiteY646" fmla="*/ 11016 h 346215"/>
                <a:gd name="connsiteX647" fmla="*/ 171927 w 523257"/>
                <a:gd name="connsiteY647" fmla="*/ 11409 h 346215"/>
                <a:gd name="connsiteX648" fmla="*/ 168780 w 523257"/>
                <a:gd name="connsiteY648" fmla="*/ 11803 h 346215"/>
                <a:gd name="connsiteX649" fmla="*/ 168386 w 523257"/>
                <a:gd name="connsiteY649" fmla="*/ 14557 h 346215"/>
                <a:gd name="connsiteX650" fmla="*/ 165632 w 523257"/>
                <a:gd name="connsiteY650" fmla="*/ 14557 h 346215"/>
                <a:gd name="connsiteX651" fmla="*/ 162485 w 523257"/>
                <a:gd name="connsiteY651" fmla="*/ 12590 h 346215"/>
                <a:gd name="connsiteX652" fmla="*/ 159338 w 523257"/>
                <a:gd name="connsiteY652" fmla="*/ 12983 h 346215"/>
                <a:gd name="connsiteX653" fmla="*/ 156190 w 523257"/>
                <a:gd name="connsiteY653" fmla="*/ 13770 h 346215"/>
                <a:gd name="connsiteX654" fmla="*/ 153436 w 523257"/>
                <a:gd name="connsiteY654" fmla="*/ 15737 h 346215"/>
                <a:gd name="connsiteX655" fmla="*/ 156190 w 523257"/>
                <a:gd name="connsiteY655" fmla="*/ 17704 h 346215"/>
                <a:gd name="connsiteX656" fmla="*/ 158944 w 523257"/>
                <a:gd name="connsiteY656" fmla="*/ 18884 h 346215"/>
                <a:gd name="connsiteX657" fmla="*/ 162092 w 523257"/>
                <a:gd name="connsiteY657" fmla="*/ 19278 h 346215"/>
                <a:gd name="connsiteX658" fmla="*/ 164846 w 523257"/>
                <a:gd name="connsiteY658" fmla="*/ 19671 h 346215"/>
                <a:gd name="connsiteX659" fmla="*/ 167600 w 523257"/>
                <a:gd name="connsiteY659" fmla="*/ 20065 h 346215"/>
                <a:gd name="connsiteX660" fmla="*/ 170354 w 523257"/>
                <a:gd name="connsiteY660" fmla="*/ 20852 h 346215"/>
                <a:gd name="connsiteX661" fmla="*/ 173501 w 523257"/>
                <a:gd name="connsiteY661" fmla="*/ 20458 h 346215"/>
                <a:gd name="connsiteX662" fmla="*/ 176255 w 523257"/>
                <a:gd name="connsiteY662" fmla="*/ 21638 h 346215"/>
                <a:gd name="connsiteX663" fmla="*/ 173108 w 523257"/>
                <a:gd name="connsiteY663" fmla="*/ 21245 h 346215"/>
                <a:gd name="connsiteX664" fmla="*/ 170354 w 523257"/>
                <a:gd name="connsiteY664" fmla="*/ 21245 h 346215"/>
                <a:gd name="connsiteX665" fmla="*/ 167600 w 523257"/>
                <a:gd name="connsiteY665" fmla="*/ 20852 h 346215"/>
                <a:gd name="connsiteX666" fmla="*/ 164452 w 523257"/>
                <a:gd name="connsiteY666" fmla="*/ 20458 h 346215"/>
                <a:gd name="connsiteX667" fmla="*/ 161698 w 523257"/>
                <a:gd name="connsiteY667" fmla="*/ 20065 h 346215"/>
                <a:gd name="connsiteX668" fmla="*/ 158551 w 523257"/>
                <a:gd name="connsiteY668" fmla="*/ 19671 h 346215"/>
                <a:gd name="connsiteX669" fmla="*/ 155797 w 523257"/>
                <a:gd name="connsiteY669" fmla="*/ 19278 h 346215"/>
                <a:gd name="connsiteX670" fmla="*/ 152649 w 523257"/>
                <a:gd name="connsiteY670" fmla="*/ 18098 h 346215"/>
                <a:gd name="connsiteX671" fmla="*/ 149502 w 523257"/>
                <a:gd name="connsiteY671" fmla="*/ 17704 h 346215"/>
                <a:gd name="connsiteX672" fmla="*/ 146748 w 523257"/>
                <a:gd name="connsiteY672" fmla="*/ 20065 h 346215"/>
                <a:gd name="connsiteX673" fmla="*/ 143994 w 523257"/>
                <a:gd name="connsiteY673" fmla="*/ 18491 h 346215"/>
                <a:gd name="connsiteX674" fmla="*/ 140847 w 523257"/>
                <a:gd name="connsiteY674" fmla="*/ 20458 h 346215"/>
                <a:gd name="connsiteX675" fmla="*/ 143994 w 523257"/>
                <a:gd name="connsiteY675" fmla="*/ 21245 h 346215"/>
                <a:gd name="connsiteX676" fmla="*/ 146748 w 523257"/>
                <a:gd name="connsiteY676" fmla="*/ 21245 h 346215"/>
                <a:gd name="connsiteX677" fmla="*/ 144781 w 523257"/>
                <a:gd name="connsiteY677" fmla="*/ 23212 h 346215"/>
                <a:gd name="connsiteX678" fmla="*/ 143601 w 523257"/>
                <a:gd name="connsiteY678" fmla="*/ 22819 h 346215"/>
                <a:gd name="connsiteX679" fmla="*/ 140847 w 523257"/>
                <a:gd name="connsiteY679" fmla="*/ 22425 h 346215"/>
                <a:gd name="connsiteX680" fmla="*/ 137699 w 523257"/>
                <a:gd name="connsiteY680" fmla="*/ 22425 h 346215"/>
                <a:gd name="connsiteX681" fmla="*/ 134552 w 523257"/>
                <a:gd name="connsiteY681" fmla="*/ 23999 h 346215"/>
                <a:gd name="connsiteX682" fmla="*/ 131798 w 523257"/>
                <a:gd name="connsiteY682" fmla="*/ 26360 h 346215"/>
                <a:gd name="connsiteX683" fmla="*/ 128650 w 523257"/>
                <a:gd name="connsiteY683" fmla="*/ 28720 h 346215"/>
                <a:gd name="connsiteX684" fmla="*/ 125896 w 523257"/>
                <a:gd name="connsiteY684" fmla="*/ 31868 h 346215"/>
                <a:gd name="connsiteX685" fmla="*/ 128650 w 523257"/>
                <a:gd name="connsiteY685" fmla="*/ 33441 h 346215"/>
                <a:gd name="connsiteX686" fmla="*/ 125896 w 523257"/>
                <a:gd name="connsiteY686" fmla="*/ 33835 h 346215"/>
                <a:gd name="connsiteX687" fmla="*/ 125503 w 523257"/>
                <a:gd name="connsiteY687" fmla="*/ 36589 h 346215"/>
                <a:gd name="connsiteX688" fmla="*/ 129044 w 523257"/>
                <a:gd name="connsiteY688" fmla="*/ 39736 h 346215"/>
                <a:gd name="connsiteX689" fmla="*/ 131011 w 523257"/>
                <a:gd name="connsiteY689" fmla="*/ 40129 h 346215"/>
                <a:gd name="connsiteX690" fmla="*/ 127864 w 523257"/>
                <a:gd name="connsiteY690" fmla="*/ 43670 h 346215"/>
                <a:gd name="connsiteX691" fmla="*/ 127470 w 523257"/>
                <a:gd name="connsiteY691" fmla="*/ 43670 h 346215"/>
                <a:gd name="connsiteX692" fmla="*/ 121569 w 523257"/>
                <a:gd name="connsiteY692" fmla="*/ 43670 h 346215"/>
                <a:gd name="connsiteX693" fmla="*/ 118421 w 523257"/>
                <a:gd name="connsiteY693" fmla="*/ 45637 h 346215"/>
                <a:gd name="connsiteX694" fmla="*/ 116061 w 523257"/>
                <a:gd name="connsiteY694" fmla="*/ 48391 h 346215"/>
                <a:gd name="connsiteX695" fmla="*/ 112913 w 523257"/>
                <a:gd name="connsiteY695" fmla="*/ 49178 h 346215"/>
                <a:gd name="connsiteX696" fmla="*/ 109766 w 523257"/>
                <a:gd name="connsiteY696" fmla="*/ 49572 h 346215"/>
                <a:gd name="connsiteX697" fmla="*/ 107012 w 523257"/>
                <a:gd name="connsiteY697" fmla="*/ 49965 h 346215"/>
                <a:gd name="connsiteX698" fmla="*/ 103864 w 523257"/>
                <a:gd name="connsiteY698" fmla="*/ 50359 h 346215"/>
                <a:gd name="connsiteX699" fmla="*/ 107012 w 523257"/>
                <a:gd name="connsiteY699" fmla="*/ 51932 h 346215"/>
                <a:gd name="connsiteX700" fmla="*/ 109766 w 523257"/>
                <a:gd name="connsiteY700" fmla="*/ 53506 h 346215"/>
                <a:gd name="connsiteX701" fmla="*/ 109766 w 523257"/>
                <a:gd name="connsiteY701" fmla="*/ 56260 h 346215"/>
                <a:gd name="connsiteX702" fmla="*/ 107012 w 523257"/>
                <a:gd name="connsiteY702" fmla="*/ 56653 h 346215"/>
                <a:gd name="connsiteX703" fmla="*/ 109766 w 523257"/>
                <a:gd name="connsiteY703" fmla="*/ 59407 h 346215"/>
                <a:gd name="connsiteX704" fmla="*/ 112520 w 523257"/>
                <a:gd name="connsiteY704" fmla="*/ 59801 h 346215"/>
                <a:gd name="connsiteX705" fmla="*/ 113307 w 523257"/>
                <a:gd name="connsiteY705" fmla="*/ 59801 h 346215"/>
                <a:gd name="connsiteX706" fmla="*/ 107799 w 523257"/>
                <a:gd name="connsiteY706" fmla="*/ 65702 h 346215"/>
                <a:gd name="connsiteX707" fmla="*/ 105045 w 523257"/>
                <a:gd name="connsiteY707" fmla="*/ 65309 h 346215"/>
                <a:gd name="connsiteX708" fmla="*/ 102291 w 523257"/>
                <a:gd name="connsiteY708" fmla="*/ 63735 h 346215"/>
                <a:gd name="connsiteX709" fmla="*/ 99930 w 523257"/>
                <a:gd name="connsiteY709" fmla="*/ 60981 h 346215"/>
                <a:gd name="connsiteX710" fmla="*/ 97963 w 523257"/>
                <a:gd name="connsiteY710" fmla="*/ 58227 h 346215"/>
                <a:gd name="connsiteX711" fmla="*/ 95996 w 523257"/>
                <a:gd name="connsiteY711" fmla="*/ 55080 h 346215"/>
                <a:gd name="connsiteX712" fmla="*/ 95603 w 523257"/>
                <a:gd name="connsiteY712" fmla="*/ 52326 h 346215"/>
                <a:gd name="connsiteX713" fmla="*/ 95996 w 523257"/>
                <a:gd name="connsiteY713" fmla="*/ 49572 h 346215"/>
                <a:gd name="connsiteX714" fmla="*/ 98357 w 523257"/>
                <a:gd name="connsiteY714" fmla="*/ 46424 h 346215"/>
                <a:gd name="connsiteX715" fmla="*/ 101111 w 523257"/>
                <a:gd name="connsiteY715" fmla="*/ 43670 h 346215"/>
                <a:gd name="connsiteX716" fmla="*/ 104258 w 523257"/>
                <a:gd name="connsiteY716" fmla="*/ 41703 h 346215"/>
                <a:gd name="connsiteX717" fmla="*/ 107405 w 523257"/>
                <a:gd name="connsiteY717" fmla="*/ 40523 h 346215"/>
                <a:gd name="connsiteX718" fmla="*/ 110159 w 523257"/>
                <a:gd name="connsiteY718" fmla="*/ 38162 h 346215"/>
                <a:gd name="connsiteX719" fmla="*/ 109373 w 523257"/>
                <a:gd name="connsiteY719" fmla="*/ 35408 h 346215"/>
                <a:gd name="connsiteX720" fmla="*/ 106225 w 523257"/>
                <a:gd name="connsiteY720" fmla="*/ 33048 h 346215"/>
                <a:gd name="connsiteX721" fmla="*/ 108192 w 523257"/>
                <a:gd name="connsiteY721" fmla="*/ 30294 h 346215"/>
                <a:gd name="connsiteX722" fmla="*/ 110946 w 523257"/>
                <a:gd name="connsiteY722" fmla="*/ 27933 h 346215"/>
                <a:gd name="connsiteX723" fmla="*/ 114094 w 523257"/>
                <a:gd name="connsiteY723" fmla="*/ 26360 h 346215"/>
                <a:gd name="connsiteX724" fmla="*/ 116848 w 523257"/>
                <a:gd name="connsiteY724" fmla="*/ 25179 h 346215"/>
                <a:gd name="connsiteX725" fmla="*/ 119995 w 523257"/>
                <a:gd name="connsiteY725" fmla="*/ 23999 h 346215"/>
                <a:gd name="connsiteX726" fmla="*/ 122749 w 523257"/>
                <a:gd name="connsiteY726" fmla="*/ 22425 h 346215"/>
                <a:gd name="connsiteX727" fmla="*/ 125503 w 523257"/>
                <a:gd name="connsiteY727" fmla="*/ 21245 h 346215"/>
                <a:gd name="connsiteX728" fmla="*/ 128650 w 523257"/>
                <a:gd name="connsiteY728" fmla="*/ 19278 h 346215"/>
                <a:gd name="connsiteX729" fmla="*/ 131404 w 523257"/>
                <a:gd name="connsiteY729" fmla="*/ 17704 h 346215"/>
                <a:gd name="connsiteX730" fmla="*/ 134552 w 523257"/>
                <a:gd name="connsiteY730" fmla="*/ 16130 h 346215"/>
                <a:gd name="connsiteX731" fmla="*/ 137699 w 523257"/>
                <a:gd name="connsiteY731" fmla="*/ 14557 h 346215"/>
                <a:gd name="connsiteX732" fmla="*/ 140453 w 523257"/>
                <a:gd name="connsiteY732" fmla="*/ 13376 h 346215"/>
                <a:gd name="connsiteX733" fmla="*/ 143601 w 523257"/>
                <a:gd name="connsiteY733" fmla="*/ 12196 h 346215"/>
                <a:gd name="connsiteX734" fmla="*/ 146748 w 523257"/>
                <a:gd name="connsiteY734" fmla="*/ 11016 h 346215"/>
                <a:gd name="connsiteX735" fmla="*/ 149502 w 523257"/>
                <a:gd name="connsiteY735" fmla="*/ 10229 h 346215"/>
                <a:gd name="connsiteX736" fmla="*/ 152256 w 523257"/>
                <a:gd name="connsiteY736" fmla="*/ 9049 h 346215"/>
                <a:gd name="connsiteX737" fmla="*/ 155403 w 523257"/>
                <a:gd name="connsiteY737" fmla="*/ 8655 h 346215"/>
                <a:gd name="connsiteX738" fmla="*/ 158551 w 523257"/>
                <a:gd name="connsiteY738" fmla="*/ 7869 h 346215"/>
                <a:gd name="connsiteX739" fmla="*/ 161698 w 523257"/>
                <a:gd name="connsiteY739" fmla="*/ 6688 h 346215"/>
                <a:gd name="connsiteX740" fmla="*/ 164452 w 523257"/>
                <a:gd name="connsiteY740" fmla="*/ 6295 h 346215"/>
                <a:gd name="connsiteX741" fmla="*/ 167600 w 523257"/>
                <a:gd name="connsiteY741" fmla="*/ 5508 h 346215"/>
                <a:gd name="connsiteX742" fmla="*/ 170354 w 523257"/>
                <a:gd name="connsiteY742" fmla="*/ 4721 h 346215"/>
                <a:gd name="connsiteX743" fmla="*/ 170747 w 523257"/>
                <a:gd name="connsiteY743" fmla="*/ 1967 h 346215"/>
                <a:gd name="connsiteX744" fmla="*/ 167993 w 523257"/>
                <a:gd name="connsiteY744" fmla="*/ 1574 h 346215"/>
                <a:gd name="connsiteX745" fmla="*/ 164452 w 523257"/>
                <a:gd name="connsiteY745" fmla="*/ 1180 h 346215"/>
                <a:gd name="connsiteX746" fmla="*/ 161305 w 523257"/>
                <a:gd name="connsiteY746" fmla="*/ 1180 h 346215"/>
                <a:gd name="connsiteX747" fmla="*/ 158157 w 523257"/>
                <a:gd name="connsiteY747" fmla="*/ 787 h 346215"/>
                <a:gd name="connsiteX748" fmla="*/ 155010 w 523257"/>
                <a:gd name="connsiteY748" fmla="*/ 393 h 346215"/>
                <a:gd name="connsiteX749" fmla="*/ 151469 w 523257"/>
                <a:gd name="connsiteY749" fmla="*/ 393 h 346215"/>
                <a:gd name="connsiteX750" fmla="*/ 148322 w 523257"/>
                <a:gd name="connsiteY750" fmla="*/ 0 h 346215"/>
                <a:gd name="connsiteX751" fmla="*/ 145174 w 523257"/>
                <a:gd name="connsiteY751" fmla="*/ 393 h 346215"/>
                <a:gd name="connsiteX752" fmla="*/ 138879 w 523257"/>
                <a:gd name="connsiteY752" fmla="*/ 393 h 346215"/>
                <a:gd name="connsiteX753" fmla="*/ 135732 w 523257"/>
                <a:gd name="connsiteY753" fmla="*/ 787 h 346215"/>
                <a:gd name="connsiteX754" fmla="*/ 132585 w 523257"/>
                <a:gd name="connsiteY754" fmla="*/ 1180 h 346215"/>
                <a:gd name="connsiteX755" fmla="*/ 129831 w 523257"/>
                <a:gd name="connsiteY755" fmla="*/ 1180 h 346215"/>
                <a:gd name="connsiteX756" fmla="*/ 126683 w 523257"/>
                <a:gd name="connsiteY756" fmla="*/ 1574 h 346215"/>
                <a:gd name="connsiteX757" fmla="*/ 123929 w 523257"/>
                <a:gd name="connsiteY757" fmla="*/ 1967 h 346215"/>
                <a:gd name="connsiteX758" fmla="*/ 120782 w 523257"/>
                <a:gd name="connsiteY758" fmla="*/ 2361 h 346215"/>
                <a:gd name="connsiteX759" fmla="*/ 117241 w 523257"/>
                <a:gd name="connsiteY759" fmla="*/ 2754 h 346215"/>
                <a:gd name="connsiteX760" fmla="*/ 113700 w 523257"/>
                <a:gd name="connsiteY760" fmla="*/ 3541 h 346215"/>
                <a:gd name="connsiteX761" fmla="*/ 110159 w 523257"/>
                <a:gd name="connsiteY761" fmla="*/ 3934 h 346215"/>
                <a:gd name="connsiteX762" fmla="*/ 107012 w 523257"/>
                <a:gd name="connsiteY762" fmla="*/ 4721 h 346215"/>
                <a:gd name="connsiteX763" fmla="*/ 103864 w 523257"/>
                <a:gd name="connsiteY763" fmla="*/ 5115 h 346215"/>
                <a:gd name="connsiteX764" fmla="*/ 100717 w 523257"/>
                <a:gd name="connsiteY764" fmla="*/ 6295 h 346215"/>
                <a:gd name="connsiteX765" fmla="*/ 97570 w 523257"/>
                <a:gd name="connsiteY765" fmla="*/ 7082 h 346215"/>
                <a:gd name="connsiteX766" fmla="*/ 94422 w 523257"/>
                <a:gd name="connsiteY766" fmla="*/ 7869 h 346215"/>
                <a:gd name="connsiteX767" fmla="*/ 91275 w 523257"/>
                <a:gd name="connsiteY767" fmla="*/ 9049 h 346215"/>
                <a:gd name="connsiteX768" fmla="*/ 88127 w 523257"/>
                <a:gd name="connsiteY768" fmla="*/ 10229 h 346215"/>
                <a:gd name="connsiteX769" fmla="*/ 84980 w 523257"/>
                <a:gd name="connsiteY769" fmla="*/ 11016 h 346215"/>
                <a:gd name="connsiteX770" fmla="*/ 82226 w 523257"/>
                <a:gd name="connsiteY770" fmla="*/ 12196 h 346215"/>
                <a:gd name="connsiteX771" fmla="*/ 79079 w 523257"/>
                <a:gd name="connsiteY771" fmla="*/ 13376 h 346215"/>
                <a:gd name="connsiteX772" fmla="*/ 76325 w 523257"/>
                <a:gd name="connsiteY772" fmla="*/ 14557 h 346215"/>
                <a:gd name="connsiteX773" fmla="*/ 73964 w 523257"/>
                <a:gd name="connsiteY773" fmla="*/ 16130 h 346215"/>
                <a:gd name="connsiteX774" fmla="*/ 70817 w 523257"/>
                <a:gd name="connsiteY774" fmla="*/ 17704 h 346215"/>
                <a:gd name="connsiteX775" fmla="*/ 67669 w 523257"/>
                <a:gd name="connsiteY775" fmla="*/ 18884 h 346215"/>
                <a:gd name="connsiteX776" fmla="*/ 64915 w 523257"/>
                <a:gd name="connsiteY776" fmla="*/ 20458 h 346215"/>
                <a:gd name="connsiteX777" fmla="*/ 61768 w 523257"/>
                <a:gd name="connsiteY777" fmla="*/ 22032 h 346215"/>
                <a:gd name="connsiteX778" fmla="*/ 59014 w 523257"/>
                <a:gd name="connsiteY778" fmla="*/ 24392 h 346215"/>
                <a:gd name="connsiteX779" fmla="*/ 56260 w 523257"/>
                <a:gd name="connsiteY779" fmla="*/ 27146 h 346215"/>
                <a:gd name="connsiteX780" fmla="*/ 55080 w 523257"/>
                <a:gd name="connsiteY780" fmla="*/ 29114 h 346215"/>
                <a:gd name="connsiteX781" fmla="*/ 53899 w 523257"/>
                <a:gd name="connsiteY781" fmla="*/ 29900 h 346215"/>
                <a:gd name="connsiteX782" fmla="*/ 51539 w 523257"/>
                <a:gd name="connsiteY782" fmla="*/ 29900 h 346215"/>
                <a:gd name="connsiteX783" fmla="*/ 48391 w 523257"/>
                <a:gd name="connsiteY783" fmla="*/ 30294 h 346215"/>
                <a:gd name="connsiteX784" fmla="*/ 45637 w 523257"/>
                <a:gd name="connsiteY784" fmla="*/ 33048 h 346215"/>
                <a:gd name="connsiteX785" fmla="*/ 42490 w 523257"/>
                <a:gd name="connsiteY785" fmla="*/ 33441 h 346215"/>
                <a:gd name="connsiteX786" fmla="*/ 39343 w 523257"/>
                <a:gd name="connsiteY786" fmla="*/ 35015 h 346215"/>
                <a:gd name="connsiteX787" fmla="*/ 36589 w 523257"/>
                <a:gd name="connsiteY787" fmla="*/ 37376 h 346215"/>
                <a:gd name="connsiteX788" fmla="*/ 33441 w 523257"/>
                <a:gd name="connsiteY788" fmla="*/ 38162 h 346215"/>
                <a:gd name="connsiteX789" fmla="*/ 30294 w 523257"/>
                <a:gd name="connsiteY789" fmla="*/ 40523 h 346215"/>
                <a:gd name="connsiteX790" fmla="*/ 27540 w 523257"/>
                <a:gd name="connsiteY790" fmla="*/ 42883 h 346215"/>
                <a:gd name="connsiteX791" fmla="*/ 26753 w 523257"/>
                <a:gd name="connsiteY791" fmla="*/ 45244 h 346215"/>
                <a:gd name="connsiteX792" fmla="*/ 20458 w 523257"/>
                <a:gd name="connsiteY792" fmla="*/ 49178 h 346215"/>
                <a:gd name="connsiteX793" fmla="*/ 20065 w 523257"/>
                <a:gd name="connsiteY793" fmla="*/ 49572 h 346215"/>
                <a:gd name="connsiteX794" fmla="*/ 18884 w 523257"/>
                <a:gd name="connsiteY794" fmla="*/ 50752 h 346215"/>
                <a:gd name="connsiteX795" fmla="*/ 18491 w 523257"/>
                <a:gd name="connsiteY795" fmla="*/ 51145 h 346215"/>
                <a:gd name="connsiteX796" fmla="*/ 18098 w 523257"/>
                <a:gd name="connsiteY796" fmla="*/ 51539 h 346215"/>
                <a:gd name="connsiteX797" fmla="*/ 14950 w 523257"/>
                <a:gd name="connsiteY797" fmla="*/ 53113 h 346215"/>
                <a:gd name="connsiteX798" fmla="*/ 14950 w 523257"/>
                <a:gd name="connsiteY798" fmla="*/ 55080 h 346215"/>
                <a:gd name="connsiteX799" fmla="*/ 8655 w 523257"/>
                <a:gd name="connsiteY799" fmla="*/ 61768 h 346215"/>
                <a:gd name="connsiteX800" fmla="*/ 8262 w 523257"/>
                <a:gd name="connsiteY800" fmla="*/ 62161 h 346215"/>
                <a:gd name="connsiteX801" fmla="*/ 7869 w 523257"/>
                <a:gd name="connsiteY801" fmla="*/ 62555 h 346215"/>
                <a:gd name="connsiteX802" fmla="*/ 7082 w 523257"/>
                <a:gd name="connsiteY802" fmla="*/ 63342 h 346215"/>
                <a:gd name="connsiteX803" fmla="*/ 5508 w 523257"/>
                <a:gd name="connsiteY803" fmla="*/ 64915 h 346215"/>
                <a:gd name="connsiteX804" fmla="*/ 5114 w 523257"/>
                <a:gd name="connsiteY804" fmla="*/ 65309 h 346215"/>
                <a:gd name="connsiteX805" fmla="*/ 3541 w 523257"/>
                <a:gd name="connsiteY805" fmla="*/ 66882 h 346215"/>
                <a:gd name="connsiteX806" fmla="*/ 2754 w 523257"/>
                <a:gd name="connsiteY806" fmla="*/ 69636 h 346215"/>
                <a:gd name="connsiteX807" fmla="*/ 5508 w 523257"/>
                <a:gd name="connsiteY807" fmla="*/ 70423 h 346215"/>
                <a:gd name="connsiteX808" fmla="*/ 8262 w 523257"/>
                <a:gd name="connsiteY808" fmla="*/ 70817 h 346215"/>
                <a:gd name="connsiteX809" fmla="*/ 17704 w 523257"/>
                <a:gd name="connsiteY809" fmla="*/ 78292 h 346215"/>
                <a:gd name="connsiteX810" fmla="*/ 15737 w 523257"/>
                <a:gd name="connsiteY810" fmla="*/ 78292 h 346215"/>
                <a:gd name="connsiteX811" fmla="*/ 12590 w 523257"/>
                <a:gd name="connsiteY811" fmla="*/ 78685 h 346215"/>
                <a:gd name="connsiteX812" fmla="*/ 9442 w 523257"/>
                <a:gd name="connsiteY812" fmla="*/ 78685 h 346215"/>
                <a:gd name="connsiteX813" fmla="*/ 6688 w 523257"/>
                <a:gd name="connsiteY813" fmla="*/ 77112 h 346215"/>
                <a:gd name="connsiteX814" fmla="*/ 3541 w 523257"/>
                <a:gd name="connsiteY814" fmla="*/ 77112 h 346215"/>
                <a:gd name="connsiteX815" fmla="*/ 6295 w 523257"/>
                <a:gd name="connsiteY815" fmla="*/ 79866 h 346215"/>
                <a:gd name="connsiteX816" fmla="*/ 3147 w 523257"/>
                <a:gd name="connsiteY816" fmla="*/ 81439 h 346215"/>
                <a:gd name="connsiteX817" fmla="*/ 0 w 523257"/>
                <a:gd name="connsiteY817" fmla="*/ 83800 h 346215"/>
                <a:gd name="connsiteX818" fmla="*/ 1574 w 523257"/>
                <a:gd name="connsiteY818" fmla="*/ 86947 h 346215"/>
                <a:gd name="connsiteX819" fmla="*/ 3147 w 523257"/>
                <a:gd name="connsiteY819" fmla="*/ 89701 h 346215"/>
                <a:gd name="connsiteX820" fmla="*/ 2754 w 523257"/>
                <a:gd name="connsiteY820" fmla="*/ 92455 h 346215"/>
                <a:gd name="connsiteX821" fmla="*/ 6295 w 523257"/>
                <a:gd name="connsiteY821" fmla="*/ 94816 h 346215"/>
                <a:gd name="connsiteX822" fmla="*/ 9049 w 523257"/>
                <a:gd name="connsiteY822" fmla="*/ 95209 h 346215"/>
                <a:gd name="connsiteX823" fmla="*/ 11803 w 523257"/>
                <a:gd name="connsiteY823" fmla="*/ 95603 h 346215"/>
                <a:gd name="connsiteX824" fmla="*/ 14950 w 523257"/>
                <a:gd name="connsiteY824" fmla="*/ 96389 h 346215"/>
                <a:gd name="connsiteX825" fmla="*/ 17704 w 523257"/>
                <a:gd name="connsiteY825" fmla="*/ 97963 h 346215"/>
                <a:gd name="connsiteX826" fmla="*/ 14950 w 523257"/>
                <a:gd name="connsiteY826" fmla="*/ 98357 h 346215"/>
                <a:gd name="connsiteX827" fmla="*/ 11803 w 523257"/>
                <a:gd name="connsiteY827" fmla="*/ 97963 h 346215"/>
                <a:gd name="connsiteX828" fmla="*/ 14557 w 523257"/>
                <a:gd name="connsiteY828" fmla="*/ 99143 h 346215"/>
                <a:gd name="connsiteX829" fmla="*/ 17704 w 523257"/>
                <a:gd name="connsiteY829" fmla="*/ 100717 h 346215"/>
                <a:gd name="connsiteX830" fmla="*/ 20458 w 523257"/>
                <a:gd name="connsiteY830" fmla="*/ 100324 h 346215"/>
                <a:gd name="connsiteX831" fmla="*/ 23606 w 523257"/>
                <a:gd name="connsiteY831" fmla="*/ 99537 h 346215"/>
                <a:gd name="connsiteX832" fmla="*/ 20852 w 523257"/>
                <a:gd name="connsiteY832" fmla="*/ 99143 h 346215"/>
                <a:gd name="connsiteX833" fmla="*/ 23606 w 523257"/>
                <a:gd name="connsiteY833" fmla="*/ 98750 h 346215"/>
                <a:gd name="connsiteX834" fmla="*/ 26753 w 523257"/>
                <a:gd name="connsiteY834" fmla="*/ 98357 h 346215"/>
                <a:gd name="connsiteX835" fmla="*/ 29900 w 523257"/>
                <a:gd name="connsiteY835" fmla="*/ 98750 h 346215"/>
                <a:gd name="connsiteX836" fmla="*/ 32654 w 523257"/>
                <a:gd name="connsiteY836" fmla="*/ 99143 h 346215"/>
                <a:gd name="connsiteX837" fmla="*/ 35408 w 523257"/>
                <a:gd name="connsiteY837" fmla="*/ 99537 h 346215"/>
                <a:gd name="connsiteX838" fmla="*/ 38162 w 523257"/>
                <a:gd name="connsiteY838" fmla="*/ 99143 h 346215"/>
                <a:gd name="connsiteX839" fmla="*/ 35408 w 523257"/>
                <a:gd name="connsiteY839" fmla="*/ 96783 h 346215"/>
                <a:gd name="connsiteX840" fmla="*/ 38162 w 523257"/>
                <a:gd name="connsiteY840" fmla="*/ 95209 h 346215"/>
                <a:gd name="connsiteX841" fmla="*/ 38949 w 523257"/>
                <a:gd name="connsiteY841" fmla="*/ 94816 h 346215"/>
                <a:gd name="connsiteX842" fmla="*/ 41703 w 523257"/>
                <a:gd name="connsiteY842" fmla="*/ 97176 h 346215"/>
                <a:gd name="connsiteX843" fmla="*/ 40916 w 523257"/>
                <a:gd name="connsiteY843" fmla="*/ 97570 h 346215"/>
                <a:gd name="connsiteX844" fmla="*/ 42490 w 523257"/>
                <a:gd name="connsiteY844" fmla="*/ 97963 h 346215"/>
                <a:gd name="connsiteX845" fmla="*/ 46031 w 523257"/>
                <a:gd name="connsiteY845" fmla="*/ 100717 h 346215"/>
                <a:gd name="connsiteX846" fmla="*/ 45637 w 523257"/>
                <a:gd name="connsiteY846" fmla="*/ 101504 h 346215"/>
                <a:gd name="connsiteX847" fmla="*/ 47998 w 523257"/>
                <a:gd name="connsiteY847" fmla="*/ 104258 h 346215"/>
                <a:gd name="connsiteX848" fmla="*/ 50752 w 523257"/>
                <a:gd name="connsiteY848" fmla="*/ 105832 h 346215"/>
                <a:gd name="connsiteX849" fmla="*/ 53899 w 523257"/>
                <a:gd name="connsiteY849" fmla="*/ 107405 h 346215"/>
                <a:gd name="connsiteX850" fmla="*/ 54686 w 523257"/>
                <a:gd name="connsiteY850" fmla="*/ 107799 h 346215"/>
                <a:gd name="connsiteX851" fmla="*/ 58227 w 523257"/>
                <a:gd name="connsiteY851" fmla="*/ 107799 h 346215"/>
                <a:gd name="connsiteX852" fmla="*/ 63342 w 523257"/>
                <a:gd name="connsiteY852" fmla="*/ 107799 h 346215"/>
                <a:gd name="connsiteX853" fmla="*/ 66096 w 523257"/>
                <a:gd name="connsiteY853" fmla="*/ 108192 h 346215"/>
                <a:gd name="connsiteX854" fmla="*/ 66882 w 523257"/>
                <a:gd name="connsiteY854" fmla="*/ 107799 h 346215"/>
                <a:gd name="connsiteX855" fmla="*/ 79472 w 523257"/>
                <a:gd name="connsiteY855" fmla="*/ 107799 h 346215"/>
                <a:gd name="connsiteX856" fmla="*/ 80259 w 523257"/>
                <a:gd name="connsiteY856" fmla="*/ 107799 h 346215"/>
                <a:gd name="connsiteX857" fmla="*/ 82620 w 523257"/>
                <a:gd name="connsiteY857" fmla="*/ 107799 h 346215"/>
                <a:gd name="connsiteX858" fmla="*/ 84587 w 523257"/>
                <a:gd name="connsiteY858" fmla="*/ 107799 h 346215"/>
                <a:gd name="connsiteX859" fmla="*/ 87734 w 523257"/>
                <a:gd name="connsiteY859" fmla="*/ 108192 h 346215"/>
                <a:gd name="connsiteX860" fmla="*/ 90881 w 523257"/>
                <a:gd name="connsiteY860" fmla="*/ 108192 h 346215"/>
                <a:gd name="connsiteX861" fmla="*/ 96389 w 523257"/>
                <a:gd name="connsiteY861" fmla="*/ 108586 h 346215"/>
                <a:gd name="connsiteX862" fmla="*/ 99537 w 523257"/>
                <a:gd name="connsiteY862" fmla="*/ 108979 h 346215"/>
                <a:gd name="connsiteX863" fmla="*/ 102684 w 523257"/>
                <a:gd name="connsiteY863" fmla="*/ 108586 h 346215"/>
                <a:gd name="connsiteX864" fmla="*/ 105438 w 523257"/>
                <a:gd name="connsiteY864" fmla="*/ 108192 h 346215"/>
                <a:gd name="connsiteX865" fmla="*/ 108586 w 523257"/>
                <a:gd name="connsiteY865" fmla="*/ 107405 h 346215"/>
                <a:gd name="connsiteX866" fmla="*/ 108979 w 523257"/>
                <a:gd name="connsiteY866" fmla="*/ 107405 h 346215"/>
                <a:gd name="connsiteX867" fmla="*/ 110159 w 523257"/>
                <a:gd name="connsiteY867" fmla="*/ 107405 h 346215"/>
                <a:gd name="connsiteX868" fmla="*/ 110946 w 523257"/>
                <a:gd name="connsiteY868" fmla="*/ 107405 h 346215"/>
                <a:gd name="connsiteX869" fmla="*/ 114881 w 523257"/>
                <a:gd name="connsiteY869" fmla="*/ 107405 h 346215"/>
                <a:gd name="connsiteX870" fmla="*/ 117634 w 523257"/>
                <a:gd name="connsiteY870" fmla="*/ 108979 h 346215"/>
                <a:gd name="connsiteX871" fmla="*/ 120782 w 523257"/>
                <a:gd name="connsiteY871" fmla="*/ 109766 h 346215"/>
                <a:gd name="connsiteX872" fmla="*/ 123536 w 523257"/>
                <a:gd name="connsiteY872" fmla="*/ 111733 h 346215"/>
                <a:gd name="connsiteX873" fmla="*/ 126683 w 523257"/>
                <a:gd name="connsiteY873" fmla="*/ 111340 h 346215"/>
                <a:gd name="connsiteX874" fmla="*/ 129437 w 523257"/>
                <a:gd name="connsiteY874" fmla="*/ 113700 h 346215"/>
                <a:gd name="connsiteX875" fmla="*/ 132191 w 523257"/>
                <a:gd name="connsiteY875" fmla="*/ 111733 h 346215"/>
                <a:gd name="connsiteX876" fmla="*/ 135732 w 523257"/>
                <a:gd name="connsiteY876" fmla="*/ 111733 h 346215"/>
                <a:gd name="connsiteX877" fmla="*/ 138486 w 523257"/>
                <a:gd name="connsiteY877" fmla="*/ 110946 h 346215"/>
                <a:gd name="connsiteX878" fmla="*/ 141634 w 523257"/>
                <a:gd name="connsiteY878" fmla="*/ 109373 h 346215"/>
                <a:gd name="connsiteX879" fmla="*/ 138486 w 523257"/>
                <a:gd name="connsiteY879" fmla="*/ 108192 h 346215"/>
                <a:gd name="connsiteX880" fmla="*/ 138093 w 523257"/>
                <a:gd name="connsiteY880" fmla="*/ 107405 h 346215"/>
                <a:gd name="connsiteX881" fmla="*/ 141240 w 523257"/>
                <a:gd name="connsiteY881" fmla="*/ 107405 h 346215"/>
                <a:gd name="connsiteX882" fmla="*/ 144388 w 523257"/>
                <a:gd name="connsiteY882" fmla="*/ 108586 h 346215"/>
                <a:gd name="connsiteX883" fmla="*/ 147141 w 523257"/>
                <a:gd name="connsiteY883" fmla="*/ 109766 h 346215"/>
                <a:gd name="connsiteX884" fmla="*/ 150682 w 523257"/>
                <a:gd name="connsiteY884" fmla="*/ 112127 h 346215"/>
                <a:gd name="connsiteX885" fmla="*/ 153436 w 523257"/>
                <a:gd name="connsiteY885" fmla="*/ 114487 h 346215"/>
                <a:gd name="connsiteX886" fmla="*/ 156190 w 523257"/>
                <a:gd name="connsiteY886" fmla="*/ 114880 h 346215"/>
                <a:gd name="connsiteX887" fmla="*/ 157764 w 523257"/>
                <a:gd name="connsiteY887" fmla="*/ 112127 h 346215"/>
                <a:gd name="connsiteX888" fmla="*/ 154617 w 523257"/>
                <a:gd name="connsiteY888" fmla="*/ 109373 h 346215"/>
                <a:gd name="connsiteX889" fmla="*/ 154223 w 523257"/>
                <a:gd name="connsiteY889" fmla="*/ 107405 h 346215"/>
                <a:gd name="connsiteX890" fmla="*/ 171927 w 523257"/>
                <a:gd name="connsiteY890" fmla="*/ 107405 h 346215"/>
                <a:gd name="connsiteX891" fmla="*/ 174288 w 523257"/>
                <a:gd name="connsiteY891" fmla="*/ 107405 h 346215"/>
                <a:gd name="connsiteX892" fmla="*/ 177435 w 523257"/>
                <a:gd name="connsiteY892" fmla="*/ 107405 h 346215"/>
                <a:gd name="connsiteX893" fmla="*/ 179009 w 523257"/>
                <a:gd name="connsiteY893" fmla="*/ 108979 h 346215"/>
                <a:gd name="connsiteX894" fmla="*/ 182550 w 523257"/>
                <a:gd name="connsiteY894" fmla="*/ 108979 h 346215"/>
                <a:gd name="connsiteX895" fmla="*/ 183337 w 523257"/>
                <a:gd name="connsiteY895" fmla="*/ 111340 h 346215"/>
                <a:gd name="connsiteX896" fmla="*/ 186484 w 523257"/>
                <a:gd name="connsiteY896" fmla="*/ 111733 h 346215"/>
                <a:gd name="connsiteX897" fmla="*/ 189238 w 523257"/>
                <a:gd name="connsiteY897" fmla="*/ 110946 h 346215"/>
                <a:gd name="connsiteX898" fmla="*/ 197893 w 523257"/>
                <a:gd name="connsiteY898" fmla="*/ 110946 h 346215"/>
                <a:gd name="connsiteX899" fmla="*/ 201041 w 523257"/>
                <a:gd name="connsiteY899" fmla="*/ 110553 h 346215"/>
                <a:gd name="connsiteX900" fmla="*/ 203795 w 523257"/>
                <a:gd name="connsiteY900" fmla="*/ 110946 h 346215"/>
                <a:gd name="connsiteX901" fmla="*/ 206942 w 523257"/>
                <a:gd name="connsiteY901" fmla="*/ 109766 h 346215"/>
                <a:gd name="connsiteX902" fmla="*/ 209303 w 523257"/>
                <a:gd name="connsiteY902" fmla="*/ 107405 h 346215"/>
                <a:gd name="connsiteX903" fmla="*/ 230154 w 523257"/>
                <a:gd name="connsiteY903" fmla="*/ 107405 h 346215"/>
                <a:gd name="connsiteX904" fmla="*/ 228187 w 523257"/>
                <a:gd name="connsiteY904" fmla="*/ 110553 h 346215"/>
                <a:gd name="connsiteX905" fmla="*/ 226614 w 523257"/>
                <a:gd name="connsiteY905" fmla="*/ 113307 h 346215"/>
                <a:gd name="connsiteX906" fmla="*/ 229368 w 523257"/>
                <a:gd name="connsiteY906" fmla="*/ 113700 h 346215"/>
                <a:gd name="connsiteX907" fmla="*/ 232515 w 523257"/>
                <a:gd name="connsiteY907" fmla="*/ 111340 h 346215"/>
                <a:gd name="connsiteX908" fmla="*/ 234089 w 523257"/>
                <a:gd name="connsiteY908" fmla="*/ 110946 h 346215"/>
                <a:gd name="connsiteX909" fmla="*/ 239597 w 523257"/>
                <a:gd name="connsiteY909" fmla="*/ 116454 h 346215"/>
                <a:gd name="connsiteX910" fmla="*/ 239203 w 523257"/>
                <a:gd name="connsiteY910" fmla="*/ 116454 h 346215"/>
                <a:gd name="connsiteX911" fmla="*/ 236056 w 523257"/>
                <a:gd name="connsiteY911" fmla="*/ 116848 h 346215"/>
                <a:gd name="connsiteX912" fmla="*/ 239203 w 523257"/>
                <a:gd name="connsiteY912" fmla="*/ 119208 h 346215"/>
                <a:gd name="connsiteX913" fmla="*/ 241957 w 523257"/>
                <a:gd name="connsiteY913" fmla="*/ 118421 h 346215"/>
                <a:gd name="connsiteX914" fmla="*/ 243531 w 523257"/>
                <a:gd name="connsiteY914" fmla="*/ 119208 h 346215"/>
                <a:gd name="connsiteX915" fmla="*/ 245498 w 523257"/>
                <a:gd name="connsiteY915" fmla="*/ 120782 h 346215"/>
                <a:gd name="connsiteX916" fmla="*/ 246678 w 523257"/>
                <a:gd name="connsiteY916" fmla="*/ 122749 h 346215"/>
                <a:gd name="connsiteX917" fmla="*/ 248646 w 523257"/>
                <a:gd name="connsiteY917" fmla="*/ 123536 h 346215"/>
                <a:gd name="connsiteX918" fmla="*/ 258088 w 523257"/>
                <a:gd name="connsiteY918" fmla="*/ 132585 h 346215"/>
                <a:gd name="connsiteX919" fmla="*/ 257694 w 523257"/>
                <a:gd name="connsiteY919" fmla="*/ 133372 h 346215"/>
                <a:gd name="connsiteX920" fmla="*/ 254547 w 523257"/>
                <a:gd name="connsiteY920" fmla="*/ 133372 h 346215"/>
                <a:gd name="connsiteX921" fmla="*/ 251793 w 523257"/>
                <a:gd name="connsiteY921" fmla="*/ 134552 h 346215"/>
                <a:gd name="connsiteX922" fmla="*/ 248646 w 523257"/>
                <a:gd name="connsiteY922" fmla="*/ 134945 h 346215"/>
                <a:gd name="connsiteX923" fmla="*/ 245892 w 523257"/>
                <a:gd name="connsiteY923" fmla="*/ 135732 h 346215"/>
                <a:gd name="connsiteX924" fmla="*/ 242744 w 523257"/>
                <a:gd name="connsiteY924" fmla="*/ 134158 h 346215"/>
                <a:gd name="connsiteX925" fmla="*/ 239597 w 523257"/>
                <a:gd name="connsiteY925" fmla="*/ 134158 h 346215"/>
                <a:gd name="connsiteX926" fmla="*/ 236843 w 523257"/>
                <a:gd name="connsiteY926" fmla="*/ 134552 h 346215"/>
                <a:gd name="connsiteX927" fmla="*/ 234089 w 523257"/>
                <a:gd name="connsiteY927" fmla="*/ 134945 h 346215"/>
                <a:gd name="connsiteX928" fmla="*/ 231335 w 523257"/>
                <a:gd name="connsiteY928" fmla="*/ 137306 h 346215"/>
                <a:gd name="connsiteX929" fmla="*/ 231335 w 523257"/>
                <a:gd name="connsiteY929" fmla="*/ 140453 h 346215"/>
                <a:gd name="connsiteX930" fmla="*/ 228581 w 523257"/>
                <a:gd name="connsiteY930" fmla="*/ 141633 h 346215"/>
                <a:gd name="connsiteX931" fmla="*/ 227007 w 523257"/>
                <a:gd name="connsiteY931" fmla="*/ 144387 h 346215"/>
                <a:gd name="connsiteX932" fmla="*/ 230548 w 523257"/>
                <a:gd name="connsiteY932" fmla="*/ 144781 h 346215"/>
                <a:gd name="connsiteX933" fmla="*/ 233302 w 523257"/>
                <a:gd name="connsiteY933" fmla="*/ 144387 h 346215"/>
                <a:gd name="connsiteX934" fmla="*/ 236449 w 523257"/>
                <a:gd name="connsiteY934" fmla="*/ 143994 h 346215"/>
                <a:gd name="connsiteX935" fmla="*/ 239203 w 523257"/>
                <a:gd name="connsiteY935" fmla="*/ 143207 h 346215"/>
                <a:gd name="connsiteX936" fmla="*/ 242351 w 523257"/>
                <a:gd name="connsiteY936" fmla="*/ 142420 h 346215"/>
                <a:gd name="connsiteX937" fmla="*/ 245105 w 523257"/>
                <a:gd name="connsiteY937" fmla="*/ 140847 h 346215"/>
                <a:gd name="connsiteX938" fmla="*/ 248646 w 523257"/>
                <a:gd name="connsiteY938" fmla="*/ 140453 h 346215"/>
                <a:gd name="connsiteX939" fmla="*/ 251399 w 523257"/>
                <a:gd name="connsiteY939" fmla="*/ 140060 h 346215"/>
                <a:gd name="connsiteX940" fmla="*/ 254547 w 523257"/>
                <a:gd name="connsiteY940" fmla="*/ 139273 h 346215"/>
                <a:gd name="connsiteX941" fmla="*/ 256907 w 523257"/>
                <a:gd name="connsiteY941" fmla="*/ 136519 h 346215"/>
                <a:gd name="connsiteX942" fmla="*/ 259661 w 523257"/>
                <a:gd name="connsiteY942" fmla="*/ 135732 h 346215"/>
                <a:gd name="connsiteX943" fmla="*/ 262022 w 523257"/>
                <a:gd name="connsiteY943" fmla="*/ 138486 h 346215"/>
                <a:gd name="connsiteX944" fmla="*/ 264776 w 523257"/>
                <a:gd name="connsiteY944" fmla="*/ 138879 h 346215"/>
                <a:gd name="connsiteX945" fmla="*/ 265169 w 523257"/>
                <a:gd name="connsiteY945" fmla="*/ 138879 h 346215"/>
                <a:gd name="connsiteX946" fmla="*/ 267923 w 523257"/>
                <a:gd name="connsiteY946" fmla="*/ 141633 h 346215"/>
                <a:gd name="connsiteX947" fmla="*/ 267530 w 523257"/>
                <a:gd name="connsiteY947" fmla="*/ 141633 h 346215"/>
                <a:gd name="connsiteX948" fmla="*/ 268317 w 523257"/>
                <a:gd name="connsiteY948" fmla="*/ 142027 h 346215"/>
                <a:gd name="connsiteX949" fmla="*/ 272251 w 523257"/>
                <a:gd name="connsiteY949" fmla="*/ 145568 h 346215"/>
                <a:gd name="connsiteX950" fmla="*/ 272644 w 523257"/>
                <a:gd name="connsiteY950" fmla="*/ 145961 h 346215"/>
                <a:gd name="connsiteX951" fmla="*/ 273431 w 523257"/>
                <a:gd name="connsiteY951" fmla="*/ 149109 h 346215"/>
                <a:gd name="connsiteX952" fmla="*/ 276579 w 523257"/>
                <a:gd name="connsiteY952" fmla="*/ 149895 h 346215"/>
                <a:gd name="connsiteX953" fmla="*/ 276972 w 523257"/>
                <a:gd name="connsiteY953" fmla="*/ 149895 h 346215"/>
                <a:gd name="connsiteX954" fmla="*/ 282087 w 523257"/>
                <a:gd name="connsiteY954" fmla="*/ 154617 h 346215"/>
                <a:gd name="connsiteX955" fmla="*/ 282087 w 523257"/>
                <a:gd name="connsiteY955" fmla="*/ 155403 h 346215"/>
                <a:gd name="connsiteX956" fmla="*/ 282873 w 523257"/>
                <a:gd name="connsiteY956" fmla="*/ 155403 h 346215"/>
                <a:gd name="connsiteX957" fmla="*/ 284841 w 523257"/>
                <a:gd name="connsiteY957" fmla="*/ 157371 h 346215"/>
                <a:gd name="connsiteX958" fmla="*/ 293890 w 523257"/>
                <a:gd name="connsiteY958" fmla="*/ 166026 h 346215"/>
                <a:gd name="connsiteX959" fmla="*/ 292709 w 523257"/>
                <a:gd name="connsiteY959" fmla="*/ 167206 h 346215"/>
                <a:gd name="connsiteX960" fmla="*/ 295463 w 523257"/>
                <a:gd name="connsiteY960" fmla="*/ 169173 h 346215"/>
                <a:gd name="connsiteX961" fmla="*/ 296643 w 523257"/>
                <a:gd name="connsiteY961" fmla="*/ 171927 h 346215"/>
                <a:gd name="connsiteX962" fmla="*/ 294283 w 523257"/>
                <a:gd name="connsiteY962" fmla="*/ 174681 h 346215"/>
                <a:gd name="connsiteX963" fmla="*/ 295857 w 523257"/>
                <a:gd name="connsiteY963" fmla="*/ 177435 h 346215"/>
                <a:gd name="connsiteX964" fmla="*/ 294283 w 523257"/>
                <a:gd name="connsiteY964" fmla="*/ 180189 h 346215"/>
                <a:gd name="connsiteX965" fmla="*/ 293890 w 523257"/>
                <a:gd name="connsiteY965" fmla="*/ 183337 h 346215"/>
                <a:gd name="connsiteX966" fmla="*/ 295463 w 523257"/>
                <a:gd name="connsiteY966" fmla="*/ 186091 h 346215"/>
                <a:gd name="connsiteX967" fmla="*/ 292709 w 523257"/>
                <a:gd name="connsiteY967" fmla="*/ 187664 h 346215"/>
                <a:gd name="connsiteX968" fmla="*/ 289955 w 523257"/>
                <a:gd name="connsiteY968" fmla="*/ 190025 h 346215"/>
                <a:gd name="connsiteX969" fmla="*/ 286808 w 523257"/>
                <a:gd name="connsiteY969" fmla="*/ 190812 h 346215"/>
                <a:gd name="connsiteX970" fmla="*/ 284054 w 523257"/>
                <a:gd name="connsiteY970" fmla="*/ 191205 h 346215"/>
                <a:gd name="connsiteX971" fmla="*/ 281300 w 523257"/>
                <a:gd name="connsiteY971" fmla="*/ 191205 h 346215"/>
                <a:gd name="connsiteX972" fmla="*/ 278153 w 523257"/>
                <a:gd name="connsiteY972" fmla="*/ 192385 h 346215"/>
                <a:gd name="connsiteX973" fmla="*/ 275005 w 523257"/>
                <a:gd name="connsiteY973" fmla="*/ 194353 h 346215"/>
                <a:gd name="connsiteX974" fmla="*/ 272251 w 523257"/>
                <a:gd name="connsiteY974" fmla="*/ 196713 h 346215"/>
                <a:gd name="connsiteX975" fmla="*/ 269497 w 523257"/>
                <a:gd name="connsiteY975" fmla="*/ 198680 h 346215"/>
                <a:gd name="connsiteX976" fmla="*/ 269890 w 523257"/>
                <a:gd name="connsiteY976" fmla="*/ 201434 h 346215"/>
                <a:gd name="connsiteX977" fmla="*/ 272644 w 523257"/>
                <a:gd name="connsiteY977" fmla="*/ 202221 h 346215"/>
                <a:gd name="connsiteX978" fmla="*/ 278546 w 523257"/>
                <a:gd name="connsiteY978" fmla="*/ 202221 h 346215"/>
                <a:gd name="connsiteX979" fmla="*/ 281300 w 523257"/>
                <a:gd name="connsiteY979" fmla="*/ 201828 h 346215"/>
                <a:gd name="connsiteX980" fmla="*/ 284447 w 523257"/>
                <a:gd name="connsiteY980" fmla="*/ 202221 h 346215"/>
                <a:gd name="connsiteX981" fmla="*/ 287201 w 523257"/>
                <a:gd name="connsiteY981" fmla="*/ 202221 h 346215"/>
                <a:gd name="connsiteX982" fmla="*/ 290349 w 523257"/>
                <a:gd name="connsiteY982" fmla="*/ 203008 h 346215"/>
                <a:gd name="connsiteX983" fmla="*/ 293103 w 523257"/>
                <a:gd name="connsiteY983" fmla="*/ 203401 h 346215"/>
                <a:gd name="connsiteX984" fmla="*/ 296250 w 523257"/>
                <a:gd name="connsiteY984" fmla="*/ 204188 h 346215"/>
                <a:gd name="connsiteX985" fmla="*/ 299004 w 523257"/>
                <a:gd name="connsiteY985" fmla="*/ 204582 h 346215"/>
                <a:gd name="connsiteX986" fmla="*/ 302151 w 523257"/>
                <a:gd name="connsiteY986" fmla="*/ 203008 h 346215"/>
                <a:gd name="connsiteX987" fmla="*/ 310807 w 523257"/>
                <a:gd name="connsiteY987" fmla="*/ 196320 h 346215"/>
                <a:gd name="connsiteX988" fmla="*/ 310807 w 523257"/>
                <a:gd name="connsiteY988" fmla="*/ 193566 h 346215"/>
                <a:gd name="connsiteX989" fmla="*/ 313561 w 523257"/>
                <a:gd name="connsiteY989" fmla="*/ 192779 h 346215"/>
                <a:gd name="connsiteX990" fmla="*/ 316708 w 523257"/>
                <a:gd name="connsiteY990" fmla="*/ 192385 h 346215"/>
                <a:gd name="connsiteX991" fmla="*/ 319856 w 523257"/>
                <a:gd name="connsiteY991" fmla="*/ 193172 h 346215"/>
                <a:gd name="connsiteX992" fmla="*/ 322610 w 523257"/>
                <a:gd name="connsiteY992" fmla="*/ 193959 h 346215"/>
                <a:gd name="connsiteX993" fmla="*/ 319856 w 523257"/>
                <a:gd name="connsiteY993" fmla="*/ 195139 h 346215"/>
                <a:gd name="connsiteX994" fmla="*/ 322610 w 523257"/>
                <a:gd name="connsiteY994" fmla="*/ 196713 h 346215"/>
                <a:gd name="connsiteX995" fmla="*/ 321823 w 523257"/>
                <a:gd name="connsiteY995" fmla="*/ 199467 h 346215"/>
                <a:gd name="connsiteX996" fmla="*/ 324577 w 523257"/>
                <a:gd name="connsiteY996" fmla="*/ 201041 h 346215"/>
                <a:gd name="connsiteX997" fmla="*/ 327724 w 523257"/>
                <a:gd name="connsiteY997" fmla="*/ 201434 h 346215"/>
                <a:gd name="connsiteX998" fmla="*/ 330478 w 523257"/>
                <a:gd name="connsiteY998" fmla="*/ 201828 h 346215"/>
                <a:gd name="connsiteX999" fmla="*/ 333232 w 523257"/>
                <a:gd name="connsiteY999" fmla="*/ 202221 h 346215"/>
                <a:gd name="connsiteX1000" fmla="*/ 324577 w 523257"/>
                <a:gd name="connsiteY1000" fmla="*/ 215598 h 346215"/>
                <a:gd name="connsiteX1001" fmla="*/ 321429 w 523257"/>
                <a:gd name="connsiteY1001" fmla="*/ 215598 h 346215"/>
                <a:gd name="connsiteX1002" fmla="*/ 318675 w 523257"/>
                <a:gd name="connsiteY1002" fmla="*/ 217171 h 346215"/>
                <a:gd name="connsiteX1003" fmla="*/ 315921 w 523257"/>
                <a:gd name="connsiteY1003" fmla="*/ 217565 h 346215"/>
                <a:gd name="connsiteX1004" fmla="*/ 313167 w 523257"/>
                <a:gd name="connsiteY1004" fmla="*/ 215204 h 346215"/>
                <a:gd name="connsiteX1005" fmla="*/ 310413 w 523257"/>
                <a:gd name="connsiteY1005" fmla="*/ 215598 h 346215"/>
                <a:gd name="connsiteX1006" fmla="*/ 307266 w 523257"/>
                <a:gd name="connsiteY1006" fmla="*/ 217565 h 346215"/>
                <a:gd name="connsiteX1007" fmla="*/ 304512 w 523257"/>
                <a:gd name="connsiteY1007" fmla="*/ 217958 h 346215"/>
                <a:gd name="connsiteX1008" fmla="*/ 301758 w 523257"/>
                <a:gd name="connsiteY1008" fmla="*/ 219532 h 346215"/>
                <a:gd name="connsiteX1009" fmla="*/ 298611 w 523257"/>
                <a:gd name="connsiteY1009" fmla="*/ 220712 h 346215"/>
                <a:gd name="connsiteX1010" fmla="*/ 295857 w 523257"/>
                <a:gd name="connsiteY1010" fmla="*/ 223073 h 346215"/>
                <a:gd name="connsiteX1011" fmla="*/ 289955 w 523257"/>
                <a:gd name="connsiteY1011" fmla="*/ 224646 h 346215"/>
                <a:gd name="connsiteX1012" fmla="*/ 291529 w 523257"/>
                <a:gd name="connsiteY1012" fmla="*/ 223073 h 346215"/>
                <a:gd name="connsiteX1013" fmla="*/ 294283 w 523257"/>
                <a:gd name="connsiteY1013" fmla="*/ 222679 h 346215"/>
                <a:gd name="connsiteX1014" fmla="*/ 297037 w 523257"/>
                <a:gd name="connsiteY1014" fmla="*/ 220712 h 346215"/>
                <a:gd name="connsiteX1015" fmla="*/ 294283 w 523257"/>
                <a:gd name="connsiteY1015" fmla="*/ 220319 h 346215"/>
                <a:gd name="connsiteX1016" fmla="*/ 297430 w 523257"/>
                <a:gd name="connsiteY1016" fmla="*/ 218352 h 346215"/>
                <a:gd name="connsiteX1017" fmla="*/ 299004 w 523257"/>
                <a:gd name="connsiteY1017" fmla="*/ 215598 h 346215"/>
                <a:gd name="connsiteX1018" fmla="*/ 300184 w 523257"/>
                <a:gd name="connsiteY1018" fmla="*/ 212844 h 346215"/>
                <a:gd name="connsiteX1019" fmla="*/ 300578 w 523257"/>
                <a:gd name="connsiteY1019" fmla="*/ 210090 h 346215"/>
                <a:gd name="connsiteX1020" fmla="*/ 298611 w 523257"/>
                <a:gd name="connsiteY1020" fmla="*/ 206942 h 346215"/>
                <a:gd name="connsiteX1021" fmla="*/ 295463 w 523257"/>
                <a:gd name="connsiteY1021" fmla="*/ 206549 h 346215"/>
                <a:gd name="connsiteX1022" fmla="*/ 292709 w 523257"/>
                <a:gd name="connsiteY1022" fmla="*/ 206155 h 346215"/>
                <a:gd name="connsiteX1023" fmla="*/ 289955 w 523257"/>
                <a:gd name="connsiteY1023" fmla="*/ 204975 h 346215"/>
                <a:gd name="connsiteX1024" fmla="*/ 286808 w 523257"/>
                <a:gd name="connsiteY1024" fmla="*/ 204188 h 346215"/>
                <a:gd name="connsiteX1025" fmla="*/ 283660 w 523257"/>
                <a:gd name="connsiteY1025" fmla="*/ 203795 h 346215"/>
                <a:gd name="connsiteX1026" fmla="*/ 280513 w 523257"/>
                <a:gd name="connsiteY1026" fmla="*/ 204188 h 346215"/>
                <a:gd name="connsiteX1027" fmla="*/ 275005 w 523257"/>
                <a:gd name="connsiteY1027" fmla="*/ 204188 h 346215"/>
                <a:gd name="connsiteX1028" fmla="*/ 272251 w 523257"/>
                <a:gd name="connsiteY1028" fmla="*/ 203795 h 346215"/>
                <a:gd name="connsiteX1029" fmla="*/ 269104 w 523257"/>
                <a:gd name="connsiteY1029" fmla="*/ 203401 h 346215"/>
                <a:gd name="connsiteX1030" fmla="*/ 266350 w 523257"/>
                <a:gd name="connsiteY1030" fmla="*/ 203008 h 346215"/>
                <a:gd name="connsiteX1031" fmla="*/ 263202 w 523257"/>
                <a:gd name="connsiteY1031" fmla="*/ 203401 h 346215"/>
                <a:gd name="connsiteX1032" fmla="*/ 260448 w 523257"/>
                <a:gd name="connsiteY1032" fmla="*/ 204188 h 346215"/>
                <a:gd name="connsiteX1033" fmla="*/ 257694 w 523257"/>
                <a:gd name="connsiteY1033" fmla="*/ 205369 h 346215"/>
                <a:gd name="connsiteX1034" fmla="*/ 254547 w 523257"/>
                <a:gd name="connsiteY1034" fmla="*/ 207729 h 346215"/>
                <a:gd name="connsiteX1035" fmla="*/ 251793 w 523257"/>
                <a:gd name="connsiteY1035" fmla="*/ 208909 h 346215"/>
                <a:gd name="connsiteX1036" fmla="*/ 248646 w 523257"/>
                <a:gd name="connsiteY1036" fmla="*/ 209696 h 346215"/>
                <a:gd name="connsiteX1037" fmla="*/ 245892 w 523257"/>
                <a:gd name="connsiteY1037" fmla="*/ 210877 h 346215"/>
                <a:gd name="connsiteX1038" fmla="*/ 243138 w 523257"/>
                <a:gd name="connsiteY1038" fmla="*/ 212450 h 346215"/>
                <a:gd name="connsiteX1039" fmla="*/ 239990 w 523257"/>
                <a:gd name="connsiteY1039" fmla="*/ 213237 h 346215"/>
                <a:gd name="connsiteX1040" fmla="*/ 237236 w 523257"/>
                <a:gd name="connsiteY1040" fmla="*/ 214811 h 346215"/>
                <a:gd name="connsiteX1041" fmla="*/ 234482 w 523257"/>
                <a:gd name="connsiteY1041" fmla="*/ 215991 h 346215"/>
                <a:gd name="connsiteX1042" fmla="*/ 231335 w 523257"/>
                <a:gd name="connsiteY1042" fmla="*/ 216778 h 346215"/>
                <a:gd name="connsiteX1043" fmla="*/ 228187 w 523257"/>
                <a:gd name="connsiteY1043" fmla="*/ 217565 h 346215"/>
                <a:gd name="connsiteX1044" fmla="*/ 225433 w 523257"/>
                <a:gd name="connsiteY1044" fmla="*/ 218745 h 346215"/>
                <a:gd name="connsiteX1045" fmla="*/ 222286 w 523257"/>
                <a:gd name="connsiteY1045" fmla="*/ 221106 h 346215"/>
                <a:gd name="connsiteX1046" fmla="*/ 224646 w 523257"/>
                <a:gd name="connsiteY1046" fmla="*/ 224253 h 346215"/>
                <a:gd name="connsiteX1047" fmla="*/ 226220 w 523257"/>
                <a:gd name="connsiteY1047" fmla="*/ 227007 h 346215"/>
                <a:gd name="connsiteX1048" fmla="*/ 228974 w 523257"/>
                <a:gd name="connsiteY1048" fmla="*/ 229368 h 346215"/>
                <a:gd name="connsiteX1049" fmla="*/ 232122 w 523257"/>
                <a:gd name="connsiteY1049" fmla="*/ 231728 h 346215"/>
                <a:gd name="connsiteX1050" fmla="*/ 232122 w 523257"/>
                <a:gd name="connsiteY1050" fmla="*/ 234876 h 346215"/>
                <a:gd name="connsiteX1051" fmla="*/ 231728 w 523257"/>
                <a:gd name="connsiteY1051" fmla="*/ 236056 h 346215"/>
                <a:gd name="connsiteX1052" fmla="*/ 219925 w 523257"/>
                <a:gd name="connsiteY1052" fmla="*/ 238023 h 346215"/>
                <a:gd name="connsiteX1053" fmla="*/ 219139 w 523257"/>
                <a:gd name="connsiteY1053" fmla="*/ 237630 h 346215"/>
                <a:gd name="connsiteX1054" fmla="*/ 217958 w 523257"/>
                <a:gd name="connsiteY1054" fmla="*/ 238416 h 346215"/>
                <a:gd name="connsiteX1055" fmla="*/ 198287 w 523257"/>
                <a:gd name="connsiteY1055" fmla="*/ 241957 h 346215"/>
                <a:gd name="connsiteX1056" fmla="*/ 198287 w 523257"/>
                <a:gd name="connsiteY1056" fmla="*/ 241957 h 346215"/>
                <a:gd name="connsiteX1057" fmla="*/ 195139 w 523257"/>
                <a:gd name="connsiteY1057" fmla="*/ 242351 h 346215"/>
                <a:gd name="connsiteX1058" fmla="*/ 192779 w 523257"/>
                <a:gd name="connsiteY1058" fmla="*/ 242351 h 346215"/>
                <a:gd name="connsiteX1059" fmla="*/ 191205 w 523257"/>
                <a:gd name="connsiteY1059" fmla="*/ 245105 h 346215"/>
                <a:gd name="connsiteX1060" fmla="*/ 190812 w 523257"/>
                <a:gd name="connsiteY1060" fmla="*/ 245498 h 346215"/>
                <a:gd name="connsiteX1061" fmla="*/ 188058 w 523257"/>
                <a:gd name="connsiteY1061" fmla="*/ 245891 h 346215"/>
                <a:gd name="connsiteX1062" fmla="*/ 184910 w 523257"/>
                <a:gd name="connsiteY1062" fmla="*/ 245498 h 346215"/>
                <a:gd name="connsiteX1063" fmla="*/ 181763 w 523257"/>
                <a:gd name="connsiteY1063" fmla="*/ 245105 h 346215"/>
                <a:gd name="connsiteX1064" fmla="*/ 179009 w 523257"/>
                <a:gd name="connsiteY1064" fmla="*/ 243531 h 346215"/>
                <a:gd name="connsiteX1065" fmla="*/ 175862 w 523257"/>
                <a:gd name="connsiteY1065" fmla="*/ 243924 h 346215"/>
                <a:gd name="connsiteX1066" fmla="*/ 173108 w 523257"/>
                <a:gd name="connsiteY1066" fmla="*/ 245498 h 346215"/>
                <a:gd name="connsiteX1067" fmla="*/ 175862 w 523257"/>
                <a:gd name="connsiteY1067" fmla="*/ 247465 h 346215"/>
                <a:gd name="connsiteX1068" fmla="*/ 179009 w 523257"/>
                <a:gd name="connsiteY1068" fmla="*/ 249826 h 346215"/>
                <a:gd name="connsiteX1069" fmla="*/ 179796 w 523257"/>
                <a:gd name="connsiteY1069" fmla="*/ 252580 h 346215"/>
                <a:gd name="connsiteX1070" fmla="*/ 177042 w 523257"/>
                <a:gd name="connsiteY1070" fmla="*/ 254547 h 346215"/>
                <a:gd name="connsiteX1071" fmla="*/ 177042 w 523257"/>
                <a:gd name="connsiteY1071" fmla="*/ 254547 h 346215"/>
                <a:gd name="connsiteX1072" fmla="*/ 173895 w 523257"/>
                <a:gd name="connsiteY1072" fmla="*/ 256907 h 346215"/>
                <a:gd name="connsiteX1073" fmla="*/ 172321 w 523257"/>
                <a:gd name="connsiteY1073" fmla="*/ 255727 h 346215"/>
                <a:gd name="connsiteX1074" fmla="*/ 172714 w 523257"/>
                <a:gd name="connsiteY1074" fmla="*/ 254940 h 346215"/>
                <a:gd name="connsiteX1075" fmla="*/ 175862 w 523257"/>
                <a:gd name="connsiteY1075" fmla="*/ 254547 h 346215"/>
                <a:gd name="connsiteX1076" fmla="*/ 178615 w 523257"/>
                <a:gd name="connsiteY1076" fmla="*/ 252186 h 346215"/>
                <a:gd name="connsiteX1077" fmla="*/ 177435 w 523257"/>
                <a:gd name="connsiteY1077" fmla="*/ 249432 h 346215"/>
                <a:gd name="connsiteX1078" fmla="*/ 174681 w 523257"/>
                <a:gd name="connsiteY1078" fmla="*/ 246678 h 346215"/>
                <a:gd name="connsiteX1079" fmla="*/ 171927 w 523257"/>
                <a:gd name="connsiteY1079" fmla="*/ 245105 h 346215"/>
                <a:gd name="connsiteX1080" fmla="*/ 168780 w 523257"/>
                <a:gd name="connsiteY1080" fmla="*/ 244711 h 346215"/>
                <a:gd name="connsiteX1081" fmla="*/ 166026 w 523257"/>
                <a:gd name="connsiteY1081" fmla="*/ 243924 h 346215"/>
                <a:gd name="connsiteX1082" fmla="*/ 163272 w 523257"/>
                <a:gd name="connsiteY1082" fmla="*/ 242744 h 346215"/>
                <a:gd name="connsiteX1083" fmla="*/ 160125 w 523257"/>
                <a:gd name="connsiteY1083" fmla="*/ 241564 h 346215"/>
                <a:gd name="connsiteX1084" fmla="*/ 157371 w 523257"/>
                <a:gd name="connsiteY1084" fmla="*/ 240777 h 346215"/>
                <a:gd name="connsiteX1085" fmla="*/ 154223 w 523257"/>
                <a:gd name="connsiteY1085" fmla="*/ 240383 h 346215"/>
                <a:gd name="connsiteX1086" fmla="*/ 151469 w 523257"/>
                <a:gd name="connsiteY1086" fmla="*/ 241170 h 346215"/>
                <a:gd name="connsiteX1087" fmla="*/ 148715 w 523257"/>
                <a:gd name="connsiteY1087" fmla="*/ 240383 h 346215"/>
                <a:gd name="connsiteX1088" fmla="*/ 147928 w 523257"/>
                <a:gd name="connsiteY1088" fmla="*/ 239990 h 346215"/>
                <a:gd name="connsiteX1089" fmla="*/ 145174 w 523257"/>
                <a:gd name="connsiteY1089" fmla="*/ 239597 h 346215"/>
                <a:gd name="connsiteX1090" fmla="*/ 142027 w 523257"/>
                <a:gd name="connsiteY1090" fmla="*/ 239990 h 346215"/>
                <a:gd name="connsiteX1091" fmla="*/ 142420 w 523257"/>
                <a:gd name="connsiteY1091" fmla="*/ 242744 h 346215"/>
                <a:gd name="connsiteX1092" fmla="*/ 139666 w 523257"/>
                <a:gd name="connsiteY1092" fmla="*/ 242351 h 346215"/>
                <a:gd name="connsiteX1093" fmla="*/ 138486 w 523257"/>
                <a:gd name="connsiteY1093" fmla="*/ 245105 h 346215"/>
                <a:gd name="connsiteX1094" fmla="*/ 138093 w 523257"/>
                <a:gd name="connsiteY1094" fmla="*/ 246678 h 346215"/>
                <a:gd name="connsiteX1095" fmla="*/ 134945 w 523257"/>
                <a:gd name="connsiteY1095" fmla="*/ 248645 h 346215"/>
                <a:gd name="connsiteX1096" fmla="*/ 131798 w 523257"/>
                <a:gd name="connsiteY1096" fmla="*/ 248645 h 346215"/>
                <a:gd name="connsiteX1097" fmla="*/ 128650 w 523257"/>
                <a:gd name="connsiteY1097" fmla="*/ 249826 h 346215"/>
                <a:gd name="connsiteX1098" fmla="*/ 125503 w 523257"/>
                <a:gd name="connsiteY1098" fmla="*/ 250613 h 346215"/>
                <a:gd name="connsiteX1099" fmla="*/ 122749 w 523257"/>
                <a:gd name="connsiteY1099" fmla="*/ 251399 h 346215"/>
                <a:gd name="connsiteX1100" fmla="*/ 119995 w 523257"/>
                <a:gd name="connsiteY1100" fmla="*/ 252580 h 346215"/>
                <a:gd name="connsiteX1101" fmla="*/ 116848 w 523257"/>
                <a:gd name="connsiteY1101" fmla="*/ 253760 h 346215"/>
                <a:gd name="connsiteX1102" fmla="*/ 114094 w 523257"/>
                <a:gd name="connsiteY1102" fmla="*/ 256514 h 346215"/>
                <a:gd name="connsiteX1103" fmla="*/ 112127 w 523257"/>
                <a:gd name="connsiteY1103" fmla="*/ 259661 h 346215"/>
                <a:gd name="connsiteX1104" fmla="*/ 109373 w 523257"/>
                <a:gd name="connsiteY1104" fmla="*/ 261235 h 346215"/>
                <a:gd name="connsiteX1105" fmla="*/ 106225 w 523257"/>
                <a:gd name="connsiteY1105" fmla="*/ 261629 h 346215"/>
                <a:gd name="connsiteX1106" fmla="*/ 109373 w 523257"/>
                <a:gd name="connsiteY1106" fmla="*/ 262022 h 346215"/>
                <a:gd name="connsiteX1107" fmla="*/ 107799 w 523257"/>
                <a:gd name="connsiteY1107" fmla="*/ 264776 h 346215"/>
                <a:gd name="connsiteX1108" fmla="*/ 107405 w 523257"/>
                <a:gd name="connsiteY1108" fmla="*/ 266350 h 346215"/>
                <a:gd name="connsiteX1109" fmla="*/ 108979 w 523257"/>
                <a:gd name="connsiteY1109" fmla="*/ 269104 h 346215"/>
                <a:gd name="connsiteX1110" fmla="*/ 109766 w 523257"/>
                <a:gd name="connsiteY1110" fmla="*/ 271858 h 346215"/>
                <a:gd name="connsiteX1111" fmla="*/ 112913 w 523257"/>
                <a:gd name="connsiteY1111" fmla="*/ 273431 h 346215"/>
                <a:gd name="connsiteX1112" fmla="*/ 115667 w 523257"/>
                <a:gd name="connsiteY1112" fmla="*/ 273825 h 346215"/>
                <a:gd name="connsiteX1113" fmla="*/ 118815 w 523257"/>
                <a:gd name="connsiteY1113" fmla="*/ 275792 h 346215"/>
                <a:gd name="connsiteX1114" fmla="*/ 121962 w 523257"/>
                <a:gd name="connsiteY1114" fmla="*/ 275005 h 346215"/>
                <a:gd name="connsiteX1115" fmla="*/ 124716 w 523257"/>
                <a:gd name="connsiteY1115" fmla="*/ 274218 h 346215"/>
                <a:gd name="connsiteX1116" fmla="*/ 127864 w 523257"/>
                <a:gd name="connsiteY1116" fmla="*/ 275398 h 346215"/>
                <a:gd name="connsiteX1117" fmla="*/ 130618 w 523257"/>
                <a:gd name="connsiteY1117" fmla="*/ 276972 h 346215"/>
                <a:gd name="connsiteX1118" fmla="*/ 133765 w 523257"/>
                <a:gd name="connsiteY1118" fmla="*/ 276972 h 346215"/>
                <a:gd name="connsiteX1119" fmla="*/ 134158 w 523257"/>
                <a:gd name="connsiteY1119" fmla="*/ 274218 h 346215"/>
                <a:gd name="connsiteX1120" fmla="*/ 136912 w 523257"/>
                <a:gd name="connsiteY1120" fmla="*/ 273825 h 346215"/>
                <a:gd name="connsiteX1121" fmla="*/ 140060 w 523257"/>
                <a:gd name="connsiteY1121" fmla="*/ 274218 h 346215"/>
                <a:gd name="connsiteX1122" fmla="*/ 142814 w 523257"/>
                <a:gd name="connsiteY1122" fmla="*/ 274612 h 346215"/>
                <a:gd name="connsiteX1123" fmla="*/ 142814 w 523257"/>
                <a:gd name="connsiteY1123" fmla="*/ 274612 h 346215"/>
                <a:gd name="connsiteX1124" fmla="*/ 225040 w 523257"/>
                <a:gd name="connsiteY1124" fmla="*/ 290742 h 346215"/>
                <a:gd name="connsiteX1125" fmla="*/ 223073 w 523257"/>
                <a:gd name="connsiteY1125" fmla="*/ 293103 h 346215"/>
                <a:gd name="connsiteX1126" fmla="*/ 225827 w 523257"/>
                <a:gd name="connsiteY1126" fmla="*/ 291922 h 346215"/>
                <a:gd name="connsiteX1127" fmla="*/ 228581 w 523257"/>
                <a:gd name="connsiteY1127" fmla="*/ 291529 h 346215"/>
                <a:gd name="connsiteX1128" fmla="*/ 230154 w 523257"/>
                <a:gd name="connsiteY1128" fmla="*/ 291529 h 346215"/>
                <a:gd name="connsiteX1129" fmla="*/ 240777 w 523257"/>
                <a:gd name="connsiteY1129" fmla="*/ 293496 h 346215"/>
                <a:gd name="connsiteX1130" fmla="*/ 241170 w 523257"/>
                <a:gd name="connsiteY1130" fmla="*/ 294283 h 346215"/>
                <a:gd name="connsiteX1131" fmla="*/ 243138 w 523257"/>
                <a:gd name="connsiteY1131" fmla="*/ 294283 h 346215"/>
                <a:gd name="connsiteX1132" fmla="*/ 247072 w 523257"/>
                <a:gd name="connsiteY1132" fmla="*/ 295070 h 346215"/>
                <a:gd name="connsiteX1133" fmla="*/ 243924 w 523257"/>
                <a:gd name="connsiteY1133" fmla="*/ 297430 h 346215"/>
                <a:gd name="connsiteX1134" fmla="*/ 241170 w 523257"/>
                <a:gd name="connsiteY1134" fmla="*/ 299004 h 346215"/>
                <a:gd name="connsiteX1135" fmla="*/ 238023 w 523257"/>
                <a:gd name="connsiteY1135" fmla="*/ 299397 h 346215"/>
                <a:gd name="connsiteX1136" fmla="*/ 235269 w 523257"/>
                <a:gd name="connsiteY1136" fmla="*/ 300971 h 346215"/>
                <a:gd name="connsiteX1137" fmla="*/ 232122 w 523257"/>
                <a:gd name="connsiteY1137" fmla="*/ 300578 h 346215"/>
                <a:gd name="connsiteX1138" fmla="*/ 229368 w 523257"/>
                <a:gd name="connsiteY1138" fmla="*/ 300184 h 346215"/>
                <a:gd name="connsiteX1139" fmla="*/ 226614 w 523257"/>
                <a:gd name="connsiteY1139" fmla="*/ 300184 h 346215"/>
                <a:gd name="connsiteX1140" fmla="*/ 223860 w 523257"/>
                <a:gd name="connsiteY1140" fmla="*/ 299791 h 346215"/>
                <a:gd name="connsiteX1141" fmla="*/ 226614 w 523257"/>
                <a:gd name="connsiteY1141" fmla="*/ 300184 h 346215"/>
                <a:gd name="connsiteX1142" fmla="*/ 229368 w 523257"/>
                <a:gd name="connsiteY1142" fmla="*/ 301758 h 346215"/>
                <a:gd name="connsiteX1143" fmla="*/ 228974 w 523257"/>
                <a:gd name="connsiteY1143" fmla="*/ 304512 h 346215"/>
                <a:gd name="connsiteX1144" fmla="*/ 229761 w 523257"/>
                <a:gd name="connsiteY1144" fmla="*/ 307266 h 346215"/>
                <a:gd name="connsiteX1145" fmla="*/ 232515 w 523257"/>
                <a:gd name="connsiteY1145" fmla="*/ 310020 h 346215"/>
                <a:gd name="connsiteX1146" fmla="*/ 235269 w 523257"/>
                <a:gd name="connsiteY1146" fmla="*/ 311594 h 346215"/>
                <a:gd name="connsiteX1147" fmla="*/ 237629 w 523257"/>
                <a:gd name="connsiteY1147" fmla="*/ 311594 h 346215"/>
                <a:gd name="connsiteX1148" fmla="*/ 239597 w 523257"/>
                <a:gd name="connsiteY1148" fmla="*/ 312381 h 346215"/>
                <a:gd name="connsiteX1149" fmla="*/ 238023 w 523257"/>
                <a:gd name="connsiteY1149" fmla="*/ 312774 h 346215"/>
                <a:gd name="connsiteX1150" fmla="*/ 241170 w 523257"/>
                <a:gd name="connsiteY1150" fmla="*/ 313167 h 346215"/>
                <a:gd name="connsiteX1151" fmla="*/ 243924 w 523257"/>
                <a:gd name="connsiteY1151" fmla="*/ 314741 h 346215"/>
                <a:gd name="connsiteX1152" fmla="*/ 246678 w 523257"/>
                <a:gd name="connsiteY1152" fmla="*/ 316708 h 346215"/>
                <a:gd name="connsiteX1153" fmla="*/ 249826 w 523257"/>
                <a:gd name="connsiteY1153" fmla="*/ 317102 h 346215"/>
                <a:gd name="connsiteX1154" fmla="*/ 252973 w 523257"/>
                <a:gd name="connsiteY1154" fmla="*/ 319462 h 346215"/>
                <a:gd name="connsiteX1155" fmla="*/ 255727 w 523257"/>
                <a:gd name="connsiteY1155" fmla="*/ 320642 h 346215"/>
                <a:gd name="connsiteX1156" fmla="*/ 258481 w 523257"/>
                <a:gd name="connsiteY1156" fmla="*/ 320642 h 346215"/>
                <a:gd name="connsiteX1157" fmla="*/ 260055 w 523257"/>
                <a:gd name="connsiteY1157" fmla="*/ 320249 h 346215"/>
                <a:gd name="connsiteX1158" fmla="*/ 269104 w 523257"/>
                <a:gd name="connsiteY1158" fmla="*/ 323790 h 346215"/>
                <a:gd name="connsiteX1159" fmla="*/ 269104 w 523257"/>
                <a:gd name="connsiteY1159" fmla="*/ 325757 h 346215"/>
                <a:gd name="connsiteX1160" fmla="*/ 271858 w 523257"/>
                <a:gd name="connsiteY1160" fmla="*/ 326150 h 346215"/>
                <a:gd name="connsiteX1161" fmla="*/ 271858 w 523257"/>
                <a:gd name="connsiteY1161" fmla="*/ 328904 h 346215"/>
                <a:gd name="connsiteX1162" fmla="*/ 274612 w 523257"/>
                <a:gd name="connsiteY1162" fmla="*/ 331265 h 346215"/>
                <a:gd name="connsiteX1163" fmla="*/ 277366 w 523257"/>
                <a:gd name="connsiteY1163" fmla="*/ 331658 h 346215"/>
                <a:gd name="connsiteX1164" fmla="*/ 280120 w 523257"/>
                <a:gd name="connsiteY1164" fmla="*/ 332052 h 346215"/>
                <a:gd name="connsiteX1165" fmla="*/ 282873 w 523257"/>
                <a:gd name="connsiteY1165" fmla="*/ 334806 h 346215"/>
                <a:gd name="connsiteX1166" fmla="*/ 286021 w 523257"/>
                <a:gd name="connsiteY1166" fmla="*/ 335593 h 346215"/>
                <a:gd name="connsiteX1167" fmla="*/ 289168 w 523257"/>
                <a:gd name="connsiteY1167" fmla="*/ 335986 h 346215"/>
                <a:gd name="connsiteX1168" fmla="*/ 291922 w 523257"/>
                <a:gd name="connsiteY1168" fmla="*/ 336379 h 346215"/>
                <a:gd name="connsiteX1169" fmla="*/ 294676 w 523257"/>
                <a:gd name="connsiteY1169" fmla="*/ 336379 h 346215"/>
                <a:gd name="connsiteX1170" fmla="*/ 297824 w 523257"/>
                <a:gd name="connsiteY1170" fmla="*/ 336773 h 346215"/>
                <a:gd name="connsiteX1171" fmla="*/ 300578 w 523257"/>
                <a:gd name="connsiteY1171" fmla="*/ 336773 h 346215"/>
                <a:gd name="connsiteX1172" fmla="*/ 303725 w 523257"/>
                <a:gd name="connsiteY1172" fmla="*/ 338347 h 346215"/>
                <a:gd name="connsiteX1173" fmla="*/ 306479 w 523257"/>
                <a:gd name="connsiteY1173" fmla="*/ 338740 h 346215"/>
                <a:gd name="connsiteX1174" fmla="*/ 307660 w 523257"/>
                <a:gd name="connsiteY1174" fmla="*/ 338740 h 346215"/>
                <a:gd name="connsiteX1175" fmla="*/ 312774 w 523257"/>
                <a:gd name="connsiteY1175" fmla="*/ 340707 h 346215"/>
                <a:gd name="connsiteX1176" fmla="*/ 315528 w 523257"/>
                <a:gd name="connsiteY1176" fmla="*/ 342281 h 346215"/>
                <a:gd name="connsiteX1177" fmla="*/ 317889 w 523257"/>
                <a:gd name="connsiteY1177" fmla="*/ 342674 h 346215"/>
                <a:gd name="connsiteX1178" fmla="*/ 326937 w 523257"/>
                <a:gd name="connsiteY1178" fmla="*/ 346215 h 346215"/>
                <a:gd name="connsiteX1179" fmla="*/ 327331 w 523257"/>
                <a:gd name="connsiteY1179" fmla="*/ 346609 h 346215"/>
                <a:gd name="connsiteX1180" fmla="*/ 330085 w 523257"/>
                <a:gd name="connsiteY1180" fmla="*/ 347395 h 346215"/>
                <a:gd name="connsiteX1181" fmla="*/ 333232 w 523257"/>
                <a:gd name="connsiteY1181" fmla="*/ 347395 h 346215"/>
                <a:gd name="connsiteX1182" fmla="*/ 335986 w 523257"/>
                <a:gd name="connsiteY1182" fmla="*/ 347002 h 346215"/>
                <a:gd name="connsiteX1183" fmla="*/ 339134 w 523257"/>
                <a:gd name="connsiteY1183" fmla="*/ 346609 h 346215"/>
                <a:gd name="connsiteX1184" fmla="*/ 338347 w 523257"/>
                <a:gd name="connsiteY1184" fmla="*/ 343855 h 346215"/>
                <a:gd name="connsiteX1185" fmla="*/ 337953 w 523257"/>
                <a:gd name="connsiteY1185" fmla="*/ 341101 h 346215"/>
                <a:gd name="connsiteX1186" fmla="*/ 341101 w 523257"/>
                <a:gd name="connsiteY1186" fmla="*/ 340707 h 346215"/>
                <a:gd name="connsiteX1187" fmla="*/ 343855 w 523257"/>
                <a:gd name="connsiteY1187" fmla="*/ 337953 h 346215"/>
                <a:gd name="connsiteX1188" fmla="*/ 340707 w 523257"/>
                <a:gd name="connsiteY1188" fmla="*/ 336379 h 346215"/>
                <a:gd name="connsiteX1189" fmla="*/ 341494 w 523257"/>
                <a:gd name="connsiteY1189" fmla="*/ 333626 h 346215"/>
                <a:gd name="connsiteX1190" fmla="*/ 338740 w 523257"/>
                <a:gd name="connsiteY1190" fmla="*/ 333232 h 346215"/>
                <a:gd name="connsiteX1191" fmla="*/ 335593 w 523257"/>
                <a:gd name="connsiteY1191" fmla="*/ 333626 h 346215"/>
                <a:gd name="connsiteX1192" fmla="*/ 338740 w 523257"/>
                <a:gd name="connsiteY1192" fmla="*/ 332445 h 346215"/>
                <a:gd name="connsiteX1193" fmla="*/ 336380 w 523257"/>
                <a:gd name="connsiteY1193" fmla="*/ 330872 h 346215"/>
                <a:gd name="connsiteX1194" fmla="*/ 337953 w 523257"/>
                <a:gd name="connsiteY1194" fmla="*/ 328118 h 346215"/>
                <a:gd name="connsiteX1195" fmla="*/ 337167 w 523257"/>
                <a:gd name="connsiteY1195" fmla="*/ 326150 h 346215"/>
                <a:gd name="connsiteX1196" fmla="*/ 340707 w 523257"/>
                <a:gd name="connsiteY1196" fmla="*/ 308053 h 346215"/>
                <a:gd name="connsiteX1197" fmla="*/ 343068 w 523257"/>
                <a:gd name="connsiteY1197" fmla="*/ 309233 h 346215"/>
                <a:gd name="connsiteX1198" fmla="*/ 342281 w 523257"/>
                <a:gd name="connsiteY1198" fmla="*/ 311200 h 346215"/>
                <a:gd name="connsiteX1199" fmla="*/ 345035 w 523257"/>
                <a:gd name="connsiteY1199" fmla="*/ 313561 h 346215"/>
                <a:gd name="connsiteX1200" fmla="*/ 343855 w 523257"/>
                <a:gd name="connsiteY1200" fmla="*/ 310807 h 346215"/>
                <a:gd name="connsiteX1201" fmla="*/ 344641 w 523257"/>
                <a:gd name="connsiteY1201" fmla="*/ 310413 h 346215"/>
                <a:gd name="connsiteX1202" fmla="*/ 348969 w 523257"/>
                <a:gd name="connsiteY1202" fmla="*/ 312774 h 346215"/>
                <a:gd name="connsiteX1203" fmla="*/ 349363 w 523257"/>
                <a:gd name="connsiteY1203" fmla="*/ 313561 h 346215"/>
                <a:gd name="connsiteX1204" fmla="*/ 350936 w 523257"/>
                <a:gd name="connsiteY1204" fmla="*/ 313954 h 346215"/>
                <a:gd name="connsiteX1205" fmla="*/ 353690 w 523257"/>
                <a:gd name="connsiteY1205" fmla="*/ 315528 h 346215"/>
                <a:gd name="connsiteX1206" fmla="*/ 360772 w 523257"/>
                <a:gd name="connsiteY1206" fmla="*/ 313954 h 346215"/>
                <a:gd name="connsiteX1207" fmla="*/ 359198 w 523257"/>
                <a:gd name="connsiteY1207" fmla="*/ 315134 h 346215"/>
                <a:gd name="connsiteX1208" fmla="*/ 362346 w 523257"/>
                <a:gd name="connsiteY1208" fmla="*/ 315134 h 346215"/>
                <a:gd name="connsiteX1209" fmla="*/ 364706 w 523257"/>
                <a:gd name="connsiteY1209" fmla="*/ 313167 h 346215"/>
                <a:gd name="connsiteX1210" fmla="*/ 365100 w 523257"/>
                <a:gd name="connsiteY1210" fmla="*/ 313167 h 346215"/>
                <a:gd name="connsiteX1211" fmla="*/ 363919 w 523257"/>
                <a:gd name="connsiteY1211" fmla="*/ 315528 h 346215"/>
                <a:gd name="connsiteX1212" fmla="*/ 364706 w 523257"/>
                <a:gd name="connsiteY1212" fmla="*/ 318282 h 346215"/>
                <a:gd name="connsiteX1213" fmla="*/ 367460 w 523257"/>
                <a:gd name="connsiteY1213" fmla="*/ 319069 h 346215"/>
                <a:gd name="connsiteX1214" fmla="*/ 370214 w 523257"/>
                <a:gd name="connsiteY1214" fmla="*/ 318675 h 346215"/>
                <a:gd name="connsiteX1215" fmla="*/ 372968 w 523257"/>
                <a:gd name="connsiteY1215" fmla="*/ 316315 h 346215"/>
                <a:gd name="connsiteX1216" fmla="*/ 373362 w 523257"/>
                <a:gd name="connsiteY1216" fmla="*/ 319069 h 346215"/>
                <a:gd name="connsiteX1217" fmla="*/ 370214 w 523257"/>
                <a:gd name="connsiteY1217" fmla="*/ 319462 h 346215"/>
                <a:gd name="connsiteX1218" fmla="*/ 369427 w 523257"/>
                <a:gd name="connsiteY1218" fmla="*/ 322216 h 346215"/>
                <a:gd name="connsiteX1219" fmla="*/ 369427 w 523257"/>
                <a:gd name="connsiteY1219" fmla="*/ 325364 h 346215"/>
                <a:gd name="connsiteX1220" fmla="*/ 372181 w 523257"/>
                <a:gd name="connsiteY1220" fmla="*/ 326937 h 346215"/>
                <a:gd name="connsiteX1221" fmla="*/ 375329 w 523257"/>
                <a:gd name="connsiteY1221" fmla="*/ 325757 h 346215"/>
                <a:gd name="connsiteX1222" fmla="*/ 377296 w 523257"/>
                <a:gd name="connsiteY1222" fmla="*/ 322610 h 346215"/>
                <a:gd name="connsiteX1223" fmla="*/ 376509 w 523257"/>
                <a:gd name="connsiteY1223" fmla="*/ 319856 h 346215"/>
                <a:gd name="connsiteX1224" fmla="*/ 375329 w 523257"/>
                <a:gd name="connsiteY1224" fmla="*/ 317102 h 346215"/>
                <a:gd name="connsiteX1225" fmla="*/ 375329 w 523257"/>
                <a:gd name="connsiteY1225" fmla="*/ 314348 h 346215"/>
                <a:gd name="connsiteX1226" fmla="*/ 378476 w 523257"/>
                <a:gd name="connsiteY1226" fmla="*/ 314741 h 346215"/>
                <a:gd name="connsiteX1227" fmla="*/ 381230 w 523257"/>
                <a:gd name="connsiteY1227" fmla="*/ 317102 h 346215"/>
                <a:gd name="connsiteX1228" fmla="*/ 384378 w 523257"/>
                <a:gd name="connsiteY1228" fmla="*/ 318282 h 346215"/>
                <a:gd name="connsiteX1229" fmla="*/ 387131 w 523257"/>
                <a:gd name="connsiteY1229" fmla="*/ 317102 h 346215"/>
                <a:gd name="connsiteX1230" fmla="*/ 387131 w 523257"/>
                <a:gd name="connsiteY1230" fmla="*/ 314348 h 346215"/>
                <a:gd name="connsiteX1231" fmla="*/ 386738 w 523257"/>
                <a:gd name="connsiteY1231" fmla="*/ 311594 h 346215"/>
                <a:gd name="connsiteX1232" fmla="*/ 387131 w 523257"/>
                <a:gd name="connsiteY1232" fmla="*/ 308446 h 346215"/>
                <a:gd name="connsiteX1233" fmla="*/ 384378 w 523257"/>
                <a:gd name="connsiteY1233" fmla="*/ 308840 h 346215"/>
                <a:gd name="connsiteX1234" fmla="*/ 384378 w 523257"/>
                <a:gd name="connsiteY1234" fmla="*/ 308446 h 346215"/>
                <a:gd name="connsiteX1235" fmla="*/ 395787 w 523257"/>
                <a:gd name="connsiteY1235" fmla="*/ 305692 h 346215"/>
                <a:gd name="connsiteX1236" fmla="*/ 397361 w 523257"/>
                <a:gd name="connsiteY1236" fmla="*/ 306479 h 346215"/>
                <a:gd name="connsiteX1237" fmla="*/ 398934 w 523257"/>
                <a:gd name="connsiteY1237" fmla="*/ 304905 h 346215"/>
                <a:gd name="connsiteX1238" fmla="*/ 398541 w 523257"/>
                <a:gd name="connsiteY1238" fmla="*/ 301758 h 346215"/>
                <a:gd name="connsiteX1239" fmla="*/ 400901 w 523257"/>
                <a:gd name="connsiteY1239" fmla="*/ 301365 h 346215"/>
                <a:gd name="connsiteX1240" fmla="*/ 402475 w 523257"/>
                <a:gd name="connsiteY1240" fmla="*/ 298217 h 346215"/>
                <a:gd name="connsiteX1241" fmla="*/ 402475 w 523257"/>
                <a:gd name="connsiteY1241" fmla="*/ 295463 h 346215"/>
                <a:gd name="connsiteX1242" fmla="*/ 404836 w 523257"/>
                <a:gd name="connsiteY1242" fmla="*/ 292709 h 346215"/>
                <a:gd name="connsiteX1243" fmla="*/ 402082 w 523257"/>
                <a:gd name="connsiteY1243" fmla="*/ 291135 h 346215"/>
                <a:gd name="connsiteX1244" fmla="*/ 398934 w 523257"/>
                <a:gd name="connsiteY1244" fmla="*/ 290742 h 346215"/>
                <a:gd name="connsiteX1245" fmla="*/ 400115 w 523257"/>
                <a:gd name="connsiteY1245" fmla="*/ 288775 h 346215"/>
                <a:gd name="connsiteX1246" fmla="*/ 402869 w 523257"/>
                <a:gd name="connsiteY1246" fmla="*/ 290349 h 346215"/>
                <a:gd name="connsiteX1247" fmla="*/ 406016 w 523257"/>
                <a:gd name="connsiteY1247" fmla="*/ 292316 h 346215"/>
                <a:gd name="connsiteX1248" fmla="*/ 409164 w 523257"/>
                <a:gd name="connsiteY1248" fmla="*/ 293103 h 346215"/>
                <a:gd name="connsiteX1249" fmla="*/ 406016 w 523257"/>
                <a:gd name="connsiteY1249" fmla="*/ 290349 h 346215"/>
                <a:gd name="connsiteX1250" fmla="*/ 409164 w 523257"/>
                <a:gd name="connsiteY1250" fmla="*/ 288775 h 346215"/>
                <a:gd name="connsiteX1251" fmla="*/ 409164 w 523257"/>
                <a:gd name="connsiteY1251" fmla="*/ 287201 h 346215"/>
                <a:gd name="connsiteX1252" fmla="*/ 406016 w 523257"/>
                <a:gd name="connsiteY1252" fmla="*/ 286808 h 346215"/>
                <a:gd name="connsiteX1253" fmla="*/ 403262 w 523257"/>
                <a:gd name="connsiteY1253" fmla="*/ 289168 h 346215"/>
                <a:gd name="connsiteX1254" fmla="*/ 400508 w 523257"/>
                <a:gd name="connsiteY1254" fmla="*/ 288775 h 346215"/>
                <a:gd name="connsiteX1255" fmla="*/ 400508 w 523257"/>
                <a:gd name="connsiteY1255" fmla="*/ 288775 h 346215"/>
                <a:gd name="connsiteX1256" fmla="*/ 400508 w 523257"/>
                <a:gd name="connsiteY1256" fmla="*/ 288775 h 346215"/>
                <a:gd name="connsiteX1257" fmla="*/ 400508 w 523257"/>
                <a:gd name="connsiteY1257" fmla="*/ 288775 h 346215"/>
                <a:gd name="connsiteX1258" fmla="*/ 400901 w 523257"/>
                <a:gd name="connsiteY1258" fmla="*/ 287988 h 346215"/>
                <a:gd name="connsiteX1259" fmla="*/ 403655 w 523257"/>
                <a:gd name="connsiteY1259" fmla="*/ 286414 h 346215"/>
                <a:gd name="connsiteX1260" fmla="*/ 406803 w 523257"/>
                <a:gd name="connsiteY1260" fmla="*/ 285234 h 346215"/>
                <a:gd name="connsiteX1261" fmla="*/ 404049 w 523257"/>
                <a:gd name="connsiteY1261" fmla="*/ 283660 h 346215"/>
                <a:gd name="connsiteX1262" fmla="*/ 400901 w 523257"/>
                <a:gd name="connsiteY1262" fmla="*/ 283267 h 346215"/>
                <a:gd name="connsiteX1263" fmla="*/ 397754 w 523257"/>
                <a:gd name="connsiteY1263" fmla="*/ 283267 h 346215"/>
                <a:gd name="connsiteX1264" fmla="*/ 400508 w 523257"/>
                <a:gd name="connsiteY1264" fmla="*/ 281693 h 346215"/>
                <a:gd name="connsiteX1265" fmla="*/ 397754 w 523257"/>
                <a:gd name="connsiteY1265" fmla="*/ 281300 h 346215"/>
                <a:gd name="connsiteX1266" fmla="*/ 398148 w 523257"/>
                <a:gd name="connsiteY1266" fmla="*/ 278546 h 346215"/>
                <a:gd name="connsiteX1267" fmla="*/ 396967 w 523257"/>
                <a:gd name="connsiteY1267" fmla="*/ 278939 h 346215"/>
                <a:gd name="connsiteX1268" fmla="*/ 396967 w 523257"/>
                <a:gd name="connsiteY1268" fmla="*/ 278546 h 346215"/>
                <a:gd name="connsiteX1269" fmla="*/ 398148 w 523257"/>
                <a:gd name="connsiteY1269" fmla="*/ 277759 h 346215"/>
                <a:gd name="connsiteX1270" fmla="*/ 396574 w 523257"/>
                <a:gd name="connsiteY1270" fmla="*/ 276185 h 346215"/>
                <a:gd name="connsiteX1271" fmla="*/ 397361 w 523257"/>
                <a:gd name="connsiteY1271" fmla="*/ 274218 h 346215"/>
                <a:gd name="connsiteX1272" fmla="*/ 399328 w 523257"/>
                <a:gd name="connsiteY1272" fmla="*/ 274612 h 346215"/>
                <a:gd name="connsiteX1273" fmla="*/ 402082 w 523257"/>
                <a:gd name="connsiteY1273" fmla="*/ 273038 h 346215"/>
                <a:gd name="connsiteX1274" fmla="*/ 404836 w 523257"/>
                <a:gd name="connsiteY1274" fmla="*/ 270677 h 346215"/>
                <a:gd name="connsiteX1275" fmla="*/ 406803 w 523257"/>
                <a:gd name="connsiteY1275" fmla="*/ 267923 h 346215"/>
                <a:gd name="connsiteX1276" fmla="*/ 403655 w 523257"/>
                <a:gd name="connsiteY1276" fmla="*/ 268317 h 346215"/>
                <a:gd name="connsiteX1277" fmla="*/ 400508 w 523257"/>
                <a:gd name="connsiteY1277" fmla="*/ 268710 h 346215"/>
                <a:gd name="connsiteX1278" fmla="*/ 398934 w 523257"/>
                <a:gd name="connsiteY1278" fmla="*/ 269890 h 346215"/>
                <a:gd name="connsiteX1279" fmla="*/ 401688 w 523257"/>
                <a:gd name="connsiteY1279" fmla="*/ 267530 h 346215"/>
                <a:gd name="connsiteX1280" fmla="*/ 398934 w 523257"/>
                <a:gd name="connsiteY1280" fmla="*/ 268317 h 346215"/>
                <a:gd name="connsiteX1281" fmla="*/ 396180 w 523257"/>
                <a:gd name="connsiteY1281" fmla="*/ 268317 h 346215"/>
                <a:gd name="connsiteX1282" fmla="*/ 395787 w 523257"/>
                <a:gd name="connsiteY1282" fmla="*/ 268317 h 346215"/>
                <a:gd name="connsiteX1283" fmla="*/ 393426 w 523257"/>
                <a:gd name="connsiteY1283" fmla="*/ 267136 h 346215"/>
                <a:gd name="connsiteX1284" fmla="*/ 393820 w 523257"/>
                <a:gd name="connsiteY1284" fmla="*/ 265956 h 346215"/>
                <a:gd name="connsiteX1285" fmla="*/ 396574 w 523257"/>
                <a:gd name="connsiteY1285" fmla="*/ 264776 h 346215"/>
                <a:gd name="connsiteX1286" fmla="*/ 399328 w 523257"/>
                <a:gd name="connsiteY1286" fmla="*/ 262415 h 346215"/>
                <a:gd name="connsiteX1287" fmla="*/ 396574 w 523257"/>
                <a:gd name="connsiteY1287" fmla="*/ 262415 h 346215"/>
                <a:gd name="connsiteX1288" fmla="*/ 398934 w 523257"/>
                <a:gd name="connsiteY1288" fmla="*/ 259661 h 346215"/>
                <a:gd name="connsiteX1289" fmla="*/ 396180 w 523257"/>
                <a:gd name="connsiteY1289" fmla="*/ 257301 h 346215"/>
                <a:gd name="connsiteX1290" fmla="*/ 393426 w 523257"/>
                <a:gd name="connsiteY1290" fmla="*/ 259268 h 346215"/>
                <a:gd name="connsiteX1291" fmla="*/ 393033 w 523257"/>
                <a:gd name="connsiteY1291" fmla="*/ 262022 h 346215"/>
                <a:gd name="connsiteX1292" fmla="*/ 389886 w 523257"/>
                <a:gd name="connsiteY1292" fmla="*/ 262415 h 346215"/>
                <a:gd name="connsiteX1293" fmla="*/ 391459 w 523257"/>
                <a:gd name="connsiteY1293" fmla="*/ 259268 h 346215"/>
                <a:gd name="connsiteX1294" fmla="*/ 388312 w 523257"/>
                <a:gd name="connsiteY1294" fmla="*/ 260055 h 346215"/>
                <a:gd name="connsiteX1295" fmla="*/ 385558 w 523257"/>
                <a:gd name="connsiteY1295" fmla="*/ 262809 h 346215"/>
                <a:gd name="connsiteX1296" fmla="*/ 385164 w 523257"/>
                <a:gd name="connsiteY1296" fmla="*/ 262809 h 346215"/>
                <a:gd name="connsiteX1297" fmla="*/ 387131 w 523257"/>
                <a:gd name="connsiteY1297" fmla="*/ 260055 h 346215"/>
                <a:gd name="connsiteX1298" fmla="*/ 389492 w 523257"/>
                <a:gd name="connsiteY1298" fmla="*/ 257301 h 346215"/>
                <a:gd name="connsiteX1299" fmla="*/ 386738 w 523257"/>
                <a:gd name="connsiteY1299" fmla="*/ 257301 h 346215"/>
                <a:gd name="connsiteX1300" fmla="*/ 383591 w 523257"/>
                <a:gd name="connsiteY1300" fmla="*/ 255727 h 346215"/>
                <a:gd name="connsiteX1301" fmla="*/ 382411 w 523257"/>
                <a:gd name="connsiteY1301" fmla="*/ 252973 h 346215"/>
                <a:gd name="connsiteX1302" fmla="*/ 379263 w 523257"/>
                <a:gd name="connsiteY1302" fmla="*/ 255727 h 346215"/>
                <a:gd name="connsiteX1303" fmla="*/ 378870 w 523257"/>
                <a:gd name="connsiteY1303" fmla="*/ 256121 h 346215"/>
                <a:gd name="connsiteX1304" fmla="*/ 377689 w 523257"/>
                <a:gd name="connsiteY1304" fmla="*/ 254547 h 346215"/>
                <a:gd name="connsiteX1305" fmla="*/ 378476 w 523257"/>
                <a:gd name="connsiteY1305" fmla="*/ 252973 h 346215"/>
                <a:gd name="connsiteX1306" fmla="*/ 375722 w 523257"/>
                <a:gd name="connsiteY1306" fmla="*/ 252580 h 346215"/>
                <a:gd name="connsiteX1307" fmla="*/ 378476 w 523257"/>
                <a:gd name="connsiteY1307" fmla="*/ 252186 h 346215"/>
                <a:gd name="connsiteX1308" fmla="*/ 381230 w 523257"/>
                <a:gd name="connsiteY1308" fmla="*/ 249826 h 346215"/>
                <a:gd name="connsiteX1309" fmla="*/ 378476 w 523257"/>
                <a:gd name="connsiteY1309" fmla="*/ 250219 h 346215"/>
                <a:gd name="connsiteX1310" fmla="*/ 375722 w 523257"/>
                <a:gd name="connsiteY1310" fmla="*/ 252186 h 346215"/>
                <a:gd name="connsiteX1311" fmla="*/ 376509 w 523257"/>
                <a:gd name="connsiteY1311" fmla="*/ 249826 h 346215"/>
                <a:gd name="connsiteX1312" fmla="*/ 377689 w 523257"/>
                <a:gd name="connsiteY1312" fmla="*/ 248252 h 346215"/>
                <a:gd name="connsiteX1313" fmla="*/ 376903 w 523257"/>
                <a:gd name="connsiteY1313" fmla="*/ 248252 h 346215"/>
                <a:gd name="connsiteX1314" fmla="*/ 379263 w 523257"/>
                <a:gd name="connsiteY1314" fmla="*/ 240777 h 346215"/>
                <a:gd name="connsiteX1315" fmla="*/ 382411 w 523257"/>
                <a:gd name="connsiteY1315" fmla="*/ 227007 h 346215"/>
                <a:gd name="connsiteX1316" fmla="*/ 382804 w 523257"/>
                <a:gd name="connsiteY1316" fmla="*/ 227007 h 346215"/>
                <a:gd name="connsiteX1317" fmla="*/ 385558 w 523257"/>
                <a:gd name="connsiteY1317" fmla="*/ 227007 h 346215"/>
                <a:gd name="connsiteX1318" fmla="*/ 387131 w 523257"/>
                <a:gd name="connsiteY1318" fmla="*/ 224253 h 346215"/>
                <a:gd name="connsiteX1319" fmla="*/ 384378 w 523257"/>
                <a:gd name="connsiteY1319" fmla="*/ 221499 h 346215"/>
                <a:gd name="connsiteX1320" fmla="*/ 383591 w 523257"/>
                <a:gd name="connsiteY1320" fmla="*/ 221106 h 346215"/>
                <a:gd name="connsiteX1321" fmla="*/ 385558 w 523257"/>
                <a:gd name="connsiteY1321" fmla="*/ 213237 h 346215"/>
                <a:gd name="connsiteX1322" fmla="*/ 386738 w 523257"/>
                <a:gd name="connsiteY1322" fmla="*/ 215991 h 346215"/>
                <a:gd name="connsiteX1323" fmla="*/ 389492 w 523257"/>
                <a:gd name="connsiteY1323" fmla="*/ 217171 h 346215"/>
                <a:gd name="connsiteX1324" fmla="*/ 392640 w 523257"/>
                <a:gd name="connsiteY1324" fmla="*/ 216384 h 346215"/>
                <a:gd name="connsiteX1325" fmla="*/ 389886 w 523257"/>
                <a:gd name="connsiteY1325" fmla="*/ 213630 h 346215"/>
                <a:gd name="connsiteX1326" fmla="*/ 393033 w 523257"/>
                <a:gd name="connsiteY1326" fmla="*/ 213237 h 346215"/>
                <a:gd name="connsiteX1327" fmla="*/ 395787 w 523257"/>
                <a:gd name="connsiteY1327" fmla="*/ 212450 h 346215"/>
                <a:gd name="connsiteX1328" fmla="*/ 394213 w 523257"/>
                <a:gd name="connsiteY1328" fmla="*/ 210877 h 346215"/>
                <a:gd name="connsiteX1329" fmla="*/ 398148 w 523257"/>
                <a:gd name="connsiteY1329" fmla="*/ 209696 h 346215"/>
                <a:gd name="connsiteX1330" fmla="*/ 398934 w 523257"/>
                <a:gd name="connsiteY1330" fmla="*/ 209696 h 346215"/>
                <a:gd name="connsiteX1331" fmla="*/ 402082 w 523257"/>
                <a:gd name="connsiteY1331" fmla="*/ 209303 h 346215"/>
                <a:gd name="connsiteX1332" fmla="*/ 402082 w 523257"/>
                <a:gd name="connsiteY1332" fmla="*/ 208516 h 346215"/>
                <a:gd name="connsiteX1333" fmla="*/ 404836 w 523257"/>
                <a:gd name="connsiteY1333" fmla="*/ 207729 h 346215"/>
                <a:gd name="connsiteX1334" fmla="*/ 407196 w 523257"/>
                <a:gd name="connsiteY1334" fmla="*/ 208123 h 346215"/>
                <a:gd name="connsiteX1335" fmla="*/ 404836 w 523257"/>
                <a:gd name="connsiteY1335" fmla="*/ 209303 h 346215"/>
                <a:gd name="connsiteX1336" fmla="*/ 404049 w 523257"/>
                <a:gd name="connsiteY1336" fmla="*/ 212057 h 346215"/>
                <a:gd name="connsiteX1337" fmla="*/ 407196 w 523257"/>
                <a:gd name="connsiteY1337" fmla="*/ 214024 h 346215"/>
                <a:gd name="connsiteX1338" fmla="*/ 409950 w 523257"/>
                <a:gd name="connsiteY1338" fmla="*/ 213237 h 346215"/>
                <a:gd name="connsiteX1339" fmla="*/ 408377 w 523257"/>
                <a:gd name="connsiteY1339" fmla="*/ 215991 h 346215"/>
                <a:gd name="connsiteX1340" fmla="*/ 406016 w 523257"/>
                <a:gd name="connsiteY1340" fmla="*/ 218745 h 346215"/>
                <a:gd name="connsiteX1341" fmla="*/ 408770 w 523257"/>
                <a:gd name="connsiteY1341" fmla="*/ 219138 h 346215"/>
                <a:gd name="connsiteX1342" fmla="*/ 411524 w 523257"/>
                <a:gd name="connsiteY1342" fmla="*/ 217958 h 346215"/>
                <a:gd name="connsiteX1343" fmla="*/ 414671 w 523257"/>
                <a:gd name="connsiteY1343" fmla="*/ 217171 h 346215"/>
                <a:gd name="connsiteX1344" fmla="*/ 411918 w 523257"/>
                <a:gd name="connsiteY1344" fmla="*/ 218745 h 346215"/>
                <a:gd name="connsiteX1345" fmla="*/ 413885 w 523257"/>
                <a:gd name="connsiteY1345" fmla="*/ 221892 h 346215"/>
                <a:gd name="connsiteX1346" fmla="*/ 416638 w 523257"/>
                <a:gd name="connsiteY1346" fmla="*/ 222286 h 346215"/>
                <a:gd name="connsiteX1347" fmla="*/ 419393 w 523257"/>
                <a:gd name="connsiteY1347" fmla="*/ 221499 h 346215"/>
                <a:gd name="connsiteX1348" fmla="*/ 422540 w 523257"/>
                <a:gd name="connsiteY1348" fmla="*/ 220319 h 346215"/>
                <a:gd name="connsiteX1349" fmla="*/ 425294 w 523257"/>
                <a:gd name="connsiteY1349" fmla="*/ 219138 h 346215"/>
                <a:gd name="connsiteX1350" fmla="*/ 426081 w 523257"/>
                <a:gd name="connsiteY1350" fmla="*/ 218352 h 346215"/>
                <a:gd name="connsiteX1351" fmla="*/ 422933 w 523257"/>
                <a:gd name="connsiteY1351" fmla="*/ 220712 h 346215"/>
                <a:gd name="connsiteX1352" fmla="*/ 420179 w 523257"/>
                <a:gd name="connsiteY1352" fmla="*/ 221499 h 346215"/>
                <a:gd name="connsiteX1353" fmla="*/ 417425 w 523257"/>
                <a:gd name="connsiteY1353" fmla="*/ 222286 h 346215"/>
                <a:gd name="connsiteX1354" fmla="*/ 414671 w 523257"/>
                <a:gd name="connsiteY1354" fmla="*/ 224253 h 346215"/>
                <a:gd name="connsiteX1355" fmla="*/ 415065 w 523257"/>
                <a:gd name="connsiteY1355" fmla="*/ 226614 h 346215"/>
                <a:gd name="connsiteX1356" fmla="*/ 422540 w 523257"/>
                <a:gd name="connsiteY1356" fmla="*/ 243137 h 346215"/>
                <a:gd name="connsiteX1357" fmla="*/ 425687 w 523257"/>
                <a:gd name="connsiteY1357" fmla="*/ 242744 h 346215"/>
                <a:gd name="connsiteX1358" fmla="*/ 426474 w 523257"/>
                <a:gd name="connsiteY1358" fmla="*/ 242744 h 346215"/>
                <a:gd name="connsiteX1359" fmla="*/ 430408 w 523257"/>
                <a:gd name="connsiteY1359" fmla="*/ 242351 h 346215"/>
                <a:gd name="connsiteX1360" fmla="*/ 431589 w 523257"/>
                <a:gd name="connsiteY1360" fmla="*/ 242351 h 346215"/>
                <a:gd name="connsiteX1361" fmla="*/ 433162 w 523257"/>
                <a:gd name="connsiteY1361" fmla="*/ 241957 h 346215"/>
                <a:gd name="connsiteX1362" fmla="*/ 435523 w 523257"/>
                <a:gd name="connsiteY1362" fmla="*/ 241564 h 346215"/>
                <a:gd name="connsiteX1363" fmla="*/ 437490 w 523257"/>
                <a:gd name="connsiteY1363" fmla="*/ 241564 h 346215"/>
                <a:gd name="connsiteX1364" fmla="*/ 434736 w 523257"/>
                <a:gd name="connsiteY1364" fmla="*/ 241957 h 346215"/>
                <a:gd name="connsiteX1365" fmla="*/ 431589 w 523257"/>
                <a:gd name="connsiteY1365" fmla="*/ 243137 h 346215"/>
                <a:gd name="connsiteX1366" fmla="*/ 428835 w 523257"/>
                <a:gd name="connsiteY1366" fmla="*/ 243924 h 346215"/>
                <a:gd name="connsiteX1367" fmla="*/ 426081 w 523257"/>
                <a:gd name="connsiteY1367" fmla="*/ 245498 h 346215"/>
                <a:gd name="connsiteX1368" fmla="*/ 428835 w 523257"/>
                <a:gd name="connsiteY1368" fmla="*/ 246678 h 346215"/>
                <a:gd name="connsiteX1369" fmla="*/ 427261 w 523257"/>
                <a:gd name="connsiteY1369" fmla="*/ 249826 h 346215"/>
                <a:gd name="connsiteX1370" fmla="*/ 430015 w 523257"/>
                <a:gd name="connsiteY1370" fmla="*/ 251793 h 346215"/>
                <a:gd name="connsiteX1371" fmla="*/ 432769 w 523257"/>
                <a:gd name="connsiteY1371" fmla="*/ 249432 h 346215"/>
                <a:gd name="connsiteX1372" fmla="*/ 434343 w 523257"/>
                <a:gd name="connsiteY1372" fmla="*/ 246285 h 346215"/>
                <a:gd name="connsiteX1373" fmla="*/ 437490 w 523257"/>
                <a:gd name="connsiteY1373" fmla="*/ 244711 h 346215"/>
                <a:gd name="connsiteX1374" fmla="*/ 440244 w 523257"/>
                <a:gd name="connsiteY1374" fmla="*/ 243137 h 346215"/>
                <a:gd name="connsiteX1375" fmla="*/ 437490 w 523257"/>
                <a:gd name="connsiteY1375" fmla="*/ 245498 h 346215"/>
                <a:gd name="connsiteX1376" fmla="*/ 435130 w 523257"/>
                <a:gd name="connsiteY1376" fmla="*/ 248252 h 346215"/>
                <a:gd name="connsiteX1377" fmla="*/ 437884 w 523257"/>
                <a:gd name="connsiteY1377" fmla="*/ 249432 h 346215"/>
                <a:gd name="connsiteX1378" fmla="*/ 441031 w 523257"/>
                <a:gd name="connsiteY1378" fmla="*/ 249039 h 346215"/>
                <a:gd name="connsiteX1379" fmla="*/ 437884 w 523257"/>
                <a:gd name="connsiteY1379" fmla="*/ 250613 h 346215"/>
                <a:gd name="connsiteX1380" fmla="*/ 437490 w 523257"/>
                <a:gd name="connsiteY1380" fmla="*/ 253367 h 346215"/>
                <a:gd name="connsiteX1381" fmla="*/ 440244 w 523257"/>
                <a:gd name="connsiteY1381" fmla="*/ 251399 h 346215"/>
                <a:gd name="connsiteX1382" fmla="*/ 443392 w 523257"/>
                <a:gd name="connsiteY1382" fmla="*/ 251793 h 346215"/>
                <a:gd name="connsiteX1383" fmla="*/ 446145 w 523257"/>
                <a:gd name="connsiteY1383" fmla="*/ 249826 h 346215"/>
                <a:gd name="connsiteX1384" fmla="*/ 443785 w 523257"/>
                <a:gd name="connsiteY1384" fmla="*/ 252580 h 346215"/>
                <a:gd name="connsiteX1385" fmla="*/ 446539 w 523257"/>
                <a:gd name="connsiteY1385" fmla="*/ 253367 h 346215"/>
                <a:gd name="connsiteX1386" fmla="*/ 443785 w 523257"/>
                <a:gd name="connsiteY1386" fmla="*/ 254547 h 346215"/>
                <a:gd name="connsiteX1387" fmla="*/ 446932 w 523257"/>
                <a:gd name="connsiteY1387" fmla="*/ 255727 h 346215"/>
                <a:gd name="connsiteX1388" fmla="*/ 448113 w 523257"/>
                <a:gd name="connsiteY1388" fmla="*/ 258481 h 346215"/>
                <a:gd name="connsiteX1389" fmla="*/ 450867 w 523257"/>
                <a:gd name="connsiteY1389" fmla="*/ 255727 h 346215"/>
                <a:gd name="connsiteX1390" fmla="*/ 453621 w 523257"/>
                <a:gd name="connsiteY1390" fmla="*/ 254153 h 346215"/>
                <a:gd name="connsiteX1391" fmla="*/ 456375 w 523257"/>
                <a:gd name="connsiteY1391" fmla="*/ 251006 h 346215"/>
                <a:gd name="connsiteX1392" fmla="*/ 459129 w 523257"/>
                <a:gd name="connsiteY1392" fmla="*/ 248252 h 346215"/>
                <a:gd name="connsiteX1393" fmla="*/ 459915 w 523257"/>
                <a:gd name="connsiteY1393" fmla="*/ 245498 h 346215"/>
                <a:gd name="connsiteX1394" fmla="*/ 458342 w 523257"/>
                <a:gd name="connsiteY1394" fmla="*/ 242744 h 346215"/>
                <a:gd name="connsiteX1395" fmla="*/ 461489 w 523257"/>
                <a:gd name="connsiteY1395" fmla="*/ 242351 h 346215"/>
                <a:gd name="connsiteX1396" fmla="*/ 459129 w 523257"/>
                <a:gd name="connsiteY1396" fmla="*/ 239203 h 346215"/>
                <a:gd name="connsiteX1397" fmla="*/ 462276 w 523257"/>
                <a:gd name="connsiteY1397" fmla="*/ 239203 h 346215"/>
                <a:gd name="connsiteX1398" fmla="*/ 463850 w 523257"/>
                <a:gd name="connsiteY1398" fmla="*/ 238810 h 346215"/>
                <a:gd name="connsiteX1399" fmla="*/ 474079 w 523257"/>
                <a:gd name="connsiteY1399" fmla="*/ 237630 h 346215"/>
                <a:gd name="connsiteX1400" fmla="*/ 476833 w 523257"/>
                <a:gd name="connsiteY1400" fmla="*/ 236056 h 346215"/>
                <a:gd name="connsiteX1401" fmla="*/ 477620 w 523257"/>
                <a:gd name="connsiteY1401" fmla="*/ 233302 h 346215"/>
                <a:gd name="connsiteX1402" fmla="*/ 477226 w 523257"/>
                <a:gd name="connsiteY1402" fmla="*/ 236056 h 346215"/>
                <a:gd name="connsiteX1403" fmla="*/ 480374 w 523257"/>
                <a:gd name="connsiteY1403" fmla="*/ 236449 h 346215"/>
                <a:gd name="connsiteX1404" fmla="*/ 483128 w 523257"/>
                <a:gd name="connsiteY1404" fmla="*/ 236056 h 346215"/>
                <a:gd name="connsiteX1405" fmla="*/ 479980 w 523257"/>
                <a:gd name="connsiteY1405" fmla="*/ 234089 h 346215"/>
                <a:gd name="connsiteX1406" fmla="*/ 483128 w 523257"/>
                <a:gd name="connsiteY1406" fmla="*/ 233302 h 346215"/>
                <a:gd name="connsiteX1407" fmla="*/ 482341 w 523257"/>
                <a:gd name="connsiteY1407" fmla="*/ 230548 h 346215"/>
                <a:gd name="connsiteX1408" fmla="*/ 485488 w 523257"/>
                <a:gd name="connsiteY1408" fmla="*/ 231335 h 346215"/>
                <a:gd name="connsiteX1409" fmla="*/ 488242 w 523257"/>
                <a:gd name="connsiteY1409" fmla="*/ 231728 h 346215"/>
                <a:gd name="connsiteX1410" fmla="*/ 491390 w 523257"/>
                <a:gd name="connsiteY1410" fmla="*/ 231335 h 346215"/>
                <a:gd name="connsiteX1411" fmla="*/ 492963 w 523257"/>
                <a:gd name="connsiteY1411" fmla="*/ 228581 h 346215"/>
                <a:gd name="connsiteX1412" fmla="*/ 490603 w 523257"/>
                <a:gd name="connsiteY1412" fmla="*/ 225827 h 346215"/>
                <a:gd name="connsiteX1413" fmla="*/ 487849 w 523257"/>
                <a:gd name="connsiteY1413" fmla="*/ 225433 h 346215"/>
                <a:gd name="connsiteX1414" fmla="*/ 485095 w 523257"/>
                <a:gd name="connsiteY1414" fmla="*/ 225040 h 346215"/>
                <a:gd name="connsiteX1415" fmla="*/ 484701 w 523257"/>
                <a:gd name="connsiteY1415" fmla="*/ 222679 h 346215"/>
                <a:gd name="connsiteX1416" fmla="*/ 487455 w 523257"/>
                <a:gd name="connsiteY1416" fmla="*/ 225040 h 346215"/>
                <a:gd name="connsiteX1417" fmla="*/ 490603 w 523257"/>
                <a:gd name="connsiteY1417" fmla="*/ 225433 h 346215"/>
                <a:gd name="connsiteX1418" fmla="*/ 493750 w 523257"/>
                <a:gd name="connsiteY1418" fmla="*/ 225827 h 346215"/>
                <a:gd name="connsiteX1419" fmla="*/ 496504 w 523257"/>
                <a:gd name="connsiteY1419" fmla="*/ 227007 h 346215"/>
                <a:gd name="connsiteX1420" fmla="*/ 499258 w 523257"/>
                <a:gd name="connsiteY1420" fmla="*/ 225827 h 346215"/>
                <a:gd name="connsiteX1421" fmla="*/ 502406 w 523257"/>
                <a:gd name="connsiteY1421" fmla="*/ 225827 h 346215"/>
                <a:gd name="connsiteX1422" fmla="*/ 501619 w 523257"/>
                <a:gd name="connsiteY1422" fmla="*/ 223073 h 346215"/>
                <a:gd name="connsiteX1423" fmla="*/ 498865 w 523257"/>
                <a:gd name="connsiteY1423" fmla="*/ 221499 h 346215"/>
                <a:gd name="connsiteX1424" fmla="*/ 496111 w 523257"/>
                <a:gd name="connsiteY1424" fmla="*/ 220319 h 346215"/>
                <a:gd name="connsiteX1425" fmla="*/ 492963 w 523257"/>
                <a:gd name="connsiteY1425" fmla="*/ 219925 h 346215"/>
                <a:gd name="connsiteX1426" fmla="*/ 490996 w 523257"/>
                <a:gd name="connsiteY1426" fmla="*/ 219532 h 346215"/>
                <a:gd name="connsiteX1427" fmla="*/ 492176 w 523257"/>
                <a:gd name="connsiteY1427" fmla="*/ 219138 h 346215"/>
                <a:gd name="connsiteX1428" fmla="*/ 492176 w 523257"/>
                <a:gd name="connsiteY1428" fmla="*/ 219138 h 346215"/>
                <a:gd name="connsiteX1429" fmla="*/ 495324 w 523257"/>
                <a:gd name="connsiteY1429" fmla="*/ 218745 h 346215"/>
                <a:gd name="connsiteX1430" fmla="*/ 498471 w 523257"/>
                <a:gd name="connsiteY1430" fmla="*/ 218352 h 346215"/>
                <a:gd name="connsiteX1431" fmla="*/ 501225 w 523257"/>
                <a:gd name="connsiteY1431" fmla="*/ 217565 h 346215"/>
                <a:gd name="connsiteX1432" fmla="*/ 500439 w 523257"/>
                <a:gd name="connsiteY1432" fmla="*/ 215598 h 346215"/>
                <a:gd name="connsiteX1433" fmla="*/ 503192 w 523257"/>
                <a:gd name="connsiteY1433" fmla="*/ 214417 h 346215"/>
                <a:gd name="connsiteX1434" fmla="*/ 506340 w 523257"/>
                <a:gd name="connsiteY1434" fmla="*/ 217171 h 346215"/>
                <a:gd name="connsiteX1435" fmla="*/ 509094 w 523257"/>
                <a:gd name="connsiteY1435" fmla="*/ 217565 h 346215"/>
                <a:gd name="connsiteX1436" fmla="*/ 512241 w 523257"/>
                <a:gd name="connsiteY1436" fmla="*/ 217565 h 346215"/>
                <a:gd name="connsiteX1437" fmla="*/ 514995 w 523257"/>
                <a:gd name="connsiteY1437" fmla="*/ 216384 h 346215"/>
                <a:gd name="connsiteX1438" fmla="*/ 518143 w 523257"/>
                <a:gd name="connsiteY1438" fmla="*/ 215991 h 346215"/>
                <a:gd name="connsiteX1439" fmla="*/ 520896 w 523257"/>
                <a:gd name="connsiteY1439" fmla="*/ 215598 h 346215"/>
                <a:gd name="connsiteX1440" fmla="*/ 517749 w 523257"/>
                <a:gd name="connsiteY1440" fmla="*/ 214024 h 346215"/>
                <a:gd name="connsiteX1441" fmla="*/ 514995 w 523257"/>
                <a:gd name="connsiteY1441" fmla="*/ 213630 h 346215"/>
                <a:gd name="connsiteX1442" fmla="*/ 512241 w 523257"/>
                <a:gd name="connsiteY1442" fmla="*/ 214024 h 346215"/>
                <a:gd name="connsiteX1443" fmla="*/ 514995 w 523257"/>
                <a:gd name="connsiteY1443" fmla="*/ 212450 h 346215"/>
                <a:gd name="connsiteX1444" fmla="*/ 518143 w 523257"/>
                <a:gd name="connsiteY1444" fmla="*/ 212057 h 346215"/>
                <a:gd name="connsiteX1445" fmla="*/ 520896 w 523257"/>
                <a:gd name="connsiteY1445" fmla="*/ 211663 h 346215"/>
                <a:gd name="connsiteX1446" fmla="*/ 520110 w 523257"/>
                <a:gd name="connsiteY1446" fmla="*/ 209303 h 346215"/>
                <a:gd name="connsiteX1447" fmla="*/ 517749 w 523257"/>
                <a:gd name="connsiteY1447" fmla="*/ 206942 h 346215"/>
                <a:gd name="connsiteX1448" fmla="*/ 517749 w 523257"/>
                <a:gd name="connsiteY1448" fmla="*/ 206942 h 346215"/>
                <a:gd name="connsiteX1449" fmla="*/ 457948 w 523257"/>
                <a:gd name="connsiteY1449" fmla="*/ 193566 h 346215"/>
                <a:gd name="connsiteX1450" fmla="*/ 456768 w 523257"/>
                <a:gd name="connsiteY1450" fmla="*/ 193566 h 346215"/>
                <a:gd name="connsiteX1451" fmla="*/ 460702 w 523257"/>
                <a:gd name="connsiteY1451" fmla="*/ 190812 h 346215"/>
                <a:gd name="connsiteX1452" fmla="*/ 457948 w 523257"/>
                <a:gd name="connsiteY1452" fmla="*/ 193566 h 346215"/>
                <a:gd name="connsiteX1453" fmla="*/ 392246 w 523257"/>
                <a:gd name="connsiteY1453" fmla="*/ 116848 h 346215"/>
                <a:gd name="connsiteX1454" fmla="*/ 390279 w 523257"/>
                <a:gd name="connsiteY1454" fmla="*/ 118028 h 346215"/>
                <a:gd name="connsiteX1455" fmla="*/ 390672 w 523257"/>
                <a:gd name="connsiteY1455" fmla="*/ 117634 h 346215"/>
                <a:gd name="connsiteX1456" fmla="*/ 391066 w 523257"/>
                <a:gd name="connsiteY1456" fmla="*/ 117241 h 346215"/>
                <a:gd name="connsiteX1457" fmla="*/ 391459 w 523257"/>
                <a:gd name="connsiteY1457" fmla="*/ 116848 h 346215"/>
                <a:gd name="connsiteX1458" fmla="*/ 395000 w 523257"/>
                <a:gd name="connsiteY1458" fmla="*/ 115667 h 346215"/>
                <a:gd name="connsiteX1459" fmla="*/ 392246 w 523257"/>
                <a:gd name="connsiteY1459" fmla="*/ 116848 h 346215"/>
                <a:gd name="connsiteX1460" fmla="*/ 400508 w 523257"/>
                <a:gd name="connsiteY1460" fmla="*/ 107405 h 346215"/>
                <a:gd name="connsiteX1461" fmla="*/ 396967 w 523257"/>
                <a:gd name="connsiteY1461" fmla="*/ 108192 h 346215"/>
                <a:gd name="connsiteX1462" fmla="*/ 397361 w 523257"/>
                <a:gd name="connsiteY1462" fmla="*/ 107405 h 346215"/>
                <a:gd name="connsiteX1463" fmla="*/ 400508 w 523257"/>
                <a:gd name="connsiteY1463" fmla="*/ 107405 h 346215"/>
                <a:gd name="connsiteX1464" fmla="*/ 343068 w 523257"/>
                <a:gd name="connsiteY1464" fmla="*/ 210877 h 346215"/>
                <a:gd name="connsiteX1465" fmla="*/ 341101 w 523257"/>
                <a:gd name="connsiteY1465" fmla="*/ 209303 h 346215"/>
                <a:gd name="connsiteX1466" fmla="*/ 343068 w 523257"/>
                <a:gd name="connsiteY1466" fmla="*/ 210877 h 346215"/>
                <a:gd name="connsiteX1467" fmla="*/ 343068 w 523257"/>
                <a:gd name="connsiteY1467" fmla="*/ 210877 h 346215"/>
                <a:gd name="connsiteX1468" fmla="*/ 97963 w 523257"/>
                <a:gd name="connsiteY1468" fmla="*/ 71997 h 346215"/>
                <a:gd name="connsiteX1469" fmla="*/ 101111 w 523257"/>
                <a:gd name="connsiteY1469" fmla="*/ 71604 h 346215"/>
                <a:gd name="connsiteX1470" fmla="*/ 103471 w 523257"/>
                <a:gd name="connsiteY1470" fmla="*/ 70817 h 346215"/>
                <a:gd name="connsiteX1471" fmla="*/ 100324 w 523257"/>
                <a:gd name="connsiteY1471" fmla="*/ 73964 h 346215"/>
                <a:gd name="connsiteX1472" fmla="*/ 98357 w 523257"/>
                <a:gd name="connsiteY1472" fmla="*/ 74751 h 346215"/>
                <a:gd name="connsiteX1473" fmla="*/ 97963 w 523257"/>
                <a:gd name="connsiteY1473" fmla="*/ 74751 h 346215"/>
                <a:gd name="connsiteX1474" fmla="*/ 97176 w 523257"/>
                <a:gd name="connsiteY1474" fmla="*/ 71997 h 346215"/>
                <a:gd name="connsiteX1475" fmla="*/ 97963 w 523257"/>
                <a:gd name="connsiteY1475" fmla="*/ 71997 h 346215"/>
                <a:gd name="connsiteX1476" fmla="*/ 426868 w 523257"/>
                <a:gd name="connsiteY1476" fmla="*/ 212450 h 346215"/>
                <a:gd name="connsiteX1477" fmla="*/ 427655 w 523257"/>
                <a:gd name="connsiteY1477" fmla="*/ 212057 h 346215"/>
                <a:gd name="connsiteX1478" fmla="*/ 426081 w 523257"/>
                <a:gd name="connsiteY1478" fmla="*/ 213237 h 346215"/>
                <a:gd name="connsiteX1479" fmla="*/ 426868 w 523257"/>
                <a:gd name="connsiteY1479" fmla="*/ 212450 h 346215"/>
                <a:gd name="connsiteX1480" fmla="*/ 512635 w 523257"/>
                <a:gd name="connsiteY1480" fmla="*/ 204582 h 346215"/>
                <a:gd name="connsiteX1481" fmla="*/ 512635 w 523257"/>
                <a:gd name="connsiteY1481" fmla="*/ 204582 h 346215"/>
                <a:gd name="connsiteX1482" fmla="*/ 512635 w 523257"/>
                <a:gd name="connsiteY1482" fmla="*/ 204582 h 346215"/>
                <a:gd name="connsiteX1483" fmla="*/ 509094 w 523257"/>
                <a:gd name="connsiteY1483" fmla="*/ 204582 h 346215"/>
                <a:gd name="connsiteX1484" fmla="*/ 509487 w 523257"/>
                <a:gd name="connsiteY1484" fmla="*/ 204582 h 346215"/>
                <a:gd name="connsiteX1485" fmla="*/ 512241 w 523257"/>
                <a:gd name="connsiteY1485" fmla="*/ 203795 h 346215"/>
                <a:gd name="connsiteX1486" fmla="*/ 515389 w 523257"/>
                <a:gd name="connsiteY1486" fmla="*/ 204582 h 346215"/>
                <a:gd name="connsiteX1487" fmla="*/ 515782 w 523257"/>
                <a:gd name="connsiteY1487" fmla="*/ 204975 h 346215"/>
                <a:gd name="connsiteX1488" fmla="*/ 512635 w 523257"/>
                <a:gd name="connsiteY1488" fmla="*/ 204582 h 346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</a:cxnLst>
              <a:rect l="l" t="t" r="r" b="b"/>
              <a:pathLst>
                <a:path w="523257" h="346215">
                  <a:moveTo>
                    <a:pt x="517749" y="206942"/>
                  </a:moveTo>
                  <a:lnTo>
                    <a:pt x="520503" y="207336"/>
                  </a:lnTo>
                  <a:lnTo>
                    <a:pt x="523257" y="206549"/>
                  </a:lnTo>
                  <a:lnTo>
                    <a:pt x="526011" y="204975"/>
                  </a:lnTo>
                  <a:lnTo>
                    <a:pt x="525618" y="202221"/>
                  </a:lnTo>
                  <a:lnTo>
                    <a:pt x="522864" y="199467"/>
                  </a:lnTo>
                  <a:lnTo>
                    <a:pt x="519716" y="199074"/>
                  </a:lnTo>
                  <a:lnTo>
                    <a:pt x="522864" y="197893"/>
                  </a:lnTo>
                  <a:lnTo>
                    <a:pt x="520110" y="197500"/>
                  </a:lnTo>
                  <a:lnTo>
                    <a:pt x="516962" y="197107"/>
                  </a:lnTo>
                  <a:lnTo>
                    <a:pt x="514208" y="197500"/>
                  </a:lnTo>
                  <a:lnTo>
                    <a:pt x="516962" y="196713"/>
                  </a:lnTo>
                  <a:lnTo>
                    <a:pt x="520110" y="196713"/>
                  </a:lnTo>
                  <a:lnTo>
                    <a:pt x="517356" y="194746"/>
                  </a:lnTo>
                  <a:lnTo>
                    <a:pt x="514208" y="196713"/>
                  </a:lnTo>
                  <a:lnTo>
                    <a:pt x="515782" y="193959"/>
                  </a:lnTo>
                  <a:lnTo>
                    <a:pt x="513028" y="192385"/>
                  </a:lnTo>
                  <a:lnTo>
                    <a:pt x="510274" y="194746"/>
                  </a:lnTo>
                  <a:lnTo>
                    <a:pt x="507127" y="195926"/>
                  </a:lnTo>
                  <a:lnTo>
                    <a:pt x="505553" y="198680"/>
                  </a:lnTo>
                  <a:lnTo>
                    <a:pt x="505553" y="201434"/>
                  </a:lnTo>
                  <a:lnTo>
                    <a:pt x="503979" y="198680"/>
                  </a:lnTo>
                  <a:lnTo>
                    <a:pt x="503586" y="195926"/>
                  </a:lnTo>
                  <a:lnTo>
                    <a:pt x="500832" y="195533"/>
                  </a:lnTo>
                  <a:lnTo>
                    <a:pt x="498078" y="197893"/>
                  </a:lnTo>
                  <a:lnTo>
                    <a:pt x="495324" y="200647"/>
                  </a:lnTo>
                  <a:lnTo>
                    <a:pt x="492570" y="203401"/>
                  </a:lnTo>
                  <a:lnTo>
                    <a:pt x="490996" y="203401"/>
                  </a:lnTo>
                  <a:lnTo>
                    <a:pt x="494144" y="200647"/>
                  </a:lnTo>
                  <a:lnTo>
                    <a:pt x="496504" y="197893"/>
                  </a:lnTo>
                  <a:lnTo>
                    <a:pt x="497684" y="194746"/>
                  </a:lnTo>
                  <a:lnTo>
                    <a:pt x="494930" y="194746"/>
                  </a:lnTo>
                  <a:lnTo>
                    <a:pt x="492176" y="195533"/>
                  </a:lnTo>
                  <a:lnTo>
                    <a:pt x="489422" y="196320"/>
                  </a:lnTo>
                  <a:lnTo>
                    <a:pt x="486275" y="196713"/>
                  </a:lnTo>
                  <a:lnTo>
                    <a:pt x="484701" y="198680"/>
                  </a:lnTo>
                  <a:lnTo>
                    <a:pt x="481554" y="196320"/>
                  </a:lnTo>
                  <a:lnTo>
                    <a:pt x="484701" y="195926"/>
                  </a:lnTo>
                  <a:lnTo>
                    <a:pt x="487849" y="195533"/>
                  </a:lnTo>
                  <a:lnTo>
                    <a:pt x="490603" y="193172"/>
                  </a:lnTo>
                  <a:lnTo>
                    <a:pt x="491390" y="190418"/>
                  </a:lnTo>
                  <a:lnTo>
                    <a:pt x="494537" y="189631"/>
                  </a:lnTo>
                  <a:lnTo>
                    <a:pt x="497291" y="188845"/>
                  </a:lnTo>
                  <a:lnTo>
                    <a:pt x="500045" y="186091"/>
                  </a:lnTo>
                  <a:lnTo>
                    <a:pt x="496898" y="184517"/>
                  </a:lnTo>
                  <a:lnTo>
                    <a:pt x="493750" y="186878"/>
                  </a:lnTo>
                  <a:lnTo>
                    <a:pt x="490996" y="187271"/>
                  </a:lnTo>
                  <a:lnTo>
                    <a:pt x="488242" y="190025"/>
                  </a:lnTo>
                  <a:lnTo>
                    <a:pt x="485488" y="191599"/>
                  </a:lnTo>
                  <a:lnTo>
                    <a:pt x="482341" y="192385"/>
                  </a:lnTo>
                  <a:lnTo>
                    <a:pt x="479193" y="193172"/>
                  </a:lnTo>
                  <a:lnTo>
                    <a:pt x="482341" y="191599"/>
                  </a:lnTo>
                  <a:lnTo>
                    <a:pt x="485095" y="190418"/>
                  </a:lnTo>
                  <a:lnTo>
                    <a:pt x="488242" y="188451"/>
                  </a:lnTo>
                  <a:lnTo>
                    <a:pt x="485095" y="186878"/>
                  </a:lnTo>
                  <a:lnTo>
                    <a:pt x="482341" y="187271"/>
                  </a:lnTo>
                  <a:lnTo>
                    <a:pt x="479587" y="186878"/>
                  </a:lnTo>
                  <a:lnTo>
                    <a:pt x="476439" y="188451"/>
                  </a:lnTo>
                  <a:lnTo>
                    <a:pt x="473292" y="188451"/>
                  </a:lnTo>
                  <a:lnTo>
                    <a:pt x="470538" y="188845"/>
                  </a:lnTo>
                  <a:lnTo>
                    <a:pt x="467784" y="189631"/>
                  </a:lnTo>
                  <a:lnTo>
                    <a:pt x="464637" y="189631"/>
                  </a:lnTo>
                  <a:lnTo>
                    <a:pt x="461489" y="190812"/>
                  </a:lnTo>
                  <a:lnTo>
                    <a:pt x="463850" y="189238"/>
                  </a:lnTo>
                  <a:lnTo>
                    <a:pt x="465817" y="188845"/>
                  </a:lnTo>
                  <a:lnTo>
                    <a:pt x="468571" y="188451"/>
                  </a:lnTo>
                  <a:lnTo>
                    <a:pt x="471325" y="188058"/>
                  </a:lnTo>
                  <a:lnTo>
                    <a:pt x="474079" y="187664"/>
                  </a:lnTo>
                  <a:lnTo>
                    <a:pt x="477226" y="186878"/>
                  </a:lnTo>
                  <a:lnTo>
                    <a:pt x="474079" y="186091"/>
                  </a:lnTo>
                  <a:lnTo>
                    <a:pt x="471325" y="186878"/>
                  </a:lnTo>
                  <a:lnTo>
                    <a:pt x="468177" y="187271"/>
                  </a:lnTo>
                  <a:lnTo>
                    <a:pt x="466604" y="187271"/>
                  </a:lnTo>
                  <a:lnTo>
                    <a:pt x="467391" y="186878"/>
                  </a:lnTo>
                  <a:lnTo>
                    <a:pt x="468177" y="186878"/>
                  </a:lnTo>
                  <a:lnTo>
                    <a:pt x="471325" y="186484"/>
                  </a:lnTo>
                  <a:lnTo>
                    <a:pt x="469358" y="185697"/>
                  </a:lnTo>
                  <a:lnTo>
                    <a:pt x="470538" y="184910"/>
                  </a:lnTo>
                  <a:lnTo>
                    <a:pt x="474472" y="185304"/>
                  </a:lnTo>
                  <a:lnTo>
                    <a:pt x="477620" y="185697"/>
                  </a:lnTo>
                  <a:lnTo>
                    <a:pt x="480374" y="184124"/>
                  </a:lnTo>
                  <a:lnTo>
                    <a:pt x="479980" y="181370"/>
                  </a:lnTo>
                  <a:lnTo>
                    <a:pt x="476833" y="181370"/>
                  </a:lnTo>
                  <a:lnTo>
                    <a:pt x="475652" y="181370"/>
                  </a:lnTo>
                  <a:lnTo>
                    <a:pt x="476439" y="180976"/>
                  </a:lnTo>
                  <a:lnTo>
                    <a:pt x="476833" y="180976"/>
                  </a:lnTo>
                  <a:lnTo>
                    <a:pt x="479980" y="179796"/>
                  </a:lnTo>
                  <a:lnTo>
                    <a:pt x="481554" y="177435"/>
                  </a:lnTo>
                  <a:lnTo>
                    <a:pt x="478800" y="176648"/>
                  </a:lnTo>
                  <a:lnTo>
                    <a:pt x="479193" y="174288"/>
                  </a:lnTo>
                  <a:lnTo>
                    <a:pt x="476046" y="174681"/>
                  </a:lnTo>
                  <a:lnTo>
                    <a:pt x="473292" y="175075"/>
                  </a:lnTo>
                  <a:lnTo>
                    <a:pt x="473292" y="175075"/>
                  </a:lnTo>
                  <a:lnTo>
                    <a:pt x="472505" y="174681"/>
                  </a:lnTo>
                  <a:lnTo>
                    <a:pt x="473292" y="174288"/>
                  </a:lnTo>
                  <a:lnTo>
                    <a:pt x="476046" y="173894"/>
                  </a:lnTo>
                  <a:lnTo>
                    <a:pt x="475259" y="171140"/>
                  </a:lnTo>
                  <a:lnTo>
                    <a:pt x="472505" y="170747"/>
                  </a:lnTo>
                  <a:lnTo>
                    <a:pt x="469751" y="171927"/>
                  </a:lnTo>
                  <a:lnTo>
                    <a:pt x="467784" y="173501"/>
                  </a:lnTo>
                  <a:lnTo>
                    <a:pt x="466604" y="173108"/>
                  </a:lnTo>
                  <a:lnTo>
                    <a:pt x="466604" y="171534"/>
                  </a:lnTo>
                  <a:lnTo>
                    <a:pt x="463456" y="171927"/>
                  </a:lnTo>
                  <a:lnTo>
                    <a:pt x="463456" y="171927"/>
                  </a:lnTo>
                  <a:lnTo>
                    <a:pt x="462669" y="171927"/>
                  </a:lnTo>
                  <a:lnTo>
                    <a:pt x="465423" y="168780"/>
                  </a:lnTo>
                  <a:lnTo>
                    <a:pt x="468177" y="167206"/>
                  </a:lnTo>
                  <a:lnTo>
                    <a:pt x="471325" y="166813"/>
                  </a:lnTo>
                  <a:lnTo>
                    <a:pt x="468571" y="164059"/>
                  </a:lnTo>
                  <a:lnTo>
                    <a:pt x="465817" y="164846"/>
                  </a:lnTo>
                  <a:lnTo>
                    <a:pt x="462669" y="166813"/>
                  </a:lnTo>
                  <a:lnTo>
                    <a:pt x="459522" y="167206"/>
                  </a:lnTo>
                  <a:lnTo>
                    <a:pt x="456375" y="167993"/>
                  </a:lnTo>
                  <a:lnTo>
                    <a:pt x="454408" y="169567"/>
                  </a:lnTo>
                  <a:lnTo>
                    <a:pt x="453621" y="169173"/>
                  </a:lnTo>
                  <a:lnTo>
                    <a:pt x="455588" y="167600"/>
                  </a:lnTo>
                  <a:lnTo>
                    <a:pt x="452834" y="165239"/>
                  </a:lnTo>
                  <a:lnTo>
                    <a:pt x="450080" y="165632"/>
                  </a:lnTo>
                  <a:lnTo>
                    <a:pt x="448899" y="167600"/>
                  </a:lnTo>
                  <a:lnTo>
                    <a:pt x="444965" y="166419"/>
                  </a:lnTo>
                  <a:lnTo>
                    <a:pt x="444965" y="166419"/>
                  </a:lnTo>
                  <a:lnTo>
                    <a:pt x="444572" y="166419"/>
                  </a:lnTo>
                  <a:lnTo>
                    <a:pt x="450080" y="162879"/>
                  </a:lnTo>
                  <a:lnTo>
                    <a:pt x="450473" y="160125"/>
                  </a:lnTo>
                  <a:lnTo>
                    <a:pt x="447719" y="162879"/>
                  </a:lnTo>
                  <a:lnTo>
                    <a:pt x="444965" y="164059"/>
                  </a:lnTo>
                  <a:lnTo>
                    <a:pt x="442211" y="165632"/>
                  </a:lnTo>
                  <a:lnTo>
                    <a:pt x="439851" y="165632"/>
                  </a:lnTo>
                  <a:lnTo>
                    <a:pt x="436703" y="167600"/>
                  </a:lnTo>
                  <a:lnTo>
                    <a:pt x="435916" y="168386"/>
                  </a:lnTo>
                  <a:lnTo>
                    <a:pt x="431982" y="169567"/>
                  </a:lnTo>
                  <a:lnTo>
                    <a:pt x="431589" y="168780"/>
                  </a:lnTo>
                  <a:lnTo>
                    <a:pt x="431982" y="168780"/>
                  </a:lnTo>
                  <a:lnTo>
                    <a:pt x="434736" y="168386"/>
                  </a:lnTo>
                  <a:lnTo>
                    <a:pt x="437884" y="166026"/>
                  </a:lnTo>
                  <a:lnTo>
                    <a:pt x="440638" y="164452"/>
                  </a:lnTo>
                  <a:lnTo>
                    <a:pt x="437884" y="162485"/>
                  </a:lnTo>
                  <a:lnTo>
                    <a:pt x="441031" y="161698"/>
                  </a:lnTo>
                  <a:lnTo>
                    <a:pt x="437884" y="160125"/>
                  </a:lnTo>
                  <a:lnTo>
                    <a:pt x="434736" y="160518"/>
                  </a:lnTo>
                  <a:lnTo>
                    <a:pt x="432376" y="163665"/>
                  </a:lnTo>
                  <a:lnTo>
                    <a:pt x="433556" y="160911"/>
                  </a:lnTo>
                  <a:lnTo>
                    <a:pt x="430408" y="161305"/>
                  </a:lnTo>
                  <a:lnTo>
                    <a:pt x="428441" y="162092"/>
                  </a:lnTo>
                  <a:lnTo>
                    <a:pt x="428441" y="161698"/>
                  </a:lnTo>
                  <a:lnTo>
                    <a:pt x="430802" y="159731"/>
                  </a:lnTo>
                  <a:lnTo>
                    <a:pt x="433556" y="157371"/>
                  </a:lnTo>
                  <a:lnTo>
                    <a:pt x="430802" y="156977"/>
                  </a:lnTo>
                  <a:lnTo>
                    <a:pt x="427655" y="156190"/>
                  </a:lnTo>
                  <a:lnTo>
                    <a:pt x="426081" y="156584"/>
                  </a:lnTo>
                  <a:lnTo>
                    <a:pt x="425687" y="156190"/>
                  </a:lnTo>
                  <a:lnTo>
                    <a:pt x="427261" y="155797"/>
                  </a:lnTo>
                  <a:lnTo>
                    <a:pt x="424901" y="154617"/>
                  </a:lnTo>
                  <a:lnTo>
                    <a:pt x="424507" y="153436"/>
                  </a:lnTo>
                  <a:lnTo>
                    <a:pt x="427261" y="153436"/>
                  </a:lnTo>
                  <a:lnTo>
                    <a:pt x="430015" y="154617"/>
                  </a:lnTo>
                  <a:lnTo>
                    <a:pt x="433162" y="153830"/>
                  </a:lnTo>
                  <a:lnTo>
                    <a:pt x="438671" y="152649"/>
                  </a:lnTo>
                  <a:lnTo>
                    <a:pt x="435523" y="151863"/>
                  </a:lnTo>
                  <a:lnTo>
                    <a:pt x="432769" y="152256"/>
                  </a:lnTo>
                  <a:lnTo>
                    <a:pt x="430015" y="152256"/>
                  </a:lnTo>
                  <a:lnTo>
                    <a:pt x="426868" y="152649"/>
                  </a:lnTo>
                  <a:lnTo>
                    <a:pt x="424114" y="150289"/>
                  </a:lnTo>
                  <a:lnTo>
                    <a:pt x="423327" y="150289"/>
                  </a:lnTo>
                  <a:lnTo>
                    <a:pt x="420179" y="143207"/>
                  </a:lnTo>
                  <a:lnTo>
                    <a:pt x="420573" y="143207"/>
                  </a:lnTo>
                  <a:lnTo>
                    <a:pt x="420179" y="143207"/>
                  </a:lnTo>
                  <a:lnTo>
                    <a:pt x="419786" y="142027"/>
                  </a:lnTo>
                  <a:lnTo>
                    <a:pt x="419393" y="142027"/>
                  </a:lnTo>
                  <a:lnTo>
                    <a:pt x="416638" y="140453"/>
                  </a:lnTo>
                  <a:lnTo>
                    <a:pt x="419786" y="142027"/>
                  </a:lnTo>
                  <a:lnTo>
                    <a:pt x="416638" y="139666"/>
                  </a:lnTo>
                  <a:lnTo>
                    <a:pt x="418999" y="139666"/>
                  </a:lnTo>
                  <a:lnTo>
                    <a:pt x="416245" y="137306"/>
                  </a:lnTo>
                  <a:lnTo>
                    <a:pt x="413098" y="136519"/>
                  </a:lnTo>
                  <a:lnTo>
                    <a:pt x="412704" y="136519"/>
                  </a:lnTo>
                  <a:lnTo>
                    <a:pt x="412311" y="136126"/>
                  </a:lnTo>
                  <a:lnTo>
                    <a:pt x="413491" y="135732"/>
                  </a:lnTo>
                  <a:lnTo>
                    <a:pt x="416245" y="136126"/>
                  </a:lnTo>
                  <a:lnTo>
                    <a:pt x="419393" y="136519"/>
                  </a:lnTo>
                  <a:lnTo>
                    <a:pt x="422147" y="135732"/>
                  </a:lnTo>
                  <a:lnTo>
                    <a:pt x="425294" y="135732"/>
                  </a:lnTo>
                  <a:lnTo>
                    <a:pt x="428048" y="135339"/>
                  </a:lnTo>
                  <a:lnTo>
                    <a:pt x="425294" y="133372"/>
                  </a:lnTo>
                  <a:lnTo>
                    <a:pt x="422147" y="132191"/>
                  </a:lnTo>
                  <a:lnTo>
                    <a:pt x="419393" y="131404"/>
                  </a:lnTo>
                  <a:lnTo>
                    <a:pt x="416245" y="130618"/>
                  </a:lnTo>
                  <a:lnTo>
                    <a:pt x="413098" y="131011"/>
                  </a:lnTo>
                  <a:lnTo>
                    <a:pt x="409950" y="131798"/>
                  </a:lnTo>
                  <a:lnTo>
                    <a:pt x="407983" y="132191"/>
                  </a:lnTo>
                  <a:lnTo>
                    <a:pt x="407196" y="131404"/>
                  </a:lnTo>
                  <a:lnTo>
                    <a:pt x="409164" y="131404"/>
                  </a:lnTo>
                  <a:lnTo>
                    <a:pt x="412311" y="130224"/>
                  </a:lnTo>
                  <a:lnTo>
                    <a:pt x="409164" y="129437"/>
                  </a:lnTo>
                  <a:lnTo>
                    <a:pt x="407590" y="129437"/>
                  </a:lnTo>
                  <a:lnTo>
                    <a:pt x="410737" y="129044"/>
                  </a:lnTo>
                  <a:lnTo>
                    <a:pt x="413885" y="129044"/>
                  </a:lnTo>
                  <a:lnTo>
                    <a:pt x="417032" y="129437"/>
                  </a:lnTo>
                  <a:lnTo>
                    <a:pt x="419786" y="129831"/>
                  </a:lnTo>
                  <a:lnTo>
                    <a:pt x="422933" y="130224"/>
                  </a:lnTo>
                  <a:lnTo>
                    <a:pt x="419786" y="127864"/>
                  </a:lnTo>
                  <a:lnTo>
                    <a:pt x="416638" y="128257"/>
                  </a:lnTo>
                  <a:lnTo>
                    <a:pt x="413885" y="127470"/>
                  </a:lnTo>
                  <a:lnTo>
                    <a:pt x="411131" y="127077"/>
                  </a:lnTo>
                  <a:lnTo>
                    <a:pt x="407983" y="126683"/>
                  </a:lnTo>
                  <a:lnTo>
                    <a:pt x="404836" y="127077"/>
                  </a:lnTo>
                  <a:lnTo>
                    <a:pt x="402082" y="127864"/>
                  </a:lnTo>
                  <a:lnTo>
                    <a:pt x="404836" y="126290"/>
                  </a:lnTo>
                  <a:lnTo>
                    <a:pt x="407983" y="125896"/>
                  </a:lnTo>
                  <a:lnTo>
                    <a:pt x="410737" y="126290"/>
                  </a:lnTo>
                  <a:lnTo>
                    <a:pt x="413885" y="126683"/>
                  </a:lnTo>
                  <a:lnTo>
                    <a:pt x="416638" y="127077"/>
                  </a:lnTo>
                  <a:lnTo>
                    <a:pt x="419786" y="127470"/>
                  </a:lnTo>
                  <a:lnTo>
                    <a:pt x="422933" y="127077"/>
                  </a:lnTo>
                  <a:lnTo>
                    <a:pt x="425687" y="128650"/>
                  </a:lnTo>
                  <a:lnTo>
                    <a:pt x="428441" y="129831"/>
                  </a:lnTo>
                  <a:lnTo>
                    <a:pt x="431195" y="131404"/>
                  </a:lnTo>
                  <a:lnTo>
                    <a:pt x="434343" y="131798"/>
                  </a:lnTo>
                  <a:lnTo>
                    <a:pt x="437097" y="131404"/>
                  </a:lnTo>
                  <a:lnTo>
                    <a:pt x="440244" y="131798"/>
                  </a:lnTo>
                  <a:lnTo>
                    <a:pt x="442998" y="131404"/>
                  </a:lnTo>
                  <a:lnTo>
                    <a:pt x="446145" y="131404"/>
                  </a:lnTo>
                  <a:lnTo>
                    <a:pt x="448899" y="132585"/>
                  </a:lnTo>
                  <a:lnTo>
                    <a:pt x="452047" y="132585"/>
                  </a:lnTo>
                  <a:lnTo>
                    <a:pt x="454801" y="130618"/>
                  </a:lnTo>
                  <a:lnTo>
                    <a:pt x="454408" y="127864"/>
                  </a:lnTo>
                  <a:lnTo>
                    <a:pt x="451654" y="125503"/>
                  </a:lnTo>
                  <a:lnTo>
                    <a:pt x="448506" y="123929"/>
                  </a:lnTo>
                  <a:lnTo>
                    <a:pt x="445752" y="123536"/>
                  </a:lnTo>
                  <a:lnTo>
                    <a:pt x="442998" y="123536"/>
                  </a:lnTo>
                  <a:lnTo>
                    <a:pt x="439851" y="123142"/>
                  </a:lnTo>
                  <a:lnTo>
                    <a:pt x="437097" y="122749"/>
                  </a:lnTo>
                  <a:lnTo>
                    <a:pt x="434343" y="123142"/>
                  </a:lnTo>
                  <a:lnTo>
                    <a:pt x="431195" y="123536"/>
                  </a:lnTo>
                  <a:lnTo>
                    <a:pt x="428441" y="122749"/>
                  </a:lnTo>
                  <a:lnTo>
                    <a:pt x="425687" y="121569"/>
                  </a:lnTo>
                  <a:lnTo>
                    <a:pt x="422933" y="120388"/>
                  </a:lnTo>
                  <a:lnTo>
                    <a:pt x="419786" y="119995"/>
                  </a:lnTo>
                  <a:lnTo>
                    <a:pt x="416638" y="119995"/>
                  </a:lnTo>
                  <a:lnTo>
                    <a:pt x="413885" y="120388"/>
                  </a:lnTo>
                  <a:lnTo>
                    <a:pt x="410737" y="121175"/>
                  </a:lnTo>
                  <a:lnTo>
                    <a:pt x="407590" y="121569"/>
                  </a:lnTo>
                  <a:lnTo>
                    <a:pt x="404836" y="121962"/>
                  </a:lnTo>
                  <a:lnTo>
                    <a:pt x="401688" y="121962"/>
                  </a:lnTo>
                  <a:lnTo>
                    <a:pt x="398541" y="121569"/>
                  </a:lnTo>
                  <a:lnTo>
                    <a:pt x="395787" y="121175"/>
                  </a:lnTo>
                  <a:lnTo>
                    <a:pt x="393033" y="121569"/>
                  </a:lnTo>
                  <a:lnTo>
                    <a:pt x="389492" y="121962"/>
                  </a:lnTo>
                  <a:lnTo>
                    <a:pt x="388705" y="121962"/>
                  </a:lnTo>
                  <a:lnTo>
                    <a:pt x="389099" y="121569"/>
                  </a:lnTo>
                  <a:lnTo>
                    <a:pt x="392246" y="121175"/>
                  </a:lnTo>
                  <a:lnTo>
                    <a:pt x="395000" y="120782"/>
                  </a:lnTo>
                  <a:lnTo>
                    <a:pt x="397754" y="120782"/>
                  </a:lnTo>
                  <a:lnTo>
                    <a:pt x="400901" y="121175"/>
                  </a:lnTo>
                  <a:lnTo>
                    <a:pt x="404049" y="121569"/>
                  </a:lnTo>
                  <a:lnTo>
                    <a:pt x="406803" y="121175"/>
                  </a:lnTo>
                  <a:lnTo>
                    <a:pt x="409950" y="120782"/>
                  </a:lnTo>
                  <a:lnTo>
                    <a:pt x="413491" y="119995"/>
                  </a:lnTo>
                  <a:lnTo>
                    <a:pt x="416638" y="119208"/>
                  </a:lnTo>
                  <a:lnTo>
                    <a:pt x="420179" y="118815"/>
                  </a:lnTo>
                  <a:lnTo>
                    <a:pt x="423327" y="119208"/>
                  </a:lnTo>
                  <a:lnTo>
                    <a:pt x="426081" y="118815"/>
                  </a:lnTo>
                  <a:lnTo>
                    <a:pt x="429228" y="118028"/>
                  </a:lnTo>
                  <a:lnTo>
                    <a:pt x="432376" y="116454"/>
                  </a:lnTo>
                  <a:lnTo>
                    <a:pt x="435523" y="115274"/>
                  </a:lnTo>
                  <a:lnTo>
                    <a:pt x="438277" y="114880"/>
                  </a:lnTo>
                  <a:lnTo>
                    <a:pt x="441818" y="114487"/>
                  </a:lnTo>
                  <a:lnTo>
                    <a:pt x="444572" y="114880"/>
                  </a:lnTo>
                  <a:lnTo>
                    <a:pt x="447326" y="115667"/>
                  </a:lnTo>
                  <a:lnTo>
                    <a:pt x="450080" y="116061"/>
                  </a:lnTo>
                  <a:lnTo>
                    <a:pt x="453227" y="115667"/>
                  </a:lnTo>
                  <a:lnTo>
                    <a:pt x="455981" y="113307"/>
                  </a:lnTo>
                  <a:lnTo>
                    <a:pt x="456768" y="110553"/>
                  </a:lnTo>
                  <a:lnTo>
                    <a:pt x="455588" y="107799"/>
                  </a:lnTo>
                  <a:lnTo>
                    <a:pt x="455194" y="105045"/>
                  </a:lnTo>
                  <a:lnTo>
                    <a:pt x="452440" y="101897"/>
                  </a:lnTo>
                  <a:lnTo>
                    <a:pt x="449686" y="100324"/>
                  </a:lnTo>
                  <a:lnTo>
                    <a:pt x="446539" y="98750"/>
                  </a:lnTo>
                  <a:lnTo>
                    <a:pt x="443392" y="100324"/>
                  </a:lnTo>
                  <a:lnTo>
                    <a:pt x="440244" y="101504"/>
                  </a:lnTo>
                  <a:lnTo>
                    <a:pt x="437490" y="103865"/>
                  </a:lnTo>
                  <a:lnTo>
                    <a:pt x="434343" y="105832"/>
                  </a:lnTo>
                  <a:lnTo>
                    <a:pt x="431589" y="106225"/>
                  </a:lnTo>
                  <a:lnTo>
                    <a:pt x="428835" y="107799"/>
                  </a:lnTo>
                  <a:lnTo>
                    <a:pt x="423720" y="109373"/>
                  </a:lnTo>
                  <a:lnTo>
                    <a:pt x="423327" y="109373"/>
                  </a:lnTo>
                  <a:lnTo>
                    <a:pt x="420179" y="109373"/>
                  </a:lnTo>
                  <a:lnTo>
                    <a:pt x="417032" y="110159"/>
                  </a:lnTo>
                  <a:lnTo>
                    <a:pt x="413885" y="110946"/>
                  </a:lnTo>
                  <a:lnTo>
                    <a:pt x="411131" y="112520"/>
                  </a:lnTo>
                  <a:lnTo>
                    <a:pt x="407983" y="114094"/>
                  </a:lnTo>
                  <a:lnTo>
                    <a:pt x="407983" y="114094"/>
                  </a:lnTo>
                  <a:lnTo>
                    <a:pt x="404836" y="114487"/>
                  </a:lnTo>
                  <a:lnTo>
                    <a:pt x="403262" y="114094"/>
                  </a:lnTo>
                  <a:lnTo>
                    <a:pt x="406016" y="113307"/>
                  </a:lnTo>
                  <a:lnTo>
                    <a:pt x="407196" y="113700"/>
                  </a:lnTo>
                  <a:lnTo>
                    <a:pt x="409950" y="112520"/>
                  </a:lnTo>
                  <a:lnTo>
                    <a:pt x="413098" y="110946"/>
                  </a:lnTo>
                  <a:lnTo>
                    <a:pt x="413098" y="110946"/>
                  </a:lnTo>
                  <a:lnTo>
                    <a:pt x="420573" y="108586"/>
                  </a:lnTo>
                  <a:lnTo>
                    <a:pt x="423327" y="108192"/>
                  </a:lnTo>
                  <a:lnTo>
                    <a:pt x="426474" y="107012"/>
                  </a:lnTo>
                  <a:lnTo>
                    <a:pt x="429228" y="105045"/>
                  </a:lnTo>
                  <a:lnTo>
                    <a:pt x="426081" y="103078"/>
                  </a:lnTo>
                  <a:lnTo>
                    <a:pt x="422933" y="102684"/>
                  </a:lnTo>
                  <a:lnTo>
                    <a:pt x="420179" y="103078"/>
                  </a:lnTo>
                  <a:lnTo>
                    <a:pt x="417425" y="103471"/>
                  </a:lnTo>
                  <a:lnTo>
                    <a:pt x="413885" y="103865"/>
                  </a:lnTo>
                  <a:lnTo>
                    <a:pt x="410737" y="104258"/>
                  </a:lnTo>
                  <a:lnTo>
                    <a:pt x="407590" y="104651"/>
                  </a:lnTo>
                  <a:lnTo>
                    <a:pt x="404836" y="105832"/>
                  </a:lnTo>
                  <a:lnTo>
                    <a:pt x="404049" y="108192"/>
                  </a:lnTo>
                  <a:lnTo>
                    <a:pt x="401295" y="108586"/>
                  </a:lnTo>
                  <a:lnTo>
                    <a:pt x="402082" y="108192"/>
                  </a:lnTo>
                  <a:lnTo>
                    <a:pt x="399328" y="106619"/>
                  </a:lnTo>
                  <a:lnTo>
                    <a:pt x="399721" y="106225"/>
                  </a:lnTo>
                  <a:lnTo>
                    <a:pt x="402869" y="105438"/>
                  </a:lnTo>
                  <a:lnTo>
                    <a:pt x="405623" y="103865"/>
                  </a:lnTo>
                  <a:lnTo>
                    <a:pt x="408377" y="103078"/>
                  </a:lnTo>
                  <a:lnTo>
                    <a:pt x="411524" y="102684"/>
                  </a:lnTo>
                  <a:lnTo>
                    <a:pt x="414671" y="101897"/>
                  </a:lnTo>
                  <a:lnTo>
                    <a:pt x="417425" y="101504"/>
                  </a:lnTo>
                  <a:lnTo>
                    <a:pt x="420573" y="101111"/>
                  </a:lnTo>
                  <a:lnTo>
                    <a:pt x="423327" y="100717"/>
                  </a:lnTo>
                  <a:lnTo>
                    <a:pt x="426474" y="100324"/>
                  </a:lnTo>
                  <a:lnTo>
                    <a:pt x="430015" y="99930"/>
                  </a:lnTo>
                  <a:lnTo>
                    <a:pt x="432769" y="99537"/>
                  </a:lnTo>
                  <a:lnTo>
                    <a:pt x="435523" y="96783"/>
                  </a:lnTo>
                  <a:lnTo>
                    <a:pt x="438671" y="95209"/>
                  </a:lnTo>
                  <a:lnTo>
                    <a:pt x="441818" y="96389"/>
                  </a:lnTo>
                  <a:lnTo>
                    <a:pt x="444965" y="94816"/>
                  </a:lnTo>
                  <a:lnTo>
                    <a:pt x="444178" y="92062"/>
                  </a:lnTo>
                  <a:lnTo>
                    <a:pt x="441031" y="91275"/>
                  </a:lnTo>
                  <a:lnTo>
                    <a:pt x="437884" y="90488"/>
                  </a:lnTo>
                  <a:lnTo>
                    <a:pt x="435130" y="89701"/>
                  </a:lnTo>
                  <a:lnTo>
                    <a:pt x="432376" y="88521"/>
                  </a:lnTo>
                  <a:lnTo>
                    <a:pt x="428835" y="86947"/>
                  </a:lnTo>
                  <a:lnTo>
                    <a:pt x="426081" y="86554"/>
                  </a:lnTo>
                  <a:lnTo>
                    <a:pt x="422933" y="86947"/>
                  </a:lnTo>
                  <a:lnTo>
                    <a:pt x="420179" y="88914"/>
                  </a:lnTo>
                  <a:lnTo>
                    <a:pt x="417032" y="88914"/>
                  </a:lnTo>
                  <a:lnTo>
                    <a:pt x="413885" y="90095"/>
                  </a:lnTo>
                  <a:lnTo>
                    <a:pt x="411131" y="90881"/>
                  </a:lnTo>
                  <a:lnTo>
                    <a:pt x="412704" y="88521"/>
                  </a:lnTo>
                  <a:lnTo>
                    <a:pt x="415852" y="87341"/>
                  </a:lnTo>
                  <a:lnTo>
                    <a:pt x="418606" y="85767"/>
                  </a:lnTo>
                  <a:lnTo>
                    <a:pt x="416245" y="83013"/>
                  </a:lnTo>
                  <a:lnTo>
                    <a:pt x="415852" y="83013"/>
                  </a:lnTo>
                  <a:lnTo>
                    <a:pt x="413098" y="83800"/>
                  </a:lnTo>
                  <a:lnTo>
                    <a:pt x="410344" y="84193"/>
                  </a:lnTo>
                  <a:lnTo>
                    <a:pt x="407196" y="84587"/>
                  </a:lnTo>
                  <a:lnTo>
                    <a:pt x="404442" y="84980"/>
                  </a:lnTo>
                  <a:lnTo>
                    <a:pt x="401688" y="85767"/>
                  </a:lnTo>
                  <a:lnTo>
                    <a:pt x="398541" y="86554"/>
                  </a:lnTo>
                  <a:lnTo>
                    <a:pt x="395394" y="87734"/>
                  </a:lnTo>
                  <a:lnTo>
                    <a:pt x="391853" y="88128"/>
                  </a:lnTo>
                  <a:lnTo>
                    <a:pt x="389099" y="89701"/>
                  </a:lnTo>
                  <a:lnTo>
                    <a:pt x="385951" y="91668"/>
                  </a:lnTo>
                  <a:lnTo>
                    <a:pt x="383197" y="94029"/>
                  </a:lnTo>
                  <a:lnTo>
                    <a:pt x="380050" y="96389"/>
                  </a:lnTo>
                  <a:lnTo>
                    <a:pt x="377296" y="99537"/>
                  </a:lnTo>
                  <a:lnTo>
                    <a:pt x="374542" y="101111"/>
                  </a:lnTo>
                  <a:lnTo>
                    <a:pt x="371394" y="103471"/>
                  </a:lnTo>
                  <a:lnTo>
                    <a:pt x="369821" y="104258"/>
                  </a:lnTo>
                  <a:lnTo>
                    <a:pt x="369427" y="103865"/>
                  </a:lnTo>
                  <a:lnTo>
                    <a:pt x="369821" y="103471"/>
                  </a:lnTo>
                  <a:lnTo>
                    <a:pt x="372575" y="101504"/>
                  </a:lnTo>
                  <a:lnTo>
                    <a:pt x="375329" y="99930"/>
                  </a:lnTo>
                  <a:lnTo>
                    <a:pt x="378083" y="97176"/>
                  </a:lnTo>
                  <a:lnTo>
                    <a:pt x="380837" y="94816"/>
                  </a:lnTo>
                  <a:lnTo>
                    <a:pt x="383984" y="92455"/>
                  </a:lnTo>
                  <a:lnTo>
                    <a:pt x="380837" y="90881"/>
                  </a:lnTo>
                  <a:lnTo>
                    <a:pt x="377689" y="90488"/>
                  </a:lnTo>
                  <a:lnTo>
                    <a:pt x="374935" y="92849"/>
                  </a:lnTo>
                  <a:lnTo>
                    <a:pt x="372181" y="94422"/>
                  </a:lnTo>
                  <a:lnTo>
                    <a:pt x="369034" y="96783"/>
                  </a:lnTo>
                  <a:lnTo>
                    <a:pt x="366280" y="98357"/>
                  </a:lnTo>
                  <a:lnTo>
                    <a:pt x="364706" y="98750"/>
                  </a:lnTo>
                  <a:lnTo>
                    <a:pt x="367460" y="97176"/>
                  </a:lnTo>
                  <a:lnTo>
                    <a:pt x="364706" y="95209"/>
                  </a:lnTo>
                  <a:lnTo>
                    <a:pt x="367854" y="94422"/>
                  </a:lnTo>
                  <a:lnTo>
                    <a:pt x="373362" y="92062"/>
                  </a:lnTo>
                  <a:lnTo>
                    <a:pt x="376116" y="89701"/>
                  </a:lnTo>
                  <a:lnTo>
                    <a:pt x="379263" y="89308"/>
                  </a:lnTo>
                  <a:lnTo>
                    <a:pt x="382411" y="90095"/>
                  </a:lnTo>
                  <a:lnTo>
                    <a:pt x="385164" y="89701"/>
                  </a:lnTo>
                  <a:lnTo>
                    <a:pt x="388312" y="87734"/>
                  </a:lnTo>
                  <a:lnTo>
                    <a:pt x="391459" y="87341"/>
                  </a:lnTo>
                  <a:lnTo>
                    <a:pt x="395000" y="86554"/>
                  </a:lnTo>
                  <a:lnTo>
                    <a:pt x="397754" y="85767"/>
                  </a:lnTo>
                  <a:lnTo>
                    <a:pt x="400508" y="83406"/>
                  </a:lnTo>
                  <a:lnTo>
                    <a:pt x="403655" y="82226"/>
                  </a:lnTo>
                  <a:lnTo>
                    <a:pt x="406409" y="80652"/>
                  </a:lnTo>
                  <a:lnTo>
                    <a:pt x="406803" y="77898"/>
                  </a:lnTo>
                  <a:lnTo>
                    <a:pt x="404049" y="75538"/>
                  </a:lnTo>
                  <a:lnTo>
                    <a:pt x="400901" y="76325"/>
                  </a:lnTo>
                  <a:lnTo>
                    <a:pt x="397361" y="77505"/>
                  </a:lnTo>
                  <a:lnTo>
                    <a:pt x="394607" y="77898"/>
                  </a:lnTo>
                  <a:lnTo>
                    <a:pt x="391066" y="80259"/>
                  </a:lnTo>
                  <a:lnTo>
                    <a:pt x="388312" y="81833"/>
                  </a:lnTo>
                  <a:lnTo>
                    <a:pt x="384771" y="82226"/>
                  </a:lnTo>
                  <a:lnTo>
                    <a:pt x="381624" y="82226"/>
                  </a:lnTo>
                  <a:lnTo>
                    <a:pt x="378870" y="83013"/>
                  </a:lnTo>
                  <a:lnTo>
                    <a:pt x="376116" y="83406"/>
                  </a:lnTo>
                  <a:lnTo>
                    <a:pt x="372968" y="84193"/>
                  </a:lnTo>
                  <a:lnTo>
                    <a:pt x="369427" y="84587"/>
                  </a:lnTo>
                  <a:lnTo>
                    <a:pt x="366280" y="84980"/>
                  </a:lnTo>
                  <a:lnTo>
                    <a:pt x="363526" y="86554"/>
                  </a:lnTo>
                  <a:lnTo>
                    <a:pt x="360379" y="88128"/>
                  </a:lnTo>
                  <a:lnTo>
                    <a:pt x="357231" y="88521"/>
                  </a:lnTo>
                  <a:lnTo>
                    <a:pt x="354477" y="88521"/>
                  </a:lnTo>
                  <a:lnTo>
                    <a:pt x="357625" y="88128"/>
                  </a:lnTo>
                  <a:lnTo>
                    <a:pt x="360772" y="86947"/>
                  </a:lnTo>
                  <a:lnTo>
                    <a:pt x="363526" y="84980"/>
                  </a:lnTo>
                  <a:lnTo>
                    <a:pt x="366674" y="83406"/>
                  </a:lnTo>
                  <a:lnTo>
                    <a:pt x="363526" y="82226"/>
                  </a:lnTo>
                  <a:lnTo>
                    <a:pt x="360772" y="82620"/>
                  </a:lnTo>
                  <a:lnTo>
                    <a:pt x="358805" y="82620"/>
                  </a:lnTo>
                  <a:lnTo>
                    <a:pt x="359198" y="82226"/>
                  </a:lnTo>
                  <a:lnTo>
                    <a:pt x="360772" y="81833"/>
                  </a:lnTo>
                  <a:lnTo>
                    <a:pt x="363919" y="81439"/>
                  </a:lnTo>
                  <a:lnTo>
                    <a:pt x="366674" y="81046"/>
                  </a:lnTo>
                  <a:lnTo>
                    <a:pt x="369821" y="79079"/>
                  </a:lnTo>
                  <a:lnTo>
                    <a:pt x="372575" y="78292"/>
                  </a:lnTo>
                  <a:lnTo>
                    <a:pt x="375722" y="75931"/>
                  </a:lnTo>
                  <a:lnTo>
                    <a:pt x="378870" y="75144"/>
                  </a:lnTo>
                  <a:lnTo>
                    <a:pt x="381624" y="74751"/>
                  </a:lnTo>
                  <a:lnTo>
                    <a:pt x="384771" y="75144"/>
                  </a:lnTo>
                  <a:lnTo>
                    <a:pt x="387525" y="75538"/>
                  </a:lnTo>
                  <a:lnTo>
                    <a:pt x="390672" y="74751"/>
                  </a:lnTo>
                  <a:lnTo>
                    <a:pt x="393426" y="73177"/>
                  </a:lnTo>
                  <a:lnTo>
                    <a:pt x="396180" y="71604"/>
                  </a:lnTo>
                  <a:lnTo>
                    <a:pt x="399328" y="70817"/>
                  </a:lnTo>
                  <a:lnTo>
                    <a:pt x="399721" y="67669"/>
                  </a:lnTo>
                  <a:lnTo>
                    <a:pt x="398148" y="64915"/>
                  </a:lnTo>
                  <a:lnTo>
                    <a:pt x="395000" y="62948"/>
                  </a:lnTo>
                  <a:lnTo>
                    <a:pt x="391853" y="62555"/>
                  </a:lnTo>
                  <a:lnTo>
                    <a:pt x="388705" y="61375"/>
                  </a:lnTo>
                  <a:lnTo>
                    <a:pt x="385951" y="60981"/>
                  </a:lnTo>
                  <a:lnTo>
                    <a:pt x="382804" y="60194"/>
                  </a:lnTo>
                  <a:lnTo>
                    <a:pt x="380050" y="59407"/>
                  </a:lnTo>
                  <a:lnTo>
                    <a:pt x="376903" y="59801"/>
                  </a:lnTo>
                  <a:lnTo>
                    <a:pt x="374148" y="62161"/>
                  </a:lnTo>
                  <a:lnTo>
                    <a:pt x="365493" y="64128"/>
                  </a:lnTo>
                  <a:lnTo>
                    <a:pt x="366674" y="62948"/>
                  </a:lnTo>
                  <a:lnTo>
                    <a:pt x="363919" y="63735"/>
                  </a:lnTo>
                  <a:lnTo>
                    <a:pt x="361165" y="64128"/>
                  </a:lnTo>
                  <a:lnTo>
                    <a:pt x="363919" y="61375"/>
                  </a:lnTo>
                  <a:lnTo>
                    <a:pt x="361165" y="61768"/>
                  </a:lnTo>
                  <a:lnTo>
                    <a:pt x="358018" y="64128"/>
                  </a:lnTo>
                  <a:lnTo>
                    <a:pt x="357231" y="65702"/>
                  </a:lnTo>
                  <a:lnTo>
                    <a:pt x="352510" y="66882"/>
                  </a:lnTo>
                  <a:lnTo>
                    <a:pt x="349756" y="66489"/>
                  </a:lnTo>
                  <a:lnTo>
                    <a:pt x="350936" y="64522"/>
                  </a:lnTo>
                  <a:lnTo>
                    <a:pt x="354084" y="62161"/>
                  </a:lnTo>
                  <a:lnTo>
                    <a:pt x="350543" y="60981"/>
                  </a:lnTo>
                  <a:lnTo>
                    <a:pt x="347789" y="62555"/>
                  </a:lnTo>
                  <a:lnTo>
                    <a:pt x="345035" y="64915"/>
                  </a:lnTo>
                  <a:lnTo>
                    <a:pt x="343461" y="65702"/>
                  </a:lnTo>
                  <a:lnTo>
                    <a:pt x="341494" y="65309"/>
                  </a:lnTo>
                  <a:lnTo>
                    <a:pt x="341494" y="65309"/>
                  </a:lnTo>
                  <a:lnTo>
                    <a:pt x="341494" y="65309"/>
                  </a:lnTo>
                  <a:lnTo>
                    <a:pt x="339527" y="64915"/>
                  </a:lnTo>
                  <a:lnTo>
                    <a:pt x="342281" y="64522"/>
                  </a:lnTo>
                  <a:lnTo>
                    <a:pt x="345428" y="62948"/>
                  </a:lnTo>
                  <a:lnTo>
                    <a:pt x="348576" y="61375"/>
                  </a:lnTo>
                  <a:lnTo>
                    <a:pt x="351330" y="60194"/>
                  </a:lnTo>
                  <a:lnTo>
                    <a:pt x="354477" y="58621"/>
                  </a:lnTo>
                  <a:lnTo>
                    <a:pt x="357231" y="57834"/>
                  </a:lnTo>
                  <a:lnTo>
                    <a:pt x="353690" y="56260"/>
                  </a:lnTo>
                  <a:lnTo>
                    <a:pt x="350543" y="56653"/>
                  </a:lnTo>
                  <a:lnTo>
                    <a:pt x="347789" y="58227"/>
                  </a:lnTo>
                  <a:lnTo>
                    <a:pt x="344641" y="59801"/>
                  </a:lnTo>
                  <a:lnTo>
                    <a:pt x="342281" y="62555"/>
                  </a:lnTo>
                  <a:lnTo>
                    <a:pt x="343068" y="59801"/>
                  </a:lnTo>
                  <a:lnTo>
                    <a:pt x="345822" y="58621"/>
                  </a:lnTo>
                  <a:lnTo>
                    <a:pt x="343068" y="57440"/>
                  </a:lnTo>
                  <a:lnTo>
                    <a:pt x="339920" y="58621"/>
                  </a:lnTo>
                  <a:lnTo>
                    <a:pt x="336773" y="59014"/>
                  </a:lnTo>
                  <a:lnTo>
                    <a:pt x="333626" y="61375"/>
                  </a:lnTo>
                  <a:lnTo>
                    <a:pt x="330478" y="62161"/>
                  </a:lnTo>
                  <a:lnTo>
                    <a:pt x="330085" y="63735"/>
                  </a:lnTo>
                  <a:lnTo>
                    <a:pt x="324183" y="62948"/>
                  </a:lnTo>
                  <a:lnTo>
                    <a:pt x="324577" y="62555"/>
                  </a:lnTo>
                  <a:lnTo>
                    <a:pt x="327331" y="62161"/>
                  </a:lnTo>
                  <a:lnTo>
                    <a:pt x="330872" y="61375"/>
                  </a:lnTo>
                  <a:lnTo>
                    <a:pt x="333626" y="59801"/>
                  </a:lnTo>
                  <a:lnTo>
                    <a:pt x="330872" y="59014"/>
                  </a:lnTo>
                  <a:lnTo>
                    <a:pt x="328118" y="60194"/>
                  </a:lnTo>
                  <a:lnTo>
                    <a:pt x="326150" y="60588"/>
                  </a:lnTo>
                  <a:lnTo>
                    <a:pt x="326937" y="59407"/>
                  </a:lnTo>
                  <a:lnTo>
                    <a:pt x="328511" y="59014"/>
                  </a:lnTo>
                  <a:lnTo>
                    <a:pt x="327724" y="58621"/>
                  </a:lnTo>
                  <a:lnTo>
                    <a:pt x="328904" y="57440"/>
                  </a:lnTo>
                  <a:lnTo>
                    <a:pt x="331658" y="57440"/>
                  </a:lnTo>
                  <a:lnTo>
                    <a:pt x="334806" y="57047"/>
                  </a:lnTo>
                  <a:lnTo>
                    <a:pt x="337953" y="55867"/>
                  </a:lnTo>
                  <a:lnTo>
                    <a:pt x="341101" y="54293"/>
                  </a:lnTo>
                  <a:lnTo>
                    <a:pt x="344641" y="54686"/>
                  </a:lnTo>
                  <a:lnTo>
                    <a:pt x="347789" y="54293"/>
                  </a:lnTo>
                  <a:lnTo>
                    <a:pt x="350543" y="51539"/>
                  </a:lnTo>
                  <a:lnTo>
                    <a:pt x="353297" y="51539"/>
                  </a:lnTo>
                  <a:lnTo>
                    <a:pt x="350543" y="48785"/>
                  </a:lnTo>
                  <a:lnTo>
                    <a:pt x="347396" y="48785"/>
                  </a:lnTo>
                  <a:lnTo>
                    <a:pt x="344248" y="48391"/>
                  </a:lnTo>
                  <a:lnTo>
                    <a:pt x="341494" y="47998"/>
                  </a:lnTo>
                  <a:lnTo>
                    <a:pt x="338347" y="47605"/>
                  </a:lnTo>
                  <a:lnTo>
                    <a:pt x="337953" y="47605"/>
                  </a:lnTo>
                  <a:lnTo>
                    <a:pt x="340314" y="44851"/>
                  </a:lnTo>
                  <a:lnTo>
                    <a:pt x="341887" y="41703"/>
                  </a:lnTo>
                  <a:lnTo>
                    <a:pt x="341887" y="38949"/>
                  </a:lnTo>
                  <a:lnTo>
                    <a:pt x="339134" y="36982"/>
                  </a:lnTo>
                  <a:lnTo>
                    <a:pt x="335986" y="35802"/>
                  </a:lnTo>
                  <a:lnTo>
                    <a:pt x="332839" y="35408"/>
                  </a:lnTo>
                  <a:lnTo>
                    <a:pt x="329691" y="35015"/>
                  </a:lnTo>
                  <a:lnTo>
                    <a:pt x="326544" y="35408"/>
                  </a:lnTo>
                  <a:lnTo>
                    <a:pt x="323790" y="37769"/>
                  </a:lnTo>
                  <a:lnTo>
                    <a:pt x="324577" y="35015"/>
                  </a:lnTo>
                  <a:lnTo>
                    <a:pt x="321429" y="34228"/>
                  </a:lnTo>
                  <a:lnTo>
                    <a:pt x="318675" y="33835"/>
                  </a:lnTo>
                  <a:lnTo>
                    <a:pt x="315528" y="33441"/>
                  </a:lnTo>
                  <a:lnTo>
                    <a:pt x="312380" y="30687"/>
                  </a:lnTo>
                  <a:lnTo>
                    <a:pt x="309627" y="30294"/>
                  </a:lnTo>
                  <a:lnTo>
                    <a:pt x="300578" y="30294"/>
                  </a:lnTo>
                  <a:lnTo>
                    <a:pt x="297430" y="30687"/>
                  </a:lnTo>
                  <a:lnTo>
                    <a:pt x="294283" y="31474"/>
                  </a:lnTo>
                  <a:lnTo>
                    <a:pt x="290742" y="31868"/>
                  </a:lnTo>
                  <a:lnTo>
                    <a:pt x="287595" y="32654"/>
                  </a:lnTo>
                  <a:lnTo>
                    <a:pt x="284447" y="33048"/>
                  </a:lnTo>
                  <a:lnTo>
                    <a:pt x="281300" y="33835"/>
                  </a:lnTo>
                  <a:lnTo>
                    <a:pt x="278153" y="35015"/>
                  </a:lnTo>
                  <a:lnTo>
                    <a:pt x="275399" y="36195"/>
                  </a:lnTo>
                  <a:lnTo>
                    <a:pt x="272251" y="37376"/>
                  </a:lnTo>
                  <a:lnTo>
                    <a:pt x="271071" y="40129"/>
                  </a:lnTo>
                  <a:lnTo>
                    <a:pt x="273825" y="41703"/>
                  </a:lnTo>
                  <a:lnTo>
                    <a:pt x="276579" y="42490"/>
                  </a:lnTo>
                  <a:lnTo>
                    <a:pt x="279726" y="42883"/>
                  </a:lnTo>
                  <a:lnTo>
                    <a:pt x="282873" y="44064"/>
                  </a:lnTo>
                  <a:lnTo>
                    <a:pt x="285628" y="45637"/>
                  </a:lnTo>
                  <a:lnTo>
                    <a:pt x="291529" y="45637"/>
                  </a:lnTo>
                  <a:lnTo>
                    <a:pt x="292316" y="46031"/>
                  </a:lnTo>
                  <a:lnTo>
                    <a:pt x="290349" y="46031"/>
                  </a:lnTo>
                  <a:lnTo>
                    <a:pt x="287595" y="46424"/>
                  </a:lnTo>
                  <a:lnTo>
                    <a:pt x="284447" y="46424"/>
                  </a:lnTo>
                  <a:lnTo>
                    <a:pt x="281300" y="48785"/>
                  </a:lnTo>
                  <a:lnTo>
                    <a:pt x="284054" y="46031"/>
                  </a:lnTo>
                  <a:lnTo>
                    <a:pt x="280906" y="44457"/>
                  </a:lnTo>
                  <a:lnTo>
                    <a:pt x="277759" y="44851"/>
                  </a:lnTo>
                  <a:lnTo>
                    <a:pt x="275005" y="43670"/>
                  </a:lnTo>
                  <a:lnTo>
                    <a:pt x="271858" y="42883"/>
                  </a:lnTo>
                  <a:lnTo>
                    <a:pt x="269104" y="44457"/>
                  </a:lnTo>
                  <a:lnTo>
                    <a:pt x="267530" y="47211"/>
                  </a:lnTo>
                  <a:lnTo>
                    <a:pt x="267923" y="44457"/>
                  </a:lnTo>
                  <a:lnTo>
                    <a:pt x="264776" y="42883"/>
                  </a:lnTo>
                  <a:lnTo>
                    <a:pt x="262022" y="44851"/>
                  </a:lnTo>
                  <a:lnTo>
                    <a:pt x="262809" y="47605"/>
                  </a:lnTo>
                  <a:lnTo>
                    <a:pt x="265563" y="48391"/>
                  </a:lnTo>
                  <a:lnTo>
                    <a:pt x="265169" y="51539"/>
                  </a:lnTo>
                  <a:lnTo>
                    <a:pt x="268317" y="52326"/>
                  </a:lnTo>
                  <a:lnTo>
                    <a:pt x="269890" y="54686"/>
                  </a:lnTo>
                  <a:lnTo>
                    <a:pt x="269104" y="55080"/>
                  </a:lnTo>
                  <a:lnTo>
                    <a:pt x="268317" y="53899"/>
                  </a:lnTo>
                  <a:lnTo>
                    <a:pt x="265563" y="52719"/>
                  </a:lnTo>
                  <a:lnTo>
                    <a:pt x="264383" y="55867"/>
                  </a:lnTo>
                  <a:lnTo>
                    <a:pt x="265563" y="56653"/>
                  </a:lnTo>
                  <a:lnTo>
                    <a:pt x="264383" y="57047"/>
                  </a:lnTo>
                  <a:lnTo>
                    <a:pt x="262809" y="54293"/>
                  </a:lnTo>
                  <a:lnTo>
                    <a:pt x="263989" y="51145"/>
                  </a:lnTo>
                  <a:lnTo>
                    <a:pt x="262022" y="48391"/>
                  </a:lnTo>
                  <a:lnTo>
                    <a:pt x="259268" y="47211"/>
                  </a:lnTo>
                  <a:lnTo>
                    <a:pt x="256121" y="49178"/>
                  </a:lnTo>
                  <a:lnTo>
                    <a:pt x="254547" y="50359"/>
                  </a:lnTo>
                  <a:lnTo>
                    <a:pt x="252580" y="49178"/>
                  </a:lnTo>
                  <a:lnTo>
                    <a:pt x="252973" y="48785"/>
                  </a:lnTo>
                  <a:lnTo>
                    <a:pt x="256121" y="46818"/>
                  </a:lnTo>
                  <a:lnTo>
                    <a:pt x="258875" y="44064"/>
                  </a:lnTo>
                  <a:lnTo>
                    <a:pt x="256121" y="41703"/>
                  </a:lnTo>
                  <a:lnTo>
                    <a:pt x="253366" y="40916"/>
                  </a:lnTo>
                  <a:lnTo>
                    <a:pt x="250219" y="42490"/>
                  </a:lnTo>
                  <a:lnTo>
                    <a:pt x="247465" y="44064"/>
                  </a:lnTo>
                  <a:lnTo>
                    <a:pt x="245498" y="44457"/>
                  </a:lnTo>
                  <a:lnTo>
                    <a:pt x="244711" y="43670"/>
                  </a:lnTo>
                  <a:lnTo>
                    <a:pt x="245892" y="40916"/>
                  </a:lnTo>
                  <a:lnTo>
                    <a:pt x="247465" y="38162"/>
                  </a:lnTo>
                  <a:lnTo>
                    <a:pt x="244318" y="39343"/>
                  </a:lnTo>
                  <a:lnTo>
                    <a:pt x="241170" y="40523"/>
                  </a:lnTo>
                  <a:lnTo>
                    <a:pt x="239990" y="40916"/>
                  </a:lnTo>
                  <a:lnTo>
                    <a:pt x="237236" y="42097"/>
                  </a:lnTo>
                  <a:lnTo>
                    <a:pt x="235662" y="44851"/>
                  </a:lnTo>
                  <a:lnTo>
                    <a:pt x="236056" y="45637"/>
                  </a:lnTo>
                  <a:lnTo>
                    <a:pt x="234876" y="47211"/>
                  </a:lnTo>
                  <a:lnTo>
                    <a:pt x="233695" y="44457"/>
                  </a:lnTo>
                  <a:lnTo>
                    <a:pt x="230548" y="44851"/>
                  </a:lnTo>
                  <a:lnTo>
                    <a:pt x="229761" y="45637"/>
                  </a:lnTo>
                  <a:lnTo>
                    <a:pt x="222679" y="43277"/>
                  </a:lnTo>
                  <a:lnTo>
                    <a:pt x="225040" y="42097"/>
                  </a:lnTo>
                  <a:lnTo>
                    <a:pt x="228187" y="41703"/>
                  </a:lnTo>
                  <a:lnTo>
                    <a:pt x="230941" y="39736"/>
                  </a:lnTo>
                  <a:lnTo>
                    <a:pt x="228187" y="38556"/>
                  </a:lnTo>
                  <a:lnTo>
                    <a:pt x="225040" y="39736"/>
                  </a:lnTo>
                  <a:lnTo>
                    <a:pt x="221892" y="40129"/>
                  </a:lnTo>
                  <a:lnTo>
                    <a:pt x="218745" y="41703"/>
                  </a:lnTo>
                  <a:lnTo>
                    <a:pt x="218352" y="41703"/>
                  </a:lnTo>
                  <a:lnTo>
                    <a:pt x="217171" y="41310"/>
                  </a:lnTo>
                  <a:lnTo>
                    <a:pt x="218352" y="40916"/>
                  </a:lnTo>
                  <a:lnTo>
                    <a:pt x="221499" y="39343"/>
                  </a:lnTo>
                  <a:lnTo>
                    <a:pt x="224646" y="38556"/>
                  </a:lnTo>
                  <a:lnTo>
                    <a:pt x="227794" y="37376"/>
                  </a:lnTo>
                  <a:lnTo>
                    <a:pt x="230941" y="36589"/>
                  </a:lnTo>
                  <a:lnTo>
                    <a:pt x="234089" y="35015"/>
                  </a:lnTo>
                  <a:lnTo>
                    <a:pt x="236843" y="33835"/>
                  </a:lnTo>
                  <a:lnTo>
                    <a:pt x="239203" y="31868"/>
                  </a:lnTo>
                  <a:lnTo>
                    <a:pt x="242351" y="31081"/>
                  </a:lnTo>
                  <a:lnTo>
                    <a:pt x="239597" y="28327"/>
                  </a:lnTo>
                  <a:lnTo>
                    <a:pt x="239597" y="25573"/>
                  </a:lnTo>
                  <a:lnTo>
                    <a:pt x="242351" y="23606"/>
                  </a:lnTo>
                  <a:lnTo>
                    <a:pt x="245105" y="21245"/>
                  </a:lnTo>
                  <a:lnTo>
                    <a:pt x="242351" y="18491"/>
                  </a:lnTo>
                  <a:lnTo>
                    <a:pt x="239203" y="18098"/>
                  </a:lnTo>
                  <a:lnTo>
                    <a:pt x="236449" y="17311"/>
                  </a:lnTo>
                  <a:lnTo>
                    <a:pt x="238810" y="14557"/>
                  </a:lnTo>
                  <a:lnTo>
                    <a:pt x="241170" y="11409"/>
                  </a:lnTo>
                  <a:lnTo>
                    <a:pt x="242351" y="8655"/>
                  </a:lnTo>
                  <a:lnTo>
                    <a:pt x="241564" y="5508"/>
                  </a:lnTo>
                  <a:lnTo>
                    <a:pt x="238810" y="4721"/>
                  </a:lnTo>
                  <a:lnTo>
                    <a:pt x="235662" y="4721"/>
                  </a:lnTo>
                  <a:lnTo>
                    <a:pt x="232909" y="4328"/>
                  </a:lnTo>
                  <a:lnTo>
                    <a:pt x="229761" y="4328"/>
                  </a:lnTo>
                  <a:lnTo>
                    <a:pt x="226220" y="4721"/>
                  </a:lnTo>
                  <a:lnTo>
                    <a:pt x="223073" y="4721"/>
                  </a:lnTo>
                  <a:lnTo>
                    <a:pt x="219925" y="4328"/>
                  </a:lnTo>
                  <a:lnTo>
                    <a:pt x="213631" y="4328"/>
                  </a:lnTo>
                  <a:lnTo>
                    <a:pt x="210876" y="5508"/>
                  </a:lnTo>
                  <a:lnTo>
                    <a:pt x="207729" y="6688"/>
                  </a:lnTo>
                  <a:lnTo>
                    <a:pt x="204188" y="6295"/>
                  </a:lnTo>
                  <a:lnTo>
                    <a:pt x="200647" y="6688"/>
                  </a:lnTo>
                  <a:lnTo>
                    <a:pt x="197893" y="7082"/>
                  </a:lnTo>
                  <a:lnTo>
                    <a:pt x="194746" y="7475"/>
                  </a:lnTo>
                  <a:lnTo>
                    <a:pt x="191599" y="7869"/>
                  </a:lnTo>
                  <a:lnTo>
                    <a:pt x="188058" y="8655"/>
                  </a:lnTo>
                  <a:lnTo>
                    <a:pt x="185304" y="9049"/>
                  </a:lnTo>
                  <a:lnTo>
                    <a:pt x="188058" y="10622"/>
                  </a:lnTo>
                  <a:lnTo>
                    <a:pt x="187271" y="13376"/>
                  </a:lnTo>
                  <a:lnTo>
                    <a:pt x="184124" y="11016"/>
                  </a:lnTo>
                  <a:lnTo>
                    <a:pt x="181370" y="10622"/>
                  </a:lnTo>
                  <a:lnTo>
                    <a:pt x="178222" y="10622"/>
                  </a:lnTo>
                  <a:lnTo>
                    <a:pt x="175468" y="11016"/>
                  </a:lnTo>
                  <a:lnTo>
                    <a:pt x="171927" y="11409"/>
                  </a:lnTo>
                  <a:lnTo>
                    <a:pt x="168780" y="11803"/>
                  </a:lnTo>
                  <a:lnTo>
                    <a:pt x="168386" y="14557"/>
                  </a:lnTo>
                  <a:lnTo>
                    <a:pt x="165632" y="14557"/>
                  </a:lnTo>
                  <a:lnTo>
                    <a:pt x="162485" y="12590"/>
                  </a:lnTo>
                  <a:lnTo>
                    <a:pt x="159338" y="12983"/>
                  </a:lnTo>
                  <a:lnTo>
                    <a:pt x="156190" y="13770"/>
                  </a:lnTo>
                  <a:lnTo>
                    <a:pt x="153436" y="15737"/>
                  </a:lnTo>
                  <a:lnTo>
                    <a:pt x="156190" y="17704"/>
                  </a:lnTo>
                  <a:lnTo>
                    <a:pt x="158944" y="18884"/>
                  </a:lnTo>
                  <a:lnTo>
                    <a:pt x="162092" y="19278"/>
                  </a:lnTo>
                  <a:lnTo>
                    <a:pt x="164846" y="19671"/>
                  </a:lnTo>
                  <a:lnTo>
                    <a:pt x="167600" y="20065"/>
                  </a:lnTo>
                  <a:lnTo>
                    <a:pt x="170354" y="20852"/>
                  </a:lnTo>
                  <a:lnTo>
                    <a:pt x="173501" y="20458"/>
                  </a:lnTo>
                  <a:lnTo>
                    <a:pt x="176255" y="21638"/>
                  </a:lnTo>
                  <a:lnTo>
                    <a:pt x="173108" y="21245"/>
                  </a:lnTo>
                  <a:lnTo>
                    <a:pt x="170354" y="21245"/>
                  </a:lnTo>
                  <a:lnTo>
                    <a:pt x="167600" y="20852"/>
                  </a:lnTo>
                  <a:lnTo>
                    <a:pt x="164452" y="20458"/>
                  </a:lnTo>
                  <a:lnTo>
                    <a:pt x="161698" y="20065"/>
                  </a:lnTo>
                  <a:lnTo>
                    <a:pt x="158551" y="19671"/>
                  </a:lnTo>
                  <a:lnTo>
                    <a:pt x="155797" y="19278"/>
                  </a:lnTo>
                  <a:lnTo>
                    <a:pt x="152649" y="18098"/>
                  </a:lnTo>
                  <a:lnTo>
                    <a:pt x="149502" y="17704"/>
                  </a:lnTo>
                  <a:lnTo>
                    <a:pt x="146748" y="20065"/>
                  </a:lnTo>
                  <a:lnTo>
                    <a:pt x="143994" y="18491"/>
                  </a:lnTo>
                  <a:lnTo>
                    <a:pt x="140847" y="20458"/>
                  </a:lnTo>
                  <a:lnTo>
                    <a:pt x="143994" y="21245"/>
                  </a:lnTo>
                  <a:lnTo>
                    <a:pt x="146748" y="21245"/>
                  </a:lnTo>
                  <a:lnTo>
                    <a:pt x="144781" y="23212"/>
                  </a:lnTo>
                  <a:lnTo>
                    <a:pt x="143601" y="22819"/>
                  </a:lnTo>
                  <a:lnTo>
                    <a:pt x="140847" y="22425"/>
                  </a:lnTo>
                  <a:lnTo>
                    <a:pt x="137699" y="22425"/>
                  </a:lnTo>
                  <a:lnTo>
                    <a:pt x="134552" y="23999"/>
                  </a:lnTo>
                  <a:lnTo>
                    <a:pt x="131798" y="26360"/>
                  </a:lnTo>
                  <a:lnTo>
                    <a:pt x="128650" y="28720"/>
                  </a:lnTo>
                  <a:lnTo>
                    <a:pt x="125896" y="31868"/>
                  </a:lnTo>
                  <a:lnTo>
                    <a:pt x="128650" y="33441"/>
                  </a:lnTo>
                  <a:lnTo>
                    <a:pt x="125896" y="33835"/>
                  </a:lnTo>
                  <a:lnTo>
                    <a:pt x="125503" y="36589"/>
                  </a:lnTo>
                  <a:lnTo>
                    <a:pt x="129044" y="39736"/>
                  </a:lnTo>
                  <a:lnTo>
                    <a:pt x="131011" y="40129"/>
                  </a:lnTo>
                  <a:lnTo>
                    <a:pt x="127864" y="43670"/>
                  </a:lnTo>
                  <a:lnTo>
                    <a:pt x="127470" y="43670"/>
                  </a:lnTo>
                  <a:lnTo>
                    <a:pt x="121569" y="43670"/>
                  </a:lnTo>
                  <a:lnTo>
                    <a:pt x="118421" y="45637"/>
                  </a:lnTo>
                  <a:lnTo>
                    <a:pt x="116061" y="48391"/>
                  </a:lnTo>
                  <a:lnTo>
                    <a:pt x="112913" y="49178"/>
                  </a:lnTo>
                  <a:lnTo>
                    <a:pt x="109766" y="49572"/>
                  </a:lnTo>
                  <a:lnTo>
                    <a:pt x="107012" y="49965"/>
                  </a:lnTo>
                  <a:lnTo>
                    <a:pt x="103864" y="50359"/>
                  </a:lnTo>
                  <a:lnTo>
                    <a:pt x="107012" y="51932"/>
                  </a:lnTo>
                  <a:lnTo>
                    <a:pt x="109766" y="53506"/>
                  </a:lnTo>
                  <a:lnTo>
                    <a:pt x="109766" y="56260"/>
                  </a:lnTo>
                  <a:lnTo>
                    <a:pt x="107012" y="56653"/>
                  </a:lnTo>
                  <a:lnTo>
                    <a:pt x="109766" y="59407"/>
                  </a:lnTo>
                  <a:lnTo>
                    <a:pt x="112520" y="59801"/>
                  </a:lnTo>
                  <a:lnTo>
                    <a:pt x="113307" y="59801"/>
                  </a:lnTo>
                  <a:lnTo>
                    <a:pt x="107799" y="65702"/>
                  </a:lnTo>
                  <a:lnTo>
                    <a:pt x="105045" y="65309"/>
                  </a:lnTo>
                  <a:lnTo>
                    <a:pt x="102291" y="63735"/>
                  </a:lnTo>
                  <a:lnTo>
                    <a:pt x="99930" y="60981"/>
                  </a:lnTo>
                  <a:lnTo>
                    <a:pt x="97963" y="58227"/>
                  </a:lnTo>
                  <a:lnTo>
                    <a:pt x="95996" y="55080"/>
                  </a:lnTo>
                  <a:lnTo>
                    <a:pt x="95603" y="52326"/>
                  </a:lnTo>
                  <a:lnTo>
                    <a:pt x="95996" y="49572"/>
                  </a:lnTo>
                  <a:lnTo>
                    <a:pt x="98357" y="46424"/>
                  </a:lnTo>
                  <a:lnTo>
                    <a:pt x="101111" y="43670"/>
                  </a:lnTo>
                  <a:lnTo>
                    <a:pt x="104258" y="41703"/>
                  </a:lnTo>
                  <a:lnTo>
                    <a:pt x="107405" y="40523"/>
                  </a:lnTo>
                  <a:lnTo>
                    <a:pt x="110159" y="38162"/>
                  </a:lnTo>
                  <a:lnTo>
                    <a:pt x="109373" y="35408"/>
                  </a:lnTo>
                  <a:lnTo>
                    <a:pt x="106225" y="33048"/>
                  </a:lnTo>
                  <a:lnTo>
                    <a:pt x="108192" y="30294"/>
                  </a:lnTo>
                  <a:lnTo>
                    <a:pt x="110946" y="27933"/>
                  </a:lnTo>
                  <a:lnTo>
                    <a:pt x="114094" y="26360"/>
                  </a:lnTo>
                  <a:lnTo>
                    <a:pt x="116848" y="25179"/>
                  </a:lnTo>
                  <a:lnTo>
                    <a:pt x="119995" y="23999"/>
                  </a:lnTo>
                  <a:lnTo>
                    <a:pt x="122749" y="22425"/>
                  </a:lnTo>
                  <a:lnTo>
                    <a:pt x="125503" y="21245"/>
                  </a:lnTo>
                  <a:lnTo>
                    <a:pt x="128650" y="19278"/>
                  </a:lnTo>
                  <a:lnTo>
                    <a:pt x="131404" y="17704"/>
                  </a:lnTo>
                  <a:lnTo>
                    <a:pt x="134552" y="16130"/>
                  </a:lnTo>
                  <a:lnTo>
                    <a:pt x="137699" y="14557"/>
                  </a:lnTo>
                  <a:lnTo>
                    <a:pt x="140453" y="13376"/>
                  </a:lnTo>
                  <a:lnTo>
                    <a:pt x="143601" y="12196"/>
                  </a:lnTo>
                  <a:lnTo>
                    <a:pt x="146748" y="11016"/>
                  </a:lnTo>
                  <a:lnTo>
                    <a:pt x="149502" y="10229"/>
                  </a:lnTo>
                  <a:lnTo>
                    <a:pt x="152256" y="9049"/>
                  </a:lnTo>
                  <a:lnTo>
                    <a:pt x="155403" y="8655"/>
                  </a:lnTo>
                  <a:lnTo>
                    <a:pt x="158551" y="7869"/>
                  </a:lnTo>
                  <a:lnTo>
                    <a:pt x="161698" y="6688"/>
                  </a:lnTo>
                  <a:lnTo>
                    <a:pt x="164452" y="6295"/>
                  </a:lnTo>
                  <a:lnTo>
                    <a:pt x="167600" y="5508"/>
                  </a:lnTo>
                  <a:lnTo>
                    <a:pt x="170354" y="4721"/>
                  </a:lnTo>
                  <a:lnTo>
                    <a:pt x="170747" y="1967"/>
                  </a:lnTo>
                  <a:lnTo>
                    <a:pt x="167993" y="1574"/>
                  </a:lnTo>
                  <a:lnTo>
                    <a:pt x="164452" y="1180"/>
                  </a:lnTo>
                  <a:lnTo>
                    <a:pt x="161305" y="1180"/>
                  </a:lnTo>
                  <a:lnTo>
                    <a:pt x="158157" y="787"/>
                  </a:lnTo>
                  <a:lnTo>
                    <a:pt x="155010" y="393"/>
                  </a:lnTo>
                  <a:lnTo>
                    <a:pt x="151469" y="393"/>
                  </a:lnTo>
                  <a:lnTo>
                    <a:pt x="148322" y="0"/>
                  </a:lnTo>
                  <a:lnTo>
                    <a:pt x="145174" y="393"/>
                  </a:lnTo>
                  <a:lnTo>
                    <a:pt x="138879" y="393"/>
                  </a:lnTo>
                  <a:lnTo>
                    <a:pt x="135732" y="787"/>
                  </a:lnTo>
                  <a:lnTo>
                    <a:pt x="132585" y="1180"/>
                  </a:lnTo>
                  <a:lnTo>
                    <a:pt x="129831" y="1180"/>
                  </a:lnTo>
                  <a:lnTo>
                    <a:pt x="126683" y="1574"/>
                  </a:lnTo>
                  <a:lnTo>
                    <a:pt x="123929" y="1967"/>
                  </a:lnTo>
                  <a:lnTo>
                    <a:pt x="120782" y="2361"/>
                  </a:lnTo>
                  <a:lnTo>
                    <a:pt x="117241" y="2754"/>
                  </a:lnTo>
                  <a:lnTo>
                    <a:pt x="113700" y="3541"/>
                  </a:lnTo>
                  <a:lnTo>
                    <a:pt x="110159" y="3934"/>
                  </a:lnTo>
                  <a:lnTo>
                    <a:pt x="107012" y="4721"/>
                  </a:lnTo>
                  <a:lnTo>
                    <a:pt x="103864" y="5115"/>
                  </a:lnTo>
                  <a:lnTo>
                    <a:pt x="100717" y="6295"/>
                  </a:lnTo>
                  <a:lnTo>
                    <a:pt x="97570" y="7082"/>
                  </a:lnTo>
                  <a:lnTo>
                    <a:pt x="94422" y="7869"/>
                  </a:lnTo>
                  <a:lnTo>
                    <a:pt x="91275" y="9049"/>
                  </a:lnTo>
                  <a:lnTo>
                    <a:pt x="88127" y="10229"/>
                  </a:lnTo>
                  <a:lnTo>
                    <a:pt x="84980" y="11016"/>
                  </a:lnTo>
                  <a:lnTo>
                    <a:pt x="82226" y="12196"/>
                  </a:lnTo>
                  <a:lnTo>
                    <a:pt x="79079" y="13376"/>
                  </a:lnTo>
                  <a:lnTo>
                    <a:pt x="76325" y="14557"/>
                  </a:lnTo>
                  <a:lnTo>
                    <a:pt x="73964" y="16130"/>
                  </a:lnTo>
                  <a:lnTo>
                    <a:pt x="70817" y="17704"/>
                  </a:lnTo>
                  <a:lnTo>
                    <a:pt x="67669" y="18884"/>
                  </a:lnTo>
                  <a:lnTo>
                    <a:pt x="64915" y="20458"/>
                  </a:lnTo>
                  <a:lnTo>
                    <a:pt x="61768" y="22032"/>
                  </a:lnTo>
                  <a:lnTo>
                    <a:pt x="59014" y="24392"/>
                  </a:lnTo>
                  <a:lnTo>
                    <a:pt x="56260" y="27146"/>
                  </a:lnTo>
                  <a:lnTo>
                    <a:pt x="55080" y="29114"/>
                  </a:lnTo>
                  <a:lnTo>
                    <a:pt x="53899" y="29900"/>
                  </a:lnTo>
                  <a:lnTo>
                    <a:pt x="51539" y="29900"/>
                  </a:lnTo>
                  <a:lnTo>
                    <a:pt x="48391" y="30294"/>
                  </a:lnTo>
                  <a:lnTo>
                    <a:pt x="45637" y="33048"/>
                  </a:lnTo>
                  <a:lnTo>
                    <a:pt x="42490" y="33441"/>
                  </a:lnTo>
                  <a:lnTo>
                    <a:pt x="39343" y="35015"/>
                  </a:lnTo>
                  <a:lnTo>
                    <a:pt x="36589" y="37376"/>
                  </a:lnTo>
                  <a:lnTo>
                    <a:pt x="33441" y="38162"/>
                  </a:lnTo>
                  <a:lnTo>
                    <a:pt x="30294" y="40523"/>
                  </a:lnTo>
                  <a:lnTo>
                    <a:pt x="27540" y="42883"/>
                  </a:lnTo>
                  <a:lnTo>
                    <a:pt x="26753" y="45244"/>
                  </a:lnTo>
                  <a:lnTo>
                    <a:pt x="20458" y="49178"/>
                  </a:lnTo>
                  <a:lnTo>
                    <a:pt x="20065" y="49572"/>
                  </a:lnTo>
                  <a:lnTo>
                    <a:pt x="18884" y="50752"/>
                  </a:lnTo>
                  <a:lnTo>
                    <a:pt x="18491" y="51145"/>
                  </a:lnTo>
                  <a:lnTo>
                    <a:pt x="18098" y="51539"/>
                  </a:lnTo>
                  <a:lnTo>
                    <a:pt x="14950" y="53113"/>
                  </a:lnTo>
                  <a:lnTo>
                    <a:pt x="14950" y="55080"/>
                  </a:lnTo>
                  <a:lnTo>
                    <a:pt x="8655" y="61768"/>
                  </a:lnTo>
                  <a:lnTo>
                    <a:pt x="8262" y="62161"/>
                  </a:lnTo>
                  <a:lnTo>
                    <a:pt x="7869" y="62555"/>
                  </a:lnTo>
                  <a:lnTo>
                    <a:pt x="7082" y="63342"/>
                  </a:lnTo>
                  <a:lnTo>
                    <a:pt x="5508" y="64915"/>
                  </a:lnTo>
                  <a:lnTo>
                    <a:pt x="5114" y="65309"/>
                  </a:lnTo>
                  <a:lnTo>
                    <a:pt x="3541" y="66882"/>
                  </a:lnTo>
                  <a:lnTo>
                    <a:pt x="2754" y="69636"/>
                  </a:lnTo>
                  <a:lnTo>
                    <a:pt x="5508" y="70423"/>
                  </a:lnTo>
                  <a:lnTo>
                    <a:pt x="8262" y="70817"/>
                  </a:lnTo>
                  <a:lnTo>
                    <a:pt x="17704" y="78292"/>
                  </a:lnTo>
                  <a:lnTo>
                    <a:pt x="15737" y="78292"/>
                  </a:lnTo>
                  <a:lnTo>
                    <a:pt x="12590" y="78685"/>
                  </a:lnTo>
                  <a:lnTo>
                    <a:pt x="9442" y="78685"/>
                  </a:lnTo>
                  <a:lnTo>
                    <a:pt x="6688" y="77112"/>
                  </a:lnTo>
                  <a:lnTo>
                    <a:pt x="3541" y="77112"/>
                  </a:lnTo>
                  <a:lnTo>
                    <a:pt x="6295" y="79866"/>
                  </a:lnTo>
                  <a:lnTo>
                    <a:pt x="3147" y="81439"/>
                  </a:lnTo>
                  <a:lnTo>
                    <a:pt x="0" y="83800"/>
                  </a:lnTo>
                  <a:lnTo>
                    <a:pt x="1574" y="86947"/>
                  </a:lnTo>
                  <a:lnTo>
                    <a:pt x="3147" y="89701"/>
                  </a:lnTo>
                  <a:lnTo>
                    <a:pt x="2754" y="92455"/>
                  </a:lnTo>
                  <a:lnTo>
                    <a:pt x="6295" y="94816"/>
                  </a:lnTo>
                  <a:lnTo>
                    <a:pt x="9049" y="95209"/>
                  </a:lnTo>
                  <a:lnTo>
                    <a:pt x="11803" y="95603"/>
                  </a:lnTo>
                  <a:lnTo>
                    <a:pt x="14950" y="96389"/>
                  </a:lnTo>
                  <a:lnTo>
                    <a:pt x="17704" y="97963"/>
                  </a:lnTo>
                  <a:lnTo>
                    <a:pt x="14950" y="98357"/>
                  </a:lnTo>
                  <a:lnTo>
                    <a:pt x="11803" y="97963"/>
                  </a:lnTo>
                  <a:lnTo>
                    <a:pt x="14557" y="99143"/>
                  </a:lnTo>
                  <a:lnTo>
                    <a:pt x="17704" y="100717"/>
                  </a:lnTo>
                  <a:lnTo>
                    <a:pt x="20458" y="100324"/>
                  </a:lnTo>
                  <a:lnTo>
                    <a:pt x="23606" y="99537"/>
                  </a:lnTo>
                  <a:lnTo>
                    <a:pt x="20852" y="99143"/>
                  </a:lnTo>
                  <a:lnTo>
                    <a:pt x="23606" y="98750"/>
                  </a:lnTo>
                  <a:lnTo>
                    <a:pt x="26753" y="98357"/>
                  </a:lnTo>
                  <a:lnTo>
                    <a:pt x="29900" y="98750"/>
                  </a:lnTo>
                  <a:lnTo>
                    <a:pt x="32654" y="99143"/>
                  </a:lnTo>
                  <a:lnTo>
                    <a:pt x="35408" y="99537"/>
                  </a:lnTo>
                  <a:lnTo>
                    <a:pt x="38162" y="99143"/>
                  </a:lnTo>
                  <a:lnTo>
                    <a:pt x="35408" y="96783"/>
                  </a:lnTo>
                  <a:lnTo>
                    <a:pt x="38162" y="95209"/>
                  </a:lnTo>
                  <a:lnTo>
                    <a:pt x="38949" y="94816"/>
                  </a:lnTo>
                  <a:lnTo>
                    <a:pt x="41703" y="97176"/>
                  </a:lnTo>
                  <a:lnTo>
                    <a:pt x="40916" y="97570"/>
                  </a:lnTo>
                  <a:lnTo>
                    <a:pt x="42490" y="97963"/>
                  </a:lnTo>
                  <a:lnTo>
                    <a:pt x="46031" y="100717"/>
                  </a:lnTo>
                  <a:lnTo>
                    <a:pt x="45637" y="101504"/>
                  </a:lnTo>
                  <a:lnTo>
                    <a:pt x="47998" y="104258"/>
                  </a:lnTo>
                  <a:lnTo>
                    <a:pt x="50752" y="105832"/>
                  </a:lnTo>
                  <a:lnTo>
                    <a:pt x="53899" y="107405"/>
                  </a:lnTo>
                  <a:lnTo>
                    <a:pt x="54686" y="107799"/>
                  </a:lnTo>
                  <a:lnTo>
                    <a:pt x="58227" y="107799"/>
                  </a:lnTo>
                  <a:lnTo>
                    <a:pt x="63342" y="107799"/>
                  </a:lnTo>
                  <a:lnTo>
                    <a:pt x="66096" y="108192"/>
                  </a:lnTo>
                  <a:lnTo>
                    <a:pt x="66882" y="107799"/>
                  </a:lnTo>
                  <a:lnTo>
                    <a:pt x="79472" y="107799"/>
                  </a:lnTo>
                  <a:lnTo>
                    <a:pt x="80259" y="107799"/>
                  </a:lnTo>
                  <a:lnTo>
                    <a:pt x="82620" y="107799"/>
                  </a:lnTo>
                  <a:lnTo>
                    <a:pt x="84587" y="107799"/>
                  </a:lnTo>
                  <a:lnTo>
                    <a:pt x="87734" y="108192"/>
                  </a:lnTo>
                  <a:lnTo>
                    <a:pt x="90881" y="108192"/>
                  </a:lnTo>
                  <a:lnTo>
                    <a:pt x="96389" y="108586"/>
                  </a:lnTo>
                  <a:lnTo>
                    <a:pt x="99537" y="108979"/>
                  </a:lnTo>
                  <a:lnTo>
                    <a:pt x="102684" y="108586"/>
                  </a:lnTo>
                  <a:lnTo>
                    <a:pt x="105438" y="108192"/>
                  </a:lnTo>
                  <a:lnTo>
                    <a:pt x="108586" y="107405"/>
                  </a:lnTo>
                  <a:lnTo>
                    <a:pt x="108979" y="107405"/>
                  </a:lnTo>
                  <a:lnTo>
                    <a:pt x="110159" y="107405"/>
                  </a:lnTo>
                  <a:lnTo>
                    <a:pt x="110946" y="107405"/>
                  </a:lnTo>
                  <a:lnTo>
                    <a:pt x="114881" y="107405"/>
                  </a:lnTo>
                  <a:lnTo>
                    <a:pt x="117634" y="108979"/>
                  </a:lnTo>
                  <a:lnTo>
                    <a:pt x="120782" y="109766"/>
                  </a:lnTo>
                  <a:lnTo>
                    <a:pt x="123536" y="111733"/>
                  </a:lnTo>
                  <a:lnTo>
                    <a:pt x="126683" y="111340"/>
                  </a:lnTo>
                  <a:lnTo>
                    <a:pt x="129437" y="113700"/>
                  </a:lnTo>
                  <a:lnTo>
                    <a:pt x="132191" y="111733"/>
                  </a:lnTo>
                  <a:lnTo>
                    <a:pt x="135732" y="111733"/>
                  </a:lnTo>
                  <a:lnTo>
                    <a:pt x="138486" y="110946"/>
                  </a:lnTo>
                  <a:lnTo>
                    <a:pt x="141634" y="109373"/>
                  </a:lnTo>
                  <a:lnTo>
                    <a:pt x="138486" y="108192"/>
                  </a:lnTo>
                  <a:lnTo>
                    <a:pt x="138093" y="107405"/>
                  </a:lnTo>
                  <a:lnTo>
                    <a:pt x="141240" y="107405"/>
                  </a:lnTo>
                  <a:lnTo>
                    <a:pt x="144388" y="108586"/>
                  </a:lnTo>
                  <a:lnTo>
                    <a:pt x="147141" y="109766"/>
                  </a:lnTo>
                  <a:lnTo>
                    <a:pt x="150682" y="112127"/>
                  </a:lnTo>
                  <a:lnTo>
                    <a:pt x="153436" y="114487"/>
                  </a:lnTo>
                  <a:lnTo>
                    <a:pt x="156190" y="114880"/>
                  </a:lnTo>
                  <a:lnTo>
                    <a:pt x="157764" y="112127"/>
                  </a:lnTo>
                  <a:lnTo>
                    <a:pt x="154617" y="109373"/>
                  </a:lnTo>
                  <a:lnTo>
                    <a:pt x="154223" y="107405"/>
                  </a:lnTo>
                  <a:lnTo>
                    <a:pt x="171927" y="107405"/>
                  </a:lnTo>
                  <a:lnTo>
                    <a:pt x="174288" y="107405"/>
                  </a:lnTo>
                  <a:lnTo>
                    <a:pt x="177435" y="107405"/>
                  </a:lnTo>
                  <a:lnTo>
                    <a:pt x="179009" y="108979"/>
                  </a:lnTo>
                  <a:lnTo>
                    <a:pt x="182550" y="108979"/>
                  </a:lnTo>
                  <a:lnTo>
                    <a:pt x="183337" y="111340"/>
                  </a:lnTo>
                  <a:lnTo>
                    <a:pt x="186484" y="111733"/>
                  </a:lnTo>
                  <a:lnTo>
                    <a:pt x="189238" y="110946"/>
                  </a:lnTo>
                  <a:lnTo>
                    <a:pt x="197893" y="110946"/>
                  </a:lnTo>
                  <a:lnTo>
                    <a:pt x="201041" y="110553"/>
                  </a:lnTo>
                  <a:lnTo>
                    <a:pt x="203795" y="110946"/>
                  </a:lnTo>
                  <a:lnTo>
                    <a:pt x="206942" y="109766"/>
                  </a:lnTo>
                  <a:lnTo>
                    <a:pt x="209303" y="107405"/>
                  </a:lnTo>
                  <a:lnTo>
                    <a:pt x="230154" y="107405"/>
                  </a:lnTo>
                  <a:lnTo>
                    <a:pt x="228187" y="110553"/>
                  </a:lnTo>
                  <a:lnTo>
                    <a:pt x="226614" y="113307"/>
                  </a:lnTo>
                  <a:lnTo>
                    <a:pt x="229368" y="113700"/>
                  </a:lnTo>
                  <a:lnTo>
                    <a:pt x="232515" y="111340"/>
                  </a:lnTo>
                  <a:lnTo>
                    <a:pt x="234089" y="110946"/>
                  </a:lnTo>
                  <a:lnTo>
                    <a:pt x="239597" y="116454"/>
                  </a:lnTo>
                  <a:lnTo>
                    <a:pt x="239203" y="116454"/>
                  </a:lnTo>
                  <a:lnTo>
                    <a:pt x="236056" y="116848"/>
                  </a:lnTo>
                  <a:lnTo>
                    <a:pt x="239203" y="119208"/>
                  </a:lnTo>
                  <a:lnTo>
                    <a:pt x="241957" y="118421"/>
                  </a:lnTo>
                  <a:lnTo>
                    <a:pt x="243531" y="119208"/>
                  </a:lnTo>
                  <a:lnTo>
                    <a:pt x="245498" y="120782"/>
                  </a:lnTo>
                  <a:lnTo>
                    <a:pt x="246678" y="122749"/>
                  </a:lnTo>
                  <a:lnTo>
                    <a:pt x="248646" y="123536"/>
                  </a:lnTo>
                  <a:lnTo>
                    <a:pt x="258088" y="132585"/>
                  </a:lnTo>
                  <a:lnTo>
                    <a:pt x="257694" y="133372"/>
                  </a:lnTo>
                  <a:lnTo>
                    <a:pt x="254547" y="133372"/>
                  </a:lnTo>
                  <a:lnTo>
                    <a:pt x="251793" y="134552"/>
                  </a:lnTo>
                  <a:lnTo>
                    <a:pt x="248646" y="134945"/>
                  </a:lnTo>
                  <a:lnTo>
                    <a:pt x="245892" y="135732"/>
                  </a:lnTo>
                  <a:lnTo>
                    <a:pt x="242744" y="134158"/>
                  </a:lnTo>
                  <a:lnTo>
                    <a:pt x="239597" y="134158"/>
                  </a:lnTo>
                  <a:lnTo>
                    <a:pt x="236843" y="134552"/>
                  </a:lnTo>
                  <a:lnTo>
                    <a:pt x="234089" y="134945"/>
                  </a:lnTo>
                  <a:lnTo>
                    <a:pt x="231335" y="137306"/>
                  </a:lnTo>
                  <a:lnTo>
                    <a:pt x="231335" y="140453"/>
                  </a:lnTo>
                  <a:lnTo>
                    <a:pt x="228581" y="141633"/>
                  </a:lnTo>
                  <a:lnTo>
                    <a:pt x="227007" y="144387"/>
                  </a:lnTo>
                  <a:lnTo>
                    <a:pt x="230548" y="144781"/>
                  </a:lnTo>
                  <a:lnTo>
                    <a:pt x="233302" y="144387"/>
                  </a:lnTo>
                  <a:lnTo>
                    <a:pt x="236449" y="143994"/>
                  </a:lnTo>
                  <a:lnTo>
                    <a:pt x="239203" y="143207"/>
                  </a:lnTo>
                  <a:lnTo>
                    <a:pt x="242351" y="142420"/>
                  </a:lnTo>
                  <a:lnTo>
                    <a:pt x="245105" y="140847"/>
                  </a:lnTo>
                  <a:lnTo>
                    <a:pt x="248646" y="140453"/>
                  </a:lnTo>
                  <a:lnTo>
                    <a:pt x="251399" y="140060"/>
                  </a:lnTo>
                  <a:lnTo>
                    <a:pt x="254547" y="139273"/>
                  </a:lnTo>
                  <a:lnTo>
                    <a:pt x="256907" y="136519"/>
                  </a:lnTo>
                  <a:lnTo>
                    <a:pt x="259661" y="135732"/>
                  </a:lnTo>
                  <a:lnTo>
                    <a:pt x="262022" y="138486"/>
                  </a:lnTo>
                  <a:lnTo>
                    <a:pt x="264776" y="138879"/>
                  </a:lnTo>
                  <a:lnTo>
                    <a:pt x="265169" y="138879"/>
                  </a:lnTo>
                  <a:lnTo>
                    <a:pt x="267923" y="141633"/>
                  </a:lnTo>
                  <a:lnTo>
                    <a:pt x="267530" y="141633"/>
                  </a:lnTo>
                  <a:lnTo>
                    <a:pt x="268317" y="142027"/>
                  </a:lnTo>
                  <a:lnTo>
                    <a:pt x="272251" y="145568"/>
                  </a:lnTo>
                  <a:lnTo>
                    <a:pt x="272644" y="145961"/>
                  </a:lnTo>
                  <a:lnTo>
                    <a:pt x="273431" y="149109"/>
                  </a:lnTo>
                  <a:lnTo>
                    <a:pt x="276579" y="149895"/>
                  </a:lnTo>
                  <a:lnTo>
                    <a:pt x="276972" y="149895"/>
                  </a:lnTo>
                  <a:lnTo>
                    <a:pt x="282087" y="154617"/>
                  </a:lnTo>
                  <a:lnTo>
                    <a:pt x="282087" y="155403"/>
                  </a:lnTo>
                  <a:lnTo>
                    <a:pt x="282873" y="155403"/>
                  </a:lnTo>
                  <a:lnTo>
                    <a:pt x="284841" y="157371"/>
                  </a:lnTo>
                  <a:lnTo>
                    <a:pt x="293890" y="166026"/>
                  </a:lnTo>
                  <a:lnTo>
                    <a:pt x="292709" y="167206"/>
                  </a:lnTo>
                  <a:lnTo>
                    <a:pt x="295463" y="169173"/>
                  </a:lnTo>
                  <a:lnTo>
                    <a:pt x="296643" y="171927"/>
                  </a:lnTo>
                  <a:lnTo>
                    <a:pt x="294283" y="174681"/>
                  </a:lnTo>
                  <a:lnTo>
                    <a:pt x="295857" y="177435"/>
                  </a:lnTo>
                  <a:lnTo>
                    <a:pt x="294283" y="180189"/>
                  </a:lnTo>
                  <a:lnTo>
                    <a:pt x="293890" y="183337"/>
                  </a:lnTo>
                  <a:lnTo>
                    <a:pt x="295463" y="186091"/>
                  </a:lnTo>
                  <a:lnTo>
                    <a:pt x="292709" y="187664"/>
                  </a:lnTo>
                  <a:lnTo>
                    <a:pt x="289955" y="190025"/>
                  </a:lnTo>
                  <a:lnTo>
                    <a:pt x="286808" y="190812"/>
                  </a:lnTo>
                  <a:lnTo>
                    <a:pt x="284054" y="191205"/>
                  </a:lnTo>
                  <a:lnTo>
                    <a:pt x="281300" y="191205"/>
                  </a:lnTo>
                  <a:lnTo>
                    <a:pt x="278153" y="192385"/>
                  </a:lnTo>
                  <a:lnTo>
                    <a:pt x="275005" y="194353"/>
                  </a:lnTo>
                  <a:lnTo>
                    <a:pt x="272251" y="196713"/>
                  </a:lnTo>
                  <a:lnTo>
                    <a:pt x="269497" y="198680"/>
                  </a:lnTo>
                  <a:lnTo>
                    <a:pt x="269890" y="201434"/>
                  </a:lnTo>
                  <a:lnTo>
                    <a:pt x="272644" y="202221"/>
                  </a:lnTo>
                  <a:lnTo>
                    <a:pt x="278546" y="202221"/>
                  </a:lnTo>
                  <a:lnTo>
                    <a:pt x="281300" y="201828"/>
                  </a:lnTo>
                  <a:lnTo>
                    <a:pt x="284447" y="202221"/>
                  </a:lnTo>
                  <a:lnTo>
                    <a:pt x="287201" y="202221"/>
                  </a:lnTo>
                  <a:lnTo>
                    <a:pt x="290349" y="203008"/>
                  </a:lnTo>
                  <a:lnTo>
                    <a:pt x="293103" y="203401"/>
                  </a:lnTo>
                  <a:lnTo>
                    <a:pt x="296250" y="204188"/>
                  </a:lnTo>
                  <a:lnTo>
                    <a:pt x="299004" y="204582"/>
                  </a:lnTo>
                  <a:lnTo>
                    <a:pt x="302151" y="203008"/>
                  </a:lnTo>
                  <a:lnTo>
                    <a:pt x="310807" y="196320"/>
                  </a:lnTo>
                  <a:lnTo>
                    <a:pt x="310807" y="193566"/>
                  </a:lnTo>
                  <a:lnTo>
                    <a:pt x="313561" y="192779"/>
                  </a:lnTo>
                  <a:lnTo>
                    <a:pt x="316708" y="192385"/>
                  </a:lnTo>
                  <a:lnTo>
                    <a:pt x="319856" y="193172"/>
                  </a:lnTo>
                  <a:lnTo>
                    <a:pt x="322610" y="193959"/>
                  </a:lnTo>
                  <a:lnTo>
                    <a:pt x="319856" y="195139"/>
                  </a:lnTo>
                  <a:lnTo>
                    <a:pt x="322610" y="196713"/>
                  </a:lnTo>
                  <a:lnTo>
                    <a:pt x="321823" y="199467"/>
                  </a:lnTo>
                  <a:lnTo>
                    <a:pt x="324577" y="201041"/>
                  </a:lnTo>
                  <a:lnTo>
                    <a:pt x="327724" y="201434"/>
                  </a:lnTo>
                  <a:lnTo>
                    <a:pt x="330478" y="201828"/>
                  </a:lnTo>
                  <a:lnTo>
                    <a:pt x="333232" y="202221"/>
                  </a:lnTo>
                  <a:lnTo>
                    <a:pt x="324577" y="215598"/>
                  </a:lnTo>
                  <a:lnTo>
                    <a:pt x="321429" y="215598"/>
                  </a:lnTo>
                  <a:lnTo>
                    <a:pt x="318675" y="217171"/>
                  </a:lnTo>
                  <a:lnTo>
                    <a:pt x="315921" y="217565"/>
                  </a:lnTo>
                  <a:lnTo>
                    <a:pt x="313167" y="215204"/>
                  </a:lnTo>
                  <a:lnTo>
                    <a:pt x="310413" y="215598"/>
                  </a:lnTo>
                  <a:lnTo>
                    <a:pt x="307266" y="217565"/>
                  </a:lnTo>
                  <a:lnTo>
                    <a:pt x="304512" y="217958"/>
                  </a:lnTo>
                  <a:lnTo>
                    <a:pt x="301758" y="219532"/>
                  </a:lnTo>
                  <a:lnTo>
                    <a:pt x="298611" y="220712"/>
                  </a:lnTo>
                  <a:lnTo>
                    <a:pt x="295857" y="223073"/>
                  </a:lnTo>
                  <a:lnTo>
                    <a:pt x="289955" y="224646"/>
                  </a:lnTo>
                  <a:lnTo>
                    <a:pt x="291529" y="223073"/>
                  </a:lnTo>
                  <a:lnTo>
                    <a:pt x="294283" y="222679"/>
                  </a:lnTo>
                  <a:lnTo>
                    <a:pt x="297037" y="220712"/>
                  </a:lnTo>
                  <a:lnTo>
                    <a:pt x="294283" y="220319"/>
                  </a:lnTo>
                  <a:lnTo>
                    <a:pt x="297430" y="218352"/>
                  </a:lnTo>
                  <a:lnTo>
                    <a:pt x="299004" y="215598"/>
                  </a:lnTo>
                  <a:lnTo>
                    <a:pt x="300184" y="212844"/>
                  </a:lnTo>
                  <a:lnTo>
                    <a:pt x="300578" y="210090"/>
                  </a:lnTo>
                  <a:lnTo>
                    <a:pt x="298611" y="206942"/>
                  </a:lnTo>
                  <a:lnTo>
                    <a:pt x="295463" y="206549"/>
                  </a:lnTo>
                  <a:lnTo>
                    <a:pt x="292709" y="206155"/>
                  </a:lnTo>
                  <a:lnTo>
                    <a:pt x="289955" y="204975"/>
                  </a:lnTo>
                  <a:lnTo>
                    <a:pt x="286808" y="204188"/>
                  </a:lnTo>
                  <a:lnTo>
                    <a:pt x="283660" y="203795"/>
                  </a:lnTo>
                  <a:lnTo>
                    <a:pt x="280513" y="204188"/>
                  </a:lnTo>
                  <a:lnTo>
                    <a:pt x="275005" y="204188"/>
                  </a:lnTo>
                  <a:lnTo>
                    <a:pt x="272251" y="203795"/>
                  </a:lnTo>
                  <a:lnTo>
                    <a:pt x="269104" y="203401"/>
                  </a:lnTo>
                  <a:lnTo>
                    <a:pt x="266350" y="203008"/>
                  </a:lnTo>
                  <a:lnTo>
                    <a:pt x="263202" y="203401"/>
                  </a:lnTo>
                  <a:lnTo>
                    <a:pt x="260448" y="204188"/>
                  </a:lnTo>
                  <a:lnTo>
                    <a:pt x="257694" y="205369"/>
                  </a:lnTo>
                  <a:lnTo>
                    <a:pt x="254547" y="207729"/>
                  </a:lnTo>
                  <a:lnTo>
                    <a:pt x="251793" y="208909"/>
                  </a:lnTo>
                  <a:lnTo>
                    <a:pt x="248646" y="209696"/>
                  </a:lnTo>
                  <a:lnTo>
                    <a:pt x="245892" y="210877"/>
                  </a:lnTo>
                  <a:lnTo>
                    <a:pt x="243138" y="212450"/>
                  </a:lnTo>
                  <a:lnTo>
                    <a:pt x="239990" y="213237"/>
                  </a:lnTo>
                  <a:lnTo>
                    <a:pt x="237236" y="214811"/>
                  </a:lnTo>
                  <a:lnTo>
                    <a:pt x="234482" y="215991"/>
                  </a:lnTo>
                  <a:lnTo>
                    <a:pt x="231335" y="216778"/>
                  </a:lnTo>
                  <a:lnTo>
                    <a:pt x="228187" y="217565"/>
                  </a:lnTo>
                  <a:lnTo>
                    <a:pt x="225433" y="218745"/>
                  </a:lnTo>
                  <a:lnTo>
                    <a:pt x="222286" y="221106"/>
                  </a:lnTo>
                  <a:lnTo>
                    <a:pt x="224646" y="224253"/>
                  </a:lnTo>
                  <a:lnTo>
                    <a:pt x="226220" y="227007"/>
                  </a:lnTo>
                  <a:lnTo>
                    <a:pt x="228974" y="229368"/>
                  </a:lnTo>
                  <a:lnTo>
                    <a:pt x="232122" y="231728"/>
                  </a:lnTo>
                  <a:lnTo>
                    <a:pt x="232122" y="234876"/>
                  </a:lnTo>
                  <a:lnTo>
                    <a:pt x="231728" y="236056"/>
                  </a:lnTo>
                  <a:lnTo>
                    <a:pt x="219925" y="238023"/>
                  </a:lnTo>
                  <a:lnTo>
                    <a:pt x="219139" y="237630"/>
                  </a:lnTo>
                  <a:lnTo>
                    <a:pt x="217958" y="238416"/>
                  </a:lnTo>
                  <a:lnTo>
                    <a:pt x="198287" y="241957"/>
                  </a:lnTo>
                  <a:lnTo>
                    <a:pt x="198287" y="241957"/>
                  </a:lnTo>
                  <a:lnTo>
                    <a:pt x="195139" y="242351"/>
                  </a:lnTo>
                  <a:lnTo>
                    <a:pt x="192779" y="242351"/>
                  </a:lnTo>
                  <a:lnTo>
                    <a:pt x="191205" y="245105"/>
                  </a:lnTo>
                  <a:lnTo>
                    <a:pt x="190812" y="245498"/>
                  </a:lnTo>
                  <a:lnTo>
                    <a:pt x="188058" y="245891"/>
                  </a:lnTo>
                  <a:lnTo>
                    <a:pt x="184910" y="245498"/>
                  </a:lnTo>
                  <a:lnTo>
                    <a:pt x="181763" y="245105"/>
                  </a:lnTo>
                  <a:lnTo>
                    <a:pt x="179009" y="243531"/>
                  </a:lnTo>
                  <a:lnTo>
                    <a:pt x="175862" y="243924"/>
                  </a:lnTo>
                  <a:lnTo>
                    <a:pt x="173108" y="245498"/>
                  </a:lnTo>
                  <a:lnTo>
                    <a:pt x="175862" y="247465"/>
                  </a:lnTo>
                  <a:lnTo>
                    <a:pt x="179009" y="249826"/>
                  </a:lnTo>
                  <a:lnTo>
                    <a:pt x="179796" y="252580"/>
                  </a:lnTo>
                  <a:lnTo>
                    <a:pt x="177042" y="254547"/>
                  </a:lnTo>
                  <a:lnTo>
                    <a:pt x="177042" y="254547"/>
                  </a:lnTo>
                  <a:lnTo>
                    <a:pt x="173895" y="256907"/>
                  </a:lnTo>
                  <a:lnTo>
                    <a:pt x="172321" y="255727"/>
                  </a:lnTo>
                  <a:lnTo>
                    <a:pt x="172714" y="254940"/>
                  </a:lnTo>
                  <a:lnTo>
                    <a:pt x="175862" y="254547"/>
                  </a:lnTo>
                  <a:lnTo>
                    <a:pt x="178615" y="252186"/>
                  </a:lnTo>
                  <a:lnTo>
                    <a:pt x="177435" y="249432"/>
                  </a:lnTo>
                  <a:lnTo>
                    <a:pt x="174681" y="246678"/>
                  </a:lnTo>
                  <a:lnTo>
                    <a:pt x="171927" y="245105"/>
                  </a:lnTo>
                  <a:lnTo>
                    <a:pt x="168780" y="244711"/>
                  </a:lnTo>
                  <a:lnTo>
                    <a:pt x="166026" y="243924"/>
                  </a:lnTo>
                  <a:lnTo>
                    <a:pt x="163272" y="242744"/>
                  </a:lnTo>
                  <a:lnTo>
                    <a:pt x="160125" y="241564"/>
                  </a:lnTo>
                  <a:lnTo>
                    <a:pt x="157371" y="240777"/>
                  </a:lnTo>
                  <a:lnTo>
                    <a:pt x="154223" y="240383"/>
                  </a:lnTo>
                  <a:lnTo>
                    <a:pt x="151469" y="241170"/>
                  </a:lnTo>
                  <a:lnTo>
                    <a:pt x="148715" y="240383"/>
                  </a:lnTo>
                  <a:lnTo>
                    <a:pt x="147928" y="239990"/>
                  </a:lnTo>
                  <a:lnTo>
                    <a:pt x="145174" y="239597"/>
                  </a:lnTo>
                  <a:lnTo>
                    <a:pt x="142027" y="239990"/>
                  </a:lnTo>
                  <a:lnTo>
                    <a:pt x="142420" y="242744"/>
                  </a:lnTo>
                  <a:lnTo>
                    <a:pt x="139666" y="242351"/>
                  </a:lnTo>
                  <a:lnTo>
                    <a:pt x="138486" y="245105"/>
                  </a:lnTo>
                  <a:lnTo>
                    <a:pt x="138093" y="246678"/>
                  </a:lnTo>
                  <a:lnTo>
                    <a:pt x="134945" y="248645"/>
                  </a:lnTo>
                  <a:lnTo>
                    <a:pt x="131798" y="248645"/>
                  </a:lnTo>
                  <a:lnTo>
                    <a:pt x="128650" y="249826"/>
                  </a:lnTo>
                  <a:lnTo>
                    <a:pt x="125503" y="250613"/>
                  </a:lnTo>
                  <a:lnTo>
                    <a:pt x="122749" y="251399"/>
                  </a:lnTo>
                  <a:lnTo>
                    <a:pt x="119995" y="252580"/>
                  </a:lnTo>
                  <a:lnTo>
                    <a:pt x="116848" y="253760"/>
                  </a:lnTo>
                  <a:lnTo>
                    <a:pt x="114094" y="256514"/>
                  </a:lnTo>
                  <a:lnTo>
                    <a:pt x="112127" y="259661"/>
                  </a:lnTo>
                  <a:lnTo>
                    <a:pt x="109373" y="261235"/>
                  </a:lnTo>
                  <a:lnTo>
                    <a:pt x="106225" y="261629"/>
                  </a:lnTo>
                  <a:lnTo>
                    <a:pt x="109373" y="262022"/>
                  </a:lnTo>
                  <a:lnTo>
                    <a:pt x="107799" y="264776"/>
                  </a:lnTo>
                  <a:lnTo>
                    <a:pt x="107405" y="266350"/>
                  </a:lnTo>
                  <a:lnTo>
                    <a:pt x="108979" y="269104"/>
                  </a:lnTo>
                  <a:lnTo>
                    <a:pt x="109766" y="271858"/>
                  </a:lnTo>
                  <a:lnTo>
                    <a:pt x="112913" y="273431"/>
                  </a:lnTo>
                  <a:lnTo>
                    <a:pt x="115667" y="273825"/>
                  </a:lnTo>
                  <a:lnTo>
                    <a:pt x="118815" y="275792"/>
                  </a:lnTo>
                  <a:lnTo>
                    <a:pt x="121962" y="275005"/>
                  </a:lnTo>
                  <a:lnTo>
                    <a:pt x="124716" y="274218"/>
                  </a:lnTo>
                  <a:lnTo>
                    <a:pt x="127864" y="275398"/>
                  </a:lnTo>
                  <a:lnTo>
                    <a:pt x="130618" y="276972"/>
                  </a:lnTo>
                  <a:lnTo>
                    <a:pt x="133765" y="276972"/>
                  </a:lnTo>
                  <a:lnTo>
                    <a:pt x="134158" y="274218"/>
                  </a:lnTo>
                  <a:lnTo>
                    <a:pt x="136912" y="273825"/>
                  </a:lnTo>
                  <a:lnTo>
                    <a:pt x="140060" y="274218"/>
                  </a:lnTo>
                  <a:lnTo>
                    <a:pt x="142814" y="274612"/>
                  </a:lnTo>
                  <a:lnTo>
                    <a:pt x="142814" y="274612"/>
                  </a:lnTo>
                  <a:lnTo>
                    <a:pt x="225040" y="290742"/>
                  </a:lnTo>
                  <a:lnTo>
                    <a:pt x="223073" y="293103"/>
                  </a:lnTo>
                  <a:lnTo>
                    <a:pt x="225827" y="291922"/>
                  </a:lnTo>
                  <a:lnTo>
                    <a:pt x="228581" y="291529"/>
                  </a:lnTo>
                  <a:lnTo>
                    <a:pt x="230154" y="291529"/>
                  </a:lnTo>
                  <a:lnTo>
                    <a:pt x="240777" y="293496"/>
                  </a:lnTo>
                  <a:lnTo>
                    <a:pt x="241170" y="294283"/>
                  </a:lnTo>
                  <a:lnTo>
                    <a:pt x="243138" y="294283"/>
                  </a:lnTo>
                  <a:lnTo>
                    <a:pt x="247072" y="295070"/>
                  </a:lnTo>
                  <a:lnTo>
                    <a:pt x="243924" y="297430"/>
                  </a:lnTo>
                  <a:lnTo>
                    <a:pt x="241170" y="299004"/>
                  </a:lnTo>
                  <a:lnTo>
                    <a:pt x="238023" y="299397"/>
                  </a:lnTo>
                  <a:lnTo>
                    <a:pt x="235269" y="300971"/>
                  </a:lnTo>
                  <a:lnTo>
                    <a:pt x="232122" y="300578"/>
                  </a:lnTo>
                  <a:lnTo>
                    <a:pt x="229368" y="300184"/>
                  </a:lnTo>
                  <a:lnTo>
                    <a:pt x="226614" y="300184"/>
                  </a:lnTo>
                  <a:lnTo>
                    <a:pt x="223860" y="299791"/>
                  </a:lnTo>
                  <a:lnTo>
                    <a:pt x="226614" y="300184"/>
                  </a:lnTo>
                  <a:lnTo>
                    <a:pt x="229368" y="301758"/>
                  </a:lnTo>
                  <a:lnTo>
                    <a:pt x="228974" y="304512"/>
                  </a:lnTo>
                  <a:lnTo>
                    <a:pt x="229761" y="307266"/>
                  </a:lnTo>
                  <a:lnTo>
                    <a:pt x="232515" y="310020"/>
                  </a:lnTo>
                  <a:lnTo>
                    <a:pt x="235269" y="311594"/>
                  </a:lnTo>
                  <a:lnTo>
                    <a:pt x="237629" y="311594"/>
                  </a:lnTo>
                  <a:lnTo>
                    <a:pt x="239597" y="312381"/>
                  </a:lnTo>
                  <a:lnTo>
                    <a:pt x="238023" y="312774"/>
                  </a:lnTo>
                  <a:lnTo>
                    <a:pt x="241170" y="313167"/>
                  </a:lnTo>
                  <a:lnTo>
                    <a:pt x="243924" y="314741"/>
                  </a:lnTo>
                  <a:lnTo>
                    <a:pt x="246678" y="316708"/>
                  </a:lnTo>
                  <a:lnTo>
                    <a:pt x="249826" y="317102"/>
                  </a:lnTo>
                  <a:lnTo>
                    <a:pt x="252973" y="319462"/>
                  </a:lnTo>
                  <a:lnTo>
                    <a:pt x="255727" y="320642"/>
                  </a:lnTo>
                  <a:lnTo>
                    <a:pt x="258481" y="320642"/>
                  </a:lnTo>
                  <a:lnTo>
                    <a:pt x="260055" y="320249"/>
                  </a:lnTo>
                  <a:lnTo>
                    <a:pt x="269104" y="323790"/>
                  </a:lnTo>
                  <a:lnTo>
                    <a:pt x="269104" y="325757"/>
                  </a:lnTo>
                  <a:lnTo>
                    <a:pt x="271858" y="326150"/>
                  </a:lnTo>
                  <a:lnTo>
                    <a:pt x="271858" y="328904"/>
                  </a:lnTo>
                  <a:lnTo>
                    <a:pt x="274612" y="331265"/>
                  </a:lnTo>
                  <a:lnTo>
                    <a:pt x="277366" y="331658"/>
                  </a:lnTo>
                  <a:lnTo>
                    <a:pt x="280120" y="332052"/>
                  </a:lnTo>
                  <a:lnTo>
                    <a:pt x="282873" y="334806"/>
                  </a:lnTo>
                  <a:lnTo>
                    <a:pt x="286021" y="335593"/>
                  </a:lnTo>
                  <a:lnTo>
                    <a:pt x="289168" y="335986"/>
                  </a:lnTo>
                  <a:lnTo>
                    <a:pt x="291922" y="336379"/>
                  </a:lnTo>
                  <a:lnTo>
                    <a:pt x="294676" y="336379"/>
                  </a:lnTo>
                  <a:lnTo>
                    <a:pt x="297824" y="336773"/>
                  </a:lnTo>
                  <a:lnTo>
                    <a:pt x="300578" y="336773"/>
                  </a:lnTo>
                  <a:lnTo>
                    <a:pt x="303725" y="338347"/>
                  </a:lnTo>
                  <a:lnTo>
                    <a:pt x="306479" y="338740"/>
                  </a:lnTo>
                  <a:lnTo>
                    <a:pt x="307660" y="338740"/>
                  </a:lnTo>
                  <a:lnTo>
                    <a:pt x="312774" y="340707"/>
                  </a:lnTo>
                  <a:lnTo>
                    <a:pt x="315528" y="342281"/>
                  </a:lnTo>
                  <a:lnTo>
                    <a:pt x="317889" y="342674"/>
                  </a:lnTo>
                  <a:lnTo>
                    <a:pt x="326937" y="346215"/>
                  </a:lnTo>
                  <a:lnTo>
                    <a:pt x="327331" y="346609"/>
                  </a:lnTo>
                  <a:lnTo>
                    <a:pt x="330085" y="347395"/>
                  </a:lnTo>
                  <a:lnTo>
                    <a:pt x="333232" y="347395"/>
                  </a:lnTo>
                  <a:lnTo>
                    <a:pt x="335986" y="347002"/>
                  </a:lnTo>
                  <a:lnTo>
                    <a:pt x="339134" y="346609"/>
                  </a:lnTo>
                  <a:lnTo>
                    <a:pt x="338347" y="343855"/>
                  </a:lnTo>
                  <a:lnTo>
                    <a:pt x="337953" y="341101"/>
                  </a:lnTo>
                  <a:lnTo>
                    <a:pt x="341101" y="340707"/>
                  </a:lnTo>
                  <a:lnTo>
                    <a:pt x="343855" y="337953"/>
                  </a:lnTo>
                  <a:lnTo>
                    <a:pt x="340707" y="336379"/>
                  </a:lnTo>
                  <a:lnTo>
                    <a:pt x="341494" y="333626"/>
                  </a:lnTo>
                  <a:lnTo>
                    <a:pt x="338740" y="333232"/>
                  </a:lnTo>
                  <a:lnTo>
                    <a:pt x="335593" y="333626"/>
                  </a:lnTo>
                  <a:lnTo>
                    <a:pt x="338740" y="332445"/>
                  </a:lnTo>
                  <a:lnTo>
                    <a:pt x="336380" y="330872"/>
                  </a:lnTo>
                  <a:lnTo>
                    <a:pt x="337953" y="328118"/>
                  </a:lnTo>
                  <a:lnTo>
                    <a:pt x="337167" y="326150"/>
                  </a:lnTo>
                  <a:lnTo>
                    <a:pt x="340707" y="308053"/>
                  </a:lnTo>
                  <a:lnTo>
                    <a:pt x="343068" y="309233"/>
                  </a:lnTo>
                  <a:lnTo>
                    <a:pt x="342281" y="311200"/>
                  </a:lnTo>
                  <a:lnTo>
                    <a:pt x="345035" y="313561"/>
                  </a:lnTo>
                  <a:lnTo>
                    <a:pt x="343855" y="310807"/>
                  </a:lnTo>
                  <a:lnTo>
                    <a:pt x="344641" y="310413"/>
                  </a:lnTo>
                  <a:lnTo>
                    <a:pt x="348969" y="312774"/>
                  </a:lnTo>
                  <a:lnTo>
                    <a:pt x="349363" y="313561"/>
                  </a:lnTo>
                  <a:lnTo>
                    <a:pt x="350936" y="313954"/>
                  </a:lnTo>
                  <a:lnTo>
                    <a:pt x="353690" y="315528"/>
                  </a:lnTo>
                  <a:lnTo>
                    <a:pt x="360772" y="313954"/>
                  </a:lnTo>
                  <a:lnTo>
                    <a:pt x="359198" y="315134"/>
                  </a:lnTo>
                  <a:lnTo>
                    <a:pt x="362346" y="315134"/>
                  </a:lnTo>
                  <a:lnTo>
                    <a:pt x="364706" y="313167"/>
                  </a:lnTo>
                  <a:lnTo>
                    <a:pt x="365100" y="313167"/>
                  </a:lnTo>
                  <a:lnTo>
                    <a:pt x="363919" y="315528"/>
                  </a:lnTo>
                  <a:lnTo>
                    <a:pt x="364706" y="318282"/>
                  </a:lnTo>
                  <a:lnTo>
                    <a:pt x="367460" y="319069"/>
                  </a:lnTo>
                  <a:lnTo>
                    <a:pt x="370214" y="318675"/>
                  </a:lnTo>
                  <a:lnTo>
                    <a:pt x="372968" y="316315"/>
                  </a:lnTo>
                  <a:lnTo>
                    <a:pt x="373362" y="319069"/>
                  </a:lnTo>
                  <a:lnTo>
                    <a:pt x="370214" y="319462"/>
                  </a:lnTo>
                  <a:lnTo>
                    <a:pt x="369427" y="322216"/>
                  </a:lnTo>
                  <a:lnTo>
                    <a:pt x="369427" y="325364"/>
                  </a:lnTo>
                  <a:lnTo>
                    <a:pt x="372181" y="326937"/>
                  </a:lnTo>
                  <a:lnTo>
                    <a:pt x="375329" y="325757"/>
                  </a:lnTo>
                  <a:lnTo>
                    <a:pt x="377296" y="322610"/>
                  </a:lnTo>
                  <a:lnTo>
                    <a:pt x="376509" y="319856"/>
                  </a:lnTo>
                  <a:lnTo>
                    <a:pt x="375329" y="317102"/>
                  </a:lnTo>
                  <a:lnTo>
                    <a:pt x="375329" y="314348"/>
                  </a:lnTo>
                  <a:lnTo>
                    <a:pt x="378476" y="314741"/>
                  </a:lnTo>
                  <a:lnTo>
                    <a:pt x="381230" y="317102"/>
                  </a:lnTo>
                  <a:lnTo>
                    <a:pt x="384378" y="318282"/>
                  </a:lnTo>
                  <a:lnTo>
                    <a:pt x="387131" y="317102"/>
                  </a:lnTo>
                  <a:lnTo>
                    <a:pt x="387131" y="314348"/>
                  </a:lnTo>
                  <a:lnTo>
                    <a:pt x="386738" y="311594"/>
                  </a:lnTo>
                  <a:lnTo>
                    <a:pt x="387131" y="308446"/>
                  </a:lnTo>
                  <a:lnTo>
                    <a:pt x="384378" y="308840"/>
                  </a:lnTo>
                  <a:lnTo>
                    <a:pt x="384378" y="308446"/>
                  </a:lnTo>
                  <a:lnTo>
                    <a:pt x="395787" y="305692"/>
                  </a:lnTo>
                  <a:lnTo>
                    <a:pt x="397361" y="306479"/>
                  </a:lnTo>
                  <a:lnTo>
                    <a:pt x="398934" y="304905"/>
                  </a:lnTo>
                  <a:lnTo>
                    <a:pt x="398541" y="301758"/>
                  </a:lnTo>
                  <a:lnTo>
                    <a:pt x="400901" y="301365"/>
                  </a:lnTo>
                  <a:lnTo>
                    <a:pt x="402475" y="298217"/>
                  </a:lnTo>
                  <a:lnTo>
                    <a:pt x="402475" y="295463"/>
                  </a:lnTo>
                  <a:lnTo>
                    <a:pt x="404836" y="292709"/>
                  </a:lnTo>
                  <a:lnTo>
                    <a:pt x="402082" y="291135"/>
                  </a:lnTo>
                  <a:lnTo>
                    <a:pt x="398934" y="290742"/>
                  </a:lnTo>
                  <a:lnTo>
                    <a:pt x="400115" y="288775"/>
                  </a:lnTo>
                  <a:lnTo>
                    <a:pt x="402869" y="290349"/>
                  </a:lnTo>
                  <a:lnTo>
                    <a:pt x="406016" y="292316"/>
                  </a:lnTo>
                  <a:lnTo>
                    <a:pt x="409164" y="293103"/>
                  </a:lnTo>
                  <a:lnTo>
                    <a:pt x="406016" y="290349"/>
                  </a:lnTo>
                  <a:lnTo>
                    <a:pt x="409164" y="288775"/>
                  </a:lnTo>
                  <a:lnTo>
                    <a:pt x="409164" y="287201"/>
                  </a:lnTo>
                  <a:lnTo>
                    <a:pt x="406016" y="286808"/>
                  </a:lnTo>
                  <a:lnTo>
                    <a:pt x="403262" y="289168"/>
                  </a:lnTo>
                  <a:lnTo>
                    <a:pt x="400508" y="288775"/>
                  </a:lnTo>
                  <a:lnTo>
                    <a:pt x="400508" y="288775"/>
                  </a:lnTo>
                  <a:lnTo>
                    <a:pt x="400508" y="288775"/>
                  </a:lnTo>
                  <a:lnTo>
                    <a:pt x="400508" y="288775"/>
                  </a:lnTo>
                  <a:lnTo>
                    <a:pt x="400901" y="287988"/>
                  </a:lnTo>
                  <a:lnTo>
                    <a:pt x="403655" y="286414"/>
                  </a:lnTo>
                  <a:lnTo>
                    <a:pt x="406803" y="285234"/>
                  </a:lnTo>
                  <a:lnTo>
                    <a:pt x="404049" y="283660"/>
                  </a:lnTo>
                  <a:lnTo>
                    <a:pt x="400901" y="283267"/>
                  </a:lnTo>
                  <a:lnTo>
                    <a:pt x="397754" y="283267"/>
                  </a:lnTo>
                  <a:lnTo>
                    <a:pt x="400508" y="281693"/>
                  </a:lnTo>
                  <a:lnTo>
                    <a:pt x="397754" y="281300"/>
                  </a:lnTo>
                  <a:lnTo>
                    <a:pt x="398148" y="278546"/>
                  </a:lnTo>
                  <a:lnTo>
                    <a:pt x="396967" y="278939"/>
                  </a:lnTo>
                  <a:lnTo>
                    <a:pt x="396967" y="278546"/>
                  </a:lnTo>
                  <a:lnTo>
                    <a:pt x="398148" y="277759"/>
                  </a:lnTo>
                  <a:lnTo>
                    <a:pt x="396574" y="276185"/>
                  </a:lnTo>
                  <a:lnTo>
                    <a:pt x="397361" y="274218"/>
                  </a:lnTo>
                  <a:lnTo>
                    <a:pt x="399328" y="274612"/>
                  </a:lnTo>
                  <a:lnTo>
                    <a:pt x="402082" y="273038"/>
                  </a:lnTo>
                  <a:lnTo>
                    <a:pt x="404836" y="270677"/>
                  </a:lnTo>
                  <a:lnTo>
                    <a:pt x="406803" y="267923"/>
                  </a:lnTo>
                  <a:lnTo>
                    <a:pt x="403655" y="268317"/>
                  </a:lnTo>
                  <a:lnTo>
                    <a:pt x="400508" y="268710"/>
                  </a:lnTo>
                  <a:lnTo>
                    <a:pt x="398934" y="269890"/>
                  </a:lnTo>
                  <a:lnTo>
                    <a:pt x="401688" y="267530"/>
                  </a:lnTo>
                  <a:lnTo>
                    <a:pt x="398934" y="268317"/>
                  </a:lnTo>
                  <a:lnTo>
                    <a:pt x="396180" y="268317"/>
                  </a:lnTo>
                  <a:lnTo>
                    <a:pt x="395787" y="268317"/>
                  </a:lnTo>
                  <a:lnTo>
                    <a:pt x="393426" y="267136"/>
                  </a:lnTo>
                  <a:lnTo>
                    <a:pt x="393820" y="265956"/>
                  </a:lnTo>
                  <a:lnTo>
                    <a:pt x="396574" y="264776"/>
                  </a:lnTo>
                  <a:lnTo>
                    <a:pt x="399328" y="262415"/>
                  </a:lnTo>
                  <a:lnTo>
                    <a:pt x="396574" y="262415"/>
                  </a:lnTo>
                  <a:lnTo>
                    <a:pt x="398934" y="259661"/>
                  </a:lnTo>
                  <a:lnTo>
                    <a:pt x="396180" y="257301"/>
                  </a:lnTo>
                  <a:lnTo>
                    <a:pt x="393426" y="259268"/>
                  </a:lnTo>
                  <a:lnTo>
                    <a:pt x="393033" y="262022"/>
                  </a:lnTo>
                  <a:lnTo>
                    <a:pt x="389886" y="262415"/>
                  </a:lnTo>
                  <a:lnTo>
                    <a:pt x="391459" y="259268"/>
                  </a:lnTo>
                  <a:lnTo>
                    <a:pt x="388312" y="260055"/>
                  </a:lnTo>
                  <a:lnTo>
                    <a:pt x="385558" y="262809"/>
                  </a:lnTo>
                  <a:lnTo>
                    <a:pt x="385164" y="262809"/>
                  </a:lnTo>
                  <a:lnTo>
                    <a:pt x="387131" y="260055"/>
                  </a:lnTo>
                  <a:lnTo>
                    <a:pt x="389492" y="257301"/>
                  </a:lnTo>
                  <a:lnTo>
                    <a:pt x="386738" y="257301"/>
                  </a:lnTo>
                  <a:lnTo>
                    <a:pt x="383591" y="255727"/>
                  </a:lnTo>
                  <a:lnTo>
                    <a:pt x="382411" y="252973"/>
                  </a:lnTo>
                  <a:lnTo>
                    <a:pt x="379263" y="255727"/>
                  </a:lnTo>
                  <a:lnTo>
                    <a:pt x="378870" y="256121"/>
                  </a:lnTo>
                  <a:lnTo>
                    <a:pt x="377689" y="254547"/>
                  </a:lnTo>
                  <a:lnTo>
                    <a:pt x="378476" y="252973"/>
                  </a:lnTo>
                  <a:lnTo>
                    <a:pt x="375722" y="252580"/>
                  </a:lnTo>
                  <a:lnTo>
                    <a:pt x="378476" y="252186"/>
                  </a:lnTo>
                  <a:lnTo>
                    <a:pt x="381230" y="249826"/>
                  </a:lnTo>
                  <a:lnTo>
                    <a:pt x="378476" y="250219"/>
                  </a:lnTo>
                  <a:lnTo>
                    <a:pt x="375722" y="252186"/>
                  </a:lnTo>
                  <a:lnTo>
                    <a:pt x="376509" y="249826"/>
                  </a:lnTo>
                  <a:lnTo>
                    <a:pt x="377689" y="248252"/>
                  </a:lnTo>
                  <a:lnTo>
                    <a:pt x="376903" y="248252"/>
                  </a:lnTo>
                  <a:lnTo>
                    <a:pt x="379263" y="240777"/>
                  </a:lnTo>
                  <a:lnTo>
                    <a:pt x="382411" y="227007"/>
                  </a:lnTo>
                  <a:lnTo>
                    <a:pt x="382804" y="227007"/>
                  </a:lnTo>
                  <a:lnTo>
                    <a:pt x="385558" y="227007"/>
                  </a:lnTo>
                  <a:lnTo>
                    <a:pt x="387131" y="224253"/>
                  </a:lnTo>
                  <a:lnTo>
                    <a:pt x="384378" y="221499"/>
                  </a:lnTo>
                  <a:lnTo>
                    <a:pt x="383591" y="221106"/>
                  </a:lnTo>
                  <a:lnTo>
                    <a:pt x="385558" y="213237"/>
                  </a:lnTo>
                  <a:lnTo>
                    <a:pt x="386738" y="215991"/>
                  </a:lnTo>
                  <a:lnTo>
                    <a:pt x="389492" y="217171"/>
                  </a:lnTo>
                  <a:lnTo>
                    <a:pt x="392640" y="216384"/>
                  </a:lnTo>
                  <a:lnTo>
                    <a:pt x="389886" y="213630"/>
                  </a:lnTo>
                  <a:lnTo>
                    <a:pt x="393033" y="213237"/>
                  </a:lnTo>
                  <a:lnTo>
                    <a:pt x="395787" y="212450"/>
                  </a:lnTo>
                  <a:lnTo>
                    <a:pt x="394213" y="210877"/>
                  </a:lnTo>
                  <a:lnTo>
                    <a:pt x="398148" y="209696"/>
                  </a:lnTo>
                  <a:lnTo>
                    <a:pt x="398934" y="209696"/>
                  </a:lnTo>
                  <a:lnTo>
                    <a:pt x="402082" y="209303"/>
                  </a:lnTo>
                  <a:lnTo>
                    <a:pt x="402082" y="208516"/>
                  </a:lnTo>
                  <a:lnTo>
                    <a:pt x="404836" y="207729"/>
                  </a:lnTo>
                  <a:lnTo>
                    <a:pt x="407196" y="208123"/>
                  </a:lnTo>
                  <a:lnTo>
                    <a:pt x="404836" y="209303"/>
                  </a:lnTo>
                  <a:lnTo>
                    <a:pt x="404049" y="212057"/>
                  </a:lnTo>
                  <a:lnTo>
                    <a:pt x="407196" y="214024"/>
                  </a:lnTo>
                  <a:lnTo>
                    <a:pt x="409950" y="213237"/>
                  </a:lnTo>
                  <a:lnTo>
                    <a:pt x="408377" y="215991"/>
                  </a:lnTo>
                  <a:lnTo>
                    <a:pt x="406016" y="218745"/>
                  </a:lnTo>
                  <a:lnTo>
                    <a:pt x="408770" y="219138"/>
                  </a:lnTo>
                  <a:lnTo>
                    <a:pt x="411524" y="217958"/>
                  </a:lnTo>
                  <a:lnTo>
                    <a:pt x="414671" y="217171"/>
                  </a:lnTo>
                  <a:lnTo>
                    <a:pt x="411918" y="218745"/>
                  </a:lnTo>
                  <a:lnTo>
                    <a:pt x="413885" y="221892"/>
                  </a:lnTo>
                  <a:lnTo>
                    <a:pt x="416638" y="222286"/>
                  </a:lnTo>
                  <a:lnTo>
                    <a:pt x="419393" y="221499"/>
                  </a:lnTo>
                  <a:lnTo>
                    <a:pt x="422540" y="220319"/>
                  </a:lnTo>
                  <a:lnTo>
                    <a:pt x="425294" y="219138"/>
                  </a:lnTo>
                  <a:lnTo>
                    <a:pt x="426081" y="218352"/>
                  </a:lnTo>
                  <a:lnTo>
                    <a:pt x="422933" y="220712"/>
                  </a:lnTo>
                  <a:lnTo>
                    <a:pt x="420179" y="221499"/>
                  </a:lnTo>
                  <a:lnTo>
                    <a:pt x="417425" y="222286"/>
                  </a:lnTo>
                  <a:lnTo>
                    <a:pt x="414671" y="224253"/>
                  </a:lnTo>
                  <a:lnTo>
                    <a:pt x="415065" y="226614"/>
                  </a:lnTo>
                  <a:lnTo>
                    <a:pt x="422540" y="243137"/>
                  </a:lnTo>
                  <a:lnTo>
                    <a:pt x="425687" y="242744"/>
                  </a:lnTo>
                  <a:lnTo>
                    <a:pt x="426474" y="242744"/>
                  </a:lnTo>
                  <a:lnTo>
                    <a:pt x="430408" y="242351"/>
                  </a:lnTo>
                  <a:lnTo>
                    <a:pt x="431589" y="242351"/>
                  </a:lnTo>
                  <a:lnTo>
                    <a:pt x="433162" y="241957"/>
                  </a:lnTo>
                  <a:lnTo>
                    <a:pt x="435523" y="241564"/>
                  </a:lnTo>
                  <a:lnTo>
                    <a:pt x="437490" y="241564"/>
                  </a:lnTo>
                  <a:lnTo>
                    <a:pt x="434736" y="241957"/>
                  </a:lnTo>
                  <a:lnTo>
                    <a:pt x="431589" y="243137"/>
                  </a:lnTo>
                  <a:lnTo>
                    <a:pt x="428835" y="243924"/>
                  </a:lnTo>
                  <a:lnTo>
                    <a:pt x="426081" y="245498"/>
                  </a:lnTo>
                  <a:lnTo>
                    <a:pt x="428835" y="246678"/>
                  </a:lnTo>
                  <a:lnTo>
                    <a:pt x="427261" y="249826"/>
                  </a:lnTo>
                  <a:lnTo>
                    <a:pt x="430015" y="251793"/>
                  </a:lnTo>
                  <a:lnTo>
                    <a:pt x="432769" y="249432"/>
                  </a:lnTo>
                  <a:lnTo>
                    <a:pt x="434343" y="246285"/>
                  </a:lnTo>
                  <a:lnTo>
                    <a:pt x="437490" y="244711"/>
                  </a:lnTo>
                  <a:lnTo>
                    <a:pt x="440244" y="243137"/>
                  </a:lnTo>
                  <a:lnTo>
                    <a:pt x="437490" y="245498"/>
                  </a:lnTo>
                  <a:lnTo>
                    <a:pt x="435130" y="248252"/>
                  </a:lnTo>
                  <a:lnTo>
                    <a:pt x="437884" y="249432"/>
                  </a:lnTo>
                  <a:lnTo>
                    <a:pt x="441031" y="249039"/>
                  </a:lnTo>
                  <a:lnTo>
                    <a:pt x="437884" y="250613"/>
                  </a:lnTo>
                  <a:lnTo>
                    <a:pt x="437490" y="253367"/>
                  </a:lnTo>
                  <a:lnTo>
                    <a:pt x="440244" y="251399"/>
                  </a:lnTo>
                  <a:lnTo>
                    <a:pt x="443392" y="251793"/>
                  </a:lnTo>
                  <a:lnTo>
                    <a:pt x="446145" y="249826"/>
                  </a:lnTo>
                  <a:lnTo>
                    <a:pt x="443785" y="252580"/>
                  </a:lnTo>
                  <a:lnTo>
                    <a:pt x="446539" y="253367"/>
                  </a:lnTo>
                  <a:lnTo>
                    <a:pt x="443785" y="254547"/>
                  </a:lnTo>
                  <a:lnTo>
                    <a:pt x="446932" y="255727"/>
                  </a:lnTo>
                  <a:lnTo>
                    <a:pt x="448113" y="258481"/>
                  </a:lnTo>
                  <a:lnTo>
                    <a:pt x="450867" y="255727"/>
                  </a:lnTo>
                  <a:lnTo>
                    <a:pt x="453621" y="254153"/>
                  </a:lnTo>
                  <a:lnTo>
                    <a:pt x="456375" y="251006"/>
                  </a:lnTo>
                  <a:lnTo>
                    <a:pt x="459129" y="248252"/>
                  </a:lnTo>
                  <a:lnTo>
                    <a:pt x="459915" y="245498"/>
                  </a:lnTo>
                  <a:lnTo>
                    <a:pt x="458342" y="242744"/>
                  </a:lnTo>
                  <a:lnTo>
                    <a:pt x="461489" y="242351"/>
                  </a:lnTo>
                  <a:lnTo>
                    <a:pt x="459129" y="239203"/>
                  </a:lnTo>
                  <a:lnTo>
                    <a:pt x="462276" y="239203"/>
                  </a:lnTo>
                  <a:lnTo>
                    <a:pt x="463850" y="238810"/>
                  </a:lnTo>
                  <a:lnTo>
                    <a:pt x="474079" y="237630"/>
                  </a:lnTo>
                  <a:lnTo>
                    <a:pt x="476833" y="236056"/>
                  </a:lnTo>
                  <a:lnTo>
                    <a:pt x="477620" y="233302"/>
                  </a:lnTo>
                  <a:lnTo>
                    <a:pt x="477226" y="236056"/>
                  </a:lnTo>
                  <a:lnTo>
                    <a:pt x="480374" y="236449"/>
                  </a:lnTo>
                  <a:lnTo>
                    <a:pt x="483128" y="236056"/>
                  </a:lnTo>
                  <a:lnTo>
                    <a:pt x="479980" y="234089"/>
                  </a:lnTo>
                  <a:lnTo>
                    <a:pt x="483128" y="233302"/>
                  </a:lnTo>
                  <a:lnTo>
                    <a:pt x="482341" y="230548"/>
                  </a:lnTo>
                  <a:lnTo>
                    <a:pt x="485488" y="231335"/>
                  </a:lnTo>
                  <a:lnTo>
                    <a:pt x="488242" y="231728"/>
                  </a:lnTo>
                  <a:lnTo>
                    <a:pt x="491390" y="231335"/>
                  </a:lnTo>
                  <a:lnTo>
                    <a:pt x="492963" y="228581"/>
                  </a:lnTo>
                  <a:lnTo>
                    <a:pt x="490603" y="225827"/>
                  </a:lnTo>
                  <a:lnTo>
                    <a:pt x="487849" y="225433"/>
                  </a:lnTo>
                  <a:lnTo>
                    <a:pt x="485095" y="225040"/>
                  </a:lnTo>
                  <a:lnTo>
                    <a:pt x="484701" y="222679"/>
                  </a:lnTo>
                  <a:lnTo>
                    <a:pt x="487455" y="225040"/>
                  </a:lnTo>
                  <a:lnTo>
                    <a:pt x="490603" y="225433"/>
                  </a:lnTo>
                  <a:lnTo>
                    <a:pt x="493750" y="225827"/>
                  </a:lnTo>
                  <a:lnTo>
                    <a:pt x="496504" y="227007"/>
                  </a:lnTo>
                  <a:lnTo>
                    <a:pt x="499258" y="225827"/>
                  </a:lnTo>
                  <a:lnTo>
                    <a:pt x="502406" y="225827"/>
                  </a:lnTo>
                  <a:lnTo>
                    <a:pt x="501619" y="223073"/>
                  </a:lnTo>
                  <a:lnTo>
                    <a:pt x="498865" y="221499"/>
                  </a:lnTo>
                  <a:lnTo>
                    <a:pt x="496111" y="220319"/>
                  </a:lnTo>
                  <a:lnTo>
                    <a:pt x="492963" y="219925"/>
                  </a:lnTo>
                  <a:lnTo>
                    <a:pt x="490996" y="219532"/>
                  </a:lnTo>
                  <a:lnTo>
                    <a:pt x="492176" y="219138"/>
                  </a:lnTo>
                  <a:lnTo>
                    <a:pt x="492176" y="219138"/>
                  </a:lnTo>
                  <a:lnTo>
                    <a:pt x="495324" y="218745"/>
                  </a:lnTo>
                  <a:lnTo>
                    <a:pt x="498471" y="218352"/>
                  </a:lnTo>
                  <a:lnTo>
                    <a:pt x="501225" y="217565"/>
                  </a:lnTo>
                  <a:lnTo>
                    <a:pt x="500439" y="215598"/>
                  </a:lnTo>
                  <a:lnTo>
                    <a:pt x="503192" y="214417"/>
                  </a:lnTo>
                  <a:lnTo>
                    <a:pt x="506340" y="217171"/>
                  </a:lnTo>
                  <a:lnTo>
                    <a:pt x="509094" y="217565"/>
                  </a:lnTo>
                  <a:lnTo>
                    <a:pt x="512241" y="217565"/>
                  </a:lnTo>
                  <a:lnTo>
                    <a:pt x="514995" y="216384"/>
                  </a:lnTo>
                  <a:lnTo>
                    <a:pt x="518143" y="215991"/>
                  </a:lnTo>
                  <a:lnTo>
                    <a:pt x="520896" y="215598"/>
                  </a:lnTo>
                  <a:lnTo>
                    <a:pt x="517749" y="214024"/>
                  </a:lnTo>
                  <a:lnTo>
                    <a:pt x="514995" y="213630"/>
                  </a:lnTo>
                  <a:lnTo>
                    <a:pt x="512241" y="214024"/>
                  </a:lnTo>
                  <a:lnTo>
                    <a:pt x="514995" y="212450"/>
                  </a:lnTo>
                  <a:lnTo>
                    <a:pt x="518143" y="212057"/>
                  </a:lnTo>
                  <a:lnTo>
                    <a:pt x="520896" y="211663"/>
                  </a:lnTo>
                  <a:lnTo>
                    <a:pt x="520110" y="209303"/>
                  </a:lnTo>
                  <a:lnTo>
                    <a:pt x="517749" y="206942"/>
                  </a:lnTo>
                  <a:lnTo>
                    <a:pt x="517749" y="206942"/>
                  </a:lnTo>
                  <a:close/>
                  <a:moveTo>
                    <a:pt x="457948" y="193566"/>
                  </a:moveTo>
                  <a:lnTo>
                    <a:pt x="456768" y="193566"/>
                  </a:lnTo>
                  <a:lnTo>
                    <a:pt x="460702" y="190812"/>
                  </a:lnTo>
                  <a:lnTo>
                    <a:pt x="457948" y="193566"/>
                  </a:lnTo>
                  <a:close/>
                  <a:moveTo>
                    <a:pt x="392246" y="116848"/>
                  </a:moveTo>
                  <a:lnTo>
                    <a:pt x="390279" y="118028"/>
                  </a:lnTo>
                  <a:lnTo>
                    <a:pt x="390672" y="117634"/>
                  </a:lnTo>
                  <a:lnTo>
                    <a:pt x="391066" y="117241"/>
                  </a:lnTo>
                  <a:lnTo>
                    <a:pt x="391459" y="116848"/>
                  </a:lnTo>
                  <a:lnTo>
                    <a:pt x="395000" y="115667"/>
                  </a:lnTo>
                  <a:lnTo>
                    <a:pt x="392246" y="116848"/>
                  </a:lnTo>
                  <a:close/>
                  <a:moveTo>
                    <a:pt x="400508" y="107405"/>
                  </a:moveTo>
                  <a:lnTo>
                    <a:pt x="396967" y="108192"/>
                  </a:lnTo>
                  <a:lnTo>
                    <a:pt x="397361" y="107405"/>
                  </a:lnTo>
                  <a:lnTo>
                    <a:pt x="400508" y="107405"/>
                  </a:lnTo>
                  <a:close/>
                  <a:moveTo>
                    <a:pt x="343068" y="210877"/>
                  </a:moveTo>
                  <a:lnTo>
                    <a:pt x="341101" y="209303"/>
                  </a:lnTo>
                  <a:lnTo>
                    <a:pt x="343068" y="210877"/>
                  </a:lnTo>
                  <a:lnTo>
                    <a:pt x="343068" y="210877"/>
                  </a:lnTo>
                  <a:close/>
                  <a:moveTo>
                    <a:pt x="97963" y="71997"/>
                  </a:moveTo>
                  <a:lnTo>
                    <a:pt x="101111" y="71604"/>
                  </a:lnTo>
                  <a:lnTo>
                    <a:pt x="103471" y="70817"/>
                  </a:lnTo>
                  <a:lnTo>
                    <a:pt x="100324" y="73964"/>
                  </a:lnTo>
                  <a:lnTo>
                    <a:pt x="98357" y="74751"/>
                  </a:lnTo>
                  <a:lnTo>
                    <a:pt x="97963" y="74751"/>
                  </a:lnTo>
                  <a:lnTo>
                    <a:pt x="97176" y="71997"/>
                  </a:lnTo>
                  <a:lnTo>
                    <a:pt x="97963" y="71997"/>
                  </a:lnTo>
                  <a:close/>
                  <a:moveTo>
                    <a:pt x="426868" y="212450"/>
                  </a:moveTo>
                  <a:lnTo>
                    <a:pt x="427655" y="212057"/>
                  </a:lnTo>
                  <a:lnTo>
                    <a:pt x="426081" y="213237"/>
                  </a:lnTo>
                  <a:lnTo>
                    <a:pt x="426868" y="212450"/>
                  </a:lnTo>
                  <a:close/>
                  <a:moveTo>
                    <a:pt x="512635" y="204582"/>
                  </a:moveTo>
                  <a:lnTo>
                    <a:pt x="512635" y="204582"/>
                  </a:lnTo>
                  <a:lnTo>
                    <a:pt x="512635" y="204582"/>
                  </a:lnTo>
                  <a:lnTo>
                    <a:pt x="509094" y="204582"/>
                  </a:lnTo>
                  <a:lnTo>
                    <a:pt x="509487" y="204582"/>
                  </a:lnTo>
                  <a:lnTo>
                    <a:pt x="512241" y="203795"/>
                  </a:lnTo>
                  <a:lnTo>
                    <a:pt x="515389" y="204582"/>
                  </a:lnTo>
                  <a:lnTo>
                    <a:pt x="515782" y="204975"/>
                  </a:lnTo>
                  <a:lnTo>
                    <a:pt x="512635" y="2045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35" name="Freeform: Shape 2729">
              <a:extLst>
                <a:ext uri="{FF2B5EF4-FFF2-40B4-BE49-F238E27FC236}">
                  <a16:creationId xmlns:a16="http://schemas.microsoft.com/office/drawing/2014/main" id="{FFB9F5CB-0F8D-4C11-9FA4-60AAD4240F19}"/>
                </a:ext>
              </a:extLst>
            </p:cNvPr>
            <p:cNvSpPr/>
            <p:nvPr/>
          </p:nvSpPr>
          <p:spPr>
            <a:xfrm>
              <a:off x="4913754" y="1580725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574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57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36" name="Freeform: Shape 2730">
              <a:extLst>
                <a:ext uri="{FF2B5EF4-FFF2-40B4-BE49-F238E27FC236}">
                  <a16:creationId xmlns:a16="http://schemas.microsoft.com/office/drawing/2014/main" id="{394D40FB-27D4-4D37-98D0-A158913F117F}"/>
                </a:ext>
              </a:extLst>
            </p:cNvPr>
            <p:cNvSpPr/>
            <p:nvPr/>
          </p:nvSpPr>
          <p:spPr>
            <a:xfrm>
              <a:off x="4908245" y="1536268"/>
              <a:ext cx="3934" cy="3934"/>
            </a:xfrm>
            <a:custGeom>
              <a:avLst/>
              <a:gdLst>
                <a:gd name="connsiteX0" fmla="*/ 0 w 3934"/>
                <a:gd name="connsiteY0" fmla="*/ 2754 h 0"/>
                <a:gd name="connsiteX1" fmla="*/ 1574 w 3934"/>
                <a:gd name="connsiteY1" fmla="*/ 3147 h 0"/>
                <a:gd name="connsiteX2" fmla="*/ 4721 w 3934"/>
                <a:gd name="connsiteY2" fmla="*/ 2754 h 0"/>
                <a:gd name="connsiteX3" fmla="*/ 5901 w 3934"/>
                <a:gd name="connsiteY3" fmla="*/ 0 h 0"/>
                <a:gd name="connsiteX4" fmla="*/ 2754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2754"/>
                  </a:moveTo>
                  <a:lnTo>
                    <a:pt x="1574" y="3147"/>
                  </a:lnTo>
                  <a:lnTo>
                    <a:pt x="4721" y="2754"/>
                  </a:lnTo>
                  <a:lnTo>
                    <a:pt x="5901" y="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37" name="Freeform: Shape 2731">
              <a:extLst>
                <a:ext uri="{FF2B5EF4-FFF2-40B4-BE49-F238E27FC236}">
                  <a16:creationId xmlns:a16="http://schemas.microsoft.com/office/drawing/2014/main" id="{7BF2FC6C-2EE7-4EF7-829E-95B253424A90}"/>
                </a:ext>
              </a:extLst>
            </p:cNvPr>
            <p:cNvSpPr/>
            <p:nvPr/>
          </p:nvSpPr>
          <p:spPr>
            <a:xfrm>
              <a:off x="4928704" y="1569316"/>
              <a:ext cx="11803" cy="3934"/>
            </a:xfrm>
            <a:custGeom>
              <a:avLst/>
              <a:gdLst>
                <a:gd name="connsiteX0" fmla="*/ 5901 w 11802"/>
                <a:gd name="connsiteY0" fmla="*/ 1967 h 3934"/>
                <a:gd name="connsiteX1" fmla="*/ 2754 w 11802"/>
                <a:gd name="connsiteY1" fmla="*/ 3541 h 3934"/>
                <a:gd name="connsiteX2" fmla="*/ 0 w 11802"/>
                <a:gd name="connsiteY2" fmla="*/ 5115 h 3934"/>
                <a:gd name="connsiteX3" fmla="*/ 2754 w 11802"/>
                <a:gd name="connsiteY3" fmla="*/ 5115 h 3934"/>
                <a:gd name="connsiteX4" fmla="*/ 5508 w 11802"/>
                <a:gd name="connsiteY4" fmla="*/ 5115 h 3934"/>
                <a:gd name="connsiteX5" fmla="*/ 8655 w 11802"/>
                <a:gd name="connsiteY5" fmla="*/ 3147 h 3934"/>
                <a:gd name="connsiteX6" fmla="*/ 11803 w 11802"/>
                <a:gd name="connsiteY6" fmla="*/ 0 h 3934"/>
                <a:gd name="connsiteX7" fmla="*/ 11803 w 11802"/>
                <a:gd name="connsiteY7" fmla="*/ 0 h 3934"/>
                <a:gd name="connsiteX8" fmla="*/ 8655 w 11802"/>
                <a:gd name="connsiteY8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 h="3934">
                  <a:moveTo>
                    <a:pt x="5901" y="1967"/>
                  </a:moveTo>
                  <a:lnTo>
                    <a:pt x="2754" y="3541"/>
                  </a:lnTo>
                  <a:lnTo>
                    <a:pt x="0" y="5115"/>
                  </a:lnTo>
                  <a:lnTo>
                    <a:pt x="2754" y="5115"/>
                  </a:lnTo>
                  <a:lnTo>
                    <a:pt x="5508" y="5115"/>
                  </a:lnTo>
                  <a:lnTo>
                    <a:pt x="8655" y="3147"/>
                  </a:lnTo>
                  <a:lnTo>
                    <a:pt x="11803" y="0"/>
                  </a:lnTo>
                  <a:lnTo>
                    <a:pt x="11803" y="0"/>
                  </a:lnTo>
                  <a:lnTo>
                    <a:pt x="865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38" name="Freeform: Shape 2732">
              <a:extLst>
                <a:ext uri="{FF2B5EF4-FFF2-40B4-BE49-F238E27FC236}">
                  <a16:creationId xmlns:a16="http://schemas.microsoft.com/office/drawing/2014/main" id="{6D199F04-5483-48F2-B1F7-8DFF2100D2A7}"/>
                </a:ext>
              </a:extLst>
            </p:cNvPr>
            <p:cNvSpPr/>
            <p:nvPr/>
          </p:nvSpPr>
          <p:spPr>
            <a:xfrm>
              <a:off x="4931064" y="1610232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2754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2754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39" name="Freeform: Shape 2733">
              <a:extLst>
                <a:ext uri="{FF2B5EF4-FFF2-40B4-BE49-F238E27FC236}">
                  <a16:creationId xmlns:a16="http://schemas.microsoft.com/office/drawing/2014/main" id="{1247BE10-6F2A-4C2F-A796-4AAE45BFB745}"/>
                </a:ext>
              </a:extLst>
            </p:cNvPr>
            <p:cNvSpPr/>
            <p:nvPr/>
          </p:nvSpPr>
          <p:spPr>
            <a:xfrm>
              <a:off x="4932245" y="1569316"/>
              <a:ext cx="11803" cy="7869"/>
            </a:xfrm>
            <a:custGeom>
              <a:avLst/>
              <a:gdLst>
                <a:gd name="connsiteX0" fmla="*/ 5114 w 11802"/>
                <a:gd name="connsiteY0" fmla="*/ 5115 h 7868"/>
                <a:gd name="connsiteX1" fmla="*/ 2754 w 11802"/>
                <a:gd name="connsiteY1" fmla="*/ 8262 h 7868"/>
                <a:gd name="connsiteX2" fmla="*/ 0 w 11802"/>
                <a:gd name="connsiteY2" fmla="*/ 10229 h 7868"/>
                <a:gd name="connsiteX3" fmla="*/ 2754 w 11802"/>
                <a:gd name="connsiteY3" fmla="*/ 9442 h 7868"/>
                <a:gd name="connsiteX4" fmla="*/ 5901 w 11802"/>
                <a:gd name="connsiteY4" fmla="*/ 7082 h 7868"/>
                <a:gd name="connsiteX5" fmla="*/ 8655 w 11802"/>
                <a:gd name="connsiteY5" fmla="*/ 4721 h 7868"/>
                <a:gd name="connsiteX6" fmla="*/ 11803 w 11802"/>
                <a:gd name="connsiteY6" fmla="*/ 3147 h 7868"/>
                <a:gd name="connsiteX7" fmla="*/ 14557 w 11802"/>
                <a:gd name="connsiteY7" fmla="*/ 1180 h 7868"/>
                <a:gd name="connsiteX8" fmla="*/ 13770 w 11802"/>
                <a:gd name="connsiteY8" fmla="*/ 0 h 7868"/>
                <a:gd name="connsiteX9" fmla="*/ 10623 w 11802"/>
                <a:gd name="connsiteY9" fmla="*/ 0 h 7868"/>
                <a:gd name="connsiteX10" fmla="*/ 7869 w 11802"/>
                <a:gd name="connsiteY10" fmla="*/ 236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7868">
                  <a:moveTo>
                    <a:pt x="5114" y="5115"/>
                  </a:moveTo>
                  <a:lnTo>
                    <a:pt x="2754" y="8262"/>
                  </a:lnTo>
                  <a:lnTo>
                    <a:pt x="0" y="10229"/>
                  </a:lnTo>
                  <a:lnTo>
                    <a:pt x="2754" y="9442"/>
                  </a:lnTo>
                  <a:lnTo>
                    <a:pt x="5901" y="7082"/>
                  </a:lnTo>
                  <a:lnTo>
                    <a:pt x="8655" y="4721"/>
                  </a:lnTo>
                  <a:lnTo>
                    <a:pt x="11803" y="3147"/>
                  </a:lnTo>
                  <a:lnTo>
                    <a:pt x="14557" y="1180"/>
                  </a:lnTo>
                  <a:lnTo>
                    <a:pt x="13770" y="0"/>
                  </a:lnTo>
                  <a:lnTo>
                    <a:pt x="10623" y="0"/>
                  </a:lnTo>
                  <a:lnTo>
                    <a:pt x="7869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40" name="Freeform: Shape 2734">
              <a:extLst>
                <a:ext uri="{FF2B5EF4-FFF2-40B4-BE49-F238E27FC236}">
                  <a16:creationId xmlns:a16="http://schemas.microsoft.com/office/drawing/2014/main" id="{8F3468AF-0B5D-4865-8217-3888B102AC73}"/>
                </a:ext>
              </a:extLst>
            </p:cNvPr>
            <p:cNvSpPr/>
            <p:nvPr/>
          </p:nvSpPr>
          <p:spPr>
            <a:xfrm>
              <a:off x="4952309" y="1453255"/>
              <a:ext cx="3934" cy="3934"/>
            </a:xfrm>
            <a:custGeom>
              <a:avLst/>
              <a:gdLst>
                <a:gd name="connsiteX0" fmla="*/ 0 w 3934"/>
                <a:gd name="connsiteY0" fmla="*/ 3147 h 3934"/>
                <a:gd name="connsiteX1" fmla="*/ 3147 w 3934"/>
                <a:gd name="connsiteY1" fmla="*/ 3934 h 3934"/>
                <a:gd name="connsiteX2" fmla="*/ 6295 w 3934"/>
                <a:gd name="connsiteY2" fmla="*/ 2754 h 3934"/>
                <a:gd name="connsiteX3" fmla="*/ 5508 w 3934"/>
                <a:gd name="connsiteY3" fmla="*/ 0 h 3934"/>
                <a:gd name="connsiteX4" fmla="*/ 3147 w 3934"/>
                <a:gd name="connsiteY4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3147"/>
                  </a:moveTo>
                  <a:lnTo>
                    <a:pt x="3147" y="3934"/>
                  </a:lnTo>
                  <a:lnTo>
                    <a:pt x="6295" y="2754"/>
                  </a:lnTo>
                  <a:lnTo>
                    <a:pt x="5508" y="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41" name="Freeform: Shape 2735">
              <a:extLst>
                <a:ext uri="{FF2B5EF4-FFF2-40B4-BE49-F238E27FC236}">
                  <a16:creationId xmlns:a16="http://schemas.microsoft.com/office/drawing/2014/main" id="{E80CA114-A9A5-4694-AD5A-99ACBE5C5668}"/>
                </a:ext>
              </a:extLst>
            </p:cNvPr>
            <p:cNvSpPr/>
            <p:nvPr/>
          </p:nvSpPr>
          <p:spPr>
            <a:xfrm>
              <a:off x="4552981" y="1694425"/>
              <a:ext cx="7869" cy="3934"/>
            </a:xfrm>
            <a:custGeom>
              <a:avLst/>
              <a:gdLst>
                <a:gd name="connsiteX0" fmla="*/ 4328 w 7868"/>
                <a:gd name="connsiteY0" fmla="*/ 3541 h 3934"/>
                <a:gd name="connsiteX1" fmla="*/ 5901 w 7868"/>
                <a:gd name="connsiteY1" fmla="*/ 4721 h 3934"/>
                <a:gd name="connsiteX2" fmla="*/ 8655 w 7868"/>
                <a:gd name="connsiteY2" fmla="*/ 3541 h 3934"/>
                <a:gd name="connsiteX3" fmla="*/ 9049 w 7868"/>
                <a:gd name="connsiteY3" fmla="*/ 2754 h 3934"/>
                <a:gd name="connsiteX4" fmla="*/ 5901 w 7868"/>
                <a:gd name="connsiteY4" fmla="*/ 393 h 3934"/>
                <a:gd name="connsiteX5" fmla="*/ 3147 w 7868"/>
                <a:gd name="connsiteY5" fmla="*/ 0 h 3934"/>
                <a:gd name="connsiteX6" fmla="*/ 0 w 7868"/>
                <a:gd name="connsiteY6" fmla="*/ 393 h 3934"/>
                <a:gd name="connsiteX7" fmla="*/ 1180 w 7868"/>
                <a:gd name="connsiteY7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4328" y="3541"/>
                  </a:moveTo>
                  <a:lnTo>
                    <a:pt x="5901" y="4721"/>
                  </a:lnTo>
                  <a:lnTo>
                    <a:pt x="8655" y="3541"/>
                  </a:lnTo>
                  <a:lnTo>
                    <a:pt x="9049" y="2754"/>
                  </a:lnTo>
                  <a:lnTo>
                    <a:pt x="5901" y="393"/>
                  </a:lnTo>
                  <a:lnTo>
                    <a:pt x="3147" y="0"/>
                  </a:lnTo>
                  <a:lnTo>
                    <a:pt x="0" y="393"/>
                  </a:lnTo>
                  <a:lnTo>
                    <a:pt x="118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42" name="Freeform: Shape 2736">
              <a:extLst>
                <a:ext uri="{FF2B5EF4-FFF2-40B4-BE49-F238E27FC236}">
                  <a16:creationId xmlns:a16="http://schemas.microsoft.com/office/drawing/2014/main" id="{BE40F89A-27FE-4E93-9BFB-6940C745C901}"/>
                </a:ext>
              </a:extLst>
            </p:cNvPr>
            <p:cNvSpPr/>
            <p:nvPr/>
          </p:nvSpPr>
          <p:spPr>
            <a:xfrm>
              <a:off x="4558883" y="1656656"/>
              <a:ext cx="15737" cy="7869"/>
            </a:xfrm>
            <a:custGeom>
              <a:avLst/>
              <a:gdLst>
                <a:gd name="connsiteX0" fmla="*/ 16524 w 15737"/>
                <a:gd name="connsiteY0" fmla="*/ 5115 h 7868"/>
                <a:gd name="connsiteX1" fmla="*/ 18098 w 15737"/>
                <a:gd name="connsiteY1" fmla="*/ 3147 h 7868"/>
                <a:gd name="connsiteX2" fmla="*/ 15344 w 15737"/>
                <a:gd name="connsiteY2" fmla="*/ 787 h 7868"/>
                <a:gd name="connsiteX3" fmla="*/ 12196 w 15737"/>
                <a:gd name="connsiteY3" fmla="*/ 0 h 7868"/>
                <a:gd name="connsiteX4" fmla="*/ 9442 w 15737"/>
                <a:gd name="connsiteY4" fmla="*/ 0 h 7868"/>
                <a:gd name="connsiteX5" fmla="*/ 6295 w 15737"/>
                <a:gd name="connsiteY5" fmla="*/ 393 h 7868"/>
                <a:gd name="connsiteX6" fmla="*/ 3541 w 15737"/>
                <a:gd name="connsiteY6" fmla="*/ 787 h 7868"/>
                <a:gd name="connsiteX7" fmla="*/ 787 w 15737"/>
                <a:gd name="connsiteY7" fmla="*/ 1180 h 7868"/>
                <a:gd name="connsiteX8" fmla="*/ 0 w 15737"/>
                <a:gd name="connsiteY8" fmla="*/ 3934 h 7868"/>
                <a:gd name="connsiteX9" fmla="*/ 3147 w 15737"/>
                <a:gd name="connsiteY9" fmla="*/ 5901 h 7868"/>
                <a:gd name="connsiteX10" fmla="*/ 5508 w 15737"/>
                <a:gd name="connsiteY10" fmla="*/ 8655 h 7868"/>
                <a:gd name="connsiteX11" fmla="*/ 8262 w 15737"/>
                <a:gd name="connsiteY11" fmla="*/ 9049 h 7868"/>
                <a:gd name="connsiteX12" fmla="*/ 11409 w 15737"/>
                <a:gd name="connsiteY12" fmla="*/ 9836 h 7868"/>
                <a:gd name="connsiteX13" fmla="*/ 14163 w 15737"/>
                <a:gd name="connsiteY13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737" h="7868">
                  <a:moveTo>
                    <a:pt x="16524" y="5115"/>
                  </a:moveTo>
                  <a:lnTo>
                    <a:pt x="18098" y="3147"/>
                  </a:lnTo>
                  <a:lnTo>
                    <a:pt x="15344" y="787"/>
                  </a:lnTo>
                  <a:lnTo>
                    <a:pt x="12196" y="0"/>
                  </a:lnTo>
                  <a:lnTo>
                    <a:pt x="9442" y="0"/>
                  </a:lnTo>
                  <a:lnTo>
                    <a:pt x="6295" y="393"/>
                  </a:lnTo>
                  <a:lnTo>
                    <a:pt x="3541" y="787"/>
                  </a:lnTo>
                  <a:lnTo>
                    <a:pt x="787" y="1180"/>
                  </a:lnTo>
                  <a:lnTo>
                    <a:pt x="0" y="3934"/>
                  </a:lnTo>
                  <a:lnTo>
                    <a:pt x="3147" y="5901"/>
                  </a:lnTo>
                  <a:lnTo>
                    <a:pt x="5508" y="8655"/>
                  </a:lnTo>
                  <a:lnTo>
                    <a:pt x="8262" y="9049"/>
                  </a:lnTo>
                  <a:lnTo>
                    <a:pt x="11409" y="9836"/>
                  </a:lnTo>
                  <a:lnTo>
                    <a:pt x="14163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43" name="Freeform: Shape 2737">
              <a:extLst>
                <a:ext uri="{FF2B5EF4-FFF2-40B4-BE49-F238E27FC236}">
                  <a16:creationId xmlns:a16="http://schemas.microsoft.com/office/drawing/2014/main" id="{07CEFC5C-3AA7-47D4-8A76-A6868D21A7EB}"/>
                </a:ext>
              </a:extLst>
            </p:cNvPr>
            <p:cNvSpPr/>
            <p:nvPr/>
          </p:nvSpPr>
          <p:spPr>
            <a:xfrm>
              <a:off x="4909032" y="1540596"/>
              <a:ext cx="3934" cy="3934"/>
            </a:xfrm>
            <a:custGeom>
              <a:avLst/>
              <a:gdLst>
                <a:gd name="connsiteX0" fmla="*/ 3147 w 0"/>
                <a:gd name="connsiteY0" fmla="*/ 2754 h 0"/>
                <a:gd name="connsiteX1" fmla="*/ 3541 w 0"/>
                <a:gd name="connsiteY1" fmla="*/ 2754 h 0"/>
                <a:gd name="connsiteX2" fmla="*/ 3147 w 0"/>
                <a:gd name="connsiteY2" fmla="*/ 0 h 0"/>
                <a:gd name="connsiteX3" fmla="*/ 0 w 0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47" y="2754"/>
                  </a:moveTo>
                  <a:lnTo>
                    <a:pt x="3541" y="2754"/>
                  </a:lnTo>
                  <a:lnTo>
                    <a:pt x="3147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44" name="Freeform: Shape 2738">
              <a:extLst>
                <a:ext uri="{FF2B5EF4-FFF2-40B4-BE49-F238E27FC236}">
                  <a16:creationId xmlns:a16="http://schemas.microsoft.com/office/drawing/2014/main" id="{34E3659A-275C-4A56-844C-9700DB609789}"/>
                </a:ext>
              </a:extLst>
            </p:cNvPr>
            <p:cNvSpPr/>
            <p:nvPr/>
          </p:nvSpPr>
          <p:spPr>
            <a:xfrm>
              <a:off x="4927130" y="1613379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2754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2754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45" name="Freeform: Shape 2739">
              <a:extLst>
                <a:ext uri="{FF2B5EF4-FFF2-40B4-BE49-F238E27FC236}">
                  <a16:creationId xmlns:a16="http://schemas.microsoft.com/office/drawing/2014/main" id="{1B38AF8B-2B48-433F-9E2B-E14DBA3F1729}"/>
                </a:ext>
              </a:extLst>
            </p:cNvPr>
            <p:cNvSpPr/>
            <p:nvPr/>
          </p:nvSpPr>
          <p:spPr>
            <a:xfrm>
              <a:off x="4927130" y="1611019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1574 w 0"/>
                <a:gd name="connsiteY1" fmla="*/ 0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1574" y="0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46" name="Freeform: Shape 2740">
              <a:extLst>
                <a:ext uri="{FF2B5EF4-FFF2-40B4-BE49-F238E27FC236}">
                  <a16:creationId xmlns:a16="http://schemas.microsoft.com/office/drawing/2014/main" id="{0C0E8A09-EF49-41D2-82ED-ECB14B61B2F7}"/>
                </a:ext>
              </a:extLst>
            </p:cNvPr>
            <p:cNvSpPr/>
            <p:nvPr/>
          </p:nvSpPr>
          <p:spPr>
            <a:xfrm>
              <a:off x="4934212" y="1401323"/>
              <a:ext cx="62948" cy="27540"/>
            </a:xfrm>
            <a:custGeom>
              <a:avLst/>
              <a:gdLst>
                <a:gd name="connsiteX0" fmla="*/ 5508 w 62948"/>
                <a:gd name="connsiteY0" fmla="*/ 16130 h 27539"/>
                <a:gd name="connsiteX1" fmla="*/ 2754 w 62948"/>
                <a:gd name="connsiteY1" fmla="*/ 15737 h 27539"/>
                <a:gd name="connsiteX2" fmla="*/ 0 w 62948"/>
                <a:gd name="connsiteY2" fmla="*/ 18098 h 27539"/>
                <a:gd name="connsiteX3" fmla="*/ 2754 w 62948"/>
                <a:gd name="connsiteY3" fmla="*/ 20065 h 27539"/>
                <a:gd name="connsiteX4" fmla="*/ 5508 w 62948"/>
                <a:gd name="connsiteY4" fmla="*/ 21245 h 27539"/>
                <a:gd name="connsiteX5" fmla="*/ 8655 w 62948"/>
                <a:gd name="connsiteY5" fmla="*/ 21638 h 27539"/>
                <a:gd name="connsiteX6" fmla="*/ 11409 w 62948"/>
                <a:gd name="connsiteY6" fmla="*/ 21245 h 27539"/>
                <a:gd name="connsiteX7" fmla="*/ 14557 w 62948"/>
                <a:gd name="connsiteY7" fmla="*/ 21638 h 27539"/>
                <a:gd name="connsiteX8" fmla="*/ 15737 w 62948"/>
                <a:gd name="connsiteY8" fmla="*/ 21638 h 27539"/>
                <a:gd name="connsiteX9" fmla="*/ 16917 w 62948"/>
                <a:gd name="connsiteY9" fmla="*/ 24786 h 27539"/>
                <a:gd name="connsiteX10" fmla="*/ 14950 w 62948"/>
                <a:gd name="connsiteY10" fmla="*/ 24786 h 27539"/>
                <a:gd name="connsiteX11" fmla="*/ 11409 w 62948"/>
                <a:gd name="connsiteY11" fmla="*/ 25179 h 27539"/>
                <a:gd name="connsiteX12" fmla="*/ 11803 w 62948"/>
                <a:gd name="connsiteY12" fmla="*/ 27933 h 27539"/>
                <a:gd name="connsiteX13" fmla="*/ 14950 w 62948"/>
                <a:gd name="connsiteY13" fmla="*/ 28327 h 27539"/>
                <a:gd name="connsiteX14" fmla="*/ 18098 w 62948"/>
                <a:gd name="connsiteY14" fmla="*/ 29900 h 27539"/>
                <a:gd name="connsiteX15" fmla="*/ 19671 w 62948"/>
                <a:gd name="connsiteY15" fmla="*/ 30294 h 27539"/>
                <a:gd name="connsiteX16" fmla="*/ 22819 w 62948"/>
                <a:gd name="connsiteY16" fmla="*/ 30687 h 27539"/>
                <a:gd name="connsiteX17" fmla="*/ 25966 w 62948"/>
                <a:gd name="connsiteY17" fmla="*/ 29507 h 27539"/>
                <a:gd name="connsiteX18" fmla="*/ 29113 w 62948"/>
                <a:gd name="connsiteY18" fmla="*/ 29114 h 27539"/>
                <a:gd name="connsiteX19" fmla="*/ 32261 w 62948"/>
                <a:gd name="connsiteY19" fmla="*/ 28327 h 27539"/>
                <a:gd name="connsiteX20" fmla="*/ 35015 w 62948"/>
                <a:gd name="connsiteY20" fmla="*/ 27933 h 27539"/>
                <a:gd name="connsiteX21" fmla="*/ 38162 w 62948"/>
                <a:gd name="connsiteY21" fmla="*/ 27146 h 27539"/>
                <a:gd name="connsiteX22" fmla="*/ 40916 w 62948"/>
                <a:gd name="connsiteY22" fmla="*/ 27146 h 27539"/>
                <a:gd name="connsiteX23" fmla="*/ 43670 w 62948"/>
                <a:gd name="connsiteY23" fmla="*/ 26360 h 27539"/>
                <a:gd name="connsiteX24" fmla="*/ 46818 w 62948"/>
                <a:gd name="connsiteY24" fmla="*/ 25966 h 27539"/>
                <a:gd name="connsiteX25" fmla="*/ 49572 w 62948"/>
                <a:gd name="connsiteY25" fmla="*/ 25573 h 27539"/>
                <a:gd name="connsiteX26" fmla="*/ 52719 w 62948"/>
                <a:gd name="connsiteY26" fmla="*/ 24786 h 27539"/>
                <a:gd name="connsiteX27" fmla="*/ 55867 w 62948"/>
                <a:gd name="connsiteY27" fmla="*/ 24392 h 27539"/>
                <a:gd name="connsiteX28" fmla="*/ 59014 w 62948"/>
                <a:gd name="connsiteY28" fmla="*/ 23606 h 27539"/>
                <a:gd name="connsiteX29" fmla="*/ 62161 w 62948"/>
                <a:gd name="connsiteY29" fmla="*/ 22425 h 27539"/>
                <a:gd name="connsiteX30" fmla="*/ 65309 w 62948"/>
                <a:gd name="connsiteY30" fmla="*/ 20458 h 27539"/>
                <a:gd name="connsiteX31" fmla="*/ 65702 w 62948"/>
                <a:gd name="connsiteY31" fmla="*/ 17704 h 27539"/>
                <a:gd name="connsiteX32" fmla="*/ 65309 w 62948"/>
                <a:gd name="connsiteY32" fmla="*/ 14950 h 27539"/>
                <a:gd name="connsiteX33" fmla="*/ 62555 w 62948"/>
                <a:gd name="connsiteY33" fmla="*/ 14163 h 27539"/>
                <a:gd name="connsiteX34" fmla="*/ 59801 w 62948"/>
                <a:gd name="connsiteY34" fmla="*/ 13770 h 27539"/>
                <a:gd name="connsiteX35" fmla="*/ 56260 w 62948"/>
                <a:gd name="connsiteY35" fmla="*/ 12196 h 27539"/>
                <a:gd name="connsiteX36" fmla="*/ 53506 w 62948"/>
                <a:gd name="connsiteY36" fmla="*/ 11016 h 27539"/>
                <a:gd name="connsiteX37" fmla="*/ 50752 w 62948"/>
                <a:gd name="connsiteY37" fmla="*/ 8655 h 27539"/>
                <a:gd name="connsiteX38" fmla="*/ 48785 w 62948"/>
                <a:gd name="connsiteY38" fmla="*/ 5901 h 27539"/>
                <a:gd name="connsiteX39" fmla="*/ 46031 w 62948"/>
                <a:gd name="connsiteY39" fmla="*/ 3934 h 27539"/>
                <a:gd name="connsiteX40" fmla="*/ 42883 w 62948"/>
                <a:gd name="connsiteY40" fmla="*/ 2754 h 27539"/>
                <a:gd name="connsiteX41" fmla="*/ 39736 w 62948"/>
                <a:gd name="connsiteY41" fmla="*/ 1967 h 27539"/>
                <a:gd name="connsiteX42" fmla="*/ 36589 w 62948"/>
                <a:gd name="connsiteY42" fmla="*/ 1574 h 27539"/>
                <a:gd name="connsiteX43" fmla="*/ 33835 w 62948"/>
                <a:gd name="connsiteY43" fmla="*/ 1180 h 27539"/>
                <a:gd name="connsiteX44" fmla="*/ 31081 w 62948"/>
                <a:gd name="connsiteY44" fmla="*/ 787 h 27539"/>
                <a:gd name="connsiteX45" fmla="*/ 27933 w 62948"/>
                <a:gd name="connsiteY45" fmla="*/ 393 h 27539"/>
                <a:gd name="connsiteX46" fmla="*/ 24786 w 62948"/>
                <a:gd name="connsiteY46" fmla="*/ 0 h 27539"/>
                <a:gd name="connsiteX47" fmla="*/ 22032 w 62948"/>
                <a:gd name="connsiteY47" fmla="*/ 393 h 27539"/>
                <a:gd name="connsiteX48" fmla="*/ 18884 w 62948"/>
                <a:gd name="connsiteY48" fmla="*/ 1180 h 27539"/>
                <a:gd name="connsiteX49" fmla="*/ 15737 w 62948"/>
                <a:gd name="connsiteY49" fmla="*/ 1574 h 27539"/>
                <a:gd name="connsiteX50" fmla="*/ 12983 w 62948"/>
                <a:gd name="connsiteY50" fmla="*/ 2361 h 27539"/>
                <a:gd name="connsiteX51" fmla="*/ 10229 w 62948"/>
                <a:gd name="connsiteY51" fmla="*/ 5508 h 27539"/>
                <a:gd name="connsiteX52" fmla="*/ 11016 w 62948"/>
                <a:gd name="connsiteY52" fmla="*/ 8262 h 27539"/>
                <a:gd name="connsiteX53" fmla="*/ 12590 w 62948"/>
                <a:gd name="connsiteY53" fmla="*/ 8655 h 27539"/>
                <a:gd name="connsiteX54" fmla="*/ 12983 w 62948"/>
                <a:gd name="connsiteY54" fmla="*/ 9836 h 27539"/>
                <a:gd name="connsiteX55" fmla="*/ 10229 w 62948"/>
                <a:gd name="connsiteY55" fmla="*/ 9442 h 27539"/>
                <a:gd name="connsiteX56" fmla="*/ 7082 w 62948"/>
                <a:gd name="connsiteY56" fmla="*/ 11803 h 27539"/>
                <a:gd name="connsiteX57" fmla="*/ 6295 w 62948"/>
                <a:gd name="connsiteY57" fmla="*/ 14557 h 27539"/>
                <a:gd name="connsiteX58" fmla="*/ 9442 w 62948"/>
                <a:gd name="connsiteY58" fmla="*/ 14950 h 27539"/>
                <a:gd name="connsiteX59" fmla="*/ 12196 w 62948"/>
                <a:gd name="connsiteY59" fmla="*/ 17311 h 27539"/>
                <a:gd name="connsiteX60" fmla="*/ 9049 w 62948"/>
                <a:gd name="connsiteY60" fmla="*/ 16130 h 27539"/>
                <a:gd name="connsiteX61" fmla="*/ 5508 w 62948"/>
                <a:gd name="connsiteY61" fmla="*/ 16130 h 27539"/>
                <a:gd name="connsiteX62" fmla="*/ 25966 w 62948"/>
                <a:gd name="connsiteY62" fmla="*/ 24786 h 27539"/>
                <a:gd name="connsiteX63" fmla="*/ 26753 w 62948"/>
                <a:gd name="connsiteY63" fmla="*/ 24392 h 27539"/>
                <a:gd name="connsiteX64" fmla="*/ 29507 w 62948"/>
                <a:gd name="connsiteY64" fmla="*/ 24786 h 27539"/>
                <a:gd name="connsiteX65" fmla="*/ 25966 w 62948"/>
                <a:gd name="connsiteY65" fmla="*/ 24786 h 27539"/>
                <a:gd name="connsiteX66" fmla="*/ 32261 w 62948"/>
                <a:gd name="connsiteY66" fmla="*/ 20852 h 27539"/>
                <a:gd name="connsiteX67" fmla="*/ 31867 w 62948"/>
                <a:gd name="connsiteY67" fmla="*/ 20852 h 27539"/>
                <a:gd name="connsiteX68" fmla="*/ 32261 w 62948"/>
                <a:gd name="connsiteY68" fmla="*/ 20852 h 27539"/>
                <a:gd name="connsiteX69" fmla="*/ 32261 w 62948"/>
                <a:gd name="connsiteY69" fmla="*/ 20852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62948" h="27539">
                  <a:moveTo>
                    <a:pt x="5508" y="16130"/>
                  </a:moveTo>
                  <a:lnTo>
                    <a:pt x="2754" y="15737"/>
                  </a:lnTo>
                  <a:lnTo>
                    <a:pt x="0" y="18098"/>
                  </a:lnTo>
                  <a:lnTo>
                    <a:pt x="2754" y="20065"/>
                  </a:lnTo>
                  <a:lnTo>
                    <a:pt x="5508" y="21245"/>
                  </a:lnTo>
                  <a:lnTo>
                    <a:pt x="8655" y="21638"/>
                  </a:lnTo>
                  <a:lnTo>
                    <a:pt x="11409" y="21245"/>
                  </a:lnTo>
                  <a:lnTo>
                    <a:pt x="14557" y="21638"/>
                  </a:lnTo>
                  <a:lnTo>
                    <a:pt x="15737" y="21638"/>
                  </a:lnTo>
                  <a:lnTo>
                    <a:pt x="16917" y="24786"/>
                  </a:lnTo>
                  <a:lnTo>
                    <a:pt x="14950" y="24786"/>
                  </a:lnTo>
                  <a:lnTo>
                    <a:pt x="11409" y="25179"/>
                  </a:lnTo>
                  <a:lnTo>
                    <a:pt x="11803" y="27933"/>
                  </a:lnTo>
                  <a:lnTo>
                    <a:pt x="14950" y="28327"/>
                  </a:lnTo>
                  <a:lnTo>
                    <a:pt x="18098" y="29900"/>
                  </a:lnTo>
                  <a:lnTo>
                    <a:pt x="19671" y="30294"/>
                  </a:lnTo>
                  <a:lnTo>
                    <a:pt x="22819" y="30687"/>
                  </a:lnTo>
                  <a:lnTo>
                    <a:pt x="25966" y="29507"/>
                  </a:lnTo>
                  <a:lnTo>
                    <a:pt x="29113" y="29114"/>
                  </a:lnTo>
                  <a:lnTo>
                    <a:pt x="32261" y="28327"/>
                  </a:lnTo>
                  <a:lnTo>
                    <a:pt x="35015" y="27933"/>
                  </a:lnTo>
                  <a:lnTo>
                    <a:pt x="38162" y="27146"/>
                  </a:lnTo>
                  <a:lnTo>
                    <a:pt x="40916" y="27146"/>
                  </a:lnTo>
                  <a:lnTo>
                    <a:pt x="43670" y="26360"/>
                  </a:lnTo>
                  <a:lnTo>
                    <a:pt x="46818" y="25966"/>
                  </a:lnTo>
                  <a:lnTo>
                    <a:pt x="49572" y="25573"/>
                  </a:lnTo>
                  <a:lnTo>
                    <a:pt x="52719" y="24786"/>
                  </a:lnTo>
                  <a:lnTo>
                    <a:pt x="55867" y="24392"/>
                  </a:lnTo>
                  <a:lnTo>
                    <a:pt x="59014" y="23606"/>
                  </a:lnTo>
                  <a:lnTo>
                    <a:pt x="62161" y="22425"/>
                  </a:lnTo>
                  <a:lnTo>
                    <a:pt x="65309" y="20458"/>
                  </a:lnTo>
                  <a:lnTo>
                    <a:pt x="65702" y="17704"/>
                  </a:lnTo>
                  <a:lnTo>
                    <a:pt x="65309" y="14950"/>
                  </a:lnTo>
                  <a:lnTo>
                    <a:pt x="62555" y="14163"/>
                  </a:lnTo>
                  <a:lnTo>
                    <a:pt x="59801" y="13770"/>
                  </a:lnTo>
                  <a:lnTo>
                    <a:pt x="56260" y="12196"/>
                  </a:lnTo>
                  <a:lnTo>
                    <a:pt x="53506" y="11016"/>
                  </a:lnTo>
                  <a:lnTo>
                    <a:pt x="50752" y="8655"/>
                  </a:lnTo>
                  <a:lnTo>
                    <a:pt x="48785" y="5901"/>
                  </a:lnTo>
                  <a:lnTo>
                    <a:pt x="46031" y="3934"/>
                  </a:lnTo>
                  <a:lnTo>
                    <a:pt x="42883" y="2754"/>
                  </a:lnTo>
                  <a:lnTo>
                    <a:pt x="39736" y="1967"/>
                  </a:lnTo>
                  <a:lnTo>
                    <a:pt x="36589" y="1574"/>
                  </a:lnTo>
                  <a:lnTo>
                    <a:pt x="33835" y="1180"/>
                  </a:lnTo>
                  <a:lnTo>
                    <a:pt x="31081" y="787"/>
                  </a:lnTo>
                  <a:lnTo>
                    <a:pt x="27933" y="393"/>
                  </a:lnTo>
                  <a:lnTo>
                    <a:pt x="24786" y="0"/>
                  </a:lnTo>
                  <a:lnTo>
                    <a:pt x="22032" y="393"/>
                  </a:lnTo>
                  <a:lnTo>
                    <a:pt x="18884" y="1180"/>
                  </a:lnTo>
                  <a:lnTo>
                    <a:pt x="15737" y="1574"/>
                  </a:lnTo>
                  <a:lnTo>
                    <a:pt x="12983" y="2361"/>
                  </a:lnTo>
                  <a:lnTo>
                    <a:pt x="10229" y="5508"/>
                  </a:lnTo>
                  <a:lnTo>
                    <a:pt x="11016" y="8262"/>
                  </a:lnTo>
                  <a:lnTo>
                    <a:pt x="12590" y="8655"/>
                  </a:lnTo>
                  <a:lnTo>
                    <a:pt x="12983" y="9836"/>
                  </a:lnTo>
                  <a:lnTo>
                    <a:pt x="10229" y="9442"/>
                  </a:lnTo>
                  <a:lnTo>
                    <a:pt x="7082" y="11803"/>
                  </a:lnTo>
                  <a:lnTo>
                    <a:pt x="6295" y="14557"/>
                  </a:lnTo>
                  <a:lnTo>
                    <a:pt x="9442" y="14950"/>
                  </a:lnTo>
                  <a:lnTo>
                    <a:pt x="12196" y="17311"/>
                  </a:lnTo>
                  <a:lnTo>
                    <a:pt x="9049" y="16130"/>
                  </a:lnTo>
                  <a:lnTo>
                    <a:pt x="5508" y="16130"/>
                  </a:lnTo>
                  <a:close/>
                  <a:moveTo>
                    <a:pt x="25966" y="24786"/>
                  </a:moveTo>
                  <a:lnTo>
                    <a:pt x="26753" y="24392"/>
                  </a:lnTo>
                  <a:lnTo>
                    <a:pt x="29507" y="24786"/>
                  </a:lnTo>
                  <a:lnTo>
                    <a:pt x="25966" y="24786"/>
                  </a:lnTo>
                  <a:close/>
                  <a:moveTo>
                    <a:pt x="32261" y="20852"/>
                  </a:moveTo>
                  <a:lnTo>
                    <a:pt x="31867" y="20852"/>
                  </a:lnTo>
                  <a:lnTo>
                    <a:pt x="32261" y="20852"/>
                  </a:lnTo>
                  <a:lnTo>
                    <a:pt x="32261" y="2085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47" name="Freeform: Shape 2741">
              <a:extLst>
                <a:ext uri="{FF2B5EF4-FFF2-40B4-BE49-F238E27FC236}">
                  <a16:creationId xmlns:a16="http://schemas.microsoft.com/office/drawing/2014/main" id="{1D35FACE-1262-4C83-B859-B5DB1F46A89B}"/>
                </a:ext>
              </a:extLst>
            </p:cNvPr>
            <p:cNvSpPr/>
            <p:nvPr/>
          </p:nvSpPr>
          <p:spPr>
            <a:xfrm>
              <a:off x="4957817" y="1446960"/>
              <a:ext cx="19671" cy="3934"/>
            </a:xfrm>
            <a:custGeom>
              <a:avLst/>
              <a:gdLst>
                <a:gd name="connsiteX0" fmla="*/ 5901 w 19671"/>
                <a:gd name="connsiteY0" fmla="*/ 2754 h 0"/>
                <a:gd name="connsiteX1" fmla="*/ 9049 w 19671"/>
                <a:gd name="connsiteY1" fmla="*/ 2754 h 0"/>
                <a:gd name="connsiteX2" fmla="*/ 12196 w 19671"/>
                <a:gd name="connsiteY2" fmla="*/ 2361 h 0"/>
                <a:gd name="connsiteX3" fmla="*/ 14950 w 19671"/>
                <a:gd name="connsiteY3" fmla="*/ 1574 h 0"/>
                <a:gd name="connsiteX4" fmla="*/ 18098 w 19671"/>
                <a:gd name="connsiteY4" fmla="*/ 1967 h 0"/>
                <a:gd name="connsiteX5" fmla="*/ 20852 w 19671"/>
                <a:gd name="connsiteY5" fmla="*/ 393 h 0"/>
                <a:gd name="connsiteX6" fmla="*/ 21245 w 19671"/>
                <a:gd name="connsiteY6" fmla="*/ 393 h 0"/>
                <a:gd name="connsiteX7" fmla="*/ 18098 w 19671"/>
                <a:gd name="connsiteY7" fmla="*/ 0 h 0"/>
                <a:gd name="connsiteX8" fmla="*/ 14950 w 19671"/>
                <a:gd name="connsiteY8" fmla="*/ 393 h 0"/>
                <a:gd name="connsiteX9" fmla="*/ 11803 w 19671"/>
                <a:gd name="connsiteY9" fmla="*/ 0 h 0"/>
                <a:gd name="connsiteX10" fmla="*/ 8655 w 19671"/>
                <a:gd name="connsiteY10" fmla="*/ 787 h 0"/>
                <a:gd name="connsiteX11" fmla="*/ 5901 w 19671"/>
                <a:gd name="connsiteY11" fmla="*/ 1180 h 0"/>
                <a:gd name="connsiteX12" fmla="*/ 2754 w 19671"/>
                <a:gd name="connsiteY12" fmla="*/ 1967 h 0"/>
                <a:gd name="connsiteX13" fmla="*/ 0 w 19671"/>
                <a:gd name="connsiteY13" fmla="*/ 2754 h 0"/>
                <a:gd name="connsiteX14" fmla="*/ 2754 w 19671"/>
                <a:gd name="connsiteY14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671">
                  <a:moveTo>
                    <a:pt x="5901" y="2754"/>
                  </a:moveTo>
                  <a:lnTo>
                    <a:pt x="9049" y="2754"/>
                  </a:lnTo>
                  <a:lnTo>
                    <a:pt x="12196" y="2361"/>
                  </a:lnTo>
                  <a:lnTo>
                    <a:pt x="14950" y="1574"/>
                  </a:lnTo>
                  <a:lnTo>
                    <a:pt x="18098" y="1967"/>
                  </a:lnTo>
                  <a:lnTo>
                    <a:pt x="20852" y="393"/>
                  </a:lnTo>
                  <a:lnTo>
                    <a:pt x="21245" y="393"/>
                  </a:lnTo>
                  <a:lnTo>
                    <a:pt x="18098" y="0"/>
                  </a:lnTo>
                  <a:lnTo>
                    <a:pt x="14950" y="393"/>
                  </a:lnTo>
                  <a:lnTo>
                    <a:pt x="11803" y="0"/>
                  </a:lnTo>
                  <a:lnTo>
                    <a:pt x="8655" y="787"/>
                  </a:lnTo>
                  <a:lnTo>
                    <a:pt x="5901" y="1180"/>
                  </a:lnTo>
                  <a:lnTo>
                    <a:pt x="2754" y="1967"/>
                  </a:lnTo>
                  <a:lnTo>
                    <a:pt x="0" y="2754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48" name="Freeform: Shape 2742">
              <a:extLst>
                <a:ext uri="{FF2B5EF4-FFF2-40B4-BE49-F238E27FC236}">
                  <a16:creationId xmlns:a16="http://schemas.microsoft.com/office/drawing/2014/main" id="{931C2A34-CF68-42A8-9A2E-439C11E99F62}"/>
                </a:ext>
              </a:extLst>
            </p:cNvPr>
            <p:cNvSpPr/>
            <p:nvPr/>
          </p:nvSpPr>
          <p:spPr>
            <a:xfrm>
              <a:off x="5011717" y="1412339"/>
              <a:ext cx="15737" cy="7869"/>
            </a:xfrm>
            <a:custGeom>
              <a:avLst/>
              <a:gdLst>
                <a:gd name="connsiteX0" fmla="*/ 2754 w 15737"/>
                <a:gd name="connsiteY0" fmla="*/ 5508 h 7868"/>
                <a:gd name="connsiteX1" fmla="*/ 0 w 15737"/>
                <a:gd name="connsiteY1" fmla="*/ 6295 h 7868"/>
                <a:gd name="connsiteX2" fmla="*/ 393 w 15737"/>
                <a:gd name="connsiteY2" fmla="*/ 9442 h 7868"/>
                <a:gd name="connsiteX3" fmla="*/ 3541 w 15737"/>
                <a:gd name="connsiteY3" fmla="*/ 11409 h 7868"/>
                <a:gd name="connsiteX4" fmla="*/ 6688 w 15737"/>
                <a:gd name="connsiteY4" fmla="*/ 10623 h 7868"/>
                <a:gd name="connsiteX5" fmla="*/ 8262 w 15737"/>
                <a:gd name="connsiteY5" fmla="*/ 7475 h 7868"/>
                <a:gd name="connsiteX6" fmla="*/ 11016 w 15737"/>
                <a:gd name="connsiteY6" fmla="*/ 4721 h 7868"/>
                <a:gd name="connsiteX7" fmla="*/ 14163 w 15737"/>
                <a:gd name="connsiteY7" fmla="*/ 4328 h 7868"/>
                <a:gd name="connsiteX8" fmla="*/ 16917 w 15737"/>
                <a:gd name="connsiteY8" fmla="*/ 3147 h 7868"/>
                <a:gd name="connsiteX9" fmla="*/ 14163 w 15737"/>
                <a:gd name="connsiteY9" fmla="*/ 787 h 7868"/>
                <a:gd name="connsiteX10" fmla="*/ 11803 w 15737"/>
                <a:gd name="connsiteY10" fmla="*/ 0 h 7868"/>
                <a:gd name="connsiteX11" fmla="*/ 8655 w 15737"/>
                <a:gd name="connsiteY11" fmla="*/ 0 h 7868"/>
                <a:gd name="connsiteX12" fmla="*/ 5508 w 15737"/>
                <a:gd name="connsiteY12" fmla="*/ 1180 h 7868"/>
                <a:gd name="connsiteX13" fmla="*/ 8655 w 15737"/>
                <a:gd name="connsiteY13" fmla="*/ 1180 h 7868"/>
                <a:gd name="connsiteX14" fmla="*/ 5901 w 15737"/>
                <a:gd name="connsiteY14" fmla="*/ 354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737" h="7868">
                  <a:moveTo>
                    <a:pt x="2754" y="5508"/>
                  </a:moveTo>
                  <a:lnTo>
                    <a:pt x="0" y="6295"/>
                  </a:lnTo>
                  <a:lnTo>
                    <a:pt x="393" y="9442"/>
                  </a:lnTo>
                  <a:lnTo>
                    <a:pt x="3541" y="11409"/>
                  </a:lnTo>
                  <a:lnTo>
                    <a:pt x="6688" y="10623"/>
                  </a:lnTo>
                  <a:lnTo>
                    <a:pt x="8262" y="7475"/>
                  </a:lnTo>
                  <a:lnTo>
                    <a:pt x="11016" y="4721"/>
                  </a:lnTo>
                  <a:lnTo>
                    <a:pt x="14163" y="4328"/>
                  </a:lnTo>
                  <a:lnTo>
                    <a:pt x="16917" y="3147"/>
                  </a:lnTo>
                  <a:lnTo>
                    <a:pt x="14163" y="787"/>
                  </a:lnTo>
                  <a:lnTo>
                    <a:pt x="11803" y="0"/>
                  </a:lnTo>
                  <a:lnTo>
                    <a:pt x="8655" y="0"/>
                  </a:lnTo>
                  <a:lnTo>
                    <a:pt x="5508" y="1180"/>
                  </a:lnTo>
                  <a:lnTo>
                    <a:pt x="8655" y="1180"/>
                  </a:lnTo>
                  <a:lnTo>
                    <a:pt x="5901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49" name="Freeform: Shape 2743">
              <a:extLst>
                <a:ext uri="{FF2B5EF4-FFF2-40B4-BE49-F238E27FC236}">
                  <a16:creationId xmlns:a16="http://schemas.microsoft.com/office/drawing/2014/main" id="{EE162AFE-E501-4158-8DA2-2B3AEB8FEA7E}"/>
                </a:ext>
              </a:extLst>
            </p:cNvPr>
            <p:cNvSpPr/>
            <p:nvPr/>
          </p:nvSpPr>
          <p:spPr>
            <a:xfrm>
              <a:off x="5109287" y="1651542"/>
              <a:ext cx="3934" cy="3934"/>
            </a:xfrm>
            <a:custGeom>
              <a:avLst/>
              <a:gdLst>
                <a:gd name="connsiteX0" fmla="*/ 393 w 0"/>
                <a:gd name="connsiteY0" fmla="*/ 2754 h 0"/>
                <a:gd name="connsiteX1" fmla="*/ 2754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2754"/>
                  </a:moveTo>
                  <a:lnTo>
                    <a:pt x="275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50" name="Freeform: Shape 2744">
              <a:extLst>
                <a:ext uri="{FF2B5EF4-FFF2-40B4-BE49-F238E27FC236}">
                  <a16:creationId xmlns:a16="http://schemas.microsoft.com/office/drawing/2014/main" id="{4EF3A1E3-61A3-45FE-84E5-03E01D2A40D4}"/>
                </a:ext>
              </a:extLst>
            </p:cNvPr>
            <p:cNvSpPr/>
            <p:nvPr/>
          </p:nvSpPr>
          <p:spPr>
            <a:xfrm>
              <a:off x="4980636" y="1681836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18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51" name="Freeform: Shape 2745">
              <a:extLst>
                <a:ext uri="{FF2B5EF4-FFF2-40B4-BE49-F238E27FC236}">
                  <a16:creationId xmlns:a16="http://schemas.microsoft.com/office/drawing/2014/main" id="{BA53BA54-FFCE-4CF6-9C05-68256565C537}"/>
                </a:ext>
              </a:extLst>
            </p:cNvPr>
            <p:cNvSpPr/>
            <p:nvPr/>
          </p:nvSpPr>
          <p:spPr>
            <a:xfrm>
              <a:off x="4943654" y="1657050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787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787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52" name="Freeform: Shape 2746">
              <a:extLst>
                <a:ext uri="{FF2B5EF4-FFF2-40B4-BE49-F238E27FC236}">
                  <a16:creationId xmlns:a16="http://schemas.microsoft.com/office/drawing/2014/main" id="{70BFAA38-0B22-479C-B107-B06C128FDB4C}"/>
                </a:ext>
              </a:extLst>
            </p:cNvPr>
            <p:cNvSpPr/>
            <p:nvPr/>
          </p:nvSpPr>
          <p:spPr>
            <a:xfrm>
              <a:off x="4946408" y="1668459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180 h 0"/>
                <a:gd name="connsiteX2" fmla="*/ 314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18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53" name="Freeform: Shape 2747">
              <a:extLst>
                <a:ext uri="{FF2B5EF4-FFF2-40B4-BE49-F238E27FC236}">
                  <a16:creationId xmlns:a16="http://schemas.microsoft.com/office/drawing/2014/main" id="{EE5D3EDE-43D5-4E35-B314-5FB25D0B8C37}"/>
                </a:ext>
              </a:extLst>
            </p:cNvPr>
            <p:cNvSpPr/>
            <p:nvPr/>
          </p:nvSpPr>
          <p:spPr>
            <a:xfrm>
              <a:off x="4949949" y="1666492"/>
              <a:ext cx="3934" cy="3934"/>
            </a:xfrm>
            <a:custGeom>
              <a:avLst/>
              <a:gdLst>
                <a:gd name="connsiteX0" fmla="*/ 5508 w 3934"/>
                <a:gd name="connsiteY0" fmla="*/ 393 h 0"/>
                <a:gd name="connsiteX1" fmla="*/ 5508 w 3934"/>
                <a:gd name="connsiteY1" fmla="*/ 0 h 0"/>
                <a:gd name="connsiteX2" fmla="*/ 2754 w 3934"/>
                <a:gd name="connsiteY2" fmla="*/ 0 h 0"/>
                <a:gd name="connsiteX3" fmla="*/ 0 w 3934"/>
                <a:gd name="connsiteY3" fmla="*/ 1180 h 0"/>
                <a:gd name="connsiteX4" fmla="*/ 2754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508" y="393"/>
                  </a:moveTo>
                  <a:lnTo>
                    <a:pt x="5508" y="0"/>
                  </a:lnTo>
                  <a:lnTo>
                    <a:pt x="2754" y="0"/>
                  </a:lnTo>
                  <a:lnTo>
                    <a:pt x="0" y="118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54" name="Freeform: Shape 2748">
              <a:extLst>
                <a:ext uri="{FF2B5EF4-FFF2-40B4-BE49-F238E27FC236}">
                  <a16:creationId xmlns:a16="http://schemas.microsoft.com/office/drawing/2014/main" id="{1B44CB2B-99A6-48C8-939E-D1CE10E1535E}"/>
                </a:ext>
              </a:extLst>
            </p:cNvPr>
            <p:cNvSpPr/>
            <p:nvPr/>
          </p:nvSpPr>
          <p:spPr>
            <a:xfrm>
              <a:off x="4955850" y="1683016"/>
              <a:ext cx="7869" cy="3934"/>
            </a:xfrm>
            <a:custGeom>
              <a:avLst/>
              <a:gdLst>
                <a:gd name="connsiteX0" fmla="*/ 5508 w 7868"/>
                <a:gd name="connsiteY0" fmla="*/ 4721 h 3934"/>
                <a:gd name="connsiteX1" fmla="*/ 8262 w 7868"/>
                <a:gd name="connsiteY1" fmla="*/ 3934 h 3934"/>
                <a:gd name="connsiteX2" fmla="*/ 10623 w 7868"/>
                <a:gd name="connsiteY2" fmla="*/ 1180 h 3934"/>
                <a:gd name="connsiteX3" fmla="*/ 9049 w 7868"/>
                <a:gd name="connsiteY3" fmla="*/ 787 h 3934"/>
                <a:gd name="connsiteX4" fmla="*/ 6295 w 7868"/>
                <a:gd name="connsiteY4" fmla="*/ 0 h 3934"/>
                <a:gd name="connsiteX5" fmla="*/ 3147 w 7868"/>
                <a:gd name="connsiteY5" fmla="*/ 787 h 3934"/>
                <a:gd name="connsiteX6" fmla="*/ 0 w 7868"/>
                <a:gd name="connsiteY6" fmla="*/ 1574 h 3934"/>
                <a:gd name="connsiteX7" fmla="*/ 2360 w 7868"/>
                <a:gd name="connsiteY7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508" y="4721"/>
                  </a:moveTo>
                  <a:lnTo>
                    <a:pt x="8262" y="3934"/>
                  </a:lnTo>
                  <a:lnTo>
                    <a:pt x="10623" y="1180"/>
                  </a:lnTo>
                  <a:lnTo>
                    <a:pt x="9049" y="787"/>
                  </a:lnTo>
                  <a:lnTo>
                    <a:pt x="6295" y="0"/>
                  </a:lnTo>
                  <a:lnTo>
                    <a:pt x="3147" y="787"/>
                  </a:lnTo>
                  <a:lnTo>
                    <a:pt x="0" y="1574"/>
                  </a:lnTo>
                  <a:lnTo>
                    <a:pt x="2360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55" name="Freeform: Shape 2749">
              <a:extLst>
                <a:ext uri="{FF2B5EF4-FFF2-40B4-BE49-F238E27FC236}">
                  <a16:creationId xmlns:a16="http://schemas.microsoft.com/office/drawing/2014/main" id="{8197F6F1-83EB-4059-8F52-F43A8F1E0C85}"/>
                </a:ext>
              </a:extLst>
            </p:cNvPr>
            <p:cNvSpPr/>
            <p:nvPr/>
          </p:nvSpPr>
          <p:spPr>
            <a:xfrm>
              <a:off x="4956637" y="1675147"/>
              <a:ext cx="3934" cy="3934"/>
            </a:xfrm>
            <a:custGeom>
              <a:avLst/>
              <a:gdLst>
                <a:gd name="connsiteX0" fmla="*/ 5901 w 3934"/>
                <a:gd name="connsiteY0" fmla="*/ 393 h 0"/>
                <a:gd name="connsiteX1" fmla="*/ 3147 w 3934"/>
                <a:gd name="connsiteY1" fmla="*/ 0 h 0"/>
                <a:gd name="connsiteX2" fmla="*/ 2754 w 3934"/>
                <a:gd name="connsiteY2" fmla="*/ 0 h 0"/>
                <a:gd name="connsiteX3" fmla="*/ 0 w 3934"/>
                <a:gd name="connsiteY3" fmla="*/ 1180 h 0"/>
                <a:gd name="connsiteX4" fmla="*/ 2754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393"/>
                  </a:moveTo>
                  <a:lnTo>
                    <a:pt x="3147" y="0"/>
                  </a:lnTo>
                  <a:lnTo>
                    <a:pt x="2754" y="0"/>
                  </a:lnTo>
                  <a:lnTo>
                    <a:pt x="0" y="118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56" name="Freeform: Shape 2750">
              <a:extLst>
                <a:ext uri="{FF2B5EF4-FFF2-40B4-BE49-F238E27FC236}">
                  <a16:creationId xmlns:a16="http://schemas.microsoft.com/office/drawing/2014/main" id="{37146D23-9EDF-465B-BD9C-69378FFE78E8}"/>
                </a:ext>
              </a:extLst>
            </p:cNvPr>
            <p:cNvSpPr/>
            <p:nvPr/>
          </p:nvSpPr>
          <p:spPr>
            <a:xfrm>
              <a:off x="4989685" y="1679869"/>
              <a:ext cx="11803" cy="3934"/>
            </a:xfrm>
            <a:custGeom>
              <a:avLst/>
              <a:gdLst>
                <a:gd name="connsiteX0" fmla="*/ 15344 w 11802"/>
                <a:gd name="connsiteY0" fmla="*/ 0 h 3934"/>
                <a:gd name="connsiteX1" fmla="*/ 12196 w 11802"/>
                <a:gd name="connsiteY1" fmla="*/ 393 h 3934"/>
                <a:gd name="connsiteX2" fmla="*/ 9442 w 11802"/>
                <a:gd name="connsiteY2" fmla="*/ 1574 h 3934"/>
                <a:gd name="connsiteX3" fmla="*/ 6295 w 11802"/>
                <a:gd name="connsiteY3" fmla="*/ 2754 h 3934"/>
                <a:gd name="connsiteX4" fmla="*/ 3147 w 11802"/>
                <a:gd name="connsiteY4" fmla="*/ 3147 h 3934"/>
                <a:gd name="connsiteX5" fmla="*/ 0 w 11802"/>
                <a:gd name="connsiteY5" fmla="*/ 5901 h 3934"/>
                <a:gd name="connsiteX6" fmla="*/ 3147 w 11802"/>
                <a:gd name="connsiteY6" fmla="*/ 4328 h 3934"/>
                <a:gd name="connsiteX7" fmla="*/ 5901 w 11802"/>
                <a:gd name="connsiteY7" fmla="*/ 3934 h 3934"/>
                <a:gd name="connsiteX8" fmla="*/ 8655 w 11802"/>
                <a:gd name="connsiteY8" fmla="*/ 3147 h 3934"/>
                <a:gd name="connsiteX9" fmla="*/ 11803 w 11802"/>
                <a:gd name="connsiteY9" fmla="*/ 2754 h 3934"/>
                <a:gd name="connsiteX10" fmla="*/ 14950 w 11802"/>
                <a:gd name="connsiteY10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3934">
                  <a:moveTo>
                    <a:pt x="15344" y="0"/>
                  </a:moveTo>
                  <a:lnTo>
                    <a:pt x="12196" y="393"/>
                  </a:lnTo>
                  <a:lnTo>
                    <a:pt x="9442" y="1574"/>
                  </a:lnTo>
                  <a:lnTo>
                    <a:pt x="6295" y="2754"/>
                  </a:lnTo>
                  <a:lnTo>
                    <a:pt x="3147" y="3147"/>
                  </a:lnTo>
                  <a:lnTo>
                    <a:pt x="0" y="5901"/>
                  </a:lnTo>
                  <a:lnTo>
                    <a:pt x="3147" y="4328"/>
                  </a:lnTo>
                  <a:lnTo>
                    <a:pt x="5901" y="3934"/>
                  </a:lnTo>
                  <a:lnTo>
                    <a:pt x="8655" y="3147"/>
                  </a:lnTo>
                  <a:lnTo>
                    <a:pt x="11803" y="2754"/>
                  </a:lnTo>
                  <a:lnTo>
                    <a:pt x="1495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57" name="Freeform: Shape 2751">
              <a:extLst>
                <a:ext uri="{FF2B5EF4-FFF2-40B4-BE49-F238E27FC236}">
                  <a16:creationId xmlns:a16="http://schemas.microsoft.com/office/drawing/2014/main" id="{A4C8ADEE-1E9E-4F8E-9EBA-438C5F38051D}"/>
                </a:ext>
              </a:extLst>
            </p:cNvPr>
            <p:cNvSpPr/>
            <p:nvPr/>
          </p:nvSpPr>
          <p:spPr>
            <a:xfrm>
              <a:off x="4995586" y="1684983"/>
              <a:ext cx="3934" cy="3934"/>
            </a:xfrm>
            <a:custGeom>
              <a:avLst/>
              <a:gdLst>
                <a:gd name="connsiteX0" fmla="*/ 0 w 3934"/>
                <a:gd name="connsiteY0" fmla="*/ 2361 h 0"/>
                <a:gd name="connsiteX1" fmla="*/ 2754 w 3934"/>
                <a:gd name="connsiteY1" fmla="*/ 1967 h 0"/>
                <a:gd name="connsiteX2" fmla="*/ 5901 w 3934"/>
                <a:gd name="connsiteY2" fmla="*/ 0 h 0"/>
                <a:gd name="connsiteX3" fmla="*/ 3147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361"/>
                  </a:moveTo>
                  <a:lnTo>
                    <a:pt x="2754" y="1967"/>
                  </a:lnTo>
                  <a:lnTo>
                    <a:pt x="5901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58" name="Freeform: Shape 2752">
              <a:extLst>
                <a:ext uri="{FF2B5EF4-FFF2-40B4-BE49-F238E27FC236}">
                  <a16:creationId xmlns:a16="http://schemas.microsoft.com/office/drawing/2014/main" id="{90E632EF-CAF0-491B-9FE3-CEC29D2CB3ED}"/>
                </a:ext>
              </a:extLst>
            </p:cNvPr>
            <p:cNvSpPr/>
            <p:nvPr/>
          </p:nvSpPr>
          <p:spPr>
            <a:xfrm>
              <a:off x="5002668" y="1686950"/>
              <a:ext cx="3934" cy="3934"/>
            </a:xfrm>
            <a:custGeom>
              <a:avLst/>
              <a:gdLst>
                <a:gd name="connsiteX0" fmla="*/ 3148 w 3934"/>
                <a:gd name="connsiteY0" fmla="*/ 393 h 0"/>
                <a:gd name="connsiteX1" fmla="*/ 0 w 3934"/>
                <a:gd name="connsiteY1" fmla="*/ 1967 h 0"/>
                <a:gd name="connsiteX2" fmla="*/ 3148 w 3934"/>
                <a:gd name="connsiteY2" fmla="*/ 1574 h 0"/>
                <a:gd name="connsiteX3" fmla="*/ 6295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148" y="393"/>
                  </a:moveTo>
                  <a:lnTo>
                    <a:pt x="0" y="1967"/>
                  </a:lnTo>
                  <a:lnTo>
                    <a:pt x="3148" y="1574"/>
                  </a:lnTo>
                  <a:lnTo>
                    <a:pt x="629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59" name="Freeform: Shape 2753">
              <a:extLst>
                <a:ext uri="{FF2B5EF4-FFF2-40B4-BE49-F238E27FC236}">
                  <a16:creationId xmlns:a16="http://schemas.microsoft.com/office/drawing/2014/main" id="{82031F00-2B39-47A3-9628-BA8F2858156D}"/>
                </a:ext>
              </a:extLst>
            </p:cNvPr>
            <p:cNvSpPr/>
            <p:nvPr/>
          </p:nvSpPr>
          <p:spPr>
            <a:xfrm>
              <a:off x="5015258" y="1697179"/>
              <a:ext cx="7869" cy="3934"/>
            </a:xfrm>
            <a:custGeom>
              <a:avLst/>
              <a:gdLst>
                <a:gd name="connsiteX0" fmla="*/ 7869 w 7868"/>
                <a:gd name="connsiteY0" fmla="*/ 0 h 3934"/>
                <a:gd name="connsiteX1" fmla="*/ 3147 w 7868"/>
                <a:gd name="connsiteY1" fmla="*/ 0 h 3934"/>
                <a:gd name="connsiteX2" fmla="*/ 1574 w 7868"/>
                <a:gd name="connsiteY2" fmla="*/ 3147 h 3934"/>
                <a:gd name="connsiteX3" fmla="*/ 0 w 7868"/>
                <a:gd name="connsiteY3" fmla="*/ 5901 h 3934"/>
                <a:gd name="connsiteX4" fmla="*/ 3147 w 7868"/>
                <a:gd name="connsiteY4" fmla="*/ 4721 h 3934"/>
                <a:gd name="connsiteX5" fmla="*/ 5901 w 7868"/>
                <a:gd name="connsiteY5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7869" y="0"/>
                  </a:moveTo>
                  <a:lnTo>
                    <a:pt x="3147" y="0"/>
                  </a:lnTo>
                  <a:lnTo>
                    <a:pt x="1574" y="3147"/>
                  </a:lnTo>
                  <a:lnTo>
                    <a:pt x="0" y="5901"/>
                  </a:lnTo>
                  <a:lnTo>
                    <a:pt x="3147" y="4721"/>
                  </a:lnTo>
                  <a:lnTo>
                    <a:pt x="5901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60" name="Freeform: Shape 2754">
              <a:extLst>
                <a:ext uri="{FF2B5EF4-FFF2-40B4-BE49-F238E27FC236}">
                  <a16:creationId xmlns:a16="http://schemas.microsoft.com/office/drawing/2014/main" id="{1C170488-2C93-4F0B-BA34-DF26AE69FD7C}"/>
                </a:ext>
              </a:extLst>
            </p:cNvPr>
            <p:cNvSpPr/>
            <p:nvPr/>
          </p:nvSpPr>
          <p:spPr>
            <a:xfrm>
              <a:off x="5082534" y="1681049"/>
              <a:ext cx="3934" cy="3934"/>
            </a:xfrm>
            <a:custGeom>
              <a:avLst/>
              <a:gdLst>
                <a:gd name="connsiteX0" fmla="*/ 0 w 3934"/>
                <a:gd name="connsiteY0" fmla="*/ 787 h 0"/>
                <a:gd name="connsiteX1" fmla="*/ 393 w 3934"/>
                <a:gd name="connsiteY1" fmla="*/ 787 h 0"/>
                <a:gd name="connsiteX2" fmla="*/ 3147 w 3934"/>
                <a:gd name="connsiteY2" fmla="*/ 1574 h 0"/>
                <a:gd name="connsiteX3" fmla="*/ 5901 w 3934"/>
                <a:gd name="connsiteY3" fmla="*/ 0 h 0"/>
                <a:gd name="connsiteX4" fmla="*/ 3147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787"/>
                  </a:moveTo>
                  <a:lnTo>
                    <a:pt x="393" y="787"/>
                  </a:lnTo>
                  <a:lnTo>
                    <a:pt x="3147" y="1574"/>
                  </a:lnTo>
                  <a:lnTo>
                    <a:pt x="5901" y="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61" name="Freeform: Shape 2755">
              <a:extLst>
                <a:ext uri="{FF2B5EF4-FFF2-40B4-BE49-F238E27FC236}">
                  <a16:creationId xmlns:a16="http://schemas.microsoft.com/office/drawing/2014/main" id="{9E68688A-8678-4D6D-A271-65867CEE5062}"/>
                </a:ext>
              </a:extLst>
            </p:cNvPr>
            <p:cNvSpPr/>
            <p:nvPr/>
          </p:nvSpPr>
          <p:spPr>
            <a:xfrm>
              <a:off x="5118335" y="1629510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62" name="Freeform: Shape 2756">
              <a:extLst>
                <a:ext uri="{FF2B5EF4-FFF2-40B4-BE49-F238E27FC236}">
                  <a16:creationId xmlns:a16="http://schemas.microsoft.com/office/drawing/2014/main" id="{4E63172D-9F1E-4BA7-8EA9-E725CD93CAE8}"/>
                </a:ext>
              </a:extLst>
            </p:cNvPr>
            <p:cNvSpPr/>
            <p:nvPr/>
          </p:nvSpPr>
          <p:spPr>
            <a:xfrm>
              <a:off x="5138794" y="1616133"/>
              <a:ext cx="3934" cy="3934"/>
            </a:xfrm>
            <a:custGeom>
              <a:avLst/>
              <a:gdLst>
                <a:gd name="connsiteX0" fmla="*/ 0 w 3934"/>
                <a:gd name="connsiteY0" fmla="*/ 4328 h 3934"/>
                <a:gd name="connsiteX1" fmla="*/ 1967 w 3934"/>
                <a:gd name="connsiteY1" fmla="*/ 2754 h 3934"/>
                <a:gd name="connsiteX2" fmla="*/ 3934 w 3934"/>
                <a:gd name="connsiteY2" fmla="*/ 0 h 3934"/>
                <a:gd name="connsiteX3" fmla="*/ 787 w 3934"/>
                <a:gd name="connsiteY3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0" y="4328"/>
                  </a:moveTo>
                  <a:lnTo>
                    <a:pt x="1967" y="2754"/>
                  </a:lnTo>
                  <a:lnTo>
                    <a:pt x="3934" y="0"/>
                  </a:lnTo>
                  <a:lnTo>
                    <a:pt x="78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63" name="Freeform: Shape 2757">
              <a:extLst>
                <a:ext uri="{FF2B5EF4-FFF2-40B4-BE49-F238E27FC236}">
                  <a16:creationId xmlns:a16="http://schemas.microsoft.com/office/drawing/2014/main" id="{DE8EAB52-DCBE-4346-A762-9522AAAFBEE3}"/>
                </a:ext>
              </a:extLst>
            </p:cNvPr>
            <p:cNvSpPr/>
            <p:nvPr/>
          </p:nvSpPr>
          <p:spPr>
            <a:xfrm>
              <a:off x="5147055" y="1611019"/>
              <a:ext cx="3934" cy="3934"/>
            </a:xfrm>
            <a:custGeom>
              <a:avLst/>
              <a:gdLst>
                <a:gd name="connsiteX0" fmla="*/ 2754 w 0"/>
                <a:gd name="connsiteY0" fmla="*/ 1967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967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64" name="Freeform: Shape 2758">
              <a:extLst>
                <a:ext uri="{FF2B5EF4-FFF2-40B4-BE49-F238E27FC236}">
                  <a16:creationId xmlns:a16="http://schemas.microsoft.com/office/drawing/2014/main" id="{AADD0251-2E12-4F12-88B3-1621E557C0A1}"/>
                </a:ext>
              </a:extLst>
            </p:cNvPr>
            <p:cNvSpPr/>
            <p:nvPr/>
          </p:nvSpPr>
          <p:spPr>
            <a:xfrm>
              <a:off x="5372882" y="1490630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2754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65" name="Freeform: Shape 2759">
              <a:extLst>
                <a:ext uri="{FF2B5EF4-FFF2-40B4-BE49-F238E27FC236}">
                  <a16:creationId xmlns:a16="http://schemas.microsoft.com/office/drawing/2014/main" id="{0C0DD8D1-9139-412A-83F9-B4E463BE7949}"/>
                </a:ext>
              </a:extLst>
            </p:cNvPr>
            <p:cNvSpPr/>
            <p:nvPr/>
          </p:nvSpPr>
          <p:spPr>
            <a:xfrm>
              <a:off x="5042404" y="1703868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0 h 0"/>
                <a:gd name="connsiteX2" fmla="*/ 1967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0"/>
                  </a:lnTo>
                  <a:lnTo>
                    <a:pt x="196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66" name="Freeform: Shape 2760">
              <a:extLst>
                <a:ext uri="{FF2B5EF4-FFF2-40B4-BE49-F238E27FC236}">
                  <a16:creationId xmlns:a16="http://schemas.microsoft.com/office/drawing/2014/main" id="{9BD91730-DA8C-46B1-AD43-E6DADE23902A}"/>
                </a:ext>
              </a:extLst>
            </p:cNvPr>
            <p:cNvSpPr/>
            <p:nvPr/>
          </p:nvSpPr>
          <p:spPr>
            <a:xfrm>
              <a:off x="5058534" y="1708195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787 h 0"/>
                <a:gd name="connsiteX2" fmla="*/ 0 w 0"/>
                <a:gd name="connsiteY2" fmla="*/ 2754 h 0"/>
                <a:gd name="connsiteX3" fmla="*/ 3147 w 0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787"/>
                  </a:lnTo>
                  <a:lnTo>
                    <a:pt x="0" y="2754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67" name="Freeform: Shape 2761">
              <a:extLst>
                <a:ext uri="{FF2B5EF4-FFF2-40B4-BE49-F238E27FC236}">
                  <a16:creationId xmlns:a16="http://schemas.microsoft.com/office/drawing/2014/main" id="{AA1F7395-A3EB-47D4-B22D-E5E1EC193EFC}"/>
                </a:ext>
              </a:extLst>
            </p:cNvPr>
            <p:cNvSpPr/>
            <p:nvPr/>
          </p:nvSpPr>
          <p:spPr>
            <a:xfrm>
              <a:off x="5210397" y="1545710"/>
              <a:ext cx="3934" cy="3934"/>
            </a:xfrm>
            <a:custGeom>
              <a:avLst/>
              <a:gdLst>
                <a:gd name="connsiteX0" fmla="*/ 0 w 3934"/>
                <a:gd name="connsiteY0" fmla="*/ 787 h 0"/>
                <a:gd name="connsiteX1" fmla="*/ 2754 w 3934"/>
                <a:gd name="connsiteY1" fmla="*/ 2361 h 0"/>
                <a:gd name="connsiteX2" fmla="*/ 5508 w 3934"/>
                <a:gd name="connsiteY2" fmla="*/ 393 h 0"/>
                <a:gd name="connsiteX3" fmla="*/ 2754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787"/>
                  </a:moveTo>
                  <a:lnTo>
                    <a:pt x="2754" y="2361"/>
                  </a:lnTo>
                  <a:lnTo>
                    <a:pt x="5508" y="393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68" name="Freeform: Shape 2762">
              <a:extLst>
                <a:ext uri="{FF2B5EF4-FFF2-40B4-BE49-F238E27FC236}">
                  <a16:creationId xmlns:a16="http://schemas.microsoft.com/office/drawing/2014/main" id="{EB20B4B5-974D-41A4-AB0D-5F4F1CCFE469}"/>
                </a:ext>
              </a:extLst>
            </p:cNvPr>
            <p:cNvSpPr/>
            <p:nvPr/>
          </p:nvSpPr>
          <p:spPr>
            <a:xfrm>
              <a:off x="5255248" y="1529186"/>
              <a:ext cx="15737" cy="7869"/>
            </a:xfrm>
            <a:custGeom>
              <a:avLst/>
              <a:gdLst>
                <a:gd name="connsiteX0" fmla="*/ 15737 w 15737"/>
                <a:gd name="connsiteY0" fmla="*/ 3934 h 7868"/>
                <a:gd name="connsiteX1" fmla="*/ 9836 w 15737"/>
                <a:gd name="connsiteY1" fmla="*/ 0 h 7868"/>
                <a:gd name="connsiteX2" fmla="*/ 6688 w 15737"/>
                <a:gd name="connsiteY2" fmla="*/ 787 h 7868"/>
                <a:gd name="connsiteX3" fmla="*/ 3934 w 15737"/>
                <a:gd name="connsiteY3" fmla="*/ 2754 h 7868"/>
                <a:gd name="connsiteX4" fmla="*/ 787 w 15737"/>
                <a:gd name="connsiteY4" fmla="*/ 3934 h 7868"/>
                <a:gd name="connsiteX5" fmla="*/ 0 w 15737"/>
                <a:gd name="connsiteY5" fmla="*/ 6688 h 7868"/>
                <a:gd name="connsiteX6" fmla="*/ 787 w 15737"/>
                <a:gd name="connsiteY6" fmla="*/ 9836 h 7868"/>
                <a:gd name="connsiteX7" fmla="*/ 3540 w 15737"/>
                <a:gd name="connsiteY7" fmla="*/ 9836 h 7868"/>
                <a:gd name="connsiteX8" fmla="*/ 5901 w 15737"/>
                <a:gd name="connsiteY8" fmla="*/ 7475 h 7868"/>
                <a:gd name="connsiteX9" fmla="*/ 8655 w 15737"/>
                <a:gd name="connsiteY9" fmla="*/ 7869 h 7868"/>
                <a:gd name="connsiteX10" fmla="*/ 11803 w 15737"/>
                <a:gd name="connsiteY10" fmla="*/ 8262 h 7868"/>
                <a:gd name="connsiteX11" fmla="*/ 14557 w 15737"/>
                <a:gd name="connsiteY11" fmla="*/ 7082 h 7868"/>
                <a:gd name="connsiteX12" fmla="*/ 12983 w 15737"/>
                <a:gd name="connsiteY12" fmla="*/ 393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7868">
                  <a:moveTo>
                    <a:pt x="15737" y="3934"/>
                  </a:moveTo>
                  <a:lnTo>
                    <a:pt x="9836" y="0"/>
                  </a:lnTo>
                  <a:lnTo>
                    <a:pt x="6688" y="787"/>
                  </a:lnTo>
                  <a:lnTo>
                    <a:pt x="3934" y="2754"/>
                  </a:lnTo>
                  <a:lnTo>
                    <a:pt x="787" y="3934"/>
                  </a:lnTo>
                  <a:lnTo>
                    <a:pt x="0" y="6688"/>
                  </a:lnTo>
                  <a:lnTo>
                    <a:pt x="787" y="9836"/>
                  </a:lnTo>
                  <a:lnTo>
                    <a:pt x="3540" y="9836"/>
                  </a:lnTo>
                  <a:lnTo>
                    <a:pt x="5901" y="7475"/>
                  </a:lnTo>
                  <a:lnTo>
                    <a:pt x="8655" y="7869"/>
                  </a:lnTo>
                  <a:lnTo>
                    <a:pt x="11803" y="8262"/>
                  </a:lnTo>
                  <a:lnTo>
                    <a:pt x="14557" y="7082"/>
                  </a:lnTo>
                  <a:lnTo>
                    <a:pt x="12983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69" name="Freeform: Shape 2763">
              <a:extLst>
                <a:ext uri="{FF2B5EF4-FFF2-40B4-BE49-F238E27FC236}">
                  <a16:creationId xmlns:a16="http://schemas.microsoft.com/office/drawing/2014/main" id="{82D25FC3-81FE-453D-B327-E80F0EA170CD}"/>
                </a:ext>
              </a:extLst>
            </p:cNvPr>
            <p:cNvSpPr/>
            <p:nvPr/>
          </p:nvSpPr>
          <p:spPr>
            <a:xfrm>
              <a:off x="5272165" y="1534694"/>
              <a:ext cx="3934" cy="3934"/>
            </a:xfrm>
            <a:custGeom>
              <a:avLst/>
              <a:gdLst>
                <a:gd name="connsiteX0" fmla="*/ 0 w 3934"/>
                <a:gd name="connsiteY0" fmla="*/ 1574 h 3934"/>
                <a:gd name="connsiteX1" fmla="*/ 3148 w 3934"/>
                <a:gd name="connsiteY1" fmla="*/ 3934 h 3934"/>
                <a:gd name="connsiteX2" fmla="*/ 5901 w 3934"/>
                <a:gd name="connsiteY2" fmla="*/ 1180 h 3934"/>
                <a:gd name="connsiteX3" fmla="*/ 2754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0" y="1574"/>
                  </a:moveTo>
                  <a:lnTo>
                    <a:pt x="3148" y="3934"/>
                  </a:lnTo>
                  <a:lnTo>
                    <a:pt x="5901" y="118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70" name="Freeform: Shape 2764">
              <a:extLst>
                <a:ext uri="{FF2B5EF4-FFF2-40B4-BE49-F238E27FC236}">
                  <a16:creationId xmlns:a16="http://schemas.microsoft.com/office/drawing/2014/main" id="{7AA5E5DF-C606-4D09-B040-90F5F055B455}"/>
                </a:ext>
              </a:extLst>
            </p:cNvPr>
            <p:cNvSpPr/>
            <p:nvPr/>
          </p:nvSpPr>
          <p:spPr>
            <a:xfrm>
              <a:off x="5281214" y="1529973"/>
              <a:ext cx="3934" cy="3934"/>
            </a:xfrm>
            <a:custGeom>
              <a:avLst/>
              <a:gdLst>
                <a:gd name="connsiteX0" fmla="*/ 0 w 0"/>
                <a:gd name="connsiteY0" fmla="*/ 3934 h 3934"/>
                <a:gd name="connsiteX1" fmla="*/ 1574 w 0"/>
                <a:gd name="connsiteY1" fmla="*/ 3147 h 3934"/>
                <a:gd name="connsiteX2" fmla="*/ 2754 w 0"/>
                <a:gd name="connsiteY2" fmla="*/ 0 h 3934"/>
                <a:gd name="connsiteX3" fmla="*/ 0 w 0"/>
                <a:gd name="connsiteY3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3934"/>
                  </a:moveTo>
                  <a:lnTo>
                    <a:pt x="1574" y="3147"/>
                  </a:lnTo>
                  <a:lnTo>
                    <a:pt x="2754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71" name="Freeform: Shape 2765">
              <a:extLst>
                <a:ext uri="{FF2B5EF4-FFF2-40B4-BE49-F238E27FC236}">
                  <a16:creationId xmlns:a16="http://schemas.microsoft.com/office/drawing/2014/main" id="{0E8CFE95-0056-4A9A-B7E2-53508EFCBABE}"/>
                </a:ext>
              </a:extLst>
            </p:cNvPr>
            <p:cNvSpPr/>
            <p:nvPr/>
          </p:nvSpPr>
          <p:spPr>
            <a:xfrm>
              <a:off x="5285148" y="1528006"/>
              <a:ext cx="3934" cy="3934"/>
            </a:xfrm>
            <a:custGeom>
              <a:avLst/>
              <a:gdLst>
                <a:gd name="connsiteX0" fmla="*/ 393 w 3934"/>
                <a:gd name="connsiteY0" fmla="*/ 1574 h 3934"/>
                <a:gd name="connsiteX1" fmla="*/ 0 w 3934"/>
                <a:gd name="connsiteY1" fmla="*/ 4328 h 3934"/>
                <a:gd name="connsiteX2" fmla="*/ 0 w 3934"/>
                <a:gd name="connsiteY2" fmla="*/ 4328 h 3934"/>
                <a:gd name="connsiteX3" fmla="*/ 3147 w 3934"/>
                <a:gd name="connsiteY3" fmla="*/ 1574 h 3934"/>
                <a:gd name="connsiteX4" fmla="*/ 6295 w 3934"/>
                <a:gd name="connsiteY4" fmla="*/ 0 h 3934"/>
                <a:gd name="connsiteX5" fmla="*/ 3147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93" y="1574"/>
                  </a:moveTo>
                  <a:lnTo>
                    <a:pt x="0" y="4328"/>
                  </a:lnTo>
                  <a:lnTo>
                    <a:pt x="0" y="4328"/>
                  </a:lnTo>
                  <a:lnTo>
                    <a:pt x="3147" y="1574"/>
                  </a:lnTo>
                  <a:lnTo>
                    <a:pt x="6295" y="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72" name="Freeform: Shape 2766">
              <a:extLst>
                <a:ext uri="{FF2B5EF4-FFF2-40B4-BE49-F238E27FC236}">
                  <a16:creationId xmlns:a16="http://schemas.microsoft.com/office/drawing/2014/main" id="{541D2E29-7439-44B0-9F46-9779445953F2}"/>
                </a:ext>
              </a:extLst>
            </p:cNvPr>
            <p:cNvSpPr/>
            <p:nvPr/>
          </p:nvSpPr>
          <p:spPr>
            <a:xfrm>
              <a:off x="5460223" y="1460730"/>
              <a:ext cx="3934" cy="3934"/>
            </a:xfrm>
            <a:custGeom>
              <a:avLst/>
              <a:gdLst>
                <a:gd name="connsiteX0" fmla="*/ 393 w 3934"/>
                <a:gd name="connsiteY0" fmla="*/ 393 h 0"/>
                <a:gd name="connsiteX1" fmla="*/ 0 w 3934"/>
                <a:gd name="connsiteY1" fmla="*/ 1967 h 0"/>
                <a:gd name="connsiteX2" fmla="*/ 3147 w 3934"/>
                <a:gd name="connsiteY2" fmla="*/ 2754 h 0"/>
                <a:gd name="connsiteX3" fmla="*/ 5901 w 3934"/>
                <a:gd name="connsiteY3" fmla="*/ 1967 h 0"/>
                <a:gd name="connsiteX4" fmla="*/ 3147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93" y="393"/>
                  </a:moveTo>
                  <a:lnTo>
                    <a:pt x="0" y="1967"/>
                  </a:lnTo>
                  <a:lnTo>
                    <a:pt x="3147" y="2754"/>
                  </a:lnTo>
                  <a:lnTo>
                    <a:pt x="5901" y="196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73" name="Freeform: Shape 2767">
              <a:extLst>
                <a:ext uri="{FF2B5EF4-FFF2-40B4-BE49-F238E27FC236}">
                  <a16:creationId xmlns:a16="http://schemas.microsoft.com/office/drawing/2014/main" id="{1AAAF24B-FBD5-4AF9-9352-E0011BCEB2CE}"/>
                </a:ext>
              </a:extLst>
            </p:cNvPr>
            <p:cNvSpPr/>
            <p:nvPr/>
          </p:nvSpPr>
          <p:spPr>
            <a:xfrm>
              <a:off x="5773784" y="1574037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2754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74" name="Freeform: Shape 2768">
              <a:extLst>
                <a:ext uri="{FF2B5EF4-FFF2-40B4-BE49-F238E27FC236}">
                  <a16:creationId xmlns:a16="http://schemas.microsoft.com/office/drawing/2014/main" id="{EFF0C6B5-6BEA-4C89-86DD-7124F8F952FD}"/>
                </a:ext>
              </a:extLst>
            </p:cNvPr>
            <p:cNvSpPr/>
            <p:nvPr/>
          </p:nvSpPr>
          <p:spPr>
            <a:xfrm>
              <a:off x="5560547" y="1510695"/>
              <a:ext cx="243924" cy="90488"/>
            </a:xfrm>
            <a:custGeom>
              <a:avLst/>
              <a:gdLst>
                <a:gd name="connsiteX0" fmla="*/ 237236 w 243924"/>
                <a:gd name="connsiteY0" fmla="*/ 44064 h 90488"/>
                <a:gd name="connsiteX1" fmla="*/ 239990 w 243924"/>
                <a:gd name="connsiteY1" fmla="*/ 45637 h 90488"/>
                <a:gd name="connsiteX2" fmla="*/ 242744 w 243924"/>
                <a:gd name="connsiteY2" fmla="*/ 45637 h 90488"/>
                <a:gd name="connsiteX3" fmla="*/ 245892 w 243924"/>
                <a:gd name="connsiteY3" fmla="*/ 43277 h 90488"/>
                <a:gd name="connsiteX4" fmla="*/ 245892 w 243924"/>
                <a:gd name="connsiteY4" fmla="*/ 40523 h 90488"/>
                <a:gd name="connsiteX5" fmla="*/ 242744 w 243924"/>
                <a:gd name="connsiteY5" fmla="*/ 39736 h 90488"/>
                <a:gd name="connsiteX6" fmla="*/ 236843 w 243924"/>
                <a:gd name="connsiteY6" fmla="*/ 39736 h 90488"/>
                <a:gd name="connsiteX7" fmla="*/ 239597 w 243924"/>
                <a:gd name="connsiteY7" fmla="*/ 39343 h 90488"/>
                <a:gd name="connsiteX8" fmla="*/ 242744 w 243924"/>
                <a:gd name="connsiteY8" fmla="*/ 38949 h 90488"/>
                <a:gd name="connsiteX9" fmla="*/ 245498 w 243924"/>
                <a:gd name="connsiteY9" fmla="*/ 37376 h 90488"/>
                <a:gd name="connsiteX10" fmla="*/ 241957 w 243924"/>
                <a:gd name="connsiteY10" fmla="*/ 34228 h 90488"/>
                <a:gd name="connsiteX11" fmla="*/ 244711 w 243924"/>
                <a:gd name="connsiteY11" fmla="*/ 32654 h 90488"/>
                <a:gd name="connsiteX12" fmla="*/ 244711 w 243924"/>
                <a:gd name="connsiteY12" fmla="*/ 29507 h 90488"/>
                <a:gd name="connsiteX13" fmla="*/ 241957 w 243924"/>
                <a:gd name="connsiteY13" fmla="*/ 29900 h 90488"/>
                <a:gd name="connsiteX14" fmla="*/ 238810 w 243924"/>
                <a:gd name="connsiteY14" fmla="*/ 27146 h 90488"/>
                <a:gd name="connsiteX15" fmla="*/ 236056 w 243924"/>
                <a:gd name="connsiteY15" fmla="*/ 27146 h 90488"/>
                <a:gd name="connsiteX16" fmla="*/ 233302 w 243924"/>
                <a:gd name="connsiteY16" fmla="*/ 26360 h 90488"/>
                <a:gd name="connsiteX17" fmla="*/ 229761 w 243924"/>
                <a:gd name="connsiteY17" fmla="*/ 26360 h 90488"/>
                <a:gd name="connsiteX18" fmla="*/ 224253 w 243924"/>
                <a:gd name="connsiteY18" fmla="*/ 30294 h 90488"/>
                <a:gd name="connsiteX19" fmla="*/ 227400 w 243924"/>
                <a:gd name="connsiteY19" fmla="*/ 27540 h 90488"/>
                <a:gd name="connsiteX20" fmla="*/ 228187 w 243924"/>
                <a:gd name="connsiteY20" fmla="*/ 27540 h 90488"/>
                <a:gd name="connsiteX21" fmla="*/ 230941 w 243924"/>
                <a:gd name="connsiteY21" fmla="*/ 24786 h 90488"/>
                <a:gd name="connsiteX22" fmla="*/ 230941 w 243924"/>
                <a:gd name="connsiteY22" fmla="*/ 22032 h 90488"/>
                <a:gd name="connsiteX23" fmla="*/ 228187 w 243924"/>
                <a:gd name="connsiteY23" fmla="*/ 22425 h 90488"/>
                <a:gd name="connsiteX24" fmla="*/ 225433 w 243924"/>
                <a:gd name="connsiteY24" fmla="*/ 22819 h 90488"/>
                <a:gd name="connsiteX25" fmla="*/ 222286 w 243924"/>
                <a:gd name="connsiteY25" fmla="*/ 23212 h 90488"/>
                <a:gd name="connsiteX26" fmla="*/ 219532 w 243924"/>
                <a:gd name="connsiteY26" fmla="*/ 23606 h 90488"/>
                <a:gd name="connsiteX27" fmla="*/ 219138 w 243924"/>
                <a:gd name="connsiteY27" fmla="*/ 23212 h 90488"/>
                <a:gd name="connsiteX28" fmla="*/ 220712 w 243924"/>
                <a:gd name="connsiteY28" fmla="*/ 20458 h 90488"/>
                <a:gd name="connsiteX29" fmla="*/ 223466 w 243924"/>
                <a:gd name="connsiteY29" fmla="*/ 19278 h 90488"/>
                <a:gd name="connsiteX30" fmla="*/ 225827 w 243924"/>
                <a:gd name="connsiteY30" fmla="*/ 16524 h 90488"/>
                <a:gd name="connsiteX31" fmla="*/ 223860 w 243924"/>
                <a:gd name="connsiteY31" fmla="*/ 13770 h 90488"/>
                <a:gd name="connsiteX32" fmla="*/ 221105 w 243924"/>
                <a:gd name="connsiteY32" fmla="*/ 14557 h 90488"/>
                <a:gd name="connsiteX33" fmla="*/ 218352 w 243924"/>
                <a:gd name="connsiteY33" fmla="*/ 14557 h 90488"/>
                <a:gd name="connsiteX34" fmla="*/ 218352 w 243924"/>
                <a:gd name="connsiteY34" fmla="*/ 11016 h 90488"/>
                <a:gd name="connsiteX35" fmla="*/ 219532 w 243924"/>
                <a:gd name="connsiteY35" fmla="*/ 10229 h 90488"/>
                <a:gd name="connsiteX36" fmla="*/ 219532 w 243924"/>
                <a:gd name="connsiteY36" fmla="*/ 7082 h 90488"/>
                <a:gd name="connsiteX37" fmla="*/ 222679 w 243924"/>
                <a:gd name="connsiteY37" fmla="*/ 6295 h 90488"/>
                <a:gd name="connsiteX38" fmla="*/ 225433 w 243924"/>
                <a:gd name="connsiteY38" fmla="*/ 5508 h 90488"/>
                <a:gd name="connsiteX39" fmla="*/ 228581 w 243924"/>
                <a:gd name="connsiteY39" fmla="*/ 4328 h 90488"/>
                <a:gd name="connsiteX40" fmla="*/ 225433 w 243924"/>
                <a:gd name="connsiteY40" fmla="*/ 4721 h 90488"/>
                <a:gd name="connsiteX41" fmla="*/ 222679 w 243924"/>
                <a:gd name="connsiteY41" fmla="*/ 4328 h 90488"/>
                <a:gd name="connsiteX42" fmla="*/ 219532 w 243924"/>
                <a:gd name="connsiteY42" fmla="*/ 5115 h 90488"/>
                <a:gd name="connsiteX43" fmla="*/ 216778 w 243924"/>
                <a:gd name="connsiteY43" fmla="*/ 7082 h 90488"/>
                <a:gd name="connsiteX44" fmla="*/ 214024 w 243924"/>
                <a:gd name="connsiteY44" fmla="*/ 7869 h 90488"/>
                <a:gd name="connsiteX45" fmla="*/ 211270 w 243924"/>
                <a:gd name="connsiteY45" fmla="*/ 8262 h 90488"/>
                <a:gd name="connsiteX46" fmla="*/ 209303 w 243924"/>
                <a:gd name="connsiteY46" fmla="*/ 11409 h 90488"/>
                <a:gd name="connsiteX47" fmla="*/ 208516 w 243924"/>
                <a:gd name="connsiteY47" fmla="*/ 10623 h 90488"/>
                <a:gd name="connsiteX48" fmla="*/ 205762 w 243924"/>
                <a:gd name="connsiteY48" fmla="*/ 8655 h 90488"/>
                <a:gd name="connsiteX49" fmla="*/ 202615 w 243924"/>
                <a:gd name="connsiteY49" fmla="*/ 6688 h 90488"/>
                <a:gd name="connsiteX50" fmla="*/ 203008 w 243924"/>
                <a:gd name="connsiteY50" fmla="*/ 3934 h 90488"/>
                <a:gd name="connsiteX51" fmla="*/ 200254 w 243924"/>
                <a:gd name="connsiteY51" fmla="*/ 1180 h 90488"/>
                <a:gd name="connsiteX52" fmla="*/ 197107 w 243924"/>
                <a:gd name="connsiteY52" fmla="*/ 0 h 90488"/>
                <a:gd name="connsiteX53" fmla="*/ 194353 w 243924"/>
                <a:gd name="connsiteY53" fmla="*/ 0 h 90488"/>
                <a:gd name="connsiteX54" fmla="*/ 191205 w 243924"/>
                <a:gd name="connsiteY54" fmla="*/ 1180 h 90488"/>
                <a:gd name="connsiteX55" fmla="*/ 188058 w 243924"/>
                <a:gd name="connsiteY55" fmla="*/ 393 h 90488"/>
                <a:gd name="connsiteX56" fmla="*/ 185304 w 243924"/>
                <a:gd name="connsiteY56" fmla="*/ 1967 h 90488"/>
                <a:gd name="connsiteX57" fmla="*/ 186090 w 243924"/>
                <a:gd name="connsiteY57" fmla="*/ 5115 h 90488"/>
                <a:gd name="connsiteX58" fmla="*/ 186878 w 243924"/>
                <a:gd name="connsiteY58" fmla="*/ 8262 h 90488"/>
                <a:gd name="connsiteX59" fmla="*/ 186090 w 243924"/>
                <a:gd name="connsiteY59" fmla="*/ 9049 h 90488"/>
                <a:gd name="connsiteX60" fmla="*/ 182943 w 243924"/>
                <a:gd name="connsiteY60" fmla="*/ 10229 h 90488"/>
                <a:gd name="connsiteX61" fmla="*/ 182156 w 243924"/>
                <a:gd name="connsiteY61" fmla="*/ 12983 h 90488"/>
                <a:gd name="connsiteX62" fmla="*/ 179402 w 243924"/>
                <a:gd name="connsiteY62" fmla="*/ 11409 h 90488"/>
                <a:gd name="connsiteX63" fmla="*/ 177829 w 243924"/>
                <a:gd name="connsiteY63" fmla="*/ 11409 h 90488"/>
                <a:gd name="connsiteX64" fmla="*/ 173501 w 243924"/>
                <a:gd name="connsiteY64" fmla="*/ 9836 h 90488"/>
                <a:gd name="connsiteX65" fmla="*/ 173108 w 243924"/>
                <a:gd name="connsiteY65" fmla="*/ 9836 h 90488"/>
                <a:gd name="connsiteX66" fmla="*/ 170353 w 243924"/>
                <a:gd name="connsiteY66" fmla="*/ 9049 h 90488"/>
                <a:gd name="connsiteX67" fmla="*/ 167600 w 243924"/>
                <a:gd name="connsiteY67" fmla="*/ 10623 h 90488"/>
                <a:gd name="connsiteX68" fmla="*/ 164846 w 243924"/>
                <a:gd name="connsiteY68" fmla="*/ 12983 h 90488"/>
                <a:gd name="connsiteX69" fmla="*/ 162092 w 243924"/>
                <a:gd name="connsiteY69" fmla="*/ 15737 h 90488"/>
                <a:gd name="connsiteX70" fmla="*/ 158944 w 243924"/>
                <a:gd name="connsiteY70" fmla="*/ 18491 h 90488"/>
                <a:gd name="connsiteX71" fmla="*/ 158157 w 243924"/>
                <a:gd name="connsiteY71" fmla="*/ 16131 h 90488"/>
                <a:gd name="connsiteX72" fmla="*/ 155797 w 243924"/>
                <a:gd name="connsiteY72" fmla="*/ 13377 h 90488"/>
                <a:gd name="connsiteX73" fmla="*/ 153043 w 243924"/>
                <a:gd name="connsiteY73" fmla="*/ 12196 h 90488"/>
                <a:gd name="connsiteX74" fmla="*/ 152649 w 243924"/>
                <a:gd name="connsiteY74" fmla="*/ 11409 h 90488"/>
                <a:gd name="connsiteX75" fmla="*/ 149502 w 243924"/>
                <a:gd name="connsiteY75" fmla="*/ 11016 h 90488"/>
                <a:gd name="connsiteX76" fmla="*/ 146748 w 243924"/>
                <a:gd name="connsiteY76" fmla="*/ 10623 h 90488"/>
                <a:gd name="connsiteX77" fmla="*/ 143601 w 243924"/>
                <a:gd name="connsiteY77" fmla="*/ 10623 h 90488"/>
                <a:gd name="connsiteX78" fmla="*/ 142814 w 243924"/>
                <a:gd name="connsiteY78" fmla="*/ 13377 h 90488"/>
                <a:gd name="connsiteX79" fmla="*/ 143601 w 243924"/>
                <a:gd name="connsiteY79" fmla="*/ 16131 h 90488"/>
                <a:gd name="connsiteX80" fmla="*/ 146748 w 243924"/>
                <a:gd name="connsiteY80" fmla="*/ 19278 h 90488"/>
                <a:gd name="connsiteX81" fmla="*/ 145961 w 243924"/>
                <a:gd name="connsiteY81" fmla="*/ 22425 h 90488"/>
                <a:gd name="connsiteX82" fmla="*/ 145961 w 243924"/>
                <a:gd name="connsiteY82" fmla="*/ 25179 h 90488"/>
                <a:gd name="connsiteX83" fmla="*/ 145568 w 243924"/>
                <a:gd name="connsiteY83" fmla="*/ 26360 h 90488"/>
                <a:gd name="connsiteX84" fmla="*/ 143994 w 243924"/>
                <a:gd name="connsiteY84" fmla="*/ 23999 h 90488"/>
                <a:gd name="connsiteX85" fmla="*/ 143601 w 243924"/>
                <a:gd name="connsiteY85" fmla="*/ 21245 h 90488"/>
                <a:gd name="connsiteX86" fmla="*/ 142027 w 243924"/>
                <a:gd name="connsiteY86" fmla="*/ 18491 h 90488"/>
                <a:gd name="connsiteX87" fmla="*/ 139273 w 243924"/>
                <a:gd name="connsiteY87" fmla="*/ 16917 h 90488"/>
                <a:gd name="connsiteX88" fmla="*/ 137699 w 243924"/>
                <a:gd name="connsiteY88" fmla="*/ 14163 h 90488"/>
                <a:gd name="connsiteX89" fmla="*/ 135732 w 243924"/>
                <a:gd name="connsiteY89" fmla="*/ 11409 h 90488"/>
                <a:gd name="connsiteX90" fmla="*/ 132585 w 243924"/>
                <a:gd name="connsiteY90" fmla="*/ 9836 h 90488"/>
                <a:gd name="connsiteX91" fmla="*/ 129831 w 243924"/>
                <a:gd name="connsiteY91" fmla="*/ 10229 h 90488"/>
                <a:gd name="connsiteX92" fmla="*/ 129437 w 243924"/>
                <a:gd name="connsiteY92" fmla="*/ 10229 h 90488"/>
                <a:gd name="connsiteX93" fmla="*/ 126290 w 243924"/>
                <a:gd name="connsiteY93" fmla="*/ 11016 h 90488"/>
                <a:gd name="connsiteX94" fmla="*/ 124323 w 243924"/>
                <a:gd name="connsiteY94" fmla="*/ 13377 h 90488"/>
                <a:gd name="connsiteX95" fmla="*/ 123142 w 243924"/>
                <a:gd name="connsiteY95" fmla="*/ 13377 h 90488"/>
                <a:gd name="connsiteX96" fmla="*/ 119995 w 243924"/>
                <a:gd name="connsiteY96" fmla="*/ 13377 h 90488"/>
                <a:gd name="connsiteX97" fmla="*/ 117241 w 243924"/>
                <a:gd name="connsiteY97" fmla="*/ 14950 h 90488"/>
                <a:gd name="connsiteX98" fmla="*/ 116061 w 243924"/>
                <a:gd name="connsiteY98" fmla="*/ 17704 h 90488"/>
                <a:gd name="connsiteX99" fmla="*/ 116847 w 243924"/>
                <a:gd name="connsiteY99" fmla="*/ 20458 h 90488"/>
                <a:gd name="connsiteX100" fmla="*/ 115274 w 243924"/>
                <a:gd name="connsiteY100" fmla="*/ 23606 h 90488"/>
                <a:gd name="connsiteX101" fmla="*/ 114487 w 243924"/>
                <a:gd name="connsiteY101" fmla="*/ 23606 h 90488"/>
                <a:gd name="connsiteX102" fmla="*/ 112520 w 243924"/>
                <a:gd name="connsiteY102" fmla="*/ 23212 h 90488"/>
                <a:gd name="connsiteX103" fmla="*/ 112127 w 243924"/>
                <a:gd name="connsiteY103" fmla="*/ 23212 h 90488"/>
                <a:gd name="connsiteX104" fmla="*/ 104651 w 243924"/>
                <a:gd name="connsiteY104" fmla="*/ 14163 h 90488"/>
                <a:gd name="connsiteX105" fmla="*/ 102291 w 243924"/>
                <a:gd name="connsiteY105" fmla="*/ 12196 h 90488"/>
                <a:gd name="connsiteX106" fmla="*/ 101110 w 243924"/>
                <a:gd name="connsiteY106" fmla="*/ 11803 h 90488"/>
                <a:gd name="connsiteX107" fmla="*/ 97963 w 243924"/>
                <a:gd name="connsiteY107" fmla="*/ 12590 h 90488"/>
                <a:gd name="connsiteX108" fmla="*/ 95209 w 243924"/>
                <a:gd name="connsiteY108" fmla="*/ 14163 h 90488"/>
                <a:gd name="connsiteX109" fmla="*/ 95209 w 243924"/>
                <a:gd name="connsiteY109" fmla="*/ 16917 h 90488"/>
                <a:gd name="connsiteX110" fmla="*/ 95996 w 243924"/>
                <a:gd name="connsiteY110" fmla="*/ 20065 h 90488"/>
                <a:gd name="connsiteX111" fmla="*/ 96389 w 243924"/>
                <a:gd name="connsiteY111" fmla="*/ 22819 h 90488"/>
                <a:gd name="connsiteX112" fmla="*/ 95602 w 243924"/>
                <a:gd name="connsiteY112" fmla="*/ 25573 h 90488"/>
                <a:gd name="connsiteX113" fmla="*/ 94029 w 243924"/>
                <a:gd name="connsiteY113" fmla="*/ 26753 h 90488"/>
                <a:gd name="connsiteX114" fmla="*/ 92062 w 243924"/>
                <a:gd name="connsiteY114" fmla="*/ 29507 h 90488"/>
                <a:gd name="connsiteX115" fmla="*/ 90881 w 243924"/>
                <a:gd name="connsiteY115" fmla="*/ 27933 h 90488"/>
                <a:gd name="connsiteX116" fmla="*/ 90095 w 243924"/>
                <a:gd name="connsiteY116" fmla="*/ 30687 h 90488"/>
                <a:gd name="connsiteX117" fmla="*/ 88128 w 243924"/>
                <a:gd name="connsiteY117" fmla="*/ 30294 h 90488"/>
                <a:gd name="connsiteX118" fmla="*/ 86554 w 243924"/>
                <a:gd name="connsiteY118" fmla="*/ 28327 h 90488"/>
                <a:gd name="connsiteX119" fmla="*/ 84980 w 243924"/>
                <a:gd name="connsiteY119" fmla="*/ 25573 h 90488"/>
                <a:gd name="connsiteX120" fmla="*/ 82226 w 243924"/>
                <a:gd name="connsiteY120" fmla="*/ 26753 h 90488"/>
                <a:gd name="connsiteX121" fmla="*/ 79472 w 243924"/>
                <a:gd name="connsiteY121" fmla="*/ 29114 h 90488"/>
                <a:gd name="connsiteX122" fmla="*/ 77898 w 243924"/>
                <a:gd name="connsiteY122" fmla="*/ 31868 h 90488"/>
                <a:gd name="connsiteX123" fmla="*/ 77505 w 243924"/>
                <a:gd name="connsiteY123" fmla="*/ 34622 h 90488"/>
                <a:gd name="connsiteX124" fmla="*/ 75538 w 243924"/>
                <a:gd name="connsiteY124" fmla="*/ 31868 h 90488"/>
                <a:gd name="connsiteX125" fmla="*/ 75144 w 243924"/>
                <a:gd name="connsiteY125" fmla="*/ 34622 h 90488"/>
                <a:gd name="connsiteX126" fmla="*/ 73571 w 243924"/>
                <a:gd name="connsiteY126" fmla="*/ 37376 h 90488"/>
                <a:gd name="connsiteX127" fmla="*/ 73571 w 243924"/>
                <a:gd name="connsiteY127" fmla="*/ 40523 h 90488"/>
                <a:gd name="connsiteX128" fmla="*/ 73177 w 243924"/>
                <a:gd name="connsiteY128" fmla="*/ 20852 h 90488"/>
                <a:gd name="connsiteX129" fmla="*/ 74358 w 243924"/>
                <a:gd name="connsiteY129" fmla="*/ 19671 h 90488"/>
                <a:gd name="connsiteX130" fmla="*/ 72784 w 243924"/>
                <a:gd name="connsiteY130" fmla="*/ 16917 h 90488"/>
                <a:gd name="connsiteX131" fmla="*/ 71210 w 243924"/>
                <a:gd name="connsiteY131" fmla="*/ 15344 h 90488"/>
                <a:gd name="connsiteX132" fmla="*/ 71603 w 243924"/>
                <a:gd name="connsiteY132" fmla="*/ 14950 h 90488"/>
                <a:gd name="connsiteX133" fmla="*/ 68456 w 243924"/>
                <a:gd name="connsiteY133" fmla="*/ 12983 h 90488"/>
                <a:gd name="connsiteX134" fmla="*/ 68062 w 243924"/>
                <a:gd name="connsiteY134" fmla="*/ 12983 h 90488"/>
                <a:gd name="connsiteX135" fmla="*/ 65309 w 243924"/>
                <a:gd name="connsiteY135" fmla="*/ 10229 h 90488"/>
                <a:gd name="connsiteX136" fmla="*/ 64915 w 243924"/>
                <a:gd name="connsiteY136" fmla="*/ 9836 h 90488"/>
                <a:gd name="connsiteX137" fmla="*/ 62161 w 243924"/>
                <a:gd name="connsiteY137" fmla="*/ 7869 h 90488"/>
                <a:gd name="connsiteX138" fmla="*/ 59407 w 243924"/>
                <a:gd name="connsiteY138" fmla="*/ 7082 h 90488"/>
                <a:gd name="connsiteX139" fmla="*/ 56654 w 243924"/>
                <a:gd name="connsiteY139" fmla="*/ 7082 h 90488"/>
                <a:gd name="connsiteX140" fmla="*/ 55080 w 243924"/>
                <a:gd name="connsiteY140" fmla="*/ 4328 h 90488"/>
                <a:gd name="connsiteX141" fmla="*/ 52325 w 243924"/>
                <a:gd name="connsiteY141" fmla="*/ 3147 h 90488"/>
                <a:gd name="connsiteX142" fmla="*/ 49572 w 243924"/>
                <a:gd name="connsiteY142" fmla="*/ 1967 h 90488"/>
                <a:gd name="connsiteX143" fmla="*/ 46424 w 243924"/>
                <a:gd name="connsiteY143" fmla="*/ 3147 h 90488"/>
                <a:gd name="connsiteX144" fmla="*/ 43277 w 243924"/>
                <a:gd name="connsiteY144" fmla="*/ 1967 h 90488"/>
                <a:gd name="connsiteX145" fmla="*/ 40523 w 243924"/>
                <a:gd name="connsiteY145" fmla="*/ 2754 h 90488"/>
                <a:gd name="connsiteX146" fmla="*/ 37376 w 243924"/>
                <a:gd name="connsiteY146" fmla="*/ 3541 h 90488"/>
                <a:gd name="connsiteX147" fmla="*/ 37376 w 243924"/>
                <a:gd name="connsiteY147" fmla="*/ 6295 h 90488"/>
                <a:gd name="connsiteX148" fmla="*/ 40129 w 243924"/>
                <a:gd name="connsiteY148" fmla="*/ 6688 h 90488"/>
                <a:gd name="connsiteX149" fmla="*/ 42884 w 243924"/>
                <a:gd name="connsiteY149" fmla="*/ 6295 h 90488"/>
                <a:gd name="connsiteX150" fmla="*/ 46031 w 243924"/>
                <a:gd name="connsiteY150" fmla="*/ 7082 h 90488"/>
                <a:gd name="connsiteX151" fmla="*/ 49178 w 243924"/>
                <a:gd name="connsiteY151" fmla="*/ 7869 h 90488"/>
                <a:gd name="connsiteX152" fmla="*/ 51932 w 243924"/>
                <a:gd name="connsiteY152" fmla="*/ 7869 h 90488"/>
                <a:gd name="connsiteX153" fmla="*/ 49178 w 243924"/>
                <a:gd name="connsiteY153" fmla="*/ 8262 h 90488"/>
                <a:gd name="connsiteX154" fmla="*/ 46424 w 243924"/>
                <a:gd name="connsiteY154" fmla="*/ 8262 h 90488"/>
                <a:gd name="connsiteX155" fmla="*/ 43277 w 243924"/>
                <a:gd name="connsiteY155" fmla="*/ 7869 h 90488"/>
                <a:gd name="connsiteX156" fmla="*/ 40523 w 243924"/>
                <a:gd name="connsiteY156" fmla="*/ 10623 h 90488"/>
                <a:gd name="connsiteX157" fmla="*/ 43277 w 243924"/>
                <a:gd name="connsiteY157" fmla="*/ 11803 h 90488"/>
                <a:gd name="connsiteX158" fmla="*/ 46031 w 243924"/>
                <a:gd name="connsiteY158" fmla="*/ 12196 h 90488"/>
                <a:gd name="connsiteX159" fmla="*/ 48785 w 243924"/>
                <a:gd name="connsiteY159" fmla="*/ 15344 h 90488"/>
                <a:gd name="connsiteX160" fmla="*/ 48785 w 243924"/>
                <a:gd name="connsiteY160" fmla="*/ 16917 h 90488"/>
                <a:gd name="connsiteX161" fmla="*/ 47211 w 243924"/>
                <a:gd name="connsiteY161" fmla="*/ 18098 h 90488"/>
                <a:gd name="connsiteX162" fmla="*/ 45637 w 243924"/>
                <a:gd name="connsiteY162" fmla="*/ 18098 h 90488"/>
                <a:gd name="connsiteX163" fmla="*/ 43277 w 243924"/>
                <a:gd name="connsiteY163" fmla="*/ 20852 h 90488"/>
                <a:gd name="connsiteX164" fmla="*/ 43277 w 243924"/>
                <a:gd name="connsiteY164" fmla="*/ 20065 h 90488"/>
                <a:gd name="connsiteX165" fmla="*/ 45244 w 243924"/>
                <a:gd name="connsiteY165" fmla="*/ 16917 h 90488"/>
                <a:gd name="connsiteX166" fmla="*/ 43670 w 243924"/>
                <a:gd name="connsiteY166" fmla="*/ 14163 h 90488"/>
                <a:gd name="connsiteX167" fmla="*/ 40523 w 243924"/>
                <a:gd name="connsiteY167" fmla="*/ 15737 h 90488"/>
                <a:gd name="connsiteX168" fmla="*/ 37769 w 243924"/>
                <a:gd name="connsiteY168" fmla="*/ 17311 h 90488"/>
                <a:gd name="connsiteX169" fmla="*/ 38556 w 243924"/>
                <a:gd name="connsiteY169" fmla="*/ 14163 h 90488"/>
                <a:gd name="connsiteX170" fmla="*/ 35408 w 243924"/>
                <a:gd name="connsiteY170" fmla="*/ 15737 h 90488"/>
                <a:gd name="connsiteX171" fmla="*/ 37376 w 243924"/>
                <a:gd name="connsiteY171" fmla="*/ 12983 h 90488"/>
                <a:gd name="connsiteX172" fmla="*/ 34228 w 243924"/>
                <a:gd name="connsiteY172" fmla="*/ 11409 h 90488"/>
                <a:gd name="connsiteX173" fmla="*/ 31474 w 243924"/>
                <a:gd name="connsiteY173" fmla="*/ 10229 h 90488"/>
                <a:gd name="connsiteX174" fmla="*/ 28327 w 243924"/>
                <a:gd name="connsiteY174" fmla="*/ 9836 h 90488"/>
                <a:gd name="connsiteX175" fmla="*/ 25573 w 243924"/>
                <a:gd name="connsiteY175" fmla="*/ 10229 h 90488"/>
                <a:gd name="connsiteX176" fmla="*/ 25179 w 243924"/>
                <a:gd name="connsiteY176" fmla="*/ 11409 h 90488"/>
                <a:gd name="connsiteX177" fmla="*/ 25179 w 243924"/>
                <a:gd name="connsiteY177" fmla="*/ 11803 h 90488"/>
                <a:gd name="connsiteX178" fmla="*/ 24392 w 243924"/>
                <a:gd name="connsiteY178" fmla="*/ 14557 h 90488"/>
                <a:gd name="connsiteX179" fmla="*/ 22032 w 243924"/>
                <a:gd name="connsiteY179" fmla="*/ 14163 h 90488"/>
                <a:gd name="connsiteX180" fmla="*/ 19278 w 243924"/>
                <a:gd name="connsiteY180" fmla="*/ 13377 h 90488"/>
                <a:gd name="connsiteX181" fmla="*/ 19278 w 243924"/>
                <a:gd name="connsiteY181" fmla="*/ 16524 h 90488"/>
                <a:gd name="connsiteX182" fmla="*/ 22032 w 243924"/>
                <a:gd name="connsiteY182" fmla="*/ 18491 h 90488"/>
                <a:gd name="connsiteX183" fmla="*/ 23606 w 243924"/>
                <a:gd name="connsiteY183" fmla="*/ 18491 h 90488"/>
                <a:gd name="connsiteX184" fmla="*/ 23212 w 243924"/>
                <a:gd name="connsiteY184" fmla="*/ 19671 h 90488"/>
                <a:gd name="connsiteX185" fmla="*/ 22032 w 243924"/>
                <a:gd name="connsiteY185" fmla="*/ 19278 h 90488"/>
                <a:gd name="connsiteX186" fmla="*/ 19278 w 243924"/>
                <a:gd name="connsiteY186" fmla="*/ 18491 h 90488"/>
                <a:gd name="connsiteX187" fmla="*/ 16130 w 243924"/>
                <a:gd name="connsiteY187" fmla="*/ 20852 h 90488"/>
                <a:gd name="connsiteX188" fmla="*/ 19278 w 243924"/>
                <a:gd name="connsiteY188" fmla="*/ 22425 h 90488"/>
                <a:gd name="connsiteX189" fmla="*/ 22032 w 243924"/>
                <a:gd name="connsiteY189" fmla="*/ 23212 h 90488"/>
                <a:gd name="connsiteX190" fmla="*/ 22032 w 243924"/>
                <a:gd name="connsiteY190" fmla="*/ 23212 h 90488"/>
                <a:gd name="connsiteX191" fmla="*/ 22032 w 243924"/>
                <a:gd name="connsiteY191" fmla="*/ 24392 h 90488"/>
                <a:gd name="connsiteX192" fmla="*/ 20851 w 243924"/>
                <a:gd name="connsiteY192" fmla="*/ 25179 h 90488"/>
                <a:gd name="connsiteX193" fmla="*/ 20851 w 243924"/>
                <a:gd name="connsiteY193" fmla="*/ 25179 h 90488"/>
                <a:gd name="connsiteX194" fmla="*/ 18098 w 243924"/>
                <a:gd name="connsiteY194" fmla="*/ 23999 h 90488"/>
                <a:gd name="connsiteX195" fmla="*/ 14950 w 243924"/>
                <a:gd name="connsiteY195" fmla="*/ 22819 h 90488"/>
                <a:gd name="connsiteX196" fmla="*/ 11803 w 243924"/>
                <a:gd name="connsiteY196" fmla="*/ 22032 h 90488"/>
                <a:gd name="connsiteX197" fmla="*/ 9049 w 243924"/>
                <a:gd name="connsiteY197" fmla="*/ 22425 h 90488"/>
                <a:gd name="connsiteX198" fmla="*/ 11016 w 243924"/>
                <a:gd name="connsiteY198" fmla="*/ 25573 h 90488"/>
                <a:gd name="connsiteX199" fmla="*/ 13770 w 243924"/>
                <a:gd name="connsiteY199" fmla="*/ 26753 h 90488"/>
                <a:gd name="connsiteX200" fmla="*/ 11016 w 243924"/>
                <a:gd name="connsiteY200" fmla="*/ 27933 h 90488"/>
                <a:gd name="connsiteX201" fmla="*/ 13770 w 243924"/>
                <a:gd name="connsiteY201" fmla="*/ 29507 h 90488"/>
                <a:gd name="connsiteX202" fmla="*/ 11016 w 243924"/>
                <a:gd name="connsiteY202" fmla="*/ 28720 h 90488"/>
                <a:gd name="connsiteX203" fmla="*/ 7869 w 243924"/>
                <a:gd name="connsiteY203" fmla="*/ 27933 h 90488"/>
                <a:gd name="connsiteX204" fmla="*/ 5114 w 243924"/>
                <a:gd name="connsiteY204" fmla="*/ 26753 h 90488"/>
                <a:gd name="connsiteX205" fmla="*/ 1967 w 243924"/>
                <a:gd name="connsiteY205" fmla="*/ 27933 h 90488"/>
                <a:gd name="connsiteX206" fmla="*/ 0 w 243924"/>
                <a:gd name="connsiteY206" fmla="*/ 30687 h 90488"/>
                <a:gd name="connsiteX207" fmla="*/ 5901 w 243924"/>
                <a:gd name="connsiteY207" fmla="*/ 30687 h 90488"/>
                <a:gd name="connsiteX208" fmla="*/ 9049 w 243924"/>
                <a:gd name="connsiteY208" fmla="*/ 31474 h 90488"/>
                <a:gd name="connsiteX209" fmla="*/ 11803 w 243924"/>
                <a:gd name="connsiteY209" fmla="*/ 33441 h 90488"/>
                <a:gd name="connsiteX210" fmla="*/ 14163 w 243924"/>
                <a:gd name="connsiteY210" fmla="*/ 33048 h 90488"/>
                <a:gd name="connsiteX211" fmla="*/ 15737 w 243924"/>
                <a:gd name="connsiteY211" fmla="*/ 32261 h 90488"/>
                <a:gd name="connsiteX212" fmla="*/ 20065 w 243924"/>
                <a:gd name="connsiteY212" fmla="*/ 31474 h 90488"/>
                <a:gd name="connsiteX213" fmla="*/ 20065 w 243924"/>
                <a:gd name="connsiteY213" fmla="*/ 31474 h 90488"/>
                <a:gd name="connsiteX214" fmla="*/ 20458 w 243924"/>
                <a:gd name="connsiteY214" fmla="*/ 31474 h 90488"/>
                <a:gd name="connsiteX215" fmla="*/ 23999 w 243924"/>
                <a:gd name="connsiteY215" fmla="*/ 30294 h 90488"/>
                <a:gd name="connsiteX216" fmla="*/ 25966 w 243924"/>
                <a:gd name="connsiteY216" fmla="*/ 31081 h 90488"/>
                <a:gd name="connsiteX217" fmla="*/ 27147 w 243924"/>
                <a:gd name="connsiteY217" fmla="*/ 29507 h 90488"/>
                <a:gd name="connsiteX218" fmla="*/ 30687 w 243924"/>
                <a:gd name="connsiteY218" fmla="*/ 28720 h 90488"/>
                <a:gd name="connsiteX219" fmla="*/ 31867 w 243924"/>
                <a:gd name="connsiteY219" fmla="*/ 29507 h 90488"/>
                <a:gd name="connsiteX220" fmla="*/ 34621 w 243924"/>
                <a:gd name="connsiteY220" fmla="*/ 27933 h 90488"/>
                <a:gd name="connsiteX221" fmla="*/ 35015 w 243924"/>
                <a:gd name="connsiteY221" fmla="*/ 28327 h 90488"/>
                <a:gd name="connsiteX222" fmla="*/ 36195 w 243924"/>
                <a:gd name="connsiteY222" fmla="*/ 28327 h 90488"/>
                <a:gd name="connsiteX223" fmla="*/ 37769 w 243924"/>
                <a:gd name="connsiteY223" fmla="*/ 28327 h 90488"/>
                <a:gd name="connsiteX224" fmla="*/ 38162 w 243924"/>
                <a:gd name="connsiteY224" fmla="*/ 30294 h 90488"/>
                <a:gd name="connsiteX225" fmla="*/ 41310 w 243924"/>
                <a:gd name="connsiteY225" fmla="*/ 29114 h 90488"/>
                <a:gd name="connsiteX226" fmla="*/ 41310 w 243924"/>
                <a:gd name="connsiteY226" fmla="*/ 29114 h 90488"/>
                <a:gd name="connsiteX227" fmla="*/ 44064 w 243924"/>
                <a:gd name="connsiteY227" fmla="*/ 29507 h 90488"/>
                <a:gd name="connsiteX228" fmla="*/ 44457 w 243924"/>
                <a:gd name="connsiteY228" fmla="*/ 30294 h 90488"/>
                <a:gd name="connsiteX229" fmla="*/ 46818 w 243924"/>
                <a:gd name="connsiteY229" fmla="*/ 29900 h 90488"/>
                <a:gd name="connsiteX230" fmla="*/ 49572 w 243924"/>
                <a:gd name="connsiteY230" fmla="*/ 30294 h 90488"/>
                <a:gd name="connsiteX231" fmla="*/ 46818 w 243924"/>
                <a:gd name="connsiteY231" fmla="*/ 31474 h 90488"/>
                <a:gd name="connsiteX232" fmla="*/ 49965 w 243924"/>
                <a:gd name="connsiteY232" fmla="*/ 32654 h 90488"/>
                <a:gd name="connsiteX233" fmla="*/ 51932 w 243924"/>
                <a:gd name="connsiteY233" fmla="*/ 30687 h 90488"/>
                <a:gd name="connsiteX234" fmla="*/ 53899 w 243924"/>
                <a:gd name="connsiteY234" fmla="*/ 30687 h 90488"/>
                <a:gd name="connsiteX235" fmla="*/ 55473 w 243924"/>
                <a:gd name="connsiteY235" fmla="*/ 32261 h 90488"/>
                <a:gd name="connsiteX236" fmla="*/ 58621 w 243924"/>
                <a:gd name="connsiteY236" fmla="*/ 32654 h 90488"/>
                <a:gd name="connsiteX237" fmla="*/ 61768 w 243924"/>
                <a:gd name="connsiteY237" fmla="*/ 31868 h 90488"/>
                <a:gd name="connsiteX238" fmla="*/ 60588 w 243924"/>
                <a:gd name="connsiteY238" fmla="*/ 32654 h 90488"/>
                <a:gd name="connsiteX239" fmla="*/ 57440 w 243924"/>
                <a:gd name="connsiteY239" fmla="*/ 32654 h 90488"/>
                <a:gd name="connsiteX240" fmla="*/ 54686 w 243924"/>
                <a:gd name="connsiteY240" fmla="*/ 33835 h 90488"/>
                <a:gd name="connsiteX241" fmla="*/ 51539 w 243924"/>
                <a:gd name="connsiteY241" fmla="*/ 35015 h 90488"/>
                <a:gd name="connsiteX242" fmla="*/ 48785 w 243924"/>
                <a:gd name="connsiteY242" fmla="*/ 36195 h 90488"/>
                <a:gd name="connsiteX243" fmla="*/ 45637 w 243924"/>
                <a:gd name="connsiteY243" fmla="*/ 36589 h 90488"/>
                <a:gd name="connsiteX244" fmla="*/ 42884 w 243924"/>
                <a:gd name="connsiteY244" fmla="*/ 38556 h 90488"/>
                <a:gd name="connsiteX245" fmla="*/ 40129 w 243924"/>
                <a:gd name="connsiteY245" fmla="*/ 40523 h 90488"/>
                <a:gd name="connsiteX246" fmla="*/ 42884 w 243924"/>
                <a:gd name="connsiteY246" fmla="*/ 40523 h 90488"/>
                <a:gd name="connsiteX247" fmla="*/ 46031 w 243924"/>
                <a:gd name="connsiteY247" fmla="*/ 41703 h 90488"/>
                <a:gd name="connsiteX248" fmla="*/ 48785 w 243924"/>
                <a:gd name="connsiteY248" fmla="*/ 41703 h 90488"/>
                <a:gd name="connsiteX249" fmla="*/ 51539 w 243924"/>
                <a:gd name="connsiteY249" fmla="*/ 42097 h 90488"/>
                <a:gd name="connsiteX250" fmla="*/ 54686 w 243924"/>
                <a:gd name="connsiteY250" fmla="*/ 40916 h 90488"/>
                <a:gd name="connsiteX251" fmla="*/ 51932 w 243924"/>
                <a:gd name="connsiteY251" fmla="*/ 44457 h 90488"/>
                <a:gd name="connsiteX252" fmla="*/ 51539 w 243924"/>
                <a:gd name="connsiteY252" fmla="*/ 44457 h 90488"/>
                <a:gd name="connsiteX253" fmla="*/ 48391 w 243924"/>
                <a:gd name="connsiteY253" fmla="*/ 44457 h 90488"/>
                <a:gd name="connsiteX254" fmla="*/ 45244 w 243924"/>
                <a:gd name="connsiteY254" fmla="*/ 44064 h 90488"/>
                <a:gd name="connsiteX255" fmla="*/ 42490 w 243924"/>
                <a:gd name="connsiteY255" fmla="*/ 43670 h 90488"/>
                <a:gd name="connsiteX256" fmla="*/ 39736 w 243924"/>
                <a:gd name="connsiteY256" fmla="*/ 43670 h 90488"/>
                <a:gd name="connsiteX257" fmla="*/ 36588 w 243924"/>
                <a:gd name="connsiteY257" fmla="*/ 45637 h 90488"/>
                <a:gd name="connsiteX258" fmla="*/ 33835 w 243924"/>
                <a:gd name="connsiteY258" fmla="*/ 43670 h 90488"/>
                <a:gd name="connsiteX259" fmla="*/ 31081 w 243924"/>
                <a:gd name="connsiteY259" fmla="*/ 45637 h 90488"/>
                <a:gd name="connsiteX260" fmla="*/ 28327 w 243924"/>
                <a:gd name="connsiteY260" fmla="*/ 45244 h 90488"/>
                <a:gd name="connsiteX261" fmla="*/ 25179 w 243924"/>
                <a:gd name="connsiteY261" fmla="*/ 47605 h 90488"/>
                <a:gd name="connsiteX262" fmla="*/ 24392 w 243924"/>
                <a:gd name="connsiteY262" fmla="*/ 44851 h 90488"/>
                <a:gd name="connsiteX263" fmla="*/ 21245 w 243924"/>
                <a:gd name="connsiteY263" fmla="*/ 46818 h 90488"/>
                <a:gd name="connsiteX264" fmla="*/ 18098 w 243924"/>
                <a:gd name="connsiteY264" fmla="*/ 46818 h 90488"/>
                <a:gd name="connsiteX265" fmla="*/ 14950 w 243924"/>
                <a:gd name="connsiteY265" fmla="*/ 47605 h 90488"/>
                <a:gd name="connsiteX266" fmla="*/ 12196 w 243924"/>
                <a:gd name="connsiteY266" fmla="*/ 48785 h 90488"/>
                <a:gd name="connsiteX267" fmla="*/ 9442 w 243924"/>
                <a:gd name="connsiteY267" fmla="*/ 47605 h 90488"/>
                <a:gd name="connsiteX268" fmla="*/ 6295 w 243924"/>
                <a:gd name="connsiteY268" fmla="*/ 47605 h 90488"/>
                <a:gd name="connsiteX269" fmla="*/ 3541 w 243924"/>
                <a:gd name="connsiteY269" fmla="*/ 49965 h 90488"/>
                <a:gd name="connsiteX270" fmla="*/ 5114 w 243924"/>
                <a:gd name="connsiteY270" fmla="*/ 52719 h 90488"/>
                <a:gd name="connsiteX271" fmla="*/ 7869 w 243924"/>
                <a:gd name="connsiteY271" fmla="*/ 53506 h 90488"/>
                <a:gd name="connsiteX272" fmla="*/ 11016 w 243924"/>
                <a:gd name="connsiteY272" fmla="*/ 53506 h 90488"/>
                <a:gd name="connsiteX273" fmla="*/ 13770 w 243924"/>
                <a:gd name="connsiteY273" fmla="*/ 51145 h 90488"/>
                <a:gd name="connsiteX274" fmla="*/ 16524 w 243924"/>
                <a:gd name="connsiteY274" fmla="*/ 51539 h 90488"/>
                <a:gd name="connsiteX275" fmla="*/ 19278 w 243924"/>
                <a:gd name="connsiteY275" fmla="*/ 50752 h 90488"/>
                <a:gd name="connsiteX276" fmla="*/ 22425 w 243924"/>
                <a:gd name="connsiteY276" fmla="*/ 51145 h 90488"/>
                <a:gd name="connsiteX277" fmla="*/ 25573 w 243924"/>
                <a:gd name="connsiteY277" fmla="*/ 51539 h 90488"/>
                <a:gd name="connsiteX278" fmla="*/ 31081 w 243924"/>
                <a:gd name="connsiteY278" fmla="*/ 51539 h 90488"/>
                <a:gd name="connsiteX279" fmla="*/ 34228 w 243924"/>
                <a:gd name="connsiteY279" fmla="*/ 52719 h 90488"/>
                <a:gd name="connsiteX280" fmla="*/ 37376 w 243924"/>
                <a:gd name="connsiteY280" fmla="*/ 51539 h 90488"/>
                <a:gd name="connsiteX281" fmla="*/ 40129 w 243924"/>
                <a:gd name="connsiteY281" fmla="*/ 51539 h 90488"/>
                <a:gd name="connsiteX282" fmla="*/ 42096 w 243924"/>
                <a:gd name="connsiteY282" fmla="*/ 54293 h 90488"/>
                <a:gd name="connsiteX283" fmla="*/ 44851 w 243924"/>
                <a:gd name="connsiteY283" fmla="*/ 53506 h 90488"/>
                <a:gd name="connsiteX284" fmla="*/ 44457 w 243924"/>
                <a:gd name="connsiteY284" fmla="*/ 53899 h 90488"/>
                <a:gd name="connsiteX285" fmla="*/ 41310 w 243924"/>
                <a:gd name="connsiteY285" fmla="*/ 55080 h 90488"/>
                <a:gd name="connsiteX286" fmla="*/ 39736 w 243924"/>
                <a:gd name="connsiteY286" fmla="*/ 57834 h 90488"/>
                <a:gd name="connsiteX287" fmla="*/ 42490 w 243924"/>
                <a:gd name="connsiteY287" fmla="*/ 59014 h 90488"/>
                <a:gd name="connsiteX288" fmla="*/ 43277 w 243924"/>
                <a:gd name="connsiteY288" fmla="*/ 61768 h 90488"/>
                <a:gd name="connsiteX289" fmla="*/ 49965 w 243924"/>
                <a:gd name="connsiteY289" fmla="*/ 58621 h 90488"/>
                <a:gd name="connsiteX290" fmla="*/ 54293 w 243924"/>
                <a:gd name="connsiteY290" fmla="*/ 57047 h 90488"/>
                <a:gd name="connsiteX291" fmla="*/ 58621 w 243924"/>
                <a:gd name="connsiteY291" fmla="*/ 55867 h 90488"/>
                <a:gd name="connsiteX292" fmla="*/ 59407 w 243924"/>
                <a:gd name="connsiteY292" fmla="*/ 55867 h 90488"/>
                <a:gd name="connsiteX293" fmla="*/ 57440 w 243924"/>
                <a:gd name="connsiteY293" fmla="*/ 57834 h 90488"/>
                <a:gd name="connsiteX294" fmla="*/ 57440 w 243924"/>
                <a:gd name="connsiteY294" fmla="*/ 57834 h 90488"/>
                <a:gd name="connsiteX295" fmla="*/ 54686 w 243924"/>
                <a:gd name="connsiteY295" fmla="*/ 57440 h 90488"/>
                <a:gd name="connsiteX296" fmla="*/ 52719 w 243924"/>
                <a:gd name="connsiteY296" fmla="*/ 58621 h 90488"/>
                <a:gd name="connsiteX297" fmla="*/ 49572 w 243924"/>
                <a:gd name="connsiteY297" fmla="*/ 59801 h 90488"/>
                <a:gd name="connsiteX298" fmla="*/ 47605 w 243924"/>
                <a:gd name="connsiteY298" fmla="*/ 60981 h 90488"/>
                <a:gd name="connsiteX299" fmla="*/ 46818 w 243924"/>
                <a:gd name="connsiteY299" fmla="*/ 63735 h 90488"/>
                <a:gd name="connsiteX300" fmla="*/ 49965 w 243924"/>
                <a:gd name="connsiteY300" fmla="*/ 63735 h 90488"/>
                <a:gd name="connsiteX301" fmla="*/ 46818 w 243924"/>
                <a:gd name="connsiteY301" fmla="*/ 64522 h 90488"/>
                <a:gd name="connsiteX302" fmla="*/ 44064 w 243924"/>
                <a:gd name="connsiteY302" fmla="*/ 66096 h 90488"/>
                <a:gd name="connsiteX303" fmla="*/ 46818 w 243924"/>
                <a:gd name="connsiteY303" fmla="*/ 66489 h 90488"/>
                <a:gd name="connsiteX304" fmla="*/ 49572 w 243924"/>
                <a:gd name="connsiteY304" fmla="*/ 65702 h 90488"/>
                <a:gd name="connsiteX305" fmla="*/ 52719 w 243924"/>
                <a:gd name="connsiteY305" fmla="*/ 63735 h 90488"/>
                <a:gd name="connsiteX306" fmla="*/ 55473 w 243924"/>
                <a:gd name="connsiteY306" fmla="*/ 63342 h 90488"/>
                <a:gd name="connsiteX307" fmla="*/ 58621 w 243924"/>
                <a:gd name="connsiteY307" fmla="*/ 64129 h 90488"/>
                <a:gd name="connsiteX308" fmla="*/ 56654 w 243924"/>
                <a:gd name="connsiteY308" fmla="*/ 64522 h 90488"/>
                <a:gd name="connsiteX309" fmla="*/ 53899 w 243924"/>
                <a:gd name="connsiteY309" fmla="*/ 64915 h 90488"/>
                <a:gd name="connsiteX310" fmla="*/ 51145 w 243924"/>
                <a:gd name="connsiteY310" fmla="*/ 66096 h 90488"/>
                <a:gd name="connsiteX311" fmla="*/ 47998 w 243924"/>
                <a:gd name="connsiteY311" fmla="*/ 68456 h 90488"/>
                <a:gd name="connsiteX312" fmla="*/ 50752 w 243924"/>
                <a:gd name="connsiteY312" fmla="*/ 70423 h 90488"/>
                <a:gd name="connsiteX313" fmla="*/ 44851 w 243924"/>
                <a:gd name="connsiteY313" fmla="*/ 70423 h 90488"/>
                <a:gd name="connsiteX314" fmla="*/ 44064 w 243924"/>
                <a:gd name="connsiteY314" fmla="*/ 70817 h 90488"/>
                <a:gd name="connsiteX315" fmla="*/ 44457 w 243924"/>
                <a:gd name="connsiteY315" fmla="*/ 73571 h 90488"/>
                <a:gd name="connsiteX316" fmla="*/ 41310 w 243924"/>
                <a:gd name="connsiteY316" fmla="*/ 73964 h 90488"/>
                <a:gd name="connsiteX317" fmla="*/ 38556 w 243924"/>
                <a:gd name="connsiteY317" fmla="*/ 74751 h 90488"/>
                <a:gd name="connsiteX318" fmla="*/ 35408 w 243924"/>
                <a:gd name="connsiteY318" fmla="*/ 75144 h 90488"/>
                <a:gd name="connsiteX319" fmla="*/ 32261 w 243924"/>
                <a:gd name="connsiteY319" fmla="*/ 75931 h 90488"/>
                <a:gd name="connsiteX320" fmla="*/ 29507 w 243924"/>
                <a:gd name="connsiteY320" fmla="*/ 73571 h 90488"/>
                <a:gd name="connsiteX321" fmla="*/ 26753 w 243924"/>
                <a:gd name="connsiteY321" fmla="*/ 75538 h 90488"/>
                <a:gd name="connsiteX322" fmla="*/ 26359 w 243924"/>
                <a:gd name="connsiteY322" fmla="*/ 78685 h 90488"/>
                <a:gd name="connsiteX323" fmla="*/ 26359 w 243924"/>
                <a:gd name="connsiteY323" fmla="*/ 81439 h 90488"/>
                <a:gd name="connsiteX324" fmla="*/ 29114 w 243924"/>
                <a:gd name="connsiteY324" fmla="*/ 81046 h 90488"/>
                <a:gd name="connsiteX325" fmla="*/ 32261 w 243924"/>
                <a:gd name="connsiteY325" fmla="*/ 80259 h 90488"/>
                <a:gd name="connsiteX326" fmla="*/ 35015 w 243924"/>
                <a:gd name="connsiteY326" fmla="*/ 79866 h 90488"/>
                <a:gd name="connsiteX327" fmla="*/ 38162 w 243924"/>
                <a:gd name="connsiteY327" fmla="*/ 80259 h 90488"/>
                <a:gd name="connsiteX328" fmla="*/ 40916 w 243924"/>
                <a:gd name="connsiteY328" fmla="*/ 80652 h 90488"/>
                <a:gd name="connsiteX329" fmla="*/ 43670 w 243924"/>
                <a:gd name="connsiteY329" fmla="*/ 80259 h 90488"/>
                <a:gd name="connsiteX330" fmla="*/ 50358 w 243924"/>
                <a:gd name="connsiteY330" fmla="*/ 80259 h 90488"/>
                <a:gd name="connsiteX331" fmla="*/ 51539 w 243924"/>
                <a:gd name="connsiteY331" fmla="*/ 80652 h 90488"/>
                <a:gd name="connsiteX332" fmla="*/ 54293 w 243924"/>
                <a:gd name="connsiteY332" fmla="*/ 80259 h 90488"/>
                <a:gd name="connsiteX333" fmla="*/ 57440 w 243924"/>
                <a:gd name="connsiteY333" fmla="*/ 79866 h 90488"/>
                <a:gd name="connsiteX334" fmla="*/ 65309 w 243924"/>
                <a:gd name="connsiteY334" fmla="*/ 77112 h 90488"/>
                <a:gd name="connsiteX335" fmla="*/ 64522 w 243924"/>
                <a:gd name="connsiteY335" fmla="*/ 77505 h 90488"/>
                <a:gd name="connsiteX336" fmla="*/ 63735 w 243924"/>
                <a:gd name="connsiteY336" fmla="*/ 80259 h 90488"/>
                <a:gd name="connsiteX337" fmla="*/ 66489 w 243924"/>
                <a:gd name="connsiteY337" fmla="*/ 81046 h 90488"/>
                <a:gd name="connsiteX338" fmla="*/ 69636 w 243924"/>
                <a:gd name="connsiteY338" fmla="*/ 81833 h 90488"/>
                <a:gd name="connsiteX339" fmla="*/ 72784 w 243924"/>
                <a:gd name="connsiteY339" fmla="*/ 79472 h 90488"/>
                <a:gd name="connsiteX340" fmla="*/ 73177 w 243924"/>
                <a:gd name="connsiteY340" fmla="*/ 79866 h 90488"/>
                <a:gd name="connsiteX341" fmla="*/ 73177 w 243924"/>
                <a:gd name="connsiteY341" fmla="*/ 83013 h 90488"/>
                <a:gd name="connsiteX342" fmla="*/ 70423 w 243924"/>
                <a:gd name="connsiteY342" fmla="*/ 82620 h 90488"/>
                <a:gd name="connsiteX343" fmla="*/ 73177 w 243924"/>
                <a:gd name="connsiteY343" fmla="*/ 83800 h 90488"/>
                <a:gd name="connsiteX344" fmla="*/ 75931 w 243924"/>
                <a:gd name="connsiteY344" fmla="*/ 82620 h 90488"/>
                <a:gd name="connsiteX345" fmla="*/ 79079 w 243924"/>
                <a:gd name="connsiteY345" fmla="*/ 80259 h 90488"/>
                <a:gd name="connsiteX346" fmla="*/ 79079 w 243924"/>
                <a:gd name="connsiteY346" fmla="*/ 80652 h 90488"/>
                <a:gd name="connsiteX347" fmla="*/ 80652 w 243924"/>
                <a:gd name="connsiteY347" fmla="*/ 83800 h 90488"/>
                <a:gd name="connsiteX348" fmla="*/ 79865 w 243924"/>
                <a:gd name="connsiteY348" fmla="*/ 83406 h 90488"/>
                <a:gd name="connsiteX349" fmla="*/ 76718 w 243924"/>
                <a:gd name="connsiteY349" fmla="*/ 84587 h 90488"/>
                <a:gd name="connsiteX350" fmla="*/ 79079 w 243924"/>
                <a:gd name="connsiteY350" fmla="*/ 87734 h 90488"/>
                <a:gd name="connsiteX351" fmla="*/ 81832 w 243924"/>
                <a:gd name="connsiteY351" fmla="*/ 89308 h 90488"/>
                <a:gd name="connsiteX352" fmla="*/ 84980 w 243924"/>
                <a:gd name="connsiteY352" fmla="*/ 89308 h 90488"/>
                <a:gd name="connsiteX353" fmla="*/ 84980 w 243924"/>
                <a:gd name="connsiteY353" fmla="*/ 89308 h 90488"/>
                <a:gd name="connsiteX354" fmla="*/ 86554 w 243924"/>
                <a:gd name="connsiteY354" fmla="*/ 89308 h 90488"/>
                <a:gd name="connsiteX355" fmla="*/ 99930 w 243924"/>
                <a:gd name="connsiteY355" fmla="*/ 92062 h 90488"/>
                <a:gd name="connsiteX356" fmla="*/ 102291 w 243924"/>
                <a:gd name="connsiteY356" fmla="*/ 92455 h 90488"/>
                <a:gd name="connsiteX357" fmla="*/ 105045 w 243924"/>
                <a:gd name="connsiteY357" fmla="*/ 93242 h 90488"/>
                <a:gd name="connsiteX358" fmla="*/ 108192 w 243924"/>
                <a:gd name="connsiteY358" fmla="*/ 93242 h 90488"/>
                <a:gd name="connsiteX359" fmla="*/ 110946 w 243924"/>
                <a:gd name="connsiteY359" fmla="*/ 93242 h 90488"/>
                <a:gd name="connsiteX360" fmla="*/ 113700 w 243924"/>
                <a:gd name="connsiteY360" fmla="*/ 94029 h 90488"/>
                <a:gd name="connsiteX361" fmla="*/ 116454 w 243924"/>
                <a:gd name="connsiteY361" fmla="*/ 93635 h 90488"/>
                <a:gd name="connsiteX362" fmla="*/ 119602 w 243924"/>
                <a:gd name="connsiteY362" fmla="*/ 93242 h 90488"/>
                <a:gd name="connsiteX363" fmla="*/ 122356 w 243924"/>
                <a:gd name="connsiteY363" fmla="*/ 92455 h 90488"/>
                <a:gd name="connsiteX364" fmla="*/ 125503 w 243924"/>
                <a:gd name="connsiteY364" fmla="*/ 92062 h 90488"/>
                <a:gd name="connsiteX365" fmla="*/ 128257 w 243924"/>
                <a:gd name="connsiteY365" fmla="*/ 91668 h 90488"/>
                <a:gd name="connsiteX366" fmla="*/ 128257 w 243924"/>
                <a:gd name="connsiteY366" fmla="*/ 91668 h 90488"/>
                <a:gd name="connsiteX367" fmla="*/ 130617 w 243924"/>
                <a:gd name="connsiteY367" fmla="*/ 90882 h 90488"/>
                <a:gd name="connsiteX368" fmla="*/ 133765 w 243924"/>
                <a:gd name="connsiteY368" fmla="*/ 90095 h 90488"/>
                <a:gd name="connsiteX369" fmla="*/ 136519 w 243924"/>
                <a:gd name="connsiteY369" fmla="*/ 87341 h 90488"/>
                <a:gd name="connsiteX370" fmla="*/ 134945 w 243924"/>
                <a:gd name="connsiteY370" fmla="*/ 86947 h 90488"/>
                <a:gd name="connsiteX371" fmla="*/ 137306 w 243924"/>
                <a:gd name="connsiteY371" fmla="*/ 85767 h 90488"/>
                <a:gd name="connsiteX372" fmla="*/ 146748 w 243924"/>
                <a:gd name="connsiteY372" fmla="*/ 83013 h 90488"/>
                <a:gd name="connsiteX373" fmla="*/ 148715 w 243924"/>
                <a:gd name="connsiteY373" fmla="*/ 82226 h 90488"/>
                <a:gd name="connsiteX374" fmla="*/ 150682 w 243924"/>
                <a:gd name="connsiteY374" fmla="*/ 82226 h 90488"/>
                <a:gd name="connsiteX375" fmla="*/ 151469 w 243924"/>
                <a:gd name="connsiteY375" fmla="*/ 81833 h 90488"/>
                <a:gd name="connsiteX376" fmla="*/ 154616 w 243924"/>
                <a:gd name="connsiteY376" fmla="*/ 81833 h 90488"/>
                <a:gd name="connsiteX377" fmla="*/ 157764 w 243924"/>
                <a:gd name="connsiteY377" fmla="*/ 81046 h 90488"/>
                <a:gd name="connsiteX378" fmla="*/ 159338 w 243924"/>
                <a:gd name="connsiteY378" fmla="*/ 77898 h 90488"/>
                <a:gd name="connsiteX379" fmla="*/ 159731 w 243924"/>
                <a:gd name="connsiteY379" fmla="*/ 78685 h 90488"/>
                <a:gd name="connsiteX380" fmla="*/ 160124 w 243924"/>
                <a:gd name="connsiteY380" fmla="*/ 81439 h 90488"/>
                <a:gd name="connsiteX381" fmla="*/ 162879 w 243924"/>
                <a:gd name="connsiteY381" fmla="*/ 81046 h 90488"/>
                <a:gd name="connsiteX382" fmla="*/ 166026 w 243924"/>
                <a:gd name="connsiteY382" fmla="*/ 79866 h 90488"/>
                <a:gd name="connsiteX383" fmla="*/ 168780 w 243924"/>
                <a:gd name="connsiteY383" fmla="*/ 79079 h 90488"/>
                <a:gd name="connsiteX384" fmla="*/ 171927 w 243924"/>
                <a:gd name="connsiteY384" fmla="*/ 77898 h 90488"/>
                <a:gd name="connsiteX385" fmla="*/ 174681 w 243924"/>
                <a:gd name="connsiteY385" fmla="*/ 75931 h 90488"/>
                <a:gd name="connsiteX386" fmla="*/ 185697 w 243924"/>
                <a:gd name="connsiteY386" fmla="*/ 70817 h 90488"/>
                <a:gd name="connsiteX387" fmla="*/ 186878 w 243924"/>
                <a:gd name="connsiteY387" fmla="*/ 70423 h 90488"/>
                <a:gd name="connsiteX388" fmla="*/ 190025 w 243924"/>
                <a:gd name="connsiteY388" fmla="*/ 69243 h 90488"/>
                <a:gd name="connsiteX389" fmla="*/ 193172 w 243924"/>
                <a:gd name="connsiteY389" fmla="*/ 68456 h 90488"/>
                <a:gd name="connsiteX390" fmla="*/ 195926 w 243924"/>
                <a:gd name="connsiteY390" fmla="*/ 67276 h 90488"/>
                <a:gd name="connsiteX391" fmla="*/ 198680 w 243924"/>
                <a:gd name="connsiteY391" fmla="*/ 64915 h 90488"/>
                <a:gd name="connsiteX392" fmla="*/ 199074 w 243924"/>
                <a:gd name="connsiteY392" fmla="*/ 64915 h 90488"/>
                <a:gd name="connsiteX393" fmla="*/ 201434 w 243924"/>
                <a:gd name="connsiteY393" fmla="*/ 66882 h 90488"/>
                <a:gd name="connsiteX394" fmla="*/ 204188 w 243924"/>
                <a:gd name="connsiteY394" fmla="*/ 66489 h 90488"/>
                <a:gd name="connsiteX395" fmla="*/ 207336 w 243924"/>
                <a:gd name="connsiteY395" fmla="*/ 67669 h 90488"/>
                <a:gd name="connsiteX396" fmla="*/ 210090 w 243924"/>
                <a:gd name="connsiteY396" fmla="*/ 65309 h 90488"/>
                <a:gd name="connsiteX397" fmla="*/ 213237 w 243924"/>
                <a:gd name="connsiteY397" fmla="*/ 63735 h 90488"/>
                <a:gd name="connsiteX398" fmla="*/ 214417 w 243924"/>
                <a:gd name="connsiteY398" fmla="*/ 63342 h 90488"/>
                <a:gd name="connsiteX399" fmla="*/ 213237 w 243924"/>
                <a:gd name="connsiteY399" fmla="*/ 63735 h 90488"/>
                <a:gd name="connsiteX400" fmla="*/ 214417 w 243924"/>
                <a:gd name="connsiteY400" fmla="*/ 63342 h 90488"/>
                <a:gd name="connsiteX401" fmla="*/ 214417 w 243924"/>
                <a:gd name="connsiteY401" fmla="*/ 63342 h 90488"/>
                <a:gd name="connsiteX402" fmla="*/ 215991 w 243924"/>
                <a:gd name="connsiteY402" fmla="*/ 63342 h 90488"/>
                <a:gd name="connsiteX403" fmla="*/ 216385 w 243924"/>
                <a:gd name="connsiteY403" fmla="*/ 63342 h 90488"/>
                <a:gd name="connsiteX404" fmla="*/ 219138 w 243924"/>
                <a:gd name="connsiteY404" fmla="*/ 61768 h 90488"/>
                <a:gd name="connsiteX405" fmla="*/ 234482 w 243924"/>
                <a:gd name="connsiteY405" fmla="*/ 51539 h 90488"/>
                <a:gd name="connsiteX406" fmla="*/ 236449 w 243924"/>
                <a:gd name="connsiteY406" fmla="*/ 51539 h 90488"/>
                <a:gd name="connsiteX407" fmla="*/ 236449 w 243924"/>
                <a:gd name="connsiteY407" fmla="*/ 48785 h 90488"/>
                <a:gd name="connsiteX408" fmla="*/ 236843 w 243924"/>
                <a:gd name="connsiteY408" fmla="*/ 48391 h 90488"/>
                <a:gd name="connsiteX409" fmla="*/ 236449 w 243924"/>
                <a:gd name="connsiteY409" fmla="*/ 48391 h 90488"/>
                <a:gd name="connsiteX410" fmla="*/ 236449 w 243924"/>
                <a:gd name="connsiteY410" fmla="*/ 47605 h 90488"/>
                <a:gd name="connsiteX411" fmla="*/ 236843 w 243924"/>
                <a:gd name="connsiteY411" fmla="*/ 47605 h 90488"/>
                <a:gd name="connsiteX412" fmla="*/ 239597 w 243924"/>
                <a:gd name="connsiteY412" fmla="*/ 47211 h 90488"/>
                <a:gd name="connsiteX413" fmla="*/ 236843 w 243924"/>
                <a:gd name="connsiteY413" fmla="*/ 46031 h 90488"/>
                <a:gd name="connsiteX414" fmla="*/ 236449 w 243924"/>
                <a:gd name="connsiteY414" fmla="*/ 46031 h 90488"/>
                <a:gd name="connsiteX415" fmla="*/ 236843 w 243924"/>
                <a:gd name="connsiteY415" fmla="*/ 44064 h 90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</a:cxnLst>
              <a:rect l="l" t="t" r="r" b="b"/>
              <a:pathLst>
                <a:path w="243924" h="90488">
                  <a:moveTo>
                    <a:pt x="237236" y="44064"/>
                  </a:moveTo>
                  <a:lnTo>
                    <a:pt x="239990" y="45637"/>
                  </a:lnTo>
                  <a:lnTo>
                    <a:pt x="242744" y="45637"/>
                  </a:lnTo>
                  <a:lnTo>
                    <a:pt x="245892" y="43277"/>
                  </a:lnTo>
                  <a:lnTo>
                    <a:pt x="245892" y="40523"/>
                  </a:lnTo>
                  <a:lnTo>
                    <a:pt x="242744" y="39736"/>
                  </a:lnTo>
                  <a:lnTo>
                    <a:pt x="236843" y="39736"/>
                  </a:lnTo>
                  <a:lnTo>
                    <a:pt x="239597" y="39343"/>
                  </a:lnTo>
                  <a:lnTo>
                    <a:pt x="242744" y="38949"/>
                  </a:lnTo>
                  <a:lnTo>
                    <a:pt x="245498" y="37376"/>
                  </a:lnTo>
                  <a:lnTo>
                    <a:pt x="241957" y="34228"/>
                  </a:lnTo>
                  <a:lnTo>
                    <a:pt x="244711" y="32654"/>
                  </a:lnTo>
                  <a:lnTo>
                    <a:pt x="244711" y="29507"/>
                  </a:lnTo>
                  <a:lnTo>
                    <a:pt x="241957" y="29900"/>
                  </a:lnTo>
                  <a:lnTo>
                    <a:pt x="238810" y="27146"/>
                  </a:lnTo>
                  <a:lnTo>
                    <a:pt x="236056" y="27146"/>
                  </a:lnTo>
                  <a:lnTo>
                    <a:pt x="233302" y="26360"/>
                  </a:lnTo>
                  <a:lnTo>
                    <a:pt x="229761" y="26360"/>
                  </a:lnTo>
                  <a:lnTo>
                    <a:pt x="224253" y="30294"/>
                  </a:lnTo>
                  <a:lnTo>
                    <a:pt x="227400" y="27540"/>
                  </a:lnTo>
                  <a:lnTo>
                    <a:pt x="228187" y="27540"/>
                  </a:lnTo>
                  <a:lnTo>
                    <a:pt x="230941" y="24786"/>
                  </a:lnTo>
                  <a:lnTo>
                    <a:pt x="230941" y="22032"/>
                  </a:lnTo>
                  <a:lnTo>
                    <a:pt x="228187" y="22425"/>
                  </a:lnTo>
                  <a:lnTo>
                    <a:pt x="225433" y="22819"/>
                  </a:lnTo>
                  <a:lnTo>
                    <a:pt x="222286" y="23212"/>
                  </a:lnTo>
                  <a:lnTo>
                    <a:pt x="219532" y="23606"/>
                  </a:lnTo>
                  <a:lnTo>
                    <a:pt x="219138" y="23212"/>
                  </a:lnTo>
                  <a:lnTo>
                    <a:pt x="220712" y="20458"/>
                  </a:lnTo>
                  <a:lnTo>
                    <a:pt x="223466" y="19278"/>
                  </a:lnTo>
                  <a:lnTo>
                    <a:pt x="225827" y="16524"/>
                  </a:lnTo>
                  <a:lnTo>
                    <a:pt x="223860" y="13770"/>
                  </a:lnTo>
                  <a:lnTo>
                    <a:pt x="221105" y="14557"/>
                  </a:lnTo>
                  <a:lnTo>
                    <a:pt x="218352" y="14557"/>
                  </a:lnTo>
                  <a:lnTo>
                    <a:pt x="218352" y="11016"/>
                  </a:lnTo>
                  <a:lnTo>
                    <a:pt x="219532" y="10229"/>
                  </a:lnTo>
                  <a:lnTo>
                    <a:pt x="219532" y="7082"/>
                  </a:lnTo>
                  <a:lnTo>
                    <a:pt x="222679" y="6295"/>
                  </a:lnTo>
                  <a:lnTo>
                    <a:pt x="225433" y="5508"/>
                  </a:lnTo>
                  <a:lnTo>
                    <a:pt x="228581" y="4328"/>
                  </a:lnTo>
                  <a:lnTo>
                    <a:pt x="225433" y="4721"/>
                  </a:lnTo>
                  <a:lnTo>
                    <a:pt x="222679" y="4328"/>
                  </a:lnTo>
                  <a:lnTo>
                    <a:pt x="219532" y="5115"/>
                  </a:lnTo>
                  <a:lnTo>
                    <a:pt x="216778" y="7082"/>
                  </a:lnTo>
                  <a:lnTo>
                    <a:pt x="214024" y="7869"/>
                  </a:lnTo>
                  <a:lnTo>
                    <a:pt x="211270" y="8262"/>
                  </a:lnTo>
                  <a:lnTo>
                    <a:pt x="209303" y="11409"/>
                  </a:lnTo>
                  <a:lnTo>
                    <a:pt x="208516" y="10623"/>
                  </a:lnTo>
                  <a:lnTo>
                    <a:pt x="205762" y="8655"/>
                  </a:lnTo>
                  <a:lnTo>
                    <a:pt x="202615" y="6688"/>
                  </a:lnTo>
                  <a:lnTo>
                    <a:pt x="203008" y="3934"/>
                  </a:lnTo>
                  <a:lnTo>
                    <a:pt x="200254" y="1180"/>
                  </a:lnTo>
                  <a:lnTo>
                    <a:pt x="197107" y="0"/>
                  </a:lnTo>
                  <a:lnTo>
                    <a:pt x="194353" y="0"/>
                  </a:lnTo>
                  <a:lnTo>
                    <a:pt x="191205" y="1180"/>
                  </a:lnTo>
                  <a:lnTo>
                    <a:pt x="188058" y="393"/>
                  </a:lnTo>
                  <a:lnTo>
                    <a:pt x="185304" y="1967"/>
                  </a:lnTo>
                  <a:lnTo>
                    <a:pt x="186090" y="5115"/>
                  </a:lnTo>
                  <a:lnTo>
                    <a:pt x="186878" y="8262"/>
                  </a:lnTo>
                  <a:lnTo>
                    <a:pt x="186090" y="9049"/>
                  </a:lnTo>
                  <a:lnTo>
                    <a:pt x="182943" y="10229"/>
                  </a:lnTo>
                  <a:lnTo>
                    <a:pt x="182156" y="12983"/>
                  </a:lnTo>
                  <a:lnTo>
                    <a:pt x="179402" y="11409"/>
                  </a:lnTo>
                  <a:lnTo>
                    <a:pt x="177829" y="11409"/>
                  </a:lnTo>
                  <a:lnTo>
                    <a:pt x="173501" y="9836"/>
                  </a:lnTo>
                  <a:lnTo>
                    <a:pt x="173108" y="9836"/>
                  </a:lnTo>
                  <a:lnTo>
                    <a:pt x="170353" y="9049"/>
                  </a:lnTo>
                  <a:lnTo>
                    <a:pt x="167600" y="10623"/>
                  </a:lnTo>
                  <a:lnTo>
                    <a:pt x="164846" y="12983"/>
                  </a:lnTo>
                  <a:lnTo>
                    <a:pt x="162092" y="15737"/>
                  </a:lnTo>
                  <a:lnTo>
                    <a:pt x="158944" y="18491"/>
                  </a:lnTo>
                  <a:lnTo>
                    <a:pt x="158157" y="16131"/>
                  </a:lnTo>
                  <a:lnTo>
                    <a:pt x="155797" y="13377"/>
                  </a:lnTo>
                  <a:lnTo>
                    <a:pt x="153043" y="12196"/>
                  </a:lnTo>
                  <a:lnTo>
                    <a:pt x="152649" y="11409"/>
                  </a:lnTo>
                  <a:lnTo>
                    <a:pt x="149502" y="11016"/>
                  </a:lnTo>
                  <a:lnTo>
                    <a:pt x="146748" y="10623"/>
                  </a:lnTo>
                  <a:lnTo>
                    <a:pt x="143601" y="10623"/>
                  </a:lnTo>
                  <a:lnTo>
                    <a:pt x="142814" y="13377"/>
                  </a:lnTo>
                  <a:lnTo>
                    <a:pt x="143601" y="16131"/>
                  </a:lnTo>
                  <a:lnTo>
                    <a:pt x="146748" y="19278"/>
                  </a:lnTo>
                  <a:lnTo>
                    <a:pt x="145961" y="22425"/>
                  </a:lnTo>
                  <a:lnTo>
                    <a:pt x="145961" y="25179"/>
                  </a:lnTo>
                  <a:lnTo>
                    <a:pt x="145568" y="26360"/>
                  </a:lnTo>
                  <a:lnTo>
                    <a:pt x="143994" y="23999"/>
                  </a:lnTo>
                  <a:lnTo>
                    <a:pt x="143601" y="21245"/>
                  </a:lnTo>
                  <a:lnTo>
                    <a:pt x="142027" y="18491"/>
                  </a:lnTo>
                  <a:lnTo>
                    <a:pt x="139273" y="16917"/>
                  </a:lnTo>
                  <a:lnTo>
                    <a:pt x="137699" y="14163"/>
                  </a:lnTo>
                  <a:lnTo>
                    <a:pt x="135732" y="11409"/>
                  </a:lnTo>
                  <a:lnTo>
                    <a:pt x="132585" y="9836"/>
                  </a:lnTo>
                  <a:lnTo>
                    <a:pt x="129831" y="10229"/>
                  </a:lnTo>
                  <a:lnTo>
                    <a:pt x="129437" y="10229"/>
                  </a:lnTo>
                  <a:lnTo>
                    <a:pt x="126290" y="11016"/>
                  </a:lnTo>
                  <a:lnTo>
                    <a:pt x="124323" y="13377"/>
                  </a:lnTo>
                  <a:lnTo>
                    <a:pt x="123142" y="13377"/>
                  </a:lnTo>
                  <a:lnTo>
                    <a:pt x="119995" y="13377"/>
                  </a:lnTo>
                  <a:lnTo>
                    <a:pt x="117241" y="14950"/>
                  </a:lnTo>
                  <a:lnTo>
                    <a:pt x="116061" y="17704"/>
                  </a:lnTo>
                  <a:lnTo>
                    <a:pt x="116847" y="20458"/>
                  </a:lnTo>
                  <a:lnTo>
                    <a:pt x="115274" y="23606"/>
                  </a:lnTo>
                  <a:lnTo>
                    <a:pt x="114487" y="23606"/>
                  </a:lnTo>
                  <a:lnTo>
                    <a:pt x="112520" y="23212"/>
                  </a:lnTo>
                  <a:lnTo>
                    <a:pt x="112127" y="23212"/>
                  </a:lnTo>
                  <a:lnTo>
                    <a:pt x="104651" y="14163"/>
                  </a:lnTo>
                  <a:lnTo>
                    <a:pt x="102291" y="12196"/>
                  </a:lnTo>
                  <a:lnTo>
                    <a:pt x="101110" y="11803"/>
                  </a:lnTo>
                  <a:lnTo>
                    <a:pt x="97963" y="12590"/>
                  </a:lnTo>
                  <a:lnTo>
                    <a:pt x="95209" y="14163"/>
                  </a:lnTo>
                  <a:lnTo>
                    <a:pt x="95209" y="16917"/>
                  </a:lnTo>
                  <a:lnTo>
                    <a:pt x="95996" y="20065"/>
                  </a:lnTo>
                  <a:lnTo>
                    <a:pt x="96389" y="22819"/>
                  </a:lnTo>
                  <a:lnTo>
                    <a:pt x="95602" y="25573"/>
                  </a:lnTo>
                  <a:lnTo>
                    <a:pt x="94029" y="26753"/>
                  </a:lnTo>
                  <a:lnTo>
                    <a:pt x="92062" y="29507"/>
                  </a:lnTo>
                  <a:lnTo>
                    <a:pt x="90881" y="27933"/>
                  </a:lnTo>
                  <a:lnTo>
                    <a:pt x="90095" y="30687"/>
                  </a:lnTo>
                  <a:lnTo>
                    <a:pt x="88128" y="30294"/>
                  </a:lnTo>
                  <a:lnTo>
                    <a:pt x="86554" y="28327"/>
                  </a:lnTo>
                  <a:lnTo>
                    <a:pt x="84980" y="25573"/>
                  </a:lnTo>
                  <a:lnTo>
                    <a:pt x="82226" y="26753"/>
                  </a:lnTo>
                  <a:lnTo>
                    <a:pt x="79472" y="29114"/>
                  </a:lnTo>
                  <a:lnTo>
                    <a:pt x="77898" y="31868"/>
                  </a:lnTo>
                  <a:lnTo>
                    <a:pt x="77505" y="34622"/>
                  </a:lnTo>
                  <a:lnTo>
                    <a:pt x="75538" y="31868"/>
                  </a:lnTo>
                  <a:lnTo>
                    <a:pt x="75144" y="34622"/>
                  </a:lnTo>
                  <a:lnTo>
                    <a:pt x="73571" y="37376"/>
                  </a:lnTo>
                  <a:lnTo>
                    <a:pt x="73571" y="40523"/>
                  </a:lnTo>
                  <a:lnTo>
                    <a:pt x="73177" y="20852"/>
                  </a:lnTo>
                  <a:lnTo>
                    <a:pt x="74358" y="19671"/>
                  </a:lnTo>
                  <a:lnTo>
                    <a:pt x="72784" y="16917"/>
                  </a:lnTo>
                  <a:lnTo>
                    <a:pt x="71210" y="15344"/>
                  </a:lnTo>
                  <a:lnTo>
                    <a:pt x="71603" y="14950"/>
                  </a:lnTo>
                  <a:lnTo>
                    <a:pt x="68456" y="12983"/>
                  </a:lnTo>
                  <a:lnTo>
                    <a:pt x="68062" y="12983"/>
                  </a:lnTo>
                  <a:lnTo>
                    <a:pt x="65309" y="10229"/>
                  </a:lnTo>
                  <a:lnTo>
                    <a:pt x="64915" y="9836"/>
                  </a:lnTo>
                  <a:lnTo>
                    <a:pt x="62161" y="7869"/>
                  </a:lnTo>
                  <a:lnTo>
                    <a:pt x="59407" y="7082"/>
                  </a:lnTo>
                  <a:lnTo>
                    <a:pt x="56654" y="7082"/>
                  </a:lnTo>
                  <a:lnTo>
                    <a:pt x="55080" y="4328"/>
                  </a:lnTo>
                  <a:lnTo>
                    <a:pt x="52325" y="3147"/>
                  </a:lnTo>
                  <a:lnTo>
                    <a:pt x="49572" y="1967"/>
                  </a:lnTo>
                  <a:lnTo>
                    <a:pt x="46424" y="3147"/>
                  </a:lnTo>
                  <a:lnTo>
                    <a:pt x="43277" y="1967"/>
                  </a:lnTo>
                  <a:lnTo>
                    <a:pt x="40523" y="2754"/>
                  </a:lnTo>
                  <a:lnTo>
                    <a:pt x="37376" y="3541"/>
                  </a:lnTo>
                  <a:lnTo>
                    <a:pt x="37376" y="6295"/>
                  </a:lnTo>
                  <a:lnTo>
                    <a:pt x="40129" y="6688"/>
                  </a:lnTo>
                  <a:lnTo>
                    <a:pt x="42884" y="6295"/>
                  </a:lnTo>
                  <a:lnTo>
                    <a:pt x="46031" y="7082"/>
                  </a:lnTo>
                  <a:lnTo>
                    <a:pt x="49178" y="7869"/>
                  </a:lnTo>
                  <a:lnTo>
                    <a:pt x="51932" y="7869"/>
                  </a:lnTo>
                  <a:lnTo>
                    <a:pt x="49178" y="8262"/>
                  </a:lnTo>
                  <a:lnTo>
                    <a:pt x="46424" y="8262"/>
                  </a:lnTo>
                  <a:lnTo>
                    <a:pt x="43277" y="7869"/>
                  </a:lnTo>
                  <a:lnTo>
                    <a:pt x="40523" y="10623"/>
                  </a:lnTo>
                  <a:lnTo>
                    <a:pt x="43277" y="11803"/>
                  </a:lnTo>
                  <a:lnTo>
                    <a:pt x="46031" y="12196"/>
                  </a:lnTo>
                  <a:lnTo>
                    <a:pt x="48785" y="15344"/>
                  </a:lnTo>
                  <a:lnTo>
                    <a:pt x="48785" y="16917"/>
                  </a:lnTo>
                  <a:lnTo>
                    <a:pt x="47211" y="18098"/>
                  </a:lnTo>
                  <a:lnTo>
                    <a:pt x="45637" y="18098"/>
                  </a:lnTo>
                  <a:lnTo>
                    <a:pt x="43277" y="20852"/>
                  </a:lnTo>
                  <a:lnTo>
                    <a:pt x="43277" y="20065"/>
                  </a:lnTo>
                  <a:lnTo>
                    <a:pt x="45244" y="16917"/>
                  </a:lnTo>
                  <a:lnTo>
                    <a:pt x="43670" y="14163"/>
                  </a:lnTo>
                  <a:lnTo>
                    <a:pt x="40523" y="15737"/>
                  </a:lnTo>
                  <a:lnTo>
                    <a:pt x="37769" y="17311"/>
                  </a:lnTo>
                  <a:lnTo>
                    <a:pt x="38556" y="14163"/>
                  </a:lnTo>
                  <a:lnTo>
                    <a:pt x="35408" y="15737"/>
                  </a:lnTo>
                  <a:lnTo>
                    <a:pt x="37376" y="12983"/>
                  </a:lnTo>
                  <a:lnTo>
                    <a:pt x="34228" y="11409"/>
                  </a:lnTo>
                  <a:lnTo>
                    <a:pt x="31474" y="10229"/>
                  </a:lnTo>
                  <a:lnTo>
                    <a:pt x="28327" y="9836"/>
                  </a:lnTo>
                  <a:lnTo>
                    <a:pt x="25573" y="10229"/>
                  </a:lnTo>
                  <a:lnTo>
                    <a:pt x="25179" y="11409"/>
                  </a:lnTo>
                  <a:lnTo>
                    <a:pt x="25179" y="11803"/>
                  </a:lnTo>
                  <a:lnTo>
                    <a:pt x="24392" y="14557"/>
                  </a:lnTo>
                  <a:lnTo>
                    <a:pt x="22032" y="14163"/>
                  </a:lnTo>
                  <a:lnTo>
                    <a:pt x="19278" y="13377"/>
                  </a:lnTo>
                  <a:lnTo>
                    <a:pt x="19278" y="16524"/>
                  </a:lnTo>
                  <a:lnTo>
                    <a:pt x="22032" y="18491"/>
                  </a:lnTo>
                  <a:lnTo>
                    <a:pt x="23606" y="18491"/>
                  </a:lnTo>
                  <a:lnTo>
                    <a:pt x="23212" y="19671"/>
                  </a:lnTo>
                  <a:lnTo>
                    <a:pt x="22032" y="19278"/>
                  </a:lnTo>
                  <a:lnTo>
                    <a:pt x="19278" y="18491"/>
                  </a:lnTo>
                  <a:lnTo>
                    <a:pt x="16130" y="20852"/>
                  </a:lnTo>
                  <a:lnTo>
                    <a:pt x="19278" y="22425"/>
                  </a:lnTo>
                  <a:lnTo>
                    <a:pt x="22032" y="23212"/>
                  </a:lnTo>
                  <a:lnTo>
                    <a:pt x="22032" y="23212"/>
                  </a:lnTo>
                  <a:lnTo>
                    <a:pt x="22032" y="24392"/>
                  </a:lnTo>
                  <a:lnTo>
                    <a:pt x="20851" y="25179"/>
                  </a:lnTo>
                  <a:lnTo>
                    <a:pt x="20851" y="25179"/>
                  </a:lnTo>
                  <a:lnTo>
                    <a:pt x="18098" y="23999"/>
                  </a:lnTo>
                  <a:lnTo>
                    <a:pt x="14950" y="22819"/>
                  </a:lnTo>
                  <a:lnTo>
                    <a:pt x="11803" y="22032"/>
                  </a:lnTo>
                  <a:lnTo>
                    <a:pt x="9049" y="22425"/>
                  </a:lnTo>
                  <a:lnTo>
                    <a:pt x="11016" y="25573"/>
                  </a:lnTo>
                  <a:lnTo>
                    <a:pt x="13770" y="26753"/>
                  </a:lnTo>
                  <a:lnTo>
                    <a:pt x="11016" y="27933"/>
                  </a:lnTo>
                  <a:lnTo>
                    <a:pt x="13770" y="29507"/>
                  </a:lnTo>
                  <a:lnTo>
                    <a:pt x="11016" y="28720"/>
                  </a:lnTo>
                  <a:lnTo>
                    <a:pt x="7869" y="27933"/>
                  </a:lnTo>
                  <a:lnTo>
                    <a:pt x="5114" y="26753"/>
                  </a:lnTo>
                  <a:lnTo>
                    <a:pt x="1967" y="27933"/>
                  </a:lnTo>
                  <a:lnTo>
                    <a:pt x="0" y="30687"/>
                  </a:lnTo>
                  <a:lnTo>
                    <a:pt x="5901" y="30687"/>
                  </a:lnTo>
                  <a:lnTo>
                    <a:pt x="9049" y="31474"/>
                  </a:lnTo>
                  <a:lnTo>
                    <a:pt x="11803" y="33441"/>
                  </a:lnTo>
                  <a:lnTo>
                    <a:pt x="14163" y="33048"/>
                  </a:lnTo>
                  <a:lnTo>
                    <a:pt x="15737" y="32261"/>
                  </a:lnTo>
                  <a:lnTo>
                    <a:pt x="20065" y="31474"/>
                  </a:lnTo>
                  <a:lnTo>
                    <a:pt x="20065" y="31474"/>
                  </a:lnTo>
                  <a:lnTo>
                    <a:pt x="20458" y="31474"/>
                  </a:lnTo>
                  <a:lnTo>
                    <a:pt x="23999" y="30294"/>
                  </a:lnTo>
                  <a:lnTo>
                    <a:pt x="25966" y="31081"/>
                  </a:lnTo>
                  <a:lnTo>
                    <a:pt x="27147" y="29507"/>
                  </a:lnTo>
                  <a:lnTo>
                    <a:pt x="30687" y="28720"/>
                  </a:lnTo>
                  <a:lnTo>
                    <a:pt x="31867" y="29507"/>
                  </a:lnTo>
                  <a:lnTo>
                    <a:pt x="34621" y="27933"/>
                  </a:lnTo>
                  <a:lnTo>
                    <a:pt x="35015" y="28327"/>
                  </a:lnTo>
                  <a:lnTo>
                    <a:pt x="36195" y="28327"/>
                  </a:lnTo>
                  <a:lnTo>
                    <a:pt x="37769" y="28327"/>
                  </a:lnTo>
                  <a:lnTo>
                    <a:pt x="38162" y="30294"/>
                  </a:lnTo>
                  <a:lnTo>
                    <a:pt x="41310" y="29114"/>
                  </a:lnTo>
                  <a:lnTo>
                    <a:pt x="41310" y="29114"/>
                  </a:lnTo>
                  <a:lnTo>
                    <a:pt x="44064" y="29507"/>
                  </a:lnTo>
                  <a:lnTo>
                    <a:pt x="44457" y="30294"/>
                  </a:lnTo>
                  <a:lnTo>
                    <a:pt x="46818" y="29900"/>
                  </a:lnTo>
                  <a:lnTo>
                    <a:pt x="49572" y="30294"/>
                  </a:lnTo>
                  <a:lnTo>
                    <a:pt x="46818" y="31474"/>
                  </a:lnTo>
                  <a:lnTo>
                    <a:pt x="49965" y="32654"/>
                  </a:lnTo>
                  <a:lnTo>
                    <a:pt x="51932" y="30687"/>
                  </a:lnTo>
                  <a:lnTo>
                    <a:pt x="53899" y="30687"/>
                  </a:lnTo>
                  <a:lnTo>
                    <a:pt x="55473" y="32261"/>
                  </a:lnTo>
                  <a:lnTo>
                    <a:pt x="58621" y="32654"/>
                  </a:lnTo>
                  <a:lnTo>
                    <a:pt x="61768" y="31868"/>
                  </a:lnTo>
                  <a:lnTo>
                    <a:pt x="60588" y="32654"/>
                  </a:lnTo>
                  <a:lnTo>
                    <a:pt x="57440" y="32654"/>
                  </a:lnTo>
                  <a:lnTo>
                    <a:pt x="54686" y="33835"/>
                  </a:lnTo>
                  <a:lnTo>
                    <a:pt x="51539" y="35015"/>
                  </a:lnTo>
                  <a:lnTo>
                    <a:pt x="48785" y="36195"/>
                  </a:lnTo>
                  <a:lnTo>
                    <a:pt x="45637" y="36589"/>
                  </a:lnTo>
                  <a:lnTo>
                    <a:pt x="42884" y="38556"/>
                  </a:lnTo>
                  <a:lnTo>
                    <a:pt x="40129" y="40523"/>
                  </a:lnTo>
                  <a:lnTo>
                    <a:pt x="42884" y="40523"/>
                  </a:lnTo>
                  <a:lnTo>
                    <a:pt x="46031" y="41703"/>
                  </a:lnTo>
                  <a:lnTo>
                    <a:pt x="48785" y="41703"/>
                  </a:lnTo>
                  <a:lnTo>
                    <a:pt x="51539" y="42097"/>
                  </a:lnTo>
                  <a:lnTo>
                    <a:pt x="54686" y="40916"/>
                  </a:lnTo>
                  <a:lnTo>
                    <a:pt x="51932" y="44457"/>
                  </a:lnTo>
                  <a:lnTo>
                    <a:pt x="51539" y="44457"/>
                  </a:lnTo>
                  <a:lnTo>
                    <a:pt x="48391" y="44457"/>
                  </a:lnTo>
                  <a:lnTo>
                    <a:pt x="45244" y="44064"/>
                  </a:lnTo>
                  <a:lnTo>
                    <a:pt x="42490" y="43670"/>
                  </a:lnTo>
                  <a:lnTo>
                    <a:pt x="39736" y="43670"/>
                  </a:lnTo>
                  <a:lnTo>
                    <a:pt x="36588" y="45637"/>
                  </a:lnTo>
                  <a:lnTo>
                    <a:pt x="33835" y="43670"/>
                  </a:lnTo>
                  <a:lnTo>
                    <a:pt x="31081" y="45637"/>
                  </a:lnTo>
                  <a:lnTo>
                    <a:pt x="28327" y="45244"/>
                  </a:lnTo>
                  <a:lnTo>
                    <a:pt x="25179" y="47605"/>
                  </a:lnTo>
                  <a:lnTo>
                    <a:pt x="24392" y="44851"/>
                  </a:lnTo>
                  <a:lnTo>
                    <a:pt x="21245" y="46818"/>
                  </a:lnTo>
                  <a:lnTo>
                    <a:pt x="18098" y="46818"/>
                  </a:lnTo>
                  <a:lnTo>
                    <a:pt x="14950" y="47605"/>
                  </a:lnTo>
                  <a:lnTo>
                    <a:pt x="12196" y="48785"/>
                  </a:lnTo>
                  <a:lnTo>
                    <a:pt x="9442" y="47605"/>
                  </a:lnTo>
                  <a:lnTo>
                    <a:pt x="6295" y="47605"/>
                  </a:lnTo>
                  <a:lnTo>
                    <a:pt x="3541" y="49965"/>
                  </a:lnTo>
                  <a:lnTo>
                    <a:pt x="5114" y="52719"/>
                  </a:lnTo>
                  <a:lnTo>
                    <a:pt x="7869" y="53506"/>
                  </a:lnTo>
                  <a:lnTo>
                    <a:pt x="11016" y="53506"/>
                  </a:lnTo>
                  <a:lnTo>
                    <a:pt x="13770" y="51145"/>
                  </a:lnTo>
                  <a:lnTo>
                    <a:pt x="16524" y="51539"/>
                  </a:lnTo>
                  <a:lnTo>
                    <a:pt x="19278" y="50752"/>
                  </a:lnTo>
                  <a:lnTo>
                    <a:pt x="22425" y="51145"/>
                  </a:lnTo>
                  <a:lnTo>
                    <a:pt x="25573" y="51539"/>
                  </a:lnTo>
                  <a:lnTo>
                    <a:pt x="31081" y="51539"/>
                  </a:lnTo>
                  <a:lnTo>
                    <a:pt x="34228" y="52719"/>
                  </a:lnTo>
                  <a:lnTo>
                    <a:pt x="37376" y="51539"/>
                  </a:lnTo>
                  <a:lnTo>
                    <a:pt x="40129" y="51539"/>
                  </a:lnTo>
                  <a:lnTo>
                    <a:pt x="42096" y="54293"/>
                  </a:lnTo>
                  <a:lnTo>
                    <a:pt x="44851" y="53506"/>
                  </a:lnTo>
                  <a:lnTo>
                    <a:pt x="44457" y="53899"/>
                  </a:lnTo>
                  <a:lnTo>
                    <a:pt x="41310" y="55080"/>
                  </a:lnTo>
                  <a:lnTo>
                    <a:pt x="39736" y="57834"/>
                  </a:lnTo>
                  <a:lnTo>
                    <a:pt x="42490" y="59014"/>
                  </a:lnTo>
                  <a:lnTo>
                    <a:pt x="43277" y="61768"/>
                  </a:lnTo>
                  <a:lnTo>
                    <a:pt x="49965" y="58621"/>
                  </a:lnTo>
                  <a:lnTo>
                    <a:pt x="54293" y="57047"/>
                  </a:lnTo>
                  <a:lnTo>
                    <a:pt x="58621" y="55867"/>
                  </a:lnTo>
                  <a:lnTo>
                    <a:pt x="59407" y="55867"/>
                  </a:lnTo>
                  <a:lnTo>
                    <a:pt x="57440" y="57834"/>
                  </a:lnTo>
                  <a:lnTo>
                    <a:pt x="57440" y="57834"/>
                  </a:lnTo>
                  <a:lnTo>
                    <a:pt x="54686" y="57440"/>
                  </a:lnTo>
                  <a:lnTo>
                    <a:pt x="52719" y="58621"/>
                  </a:lnTo>
                  <a:lnTo>
                    <a:pt x="49572" y="59801"/>
                  </a:lnTo>
                  <a:lnTo>
                    <a:pt x="47605" y="60981"/>
                  </a:lnTo>
                  <a:lnTo>
                    <a:pt x="46818" y="63735"/>
                  </a:lnTo>
                  <a:lnTo>
                    <a:pt x="49965" y="63735"/>
                  </a:lnTo>
                  <a:lnTo>
                    <a:pt x="46818" y="64522"/>
                  </a:lnTo>
                  <a:lnTo>
                    <a:pt x="44064" y="66096"/>
                  </a:lnTo>
                  <a:lnTo>
                    <a:pt x="46818" y="66489"/>
                  </a:lnTo>
                  <a:lnTo>
                    <a:pt x="49572" y="65702"/>
                  </a:lnTo>
                  <a:lnTo>
                    <a:pt x="52719" y="63735"/>
                  </a:lnTo>
                  <a:lnTo>
                    <a:pt x="55473" y="63342"/>
                  </a:lnTo>
                  <a:lnTo>
                    <a:pt x="58621" y="64129"/>
                  </a:lnTo>
                  <a:lnTo>
                    <a:pt x="56654" y="64522"/>
                  </a:lnTo>
                  <a:lnTo>
                    <a:pt x="53899" y="64915"/>
                  </a:lnTo>
                  <a:lnTo>
                    <a:pt x="51145" y="66096"/>
                  </a:lnTo>
                  <a:lnTo>
                    <a:pt x="47998" y="68456"/>
                  </a:lnTo>
                  <a:lnTo>
                    <a:pt x="50752" y="70423"/>
                  </a:lnTo>
                  <a:lnTo>
                    <a:pt x="44851" y="70423"/>
                  </a:lnTo>
                  <a:lnTo>
                    <a:pt x="44064" y="70817"/>
                  </a:lnTo>
                  <a:lnTo>
                    <a:pt x="44457" y="73571"/>
                  </a:lnTo>
                  <a:lnTo>
                    <a:pt x="41310" y="73964"/>
                  </a:lnTo>
                  <a:lnTo>
                    <a:pt x="38556" y="74751"/>
                  </a:lnTo>
                  <a:lnTo>
                    <a:pt x="35408" y="75144"/>
                  </a:lnTo>
                  <a:lnTo>
                    <a:pt x="32261" y="75931"/>
                  </a:lnTo>
                  <a:lnTo>
                    <a:pt x="29507" y="73571"/>
                  </a:lnTo>
                  <a:lnTo>
                    <a:pt x="26753" y="75538"/>
                  </a:lnTo>
                  <a:lnTo>
                    <a:pt x="26359" y="78685"/>
                  </a:lnTo>
                  <a:lnTo>
                    <a:pt x="26359" y="81439"/>
                  </a:lnTo>
                  <a:lnTo>
                    <a:pt x="29114" y="81046"/>
                  </a:lnTo>
                  <a:lnTo>
                    <a:pt x="32261" y="80259"/>
                  </a:lnTo>
                  <a:lnTo>
                    <a:pt x="35015" y="79866"/>
                  </a:lnTo>
                  <a:lnTo>
                    <a:pt x="38162" y="80259"/>
                  </a:lnTo>
                  <a:lnTo>
                    <a:pt x="40916" y="80652"/>
                  </a:lnTo>
                  <a:lnTo>
                    <a:pt x="43670" y="80259"/>
                  </a:lnTo>
                  <a:lnTo>
                    <a:pt x="50358" y="80259"/>
                  </a:lnTo>
                  <a:lnTo>
                    <a:pt x="51539" y="80652"/>
                  </a:lnTo>
                  <a:lnTo>
                    <a:pt x="54293" y="80259"/>
                  </a:lnTo>
                  <a:lnTo>
                    <a:pt x="57440" y="79866"/>
                  </a:lnTo>
                  <a:lnTo>
                    <a:pt x="65309" y="77112"/>
                  </a:lnTo>
                  <a:lnTo>
                    <a:pt x="64522" y="77505"/>
                  </a:lnTo>
                  <a:lnTo>
                    <a:pt x="63735" y="80259"/>
                  </a:lnTo>
                  <a:lnTo>
                    <a:pt x="66489" y="81046"/>
                  </a:lnTo>
                  <a:lnTo>
                    <a:pt x="69636" y="81833"/>
                  </a:lnTo>
                  <a:lnTo>
                    <a:pt x="72784" y="79472"/>
                  </a:lnTo>
                  <a:lnTo>
                    <a:pt x="73177" y="79866"/>
                  </a:lnTo>
                  <a:lnTo>
                    <a:pt x="73177" y="83013"/>
                  </a:lnTo>
                  <a:lnTo>
                    <a:pt x="70423" y="82620"/>
                  </a:lnTo>
                  <a:lnTo>
                    <a:pt x="73177" y="83800"/>
                  </a:lnTo>
                  <a:lnTo>
                    <a:pt x="75931" y="82620"/>
                  </a:lnTo>
                  <a:lnTo>
                    <a:pt x="79079" y="80259"/>
                  </a:lnTo>
                  <a:lnTo>
                    <a:pt x="79079" y="80652"/>
                  </a:lnTo>
                  <a:lnTo>
                    <a:pt x="80652" y="83800"/>
                  </a:lnTo>
                  <a:lnTo>
                    <a:pt x="79865" y="83406"/>
                  </a:lnTo>
                  <a:lnTo>
                    <a:pt x="76718" y="84587"/>
                  </a:lnTo>
                  <a:lnTo>
                    <a:pt x="79079" y="87734"/>
                  </a:lnTo>
                  <a:lnTo>
                    <a:pt x="81832" y="89308"/>
                  </a:lnTo>
                  <a:lnTo>
                    <a:pt x="84980" y="89308"/>
                  </a:lnTo>
                  <a:lnTo>
                    <a:pt x="84980" y="89308"/>
                  </a:lnTo>
                  <a:lnTo>
                    <a:pt x="86554" y="89308"/>
                  </a:lnTo>
                  <a:lnTo>
                    <a:pt x="99930" y="92062"/>
                  </a:lnTo>
                  <a:lnTo>
                    <a:pt x="102291" y="92455"/>
                  </a:lnTo>
                  <a:lnTo>
                    <a:pt x="105045" y="93242"/>
                  </a:lnTo>
                  <a:lnTo>
                    <a:pt x="108192" y="93242"/>
                  </a:lnTo>
                  <a:lnTo>
                    <a:pt x="110946" y="93242"/>
                  </a:lnTo>
                  <a:lnTo>
                    <a:pt x="113700" y="94029"/>
                  </a:lnTo>
                  <a:lnTo>
                    <a:pt x="116454" y="93635"/>
                  </a:lnTo>
                  <a:lnTo>
                    <a:pt x="119602" y="93242"/>
                  </a:lnTo>
                  <a:lnTo>
                    <a:pt x="122356" y="92455"/>
                  </a:lnTo>
                  <a:lnTo>
                    <a:pt x="125503" y="92062"/>
                  </a:lnTo>
                  <a:lnTo>
                    <a:pt x="128257" y="91668"/>
                  </a:lnTo>
                  <a:lnTo>
                    <a:pt x="128257" y="91668"/>
                  </a:lnTo>
                  <a:lnTo>
                    <a:pt x="130617" y="90882"/>
                  </a:lnTo>
                  <a:lnTo>
                    <a:pt x="133765" y="90095"/>
                  </a:lnTo>
                  <a:lnTo>
                    <a:pt x="136519" y="87341"/>
                  </a:lnTo>
                  <a:lnTo>
                    <a:pt x="134945" y="86947"/>
                  </a:lnTo>
                  <a:lnTo>
                    <a:pt x="137306" y="85767"/>
                  </a:lnTo>
                  <a:lnTo>
                    <a:pt x="146748" y="83013"/>
                  </a:lnTo>
                  <a:lnTo>
                    <a:pt x="148715" y="82226"/>
                  </a:lnTo>
                  <a:lnTo>
                    <a:pt x="150682" y="82226"/>
                  </a:lnTo>
                  <a:lnTo>
                    <a:pt x="151469" y="81833"/>
                  </a:lnTo>
                  <a:lnTo>
                    <a:pt x="154616" y="81833"/>
                  </a:lnTo>
                  <a:lnTo>
                    <a:pt x="157764" y="81046"/>
                  </a:lnTo>
                  <a:lnTo>
                    <a:pt x="159338" y="77898"/>
                  </a:lnTo>
                  <a:lnTo>
                    <a:pt x="159731" y="78685"/>
                  </a:lnTo>
                  <a:lnTo>
                    <a:pt x="160124" y="81439"/>
                  </a:lnTo>
                  <a:lnTo>
                    <a:pt x="162879" y="81046"/>
                  </a:lnTo>
                  <a:lnTo>
                    <a:pt x="166026" y="79866"/>
                  </a:lnTo>
                  <a:lnTo>
                    <a:pt x="168780" y="79079"/>
                  </a:lnTo>
                  <a:lnTo>
                    <a:pt x="171927" y="77898"/>
                  </a:lnTo>
                  <a:lnTo>
                    <a:pt x="174681" y="75931"/>
                  </a:lnTo>
                  <a:lnTo>
                    <a:pt x="185697" y="70817"/>
                  </a:lnTo>
                  <a:lnTo>
                    <a:pt x="186878" y="70423"/>
                  </a:lnTo>
                  <a:lnTo>
                    <a:pt x="190025" y="69243"/>
                  </a:lnTo>
                  <a:lnTo>
                    <a:pt x="193172" y="68456"/>
                  </a:lnTo>
                  <a:lnTo>
                    <a:pt x="195926" y="67276"/>
                  </a:lnTo>
                  <a:lnTo>
                    <a:pt x="198680" y="64915"/>
                  </a:lnTo>
                  <a:lnTo>
                    <a:pt x="199074" y="64915"/>
                  </a:lnTo>
                  <a:lnTo>
                    <a:pt x="201434" y="66882"/>
                  </a:lnTo>
                  <a:lnTo>
                    <a:pt x="204188" y="66489"/>
                  </a:lnTo>
                  <a:lnTo>
                    <a:pt x="207336" y="67669"/>
                  </a:lnTo>
                  <a:lnTo>
                    <a:pt x="210090" y="65309"/>
                  </a:lnTo>
                  <a:lnTo>
                    <a:pt x="213237" y="63735"/>
                  </a:lnTo>
                  <a:lnTo>
                    <a:pt x="214417" y="63342"/>
                  </a:lnTo>
                  <a:lnTo>
                    <a:pt x="213237" y="63735"/>
                  </a:lnTo>
                  <a:lnTo>
                    <a:pt x="214417" y="63342"/>
                  </a:lnTo>
                  <a:lnTo>
                    <a:pt x="214417" y="63342"/>
                  </a:lnTo>
                  <a:lnTo>
                    <a:pt x="215991" y="63342"/>
                  </a:lnTo>
                  <a:lnTo>
                    <a:pt x="216385" y="63342"/>
                  </a:lnTo>
                  <a:lnTo>
                    <a:pt x="219138" y="61768"/>
                  </a:lnTo>
                  <a:lnTo>
                    <a:pt x="234482" y="51539"/>
                  </a:lnTo>
                  <a:lnTo>
                    <a:pt x="236449" y="51539"/>
                  </a:lnTo>
                  <a:lnTo>
                    <a:pt x="236449" y="48785"/>
                  </a:lnTo>
                  <a:lnTo>
                    <a:pt x="236843" y="48391"/>
                  </a:lnTo>
                  <a:lnTo>
                    <a:pt x="236449" y="48391"/>
                  </a:lnTo>
                  <a:lnTo>
                    <a:pt x="236449" y="47605"/>
                  </a:lnTo>
                  <a:lnTo>
                    <a:pt x="236843" y="47605"/>
                  </a:lnTo>
                  <a:lnTo>
                    <a:pt x="239597" y="47211"/>
                  </a:lnTo>
                  <a:lnTo>
                    <a:pt x="236843" y="46031"/>
                  </a:lnTo>
                  <a:lnTo>
                    <a:pt x="236449" y="46031"/>
                  </a:lnTo>
                  <a:lnTo>
                    <a:pt x="236843" y="4406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75" name="Freeform: Shape 2769">
              <a:extLst>
                <a:ext uri="{FF2B5EF4-FFF2-40B4-BE49-F238E27FC236}">
                  <a16:creationId xmlns:a16="http://schemas.microsoft.com/office/drawing/2014/main" id="{20102217-A5D0-4571-B523-253A0497B769}"/>
                </a:ext>
              </a:extLst>
            </p:cNvPr>
            <p:cNvSpPr/>
            <p:nvPr/>
          </p:nvSpPr>
          <p:spPr>
            <a:xfrm>
              <a:off x="2060232" y="1854156"/>
              <a:ext cx="11803" cy="7869"/>
            </a:xfrm>
            <a:custGeom>
              <a:avLst/>
              <a:gdLst>
                <a:gd name="connsiteX0" fmla="*/ 7869 w 11802"/>
                <a:gd name="connsiteY0" fmla="*/ 5901 h 7868"/>
                <a:gd name="connsiteX1" fmla="*/ 11016 w 11802"/>
                <a:gd name="connsiteY1" fmla="*/ 3147 h 7868"/>
                <a:gd name="connsiteX2" fmla="*/ 14163 w 11802"/>
                <a:gd name="connsiteY2" fmla="*/ 787 h 7868"/>
                <a:gd name="connsiteX3" fmla="*/ 11016 w 11802"/>
                <a:gd name="connsiteY3" fmla="*/ 2754 h 7868"/>
                <a:gd name="connsiteX4" fmla="*/ 7869 w 11802"/>
                <a:gd name="connsiteY4" fmla="*/ 2754 h 7868"/>
                <a:gd name="connsiteX5" fmla="*/ 11016 w 11802"/>
                <a:gd name="connsiteY5" fmla="*/ 393 h 7868"/>
                <a:gd name="connsiteX6" fmla="*/ 10623 w 11802"/>
                <a:gd name="connsiteY6" fmla="*/ 0 h 7868"/>
                <a:gd name="connsiteX7" fmla="*/ 7475 w 11802"/>
                <a:gd name="connsiteY7" fmla="*/ 1180 h 7868"/>
                <a:gd name="connsiteX8" fmla="*/ 4721 w 11802"/>
                <a:gd name="connsiteY8" fmla="*/ 2754 h 7868"/>
                <a:gd name="connsiteX9" fmla="*/ 1967 w 11802"/>
                <a:gd name="connsiteY9" fmla="*/ 5508 h 7868"/>
                <a:gd name="connsiteX10" fmla="*/ 0 w 11802"/>
                <a:gd name="connsiteY10" fmla="*/ 8262 h 7868"/>
                <a:gd name="connsiteX11" fmla="*/ 2754 w 11802"/>
                <a:gd name="connsiteY11" fmla="*/ 7869 h 7868"/>
                <a:gd name="connsiteX12" fmla="*/ 5901 w 11802"/>
                <a:gd name="connsiteY12" fmla="*/ 865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7868">
                  <a:moveTo>
                    <a:pt x="7869" y="5901"/>
                  </a:moveTo>
                  <a:lnTo>
                    <a:pt x="11016" y="3147"/>
                  </a:lnTo>
                  <a:lnTo>
                    <a:pt x="14163" y="787"/>
                  </a:lnTo>
                  <a:lnTo>
                    <a:pt x="11016" y="2754"/>
                  </a:lnTo>
                  <a:lnTo>
                    <a:pt x="7869" y="2754"/>
                  </a:lnTo>
                  <a:lnTo>
                    <a:pt x="11016" y="393"/>
                  </a:lnTo>
                  <a:lnTo>
                    <a:pt x="10623" y="0"/>
                  </a:lnTo>
                  <a:lnTo>
                    <a:pt x="7475" y="1180"/>
                  </a:lnTo>
                  <a:lnTo>
                    <a:pt x="4721" y="2754"/>
                  </a:lnTo>
                  <a:lnTo>
                    <a:pt x="1967" y="5508"/>
                  </a:lnTo>
                  <a:lnTo>
                    <a:pt x="0" y="8262"/>
                  </a:lnTo>
                  <a:lnTo>
                    <a:pt x="2754" y="7869"/>
                  </a:lnTo>
                  <a:lnTo>
                    <a:pt x="5901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76" name="Freeform: Shape 2770">
              <a:extLst>
                <a:ext uri="{FF2B5EF4-FFF2-40B4-BE49-F238E27FC236}">
                  <a16:creationId xmlns:a16="http://schemas.microsoft.com/office/drawing/2014/main" id="{FEA7FC55-D4D7-4A85-A450-AB0087823F55}"/>
                </a:ext>
              </a:extLst>
            </p:cNvPr>
            <p:cNvSpPr/>
            <p:nvPr/>
          </p:nvSpPr>
          <p:spPr>
            <a:xfrm>
              <a:off x="2072821" y="1855730"/>
              <a:ext cx="3934" cy="3934"/>
            </a:xfrm>
            <a:custGeom>
              <a:avLst/>
              <a:gdLst>
                <a:gd name="connsiteX0" fmla="*/ 5901 w 3934"/>
                <a:gd name="connsiteY0" fmla="*/ 393 h 0"/>
                <a:gd name="connsiteX1" fmla="*/ 5901 w 3934"/>
                <a:gd name="connsiteY1" fmla="*/ 0 h 0"/>
                <a:gd name="connsiteX2" fmla="*/ 2754 w 3934"/>
                <a:gd name="connsiteY2" fmla="*/ 787 h 0"/>
                <a:gd name="connsiteX3" fmla="*/ 0 w 3934"/>
                <a:gd name="connsiteY3" fmla="*/ 2361 h 0"/>
                <a:gd name="connsiteX4" fmla="*/ 2754 w 3934"/>
                <a:gd name="connsiteY4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393"/>
                  </a:moveTo>
                  <a:lnTo>
                    <a:pt x="5901" y="0"/>
                  </a:lnTo>
                  <a:lnTo>
                    <a:pt x="2754" y="787"/>
                  </a:lnTo>
                  <a:lnTo>
                    <a:pt x="0" y="2361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77" name="Freeform: Shape 2771">
              <a:extLst>
                <a:ext uri="{FF2B5EF4-FFF2-40B4-BE49-F238E27FC236}">
                  <a16:creationId xmlns:a16="http://schemas.microsoft.com/office/drawing/2014/main" id="{0510762E-4683-4D2E-B0B0-47D221826728}"/>
                </a:ext>
              </a:extLst>
            </p:cNvPr>
            <p:cNvSpPr/>
            <p:nvPr/>
          </p:nvSpPr>
          <p:spPr>
            <a:xfrm>
              <a:off x="2080296" y="1852583"/>
              <a:ext cx="3934" cy="3934"/>
            </a:xfrm>
            <a:custGeom>
              <a:avLst/>
              <a:gdLst>
                <a:gd name="connsiteX0" fmla="*/ 5901 w 3934"/>
                <a:gd name="connsiteY0" fmla="*/ 787 h 0"/>
                <a:gd name="connsiteX1" fmla="*/ 5901 w 3934"/>
                <a:gd name="connsiteY1" fmla="*/ 393 h 0"/>
                <a:gd name="connsiteX2" fmla="*/ 3147 w 3934"/>
                <a:gd name="connsiteY2" fmla="*/ 0 h 0"/>
                <a:gd name="connsiteX3" fmla="*/ 0 w 3934"/>
                <a:gd name="connsiteY3" fmla="*/ 2361 h 0"/>
                <a:gd name="connsiteX4" fmla="*/ 3147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787"/>
                  </a:moveTo>
                  <a:lnTo>
                    <a:pt x="5901" y="393"/>
                  </a:lnTo>
                  <a:lnTo>
                    <a:pt x="3147" y="0"/>
                  </a:lnTo>
                  <a:lnTo>
                    <a:pt x="0" y="2361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78" name="Freeform: Shape 2772">
              <a:extLst>
                <a:ext uri="{FF2B5EF4-FFF2-40B4-BE49-F238E27FC236}">
                  <a16:creationId xmlns:a16="http://schemas.microsoft.com/office/drawing/2014/main" id="{764903EF-CF90-482B-BADC-3680FEA5814D}"/>
                </a:ext>
              </a:extLst>
            </p:cNvPr>
            <p:cNvSpPr/>
            <p:nvPr/>
          </p:nvSpPr>
          <p:spPr>
            <a:xfrm>
              <a:off x="2178653" y="1746358"/>
              <a:ext cx="15737" cy="7869"/>
            </a:xfrm>
            <a:custGeom>
              <a:avLst/>
              <a:gdLst>
                <a:gd name="connsiteX0" fmla="*/ 6295 w 15737"/>
                <a:gd name="connsiteY0" fmla="*/ 6688 h 7868"/>
                <a:gd name="connsiteX1" fmla="*/ 9049 w 15737"/>
                <a:gd name="connsiteY1" fmla="*/ 5114 h 7868"/>
                <a:gd name="connsiteX2" fmla="*/ 12196 w 15737"/>
                <a:gd name="connsiteY2" fmla="*/ 3541 h 7868"/>
                <a:gd name="connsiteX3" fmla="*/ 14950 w 15737"/>
                <a:gd name="connsiteY3" fmla="*/ 1967 h 7868"/>
                <a:gd name="connsiteX4" fmla="*/ 18098 w 15737"/>
                <a:gd name="connsiteY4" fmla="*/ 0 h 7868"/>
                <a:gd name="connsiteX5" fmla="*/ 14950 w 15737"/>
                <a:gd name="connsiteY5" fmla="*/ 1180 h 7868"/>
                <a:gd name="connsiteX6" fmla="*/ 11803 w 15737"/>
                <a:gd name="connsiteY6" fmla="*/ 1967 h 7868"/>
                <a:gd name="connsiteX7" fmla="*/ 9049 w 15737"/>
                <a:gd name="connsiteY7" fmla="*/ 2361 h 7868"/>
                <a:gd name="connsiteX8" fmla="*/ 5901 w 15737"/>
                <a:gd name="connsiteY8" fmla="*/ 3147 h 7868"/>
                <a:gd name="connsiteX9" fmla="*/ 2754 w 15737"/>
                <a:gd name="connsiteY9" fmla="*/ 4721 h 7868"/>
                <a:gd name="connsiteX10" fmla="*/ 2754 w 15737"/>
                <a:gd name="connsiteY10" fmla="*/ 5114 h 7868"/>
                <a:gd name="connsiteX11" fmla="*/ 0 w 15737"/>
                <a:gd name="connsiteY11" fmla="*/ 7869 h 7868"/>
                <a:gd name="connsiteX12" fmla="*/ 3147 w 15737"/>
                <a:gd name="connsiteY12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7868">
                  <a:moveTo>
                    <a:pt x="6295" y="6688"/>
                  </a:moveTo>
                  <a:lnTo>
                    <a:pt x="9049" y="5114"/>
                  </a:lnTo>
                  <a:lnTo>
                    <a:pt x="12196" y="3541"/>
                  </a:lnTo>
                  <a:lnTo>
                    <a:pt x="14950" y="1967"/>
                  </a:lnTo>
                  <a:lnTo>
                    <a:pt x="18098" y="0"/>
                  </a:lnTo>
                  <a:lnTo>
                    <a:pt x="14950" y="1180"/>
                  </a:lnTo>
                  <a:lnTo>
                    <a:pt x="11803" y="1967"/>
                  </a:lnTo>
                  <a:lnTo>
                    <a:pt x="9049" y="2361"/>
                  </a:lnTo>
                  <a:lnTo>
                    <a:pt x="5901" y="3147"/>
                  </a:lnTo>
                  <a:lnTo>
                    <a:pt x="2754" y="4721"/>
                  </a:lnTo>
                  <a:lnTo>
                    <a:pt x="2754" y="5114"/>
                  </a:lnTo>
                  <a:lnTo>
                    <a:pt x="0" y="7869"/>
                  </a:lnTo>
                  <a:lnTo>
                    <a:pt x="3147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79" name="Freeform: Shape 2773">
              <a:extLst>
                <a:ext uri="{FF2B5EF4-FFF2-40B4-BE49-F238E27FC236}">
                  <a16:creationId xmlns:a16="http://schemas.microsoft.com/office/drawing/2014/main" id="{9745DF07-1FC5-4B34-BC89-271CCD00EEE7}"/>
                </a:ext>
              </a:extLst>
            </p:cNvPr>
            <p:cNvSpPr/>
            <p:nvPr/>
          </p:nvSpPr>
          <p:spPr>
            <a:xfrm>
              <a:off x="1870993" y="1904908"/>
              <a:ext cx="3934" cy="3934"/>
            </a:xfrm>
            <a:custGeom>
              <a:avLst/>
              <a:gdLst>
                <a:gd name="connsiteX0" fmla="*/ 1180 w 3934"/>
                <a:gd name="connsiteY0" fmla="*/ 1574 h 3934"/>
                <a:gd name="connsiteX1" fmla="*/ 0 w 3934"/>
                <a:gd name="connsiteY1" fmla="*/ 4328 h 3934"/>
                <a:gd name="connsiteX2" fmla="*/ 787 w 3934"/>
                <a:gd name="connsiteY2" fmla="*/ 3541 h 3934"/>
                <a:gd name="connsiteX3" fmla="*/ 3934 w 3934"/>
                <a:gd name="connsiteY3" fmla="*/ 2361 h 3934"/>
                <a:gd name="connsiteX4" fmla="*/ 7082 w 3934"/>
                <a:gd name="connsiteY4" fmla="*/ 0 h 3934"/>
                <a:gd name="connsiteX5" fmla="*/ 3934 w 3934"/>
                <a:gd name="connsiteY5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1180" y="1574"/>
                  </a:moveTo>
                  <a:lnTo>
                    <a:pt x="0" y="4328"/>
                  </a:lnTo>
                  <a:lnTo>
                    <a:pt x="787" y="3541"/>
                  </a:lnTo>
                  <a:lnTo>
                    <a:pt x="3934" y="2361"/>
                  </a:lnTo>
                  <a:lnTo>
                    <a:pt x="7082" y="0"/>
                  </a:lnTo>
                  <a:lnTo>
                    <a:pt x="393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80" name="Freeform: Shape 2774">
              <a:extLst>
                <a:ext uri="{FF2B5EF4-FFF2-40B4-BE49-F238E27FC236}">
                  <a16:creationId xmlns:a16="http://schemas.microsoft.com/office/drawing/2014/main" id="{72383160-530C-44E2-B019-817B6276E174}"/>
                </a:ext>
              </a:extLst>
            </p:cNvPr>
            <p:cNvSpPr/>
            <p:nvPr/>
          </p:nvSpPr>
          <p:spPr>
            <a:xfrm>
              <a:off x="1887517" y="1892712"/>
              <a:ext cx="11803" cy="3934"/>
            </a:xfrm>
            <a:custGeom>
              <a:avLst/>
              <a:gdLst>
                <a:gd name="connsiteX0" fmla="*/ 10623 w 11802"/>
                <a:gd name="connsiteY0" fmla="*/ 393 h 3934"/>
                <a:gd name="connsiteX1" fmla="*/ 7475 w 11802"/>
                <a:gd name="connsiteY1" fmla="*/ 0 h 3934"/>
                <a:gd name="connsiteX2" fmla="*/ 4721 w 11802"/>
                <a:gd name="connsiteY2" fmla="*/ 1180 h 3934"/>
                <a:gd name="connsiteX3" fmla="*/ 1574 w 11802"/>
                <a:gd name="connsiteY3" fmla="*/ 2754 h 3934"/>
                <a:gd name="connsiteX4" fmla="*/ 0 w 11802"/>
                <a:gd name="connsiteY4" fmla="*/ 5508 h 3934"/>
                <a:gd name="connsiteX5" fmla="*/ 3147 w 11802"/>
                <a:gd name="connsiteY5" fmla="*/ 5901 h 3934"/>
                <a:gd name="connsiteX6" fmla="*/ 3541 w 11802"/>
                <a:gd name="connsiteY6" fmla="*/ 5901 h 3934"/>
                <a:gd name="connsiteX7" fmla="*/ 6688 w 11802"/>
                <a:gd name="connsiteY7" fmla="*/ 4721 h 3934"/>
                <a:gd name="connsiteX8" fmla="*/ 9836 w 11802"/>
                <a:gd name="connsiteY8" fmla="*/ 4328 h 3934"/>
                <a:gd name="connsiteX9" fmla="*/ 12590 w 11802"/>
                <a:gd name="connsiteY9" fmla="*/ 2754 h 3934"/>
                <a:gd name="connsiteX10" fmla="*/ 9836 w 11802"/>
                <a:gd name="connsiteY10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3934">
                  <a:moveTo>
                    <a:pt x="10623" y="393"/>
                  </a:moveTo>
                  <a:lnTo>
                    <a:pt x="7475" y="0"/>
                  </a:lnTo>
                  <a:lnTo>
                    <a:pt x="4721" y="1180"/>
                  </a:lnTo>
                  <a:lnTo>
                    <a:pt x="1574" y="2754"/>
                  </a:lnTo>
                  <a:lnTo>
                    <a:pt x="0" y="5508"/>
                  </a:lnTo>
                  <a:lnTo>
                    <a:pt x="3147" y="5901"/>
                  </a:lnTo>
                  <a:lnTo>
                    <a:pt x="3541" y="5901"/>
                  </a:lnTo>
                  <a:lnTo>
                    <a:pt x="6688" y="4721"/>
                  </a:lnTo>
                  <a:lnTo>
                    <a:pt x="9836" y="4328"/>
                  </a:lnTo>
                  <a:lnTo>
                    <a:pt x="12590" y="2754"/>
                  </a:lnTo>
                  <a:lnTo>
                    <a:pt x="9836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81" name="Freeform: Shape 2775">
              <a:extLst>
                <a:ext uri="{FF2B5EF4-FFF2-40B4-BE49-F238E27FC236}">
                  <a16:creationId xmlns:a16="http://schemas.microsoft.com/office/drawing/2014/main" id="{AF005216-BE80-4ABF-BAFC-435646E8F4C2}"/>
                </a:ext>
              </a:extLst>
            </p:cNvPr>
            <p:cNvSpPr/>
            <p:nvPr/>
          </p:nvSpPr>
          <p:spPr>
            <a:xfrm>
              <a:off x="1902074" y="1890352"/>
              <a:ext cx="3934" cy="3934"/>
            </a:xfrm>
            <a:custGeom>
              <a:avLst/>
              <a:gdLst>
                <a:gd name="connsiteX0" fmla="*/ 1180 w 3934"/>
                <a:gd name="connsiteY0" fmla="*/ 2754 h 3934"/>
                <a:gd name="connsiteX1" fmla="*/ 0 w 3934"/>
                <a:gd name="connsiteY1" fmla="*/ 5901 h 3934"/>
                <a:gd name="connsiteX2" fmla="*/ 1574 w 3934"/>
                <a:gd name="connsiteY2" fmla="*/ 4721 h 3934"/>
                <a:gd name="connsiteX3" fmla="*/ 4328 w 3934"/>
                <a:gd name="connsiteY3" fmla="*/ 1967 h 3934"/>
                <a:gd name="connsiteX4" fmla="*/ 7475 w 3934"/>
                <a:gd name="connsiteY4" fmla="*/ 0 h 3934"/>
                <a:gd name="connsiteX5" fmla="*/ 4328 w 3934"/>
                <a:gd name="connsiteY5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1180" y="2754"/>
                  </a:moveTo>
                  <a:lnTo>
                    <a:pt x="0" y="5901"/>
                  </a:lnTo>
                  <a:lnTo>
                    <a:pt x="1574" y="4721"/>
                  </a:lnTo>
                  <a:lnTo>
                    <a:pt x="4328" y="1967"/>
                  </a:lnTo>
                  <a:lnTo>
                    <a:pt x="7475" y="0"/>
                  </a:lnTo>
                  <a:lnTo>
                    <a:pt x="4328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82" name="Freeform: Shape 2776">
              <a:extLst>
                <a:ext uri="{FF2B5EF4-FFF2-40B4-BE49-F238E27FC236}">
                  <a16:creationId xmlns:a16="http://schemas.microsoft.com/office/drawing/2014/main" id="{B62A0CCD-2523-4564-9174-FF37678BC554}"/>
                </a:ext>
              </a:extLst>
            </p:cNvPr>
            <p:cNvSpPr/>
            <p:nvPr/>
          </p:nvSpPr>
          <p:spPr>
            <a:xfrm>
              <a:off x="1903254" y="1896646"/>
              <a:ext cx="3934" cy="3934"/>
            </a:xfrm>
            <a:custGeom>
              <a:avLst/>
              <a:gdLst>
                <a:gd name="connsiteX0" fmla="*/ 3147 w 0"/>
                <a:gd name="connsiteY0" fmla="*/ 1574 h 0"/>
                <a:gd name="connsiteX1" fmla="*/ 3147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1574"/>
                  </a:move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83" name="Freeform: Shape 2777">
              <a:extLst>
                <a:ext uri="{FF2B5EF4-FFF2-40B4-BE49-F238E27FC236}">
                  <a16:creationId xmlns:a16="http://schemas.microsoft.com/office/drawing/2014/main" id="{4AD944EC-7CCA-4CD0-BCE8-A464990A08E2}"/>
                </a:ext>
              </a:extLst>
            </p:cNvPr>
            <p:cNvSpPr/>
            <p:nvPr/>
          </p:nvSpPr>
          <p:spPr>
            <a:xfrm>
              <a:off x="1911516" y="1895466"/>
              <a:ext cx="3934" cy="3934"/>
            </a:xfrm>
            <a:custGeom>
              <a:avLst/>
              <a:gdLst>
                <a:gd name="connsiteX0" fmla="*/ 2754 w 3934"/>
                <a:gd name="connsiteY0" fmla="*/ 393 h 0"/>
                <a:gd name="connsiteX1" fmla="*/ 0 w 3934"/>
                <a:gd name="connsiteY1" fmla="*/ 1967 h 0"/>
                <a:gd name="connsiteX2" fmla="*/ 2754 w 3934"/>
                <a:gd name="connsiteY2" fmla="*/ 1967 h 0"/>
                <a:gd name="connsiteX3" fmla="*/ 5901 w 3934"/>
                <a:gd name="connsiteY3" fmla="*/ 393 h 0"/>
                <a:gd name="connsiteX4" fmla="*/ 5901 w 3934"/>
                <a:gd name="connsiteY4" fmla="*/ 0 h 0"/>
                <a:gd name="connsiteX5" fmla="*/ 5508 w 3934"/>
                <a:gd name="connsiteY5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2754" y="393"/>
                  </a:moveTo>
                  <a:lnTo>
                    <a:pt x="0" y="1967"/>
                  </a:lnTo>
                  <a:lnTo>
                    <a:pt x="2754" y="1967"/>
                  </a:lnTo>
                  <a:lnTo>
                    <a:pt x="5901" y="393"/>
                  </a:lnTo>
                  <a:lnTo>
                    <a:pt x="5901" y="0"/>
                  </a:lnTo>
                  <a:lnTo>
                    <a:pt x="5508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84" name="Freeform: Shape 2778">
              <a:extLst>
                <a:ext uri="{FF2B5EF4-FFF2-40B4-BE49-F238E27FC236}">
                  <a16:creationId xmlns:a16="http://schemas.microsoft.com/office/drawing/2014/main" id="{C16D9ED5-D430-4864-9BD5-C89EC7448E2D}"/>
                </a:ext>
              </a:extLst>
            </p:cNvPr>
            <p:cNvSpPr/>
            <p:nvPr/>
          </p:nvSpPr>
          <p:spPr>
            <a:xfrm>
              <a:off x="1931975" y="1865959"/>
              <a:ext cx="51145" cy="19671"/>
            </a:xfrm>
            <a:custGeom>
              <a:avLst/>
              <a:gdLst>
                <a:gd name="connsiteX0" fmla="*/ 54686 w 51145"/>
                <a:gd name="connsiteY0" fmla="*/ 9442 h 19671"/>
                <a:gd name="connsiteX1" fmla="*/ 51932 w 51145"/>
                <a:gd name="connsiteY1" fmla="*/ 9049 h 19671"/>
                <a:gd name="connsiteX2" fmla="*/ 51145 w 51145"/>
                <a:gd name="connsiteY2" fmla="*/ 6295 h 19671"/>
                <a:gd name="connsiteX3" fmla="*/ 53899 w 51145"/>
                <a:gd name="connsiteY3" fmla="*/ 3541 h 19671"/>
                <a:gd name="connsiteX4" fmla="*/ 54293 w 51145"/>
                <a:gd name="connsiteY4" fmla="*/ 787 h 19671"/>
                <a:gd name="connsiteX5" fmla="*/ 51539 w 51145"/>
                <a:gd name="connsiteY5" fmla="*/ 0 h 19671"/>
                <a:gd name="connsiteX6" fmla="*/ 48391 w 51145"/>
                <a:gd name="connsiteY6" fmla="*/ 0 h 19671"/>
                <a:gd name="connsiteX7" fmla="*/ 45637 w 51145"/>
                <a:gd name="connsiteY7" fmla="*/ 393 h 19671"/>
                <a:gd name="connsiteX8" fmla="*/ 42883 w 51145"/>
                <a:gd name="connsiteY8" fmla="*/ 1574 h 19671"/>
                <a:gd name="connsiteX9" fmla="*/ 39736 w 51145"/>
                <a:gd name="connsiteY9" fmla="*/ 2361 h 19671"/>
                <a:gd name="connsiteX10" fmla="*/ 36982 w 51145"/>
                <a:gd name="connsiteY10" fmla="*/ 2754 h 19671"/>
                <a:gd name="connsiteX11" fmla="*/ 31081 w 51145"/>
                <a:gd name="connsiteY11" fmla="*/ 5115 h 19671"/>
                <a:gd name="connsiteX12" fmla="*/ 27933 w 51145"/>
                <a:gd name="connsiteY12" fmla="*/ 3934 h 19671"/>
                <a:gd name="connsiteX13" fmla="*/ 25179 w 51145"/>
                <a:gd name="connsiteY13" fmla="*/ 5115 h 19671"/>
                <a:gd name="connsiteX14" fmla="*/ 22032 w 51145"/>
                <a:gd name="connsiteY14" fmla="*/ 6688 h 19671"/>
                <a:gd name="connsiteX15" fmla="*/ 19278 w 51145"/>
                <a:gd name="connsiteY15" fmla="*/ 7869 h 19671"/>
                <a:gd name="connsiteX16" fmla="*/ 16524 w 51145"/>
                <a:gd name="connsiteY16" fmla="*/ 9836 h 19671"/>
                <a:gd name="connsiteX17" fmla="*/ 13376 w 51145"/>
                <a:gd name="connsiteY17" fmla="*/ 11409 h 19671"/>
                <a:gd name="connsiteX18" fmla="*/ 10229 w 51145"/>
                <a:gd name="connsiteY18" fmla="*/ 12983 h 19671"/>
                <a:gd name="connsiteX19" fmla="*/ 7082 w 51145"/>
                <a:gd name="connsiteY19" fmla="*/ 13376 h 19671"/>
                <a:gd name="connsiteX20" fmla="*/ 5114 w 51145"/>
                <a:gd name="connsiteY20" fmla="*/ 14163 h 19671"/>
                <a:gd name="connsiteX21" fmla="*/ 2361 w 51145"/>
                <a:gd name="connsiteY21" fmla="*/ 15737 h 19671"/>
                <a:gd name="connsiteX22" fmla="*/ 0 w 51145"/>
                <a:gd name="connsiteY22" fmla="*/ 18491 h 19671"/>
                <a:gd name="connsiteX23" fmla="*/ 2754 w 51145"/>
                <a:gd name="connsiteY23" fmla="*/ 21245 h 19671"/>
                <a:gd name="connsiteX24" fmla="*/ 6295 w 51145"/>
                <a:gd name="connsiteY24" fmla="*/ 20458 h 19671"/>
                <a:gd name="connsiteX25" fmla="*/ 9049 w 51145"/>
                <a:gd name="connsiteY25" fmla="*/ 20065 h 19671"/>
                <a:gd name="connsiteX26" fmla="*/ 11803 w 51145"/>
                <a:gd name="connsiteY26" fmla="*/ 19278 h 19671"/>
                <a:gd name="connsiteX27" fmla="*/ 14950 w 51145"/>
                <a:gd name="connsiteY27" fmla="*/ 18098 h 19671"/>
                <a:gd name="connsiteX28" fmla="*/ 17704 w 51145"/>
                <a:gd name="connsiteY28" fmla="*/ 16131 h 19671"/>
                <a:gd name="connsiteX29" fmla="*/ 20852 w 51145"/>
                <a:gd name="connsiteY29" fmla="*/ 14950 h 19671"/>
                <a:gd name="connsiteX30" fmla="*/ 23999 w 51145"/>
                <a:gd name="connsiteY30" fmla="*/ 14163 h 19671"/>
                <a:gd name="connsiteX31" fmla="*/ 26753 w 51145"/>
                <a:gd name="connsiteY31" fmla="*/ 13376 h 19671"/>
                <a:gd name="connsiteX32" fmla="*/ 29900 w 51145"/>
                <a:gd name="connsiteY32" fmla="*/ 13376 h 19671"/>
                <a:gd name="connsiteX33" fmla="*/ 32654 w 51145"/>
                <a:gd name="connsiteY33" fmla="*/ 12983 h 19671"/>
                <a:gd name="connsiteX34" fmla="*/ 35408 w 51145"/>
                <a:gd name="connsiteY34" fmla="*/ 13376 h 19671"/>
                <a:gd name="connsiteX35" fmla="*/ 38556 w 51145"/>
                <a:gd name="connsiteY35" fmla="*/ 13770 h 19671"/>
                <a:gd name="connsiteX36" fmla="*/ 41310 w 51145"/>
                <a:gd name="connsiteY36" fmla="*/ 12983 h 19671"/>
                <a:gd name="connsiteX37" fmla="*/ 44457 w 51145"/>
                <a:gd name="connsiteY37" fmla="*/ 12196 h 19671"/>
                <a:gd name="connsiteX38" fmla="*/ 47211 w 51145"/>
                <a:gd name="connsiteY38" fmla="*/ 9836 h 19671"/>
                <a:gd name="connsiteX39" fmla="*/ 50359 w 51145"/>
                <a:gd name="connsiteY39" fmla="*/ 11409 h 19671"/>
                <a:gd name="connsiteX40" fmla="*/ 53113 w 51145"/>
                <a:gd name="connsiteY40" fmla="*/ 12196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1145" h="19671">
                  <a:moveTo>
                    <a:pt x="54686" y="9442"/>
                  </a:moveTo>
                  <a:lnTo>
                    <a:pt x="51932" y="9049"/>
                  </a:lnTo>
                  <a:lnTo>
                    <a:pt x="51145" y="6295"/>
                  </a:lnTo>
                  <a:lnTo>
                    <a:pt x="53899" y="3541"/>
                  </a:lnTo>
                  <a:lnTo>
                    <a:pt x="54293" y="787"/>
                  </a:lnTo>
                  <a:lnTo>
                    <a:pt x="51539" y="0"/>
                  </a:lnTo>
                  <a:lnTo>
                    <a:pt x="48391" y="0"/>
                  </a:lnTo>
                  <a:lnTo>
                    <a:pt x="45637" y="393"/>
                  </a:lnTo>
                  <a:lnTo>
                    <a:pt x="42883" y="1574"/>
                  </a:lnTo>
                  <a:lnTo>
                    <a:pt x="39736" y="2361"/>
                  </a:lnTo>
                  <a:lnTo>
                    <a:pt x="36982" y="2754"/>
                  </a:lnTo>
                  <a:lnTo>
                    <a:pt x="31081" y="5115"/>
                  </a:lnTo>
                  <a:lnTo>
                    <a:pt x="27933" y="3934"/>
                  </a:lnTo>
                  <a:lnTo>
                    <a:pt x="25179" y="5115"/>
                  </a:lnTo>
                  <a:lnTo>
                    <a:pt x="22032" y="6688"/>
                  </a:lnTo>
                  <a:lnTo>
                    <a:pt x="19278" y="7869"/>
                  </a:lnTo>
                  <a:lnTo>
                    <a:pt x="16524" y="9836"/>
                  </a:lnTo>
                  <a:lnTo>
                    <a:pt x="13376" y="11409"/>
                  </a:lnTo>
                  <a:lnTo>
                    <a:pt x="10229" y="12983"/>
                  </a:lnTo>
                  <a:lnTo>
                    <a:pt x="7082" y="13376"/>
                  </a:lnTo>
                  <a:lnTo>
                    <a:pt x="5114" y="14163"/>
                  </a:lnTo>
                  <a:lnTo>
                    <a:pt x="2361" y="15737"/>
                  </a:lnTo>
                  <a:lnTo>
                    <a:pt x="0" y="18491"/>
                  </a:lnTo>
                  <a:lnTo>
                    <a:pt x="2754" y="21245"/>
                  </a:lnTo>
                  <a:lnTo>
                    <a:pt x="6295" y="20458"/>
                  </a:lnTo>
                  <a:lnTo>
                    <a:pt x="9049" y="20065"/>
                  </a:lnTo>
                  <a:lnTo>
                    <a:pt x="11803" y="19278"/>
                  </a:lnTo>
                  <a:lnTo>
                    <a:pt x="14950" y="18098"/>
                  </a:lnTo>
                  <a:lnTo>
                    <a:pt x="17704" y="16131"/>
                  </a:lnTo>
                  <a:lnTo>
                    <a:pt x="20852" y="14950"/>
                  </a:lnTo>
                  <a:lnTo>
                    <a:pt x="23999" y="14163"/>
                  </a:lnTo>
                  <a:lnTo>
                    <a:pt x="26753" y="13376"/>
                  </a:lnTo>
                  <a:lnTo>
                    <a:pt x="29900" y="13376"/>
                  </a:lnTo>
                  <a:lnTo>
                    <a:pt x="32654" y="12983"/>
                  </a:lnTo>
                  <a:lnTo>
                    <a:pt x="35408" y="13376"/>
                  </a:lnTo>
                  <a:lnTo>
                    <a:pt x="38556" y="13770"/>
                  </a:lnTo>
                  <a:lnTo>
                    <a:pt x="41310" y="12983"/>
                  </a:lnTo>
                  <a:lnTo>
                    <a:pt x="44457" y="12196"/>
                  </a:lnTo>
                  <a:lnTo>
                    <a:pt x="47211" y="9836"/>
                  </a:lnTo>
                  <a:lnTo>
                    <a:pt x="50359" y="11409"/>
                  </a:lnTo>
                  <a:lnTo>
                    <a:pt x="53113" y="1219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85" name="Freeform: Shape 2779">
              <a:extLst>
                <a:ext uri="{FF2B5EF4-FFF2-40B4-BE49-F238E27FC236}">
                  <a16:creationId xmlns:a16="http://schemas.microsoft.com/office/drawing/2014/main" id="{95F2B04C-B8C7-4482-83DA-AC834097EAB4}"/>
                </a:ext>
              </a:extLst>
            </p:cNvPr>
            <p:cNvSpPr/>
            <p:nvPr/>
          </p:nvSpPr>
          <p:spPr>
            <a:xfrm>
              <a:off x="1983907" y="1883663"/>
              <a:ext cx="3934" cy="3934"/>
            </a:xfrm>
            <a:custGeom>
              <a:avLst/>
              <a:gdLst>
                <a:gd name="connsiteX0" fmla="*/ 1180 w 3934"/>
                <a:gd name="connsiteY0" fmla="*/ 0 h 0"/>
                <a:gd name="connsiteX1" fmla="*/ 0 w 3934"/>
                <a:gd name="connsiteY1" fmla="*/ 3147 h 0"/>
                <a:gd name="connsiteX2" fmla="*/ 2754 w 3934"/>
                <a:gd name="connsiteY2" fmla="*/ 3541 h 0"/>
                <a:gd name="connsiteX3" fmla="*/ 5508 w 3934"/>
                <a:gd name="connsiteY3" fmla="*/ 1574 h 0"/>
                <a:gd name="connsiteX4" fmla="*/ 2754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1180" y="0"/>
                  </a:moveTo>
                  <a:lnTo>
                    <a:pt x="0" y="3147"/>
                  </a:lnTo>
                  <a:lnTo>
                    <a:pt x="2754" y="3541"/>
                  </a:lnTo>
                  <a:lnTo>
                    <a:pt x="5508" y="1574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86" name="Freeform: Shape 2780">
              <a:extLst>
                <a:ext uri="{FF2B5EF4-FFF2-40B4-BE49-F238E27FC236}">
                  <a16:creationId xmlns:a16="http://schemas.microsoft.com/office/drawing/2014/main" id="{1EACCACF-685F-4BBF-AE9F-4691B48B2F13}"/>
                </a:ext>
              </a:extLst>
            </p:cNvPr>
            <p:cNvSpPr/>
            <p:nvPr/>
          </p:nvSpPr>
          <p:spPr>
            <a:xfrm>
              <a:off x="2010660" y="1867926"/>
              <a:ext cx="3934" cy="3934"/>
            </a:xfrm>
            <a:custGeom>
              <a:avLst/>
              <a:gdLst>
                <a:gd name="connsiteX0" fmla="*/ 2754 w 3934"/>
                <a:gd name="connsiteY0" fmla="*/ 787 h 3934"/>
                <a:gd name="connsiteX1" fmla="*/ 0 w 3934"/>
                <a:gd name="connsiteY1" fmla="*/ 1574 h 3934"/>
                <a:gd name="connsiteX2" fmla="*/ 787 w 3934"/>
                <a:gd name="connsiteY2" fmla="*/ 4328 h 3934"/>
                <a:gd name="connsiteX3" fmla="*/ 3541 w 3934"/>
                <a:gd name="connsiteY3" fmla="*/ 3147 h 3934"/>
                <a:gd name="connsiteX4" fmla="*/ 6688 w 3934"/>
                <a:gd name="connsiteY4" fmla="*/ 393 h 3934"/>
                <a:gd name="connsiteX5" fmla="*/ 5901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2754" y="787"/>
                  </a:moveTo>
                  <a:lnTo>
                    <a:pt x="0" y="1574"/>
                  </a:lnTo>
                  <a:lnTo>
                    <a:pt x="787" y="4328"/>
                  </a:lnTo>
                  <a:lnTo>
                    <a:pt x="3541" y="3147"/>
                  </a:lnTo>
                  <a:lnTo>
                    <a:pt x="6688" y="393"/>
                  </a:lnTo>
                  <a:lnTo>
                    <a:pt x="590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87" name="Freeform: Shape 2781">
              <a:extLst>
                <a:ext uri="{FF2B5EF4-FFF2-40B4-BE49-F238E27FC236}">
                  <a16:creationId xmlns:a16="http://schemas.microsoft.com/office/drawing/2014/main" id="{8665EFEB-628B-4D08-B828-70529645F6AD}"/>
                </a:ext>
              </a:extLst>
            </p:cNvPr>
            <p:cNvSpPr/>
            <p:nvPr/>
          </p:nvSpPr>
          <p:spPr>
            <a:xfrm>
              <a:off x="2031905" y="1862025"/>
              <a:ext cx="3934" cy="3934"/>
            </a:xfrm>
            <a:custGeom>
              <a:avLst/>
              <a:gdLst>
                <a:gd name="connsiteX0" fmla="*/ 0 w 3934"/>
                <a:gd name="connsiteY0" fmla="*/ 1180 h 0"/>
                <a:gd name="connsiteX1" fmla="*/ 2754 w 3934"/>
                <a:gd name="connsiteY1" fmla="*/ 393 h 0"/>
                <a:gd name="connsiteX2" fmla="*/ 1574 w 3934"/>
                <a:gd name="connsiteY2" fmla="*/ 3147 h 0"/>
                <a:gd name="connsiteX3" fmla="*/ 4328 w 3934"/>
                <a:gd name="connsiteY3" fmla="*/ 787 h 0"/>
                <a:gd name="connsiteX4" fmla="*/ 2754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180"/>
                  </a:moveTo>
                  <a:lnTo>
                    <a:pt x="2754" y="393"/>
                  </a:lnTo>
                  <a:lnTo>
                    <a:pt x="1574" y="3147"/>
                  </a:lnTo>
                  <a:lnTo>
                    <a:pt x="4328" y="78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88" name="Freeform: Shape 2782">
              <a:extLst>
                <a:ext uri="{FF2B5EF4-FFF2-40B4-BE49-F238E27FC236}">
                  <a16:creationId xmlns:a16="http://schemas.microsoft.com/office/drawing/2014/main" id="{466DB009-FFCB-470E-A352-F82904B478F8}"/>
                </a:ext>
              </a:extLst>
            </p:cNvPr>
            <p:cNvSpPr/>
            <p:nvPr/>
          </p:nvSpPr>
          <p:spPr>
            <a:xfrm>
              <a:off x="1742343" y="1936382"/>
              <a:ext cx="3934" cy="3934"/>
            </a:xfrm>
            <a:custGeom>
              <a:avLst/>
              <a:gdLst>
                <a:gd name="connsiteX0" fmla="*/ 1180 w 3934"/>
                <a:gd name="connsiteY0" fmla="*/ 1180 h 0"/>
                <a:gd name="connsiteX1" fmla="*/ 0 w 3934"/>
                <a:gd name="connsiteY1" fmla="*/ 1967 h 0"/>
                <a:gd name="connsiteX2" fmla="*/ 393 w 3934"/>
                <a:gd name="connsiteY2" fmla="*/ 2361 h 0"/>
                <a:gd name="connsiteX3" fmla="*/ 3541 w 3934"/>
                <a:gd name="connsiteY3" fmla="*/ 1180 h 0"/>
                <a:gd name="connsiteX4" fmla="*/ 6688 w 3934"/>
                <a:gd name="connsiteY4" fmla="*/ 2754 h 0"/>
                <a:gd name="connsiteX5" fmla="*/ 7082 w 3934"/>
                <a:gd name="connsiteY5" fmla="*/ 0 h 0"/>
                <a:gd name="connsiteX6" fmla="*/ 3934 w 3934"/>
                <a:gd name="connsiteY6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>
                  <a:moveTo>
                    <a:pt x="1180" y="1180"/>
                  </a:moveTo>
                  <a:lnTo>
                    <a:pt x="0" y="1967"/>
                  </a:lnTo>
                  <a:lnTo>
                    <a:pt x="393" y="2361"/>
                  </a:lnTo>
                  <a:lnTo>
                    <a:pt x="3541" y="1180"/>
                  </a:lnTo>
                  <a:lnTo>
                    <a:pt x="6688" y="2754"/>
                  </a:lnTo>
                  <a:lnTo>
                    <a:pt x="7082" y="0"/>
                  </a:lnTo>
                  <a:lnTo>
                    <a:pt x="393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89" name="Freeform: Shape 2783">
              <a:extLst>
                <a:ext uri="{FF2B5EF4-FFF2-40B4-BE49-F238E27FC236}">
                  <a16:creationId xmlns:a16="http://schemas.microsoft.com/office/drawing/2014/main" id="{84AD78A2-589A-47C7-A3A8-1B8DFE7F8062}"/>
                </a:ext>
              </a:extLst>
            </p:cNvPr>
            <p:cNvSpPr/>
            <p:nvPr/>
          </p:nvSpPr>
          <p:spPr>
            <a:xfrm>
              <a:off x="1766735" y="1913957"/>
              <a:ext cx="55080" cy="23606"/>
            </a:xfrm>
            <a:custGeom>
              <a:avLst/>
              <a:gdLst>
                <a:gd name="connsiteX0" fmla="*/ 53506 w 55079"/>
                <a:gd name="connsiteY0" fmla="*/ 3541 h 23605"/>
                <a:gd name="connsiteX1" fmla="*/ 56653 w 55079"/>
                <a:gd name="connsiteY1" fmla="*/ 1967 h 23605"/>
                <a:gd name="connsiteX2" fmla="*/ 56653 w 55079"/>
                <a:gd name="connsiteY2" fmla="*/ 1180 h 23605"/>
                <a:gd name="connsiteX3" fmla="*/ 53506 w 55079"/>
                <a:gd name="connsiteY3" fmla="*/ 0 h 23605"/>
                <a:gd name="connsiteX4" fmla="*/ 50359 w 55079"/>
                <a:gd name="connsiteY4" fmla="*/ 393 h 23605"/>
                <a:gd name="connsiteX5" fmla="*/ 47211 w 55079"/>
                <a:gd name="connsiteY5" fmla="*/ 787 h 23605"/>
                <a:gd name="connsiteX6" fmla="*/ 44457 w 55079"/>
                <a:gd name="connsiteY6" fmla="*/ 1967 h 23605"/>
                <a:gd name="connsiteX7" fmla="*/ 41310 w 55079"/>
                <a:gd name="connsiteY7" fmla="*/ 2754 h 23605"/>
                <a:gd name="connsiteX8" fmla="*/ 38556 w 55079"/>
                <a:gd name="connsiteY8" fmla="*/ 4721 h 23605"/>
                <a:gd name="connsiteX9" fmla="*/ 35408 w 55079"/>
                <a:gd name="connsiteY9" fmla="*/ 7082 h 23605"/>
                <a:gd name="connsiteX10" fmla="*/ 33048 w 55079"/>
                <a:gd name="connsiteY10" fmla="*/ 9836 h 23605"/>
                <a:gd name="connsiteX11" fmla="*/ 29900 w 55079"/>
                <a:gd name="connsiteY11" fmla="*/ 9836 h 23605"/>
                <a:gd name="connsiteX12" fmla="*/ 26753 w 55079"/>
                <a:gd name="connsiteY12" fmla="*/ 9442 h 23605"/>
                <a:gd name="connsiteX13" fmla="*/ 23999 w 55079"/>
                <a:gd name="connsiteY13" fmla="*/ 11016 h 23605"/>
                <a:gd name="connsiteX14" fmla="*/ 21245 w 55079"/>
                <a:gd name="connsiteY14" fmla="*/ 12196 h 23605"/>
                <a:gd name="connsiteX15" fmla="*/ 18098 w 55079"/>
                <a:gd name="connsiteY15" fmla="*/ 13770 h 23605"/>
                <a:gd name="connsiteX16" fmla="*/ 14950 w 55079"/>
                <a:gd name="connsiteY16" fmla="*/ 16524 h 23605"/>
                <a:gd name="connsiteX17" fmla="*/ 12196 w 55079"/>
                <a:gd name="connsiteY17" fmla="*/ 17704 h 23605"/>
                <a:gd name="connsiteX18" fmla="*/ 9049 w 55079"/>
                <a:gd name="connsiteY18" fmla="*/ 19671 h 23605"/>
                <a:gd name="connsiteX19" fmla="*/ 5901 w 55079"/>
                <a:gd name="connsiteY19" fmla="*/ 20852 h 23605"/>
                <a:gd name="connsiteX20" fmla="*/ 3147 w 55079"/>
                <a:gd name="connsiteY20" fmla="*/ 22425 h 23605"/>
                <a:gd name="connsiteX21" fmla="*/ 0 w 55079"/>
                <a:gd name="connsiteY21" fmla="*/ 23606 h 23605"/>
                <a:gd name="connsiteX22" fmla="*/ 3147 w 55079"/>
                <a:gd name="connsiteY22" fmla="*/ 22819 h 23605"/>
                <a:gd name="connsiteX23" fmla="*/ 5901 w 55079"/>
                <a:gd name="connsiteY23" fmla="*/ 21638 h 23605"/>
                <a:gd name="connsiteX24" fmla="*/ 9049 w 55079"/>
                <a:gd name="connsiteY24" fmla="*/ 20852 h 23605"/>
                <a:gd name="connsiteX25" fmla="*/ 12196 w 55079"/>
                <a:gd name="connsiteY25" fmla="*/ 19671 h 23605"/>
                <a:gd name="connsiteX26" fmla="*/ 14950 w 55079"/>
                <a:gd name="connsiteY26" fmla="*/ 18884 h 23605"/>
                <a:gd name="connsiteX27" fmla="*/ 18098 w 55079"/>
                <a:gd name="connsiteY27" fmla="*/ 17704 h 23605"/>
                <a:gd name="connsiteX28" fmla="*/ 21245 w 55079"/>
                <a:gd name="connsiteY28" fmla="*/ 16917 h 23605"/>
                <a:gd name="connsiteX29" fmla="*/ 23999 w 55079"/>
                <a:gd name="connsiteY29" fmla="*/ 16131 h 23605"/>
                <a:gd name="connsiteX30" fmla="*/ 26753 w 55079"/>
                <a:gd name="connsiteY30" fmla="*/ 14557 h 23605"/>
                <a:gd name="connsiteX31" fmla="*/ 29900 w 55079"/>
                <a:gd name="connsiteY31" fmla="*/ 12983 h 23605"/>
                <a:gd name="connsiteX32" fmla="*/ 32654 w 55079"/>
                <a:gd name="connsiteY32" fmla="*/ 11409 h 23605"/>
                <a:gd name="connsiteX33" fmla="*/ 35802 w 55079"/>
                <a:gd name="connsiteY33" fmla="*/ 10229 h 23605"/>
                <a:gd name="connsiteX34" fmla="*/ 38556 w 55079"/>
                <a:gd name="connsiteY34" fmla="*/ 9442 h 23605"/>
                <a:gd name="connsiteX35" fmla="*/ 41310 w 55079"/>
                <a:gd name="connsiteY35" fmla="*/ 8655 h 23605"/>
                <a:gd name="connsiteX36" fmla="*/ 44457 w 55079"/>
                <a:gd name="connsiteY36" fmla="*/ 7869 h 23605"/>
                <a:gd name="connsiteX37" fmla="*/ 47605 w 55079"/>
                <a:gd name="connsiteY37" fmla="*/ 6688 h 23605"/>
                <a:gd name="connsiteX38" fmla="*/ 50359 w 55079"/>
                <a:gd name="connsiteY38" fmla="*/ 5901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5079" h="23605">
                  <a:moveTo>
                    <a:pt x="53506" y="3541"/>
                  </a:moveTo>
                  <a:lnTo>
                    <a:pt x="56653" y="1967"/>
                  </a:lnTo>
                  <a:lnTo>
                    <a:pt x="56653" y="1180"/>
                  </a:lnTo>
                  <a:lnTo>
                    <a:pt x="53506" y="0"/>
                  </a:lnTo>
                  <a:lnTo>
                    <a:pt x="50359" y="393"/>
                  </a:lnTo>
                  <a:lnTo>
                    <a:pt x="47211" y="787"/>
                  </a:lnTo>
                  <a:lnTo>
                    <a:pt x="44457" y="1967"/>
                  </a:lnTo>
                  <a:lnTo>
                    <a:pt x="41310" y="2754"/>
                  </a:lnTo>
                  <a:lnTo>
                    <a:pt x="38556" y="4721"/>
                  </a:lnTo>
                  <a:lnTo>
                    <a:pt x="35408" y="7082"/>
                  </a:lnTo>
                  <a:lnTo>
                    <a:pt x="33048" y="9836"/>
                  </a:lnTo>
                  <a:lnTo>
                    <a:pt x="29900" y="9836"/>
                  </a:lnTo>
                  <a:lnTo>
                    <a:pt x="26753" y="9442"/>
                  </a:lnTo>
                  <a:lnTo>
                    <a:pt x="23999" y="11016"/>
                  </a:lnTo>
                  <a:lnTo>
                    <a:pt x="21245" y="12196"/>
                  </a:lnTo>
                  <a:lnTo>
                    <a:pt x="18098" y="13770"/>
                  </a:lnTo>
                  <a:lnTo>
                    <a:pt x="14950" y="16524"/>
                  </a:lnTo>
                  <a:lnTo>
                    <a:pt x="12196" y="17704"/>
                  </a:lnTo>
                  <a:lnTo>
                    <a:pt x="9049" y="19671"/>
                  </a:lnTo>
                  <a:lnTo>
                    <a:pt x="5901" y="20852"/>
                  </a:lnTo>
                  <a:lnTo>
                    <a:pt x="3147" y="22425"/>
                  </a:lnTo>
                  <a:lnTo>
                    <a:pt x="0" y="23606"/>
                  </a:lnTo>
                  <a:lnTo>
                    <a:pt x="3147" y="22819"/>
                  </a:lnTo>
                  <a:lnTo>
                    <a:pt x="5901" y="21638"/>
                  </a:lnTo>
                  <a:lnTo>
                    <a:pt x="9049" y="20852"/>
                  </a:lnTo>
                  <a:lnTo>
                    <a:pt x="12196" y="19671"/>
                  </a:lnTo>
                  <a:lnTo>
                    <a:pt x="14950" y="18884"/>
                  </a:lnTo>
                  <a:lnTo>
                    <a:pt x="18098" y="17704"/>
                  </a:lnTo>
                  <a:lnTo>
                    <a:pt x="21245" y="16917"/>
                  </a:lnTo>
                  <a:lnTo>
                    <a:pt x="23999" y="16131"/>
                  </a:lnTo>
                  <a:lnTo>
                    <a:pt x="26753" y="14557"/>
                  </a:lnTo>
                  <a:lnTo>
                    <a:pt x="29900" y="12983"/>
                  </a:lnTo>
                  <a:lnTo>
                    <a:pt x="32654" y="11409"/>
                  </a:lnTo>
                  <a:lnTo>
                    <a:pt x="35802" y="10229"/>
                  </a:lnTo>
                  <a:lnTo>
                    <a:pt x="38556" y="9442"/>
                  </a:lnTo>
                  <a:lnTo>
                    <a:pt x="41310" y="8655"/>
                  </a:lnTo>
                  <a:lnTo>
                    <a:pt x="44457" y="7869"/>
                  </a:lnTo>
                  <a:lnTo>
                    <a:pt x="47605" y="6688"/>
                  </a:lnTo>
                  <a:lnTo>
                    <a:pt x="50359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90" name="Freeform: Shape 2784">
              <a:extLst>
                <a:ext uri="{FF2B5EF4-FFF2-40B4-BE49-F238E27FC236}">
                  <a16:creationId xmlns:a16="http://schemas.microsoft.com/office/drawing/2014/main" id="{9A448CC8-947F-4441-A751-3A6CB001E8DC}"/>
                </a:ext>
              </a:extLst>
            </p:cNvPr>
            <p:cNvSpPr/>
            <p:nvPr/>
          </p:nvSpPr>
          <p:spPr>
            <a:xfrm>
              <a:off x="1815127" y="1899400"/>
              <a:ext cx="59014" cy="23606"/>
            </a:xfrm>
            <a:custGeom>
              <a:avLst/>
              <a:gdLst>
                <a:gd name="connsiteX0" fmla="*/ 53113 w 59013"/>
                <a:gd name="connsiteY0" fmla="*/ 7082 h 23605"/>
                <a:gd name="connsiteX1" fmla="*/ 55867 w 59013"/>
                <a:gd name="connsiteY1" fmla="*/ 5901 h 23605"/>
                <a:gd name="connsiteX2" fmla="*/ 59014 w 59013"/>
                <a:gd name="connsiteY2" fmla="*/ 4721 h 23605"/>
                <a:gd name="connsiteX3" fmla="*/ 61768 w 59013"/>
                <a:gd name="connsiteY3" fmla="*/ 3147 h 23605"/>
                <a:gd name="connsiteX4" fmla="*/ 62161 w 59013"/>
                <a:gd name="connsiteY4" fmla="*/ 393 h 23605"/>
                <a:gd name="connsiteX5" fmla="*/ 59014 w 59013"/>
                <a:gd name="connsiteY5" fmla="*/ 1967 h 23605"/>
                <a:gd name="connsiteX6" fmla="*/ 56260 w 59013"/>
                <a:gd name="connsiteY6" fmla="*/ 3541 h 23605"/>
                <a:gd name="connsiteX7" fmla="*/ 53113 w 59013"/>
                <a:gd name="connsiteY7" fmla="*/ 4721 h 23605"/>
                <a:gd name="connsiteX8" fmla="*/ 50359 w 59013"/>
                <a:gd name="connsiteY8" fmla="*/ 5901 h 23605"/>
                <a:gd name="connsiteX9" fmla="*/ 52719 w 59013"/>
                <a:gd name="connsiteY9" fmla="*/ 2754 h 23605"/>
                <a:gd name="connsiteX10" fmla="*/ 55080 w 59013"/>
                <a:gd name="connsiteY10" fmla="*/ 0 h 23605"/>
                <a:gd name="connsiteX11" fmla="*/ 52326 w 59013"/>
                <a:gd name="connsiteY11" fmla="*/ 0 h 23605"/>
                <a:gd name="connsiteX12" fmla="*/ 49572 w 59013"/>
                <a:gd name="connsiteY12" fmla="*/ 1180 h 23605"/>
                <a:gd name="connsiteX13" fmla="*/ 46424 w 59013"/>
                <a:gd name="connsiteY13" fmla="*/ 1574 h 23605"/>
                <a:gd name="connsiteX14" fmla="*/ 43277 w 59013"/>
                <a:gd name="connsiteY14" fmla="*/ 2361 h 23605"/>
                <a:gd name="connsiteX15" fmla="*/ 39736 w 59013"/>
                <a:gd name="connsiteY15" fmla="*/ 3934 h 23605"/>
                <a:gd name="connsiteX16" fmla="*/ 36982 w 59013"/>
                <a:gd name="connsiteY16" fmla="*/ 5115 h 23605"/>
                <a:gd name="connsiteX17" fmla="*/ 37376 w 59013"/>
                <a:gd name="connsiteY17" fmla="*/ 7869 h 23605"/>
                <a:gd name="connsiteX18" fmla="*/ 40523 w 59013"/>
                <a:gd name="connsiteY18" fmla="*/ 9049 h 23605"/>
                <a:gd name="connsiteX19" fmla="*/ 43670 w 59013"/>
                <a:gd name="connsiteY19" fmla="*/ 9442 h 23605"/>
                <a:gd name="connsiteX20" fmla="*/ 40523 w 59013"/>
                <a:gd name="connsiteY20" fmla="*/ 10229 h 23605"/>
                <a:gd name="connsiteX21" fmla="*/ 37376 w 59013"/>
                <a:gd name="connsiteY21" fmla="*/ 9836 h 23605"/>
                <a:gd name="connsiteX22" fmla="*/ 34622 w 59013"/>
                <a:gd name="connsiteY22" fmla="*/ 9836 h 23605"/>
                <a:gd name="connsiteX23" fmla="*/ 31868 w 59013"/>
                <a:gd name="connsiteY23" fmla="*/ 12196 h 23605"/>
                <a:gd name="connsiteX24" fmla="*/ 28720 w 59013"/>
                <a:gd name="connsiteY24" fmla="*/ 12590 h 23605"/>
                <a:gd name="connsiteX25" fmla="*/ 29507 w 59013"/>
                <a:gd name="connsiteY25" fmla="*/ 15737 h 23605"/>
                <a:gd name="connsiteX26" fmla="*/ 26360 w 59013"/>
                <a:gd name="connsiteY26" fmla="*/ 16131 h 23605"/>
                <a:gd name="connsiteX27" fmla="*/ 23212 w 59013"/>
                <a:gd name="connsiteY27" fmla="*/ 17311 h 23605"/>
                <a:gd name="connsiteX28" fmla="*/ 20458 w 59013"/>
                <a:gd name="connsiteY28" fmla="*/ 17311 h 23605"/>
                <a:gd name="connsiteX29" fmla="*/ 17704 w 59013"/>
                <a:gd name="connsiteY29" fmla="*/ 18491 h 23605"/>
                <a:gd name="connsiteX30" fmla="*/ 14950 w 59013"/>
                <a:gd name="connsiteY30" fmla="*/ 18884 h 23605"/>
                <a:gd name="connsiteX31" fmla="*/ 11803 w 59013"/>
                <a:gd name="connsiteY31" fmla="*/ 20065 h 23605"/>
                <a:gd name="connsiteX32" fmla="*/ 9049 w 59013"/>
                <a:gd name="connsiteY32" fmla="*/ 20458 h 23605"/>
                <a:gd name="connsiteX33" fmla="*/ 5901 w 59013"/>
                <a:gd name="connsiteY33" fmla="*/ 20458 h 23605"/>
                <a:gd name="connsiteX34" fmla="*/ 3147 w 59013"/>
                <a:gd name="connsiteY34" fmla="*/ 21638 h 23605"/>
                <a:gd name="connsiteX35" fmla="*/ 0 w 59013"/>
                <a:gd name="connsiteY35" fmla="*/ 23212 h 23605"/>
                <a:gd name="connsiteX36" fmla="*/ 2754 w 59013"/>
                <a:gd name="connsiteY36" fmla="*/ 24392 h 23605"/>
                <a:gd name="connsiteX37" fmla="*/ 3934 w 59013"/>
                <a:gd name="connsiteY37" fmla="*/ 23999 h 23605"/>
                <a:gd name="connsiteX38" fmla="*/ 7082 w 59013"/>
                <a:gd name="connsiteY38" fmla="*/ 24392 h 23605"/>
                <a:gd name="connsiteX39" fmla="*/ 9836 w 59013"/>
                <a:gd name="connsiteY39" fmla="*/ 22819 h 23605"/>
                <a:gd name="connsiteX40" fmla="*/ 12590 w 59013"/>
                <a:gd name="connsiteY40" fmla="*/ 21638 h 23605"/>
                <a:gd name="connsiteX41" fmla="*/ 15737 w 59013"/>
                <a:gd name="connsiteY41" fmla="*/ 21245 h 23605"/>
                <a:gd name="connsiteX42" fmla="*/ 18491 w 59013"/>
                <a:gd name="connsiteY42" fmla="*/ 20065 h 23605"/>
                <a:gd name="connsiteX43" fmla="*/ 21638 w 59013"/>
                <a:gd name="connsiteY43" fmla="*/ 19278 h 23605"/>
                <a:gd name="connsiteX44" fmla="*/ 24392 w 59013"/>
                <a:gd name="connsiteY44" fmla="*/ 18884 h 23605"/>
                <a:gd name="connsiteX45" fmla="*/ 27540 w 59013"/>
                <a:gd name="connsiteY45" fmla="*/ 18491 h 23605"/>
                <a:gd name="connsiteX46" fmla="*/ 30294 w 59013"/>
                <a:gd name="connsiteY46" fmla="*/ 16917 h 23605"/>
                <a:gd name="connsiteX47" fmla="*/ 33441 w 59013"/>
                <a:gd name="connsiteY47" fmla="*/ 18098 h 23605"/>
                <a:gd name="connsiteX48" fmla="*/ 36589 w 59013"/>
                <a:gd name="connsiteY48" fmla="*/ 16917 h 23605"/>
                <a:gd name="connsiteX49" fmla="*/ 39343 w 59013"/>
                <a:gd name="connsiteY49" fmla="*/ 14950 h 23605"/>
                <a:gd name="connsiteX50" fmla="*/ 42097 w 59013"/>
                <a:gd name="connsiteY50" fmla="*/ 14163 h 23605"/>
                <a:gd name="connsiteX51" fmla="*/ 45244 w 59013"/>
                <a:gd name="connsiteY51" fmla="*/ 12196 h 23605"/>
                <a:gd name="connsiteX52" fmla="*/ 47998 w 59013"/>
                <a:gd name="connsiteY52" fmla="*/ 11803 h 23605"/>
                <a:gd name="connsiteX53" fmla="*/ 50752 w 59013"/>
                <a:gd name="connsiteY53" fmla="*/ 11016 h 23605"/>
                <a:gd name="connsiteX54" fmla="*/ 52719 w 59013"/>
                <a:gd name="connsiteY54" fmla="*/ 8262 h 23605"/>
                <a:gd name="connsiteX55" fmla="*/ 49965 w 59013"/>
                <a:gd name="connsiteY55" fmla="*/ 9049 h 23605"/>
                <a:gd name="connsiteX56" fmla="*/ 46818 w 59013"/>
                <a:gd name="connsiteY56" fmla="*/ 9836 h 23605"/>
                <a:gd name="connsiteX57" fmla="*/ 49965 w 59013"/>
                <a:gd name="connsiteY57" fmla="*/ 7869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59013" h="23605">
                  <a:moveTo>
                    <a:pt x="53113" y="7082"/>
                  </a:moveTo>
                  <a:lnTo>
                    <a:pt x="55867" y="5901"/>
                  </a:lnTo>
                  <a:lnTo>
                    <a:pt x="59014" y="4721"/>
                  </a:lnTo>
                  <a:lnTo>
                    <a:pt x="61768" y="3147"/>
                  </a:lnTo>
                  <a:lnTo>
                    <a:pt x="62161" y="393"/>
                  </a:lnTo>
                  <a:lnTo>
                    <a:pt x="59014" y="1967"/>
                  </a:lnTo>
                  <a:lnTo>
                    <a:pt x="56260" y="3541"/>
                  </a:lnTo>
                  <a:lnTo>
                    <a:pt x="53113" y="4721"/>
                  </a:lnTo>
                  <a:lnTo>
                    <a:pt x="50359" y="5901"/>
                  </a:lnTo>
                  <a:lnTo>
                    <a:pt x="52719" y="2754"/>
                  </a:lnTo>
                  <a:lnTo>
                    <a:pt x="55080" y="0"/>
                  </a:lnTo>
                  <a:lnTo>
                    <a:pt x="52326" y="0"/>
                  </a:lnTo>
                  <a:lnTo>
                    <a:pt x="49572" y="1180"/>
                  </a:lnTo>
                  <a:lnTo>
                    <a:pt x="46424" y="1574"/>
                  </a:lnTo>
                  <a:lnTo>
                    <a:pt x="43277" y="2361"/>
                  </a:lnTo>
                  <a:lnTo>
                    <a:pt x="39736" y="3934"/>
                  </a:lnTo>
                  <a:lnTo>
                    <a:pt x="36982" y="5115"/>
                  </a:lnTo>
                  <a:lnTo>
                    <a:pt x="37376" y="7869"/>
                  </a:lnTo>
                  <a:lnTo>
                    <a:pt x="40523" y="9049"/>
                  </a:lnTo>
                  <a:lnTo>
                    <a:pt x="43670" y="9442"/>
                  </a:lnTo>
                  <a:lnTo>
                    <a:pt x="40523" y="10229"/>
                  </a:lnTo>
                  <a:lnTo>
                    <a:pt x="37376" y="9836"/>
                  </a:lnTo>
                  <a:lnTo>
                    <a:pt x="34622" y="9836"/>
                  </a:lnTo>
                  <a:lnTo>
                    <a:pt x="31868" y="12196"/>
                  </a:lnTo>
                  <a:lnTo>
                    <a:pt x="28720" y="12590"/>
                  </a:lnTo>
                  <a:lnTo>
                    <a:pt x="29507" y="15737"/>
                  </a:lnTo>
                  <a:lnTo>
                    <a:pt x="26360" y="16131"/>
                  </a:lnTo>
                  <a:lnTo>
                    <a:pt x="23212" y="17311"/>
                  </a:lnTo>
                  <a:lnTo>
                    <a:pt x="20458" y="17311"/>
                  </a:lnTo>
                  <a:lnTo>
                    <a:pt x="17704" y="18491"/>
                  </a:lnTo>
                  <a:lnTo>
                    <a:pt x="14950" y="18884"/>
                  </a:lnTo>
                  <a:lnTo>
                    <a:pt x="11803" y="20065"/>
                  </a:lnTo>
                  <a:lnTo>
                    <a:pt x="9049" y="20458"/>
                  </a:lnTo>
                  <a:lnTo>
                    <a:pt x="5901" y="20458"/>
                  </a:lnTo>
                  <a:lnTo>
                    <a:pt x="3147" y="21638"/>
                  </a:lnTo>
                  <a:lnTo>
                    <a:pt x="0" y="23212"/>
                  </a:lnTo>
                  <a:lnTo>
                    <a:pt x="2754" y="24392"/>
                  </a:lnTo>
                  <a:lnTo>
                    <a:pt x="3934" y="23999"/>
                  </a:lnTo>
                  <a:lnTo>
                    <a:pt x="7082" y="24392"/>
                  </a:lnTo>
                  <a:lnTo>
                    <a:pt x="9836" y="22819"/>
                  </a:lnTo>
                  <a:lnTo>
                    <a:pt x="12590" y="21638"/>
                  </a:lnTo>
                  <a:lnTo>
                    <a:pt x="15737" y="21245"/>
                  </a:lnTo>
                  <a:lnTo>
                    <a:pt x="18491" y="20065"/>
                  </a:lnTo>
                  <a:lnTo>
                    <a:pt x="21638" y="19278"/>
                  </a:lnTo>
                  <a:lnTo>
                    <a:pt x="24392" y="18884"/>
                  </a:lnTo>
                  <a:lnTo>
                    <a:pt x="27540" y="18491"/>
                  </a:lnTo>
                  <a:lnTo>
                    <a:pt x="30294" y="16917"/>
                  </a:lnTo>
                  <a:lnTo>
                    <a:pt x="33441" y="18098"/>
                  </a:lnTo>
                  <a:lnTo>
                    <a:pt x="36589" y="16917"/>
                  </a:lnTo>
                  <a:lnTo>
                    <a:pt x="39343" y="14950"/>
                  </a:lnTo>
                  <a:lnTo>
                    <a:pt x="42097" y="14163"/>
                  </a:lnTo>
                  <a:lnTo>
                    <a:pt x="45244" y="12196"/>
                  </a:lnTo>
                  <a:lnTo>
                    <a:pt x="47998" y="11803"/>
                  </a:lnTo>
                  <a:lnTo>
                    <a:pt x="50752" y="11016"/>
                  </a:lnTo>
                  <a:lnTo>
                    <a:pt x="52719" y="8262"/>
                  </a:lnTo>
                  <a:lnTo>
                    <a:pt x="49965" y="9049"/>
                  </a:lnTo>
                  <a:lnTo>
                    <a:pt x="46818" y="9836"/>
                  </a:lnTo>
                  <a:lnTo>
                    <a:pt x="49965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91" name="Freeform: Shape 2785">
              <a:extLst>
                <a:ext uri="{FF2B5EF4-FFF2-40B4-BE49-F238E27FC236}">
                  <a16:creationId xmlns:a16="http://schemas.microsoft.com/office/drawing/2014/main" id="{41C18908-3F75-41EF-BEDB-8894433A0D33}"/>
                </a:ext>
              </a:extLst>
            </p:cNvPr>
            <p:cNvSpPr/>
            <p:nvPr/>
          </p:nvSpPr>
          <p:spPr>
            <a:xfrm>
              <a:off x="2390710" y="1727473"/>
              <a:ext cx="3934" cy="3934"/>
            </a:xfrm>
            <a:custGeom>
              <a:avLst/>
              <a:gdLst>
                <a:gd name="connsiteX0" fmla="*/ 0 w 3934"/>
                <a:gd name="connsiteY0" fmla="*/ 2361 h 0"/>
                <a:gd name="connsiteX1" fmla="*/ 3147 w 3934"/>
                <a:gd name="connsiteY1" fmla="*/ 2361 h 0"/>
                <a:gd name="connsiteX2" fmla="*/ 6295 w 3934"/>
                <a:gd name="connsiteY2" fmla="*/ 0 h 0"/>
                <a:gd name="connsiteX3" fmla="*/ 3147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361"/>
                  </a:moveTo>
                  <a:lnTo>
                    <a:pt x="3147" y="2361"/>
                  </a:lnTo>
                  <a:lnTo>
                    <a:pt x="6295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92" name="Freeform: Shape 2786">
              <a:extLst>
                <a:ext uri="{FF2B5EF4-FFF2-40B4-BE49-F238E27FC236}">
                  <a16:creationId xmlns:a16="http://schemas.microsoft.com/office/drawing/2014/main" id="{62AEE357-6F29-4EB5-B662-8238881BCEA2}"/>
                </a:ext>
              </a:extLst>
            </p:cNvPr>
            <p:cNvSpPr/>
            <p:nvPr/>
          </p:nvSpPr>
          <p:spPr>
            <a:xfrm>
              <a:off x="2404086" y="1741636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2754 w 3934"/>
                <a:gd name="connsiteY1" fmla="*/ 1180 h 0"/>
                <a:gd name="connsiteX2" fmla="*/ 5901 w 3934"/>
                <a:gd name="connsiteY2" fmla="*/ 393 h 0"/>
                <a:gd name="connsiteX3" fmla="*/ 5901 w 3934"/>
                <a:gd name="connsiteY3" fmla="*/ 0 h 0"/>
                <a:gd name="connsiteX4" fmla="*/ 2754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2754" y="1180"/>
                  </a:lnTo>
                  <a:lnTo>
                    <a:pt x="5901" y="393"/>
                  </a:lnTo>
                  <a:lnTo>
                    <a:pt x="5901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93" name="Freeform: Shape 2787">
              <a:extLst>
                <a:ext uri="{FF2B5EF4-FFF2-40B4-BE49-F238E27FC236}">
                  <a16:creationId xmlns:a16="http://schemas.microsoft.com/office/drawing/2014/main" id="{3BCD976C-14A1-40C8-AA69-EB800AA01513}"/>
                </a:ext>
              </a:extLst>
            </p:cNvPr>
            <p:cNvSpPr/>
            <p:nvPr/>
          </p:nvSpPr>
          <p:spPr>
            <a:xfrm>
              <a:off x="2457592" y="1727867"/>
              <a:ext cx="3934" cy="3934"/>
            </a:xfrm>
            <a:custGeom>
              <a:avLst/>
              <a:gdLst>
                <a:gd name="connsiteX0" fmla="*/ 0 w 3934"/>
                <a:gd name="connsiteY0" fmla="*/ 2361 h 0"/>
                <a:gd name="connsiteX1" fmla="*/ 2754 w 3934"/>
                <a:gd name="connsiteY1" fmla="*/ 2361 h 0"/>
                <a:gd name="connsiteX2" fmla="*/ 5901 w 3934"/>
                <a:gd name="connsiteY2" fmla="*/ 393 h 0"/>
                <a:gd name="connsiteX3" fmla="*/ 5901 w 3934"/>
                <a:gd name="connsiteY3" fmla="*/ 0 h 0"/>
                <a:gd name="connsiteX4" fmla="*/ 3147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2361"/>
                  </a:moveTo>
                  <a:lnTo>
                    <a:pt x="2754" y="2361"/>
                  </a:lnTo>
                  <a:lnTo>
                    <a:pt x="5901" y="393"/>
                  </a:lnTo>
                  <a:lnTo>
                    <a:pt x="5901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94" name="Freeform: Shape 2788">
              <a:extLst>
                <a:ext uri="{FF2B5EF4-FFF2-40B4-BE49-F238E27FC236}">
                  <a16:creationId xmlns:a16="http://schemas.microsoft.com/office/drawing/2014/main" id="{0BBE8EEA-61A0-47F1-BC81-67D08D9B0364}"/>
                </a:ext>
              </a:extLst>
            </p:cNvPr>
            <p:cNvSpPr/>
            <p:nvPr/>
          </p:nvSpPr>
          <p:spPr>
            <a:xfrm>
              <a:off x="2470969" y="1725899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2754 w 0"/>
                <a:gd name="connsiteY1" fmla="*/ 393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2754" y="393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95" name="Freeform: Shape 2789">
              <a:extLst>
                <a:ext uri="{FF2B5EF4-FFF2-40B4-BE49-F238E27FC236}">
                  <a16:creationId xmlns:a16="http://schemas.microsoft.com/office/drawing/2014/main" id="{F82AE9F0-5E1D-46AF-B8F9-D55E6B35D130}"/>
                </a:ext>
              </a:extLst>
            </p:cNvPr>
            <p:cNvSpPr/>
            <p:nvPr/>
          </p:nvSpPr>
          <p:spPr>
            <a:xfrm>
              <a:off x="2087378" y="1869107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3147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3147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96" name="Freeform: Shape 2790">
              <a:extLst>
                <a:ext uri="{FF2B5EF4-FFF2-40B4-BE49-F238E27FC236}">
                  <a16:creationId xmlns:a16="http://schemas.microsoft.com/office/drawing/2014/main" id="{F666A9A9-DF60-4E3D-B6B1-1B1CA9E4DF66}"/>
                </a:ext>
              </a:extLst>
            </p:cNvPr>
            <p:cNvSpPr/>
            <p:nvPr/>
          </p:nvSpPr>
          <p:spPr>
            <a:xfrm>
              <a:off x="2133015" y="1838419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97" name="Freeform: Shape 2791">
              <a:extLst>
                <a:ext uri="{FF2B5EF4-FFF2-40B4-BE49-F238E27FC236}">
                  <a16:creationId xmlns:a16="http://schemas.microsoft.com/office/drawing/2014/main" id="{A45D1532-4233-495C-A396-9FA32F4A9F09}"/>
                </a:ext>
              </a:extLst>
            </p:cNvPr>
            <p:cNvSpPr/>
            <p:nvPr/>
          </p:nvSpPr>
          <p:spPr>
            <a:xfrm>
              <a:off x="2064953" y="1858484"/>
              <a:ext cx="19671" cy="11803"/>
            </a:xfrm>
            <a:custGeom>
              <a:avLst/>
              <a:gdLst>
                <a:gd name="connsiteX0" fmla="*/ 18884 w 19671"/>
                <a:gd name="connsiteY0" fmla="*/ 2361 h 11802"/>
                <a:gd name="connsiteX1" fmla="*/ 15737 w 19671"/>
                <a:gd name="connsiteY1" fmla="*/ 3147 h 11802"/>
                <a:gd name="connsiteX2" fmla="*/ 14163 w 19671"/>
                <a:gd name="connsiteY2" fmla="*/ 3934 h 11802"/>
                <a:gd name="connsiteX3" fmla="*/ 11409 w 19671"/>
                <a:gd name="connsiteY3" fmla="*/ 4328 h 11802"/>
                <a:gd name="connsiteX4" fmla="*/ 8655 w 19671"/>
                <a:gd name="connsiteY4" fmla="*/ 7475 h 11802"/>
                <a:gd name="connsiteX5" fmla="*/ 5901 w 19671"/>
                <a:gd name="connsiteY5" fmla="*/ 9049 h 11802"/>
                <a:gd name="connsiteX6" fmla="*/ 3147 w 19671"/>
                <a:gd name="connsiteY6" fmla="*/ 10622 h 11802"/>
                <a:gd name="connsiteX7" fmla="*/ 0 w 19671"/>
                <a:gd name="connsiteY7" fmla="*/ 12983 h 11802"/>
                <a:gd name="connsiteX8" fmla="*/ 3147 w 19671"/>
                <a:gd name="connsiteY8" fmla="*/ 11016 h 11802"/>
                <a:gd name="connsiteX9" fmla="*/ 5901 w 19671"/>
                <a:gd name="connsiteY9" fmla="*/ 9442 h 11802"/>
                <a:gd name="connsiteX10" fmla="*/ 9049 w 19671"/>
                <a:gd name="connsiteY10" fmla="*/ 8262 h 11802"/>
                <a:gd name="connsiteX11" fmla="*/ 11803 w 19671"/>
                <a:gd name="connsiteY11" fmla="*/ 6688 h 11802"/>
                <a:gd name="connsiteX12" fmla="*/ 13377 w 19671"/>
                <a:gd name="connsiteY12" fmla="*/ 6295 h 11802"/>
                <a:gd name="connsiteX13" fmla="*/ 16131 w 19671"/>
                <a:gd name="connsiteY13" fmla="*/ 5508 h 11802"/>
                <a:gd name="connsiteX14" fmla="*/ 21638 w 19671"/>
                <a:gd name="connsiteY14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671" h="11802">
                  <a:moveTo>
                    <a:pt x="18884" y="2361"/>
                  </a:moveTo>
                  <a:lnTo>
                    <a:pt x="15737" y="3147"/>
                  </a:lnTo>
                  <a:lnTo>
                    <a:pt x="14163" y="3934"/>
                  </a:lnTo>
                  <a:lnTo>
                    <a:pt x="11409" y="4328"/>
                  </a:lnTo>
                  <a:lnTo>
                    <a:pt x="8655" y="7475"/>
                  </a:lnTo>
                  <a:lnTo>
                    <a:pt x="5901" y="9049"/>
                  </a:lnTo>
                  <a:lnTo>
                    <a:pt x="3147" y="10622"/>
                  </a:lnTo>
                  <a:lnTo>
                    <a:pt x="0" y="12983"/>
                  </a:lnTo>
                  <a:lnTo>
                    <a:pt x="3147" y="11016"/>
                  </a:lnTo>
                  <a:lnTo>
                    <a:pt x="5901" y="9442"/>
                  </a:lnTo>
                  <a:lnTo>
                    <a:pt x="9049" y="8262"/>
                  </a:lnTo>
                  <a:lnTo>
                    <a:pt x="11803" y="6688"/>
                  </a:lnTo>
                  <a:lnTo>
                    <a:pt x="13377" y="6295"/>
                  </a:lnTo>
                  <a:lnTo>
                    <a:pt x="16131" y="5508"/>
                  </a:lnTo>
                  <a:lnTo>
                    <a:pt x="2163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98" name="Freeform: Shape 2792">
              <a:extLst>
                <a:ext uri="{FF2B5EF4-FFF2-40B4-BE49-F238E27FC236}">
                  <a16:creationId xmlns:a16="http://schemas.microsoft.com/office/drawing/2014/main" id="{4365D33D-A1F9-436B-9135-1B2F739F0EB1}"/>
                </a:ext>
              </a:extLst>
            </p:cNvPr>
            <p:cNvSpPr/>
            <p:nvPr/>
          </p:nvSpPr>
          <p:spPr>
            <a:xfrm>
              <a:off x="2086198" y="1859664"/>
              <a:ext cx="7869" cy="3934"/>
            </a:xfrm>
            <a:custGeom>
              <a:avLst/>
              <a:gdLst>
                <a:gd name="connsiteX0" fmla="*/ 5508 w 7868"/>
                <a:gd name="connsiteY0" fmla="*/ 1180 h 3934"/>
                <a:gd name="connsiteX1" fmla="*/ 2754 w 7868"/>
                <a:gd name="connsiteY1" fmla="*/ 4328 h 3934"/>
                <a:gd name="connsiteX2" fmla="*/ 0 w 7868"/>
                <a:gd name="connsiteY2" fmla="*/ 6295 h 3934"/>
                <a:gd name="connsiteX3" fmla="*/ 2754 w 7868"/>
                <a:gd name="connsiteY3" fmla="*/ 5508 h 3934"/>
                <a:gd name="connsiteX4" fmla="*/ 5901 w 7868"/>
                <a:gd name="connsiteY4" fmla="*/ 3147 h 3934"/>
                <a:gd name="connsiteX5" fmla="*/ 9049 w 7868"/>
                <a:gd name="connsiteY5" fmla="*/ 0 h 3934"/>
                <a:gd name="connsiteX6" fmla="*/ 8262 w 7868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5508" y="1180"/>
                  </a:moveTo>
                  <a:lnTo>
                    <a:pt x="2754" y="4328"/>
                  </a:lnTo>
                  <a:lnTo>
                    <a:pt x="0" y="6295"/>
                  </a:lnTo>
                  <a:lnTo>
                    <a:pt x="2754" y="5508"/>
                  </a:lnTo>
                  <a:lnTo>
                    <a:pt x="5901" y="3147"/>
                  </a:lnTo>
                  <a:lnTo>
                    <a:pt x="9049" y="0"/>
                  </a:lnTo>
                  <a:lnTo>
                    <a:pt x="8262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99" name="Freeform: Shape 2793">
              <a:extLst>
                <a:ext uri="{FF2B5EF4-FFF2-40B4-BE49-F238E27FC236}">
                  <a16:creationId xmlns:a16="http://schemas.microsoft.com/office/drawing/2014/main" id="{E9333148-12BB-4FAC-AB47-69E0462B3679}"/>
                </a:ext>
              </a:extLst>
            </p:cNvPr>
            <p:cNvSpPr/>
            <p:nvPr/>
          </p:nvSpPr>
          <p:spPr>
            <a:xfrm>
              <a:off x="2086198" y="1865566"/>
              <a:ext cx="3934" cy="3934"/>
            </a:xfrm>
            <a:custGeom>
              <a:avLst/>
              <a:gdLst>
                <a:gd name="connsiteX0" fmla="*/ 0 w 3934"/>
                <a:gd name="connsiteY0" fmla="*/ 3541 h 0"/>
                <a:gd name="connsiteX1" fmla="*/ 3147 w 3934"/>
                <a:gd name="connsiteY1" fmla="*/ 2754 h 0"/>
                <a:gd name="connsiteX2" fmla="*/ 5901 w 3934"/>
                <a:gd name="connsiteY2" fmla="*/ 0 h 0"/>
                <a:gd name="connsiteX3" fmla="*/ 3147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3541"/>
                  </a:moveTo>
                  <a:lnTo>
                    <a:pt x="3147" y="2754"/>
                  </a:lnTo>
                  <a:lnTo>
                    <a:pt x="5901" y="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00" name="Freeform: Shape 2794">
              <a:extLst>
                <a:ext uri="{FF2B5EF4-FFF2-40B4-BE49-F238E27FC236}">
                  <a16:creationId xmlns:a16="http://schemas.microsoft.com/office/drawing/2014/main" id="{8EF9B1A9-3C9F-4A22-B118-161878D54932}"/>
                </a:ext>
              </a:extLst>
            </p:cNvPr>
            <p:cNvSpPr/>
            <p:nvPr/>
          </p:nvSpPr>
          <p:spPr>
            <a:xfrm>
              <a:off x="2196750" y="1816781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3147 w 3934"/>
                <a:gd name="connsiteY1" fmla="*/ 1574 h 0"/>
                <a:gd name="connsiteX2" fmla="*/ 5901 w 3934"/>
                <a:gd name="connsiteY2" fmla="*/ 0 h 0"/>
                <a:gd name="connsiteX3" fmla="*/ 2754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3147" y="1574"/>
                  </a:lnTo>
                  <a:lnTo>
                    <a:pt x="5901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01" name="Freeform: Shape 2795">
              <a:extLst>
                <a:ext uri="{FF2B5EF4-FFF2-40B4-BE49-F238E27FC236}">
                  <a16:creationId xmlns:a16="http://schemas.microsoft.com/office/drawing/2014/main" id="{17ED65CE-BB81-4694-8760-DEAEAD216A46}"/>
                </a:ext>
              </a:extLst>
            </p:cNvPr>
            <p:cNvSpPr/>
            <p:nvPr/>
          </p:nvSpPr>
          <p:spPr>
            <a:xfrm>
              <a:off x="2212094" y="1838026"/>
              <a:ext cx="3934" cy="3934"/>
            </a:xfrm>
            <a:custGeom>
              <a:avLst/>
              <a:gdLst>
                <a:gd name="connsiteX0" fmla="*/ 1574 w 3934"/>
                <a:gd name="connsiteY0" fmla="*/ 1574 h 3934"/>
                <a:gd name="connsiteX1" fmla="*/ 0 w 3934"/>
                <a:gd name="connsiteY1" fmla="*/ 4721 h 3934"/>
                <a:gd name="connsiteX2" fmla="*/ 2754 w 3934"/>
                <a:gd name="connsiteY2" fmla="*/ 2754 h 3934"/>
                <a:gd name="connsiteX3" fmla="*/ 5901 w 3934"/>
                <a:gd name="connsiteY3" fmla="*/ 0 h 3934"/>
                <a:gd name="connsiteX4" fmla="*/ 4721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1574" y="1574"/>
                  </a:moveTo>
                  <a:lnTo>
                    <a:pt x="0" y="4721"/>
                  </a:lnTo>
                  <a:lnTo>
                    <a:pt x="2754" y="2754"/>
                  </a:lnTo>
                  <a:lnTo>
                    <a:pt x="5901" y="0"/>
                  </a:lnTo>
                  <a:lnTo>
                    <a:pt x="472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02" name="Freeform: Shape 2796">
              <a:extLst>
                <a:ext uri="{FF2B5EF4-FFF2-40B4-BE49-F238E27FC236}">
                  <a16:creationId xmlns:a16="http://schemas.microsoft.com/office/drawing/2014/main" id="{84A5BABB-1EE0-44B6-BBF3-5EE0DC22698B}"/>
                </a:ext>
              </a:extLst>
            </p:cNvPr>
            <p:cNvSpPr/>
            <p:nvPr/>
          </p:nvSpPr>
          <p:spPr>
            <a:xfrm>
              <a:off x="2255371" y="1816387"/>
              <a:ext cx="11803" cy="3934"/>
            </a:xfrm>
            <a:custGeom>
              <a:avLst/>
              <a:gdLst>
                <a:gd name="connsiteX0" fmla="*/ 11803 w 11802"/>
                <a:gd name="connsiteY0" fmla="*/ 0 h 3934"/>
                <a:gd name="connsiteX1" fmla="*/ 8655 w 11802"/>
                <a:gd name="connsiteY1" fmla="*/ 787 h 3934"/>
                <a:gd name="connsiteX2" fmla="*/ 5901 w 11802"/>
                <a:gd name="connsiteY2" fmla="*/ 1967 h 3934"/>
                <a:gd name="connsiteX3" fmla="*/ 3147 w 11802"/>
                <a:gd name="connsiteY3" fmla="*/ 3147 h 3934"/>
                <a:gd name="connsiteX4" fmla="*/ 0 w 11802"/>
                <a:gd name="connsiteY4" fmla="*/ 6295 h 3934"/>
                <a:gd name="connsiteX5" fmla="*/ 3147 w 11802"/>
                <a:gd name="connsiteY5" fmla="*/ 5115 h 3934"/>
                <a:gd name="connsiteX6" fmla="*/ 5901 w 11802"/>
                <a:gd name="connsiteY6" fmla="*/ 3934 h 3934"/>
                <a:gd name="connsiteX7" fmla="*/ 8655 w 11802"/>
                <a:gd name="connsiteY7" fmla="*/ 3147 h 3934"/>
                <a:gd name="connsiteX8" fmla="*/ 11803 w 11802"/>
                <a:gd name="connsiteY8" fmla="*/ 1967 h 3934"/>
                <a:gd name="connsiteX9" fmla="*/ 14557 w 11802"/>
                <a:gd name="connsiteY9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11803" y="0"/>
                  </a:moveTo>
                  <a:lnTo>
                    <a:pt x="8655" y="787"/>
                  </a:lnTo>
                  <a:lnTo>
                    <a:pt x="5901" y="1967"/>
                  </a:lnTo>
                  <a:lnTo>
                    <a:pt x="3147" y="3147"/>
                  </a:lnTo>
                  <a:lnTo>
                    <a:pt x="0" y="6295"/>
                  </a:lnTo>
                  <a:lnTo>
                    <a:pt x="3147" y="5115"/>
                  </a:lnTo>
                  <a:lnTo>
                    <a:pt x="5901" y="3934"/>
                  </a:lnTo>
                  <a:lnTo>
                    <a:pt x="8655" y="3147"/>
                  </a:lnTo>
                  <a:lnTo>
                    <a:pt x="11803" y="1967"/>
                  </a:lnTo>
                  <a:lnTo>
                    <a:pt x="1455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03" name="Freeform: Shape 2797">
              <a:extLst>
                <a:ext uri="{FF2B5EF4-FFF2-40B4-BE49-F238E27FC236}">
                  <a16:creationId xmlns:a16="http://schemas.microsoft.com/office/drawing/2014/main" id="{A4EE34EF-2B09-44E9-8FE9-E72F96C15146}"/>
                </a:ext>
              </a:extLst>
            </p:cNvPr>
            <p:cNvSpPr/>
            <p:nvPr/>
          </p:nvSpPr>
          <p:spPr>
            <a:xfrm>
              <a:off x="2269928" y="1815994"/>
              <a:ext cx="7869" cy="3934"/>
            </a:xfrm>
            <a:custGeom>
              <a:avLst/>
              <a:gdLst>
                <a:gd name="connsiteX0" fmla="*/ 5508 w 7868"/>
                <a:gd name="connsiteY0" fmla="*/ 0 h 0"/>
                <a:gd name="connsiteX1" fmla="*/ 2754 w 7868"/>
                <a:gd name="connsiteY1" fmla="*/ 393 h 0"/>
                <a:gd name="connsiteX2" fmla="*/ 0 w 7868"/>
                <a:gd name="connsiteY2" fmla="*/ 3147 h 0"/>
                <a:gd name="connsiteX3" fmla="*/ 2754 w 7868"/>
                <a:gd name="connsiteY3" fmla="*/ 3541 h 0"/>
                <a:gd name="connsiteX4" fmla="*/ 5901 w 7868"/>
                <a:gd name="connsiteY4" fmla="*/ 2361 h 0"/>
                <a:gd name="connsiteX5" fmla="*/ 8655 w 7868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5508" y="0"/>
                  </a:moveTo>
                  <a:lnTo>
                    <a:pt x="2754" y="393"/>
                  </a:lnTo>
                  <a:lnTo>
                    <a:pt x="0" y="3147"/>
                  </a:lnTo>
                  <a:lnTo>
                    <a:pt x="2754" y="3541"/>
                  </a:lnTo>
                  <a:lnTo>
                    <a:pt x="5901" y="2361"/>
                  </a:lnTo>
                  <a:lnTo>
                    <a:pt x="865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04" name="Freeform: Shape 2798">
              <a:extLst>
                <a:ext uri="{FF2B5EF4-FFF2-40B4-BE49-F238E27FC236}">
                  <a16:creationId xmlns:a16="http://schemas.microsoft.com/office/drawing/2014/main" id="{E71EC7E7-1CF9-407A-931A-6098C5A268BA}"/>
                </a:ext>
              </a:extLst>
            </p:cNvPr>
            <p:cNvSpPr/>
            <p:nvPr/>
          </p:nvSpPr>
          <p:spPr>
            <a:xfrm>
              <a:off x="2276223" y="1817568"/>
              <a:ext cx="3934" cy="3934"/>
            </a:xfrm>
            <a:custGeom>
              <a:avLst/>
              <a:gdLst>
                <a:gd name="connsiteX0" fmla="*/ 0 w 3934"/>
                <a:gd name="connsiteY0" fmla="*/ 1967 h 0"/>
                <a:gd name="connsiteX1" fmla="*/ 2754 w 3934"/>
                <a:gd name="connsiteY1" fmla="*/ 1574 h 0"/>
                <a:gd name="connsiteX2" fmla="*/ 5901 w 3934"/>
                <a:gd name="connsiteY2" fmla="*/ 0 h 0"/>
                <a:gd name="connsiteX3" fmla="*/ 314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967"/>
                  </a:moveTo>
                  <a:lnTo>
                    <a:pt x="2754" y="1574"/>
                  </a:lnTo>
                  <a:lnTo>
                    <a:pt x="5901" y="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05" name="Freeform: Shape 2799">
              <a:extLst>
                <a:ext uri="{FF2B5EF4-FFF2-40B4-BE49-F238E27FC236}">
                  <a16:creationId xmlns:a16="http://schemas.microsoft.com/office/drawing/2014/main" id="{F1FFD31C-EA1A-4C0E-BC60-6F37765A6E5B}"/>
                </a:ext>
              </a:extLst>
            </p:cNvPr>
            <p:cNvSpPr/>
            <p:nvPr/>
          </p:nvSpPr>
          <p:spPr>
            <a:xfrm>
              <a:off x="2312025" y="1797503"/>
              <a:ext cx="11803" cy="3934"/>
            </a:xfrm>
            <a:custGeom>
              <a:avLst/>
              <a:gdLst>
                <a:gd name="connsiteX0" fmla="*/ 10229 w 11802"/>
                <a:gd name="connsiteY0" fmla="*/ 787 h 3934"/>
                <a:gd name="connsiteX1" fmla="*/ 7082 w 11802"/>
                <a:gd name="connsiteY1" fmla="*/ 0 h 3934"/>
                <a:gd name="connsiteX2" fmla="*/ 4328 w 11802"/>
                <a:gd name="connsiteY2" fmla="*/ 1574 h 3934"/>
                <a:gd name="connsiteX3" fmla="*/ 1180 w 11802"/>
                <a:gd name="connsiteY3" fmla="*/ 3541 h 3934"/>
                <a:gd name="connsiteX4" fmla="*/ 0 w 11802"/>
                <a:gd name="connsiteY4" fmla="*/ 6295 h 3934"/>
                <a:gd name="connsiteX5" fmla="*/ 3147 w 11802"/>
                <a:gd name="connsiteY5" fmla="*/ 5114 h 3934"/>
                <a:gd name="connsiteX6" fmla="*/ 5901 w 11802"/>
                <a:gd name="connsiteY6" fmla="*/ 3147 h 3934"/>
                <a:gd name="connsiteX7" fmla="*/ 9049 w 11802"/>
                <a:gd name="connsiteY7" fmla="*/ 2754 h 3934"/>
                <a:gd name="connsiteX8" fmla="*/ 12196 w 11802"/>
                <a:gd name="connsiteY8" fmla="*/ 2361 h 3934"/>
                <a:gd name="connsiteX9" fmla="*/ 14950 w 11802"/>
                <a:gd name="connsiteY9" fmla="*/ 1574 h 3934"/>
                <a:gd name="connsiteX10" fmla="*/ 12983 w 11802"/>
                <a:gd name="connsiteY10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3934">
                  <a:moveTo>
                    <a:pt x="10229" y="787"/>
                  </a:moveTo>
                  <a:lnTo>
                    <a:pt x="7082" y="0"/>
                  </a:lnTo>
                  <a:lnTo>
                    <a:pt x="4328" y="1574"/>
                  </a:lnTo>
                  <a:lnTo>
                    <a:pt x="1180" y="3541"/>
                  </a:lnTo>
                  <a:lnTo>
                    <a:pt x="0" y="6295"/>
                  </a:lnTo>
                  <a:lnTo>
                    <a:pt x="3147" y="5114"/>
                  </a:lnTo>
                  <a:lnTo>
                    <a:pt x="5901" y="3147"/>
                  </a:lnTo>
                  <a:lnTo>
                    <a:pt x="9049" y="2754"/>
                  </a:lnTo>
                  <a:lnTo>
                    <a:pt x="12196" y="2361"/>
                  </a:lnTo>
                  <a:lnTo>
                    <a:pt x="14950" y="1574"/>
                  </a:lnTo>
                  <a:lnTo>
                    <a:pt x="12983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06" name="Freeform: Shape 2800">
              <a:extLst>
                <a:ext uri="{FF2B5EF4-FFF2-40B4-BE49-F238E27FC236}">
                  <a16:creationId xmlns:a16="http://schemas.microsoft.com/office/drawing/2014/main" id="{33DDE6F3-4756-43C0-AA67-1D66D64CA260}"/>
                </a:ext>
              </a:extLst>
            </p:cNvPr>
            <p:cNvSpPr/>
            <p:nvPr/>
          </p:nvSpPr>
          <p:spPr>
            <a:xfrm>
              <a:off x="2339564" y="1772717"/>
              <a:ext cx="3934" cy="3934"/>
            </a:xfrm>
            <a:custGeom>
              <a:avLst/>
              <a:gdLst>
                <a:gd name="connsiteX0" fmla="*/ 3541 w 3934"/>
                <a:gd name="connsiteY0" fmla="*/ 0 h 3934"/>
                <a:gd name="connsiteX1" fmla="*/ 2754 w 3934"/>
                <a:gd name="connsiteY1" fmla="*/ 0 h 3934"/>
                <a:gd name="connsiteX2" fmla="*/ 0 w 3934"/>
                <a:gd name="connsiteY2" fmla="*/ 1574 h 3934"/>
                <a:gd name="connsiteX3" fmla="*/ 1967 w 3934"/>
                <a:gd name="connsiteY3" fmla="*/ 4328 h 3934"/>
                <a:gd name="connsiteX4" fmla="*/ 4721 w 3934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541" y="0"/>
                  </a:moveTo>
                  <a:lnTo>
                    <a:pt x="2754" y="0"/>
                  </a:lnTo>
                  <a:lnTo>
                    <a:pt x="0" y="1574"/>
                  </a:lnTo>
                  <a:lnTo>
                    <a:pt x="1967" y="4328"/>
                  </a:lnTo>
                  <a:lnTo>
                    <a:pt x="472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07" name="Freeform: Shape 2801">
              <a:extLst>
                <a:ext uri="{FF2B5EF4-FFF2-40B4-BE49-F238E27FC236}">
                  <a16:creationId xmlns:a16="http://schemas.microsoft.com/office/drawing/2014/main" id="{983264AC-3416-4C6D-9387-F82778C0C25A}"/>
                </a:ext>
              </a:extLst>
            </p:cNvPr>
            <p:cNvSpPr/>
            <p:nvPr/>
          </p:nvSpPr>
          <p:spPr>
            <a:xfrm>
              <a:off x="2349400" y="1767603"/>
              <a:ext cx="3934" cy="3934"/>
            </a:xfrm>
            <a:custGeom>
              <a:avLst/>
              <a:gdLst>
                <a:gd name="connsiteX0" fmla="*/ 5901 w 3934"/>
                <a:gd name="connsiteY0" fmla="*/ 2754 h 0"/>
                <a:gd name="connsiteX1" fmla="*/ 4328 w 3934"/>
                <a:gd name="connsiteY1" fmla="*/ 0 h 0"/>
                <a:gd name="connsiteX2" fmla="*/ 3147 w 3934"/>
                <a:gd name="connsiteY2" fmla="*/ 0 h 0"/>
                <a:gd name="connsiteX3" fmla="*/ 0 w 3934"/>
                <a:gd name="connsiteY3" fmla="*/ 2754 h 0"/>
                <a:gd name="connsiteX4" fmla="*/ 3147 w 3934"/>
                <a:gd name="connsiteY4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2754"/>
                  </a:moveTo>
                  <a:lnTo>
                    <a:pt x="4328" y="0"/>
                  </a:lnTo>
                  <a:lnTo>
                    <a:pt x="3147" y="0"/>
                  </a:lnTo>
                  <a:lnTo>
                    <a:pt x="0" y="2754"/>
                  </a:lnTo>
                  <a:lnTo>
                    <a:pt x="314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08" name="Freeform: Shape 2802">
              <a:extLst>
                <a:ext uri="{FF2B5EF4-FFF2-40B4-BE49-F238E27FC236}">
                  <a16:creationId xmlns:a16="http://schemas.microsoft.com/office/drawing/2014/main" id="{91E6E444-C0C9-4D7F-8AD6-090E126FDE17}"/>
                </a:ext>
              </a:extLst>
            </p:cNvPr>
            <p:cNvSpPr/>
            <p:nvPr/>
          </p:nvSpPr>
          <p:spPr>
            <a:xfrm>
              <a:off x="2355301" y="1758160"/>
              <a:ext cx="35408" cy="11803"/>
            </a:xfrm>
            <a:custGeom>
              <a:avLst/>
              <a:gdLst>
                <a:gd name="connsiteX0" fmla="*/ 32654 w 35408"/>
                <a:gd name="connsiteY0" fmla="*/ 4328 h 11802"/>
                <a:gd name="connsiteX1" fmla="*/ 29507 w 35408"/>
                <a:gd name="connsiteY1" fmla="*/ 6295 h 11802"/>
                <a:gd name="connsiteX2" fmla="*/ 32654 w 35408"/>
                <a:gd name="connsiteY2" fmla="*/ 3541 h 11802"/>
                <a:gd name="connsiteX3" fmla="*/ 35408 w 35408"/>
                <a:gd name="connsiteY3" fmla="*/ 2361 h 11802"/>
                <a:gd name="connsiteX4" fmla="*/ 32654 w 35408"/>
                <a:gd name="connsiteY4" fmla="*/ 2361 h 11802"/>
                <a:gd name="connsiteX5" fmla="*/ 29507 w 35408"/>
                <a:gd name="connsiteY5" fmla="*/ 1574 h 11802"/>
                <a:gd name="connsiteX6" fmla="*/ 26360 w 35408"/>
                <a:gd name="connsiteY6" fmla="*/ 3541 h 11802"/>
                <a:gd name="connsiteX7" fmla="*/ 26360 w 35408"/>
                <a:gd name="connsiteY7" fmla="*/ 393 h 11802"/>
                <a:gd name="connsiteX8" fmla="*/ 23606 w 35408"/>
                <a:gd name="connsiteY8" fmla="*/ 0 h 11802"/>
                <a:gd name="connsiteX9" fmla="*/ 20458 w 35408"/>
                <a:gd name="connsiteY9" fmla="*/ 393 h 11802"/>
                <a:gd name="connsiteX10" fmla="*/ 17704 w 35408"/>
                <a:gd name="connsiteY10" fmla="*/ 787 h 11802"/>
                <a:gd name="connsiteX11" fmla="*/ 16917 w 35408"/>
                <a:gd name="connsiteY11" fmla="*/ 3541 h 11802"/>
                <a:gd name="connsiteX12" fmla="*/ 14163 w 35408"/>
                <a:gd name="connsiteY12" fmla="*/ 4721 h 11802"/>
                <a:gd name="connsiteX13" fmla="*/ 11016 w 35408"/>
                <a:gd name="connsiteY13" fmla="*/ 4328 h 11802"/>
                <a:gd name="connsiteX14" fmla="*/ 8262 w 35408"/>
                <a:gd name="connsiteY14" fmla="*/ 4721 h 11802"/>
                <a:gd name="connsiteX15" fmla="*/ 8262 w 35408"/>
                <a:gd name="connsiteY15" fmla="*/ 7475 h 11802"/>
                <a:gd name="connsiteX16" fmla="*/ 2360 w 35408"/>
                <a:gd name="connsiteY16" fmla="*/ 7082 h 11802"/>
                <a:gd name="connsiteX17" fmla="*/ 0 w 35408"/>
                <a:gd name="connsiteY17" fmla="*/ 9836 h 11802"/>
                <a:gd name="connsiteX18" fmla="*/ 2360 w 35408"/>
                <a:gd name="connsiteY18" fmla="*/ 12590 h 11802"/>
                <a:gd name="connsiteX19" fmla="*/ 3147 w 35408"/>
                <a:gd name="connsiteY19" fmla="*/ 13770 h 11802"/>
                <a:gd name="connsiteX20" fmla="*/ 6295 w 35408"/>
                <a:gd name="connsiteY20" fmla="*/ 13376 h 11802"/>
                <a:gd name="connsiteX21" fmla="*/ 9442 w 35408"/>
                <a:gd name="connsiteY21" fmla="*/ 11803 h 11802"/>
                <a:gd name="connsiteX22" fmla="*/ 12196 w 35408"/>
                <a:gd name="connsiteY22" fmla="*/ 10622 h 11802"/>
                <a:gd name="connsiteX23" fmla="*/ 15344 w 35408"/>
                <a:gd name="connsiteY23" fmla="*/ 8655 h 11802"/>
                <a:gd name="connsiteX24" fmla="*/ 18491 w 35408"/>
                <a:gd name="connsiteY24" fmla="*/ 7082 h 11802"/>
                <a:gd name="connsiteX25" fmla="*/ 15344 w 35408"/>
                <a:gd name="connsiteY25" fmla="*/ 9442 h 11802"/>
                <a:gd name="connsiteX26" fmla="*/ 18491 w 35408"/>
                <a:gd name="connsiteY26" fmla="*/ 9442 h 11802"/>
                <a:gd name="connsiteX27" fmla="*/ 21245 w 35408"/>
                <a:gd name="connsiteY27" fmla="*/ 9442 h 11802"/>
                <a:gd name="connsiteX28" fmla="*/ 23999 w 35408"/>
                <a:gd name="connsiteY28" fmla="*/ 7475 h 11802"/>
                <a:gd name="connsiteX29" fmla="*/ 27146 w 35408"/>
                <a:gd name="connsiteY29" fmla="*/ 5508 h 11802"/>
                <a:gd name="connsiteX30" fmla="*/ 26753 w 35408"/>
                <a:gd name="connsiteY30" fmla="*/ 8655 h 11802"/>
                <a:gd name="connsiteX31" fmla="*/ 29507 w 35408"/>
                <a:gd name="connsiteY31" fmla="*/ 7869 h 11802"/>
                <a:gd name="connsiteX32" fmla="*/ 32654 w 35408"/>
                <a:gd name="connsiteY32" fmla="*/ 6688 h 11802"/>
                <a:gd name="connsiteX33" fmla="*/ 35408 w 35408"/>
                <a:gd name="connsiteY33" fmla="*/ 4328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5408" h="11802">
                  <a:moveTo>
                    <a:pt x="32654" y="4328"/>
                  </a:moveTo>
                  <a:lnTo>
                    <a:pt x="29507" y="6295"/>
                  </a:lnTo>
                  <a:lnTo>
                    <a:pt x="32654" y="3541"/>
                  </a:lnTo>
                  <a:lnTo>
                    <a:pt x="35408" y="2361"/>
                  </a:lnTo>
                  <a:lnTo>
                    <a:pt x="32654" y="2361"/>
                  </a:lnTo>
                  <a:lnTo>
                    <a:pt x="29507" y="1574"/>
                  </a:lnTo>
                  <a:lnTo>
                    <a:pt x="26360" y="3541"/>
                  </a:lnTo>
                  <a:lnTo>
                    <a:pt x="26360" y="393"/>
                  </a:lnTo>
                  <a:lnTo>
                    <a:pt x="23606" y="0"/>
                  </a:lnTo>
                  <a:lnTo>
                    <a:pt x="20458" y="393"/>
                  </a:lnTo>
                  <a:lnTo>
                    <a:pt x="17704" y="787"/>
                  </a:lnTo>
                  <a:lnTo>
                    <a:pt x="16917" y="3541"/>
                  </a:lnTo>
                  <a:lnTo>
                    <a:pt x="14163" y="4721"/>
                  </a:lnTo>
                  <a:lnTo>
                    <a:pt x="11016" y="4328"/>
                  </a:lnTo>
                  <a:lnTo>
                    <a:pt x="8262" y="4721"/>
                  </a:lnTo>
                  <a:lnTo>
                    <a:pt x="8262" y="7475"/>
                  </a:lnTo>
                  <a:lnTo>
                    <a:pt x="2360" y="7082"/>
                  </a:lnTo>
                  <a:lnTo>
                    <a:pt x="0" y="9836"/>
                  </a:lnTo>
                  <a:lnTo>
                    <a:pt x="2360" y="12590"/>
                  </a:lnTo>
                  <a:lnTo>
                    <a:pt x="3147" y="13770"/>
                  </a:lnTo>
                  <a:lnTo>
                    <a:pt x="6295" y="13376"/>
                  </a:lnTo>
                  <a:lnTo>
                    <a:pt x="9442" y="11803"/>
                  </a:lnTo>
                  <a:lnTo>
                    <a:pt x="12196" y="10622"/>
                  </a:lnTo>
                  <a:lnTo>
                    <a:pt x="15344" y="8655"/>
                  </a:lnTo>
                  <a:lnTo>
                    <a:pt x="18491" y="7082"/>
                  </a:lnTo>
                  <a:lnTo>
                    <a:pt x="15344" y="9442"/>
                  </a:lnTo>
                  <a:lnTo>
                    <a:pt x="18491" y="9442"/>
                  </a:lnTo>
                  <a:lnTo>
                    <a:pt x="21245" y="9442"/>
                  </a:lnTo>
                  <a:lnTo>
                    <a:pt x="23999" y="7475"/>
                  </a:lnTo>
                  <a:lnTo>
                    <a:pt x="27146" y="5508"/>
                  </a:lnTo>
                  <a:lnTo>
                    <a:pt x="26753" y="8655"/>
                  </a:lnTo>
                  <a:lnTo>
                    <a:pt x="29507" y="7869"/>
                  </a:lnTo>
                  <a:lnTo>
                    <a:pt x="32654" y="6688"/>
                  </a:lnTo>
                  <a:lnTo>
                    <a:pt x="35408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09" name="Freeform: Shape 2803">
              <a:extLst>
                <a:ext uri="{FF2B5EF4-FFF2-40B4-BE49-F238E27FC236}">
                  <a16:creationId xmlns:a16="http://schemas.microsoft.com/office/drawing/2014/main" id="{4DD6D77B-B4F0-4B1F-9BF0-7D54DE4FD07A}"/>
                </a:ext>
              </a:extLst>
            </p:cNvPr>
            <p:cNvSpPr/>
            <p:nvPr/>
          </p:nvSpPr>
          <p:spPr>
            <a:xfrm>
              <a:off x="2383628" y="1752259"/>
              <a:ext cx="7869" cy="3934"/>
            </a:xfrm>
            <a:custGeom>
              <a:avLst/>
              <a:gdLst>
                <a:gd name="connsiteX0" fmla="*/ 3147 w 7868"/>
                <a:gd name="connsiteY0" fmla="*/ 3934 h 3934"/>
                <a:gd name="connsiteX1" fmla="*/ 6295 w 7868"/>
                <a:gd name="connsiteY1" fmla="*/ 2754 h 3934"/>
                <a:gd name="connsiteX2" fmla="*/ 9049 w 7868"/>
                <a:gd name="connsiteY2" fmla="*/ 787 h 3934"/>
                <a:gd name="connsiteX3" fmla="*/ 8262 w 7868"/>
                <a:gd name="connsiteY3" fmla="*/ 0 h 3934"/>
                <a:gd name="connsiteX4" fmla="*/ 5115 w 7868"/>
                <a:gd name="connsiteY4" fmla="*/ 393 h 3934"/>
                <a:gd name="connsiteX5" fmla="*/ 2361 w 7868"/>
                <a:gd name="connsiteY5" fmla="*/ 1574 h 3934"/>
                <a:gd name="connsiteX6" fmla="*/ 0 w 7868"/>
                <a:gd name="connsiteY6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3147" y="3934"/>
                  </a:moveTo>
                  <a:lnTo>
                    <a:pt x="6295" y="2754"/>
                  </a:lnTo>
                  <a:lnTo>
                    <a:pt x="9049" y="787"/>
                  </a:lnTo>
                  <a:lnTo>
                    <a:pt x="8262" y="0"/>
                  </a:lnTo>
                  <a:lnTo>
                    <a:pt x="5115" y="393"/>
                  </a:lnTo>
                  <a:lnTo>
                    <a:pt x="2361" y="1574"/>
                  </a:lnTo>
                  <a:lnTo>
                    <a:pt x="0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10" name="Freeform: Shape 2804">
              <a:extLst>
                <a:ext uri="{FF2B5EF4-FFF2-40B4-BE49-F238E27FC236}">
                  <a16:creationId xmlns:a16="http://schemas.microsoft.com/office/drawing/2014/main" id="{88D5C3D2-6211-484E-BA69-704F34996C86}"/>
                </a:ext>
              </a:extLst>
            </p:cNvPr>
            <p:cNvSpPr/>
            <p:nvPr/>
          </p:nvSpPr>
          <p:spPr>
            <a:xfrm>
              <a:off x="2390316" y="1763275"/>
              <a:ext cx="3934" cy="3934"/>
            </a:xfrm>
            <a:custGeom>
              <a:avLst/>
              <a:gdLst>
                <a:gd name="connsiteX0" fmla="*/ 3147 w 0"/>
                <a:gd name="connsiteY0" fmla="*/ 787 h 0"/>
                <a:gd name="connsiteX1" fmla="*/ 3147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787"/>
                  </a:moveTo>
                  <a:lnTo>
                    <a:pt x="3147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11" name="Freeform: Shape 2805">
              <a:extLst>
                <a:ext uri="{FF2B5EF4-FFF2-40B4-BE49-F238E27FC236}">
                  <a16:creationId xmlns:a16="http://schemas.microsoft.com/office/drawing/2014/main" id="{2FD47F54-11CB-4A48-B858-FE3ED85B40B5}"/>
                </a:ext>
              </a:extLst>
            </p:cNvPr>
            <p:cNvSpPr/>
            <p:nvPr/>
          </p:nvSpPr>
          <p:spPr>
            <a:xfrm>
              <a:off x="2282518" y="1771930"/>
              <a:ext cx="78685" cy="39343"/>
            </a:xfrm>
            <a:custGeom>
              <a:avLst/>
              <a:gdLst>
                <a:gd name="connsiteX0" fmla="*/ 75931 w 78685"/>
                <a:gd name="connsiteY0" fmla="*/ 3934 h 39342"/>
                <a:gd name="connsiteX1" fmla="*/ 72784 w 78685"/>
                <a:gd name="connsiteY1" fmla="*/ 5508 h 39342"/>
                <a:gd name="connsiteX2" fmla="*/ 70030 w 78685"/>
                <a:gd name="connsiteY2" fmla="*/ 5508 h 39342"/>
                <a:gd name="connsiteX3" fmla="*/ 66882 w 78685"/>
                <a:gd name="connsiteY3" fmla="*/ 7869 h 39342"/>
                <a:gd name="connsiteX4" fmla="*/ 68850 w 78685"/>
                <a:gd name="connsiteY4" fmla="*/ 5114 h 39342"/>
                <a:gd name="connsiteX5" fmla="*/ 71997 w 78685"/>
                <a:gd name="connsiteY5" fmla="*/ 3934 h 39342"/>
                <a:gd name="connsiteX6" fmla="*/ 68850 w 78685"/>
                <a:gd name="connsiteY6" fmla="*/ 1967 h 39342"/>
                <a:gd name="connsiteX7" fmla="*/ 65702 w 78685"/>
                <a:gd name="connsiteY7" fmla="*/ 0 h 39342"/>
                <a:gd name="connsiteX8" fmla="*/ 65702 w 78685"/>
                <a:gd name="connsiteY8" fmla="*/ 2754 h 39342"/>
                <a:gd name="connsiteX9" fmla="*/ 62948 w 78685"/>
                <a:gd name="connsiteY9" fmla="*/ 3934 h 39342"/>
                <a:gd name="connsiteX10" fmla="*/ 59801 w 78685"/>
                <a:gd name="connsiteY10" fmla="*/ 7082 h 39342"/>
                <a:gd name="connsiteX11" fmla="*/ 57047 w 78685"/>
                <a:gd name="connsiteY11" fmla="*/ 5508 h 39342"/>
                <a:gd name="connsiteX12" fmla="*/ 54293 w 78685"/>
                <a:gd name="connsiteY12" fmla="*/ 5901 h 39342"/>
                <a:gd name="connsiteX13" fmla="*/ 54686 w 78685"/>
                <a:gd name="connsiteY13" fmla="*/ 9049 h 39342"/>
                <a:gd name="connsiteX14" fmla="*/ 51539 w 78685"/>
                <a:gd name="connsiteY14" fmla="*/ 7475 h 39342"/>
                <a:gd name="connsiteX15" fmla="*/ 48785 w 78685"/>
                <a:gd name="connsiteY15" fmla="*/ 9836 h 39342"/>
                <a:gd name="connsiteX16" fmla="*/ 51145 w 78685"/>
                <a:gd name="connsiteY16" fmla="*/ 6688 h 39342"/>
                <a:gd name="connsiteX17" fmla="*/ 52719 w 78685"/>
                <a:gd name="connsiteY17" fmla="*/ 3934 h 39342"/>
                <a:gd name="connsiteX18" fmla="*/ 49572 w 78685"/>
                <a:gd name="connsiteY18" fmla="*/ 3541 h 39342"/>
                <a:gd name="connsiteX19" fmla="*/ 46818 w 78685"/>
                <a:gd name="connsiteY19" fmla="*/ 3934 h 39342"/>
                <a:gd name="connsiteX20" fmla="*/ 44064 w 78685"/>
                <a:gd name="connsiteY20" fmla="*/ 5508 h 39342"/>
                <a:gd name="connsiteX21" fmla="*/ 41310 w 78685"/>
                <a:gd name="connsiteY21" fmla="*/ 7475 h 39342"/>
                <a:gd name="connsiteX22" fmla="*/ 44064 w 78685"/>
                <a:gd name="connsiteY22" fmla="*/ 9836 h 39342"/>
                <a:gd name="connsiteX23" fmla="*/ 40916 w 78685"/>
                <a:gd name="connsiteY23" fmla="*/ 11016 h 39342"/>
                <a:gd name="connsiteX24" fmla="*/ 38162 w 78685"/>
                <a:gd name="connsiteY24" fmla="*/ 11409 h 39342"/>
                <a:gd name="connsiteX25" fmla="*/ 39736 w 78685"/>
                <a:gd name="connsiteY25" fmla="*/ 14557 h 39342"/>
                <a:gd name="connsiteX26" fmla="*/ 36589 w 78685"/>
                <a:gd name="connsiteY26" fmla="*/ 13376 h 39342"/>
                <a:gd name="connsiteX27" fmla="*/ 33835 w 78685"/>
                <a:gd name="connsiteY27" fmla="*/ 16524 h 39342"/>
                <a:gd name="connsiteX28" fmla="*/ 31474 w 78685"/>
                <a:gd name="connsiteY28" fmla="*/ 19278 h 39342"/>
                <a:gd name="connsiteX29" fmla="*/ 30687 w 78685"/>
                <a:gd name="connsiteY29" fmla="*/ 22032 h 39342"/>
                <a:gd name="connsiteX30" fmla="*/ 29507 w 78685"/>
                <a:gd name="connsiteY30" fmla="*/ 19278 h 39342"/>
                <a:gd name="connsiteX31" fmla="*/ 31474 w 78685"/>
                <a:gd name="connsiteY31" fmla="*/ 16130 h 39342"/>
                <a:gd name="connsiteX32" fmla="*/ 33441 w 78685"/>
                <a:gd name="connsiteY32" fmla="*/ 13376 h 39342"/>
                <a:gd name="connsiteX33" fmla="*/ 31474 w 78685"/>
                <a:gd name="connsiteY33" fmla="*/ 10622 h 39342"/>
                <a:gd name="connsiteX34" fmla="*/ 28327 w 78685"/>
                <a:gd name="connsiteY34" fmla="*/ 11016 h 39342"/>
                <a:gd name="connsiteX35" fmla="*/ 25573 w 78685"/>
                <a:gd name="connsiteY35" fmla="*/ 11803 h 39342"/>
                <a:gd name="connsiteX36" fmla="*/ 22425 w 78685"/>
                <a:gd name="connsiteY36" fmla="*/ 12983 h 39342"/>
                <a:gd name="connsiteX37" fmla="*/ 19278 w 78685"/>
                <a:gd name="connsiteY37" fmla="*/ 14163 h 39342"/>
                <a:gd name="connsiteX38" fmla="*/ 16130 w 78685"/>
                <a:gd name="connsiteY38" fmla="*/ 14950 h 39342"/>
                <a:gd name="connsiteX39" fmla="*/ 13376 w 78685"/>
                <a:gd name="connsiteY39" fmla="*/ 16130 h 39342"/>
                <a:gd name="connsiteX40" fmla="*/ 10229 w 78685"/>
                <a:gd name="connsiteY40" fmla="*/ 17704 h 39342"/>
                <a:gd name="connsiteX41" fmla="*/ 7082 w 78685"/>
                <a:gd name="connsiteY41" fmla="*/ 20065 h 39342"/>
                <a:gd name="connsiteX42" fmla="*/ 4328 w 78685"/>
                <a:gd name="connsiteY42" fmla="*/ 22032 h 39342"/>
                <a:gd name="connsiteX43" fmla="*/ 5901 w 78685"/>
                <a:gd name="connsiteY43" fmla="*/ 25179 h 39342"/>
                <a:gd name="connsiteX44" fmla="*/ 3147 w 78685"/>
                <a:gd name="connsiteY44" fmla="*/ 27933 h 39342"/>
                <a:gd name="connsiteX45" fmla="*/ 0 w 78685"/>
                <a:gd name="connsiteY45" fmla="*/ 30687 h 39342"/>
                <a:gd name="connsiteX46" fmla="*/ 1574 w 78685"/>
                <a:gd name="connsiteY46" fmla="*/ 33441 h 39342"/>
                <a:gd name="connsiteX47" fmla="*/ 4721 w 78685"/>
                <a:gd name="connsiteY47" fmla="*/ 33441 h 39342"/>
                <a:gd name="connsiteX48" fmla="*/ 7475 w 78685"/>
                <a:gd name="connsiteY48" fmla="*/ 32261 h 39342"/>
                <a:gd name="connsiteX49" fmla="*/ 10622 w 78685"/>
                <a:gd name="connsiteY49" fmla="*/ 30294 h 39342"/>
                <a:gd name="connsiteX50" fmla="*/ 13376 w 78685"/>
                <a:gd name="connsiteY50" fmla="*/ 28327 h 39342"/>
                <a:gd name="connsiteX51" fmla="*/ 10622 w 78685"/>
                <a:gd name="connsiteY51" fmla="*/ 27933 h 39342"/>
                <a:gd name="connsiteX52" fmla="*/ 7869 w 78685"/>
                <a:gd name="connsiteY52" fmla="*/ 28720 h 39342"/>
                <a:gd name="connsiteX53" fmla="*/ 4721 w 78685"/>
                <a:gd name="connsiteY53" fmla="*/ 30294 h 39342"/>
                <a:gd name="connsiteX54" fmla="*/ 7869 w 78685"/>
                <a:gd name="connsiteY54" fmla="*/ 27146 h 39342"/>
                <a:gd name="connsiteX55" fmla="*/ 10622 w 78685"/>
                <a:gd name="connsiteY55" fmla="*/ 27146 h 39342"/>
                <a:gd name="connsiteX56" fmla="*/ 13376 w 78685"/>
                <a:gd name="connsiteY56" fmla="*/ 27146 h 39342"/>
                <a:gd name="connsiteX57" fmla="*/ 16130 w 78685"/>
                <a:gd name="connsiteY57" fmla="*/ 27933 h 39342"/>
                <a:gd name="connsiteX58" fmla="*/ 13376 w 78685"/>
                <a:gd name="connsiteY58" fmla="*/ 29114 h 39342"/>
                <a:gd name="connsiteX59" fmla="*/ 10229 w 78685"/>
                <a:gd name="connsiteY59" fmla="*/ 31081 h 39342"/>
                <a:gd name="connsiteX60" fmla="*/ 13376 w 78685"/>
                <a:gd name="connsiteY60" fmla="*/ 30294 h 39342"/>
                <a:gd name="connsiteX61" fmla="*/ 16130 w 78685"/>
                <a:gd name="connsiteY61" fmla="*/ 29114 h 39342"/>
                <a:gd name="connsiteX62" fmla="*/ 19278 w 78685"/>
                <a:gd name="connsiteY62" fmla="*/ 27933 h 39342"/>
                <a:gd name="connsiteX63" fmla="*/ 22425 w 78685"/>
                <a:gd name="connsiteY63" fmla="*/ 26753 h 39342"/>
                <a:gd name="connsiteX64" fmla="*/ 19278 w 78685"/>
                <a:gd name="connsiteY64" fmla="*/ 28720 h 39342"/>
                <a:gd name="connsiteX65" fmla="*/ 16524 w 78685"/>
                <a:gd name="connsiteY65" fmla="*/ 29507 h 39342"/>
                <a:gd name="connsiteX66" fmla="*/ 13770 w 78685"/>
                <a:gd name="connsiteY66" fmla="*/ 31474 h 39342"/>
                <a:gd name="connsiteX67" fmla="*/ 16524 w 78685"/>
                <a:gd name="connsiteY67" fmla="*/ 31081 h 39342"/>
                <a:gd name="connsiteX68" fmla="*/ 13770 w 78685"/>
                <a:gd name="connsiteY68" fmla="*/ 33441 h 39342"/>
                <a:gd name="connsiteX69" fmla="*/ 11016 w 78685"/>
                <a:gd name="connsiteY69" fmla="*/ 34228 h 39342"/>
                <a:gd name="connsiteX70" fmla="*/ 7869 w 78685"/>
                <a:gd name="connsiteY70" fmla="*/ 35408 h 39342"/>
                <a:gd name="connsiteX71" fmla="*/ 5114 w 78685"/>
                <a:gd name="connsiteY71" fmla="*/ 36589 h 39342"/>
                <a:gd name="connsiteX72" fmla="*/ 1967 w 78685"/>
                <a:gd name="connsiteY72" fmla="*/ 38162 h 39342"/>
                <a:gd name="connsiteX73" fmla="*/ 5114 w 78685"/>
                <a:gd name="connsiteY73" fmla="*/ 39343 h 39342"/>
                <a:gd name="connsiteX74" fmla="*/ 8262 w 78685"/>
                <a:gd name="connsiteY74" fmla="*/ 38162 h 39342"/>
                <a:gd name="connsiteX75" fmla="*/ 11409 w 78685"/>
                <a:gd name="connsiteY75" fmla="*/ 36589 h 39342"/>
                <a:gd name="connsiteX76" fmla="*/ 14163 w 78685"/>
                <a:gd name="connsiteY76" fmla="*/ 36195 h 39342"/>
                <a:gd name="connsiteX77" fmla="*/ 16917 w 78685"/>
                <a:gd name="connsiteY77" fmla="*/ 34228 h 39342"/>
                <a:gd name="connsiteX78" fmla="*/ 20065 w 78685"/>
                <a:gd name="connsiteY78" fmla="*/ 33441 h 39342"/>
                <a:gd name="connsiteX79" fmla="*/ 22819 w 78685"/>
                <a:gd name="connsiteY79" fmla="*/ 32261 h 39342"/>
                <a:gd name="connsiteX80" fmla="*/ 19671 w 78685"/>
                <a:gd name="connsiteY80" fmla="*/ 30294 h 39342"/>
                <a:gd name="connsiteX81" fmla="*/ 22819 w 78685"/>
                <a:gd name="connsiteY81" fmla="*/ 29507 h 39342"/>
                <a:gd name="connsiteX82" fmla="*/ 25573 w 78685"/>
                <a:gd name="connsiteY82" fmla="*/ 29114 h 39342"/>
                <a:gd name="connsiteX83" fmla="*/ 28720 w 78685"/>
                <a:gd name="connsiteY83" fmla="*/ 27540 h 39342"/>
                <a:gd name="connsiteX84" fmla="*/ 31474 w 78685"/>
                <a:gd name="connsiteY84" fmla="*/ 27146 h 39342"/>
                <a:gd name="connsiteX85" fmla="*/ 33048 w 78685"/>
                <a:gd name="connsiteY85" fmla="*/ 26360 h 39342"/>
                <a:gd name="connsiteX86" fmla="*/ 36195 w 78685"/>
                <a:gd name="connsiteY86" fmla="*/ 25573 h 39342"/>
                <a:gd name="connsiteX87" fmla="*/ 38949 w 78685"/>
                <a:gd name="connsiteY87" fmla="*/ 23999 h 39342"/>
                <a:gd name="connsiteX88" fmla="*/ 42097 w 78685"/>
                <a:gd name="connsiteY88" fmla="*/ 24786 h 39342"/>
                <a:gd name="connsiteX89" fmla="*/ 45244 w 78685"/>
                <a:gd name="connsiteY89" fmla="*/ 23999 h 39342"/>
                <a:gd name="connsiteX90" fmla="*/ 44457 w 78685"/>
                <a:gd name="connsiteY90" fmla="*/ 21245 h 39342"/>
                <a:gd name="connsiteX91" fmla="*/ 50752 w 78685"/>
                <a:gd name="connsiteY91" fmla="*/ 21245 h 39342"/>
                <a:gd name="connsiteX92" fmla="*/ 53506 w 78685"/>
                <a:gd name="connsiteY92" fmla="*/ 22032 h 39342"/>
                <a:gd name="connsiteX93" fmla="*/ 56653 w 78685"/>
                <a:gd name="connsiteY93" fmla="*/ 22032 h 39342"/>
                <a:gd name="connsiteX94" fmla="*/ 59407 w 78685"/>
                <a:gd name="connsiteY94" fmla="*/ 20065 h 39342"/>
                <a:gd name="connsiteX95" fmla="*/ 59014 w 78685"/>
                <a:gd name="connsiteY95" fmla="*/ 17311 h 39342"/>
                <a:gd name="connsiteX96" fmla="*/ 55866 w 78685"/>
                <a:gd name="connsiteY96" fmla="*/ 16917 h 39342"/>
                <a:gd name="connsiteX97" fmla="*/ 53113 w 78685"/>
                <a:gd name="connsiteY97" fmla="*/ 17311 h 39342"/>
                <a:gd name="connsiteX98" fmla="*/ 56260 w 78685"/>
                <a:gd name="connsiteY98" fmla="*/ 16130 h 39342"/>
                <a:gd name="connsiteX99" fmla="*/ 59014 w 78685"/>
                <a:gd name="connsiteY99" fmla="*/ 15344 h 39342"/>
                <a:gd name="connsiteX100" fmla="*/ 62161 w 78685"/>
                <a:gd name="connsiteY100" fmla="*/ 16917 h 39342"/>
                <a:gd name="connsiteX101" fmla="*/ 64915 w 78685"/>
                <a:gd name="connsiteY101" fmla="*/ 17311 h 39342"/>
                <a:gd name="connsiteX102" fmla="*/ 68063 w 78685"/>
                <a:gd name="connsiteY102" fmla="*/ 18098 h 39342"/>
                <a:gd name="connsiteX103" fmla="*/ 70817 w 78685"/>
                <a:gd name="connsiteY103" fmla="*/ 16130 h 39342"/>
                <a:gd name="connsiteX104" fmla="*/ 73964 w 78685"/>
                <a:gd name="connsiteY104" fmla="*/ 14950 h 39342"/>
                <a:gd name="connsiteX105" fmla="*/ 77111 w 78685"/>
                <a:gd name="connsiteY105" fmla="*/ 13376 h 39342"/>
                <a:gd name="connsiteX106" fmla="*/ 79866 w 78685"/>
                <a:gd name="connsiteY106" fmla="*/ 12196 h 39342"/>
                <a:gd name="connsiteX107" fmla="*/ 77111 w 78685"/>
                <a:gd name="connsiteY107" fmla="*/ 11409 h 39342"/>
                <a:gd name="connsiteX108" fmla="*/ 73964 w 78685"/>
                <a:gd name="connsiteY108" fmla="*/ 12196 h 39342"/>
                <a:gd name="connsiteX109" fmla="*/ 75538 w 78685"/>
                <a:gd name="connsiteY109" fmla="*/ 9049 h 39342"/>
                <a:gd name="connsiteX110" fmla="*/ 78685 w 78685"/>
                <a:gd name="connsiteY110" fmla="*/ 7082 h 39342"/>
                <a:gd name="connsiteX111" fmla="*/ 81439 w 78685"/>
                <a:gd name="connsiteY111" fmla="*/ 5901 h 39342"/>
                <a:gd name="connsiteX112" fmla="*/ 82226 w 78685"/>
                <a:gd name="connsiteY112" fmla="*/ 3147 h 39342"/>
                <a:gd name="connsiteX113" fmla="*/ 79079 w 78685"/>
                <a:gd name="connsiteY113" fmla="*/ 2361 h 39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</a:cxnLst>
              <a:rect l="l" t="t" r="r" b="b"/>
              <a:pathLst>
                <a:path w="78685" h="39342">
                  <a:moveTo>
                    <a:pt x="75931" y="3934"/>
                  </a:moveTo>
                  <a:lnTo>
                    <a:pt x="72784" y="5508"/>
                  </a:lnTo>
                  <a:lnTo>
                    <a:pt x="70030" y="5508"/>
                  </a:lnTo>
                  <a:lnTo>
                    <a:pt x="66882" y="7869"/>
                  </a:lnTo>
                  <a:lnTo>
                    <a:pt x="68850" y="5114"/>
                  </a:lnTo>
                  <a:lnTo>
                    <a:pt x="71997" y="3934"/>
                  </a:lnTo>
                  <a:lnTo>
                    <a:pt x="68850" y="1967"/>
                  </a:lnTo>
                  <a:lnTo>
                    <a:pt x="65702" y="0"/>
                  </a:lnTo>
                  <a:lnTo>
                    <a:pt x="65702" y="2754"/>
                  </a:lnTo>
                  <a:lnTo>
                    <a:pt x="62948" y="3934"/>
                  </a:lnTo>
                  <a:lnTo>
                    <a:pt x="59801" y="7082"/>
                  </a:lnTo>
                  <a:lnTo>
                    <a:pt x="57047" y="5508"/>
                  </a:lnTo>
                  <a:lnTo>
                    <a:pt x="54293" y="5901"/>
                  </a:lnTo>
                  <a:lnTo>
                    <a:pt x="54686" y="9049"/>
                  </a:lnTo>
                  <a:lnTo>
                    <a:pt x="51539" y="7475"/>
                  </a:lnTo>
                  <a:lnTo>
                    <a:pt x="48785" y="9836"/>
                  </a:lnTo>
                  <a:lnTo>
                    <a:pt x="51145" y="6688"/>
                  </a:lnTo>
                  <a:lnTo>
                    <a:pt x="52719" y="3934"/>
                  </a:lnTo>
                  <a:lnTo>
                    <a:pt x="49572" y="3541"/>
                  </a:lnTo>
                  <a:lnTo>
                    <a:pt x="46818" y="3934"/>
                  </a:lnTo>
                  <a:lnTo>
                    <a:pt x="44064" y="5508"/>
                  </a:lnTo>
                  <a:lnTo>
                    <a:pt x="41310" y="7475"/>
                  </a:lnTo>
                  <a:lnTo>
                    <a:pt x="44064" y="9836"/>
                  </a:lnTo>
                  <a:lnTo>
                    <a:pt x="40916" y="11016"/>
                  </a:lnTo>
                  <a:lnTo>
                    <a:pt x="38162" y="11409"/>
                  </a:lnTo>
                  <a:lnTo>
                    <a:pt x="39736" y="14557"/>
                  </a:lnTo>
                  <a:lnTo>
                    <a:pt x="36589" y="13376"/>
                  </a:lnTo>
                  <a:lnTo>
                    <a:pt x="33835" y="16524"/>
                  </a:lnTo>
                  <a:lnTo>
                    <a:pt x="31474" y="19278"/>
                  </a:lnTo>
                  <a:lnTo>
                    <a:pt x="30687" y="22032"/>
                  </a:lnTo>
                  <a:lnTo>
                    <a:pt x="29507" y="19278"/>
                  </a:lnTo>
                  <a:lnTo>
                    <a:pt x="31474" y="16130"/>
                  </a:lnTo>
                  <a:lnTo>
                    <a:pt x="33441" y="13376"/>
                  </a:lnTo>
                  <a:lnTo>
                    <a:pt x="31474" y="10622"/>
                  </a:lnTo>
                  <a:lnTo>
                    <a:pt x="28327" y="11016"/>
                  </a:lnTo>
                  <a:lnTo>
                    <a:pt x="25573" y="11803"/>
                  </a:lnTo>
                  <a:lnTo>
                    <a:pt x="22425" y="12983"/>
                  </a:lnTo>
                  <a:lnTo>
                    <a:pt x="19278" y="14163"/>
                  </a:lnTo>
                  <a:lnTo>
                    <a:pt x="16130" y="14950"/>
                  </a:lnTo>
                  <a:lnTo>
                    <a:pt x="13376" y="16130"/>
                  </a:lnTo>
                  <a:lnTo>
                    <a:pt x="10229" y="17704"/>
                  </a:lnTo>
                  <a:lnTo>
                    <a:pt x="7082" y="20065"/>
                  </a:lnTo>
                  <a:lnTo>
                    <a:pt x="4328" y="22032"/>
                  </a:lnTo>
                  <a:lnTo>
                    <a:pt x="5901" y="25179"/>
                  </a:lnTo>
                  <a:lnTo>
                    <a:pt x="3147" y="27933"/>
                  </a:lnTo>
                  <a:lnTo>
                    <a:pt x="0" y="30687"/>
                  </a:lnTo>
                  <a:lnTo>
                    <a:pt x="1574" y="33441"/>
                  </a:lnTo>
                  <a:lnTo>
                    <a:pt x="4721" y="33441"/>
                  </a:lnTo>
                  <a:lnTo>
                    <a:pt x="7475" y="32261"/>
                  </a:lnTo>
                  <a:lnTo>
                    <a:pt x="10622" y="30294"/>
                  </a:lnTo>
                  <a:lnTo>
                    <a:pt x="13376" y="28327"/>
                  </a:lnTo>
                  <a:lnTo>
                    <a:pt x="10622" y="27933"/>
                  </a:lnTo>
                  <a:lnTo>
                    <a:pt x="7869" y="28720"/>
                  </a:lnTo>
                  <a:lnTo>
                    <a:pt x="4721" y="30294"/>
                  </a:lnTo>
                  <a:lnTo>
                    <a:pt x="7869" y="27146"/>
                  </a:lnTo>
                  <a:lnTo>
                    <a:pt x="10622" y="27146"/>
                  </a:lnTo>
                  <a:lnTo>
                    <a:pt x="13376" y="27146"/>
                  </a:lnTo>
                  <a:lnTo>
                    <a:pt x="16130" y="27933"/>
                  </a:lnTo>
                  <a:lnTo>
                    <a:pt x="13376" y="29114"/>
                  </a:lnTo>
                  <a:lnTo>
                    <a:pt x="10229" y="31081"/>
                  </a:lnTo>
                  <a:lnTo>
                    <a:pt x="13376" y="30294"/>
                  </a:lnTo>
                  <a:lnTo>
                    <a:pt x="16130" y="29114"/>
                  </a:lnTo>
                  <a:lnTo>
                    <a:pt x="19278" y="27933"/>
                  </a:lnTo>
                  <a:lnTo>
                    <a:pt x="22425" y="26753"/>
                  </a:lnTo>
                  <a:lnTo>
                    <a:pt x="19278" y="28720"/>
                  </a:lnTo>
                  <a:lnTo>
                    <a:pt x="16524" y="29507"/>
                  </a:lnTo>
                  <a:lnTo>
                    <a:pt x="13770" y="31474"/>
                  </a:lnTo>
                  <a:lnTo>
                    <a:pt x="16524" y="31081"/>
                  </a:lnTo>
                  <a:lnTo>
                    <a:pt x="13770" y="33441"/>
                  </a:lnTo>
                  <a:lnTo>
                    <a:pt x="11016" y="34228"/>
                  </a:lnTo>
                  <a:lnTo>
                    <a:pt x="7869" y="35408"/>
                  </a:lnTo>
                  <a:lnTo>
                    <a:pt x="5114" y="36589"/>
                  </a:lnTo>
                  <a:lnTo>
                    <a:pt x="1967" y="38162"/>
                  </a:lnTo>
                  <a:lnTo>
                    <a:pt x="5114" y="39343"/>
                  </a:lnTo>
                  <a:lnTo>
                    <a:pt x="8262" y="38162"/>
                  </a:lnTo>
                  <a:lnTo>
                    <a:pt x="11409" y="36589"/>
                  </a:lnTo>
                  <a:lnTo>
                    <a:pt x="14163" y="36195"/>
                  </a:lnTo>
                  <a:lnTo>
                    <a:pt x="16917" y="34228"/>
                  </a:lnTo>
                  <a:lnTo>
                    <a:pt x="20065" y="33441"/>
                  </a:lnTo>
                  <a:lnTo>
                    <a:pt x="22819" y="32261"/>
                  </a:lnTo>
                  <a:lnTo>
                    <a:pt x="19671" y="30294"/>
                  </a:lnTo>
                  <a:lnTo>
                    <a:pt x="22819" y="29507"/>
                  </a:lnTo>
                  <a:lnTo>
                    <a:pt x="25573" y="29114"/>
                  </a:lnTo>
                  <a:lnTo>
                    <a:pt x="28720" y="27540"/>
                  </a:lnTo>
                  <a:lnTo>
                    <a:pt x="31474" y="27146"/>
                  </a:lnTo>
                  <a:lnTo>
                    <a:pt x="33048" y="26360"/>
                  </a:lnTo>
                  <a:lnTo>
                    <a:pt x="36195" y="25573"/>
                  </a:lnTo>
                  <a:lnTo>
                    <a:pt x="38949" y="23999"/>
                  </a:lnTo>
                  <a:lnTo>
                    <a:pt x="42097" y="24786"/>
                  </a:lnTo>
                  <a:lnTo>
                    <a:pt x="45244" y="23999"/>
                  </a:lnTo>
                  <a:lnTo>
                    <a:pt x="44457" y="21245"/>
                  </a:lnTo>
                  <a:lnTo>
                    <a:pt x="50752" y="21245"/>
                  </a:lnTo>
                  <a:lnTo>
                    <a:pt x="53506" y="22032"/>
                  </a:lnTo>
                  <a:lnTo>
                    <a:pt x="56653" y="22032"/>
                  </a:lnTo>
                  <a:lnTo>
                    <a:pt x="59407" y="20065"/>
                  </a:lnTo>
                  <a:lnTo>
                    <a:pt x="59014" y="17311"/>
                  </a:lnTo>
                  <a:lnTo>
                    <a:pt x="55866" y="16917"/>
                  </a:lnTo>
                  <a:lnTo>
                    <a:pt x="53113" y="17311"/>
                  </a:lnTo>
                  <a:lnTo>
                    <a:pt x="56260" y="16130"/>
                  </a:lnTo>
                  <a:lnTo>
                    <a:pt x="59014" y="15344"/>
                  </a:lnTo>
                  <a:lnTo>
                    <a:pt x="62161" y="16917"/>
                  </a:lnTo>
                  <a:lnTo>
                    <a:pt x="64915" y="17311"/>
                  </a:lnTo>
                  <a:lnTo>
                    <a:pt x="68063" y="18098"/>
                  </a:lnTo>
                  <a:lnTo>
                    <a:pt x="70817" y="16130"/>
                  </a:lnTo>
                  <a:lnTo>
                    <a:pt x="73964" y="14950"/>
                  </a:lnTo>
                  <a:lnTo>
                    <a:pt x="77111" y="13376"/>
                  </a:lnTo>
                  <a:lnTo>
                    <a:pt x="79866" y="12196"/>
                  </a:lnTo>
                  <a:lnTo>
                    <a:pt x="77111" y="11409"/>
                  </a:lnTo>
                  <a:lnTo>
                    <a:pt x="73964" y="12196"/>
                  </a:lnTo>
                  <a:lnTo>
                    <a:pt x="75538" y="9049"/>
                  </a:lnTo>
                  <a:lnTo>
                    <a:pt x="78685" y="7082"/>
                  </a:lnTo>
                  <a:lnTo>
                    <a:pt x="81439" y="5901"/>
                  </a:lnTo>
                  <a:lnTo>
                    <a:pt x="82226" y="3147"/>
                  </a:lnTo>
                  <a:lnTo>
                    <a:pt x="79079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12" name="Freeform: Shape 2806">
              <a:extLst>
                <a:ext uri="{FF2B5EF4-FFF2-40B4-BE49-F238E27FC236}">
                  <a16:creationId xmlns:a16="http://schemas.microsoft.com/office/drawing/2014/main" id="{AF054AFF-D8F5-4504-ABD1-22890D2B475A}"/>
                </a:ext>
              </a:extLst>
            </p:cNvPr>
            <p:cNvSpPr/>
            <p:nvPr/>
          </p:nvSpPr>
          <p:spPr>
            <a:xfrm>
              <a:off x="2545720" y="1706622"/>
              <a:ext cx="7869" cy="3934"/>
            </a:xfrm>
            <a:custGeom>
              <a:avLst/>
              <a:gdLst>
                <a:gd name="connsiteX0" fmla="*/ 5901 w 7868"/>
                <a:gd name="connsiteY0" fmla="*/ 2361 h 3934"/>
                <a:gd name="connsiteX1" fmla="*/ 6295 w 7868"/>
                <a:gd name="connsiteY1" fmla="*/ 2361 h 3934"/>
                <a:gd name="connsiteX2" fmla="*/ 9442 w 7868"/>
                <a:gd name="connsiteY2" fmla="*/ 0 h 3934"/>
                <a:gd name="connsiteX3" fmla="*/ 6295 w 7868"/>
                <a:gd name="connsiteY3" fmla="*/ 1180 h 3934"/>
                <a:gd name="connsiteX4" fmla="*/ 3147 w 7868"/>
                <a:gd name="connsiteY4" fmla="*/ 2361 h 3934"/>
                <a:gd name="connsiteX5" fmla="*/ 0 w 7868"/>
                <a:gd name="connsiteY5" fmla="*/ 3934 h 3934"/>
                <a:gd name="connsiteX6" fmla="*/ 3147 w 7868"/>
                <a:gd name="connsiteY6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5901" y="2361"/>
                  </a:moveTo>
                  <a:lnTo>
                    <a:pt x="6295" y="2361"/>
                  </a:lnTo>
                  <a:lnTo>
                    <a:pt x="9442" y="0"/>
                  </a:lnTo>
                  <a:lnTo>
                    <a:pt x="6295" y="1180"/>
                  </a:lnTo>
                  <a:lnTo>
                    <a:pt x="3147" y="2361"/>
                  </a:lnTo>
                  <a:lnTo>
                    <a:pt x="0" y="3934"/>
                  </a:lnTo>
                  <a:lnTo>
                    <a:pt x="3147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13" name="Freeform: Shape 2807">
              <a:extLst>
                <a:ext uri="{FF2B5EF4-FFF2-40B4-BE49-F238E27FC236}">
                  <a16:creationId xmlns:a16="http://schemas.microsoft.com/office/drawing/2014/main" id="{72E575DF-D143-4D94-8381-E083BB612242}"/>
                </a:ext>
              </a:extLst>
            </p:cNvPr>
            <p:cNvSpPr/>
            <p:nvPr/>
          </p:nvSpPr>
          <p:spPr>
            <a:xfrm>
              <a:off x="2625585" y="1708982"/>
              <a:ext cx="11803" cy="3934"/>
            </a:xfrm>
            <a:custGeom>
              <a:avLst/>
              <a:gdLst>
                <a:gd name="connsiteX0" fmla="*/ 2754 w 11802"/>
                <a:gd name="connsiteY0" fmla="*/ 4328 h 3934"/>
                <a:gd name="connsiteX1" fmla="*/ 8262 w 11802"/>
                <a:gd name="connsiteY1" fmla="*/ 1967 h 3934"/>
                <a:gd name="connsiteX2" fmla="*/ 11016 w 11802"/>
                <a:gd name="connsiteY2" fmla="*/ 1180 h 3934"/>
                <a:gd name="connsiteX3" fmla="*/ 14163 w 11802"/>
                <a:gd name="connsiteY3" fmla="*/ 0 h 3934"/>
                <a:gd name="connsiteX4" fmla="*/ 12590 w 11802"/>
                <a:gd name="connsiteY4" fmla="*/ 0 h 3934"/>
                <a:gd name="connsiteX5" fmla="*/ 11409 w 11802"/>
                <a:gd name="connsiteY5" fmla="*/ 393 h 3934"/>
                <a:gd name="connsiteX6" fmla="*/ 8262 w 11802"/>
                <a:gd name="connsiteY6" fmla="*/ 1180 h 3934"/>
                <a:gd name="connsiteX7" fmla="*/ 5508 w 11802"/>
                <a:gd name="connsiteY7" fmla="*/ 2361 h 3934"/>
                <a:gd name="connsiteX8" fmla="*/ 2754 w 11802"/>
                <a:gd name="connsiteY8" fmla="*/ 3541 h 3934"/>
                <a:gd name="connsiteX9" fmla="*/ 0 w 11802"/>
                <a:gd name="connsiteY9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2754" y="4328"/>
                  </a:moveTo>
                  <a:lnTo>
                    <a:pt x="8262" y="1967"/>
                  </a:lnTo>
                  <a:lnTo>
                    <a:pt x="11016" y="1180"/>
                  </a:lnTo>
                  <a:lnTo>
                    <a:pt x="14163" y="0"/>
                  </a:lnTo>
                  <a:lnTo>
                    <a:pt x="12590" y="0"/>
                  </a:lnTo>
                  <a:lnTo>
                    <a:pt x="11409" y="393"/>
                  </a:lnTo>
                  <a:lnTo>
                    <a:pt x="8262" y="1180"/>
                  </a:lnTo>
                  <a:lnTo>
                    <a:pt x="5508" y="2361"/>
                  </a:lnTo>
                  <a:lnTo>
                    <a:pt x="2754" y="3541"/>
                  </a:lnTo>
                  <a:lnTo>
                    <a:pt x="0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14" name="Freeform: Shape 2808">
              <a:extLst>
                <a:ext uri="{FF2B5EF4-FFF2-40B4-BE49-F238E27FC236}">
                  <a16:creationId xmlns:a16="http://schemas.microsoft.com/office/drawing/2014/main" id="{788EEADD-32FA-4B0E-89A2-79A66A75A982}"/>
                </a:ext>
              </a:extLst>
            </p:cNvPr>
            <p:cNvSpPr/>
            <p:nvPr/>
          </p:nvSpPr>
          <p:spPr>
            <a:xfrm>
              <a:off x="2791611" y="1820715"/>
              <a:ext cx="11803" cy="3934"/>
            </a:xfrm>
            <a:custGeom>
              <a:avLst/>
              <a:gdLst>
                <a:gd name="connsiteX0" fmla="*/ 7869 w 11802"/>
                <a:gd name="connsiteY0" fmla="*/ 5901 h 3934"/>
                <a:gd name="connsiteX1" fmla="*/ 10622 w 11802"/>
                <a:gd name="connsiteY1" fmla="*/ 3147 h 3934"/>
                <a:gd name="connsiteX2" fmla="*/ 12196 w 11802"/>
                <a:gd name="connsiteY2" fmla="*/ 0 h 3934"/>
                <a:gd name="connsiteX3" fmla="*/ 12196 w 11802"/>
                <a:gd name="connsiteY3" fmla="*/ 0 h 3934"/>
                <a:gd name="connsiteX4" fmla="*/ 9049 w 11802"/>
                <a:gd name="connsiteY4" fmla="*/ 787 h 3934"/>
                <a:gd name="connsiteX5" fmla="*/ 5901 w 11802"/>
                <a:gd name="connsiteY5" fmla="*/ 393 h 3934"/>
                <a:gd name="connsiteX6" fmla="*/ 2754 w 11802"/>
                <a:gd name="connsiteY6" fmla="*/ 1574 h 3934"/>
                <a:gd name="connsiteX7" fmla="*/ 0 w 11802"/>
                <a:gd name="connsiteY7" fmla="*/ 4328 h 3934"/>
                <a:gd name="connsiteX8" fmla="*/ 1967 w 11802"/>
                <a:gd name="connsiteY8" fmla="*/ 7082 h 3934"/>
                <a:gd name="connsiteX9" fmla="*/ 5114 w 11802"/>
                <a:gd name="connsiteY9" fmla="*/ 668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7869" y="5901"/>
                  </a:moveTo>
                  <a:lnTo>
                    <a:pt x="10622" y="3147"/>
                  </a:lnTo>
                  <a:lnTo>
                    <a:pt x="12196" y="0"/>
                  </a:lnTo>
                  <a:lnTo>
                    <a:pt x="12196" y="0"/>
                  </a:lnTo>
                  <a:lnTo>
                    <a:pt x="9049" y="787"/>
                  </a:lnTo>
                  <a:lnTo>
                    <a:pt x="5901" y="393"/>
                  </a:lnTo>
                  <a:lnTo>
                    <a:pt x="2754" y="1574"/>
                  </a:lnTo>
                  <a:lnTo>
                    <a:pt x="0" y="4328"/>
                  </a:lnTo>
                  <a:lnTo>
                    <a:pt x="1967" y="7082"/>
                  </a:lnTo>
                  <a:lnTo>
                    <a:pt x="5114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15" name="Freeform: Shape 2809">
              <a:extLst>
                <a:ext uri="{FF2B5EF4-FFF2-40B4-BE49-F238E27FC236}">
                  <a16:creationId xmlns:a16="http://schemas.microsoft.com/office/drawing/2014/main" id="{341F2689-05C5-48E6-B04E-9A1539268C0E}"/>
                </a:ext>
              </a:extLst>
            </p:cNvPr>
            <p:cNvSpPr/>
            <p:nvPr/>
          </p:nvSpPr>
          <p:spPr>
            <a:xfrm>
              <a:off x="2795152" y="1824256"/>
              <a:ext cx="11803" cy="11803"/>
            </a:xfrm>
            <a:custGeom>
              <a:avLst/>
              <a:gdLst>
                <a:gd name="connsiteX0" fmla="*/ 12590 w 11802"/>
                <a:gd name="connsiteY0" fmla="*/ 393 h 11802"/>
                <a:gd name="connsiteX1" fmla="*/ 12196 w 11802"/>
                <a:gd name="connsiteY1" fmla="*/ 0 h 11802"/>
                <a:gd name="connsiteX2" fmla="*/ 9049 w 11802"/>
                <a:gd name="connsiteY2" fmla="*/ 393 h 11802"/>
                <a:gd name="connsiteX3" fmla="*/ 6295 w 11802"/>
                <a:gd name="connsiteY3" fmla="*/ 2361 h 11802"/>
                <a:gd name="connsiteX4" fmla="*/ 3541 w 11802"/>
                <a:gd name="connsiteY4" fmla="*/ 3934 h 11802"/>
                <a:gd name="connsiteX5" fmla="*/ 393 w 11802"/>
                <a:gd name="connsiteY5" fmla="*/ 5508 h 11802"/>
                <a:gd name="connsiteX6" fmla="*/ 0 w 11802"/>
                <a:gd name="connsiteY6" fmla="*/ 8262 h 11802"/>
                <a:gd name="connsiteX7" fmla="*/ 2754 w 11802"/>
                <a:gd name="connsiteY7" fmla="*/ 11016 h 11802"/>
                <a:gd name="connsiteX8" fmla="*/ 2754 w 11802"/>
                <a:gd name="connsiteY8" fmla="*/ 13770 h 11802"/>
                <a:gd name="connsiteX9" fmla="*/ 5508 w 11802"/>
                <a:gd name="connsiteY9" fmla="*/ 12983 h 11802"/>
                <a:gd name="connsiteX10" fmla="*/ 8655 w 11802"/>
                <a:gd name="connsiteY10" fmla="*/ 11016 h 11802"/>
                <a:gd name="connsiteX11" fmla="*/ 10229 w 11802"/>
                <a:gd name="connsiteY11" fmla="*/ 8262 h 11802"/>
                <a:gd name="connsiteX12" fmla="*/ 12983 w 11802"/>
                <a:gd name="connsiteY12" fmla="*/ 7082 h 11802"/>
                <a:gd name="connsiteX13" fmla="*/ 10229 w 11802"/>
                <a:gd name="connsiteY13" fmla="*/ 4328 h 11802"/>
                <a:gd name="connsiteX14" fmla="*/ 7082 w 11802"/>
                <a:gd name="connsiteY14" fmla="*/ 4328 h 11802"/>
                <a:gd name="connsiteX15" fmla="*/ 10229 w 11802"/>
                <a:gd name="connsiteY15" fmla="*/ 3147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802" h="11802">
                  <a:moveTo>
                    <a:pt x="12590" y="393"/>
                  </a:moveTo>
                  <a:lnTo>
                    <a:pt x="12196" y="0"/>
                  </a:lnTo>
                  <a:lnTo>
                    <a:pt x="9049" y="393"/>
                  </a:lnTo>
                  <a:lnTo>
                    <a:pt x="6295" y="2361"/>
                  </a:lnTo>
                  <a:lnTo>
                    <a:pt x="3541" y="3934"/>
                  </a:lnTo>
                  <a:lnTo>
                    <a:pt x="393" y="5508"/>
                  </a:lnTo>
                  <a:lnTo>
                    <a:pt x="0" y="8262"/>
                  </a:lnTo>
                  <a:lnTo>
                    <a:pt x="2754" y="11016"/>
                  </a:lnTo>
                  <a:lnTo>
                    <a:pt x="2754" y="13770"/>
                  </a:lnTo>
                  <a:lnTo>
                    <a:pt x="5508" y="12983"/>
                  </a:lnTo>
                  <a:lnTo>
                    <a:pt x="8655" y="11016"/>
                  </a:lnTo>
                  <a:lnTo>
                    <a:pt x="10229" y="8262"/>
                  </a:lnTo>
                  <a:lnTo>
                    <a:pt x="12983" y="7082"/>
                  </a:lnTo>
                  <a:lnTo>
                    <a:pt x="10229" y="4328"/>
                  </a:lnTo>
                  <a:lnTo>
                    <a:pt x="7082" y="4328"/>
                  </a:lnTo>
                  <a:lnTo>
                    <a:pt x="10229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16" name="Freeform: Shape 2810">
              <a:extLst>
                <a:ext uri="{FF2B5EF4-FFF2-40B4-BE49-F238E27FC236}">
                  <a16:creationId xmlns:a16="http://schemas.microsoft.com/office/drawing/2014/main" id="{6127C5D9-5D10-4FC6-9056-A9D55CAD35AE}"/>
                </a:ext>
              </a:extLst>
            </p:cNvPr>
            <p:cNvSpPr/>
            <p:nvPr/>
          </p:nvSpPr>
          <p:spPr>
            <a:xfrm>
              <a:off x="2801447" y="1809306"/>
              <a:ext cx="7869" cy="7869"/>
            </a:xfrm>
            <a:custGeom>
              <a:avLst/>
              <a:gdLst>
                <a:gd name="connsiteX0" fmla="*/ 7082 w 7868"/>
                <a:gd name="connsiteY0" fmla="*/ 0 h 7868"/>
                <a:gd name="connsiteX1" fmla="*/ 5114 w 7868"/>
                <a:gd name="connsiteY1" fmla="*/ 3147 h 7868"/>
                <a:gd name="connsiteX2" fmla="*/ 3147 w 7868"/>
                <a:gd name="connsiteY2" fmla="*/ 5901 h 7868"/>
                <a:gd name="connsiteX3" fmla="*/ 0 w 7868"/>
                <a:gd name="connsiteY3" fmla="*/ 7082 h 7868"/>
                <a:gd name="connsiteX4" fmla="*/ 787 w 7868"/>
                <a:gd name="connsiteY4" fmla="*/ 10229 h 7868"/>
                <a:gd name="connsiteX5" fmla="*/ 3934 w 7868"/>
                <a:gd name="connsiteY5" fmla="*/ 8655 h 7868"/>
                <a:gd name="connsiteX6" fmla="*/ 7082 w 7868"/>
                <a:gd name="connsiteY6" fmla="*/ 8655 h 7868"/>
                <a:gd name="connsiteX7" fmla="*/ 10229 w 7868"/>
                <a:gd name="connsiteY7" fmla="*/ 6688 h 7868"/>
                <a:gd name="connsiteX8" fmla="*/ 9836 w 7868"/>
                <a:gd name="connsiteY8" fmla="*/ 3934 h 7868"/>
                <a:gd name="connsiteX9" fmla="*/ 10229 w 7868"/>
                <a:gd name="connsiteY9" fmla="*/ 78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7868">
                  <a:moveTo>
                    <a:pt x="7082" y="0"/>
                  </a:moveTo>
                  <a:lnTo>
                    <a:pt x="5114" y="3147"/>
                  </a:lnTo>
                  <a:lnTo>
                    <a:pt x="3147" y="5901"/>
                  </a:lnTo>
                  <a:lnTo>
                    <a:pt x="0" y="7082"/>
                  </a:lnTo>
                  <a:lnTo>
                    <a:pt x="787" y="10229"/>
                  </a:lnTo>
                  <a:lnTo>
                    <a:pt x="3934" y="8655"/>
                  </a:lnTo>
                  <a:lnTo>
                    <a:pt x="7082" y="8655"/>
                  </a:lnTo>
                  <a:lnTo>
                    <a:pt x="10229" y="6688"/>
                  </a:lnTo>
                  <a:lnTo>
                    <a:pt x="9836" y="3934"/>
                  </a:lnTo>
                  <a:lnTo>
                    <a:pt x="10229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17" name="Freeform: Shape 2811">
              <a:extLst>
                <a:ext uri="{FF2B5EF4-FFF2-40B4-BE49-F238E27FC236}">
                  <a16:creationId xmlns:a16="http://schemas.microsoft.com/office/drawing/2014/main" id="{8BD31B3A-3A02-40B7-8F44-5FC67C9DBCB9}"/>
                </a:ext>
              </a:extLst>
            </p:cNvPr>
            <p:cNvSpPr/>
            <p:nvPr/>
          </p:nvSpPr>
          <p:spPr>
            <a:xfrm>
              <a:off x="2743220" y="1793175"/>
              <a:ext cx="11803" cy="7869"/>
            </a:xfrm>
            <a:custGeom>
              <a:avLst/>
              <a:gdLst>
                <a:gd name="connsiteX0" fmla="*/ 9836 w 11802"/>
                <a:gd name="connsiteY0" fmla="*/ 787 h 7868"/>
                <a:gd name="connsiteX1" fmla="*/ 6688 w 11802"/>
                <a:gd name="connsiteY1" fmla="*/ 3934 h 7868"/>
                <a:gd name="connsiteX2" fmla="*/ 5508 w 11802"/>
                <a:gd name="connsiteY2" fmla="*/ 7082 h 7868"/>
                <a:gd name="connsiteX3" fmla="*/ 2754 w 11802"/>
                <a:gd name="connsiteY3" fmla="*/ 7869 h 7868"/>
                <a:gd name="connsiteX4" fmla="*/ 0 w 11802"/>
                <a:gd name="connsiteY4" fmla="*/ 11016 h 7868"/>
                <a:gd name="connsiteX5" fmla="*/ 2754 w 11802"/>
                <a:gd name="connsiteY5" fmla="*/ 10622 h 7868"/>
                <a:gd name="connsiteX6" fmla="*/ 5901 w 11802"/>
                <a:gd name="connsiteY6" fmla="*/ 9836 h 7868"/>
                <a:gd name="connsiteX7" fmla="*/ 8655 w 11802"/>
                <a:gd name="connsiteY7" fmla="*/ 7869 h 7868"/>
                <a:gd name="connsiteX8" fmla="*/ 11016 w 11802"/>
                <a:gd name="connsiteY8" fmla="*/ 5115 h 7868"/>
                <a:gd name="connsiteX9" fmla="*/ 13770 w 11802"/>
                <a:gd name="connsiteY9" fmla="*/ 3147 h 7868"/>
                <a:gd name="connsiteX10" fmla="*/ 13377 w 11802"/>
                <a:gd name="connsiteY10" fmla="*/ 0 h 7868"/>
                <a:gd name="connsiteX11" fmla="*/ 12590 w 11802"/>
                <a:gd name="connsiteY11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7868">
                  <a:moveTo>
                    <a:pt x="9836" y="787"/>
                  </a:moveTo>
                  <a:lnTo>
                    <a:pt x="6688" y="3934"/>
                  </a:lnTo>
                  <a:lnTo>
                    <a:pt x="5508" y="7082"/>
                  </a:lnTo>
                  <a:lnTo>
                    <a:pt x="2754" y="7869"/>
                  </a:lnTo>
                  <a:lnTo>
                    <a:pt x="0" y="11016"/>
                  </a:lnTo>
                  <a:lnTo>
                    <a:pt x="2754" y="10622"/>
                  </a:lnTo>
                  <a:lnTo>
                    <a:pt x="5901" y="9836"/>
                  </a:lnTo>
                  <a:lnTo>
                    <a:pt x="8655" y="7869"/>
                  </a:lnTo>
                  <a:lnTo>
                    <a:pt x="11016" y="5115"/>
                  </a:lnTo>
                  <a:lnTo>
                    <a:pt x="13770" y="3147"/>
                  </a:lnTo>
                  <a:lnTo>
                    <a:pt x="13377" y="0"/>
                  </a:lnTo>
                  <a:lnTo>
                    <a:pt x="1259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18" name="Freeform: Shape 2812">
              <a:extLst>
                <a:ext uri="{FF2B5EF4-FFF2-40B4-BE49-F238E27FC236}">
                  <a16:creationId xmlns:a16="http://schemas.microsoft.com/office/drawing/2014/main" id="{523E94D8-1906-4A73-9E1C-7EAB6E3DD07F}"/>
                </a:ext>
              </a:extLst>
            </p:cNvPr>
            <p:cNvSpPr/>
            <p:nvPr/>
          </p:nvSpPr>
          <p:spPr>
            <a:xfrm>
              <a:off x="2745580" y="1837632"/>
              <a:ext cx="3934" cy="3934"/>
            </a:xfrm>
            <a:custGeom>
              <a:avLst/>
              <a:gdLst>
                <a:gd name="connsiteX0" fmla="*/ 393 w 3934"/>
                <a:gd name="connsiteY0" fmla="*/ 787 h 0"/>
                <a:gd name="connsiteX1" fmla="*/ 0 w 3934"/>
                <a:gd name="connsiteY1" fmla="*/ 3541 h 0"/>
                <a:gd name="connsiteX2" fmla="*/ 3147 w 3934"/>
                <a:gd name="connsiteY2" fmla="*/ 1967 h 0"/>
                <a:gd name="connsiteX3" fmla="*/ 6295 w 3934"/>
                <a:gd name="connsiteY3" fmla="*/ 787 h 0"/>
                <a:gd name="connsiteX4" fmla="*/ 6295 w 3934"/>
                <a:gd name="connsiteY4" fmla="*/ 0 h 0"/>
                <a:gd name="connsiteX5" fmla="*/ 3541 w 3934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393" y="787"/>
                  </a:moveTo>
                  <a:lnTo>
                    <a:pt x="0" y="3541"/>
                  </a:lnTo>
                  <a:lnTo>
                    <a:pt x="3147" y="1967"/>
                  </a:lnTo>
                  <a:lnTo>
                    <a:pt x="6295" y="787"/>
                  </a:lnTo>
                  <a:lnTo>
                    <a:pt x="6295" y="0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19" name="Freeform: Shape 2813">
              <a:extLst>
                <a:ext uri="{FF2B5EF4-FFF2-40B4-BE49-F238E27FC236}">
                  <a16:creationId xmlns:a16="http://schemas.microsoft.com/office/drawing/2014/main" id="{DDBD5C86-3F5A-4425-9D92-55C458E9C34E}"/>
                </a:ext>
              </a:extLst>
            </p:cNvPr>
            <p:cNvSpPr/>
            <p:nvPr/>
          </p:nvSpPr>
          <p:spPr>
            <a:xfrm>
              <a:off x="2758957" y="1840780"/>
              <a:ext cx="7869" cy="3934"/>
            </a:xfrm>
            <a:custGeom>
              <a:avLst/>
              <a:gdLst>
                <a:gd name="connsiteX0" fmla="*/ 7082 w 7868"/>
                <a:gd name="connsiteY0" fmla="*/ 2361 h 3934"/>
                <a:gd name="connsiteX1" fmla="*/ 9836 w 7868"/>
                <a:gd name="connsiteY1" fmla="*/ 787 h 3934"/>
                <a:gd name="connsiteX2" fmla="*/ 9049 w 7868"/>
                <a:gd name="connsiteY2" fmla="*/ 1180 h 3934"/>
                <a:gd name="connsiteX3" fmla="*/ 5901 w 7868"/>
                <a:gd name="connsiteY3" fmla="*/ 1180 h 3934"/>
                <a:gd name="connsiteX4" fmla="*/ 3147 w 7868"/>
                <a:gd name="connsiteY4" fmla="*/ 0 h 3934"/>
                <a:gd name="connsiteX5" fmla="*/ 0 w 7868"/>
                <a:gd name="connsiteY5" fmla="*/ 1574 h 3934"/>
                <a:gd name="connsiteX6" fmla="*/ 1180 w 7868"/>
                <a:gd name="connsiteY6" fmla="*/ 4328 h 3934"/>
                <a:gd name="connsiteX7" fmla="*/ 4328 w 7868"/>
                <a:gd name="connsiteY7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7082" y="2361"/>
                  </a:moveTo>
                  <a:lnTo>
                    <a:pt x="9836" y="787"/>
                  </a:lnTo>
                  <a:lnTo>
                    <a:pt x="9049" y="1180"/>
                  </a:lnTo>
                  <a:lnTo>
                    <a:pt x="5901" y="1180"/>
                  </a:lnTo>
                  <a:lnTo>
                    <a:pt x="3147" y="0"/>
                  </a:lnTo>
                  <a:lnTo>
                    <a:pt x="0" y="1574"/>
                  </a:lnTo>
                  <a:lnTo>
                    <a:pt x="1180" y="4328"/>
                  </a:lnTo>
                  <a:lnTo>
                    <a:pt x="432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20" name="Freeform: Shape 2814">
              <a:extLst>
                <a:ext uri="{FF2B5EF4-FFF2-40B4-BE49-F238E27FC236}">
                  <a16:creationId xmlns:a16="http://schemas.microsoft.com/office/drawing/2014/main" id="{BDCC1370-D414-4702-841E-C80C99A63063}"/>
                </a:ext>
              </a:extLst>
            </p:cNvPr>
            <p:cNvSpPr/>
            <p:nvPr/>
          </p:nvSpPr>
          <p:spPr>
            <a:xfrm>
              <a:off x="2769973" y="1839600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3147 w 0"/>
                <a:gd name="connsiteY1" fmla="*/ 0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3147" y="0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21" name="Freeform: Shape 2815">
              <a:extLst>
                <a:ext uri="{FF2B5EF4-FFF2-40B4-BE49-F238E27FC236}">
                  <a16:creationId xmlns:a16="http://schemas.microsoft.com/office/drawing/2014/main" id="{CD7B2D3D-6E5C-4599-92B8-D08B54976727}"/>
                </a:ext>
              </a:extLst>
            </p:cNvPr>
            <p:cNvSpPr/>
            <p:nvPr/>
          </p:nvSpPr>
          <p:spPr>
            <a:xfrm>
              <a:off x="2784923" y="1892712"/>
              <a:ext cx="3934" cy="3934"/>
            </a:xfrm>
            <a:custGeom>
              <a:avLst/>
              <a:gdLst>
                <a:gd name="connsiteX0" fmla="*/ 393 w 0"/>
                <a:gd name="connsiteY0" fmla="*/ 393 h 0"/>
                <a:gd name="connsiteX1" fmla="*/ 0 w 0"/>
                <a:gd name="connsiteY1" fmla="*/ 0 h 0"/>
                <a:gd name="connsiteX2" fmla="*/ 787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393"/>
                  </a:moveTo>
                  <a:lnTo>
                    <a:pt x="0" y="0"/>
                  </a:lnTo>
                  <a:lnTo>
                    <a:pt x="78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22" name="Freeform: Shape 2816">
              <a:extLst>
                <a:ext uri="{FF2B5EF4-FFF2-40B4-BE49-F238E27FC236}">
                  <a16:creationId xmlns:a16="http://schemas.microsoft.com/office/drawing/2014/main" id="{63BDD8FC-2E9A-4798-8EC4-B3BB594C0BEF}"/>
                </a:ext>
              </a:extLst>
            </p:cNvPr>
            <p:cNvSpPr/>
            <p:nvPr/>
          </p:nvSpPr>
          <p:spPr>
            <a:xfrm>
              <a:off x="2809316" y="1874221"/>
              <a:ext cx="3934" cy="3934"/>
            </a:xfrm>
            <a:custGeom>
              <a:avLst/>
              <a:gdLst>
                <a:gd name="connsiteX0" fmla="*/ 0 w 3934"/>
                <a:gd name="connsiteY0" fmla="*/ 3147 h 0"/>
                <a:gd name="connsiteX1" fmla="*/ 3147 w 3934"/>
                <a:gd name="connsiteY1" fmla="*/ 2361 h 0"/>
                <a:gd name="connsiteX2" fmla="*/ 6295 w 3934"/>
                <a:gd name="connsiteY2" fmla="*/ 787 h 0"/>
                <a:gd name="connsiteX3" fmla="*/ 5901 w 3934"/>
                <a:gd name="connsiteY3" fmla="*/ 0 h 0"/>
                <a:gd name="connsiteX4" fmla="*/ 3147 w 3934"/>
                <a:gd name="connsiteY4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3147"/>
                  </a:moveTo>
                  <a:lnTo>
                    <a:pt x="3147" y="2361"/>
                  </a:lnTo>
                  <a:lnTo>
                    <a:pt x="6295" y="787"/>
                  </a:lnTo>
                  <a:lnTo>
                    <a:pt x="5901" y="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23" name="Freeform: Shape 2817">
              <a:extLst>
                <a:ext uri="{FF2B5EF4-FFF2-40B4-BE49-F238E27FC236}">
                  <a16:creationId xmlns:a16="http://schemas.microsoft.com/office/drawing/2014/main" id="{1A4A8347-9A60-4B76-A105-9A12795B2AA3}"/>
                </a:ext>
              </a:extLst>
            </p:cNvPr>
            <p:cNvSpPr/>
            <p:nvPr/>
          </p:nvSpPr>
          <p:spPr>
            <a:xfrm>
              <a:off x="2812463" y="1866746"/>
              <a:ext cx="7869" cy="3934"/>
            </a:xfrm>
            <a:custGeom>
              <a:avLst/>
              <a:gdLst>
                <a:gd name="connsiteX0" fmla="*/ 5508 w 7868"/>
                <a:gd name="connsiteY0" fmla="*/ 4721 h 3934"/>
                <a:gd name="connsiteX1" fmla="*/ 8655 w 7868"/>
                <a:gd name="connsiteY1" fmla="*/ 3147 h 3934"/>
                <a:gd name="connsiteX2" fmla="*/ 11409 w 7868"/>
                <a:gd name="connsiteY2" fmla="*/ 0 h 3934"/>
                <a:gd name="connsiteX3" fmla="*/ 11016 w 7868"/>
                <a:gd name="connsiteY3" fmla="*/ 0 h 3934"/>
                <a:gd name="connsiteX4" fmla="*/ 8262 w 7868"/>
                <a:gd name="connsiteY4" fmla="*/ 1574 h 3934"/>
                <a:gd name="connsiteX5" fmla="*/ 5115 w 7868"/>
                <a:gd name="connsiteY5" fmla="*/ 3147 h 3934"/>
                <a:gd name="connsiteX6" fmla="*/ 2361 w 7868"/>
                <a:gd name="connsiteY6" fmla="*/ 4721 h 3934"/>
                <a:gd name="connsiteX7" fmla="*/ 0 w 7868"/>
                <a:gd name="connsiteY7" fmla="*/ 7475 h 3934"/>
                <a:gd name="connsiteX8" fmla="*/ 2754 w 7868"/>
                <a:gd name="connsiteY8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5508" y="4721"/>
                  </a:moveTo>
                  <a:lnTo>
                    <a:pt x="8655" y="3147"/>
                  </a:lnTo>
                  <a:lnTo>
                    <a:pt x="11409" y="0"/>
                  </a:lnTo>
                  <a:lnTo>
                    <a:pt x="11016" y="0"/>
                  </a:lnTo>
                  <a:lnTo>
                    <a:pt x="8262" y="1574"/>
                  </a:lnTo>
                  <a:lnTo>
                    <a:pt x="5115" y="3147"/>
                  </a:lnTo>
                  <a:lnTo>
                    <a:pt x="2361" y="4721"/>
                  </a:lnTo>
                  <a:lnTo>
                    <a:pt x="0" y="7475"/>
                  </a:lnTo>
                  <a:lnTo>
                    <a:pt x="2754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24" name="Freeform: Shape 2818">
              <a:extLst>
                <a:ext uri="{FF2B5EF4-FFF2-40B4-BE49-F238E27FC236}">
                  <a16:creationId xmlns:a16="http://schemas.microsoft.com/office/drawing/2014/main" id="{C465655A-6961-4375-B8DC-9703A2D099AD}"/>
                </a:ext>
              </a:extLst>
            </p:cNvPr>
            <p:cNvSpPr/>
            <p:nvPr/>
          </p:nvSpPr>
          <p:spPr>
            <a:xfrm>
              <a:off x="2788464" y="1879336"/>
              <a:ext cx="7869" cy="3934"/>
            </a:xfrm>
            <a:custGeom>
              <a:avLst/>
              <a:gdLst>
                <a:gd name="connsiteX0" fmla="*/ 8262 w 7868"/>
                <a:gd name="connsiteY0" fmla="*/ 393 h 3934"/>
                <a:gd name="connsiteX1" fmla="*/ 5508 w 7868"/>
                <a:gd name="connsiteY1" fmla="*/ 0 h 3934"/>
                <a:gd name="connsiteX2" fmla="*/ 2754 w 7868"/>
                <a:gd name="connsiteY2" fmla="*/ 2361 h 3934"/>
                <a:gd name="connsiteX3" fmla="*/ 0 w 7868"/>
                <a:gd name="connsiteY3" fmla="*/ 5115 h 3934"/>
                <a:gd name="connsiteX4" fmla="*/ 3147 w 7868"/>
                <a:gd name="connsiteY4" fmla="*/ 3934 h 3934"/>
                <a:gd name="connsiteX5" fmla="*/ 5901 w 7868"/>
                <a:gd name="connsiteY5" fmla="*/ 2754 h 3934"/>
                <a:gd name="connsiteX6" fmla="*/ 9049 w 7868"/>
                <a:gd name="connsiteY6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8262" y="393"/>
                  </a:moveTo>
                  <a:lnTo>
                    <a:pt x="5508" y="0"/>
                  </a:lnTo>
                  <a:lnTo>
                    <a:pt x="2754" y="2361"/>
                  </a:lnTo>
                  <a:lnTo>
                    <a:pt x="0" y="5115"/>
                  </a:lnTo>
                  <a:lnTo>
                    <a:pt x="3147" y="3934"/>
                  </a:lnTo>
                  <a:lnTo>
                    <a:pt x="5901" y="2754"/>
                  </a:lnTo>
                  <a:lnTo>
                    <a:pt x="9049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25" name="Freeform: Shape 2819">
              <a:extLst>
                <a:ext uri="{FF2B5EF4-FFF2-40B4-BE49-F238E27FC236}">
                  <a16:creationId xmlns:a16="http://schemas.microsoft.com/office/drawing/2014/main" id="{CA62BB3D-EDD2-4BB2-AB1D-A6703E5B8E7E}"/>
                </a:ext>
              </a:extLst>
            </p:cNvPr>
            <p:cNvSpPr/>
            <p:nvPr/>
          </p:nvSpPr>
          <p:spPr>
            <a:xfrm>
              <a:off x="2807742" y="1873828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2754 w 0"/>
                <a:gd name="connsiteY1" fmla="*/ 0 h 0"/>
                <a:gd name="connsiteX2" fmla="*/ 118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2754" y="0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26" name="Freeform: Shape 2820">
              <a:extLst>
                <a:ext uri="{FF2B5EF4-FFF2-40B4-BE49-F238E27FC236}">
                  <a16:creationId xmlns:a16="http://schemas.microsoft.com/office/drawing/2014/main" id="{948B9F1E-66D9-4B2A-B2FD-5307E825F033}"/>
                </a:ext>
              </a:extLst>
            </p:cNvPr>
            <p:cNvSpPr/>
            <p:nvPr/>
          </p:nvSpPr>
          <p:spPr>
            <a:xfrm>
              <a:off x="2744400" y="1854156"/>
              <a:ext cx="7869" cy="3934"/>
            </a:xfrm>
            <a:custGeom>
              <a:avLst/>
              <a:gdLst>
                <a:gd name="connsiteX0" fmla="*/ 3147 w 7868"/>
                <a:gd name="connsiteY0" fmla="*/ 3541 h 3934"/>
                <a:gd name="connsiteX1" fmla="*/ 5901 w 7868"/>
                <a:gd name="connsiteY1" fmla="*/ 1967 h 3934"/>
                <a:gd name="connsiteX2" fmla="*/ 8655 w 7868"/>
                <a:gd name="connsiteY2" fmla="*/ 393 h 3934"/>
                <a:gd name="connsiteX3" fmla="*/ 8262 w 7868"/>
                <a:gd name="connsiteY3" fmla="*/ 0 h 3934"/>
                <a:gd name="connsiteX4" fmla="*/ 5114 w 7868"/>
                <a:gd name="connsiteY4" fmla="*/ 393 h 3934"/>
                <a:gd name="connsiteX5" fmla="*/ 1967 w 7868"/>
                <a:gd name="connsiteY5" fmla="*/ 2754 h 3934"/>
                <a:gd name="connsiteX6" fmla="*/ 0 w 7868"/>
                <a:gd name="connsiteY6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3147" y="3541"/>
                  </a:moveTo>
                  <a:lnTo>
                    <a:pt x="5901" y="1967"/>
                  </a:lnTo>
                  <a:lnTo>
                    <a:pt x="8655" y="393"/>
                  </a:lnTo>
                  <a:lnTo>
                    <a:pt x="8262" y="0"/>
                  </a:lnTo>
                  <a:lnTo>
                    <a:pt x="5114" y="393"/>
                  </a:lnTo>
                  <a:lnTo>
                    <a:pt x="1967" y="2754"/>
                  </a:lnTo>
                  <a:lnTo>
                    <a:pt x="0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27" name="Freeform: Shape 2821">
              <a:extLst>
                <a:ext uri="{FF2B5EF4-FFF2-40B4-BE49-F238E27FC236}">
                  <a16:creationId xmlns:a16="http://schemas.microsoft.com/office/drawing/2014/main" id="{16709164-5E61-4F38-B485-1F68EC4D6693}"/>
                </a:ext>
              </a:extLst>
            </p:cNvPr>
            <p:cNvSpPr/>
            <p:nvPr/>
          </p:nvSpPr>
          <p:spPr>
            <a:xfrm>
              <a:off x="2746761" y="1849829"/>
              <a:ext cx="3934" cy="3934"/>
            </a:xfrm>
            <a:custGeom>
              <a:avLst/>
              <a:gdLst>
                <a:gd name="connsiteX0" fmla="*/ 0 w 3934"/>
                <a:gd name="connsiteY0" fmla="*/ 2754 h 0"/>
                <a:gd name="connsiteX1" fmla="*/ 2754 w 3934"/>
                <a:gd name="connsiteY1" fmla="*/ 3541 h 0"/>
                <a:gd name="connsiteX2" fmla="*/ 3541 w 3934"/>
                <a:gd name="connsiteY2" fmla="*/ 2754 h 0"/>
                <a:gd name="connsiteX3" fmla="*/ 5901 w 3934"/>
                <a:gd name="connsiteY3" fmla="*/ 0 h 0"/>
                <a:gd name="connsiteX4" fmla="*/ 2754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2754"/>
                  </a:moveTo>
                  <a:lnTo>
                    <a:pt x="2754" y="3541"/>
                  </a:lnTo>
                  <a:lnTo>
                    <a:pt x="3541" y="2754"/>
                  </a:lnTo>
                  <a:lnTo>
                    <a:pt x="5901" y="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28" name="Freeform: Shape 2822">
              <a:extLst>
                <a:ext uri="{FF2B5EF4-FFF2-40B4-BE49-F238E27FC236}">
                  <a16:creationId xmlns:a16="http://schemas.microsoft.com/office/drawing/2014/main" id="{84CB81C6-FD44-4871-B27F-138F3DCDFE2E}"/>
                </a:ext>
              </a:extLst>
            </p:cNvPr>
            <p:cNvSpPr/>
            <p:nvPr/>
          </p:nvSpPr>
          <p:spPr>
            <a:xfrm>
              <a:off x="2747548" y="1859271"/>
              <a:ext cx="7869" cy="15737"/>
            </a:xfrm>
            <a:custGeom>
              <a:avLst/>
              <a:gdLst>
                <a:gd name="connsiteX0" fmla="*/ 7869 w 7868"/>
                <a:gd name="connsiteY0" fmla="*/ 5901 h 15737"/>
                <a:gd name="connsiteX1" fmla="*/ 7869 w 7868"/>
                <a:gd name="connsiteY1" fmla="*/ 3147 h 15737"/>
                <a:gd name="connsiteX2" fmla="*/ 9442 w 7868"/>
                <a:gd name="connsiteY2" fmla="*/ 393 h 15737"/>
                <a:gd name="connsiteX3" fmla="*/ 9049 w 7868"/>
                <a:gd name="connsiteY3" fmla="*/ 0 h 15737"/>
                <a:gd name="connsiteX4" fmla="*/ 6295 w 7868"/>
                <a:gd name="connsiteY4" fmla="*/ 1967 h 15737"/>
                <a:gd name="connsiteX5" fmla="*/ 4721 w 7868"/>
                <a:gd name="connsiteY5" fmla="*/ 4721 h 15737"/>
                <a:gd name="connsiteX6" fmla="*/ 1574 w 7868"/>
                <a:gd name="connsiteY6" fmla="*/ 6295 h 15737"/>
                <a:gd name="connsiteX7" fmla="*/ 393 w 7868"/>
                <a:gd name="connsiteY7" fmla="*/ 9049 h 15737"/>
                <a:gd name="connsiteX8" fmla="*/ 393 w 7868"/>
                <a:gd name="connsiteY8" fmla="*/ 11803 h 15737"/>
                <a:gd name="connsiteX9" fmla="*/ 0 w 7868"/>
                <a:gd name="connsiteY9" fmla="*/ 14950 h 15737"/>
                <a:gd name="connsiteX10" fmla="*/ 393 w 7868"/>
                <a:gd name="connsiteY10" fmla="*/ 17704 h 15737"/>
                <a:gd name="connsiteX11" fmla="*/ 3541 w 7868"/>
                <a:gd name="connsiteY11" fmla="*/ 18491 h 15737"/>
                <a:gd name="connsiteX12" fmla="*/ 5115 w 7868"/>
                <a:gd name="connsiteY12" fmla="*/ 15737 h 15737"/>
                <a:gd name="connsiteX13" fmla="*/ 5508 w 7868"/>
                <a:gd name="connsiteY13" fmla="*/ 12590 h 15737"/>
                <a:gd name="connsiteX14" fmla="*/ 4721 w 7868"/>
                <a:gd name="connsiteY14" fmla="*/ 9836 h 15737"/>
                <a:gd name="connsiteX15" fmla="*/ 5115 w 7868"/>
                <a:gd name="connsiteY15" fmla="*/ 6688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68" h="15737">
                  <a:moveTo>
                    <a:pt x="7869" y="5901"/>
                  </a:moveTo>
                  <a:lnTo>
                    <a:pt x="7869" y="3147"/>
                  </a:lnTo>
                  <a:lnTo>
                    <a:pt x="9442" y="393"/>
                  </a:lnTo>
                  <a:lnTo>
                    <a:pt x="9049" y="0"/>
                  </a:lnTo>
                  <a:lnTo>
                    <a:pt x="6295" y="1967"/>
                  </a:lnTo>
                  <a:lnTo>
                    <a:pt x="4721" y="4721"/>
                  </a:lnTo>
                  <a:lnTo>
                    <a:pt x="1574" y="6295"/>
                  </a:lnTo>
                  <a:lnTo>
                    <a:pt x="393" y="9049"/>
                  </a:lnTo>
                  <a:lnTo>
                    <a:pt x="393" y="11803"/>
                  </a:lnTo>
                  <a:lnTo>
                    <a:pt x="0" y="14950"/>
                  </a:lnTo>
                  <a:lnTo>
                    <a:pt x="393" y="17704"/>
                  </a:lnTo>
                  <a:lnTo>
                    <a:pt x="3541" y="18491"/>
                  </a:lnTo>
                  <a:lnTo>
                    <a:pt x="5115" y="15737"/>
                  </a:lnTo>
                  <a:lnTo>
                    <a:pt x="5508" y="12590"/>
                  </a:lnTo>
                  <a:lnTo>
                    <a:pt x="4721" y="9836"/>
                  </a:lnTo>
                  <a:lnTo>
                    <a:pt x="5115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29" name="Freeform: Shape 2823">
              <a:extLst>
                <a:ext uri="{FF2B5EF4-FFF2-40B4-BE49-F238E27FC236}">
                  <a16:creationId xmlns:a16="http://schemas.microsoft.com/office/drawing/2014/main" id="{A99C1E8D-607D-48BC-B360-6F048042BDB7}"/>
                </a:ext>
              </a:extLst>
            </p:cNvPr>
            <p:cNvSpPr/>
            <p:nvPr/>
          </p:nvSpPr>
          <p:spPr>
            <a:xfrm>
              <a:off x="2747941" y="1856910"/>
              <a:ext cx="3934" cy="3934"/>
            </a:xfrm>
            <a:custGeom>
              <a:avLst/>
              <a:gdLst>
                <a:gd name="connsiteX0" fmla="*/ 1967 w 3934"/>
                <a:gd name="connsiteY0" fmla="*/ 1180 h 3934"/>
                <a:gd name="connsiteX1" fmla="*/ 0 w 3934"/>
                <a:gd name="connsiteY1" fmla="*/ 3934 h 3934"/>
                <a:gd name="connsiteX2" fmla="*/ 3147 w 3934"/>
                <a:gd name="connsiteY2" fmla="*/ 3934 h 3934"/>
                <a:gd name="connsiteX3" fmla="*/ 5901 w 3934"/>
                <a:gd name="connsiteY3" fmla="*/ 2754 h 3934"/>
                <a:gd name="connsiteX4" fmla="*/ 7082 w 3934"/>
                <a:gd name="connsiteY4" fmla="*/ 0 h 3934"/>
                <a:gd name="connsiteX5" fmla="*/ 5114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1967" y="1180"/>
                  </a:moveTo>
                  <a:lnTo>
                    <a:pt x="0" y="3934"/>
                  </a:lnTo>
                  <a:lnTo>
                    <a:pt x="3147" y="3934"/>
                  </a:lnTo>
                  <a:lnTo>
                    <a:pt x="5901" y="2754"/>
                  </a:lnTo>
                  <a:lnTo>
                    <a:pt x="7082" y="0"/>
                  </a:lnTo>
                  <a:lnTo>
                    <a:pt x="511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30" name="Freeform: Shape 2824">
              <a:extLst>
                <a:ext uri="{FF2B5EF4-FFF2-40B4-BE49-F238E27FC236}">
                  <a16:creationId xmlns:a16="http://schemas.microsoft.com/office/drawing/2014/main" id="{F81BDAF2-938E-408A-B299-C5DC45221665}"/>
                </a:ext>
              </a:extLst>
            </p:cNvPr>
            <p:cNvSpPr/>
            <p:nvPr/>
          </p:nvSpPr>
          <p:spPr>
            <a:xfrm>
              <a:off x="2753055" y="1850616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2754 w 0"/>
                <a:gd name="connsiteY1" fmla="*/ 0 h 0"/>
                <a:gd name="connsiteX2" fmla="*/ 196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2754" y="0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31" name="Freeform: Shape 2825">
              <a:extLst>
                <a:ext uri="{FF2B5EF4-FFF2-40B4-BE49-F238E27FC236}">
                  <a16:creationId xmlns:a16="http://schemas.microsoft.com/office/drawing/2014/main" id="{EBC12482-B46C-4536-9DB8-D0DFA7F31DD8}"/>
                </a:ext>
              </a:extLst>
            </p:cNvPr>
            <p:cNvSpPr/>
            <p:nvPr/>
          </p:nvSpPr>
          <p:spPr>
            <a:xfrm>
              <a:off x="2754236" y="1869500"/>
              <a:ext cx="3934" cy="3934"/>
            </a:xfrm>
            <a:custGeom>
              <a:avLst/>
              <a:gdLst>
                <a:gd name="connsiteX0" fmla="*/ 1574 w 3934"/>
                <a:gd name="connsiteY0" fmla="*/ 2754 h 3934"/>
                <a:gd name="connsiteX1" fmla="*/ 4721 w 3934"/>
                <a:gd name="connsiteY1" fmla="*/ 1574 h 3934"/>
                <a:gd name="connsiteX2" fmla="*/ 2361 w 3934"/>
                <a:gd name="connsiteY2" fmla="*/ 0 h 3934"/>
                <a:gd name="connsiteX3" fmla="*/ 0 w 3934"/>
                <a:gd name="connsiteY3" fmla="*/ 2754 h 3934"/>
                <a:gd name="connsiteX4" fmla="*/ 393 w 3934"/>
                <a:gd name="connsiteY4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1574" y="2754"/>
                  </a:moveTo>
                  <a:lnTo>
                    <a:pt x="4721" y="1574"/>
                  </a:lnTo>
                  <a:lnTo>
                    <a:pt x="2361" y="0"/>
                  </a:lnTo>
                  <a:lnTo>
                    <a:pt x="0" y="2754"/>
                  </a:lnTo>
                  <a:lnTo>
                    <a:pt x="393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32" name="Freeform: Shape 2826">
              <a:extLst>
                <a:ext uri="{FF2B5EF4-FFF2-40B4-BE49-F238E27FC236}">
                  <a16:creationId xmlns:a16="http://schemas.microsoft.com/office/drawing/2014/main" id="{961D899F-EEB1-4939-9B5E-4868FD0EF692}"/>
                </a:ext>
              </a:extLst>
            </p:cNvPr>
            <p:cNvSpPr/>
            <p:nvPr/>
          </p:nvSpPr>
          <p:spPr>
            <a:xfrm>
              <a:off x="2756990" y="1861238"/>
              <a:ext cx="3934" cy="3934"/>
            </a:xfrm>
            <a:custGeom>
              <a:avLst/>
              <a:gdLst>
                <a:gd name="connsiteX0" fmla="*/ 5901 w 3934"/>
                <a:gd name="connsiteY0" fmla="*/ 3147 h 3934"/>
                <a:gd name="connsiteX1" fmla="*/ 5508 w 3934"/>
                <a:gd name="connsiteY1" fmla="*/ 0 h 3934"/>
                <a:gd name="connsiteX2" fmla="*/ 5115 w 3934"/>
                <a:gd name="connsiteY2" fmla="*/ 393 h 3934"/>
                <a:gd name="connsiteX3" fmla="*/ 3147 w 3934"/>
                <a:gd name="connsiteY3" fmla="*/ 3541 h 3934"/>
                <a:gd name="connsiteX4" fmla="*/ 0 w 3934"/>
                <a:gd name="connsiteY4" fmla="*/ 5508 h 3934"/>
                <a:gd name="connsiteX5" fmla="*/ 3147 w 3934"/>
                <a:gd name="connsiteY5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5901" y="3147"/>
                  </a:moveTo>
                  <a:lnTo>
                    <a:pt x="5508" y="0"/>
                  </a:lnTo>
                  <a:lnTo>
                    <a:pt x="5115" y="393"/>
                  </a:lnTo>
                  <a:lnTo>
                    <a:pt x="3147" y="3541"/>
                  </a:lnTo>
                  <a:lnTo>
                    <a:pt x="0" y="5508"/>
                  </a:lnTo>
                  <a:lnTo>
                    <a:pt x="3147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33" name="Freeform: Shape 2827">
              <a:extLst>
                <a:ext uri="{FF2B5EF4-FFF2-40B4-BE49-F238E27FC236}">
                  <a16:creationId xmlns:a16="http://schemas.microsoft.com/office/drawing/2014/main" id="{5E0A031D-9280-4680-BC50-DF7D699CE421}"/>
                </a:ext>
              </a:extLst>
            </p:cNvPr>
            <p:cNvSpPr/>
            <p:nvPr/>
          </p:nvSpPr>
          <p:spPr>
            <a:xfrm>
              <a:off x="2758170" y="1849829"/>
              <a:ext cx="3934" cy="3934"/>
            </a:xfrm>
            <a:custGeom>
              <a:avLst/>
              <a:gdLst>
                <a:gd name="connsiteX0" fmla="*/ 3147 w 0"/>
                <a:gd name="connsiteY0" fmla="*/ 787 h 0"/>
                <a:gd name="connsiteX1" fmla="*/ 3147 w 0"/>
                <a:gd name="connsiteY1" fmla="*/ 0 h 0"/>
                <a:gd name="connsiteX2" fmla="*/ 0 w 0"/>
                <a:gd name="connsiteY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787"/>
                  </a:moveTo>
                  <a:lnTo>
                    <a:pt x="3147" y="0"/>
                  </a:lnTo>
                  <a:lnTo>
                    <a:pt x="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34" name="Freeform: Shape 2828">
              <a:extLst>
                <a:ext uri="{FF2B5EF4-FFF2-40B4-BE49-F238E27FC236}">
                  <a16:creationId xmlns:a16="http://schemas.microsoft.com/office/drawing/2014/main" id="{C9E7E9E7-643C-4D39-A449-F7F65C0B05A0}"/>
                </a:ext>
              </a:extLst>
            </p:cNvPr>
            <p:cNvSpPr/>
            <p:nvPr/>
          </p:nvSpPr>
          <p:spPr>
            <a:xfrm>
              <a:off x="2788464" y="1867926"/>
              <a:ext cx="7869" cy="3934"/>
            </a:xfrm>
            <a:custGeom>
              <a:avLst/>
              <a:gdLst>
                <a:gd name="connsiteX0" fmla="*/ 5901 w 7868"/>
                <a:gd name="connsiteY0" fmla="*/ 2754 h 0"/>
                <a:gd name="connsiteX1" fmla="*/ 7869 w 7868"/>
                <a:gd name="connsiteY1" fmla="*/ 0 h 0"/>
                <a:gd name="connsiteX2" fmla="*/ 5901 w 7868"/>
                <a:gd name="connsiteY2" fmla="*/ 393 h 0"/>
                <a:gd name="connsiteX3" fmla="*/ 3147 w 7868"/>
                <a:gd name="connsiteY3" fmla="*/ 787 h 0"/>
                <a:gd name="connsiteX4" fmla="*/ 0 w 7868"/>
                <a:gd name="connsiteY4" fmla="*/ 2361 h 0"/>
                <a:gd name="connsiteX5" fmla="*/ 3147 w 7868"/>
                <a:gd name="connsiteY5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5901" y="2754"/>
                  </a:moveTo>
                  <a:lnTo>
                    <a:pt x="7869" y="0"/>
                  </a:lnTo>
                  <a:lnTo>
                    <a:pt x="5901" y="393"/>
                  </a:lnTo>
                  <a:lnTo>
                    <a:pt x="3147" y="787"/>
                  </a:lnTo>
                  <a:lnTo>
                    <a:pt x="0" y="2361"/>
                  </a:lnTo>
                  <a:lnTo>
                    <a:pt x="3147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35" name="Freeform: Shape 2829">
              <a:extLst>
                <a:ext uri="{FF2B5EF4-FFF2-40B4-BE49-F238E27FC236}">
                  <a16:creationId xmlns:a16="http://schemas.microsoft.com/office/drawing/2014/main" id="{0213601A-D5C5-4908-BC4C-C3DCE8E11AEA}"/>
                </a:ext>
              </a:extLst>
            </p:cNvPr>
            <p:cNvSpPr/>
            <p:nvPr/>
          </p:nvSpPr>
          <p:spPr>
            <a:xfrm>
              <a:off x="2789251" y="1854156"/>
              <a:ext cx="3934" cy="7869"/>
            </a:xfrm>
            <a:custGeom>
              <a:avLst/>
              <a:gdLst>
                <a:gd name="connsiteX0" fmla="*/ 2361 w 3934"/>
                <a:gd name="connsiteY0" fmla="*/ 1967 h 7868"/>
                <a:gd name="connsiteX1" fmla="*/ 0 w 3934"/>
                <a:gd name="connsiteY1" fmla="*/ 4721 h 7868"/>
                <a:gd name="connsiteX2" fmla="*/ 393 w 3934"/>
                <a:gd name="connsiteY2" fmla="*/ 7869 h 7868"/>
                <a:gd name="connsiteX3" fmla="*/ 3147 w 3934"/>
                <a:gd name="connsiteY3" fmla="*/ 5508 h 7868"/>
                <a:gd name="connsiteX4" fmla="*/ 6295 w 3934"/>
                <a:gd name="connsiteY4" fmla="*/ 2754 h 7868"/>
                <a:gd name="connsiteX5" fmla="*/ 5114 w 3934"/>
                <a:gd name="connsiteY5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2361" y="1967"/>
                  </a:moveTo>
                  <a:lnTo>
                    <a:pt x="0" y="4721"/>
                  </a:lnTo>
                  <a:lnTo>
                    <a:pt x="393" y="7869"/>
                  </a:lnTo>
                  <a:lnTo>
                    <a:pt x="3147" y="5508"/>
                  </a:lnTo>
                  <a:lnTo>
                    <a:pt x="6295" y="2754"/>
                  </a:lnTo>
                  <a:lnTo>
                    <a:pt x="511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36" name="Freeform: Shape 2830">
              <a:extLst>
                <a:ext uri="{FF2B5EF4-FFF2-40B4-BE49-F238E27FC236}">
                  <a16:creationId xmlns:a16="http://schemas.microsoft.com/office/drawing/2014/main" id="{0B8DCEBD-9709-48FF-B641-2E4EDB1860EB}"/>
                </a:ext>
              </a:extLst>
            </p:cNvPr>
            <p:cNvSpPr/>
            <p:nvPr/>
          </p:nvSpPr>
          <p:spPr>
            <a:xfrm>
              <a:off x="2789644" y="1858877"/>
              <a:ext cx="7869" cy="7869"/>
            </a:xfrm>
            <a:custGeom>
              <a:avLst/>
              <a:gdLst>
                <a:gd name="connsiteX0" fmla="*/ 8262 w 7868"/>
                <a:gd name="connsiteY0" fmla="*/ 787 h 7868"/>
                <a:gd name="connsiteX1" fmla="*/ 7475 w 7868"/>
                <a:gd name="connsiteY1" fmla="*/ 0 h 7868"/>
                <a:gd name="connsiteX2" fmla="*/ 4328 w 7868"/>
                <a:gd name="connsiteY2" fmla="*/ 1967 h 7868"/>
                <a:gd name="connsiteX3" fmla="*/ 1574 w 7868"/>
                <a:gd name="connsiteY3" fmla="*/ 5115 h 7868"/>
                <a:gd name="connsiteX4" fmla="*/ 0 w 7868"/>
                <a:gd name="connsiteY4" fmla="*/ 7869 h 7868"/>
                <a:gd name="connsiteX5" fmla="*/ 2754 w 7868"/>
                <a:gd name="connsiteY5" fmla="*/ 8262 h 7868"/>
                <a:gd name="connsiteX6" fmla="*/ 5901 w 7868"/>
                <a:gd name="connsiteY6" fmla="*/ 6688 h 7868"/>
                <a:gd name="connsiteX7" fmla="*/ 8262 w 7868"/>
                <a:gd name="connsiteY7" fmla="*/ 393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7868">
                  <a:moveTo>
                    <a:pt x="8262" y="787"/>
                  </a:moveTo>
                  <a:lnTo>
                    <a:pt x="7475" y="0"/>
                  </a:lnTo>
                  <a:lnTo>
                    <a:pt x="4328" y="1967"/>
                  </a:lnTo>
                  <a:lnTo>
                    <a:pt x="1574" y="5115"/>
                  </a:lnTo>
                  <a:lnTo>
                    <a:pt x="0" y="7869"/>
                  </a:lnTo>
                  <a:lnTo>
                    <a:pt x="2754" y="8262"/>
                  </a:lnTo>
                  <a:lnTo>
                    <a:pt x="5901" y="6688"/>
                  </a:lnTo>
                  <a:lnTo>
                    <a:pt x="8262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37" name="Freeform: Shape 2831">
              <a:extLst>
                <a:ext uri="{FF2B5EF4-FFF2-40B4-BE49-F238E27FC236}">
                  <a16:creationId xmlns:a16="http://schemas.microsoft.com/office/drawing/2014/main" id="{F436CADA-BCBC-41BB-AD59-F517F083D139}"/>
                </a:ext>
              </a:extLst>
            </p:cNvPr>
            <p:cNvSpPr/>
            <p:nvPr/>
          </p:nvSpPr>
          <p:spPr>
            <a:xfrm>
              <a:off x="2779022" y="1896646"/>
              <a:ext cx="11803" cy="7869"/>
            </a:xfrm>
            <a:custGeom>
              <a:avLst/>
              <a:gdLst>
                <a:gd name="connsiteX0" fmla="*/ 12983 w 11802"/>
                <a:gd name="connsiteY0" fmla="*/ 3541 h 7868"/>
                <a:gd name="connsiteX1" fmla="*/ 12983 w 11802"/>
                <a:gd name="connsiteY1" fmla="*/ 787 h 7868"/>
                <a:gd name="connsiteX2" fmla="*/ 12590 w 11802"/>
                <a:gd name="connsiteY2" fmla="*/ 0 h 7868"/>
                <a:gd name="connsiteX3" fmla="*/ 9442 w 11802"/>
                <a:gd name="connsiteY3" fmla="*/ 787 h 7868"/>
                <a:gd name="connsiteX4" fmla="*/ 6295 w 11802"/>
                <a:gd name="connsiteY4" fmla="*/ 1574 h 7868"/>
                <a:gd name="connsiteX5" fmla="*/ 3541 w 11802"/>
                <a:gd name="connsiteY5" fmla="*/ 3147 h 7868"/>
                <a:gd name="connsiteX6" fmla="*/ 393 w 11802"/>
                <a:gd name="connsiteY6" fmla="*/ 4721 h 7868"/>
                <a:gd name="connsiteX7" fmla="*/ 0 w 11802"/>
                <a:gd name="connsiteY7" fmla="*/ 7475 h 7868"/>
                <a:gd name="connsiteX8" fmla="*/ 1180 w 11802"/>
                <a:gd name="connsiteY8" fmla="*/ 4721 h 7868"/>
                <a:gd name="connsiteX9" fmla="*/ 3934 w 11802"/>
                <a:gd name="connsiteY9" fmla="*/ 6688 h 7868"/>
                <a:gd name="connsiteX10" fmla="*/ 6688 w 11802"/>
                <a:gd name="connsiteY10" fmla="*/ 4328 h 7868"/>
                <a:gd name="connsiteX11" fmla="*/ 9442 w 11802"/>
                <a:gd name="connsiteY11" fmla="*/ 4328 h 7868"/>
                <a:gd name="connsiteX12" fmla="*/ 6688 w 11802"/>
                <a:gd name="connsiteY12" fmla="*/ 5115 h 7868"/>
                <a:gd name="connsiteX13" fmla="*/ 3934 w 11802"/>
                <a:gd name="connsiteY13" fmla="*/ 7869 h 7868"/>
                <a:gd name="connsiteX14" fmla="*/ 7082 w 11802"/>
                <a:gd name="connsiteY14" fmla="*/ 7869 h 7868"/>
                <a:gd name="connsiteX15" fmla="*/ 9836 w 11802"/>
                <a:gd name="connsiteY15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802" h="7868">
                  <a:moveTo>
                    <a:pt x="12983" y="3541"/>
                  </a:moveTo>
                  <a:lnTo>
                    <a:pt x="12983" y="787"/>
                  </a:lnTo>
                  <a:lnTo>
                    <a:pt x="12590" y="0"/>
                  </a:lnTo>
                  <a:lnTo>
                    <a:pt x="9442" y="787"/>
                  </a:lnTo>
                  <a:lnTo>
                    <a:pt x="6295" y="1574"/>
                  </a:lnTo>
                  <a:lnTo>
                    <a:pt x="3541" y="3147"/>
                  </a:lnTo>
                  <a:lnTo>
                    <a:pt x="393" y="4721"/>
                  </a:lnTo>
                  <a:lnTo>
                    <a:pt x="0" y="7475"/>
                  </a:lnTo>
                  <a:lnTo>
                    <a:pt x="1180" y="4721"/>
                  </a:lnTo>
                  <a:lnTo>
                    <a:pt x="3934" y="6688"/>
                  </a:lnTo>
                  <a:lnTo>
                    <a:pt x="6688" y="4328"/>
                  </a:lnTo>
                  <a:lnTo>
                    <a:pt x="9442" y="4328"/>
                  </a:lnTo>
                  <a:lnTo>
                    <a:pt x="6688" y="5115"/>
                  </a:lnTo>
                  <a:lnTo>
                    <a:pt x="3934" y="7869"/>
                  </a:lnTo>
                  <a:lnTo>
                    <a:pt x="7082" y="7869"/>
                  </a:lnTo>
                  <a:lnTo>
                    <a:pt x="9836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38" name="Freeform: Shape 2832">
              <a:extLst>
                <a:ext uri="{FF2B5EF4-FFF2-40B4-BE49-F238E27FC236}">
                  <a16:creationId xmlns:a16="http://schemas.microsoft.com/office/drawing/2014/main" id="{A26FDBB3-3FCB-4409-BA22-F4A71BD623F7}"/>
                </a:ext>
              </a:extLst>
            </p:cNvPr>
            <p:cNvSpPr/>
            <p:nvPr/>
          </p:nvSpPr>
          <p:spPr>
            <a:xfrm>
              <a:off x="2715680" y="1959988"/>
              <a:ext cx="3934" cy="3934"/>
            </a:xfrm>
            <a:custGeom>
              <a:avLst/>
              <a:gdLst>
                <a:gd name="connsiteX0" fmla="*/ 0 w 0"/>
                <a:gd name="connsiteY0" fmla="*/ 4328 h 3934"/>
                <a:gd name="connsiteX1" fmla="*/ 3147 w 0"/>
                <a:gd name="connsiteY1" fmla="*/ 2754 h 3934"/>
                <a:gd name="connsiteX2" fmla="*/ 3147 w 0"/>
                <a:gd name="connsiteY2" fmla="*/ 0 h 3934"/>
                <a:gd name="connsiteX3" fmla="*/ 393 w 0"/>
                <a:gd name="connsiteY3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4328"/>
                  </a:moveTo>
                  <a:lnTo>
                    <a:pt x="3147" y="2754"/>
                  </a:lnTo>
                  <a:lnTo>
                    <a:pt x="3147" y="0"/>
                  </a:lnTo>
                  <a:lnTo>
                    <a:pt x="393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39" name="Freeform: Shape 2833">
              <a:extLst>
                <a:ext uri="{FF2B5EF4-FFF2-40B4-BE49-F238E27FC236}">
                  <a16:creationId xmlns:a16="http://schemas.microsoft.com/office/drawing/2014/main" id="{C268EEC4-D896-4AE9-9D0F-4FEBFBA93D81}"/>
                </a:ext>
              </a:extLst>
            </p:cNvPr>
            <p:cNvSpPr/>
            <p:nvPr/>
          </p:nvSpPr>
          <p:spPr>
            <a:xfrm>
              <a:off x="2719614" y="1940710"/>
              <a:ext cx="3934" cy="3934"/>
            </a:xfrm>
            <a:custGeom>
              <a:avLst/>
              <a:gdLst>
                <a:gd name="connsiteX0" fmla="*/ 5115 w 3934"/>
                <a:gd name="connsiteY0" fmla="*/ 0 h 0"/>
                <a:gd name="connsiteX1" fmla="*/ 3147 w 3934"/>
                <a:gd name="connsiteY1" fmla="*/ 787 h 0"/>
                <a:gd name="connsiteX2" fmla="*/ 0 w 3934"/>
                <a:gd name="connsiteY2" fmla="*/ 2361 h 0"/>
                <a:gd name="connsiteX3" fmla="*/ 3147 w 3934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115" y="0"/>
                  </a:moveTo>
                  <a:lnTo>
                    <a:pt x="3147" y="787"/>
                  </a:lnTo>
                  <a:lnTo>
                    <a:pt x="0" y="2361"/>
                  </a:lnTo>
                  <a:lnTo>
                    <a:pt x="314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40" name="Freeform: Shape 2834">
              <a:extLst>
                <a:ext uri="{FF2B5EF4-FFF2-40B4-BE49-F238E27FC236}">
                  <a16:creationId xmlns:a16="http://schemas.microsoft.com/office/drawing/2014/main" id="{313F9709-3177-474B-A62B-4F553D59EF47}"/>
                </a:ext>
              </a:extLst>
            </p:cNvPr>
            <p:cNvSpPr/>
            <p:nvPr/>
          </p:nvSpPr>
          <p:spPr>
            <a:xfrm>
              <a:off x="2779415" y="1906482"/>
              <a:ext cx="3934" cy="3934"/>
            </a:xfrm>
            <a:custGeom>
              <a:avLst/>
              <a:gdLst>
                <a:gd name="connsiteX0" fmla="*/ 6295 w 3934"/>
                <a:gd name="connsiteY0" fmla="*/ 0 h 3934"/>
                <a:gd name="connsiteX1" fmla="*/ 5508 w 3934"/>
                <a:gd name="connsiteY1" fmla="*/ 0 h 3934"/>
                <a:gd name="connsiteX2" fmla="*/ 2754 w 3934"/>
                <a:gd name="connsiteY2" fmla="*/ 1967 h 3934"/>
                <a:gd name="connsiteX3" fmla="*/ 0 w 3934"/>
                <a:gd name="connsiteY3" fmla="*/ 3934 h 3934"/>
                <a:gd name="connsiteX4" fmla="*/ 1967 w 3934"/>
                <a:gd name="connsiteY4" fmla="*/ 6688 h 3934"/>
                <a:gd name="connsiteX5" fmla="*/ 5114 w 3934"/>
                <a:gd name="connsiteY5" fmla="*/ 5508 h 3934"/>
                <a:gd name="connsiteX6" fmla="*/ 5901 w 3934"/>
                <a:gd name="connsiteY6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6295" y="0"/>
                  </a:moveTo>
                  <a:lnTo>
                    <a:pt x="5508" y="0"/>
                  </a:lnTo>
                  <a:lnTo>
                    <a:pt x="2754" y="1967"/>
                  </a:lnTo>
                  <a:lnTo>
                    <a:pt x="0" y="3934"/>
                  </a:lnTo>
                  <a:lnTo>
                    <a:pt x="1967" y="6688"/>
                  </a:lnTo>
                  <a:lnTo>
                    <a:pt x="5114" y="5508"/>
                  </a:lnTo>
                  <a:lnTo>
                    <a:pt x="5901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41" name="Freeform: Shape 2835">
              <a:extLst>
                <a:ext uri="{FF2B5EF4-FFF2-40B4-BE49-F238E27FC236}">
                  <a16:creationId xmlns:a16="http://schemas.microsoft.com/office/drawing/2014/main" id="{16871E16-E97B-4019-A51D-DFD8F0763C4D}"/>
                </a:ext>
              </a:extLst>
            </p:cNvPr>
            <p:cNvSpPr/>
            <p:nvPr/>
          </p:nvSpPr>
          <p:spPr>
            <a:xfrm>
              <a:off x="2707418" y="1894286"/>
              <a:ext cx="51145" cy="62948"/>
            </a:xfrm>
            <a:custGeom>
              <a:avLst/>
              <a:gdLst>
                <a:gd name="connsiteX0" fmla="*/ 2754 w 51145"/>
                <a:gd name="connsiteY0" fmla="*/ 33441 h 62948"/>
                <a:gd name="connsiteX1" fmla="*/ 0 w 51145"/>
                <a:gd name="connsiteY1" fmla="*/ 36195 h 62948"/>
                <a:gd name="connsiteX2" fmla="*/ 2754 w 51145"/>
                <a:gd name="connsiteY2" fmla="*/ 36589 h 62948"/>
                <a:gd name="connsiteX3" fmla="*/ 5508 w 51145"/>
                <a:gd name="connsiteY3" fmla="*/ 36589 h 62948"/>
                <a:gd name="connsiteX4" fmla="*/ 8655 w 51145"/>
                <a:gd name="connsiteY4" fmla="*/ 37769 h 62948"/>
                <a:gd name="connsiteX5" fmla="*/ 5508 w 51145"/>
                <a:gd name="connsiteY5" fmla="*/ 39343 h 62948"/>
                <a:gd name="connsiteX6" fmla="*/ 2754 w 51145"/>
                <a:gd name="connsiteY6" fmla="*/ 39343 h 62948"/>
                <a:gd name="connsiteX7" fmla="*/ 1574 w 51145"/>
                <a:gd name="connsiteY7" fmla="*/ 42490 h 62948"/>
                <a:gd name="connsiteX8" fmla="*/ 1180 w 51145"/>
                <a:gd name="connsiteY8" fmla="*/ 45637 h 62948"/>
                <a:gd name="connsiteX9" fmla="*/ 4328 w 51145"/>
                <a:gd name="connsiteY9" fmla="*/ 44457 h 62948"/>
                <a:gd name="connsiteX10" fmla="*/ 1967 w 51145"/>
                <a:gd name="connsiteY10" fmla="*/ 47605 h 62948"/>
                <a:gd name="connsiteX11" fmla="*/ 3147 w 51145"/>
                <a:gd name="connsiteY11" fmla="*/ 50359 h 62948"/>
                <a:gd name="connsiteX12" fmla="*/ 3541 w 51145"/>
                <a:gd name="connsiteY12" fmla="*/ 53506 h 62948"/>
                <a:gd name="connsiteX13" fmla="*/ 5114 w 51145"/>
                <a:gd name="connsiteY13" fmla="*/ 56260 h 62948"/>
                <a:gd name="connsiteX14" fmla="*/ 4721 w 51145"/>
                <a:gd name="connsiteY14" fmla="*/ 59407 h 62948"/>
                <a:gd name="connsiteX15" fmla="*/ 5114 w 51145"/>
                <a:gd name="connsiteY15" fmla="*/ 62161 h 62948"/>
                <a:gd name="connsiteX16" fmla="*/ 6295 w 51145"/>
                <a:gd name="connsiteY16" fmla="*/ 64915 h 62948"/>
                <a:gd name="connsiteX17" fmla="*/ 9049 w 51145"/>
                <a:gd name="connsiteY17" fmla="*/ 62948 h 62948"/>
                <a:gd name="connsiteX18" fmla="*/ 7475 w 51145"/>
                <a:gd name="connsiteY18" fmla="*/ 66096 h 62948"/>
                <a:gd name="connsiteX19" fmla="*/ 10622 w 51145"/>
                <a:gd name="connsiteY19" fmla="*/ 64522 h 62948"/>
                <a:gd name="connsiteX20" fmla="*/ 13376 w 51145"/>
                <a:gd name="connsiteY20" fmla="*/ 64522 h 62948"/>
                <a:gd name="connsiteX21" fmla="*/ 13376 w 51145"/>
                <a:gd name="connsiteY21" fmla="*/ 63342 h 62948"/>
                <a:gd name="connsiteX22" fmla="*/ 14163 w 51145"/>
                <a:gd name="connsiteY22" fmla="*/ 60588 h 62948"/>
                <a:gd name="connsiteX23" fmla="*/ 11409 w 51145"/>
                <a:gd name="connsiteY23" fmla="*/ 60588 h 62948"/>
                <a:gd name="connsiteX24" fmla="*/ 9836 w 51145"/>
                <a:gd name="connsiteY24" fmla="*/ 57834 h 62948"/>
                <a:gd name="connsiteX25" fmla="*/ 10229 w 51145"/>
                <a:gd name="connsiteY25" fmla="*/ 54686 h 62948"/>
                <a:gd name="connsiteX26" fmla="*/ 7082 w 51145"/>
                <a:gd name="connsiteY26" fmla="*/ 52719 h 62948"/>
                <a:gd name="connsiteX27" fmla="*/ 9049 w 51145"/>
                <a:gd name="connsiteY27" fmla="*/ 49965 h 62948"/>
                <a:gd name="connsiteX28" fmla="*/ 9442 w 51145"/>
                <a:gd name="connsiteY28" fmla="*/ 47211 h 62948"/>
                <a:gd name="connsiteX29" fmla="*/ 12196 w 51145"/>
                <a:gd name="connsiteY29" fmla="*/ 44457 h 62948"/>
                <a:gd name="connsiteX30" fmla="*/ 11409 w 51145"/>
                <a:gd name="connsiteY30" fmla="*/ 41703 h 62948"/>
                <a:gd name="connsiteX31" fmla="*/ 8655 w 51145"/>
                <a:gd name="connsiteY31" fmla="*/ 41703 h 62948"/>
                <a:gd name="connsiteX32" fmla="*/ 11409 w 51145"/>
                <a:gd name="connsiteY32" fmla="*/ 40916 h 62948"/>
                <a:gd name="connsiteX33" fmla="*/ 13376 w 51145"/>
                <a:gd name="connsiteY33" fmla="*/ 37769 h 62948"/>
                <a:gd name="connsiteX34" fmla="*/ 16130 w 51145"/>
                <a:gd name="connsiteY34" fmla="*/ 35802 h 62948"/>
                <a:gd name="connsiteX35" fmla="*/ 18884 w 51145"/>
                <a:gd name="connsiteY35" fmla="*/ 35408 h 62948"/>
                <a:gd name="connsiteX36" fmla="*/ 21638 w 51145"/>
                <a:gd name="connsiteY36" fmla="*/ 36195 h 62948"/>
                <a:gd name="connsiteX37" fmla="*/ 23212 w 51145"/>
                <a:gd name="connsiteY37" fmla="*/ 33441 h 62948"/>
                <a:gd name="connsiteX38" fmla="*/ 23212 w 51145"/>
                <a:gd name="connsiteY38" fmla="*/ 30294 h 62948"/>
                <a:gd name="connsiteX39" fmla="*/ 20458 w 51145"/>
                <a:gd name="connsiteY39" fmla="*/ 30294 h 62948"/>
                <a:gd name="connsiteX40" fmla="*/ 17311 w 51145"/>
                <a:gd name="connsiteY40" fmla="*/ 31474 h 62948"/>
                <a:gd name="connsiteX41" fmla="*/ 14163 w 51145"/>
                <a:gd name="connsiteY41" fmla="*/ 32654 h 62948"/>
                <a:gd name="connsiteX42" fmla="*/ 11409 w 51145"/>
                <a:gd name="connsiteY42" fmla="*/ 33048 h 62948"/>
                <a:gd name="connsiteX43" fmla="*/ 10229 w 51145"/>
                <a:gd name="connsiteY43" fmla="*/ 32654 h 62948"/>
                <a:gd name="connsiteX44" fmla="*/ 13376 w 51145"/>
                <a:gd name="connsiteY44" fmla="*/ 31868 h 62948"/>
                <a:gd name="connsiteX45" fmla="*/ 16130 w 51145"/>
                <a:gd name="connsiteY45" fmla="*/ 29507 h 62948"/>
                <a:gd name="connsiteX46" fmla="*/ 19278 w 51145"/>
                <a:gd name="connsiteY46" fmla="*/ 29507 h 62948"/>
                <a:gd name="connsiteX47" fmla="*/ 22032 w 51145"/>
                <a:gd name="connsiteY47" fmla="*/ 27540 h 62948"/>
                <a:gd name="connsiteX48" fmla="*/ 24786 w 51145"/>
                <a:gd name="connsiteY48" fmla="*/ 25179 h 62948"/>
                <a:gd name="connsiteX49" fmla="*/ 27540 w 51145"/>
                <a:gd name="connsiteY49" fmla="*/ 22032 h 62948"/>
                <a:gd name="connsiteX50" fmla="*/ 29900 w 51145"/>
                <a:gd name="connsiteY50" fmla="*/ 19278 h 62948"/>
                <a:gd name="connsiteX51" fmla="*/ 32654 w 51145"/>
                <a:gd name="connsiteY51" fmla="*/ 16524 h 62948"/>
                <a:gd name="connsiteX52" fmla="*/ 35802 w 51145"/>
                <a:gd name="connsiteY52" fmla="*/ 14163 h 62948"/>
                <a:gd name="connsiteX53" fmla="*/ 38556 w 51145"/>
                <a:gd name="connsiteY53" fmla="*/ 11409 h 62948"/>
                <a:gd name="connsiteX54" fmla="*/ 41703 w 51145"/>
                <a:gd name="connsiteY54" fmla="*/ 9836 h 62948"/>
                <a:gd name="connsiteX55" fmla="*/ 44457 w 51145"/>
                <a:gd name="connsiteY55" fmla="*/ 7869 h 62948"/>
                <a:gd name="connsiteX56" fmla="*/ 47211 w 51145"/>
                <a:gd name="connsiteY56" fmla="*/ 6295 h 62948"/>
                <a:gd name="connsiteX57" fmla="*/ 50359 w 51145"/>
                <a:gd name="connsiteY57" fmla="*/ 3934 h 62948"/>
                <a:gd name="connsiteX58" fmla="*/ 53113 w 51145"/>
                <a:gd name="connsiteY58" fmla="*/ 787 h 62948"/>
                <a:gd name="connsiteX59" fmla="*/ 50359 w 51145"/>
                <a:gd name="connsiteY59" fmla="*/ 1967 h 62948"/>
                <a:gd name="connsiteX60" fmla="*/ 44064 w 51145"/>
                <a:gd name="connsiteY60" fmla="*/ 3934 h 62948"/>
                <a:gd name="connsiteX61" fmla="*/ 41310 w 51145"/>
                <a:gd name="connsiteY61" fmla="*/ 4721 h 62948"/>
                <a:gd name="connsiteX62" fmla="*/ 38556 w 51145"/>
                <a:gd name="connsiteY62" fmla="*/ 4721 h 62948"/>
                <a:gd name="connsiteX63" fmla="*/ 35408 w 51145"/>
                <a:gd name="connsiteY63" fmla="*/ 7475 h 62948"/>
                <a:gd name="connsiteX64" fmla="*/ 34228 w 51145"/>
                <a:gd name="connsiteY64" fmla="*/ 8655 h 62948"/>
                <a:gd name="connsiteX65" fmla="*/ 35802 w 51145"/>
                <a:gd name="connsiteY65" fmla="*/ 6295 h 62948"/>
                <a:gd name="connsiteX66" fmla="*/ 36589 w 51145"/>
                <a:gd name="connsiteY66" fmla="*/ 3541 h 62948"/>
                <a:gd name="connsiteX67" fmla="*/ 33441 w 51145"/>
                <a:gd name="connsiteY67" fmla="*/ 1967 h 62948"/>
                <a:gd name="connsiteX68" fmla="*/ 30294 w 51145"/>
                <a:gd name="connsiteY68" fmla="*/ 3541 h 62948"/>
                <a:gd name="connsiteX69" fmla="*/ 27540 w 51145"/>
                <a:gd name="connsiteY69" fmla="*/ 4328 h 62948"/>
                <a:gd name="connsiteX70" fmla="*/ 24392 w 51145"/>
                <a:gd name="connsiteY70" fmla="*/ 6295 h 62948"/>
                <a:gd name="connsiteX71" fmla="*/ 27146 w 51145"/>
                <a:gd name="connsiteY71" fmla="*/ 3934 h 62948"/>
                <a:gd name="connsiteX72" fmla="*/ 28327 w 51145"/>
                <a:gd name="connsiteY72" fmla="*/ 1180 h 62948"/>
                <a:gd name="connsiteX73" fmla="*/ 25573 w 51145"/>
                <a:gd name="connsiteY73" fmla="*/ 787 h 62948"/>
                <a:gd name="connsiteX74" fmla="*/ 22819 w 51145"/>
                <a:gd name="connsiteY74" fmla="*/ 1180 h 62948"/>
                <a:gd name="connsiteX75" fmla="*/ 20065 w 51145"/>
                <a:gd name="connsiteY75" fmla="*/ 0 h 62948"/>
                <a:gd name="connsiteX76" fmla="*/ 17311 w 51145"/>
                <a:gd name="connsiteY76" fmla="*/ 1180 h 62948"/>
                <a:gd name="connsiteX77" fmla="*/ 14950 w 51145"/>
                <a:gd name="connsiteY77" fmla="*/ 4328 h 62948"/>
                <a:gd name="connsiteX78" fmla="*/ 12196 w 51145"/>
                <a:gd name="connsiteY78" fmla="*/ 5901 h 62948"/>
                <a:gd name="connsiteX79" fmla="*/ 9049 w 51145"/>
                <a:gd name="connsiteY79" fmla="*/ 7869 h 62948"/>
                <a:gd name="connsiteX80" fmla="*/ 8262 w 51145"/>
                <a:gd name="connsiteY80" fmla="*/ 11016 h 62948"/>
                <a:gd name="connsiteX81" fmla="*/ 7869 w 51145"/>
                <a:gd name="connsiteY81" fmla="*/ 14163 h 62948"/>
                <a:gd name="connsiteX82" fmla="*/ 6295 w 51145"/>
                <a:gd name="connsiteY82" fmla="*/ 16917 h 62948"/>
                <a:gd name="connsiteX83" fmla="*/ 6295 w 51145"/>
                <a:gd name="connsiteY83" fmla="*/ 18098 h 62948"/>
                <a:gd name="connsiteX84" fmla="*/ 3541 w 51145"/>
                <a:gd name="connsiteY84" fmla="*/ 18491 h 62948"/>
                <a:gd name="connsiteX85" fmla="*/ 4721 w 51145"/>
                <a:gd name="connsiteY85" fmla="*/ 21245 h 62948"/>
                <a:gd name="connsiteX86" fmla="*/ 7869 w 51145"/>
                <a:gd name="connsiteY86" fmla="*/ 22819 h 62948"/>
                <a:gd name="connsiteX87" fmla="*/ 9836 w 51145"/>
                <a:gd name="connsiteY87" fmla="*/ 25573 h 62948"/>
                <a:gd name="connsiteX88" fmla="*/ 7082 w 51145"/>
                <a:gd name="connsiteY88" fmla="*/ 25966 h 62948"/>
                <a:gd name="connsiteX89" fmla="*/ 3934 w 51145"/>
                <a:gd name="connsiteY89" fmla="*/ 25966 h 62948"/>
                <a:gd name="connsiteX90" fmla="*/ 6688 w 51145"/>
                <a:gd name="connsiteY90" fmla="*/ 26753 h 62948"/>
                <a:gd name="connsiteX91" fmla="*/ 3934 w 51145"/>
                <a:gd name="connsiteY91" fmla="*/ 28327 h 62948"/>
                <a:gd name="connsiteX92" fmla="*/ 1180 w 51145"/>
                <a:gd name="connsiteY92" fmla="*/ 29114 h 62948"/>
                <a:gd name="connsiteX93" fmla="*/ 3934 w 51145"/>
                <a:gd name="connsiteY93" fmla="*/ 30294 h 62948"/>
                <a:gd name="connsiteX94" fmla="*/ 4328 w 51145"/>
                <a:gd name="connsiteY94" fmla="*/ 33441 h 62948"/>
                <a:gd name="connsiteX95" fmla="*/ 7082 w 51145"/>
                <a:gd name="connsiteY95" fmla="*/ 32654 h 62948"/>
                <a:gd name="connsiteX96" fmla="*/ 8655 w 51145"/>
                <a:gd name="connsiteY96" fmla="*/ 32654 h 62948"/>
                <a:gd name="connsiteX97" fmla="*/ 5508 w 51145"/>
                <a:gd name="connsiteY97" fmla="*/ 33441 h 62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51145" h="62948">
                  <a:moveTo>
                    <a:pt x="2754" y="33441"/>
                  </a:moveTo>
                  <a:lnTo>
                    <a:pt x="0" y="36195"/>
                  </a:lnTo>
                  <a:lnTo>
                    <a:pt x="2754" y="36589"/>
                  </a:lnTo>
                  <a:lnTo>
                    <a:pt x="5508" y="36589"/>
                  </a:lnTo>
                  <a:lnTo>
                    <a:pt x="8655" y="37769"/>
                  </a:lnTo>
                  <a:lnTo>
                    <a:pt x="5508" y="39343"/>
                  </a:lnTo>
                  <a:lnTo>
                    <a:pt x="2754" y="39343"/>
                  </a:lnTo>
                  <a:lnTo>
                    <a:pt x="1574" y="42490"/>
                  </a:lnTo>
                  <a:lnTo>
                    <a:pt x="1180" y="45637"/>
                  </a:lnTo>
                  <a:lnTo>
                    <a:pt x="4328" y="44457"/>
                  </a:lnTo>
                  <a:lnTo>
                    <a:pt x="1967" y="47605"/>
                  </a:lnTo>
                  <a:lnTo>
                    <a:pt x="3147" y="50359"/>
                  </a:lnTo>
                  <a:lnTo>
                    <a:pt x="3541" y="53506"/>
                  </a:lnTo>
                  <a:lnTo>
                    <a:pt x="5114" y="56260"/>
                  </a:lnTo>
                  <a:lnTo>
                    <a:pt x="4721" y="59407"/>
                  </a:lnTo>
                  <a:lnTo>
                    <a:pt x="5114" y="62161"/>
                  </a:lnTo>
                  <a:lnTo>
                    <a:pt x="6295" y="64915"/>
                  </a:lnTo>
                  <a:lnTo>
                    <a:pt x="9049" y="62948"/>
                  </a:lnTo>
                  <a:lnTo>
                    <a:pt x="7475" y="66096"/>
                  </a:lnTo>
                  <a:lnTo>
                    <a:pt x="10622" y="64522"/>
                  </a:lnTo>
                  <a:lnTo>
                    <a:pt x="13376" y="64522"/>
                  </a:lnTo>
                  <a:lnTo>
                    <a:pt x="13376" y="63342"/>
                  </a:lnTo>
                  <a:lnTo>
                    <a:pt x="14163" y="60588"/>
                  </a:lnTo>
                  <a:lnTo>
                    <a:pt x="11409" y="60588"/>
                  </a:lnTo>
                  <a:lnTo>
                    <a:pt x="9836" y="57834"/>
                  </a:lnTo>
                  <a:lnTo>
                    <a:pt x="10229" y="54686"/>
                  </a:lnTo>
                  <a:lnTo>
                    <a:pt x="7082" y="52719"/>
                  </a:lnTo>
                  <a:lnTo>
                    <a:pt x="9049" y="49965"/>
                  </a:lnTo>
                  <a:lnTo>
                    <a:pt x="9442" y="47211"/>
                  </a:lnTo>
                  <a:lnTo>
                    <a:pt x="12196" y="44457"/>
                  </a:lnTo>
                  <a:lnTo>
                    <a:pt x="11409" y="41703"/>
                  </a:lnTo>
                  <a:lnTo>
                    <a:pt x="8655" y="41703"/>
                  </a:lnTo>
                  <a:lnTo>
                    <a:pt x="11409" y="40916"/>
                  </a:lnTo>
                  <a:lnTo>
                    <a:pt x="13376" y="37769"/>
                  </a:lnTo>
                  <a:lnTo>
                    <a:pt x="16130" y="35802"/>
                  </a:lnTo>
                  <a:lnTo>
                    <a:pt x="18884" y="35408"/>
                  </a:lnTo>
                  <a:lnTo>
                    <a:pt x="21638" y="36195"/>
                  </a:lnTo>
                  <a:lnTo>
                    <a:pt x="23212" y="33441"/>
                  </a:lnTo>
                  <a:lnTo>
                    <a:pt x="23212" y="30294"/>
                  </a:lnTo>
                  <a:lnTo>
                    <a:pt x="20458" y="30294"/>
                  </a:lnTo>
                  <a:lnTo>
                    <a:pt x="17311" y="31474"/>
                  </a:lnTo>
                  <a:lnTo>
                    <a:pt x="14163" y="32654"/>
                  </a:lnTo>
                  <a:lnTo>
                    <a:pt x="11409" y="33048"/>
                  </a:lnTo>
                  <a:lnTo>
                    <a:pt x="10229" y="32654"/>
                  </a:lnTo>
                  <a:lnTo>
                    <a:pt x="13376" y="31868"/>
                  </a:lnTo>
                  <a:lnTo>
                    <a:pt x="16130" y="29507"/>
                  </a:lnTo>
                  <a:lnTo>
                    <a:pt x="19278" y="29507"/>
                  </a:lnTo>
                  <a:lnTo>
                    <a:pt x="22032" y="27540"/>
                  </a:lnTo>
                  <a:lnTo>
                    <a:pt x="24786" y="25179"/>
                  </a:lnTo>
                  <a:lnTo>
                    <a:pt x="27540" y="22032"/>
                  </a:lnTo>
                  <a:lnTo>
                    <a:pt x="29900" y="19278"/>
                  </a:lnTo>
                  <a:lnTo>
                    <a:pt x="32654" y="16524"/>
                  </a:lnTo>
                  <a:lnTo>
                    <a:pt x="35802" y="14163"/>
                  </a:lnTo>
                  <a:lnTo>
                    <a:pt x="38556" y="11409"/>
                  </a:lnTo>
                  <a:lnTo>
                    <a:pt x="41703" y="9836"/>
                  </a:lnTo>
                  <a:lnTo>
                    <a:pt x="44457" y="7869"/>
                  </a:lnTo>
                  <a:lnTo>
                    <a:pt x="47211" y="6295"/>
                  </a:lnTo>
                  <a:lnTo>
                    <a:pt x="50359" y="3934"/>
                  </a:lnTo>
                  <a:lnTo>
                    <a:pt x="53113" y="787"/>
                  </a:lnTo>
                  <a:lnTo>
                    <a:pt x="50359" y="1967"/>
                  </a:lnTo>
                  <a:lnTo>
                    <a:pt x="44064" y="3934"/>
                  </a:lnTo>
                  <a:lnTo>
                    <a:pt x="41310" y="4721"/>
                  </a:lnTo>
                  <a:lnTo>
                    <a:pt x="38556" y="4721"/>
                  </a:lnTo>
                  <a:lnTo>
                    <a:pt x="35408" y="7475"/>
                  </a:lnTo>
                  <a:lnTo>
                    <a:pt x="34228" y="8655"/>
                  </a:lnTo>
                  <a:lnTo>
                    <a:pt x="35802" y="6295"/>
                  </a:lnTo>
                  <a:lnTo>
                    <a:pt x="36589" y="3541"/>
                  </a:lnTo>
                  <a:lnTo>
                    <a:pt x="33441" y="1967"/>
                  </a:lnTo>
                  <a:lnTo>
                    <a:pt x="30294" y="3541"/>
                  </a:lnTo>
                  <a:lnTo>
                    <a:pt x="27540" y="4328"/>
                  </a:lnTo>
                  <a:lnTo>
                    <a:pt x="24392" y="6295"/>
                  </a:lnTo>
                  <a:lnTo>
                    <a:pt x="27146" y="3934"/>
                  </a:lnTo>
                  <a:lnTo>
                    <a:pt x="28327" y="1180"/>
                  </a:lnTo>
                  <a:lnTo>
                    <a:pt x="25573" y="787"/>
                  </a:lnTo>
                  <a:lnTo>
                    <a:pt x="22819" y="1180"/>
                  </a:lnTo>
                  <a:lnTo>
                    <a:pt x="20065" y="0"/>
                  </a:lnTo>
                  <a:lnTo>
                    <a:pt x="17311" y="1180"/>
                  </a:lnTo>
                  <a:lnTo>
                    <a:pt x="14950" y="4328"/>
                  </a:lnTo>
                  <a:lnTo>
                    <a:pt x="12196" y="5901"/>
                  </a:lnTo>
                  <a:lnTo>
                    <a:pt x="9049" y="7869"/>
                  </a:lnTo>
                  <a:lnTo>
                    <a:pt x="8262" y="11016"/>
                  </a:lnTo>
                  <a:lnTo>
                    <a:pt x="7869" y="14163"/>
                  </a:lnTo>
                  <a:lnTo>
                    <a:pt x="6295" y="16917"/>
                  </a:lnTo>
                  <a:lnTo>
                    <a:pt x="6295" y="18098"/>
                  </a:lnTo>
                  <a:lnTo>
                    <a:pt x="3541" y="18491"/>
                  </a:lnTo>
                  <a:lnTo>
                    <a:pt x="4721" y="21245"/>
                  </a:lnTo>
                  <a:lnTo>
                    <a:pt x="7869" y="22819"/>
                  </a:lnTo>
                  <a:lnTo>
                    <a:pt x="9836" y="25573"/>
                  </a:lnTo>
                  <a:lnTo>
                    <a:pt x="7082" y="25966"/>
                  </a:lnTo>
                  <a:lnTo>
                    <a:pt x="3934" y="25966"/>
                  </a:lnTo>
                  <a:lnTo>
                    <a:pt x="6688" y="26753"/>
                  </a:lnTo>
                  <a:lnTo>
                    <a:pt x="3934" y="28327"/>
                  </a:lnTo>
                  <a:lnTo>
                    <a:pt x="1180" y="29114"/>
                  </a:lnTo>
                  <a:lnTo>
                    <a:pt x="3934" y="30294"/>
                  </a:lnTo>
                  <a:lnTo>
                    <a:pt x="4328" y="33441"/>
                  </a:lnTo>
                  <a:lnTo>
                    <a:pt x="7082" y="32654"/>
                  </a:lnTo>
                  <a:lnTo>
                    <a:pt x="8655" y="32654"/>
                  </a:lnTo>
                  <a:lnTo>
                    <a:pt x="5508" y="334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42" name="Freeform: Shape 2836">
              <a:extLst>
                <a:ext uri="{FF2B5EF4-FFF2-40B4-BE49-F238E27FC236}">
                  <a16:creationId xmlns:a16="http://schemas.microsoft.com/office/drawing/2014/main" id="{8CED6302-5879-4327-A56A-3EC1965DA11C}"/>
                </a:ext>
              </a:extLst>
            </p:cNvPr>
            <p:cNvSpPr/>
            <p:nvPr/>
          </p:nvSpPr>
          <p:spPr>
            <a:xfrm>
              <a:off x="2755809" y="1764062"/>
              <a:ext cx="39343" cy="27540"/>
            </a:xfrm>
            <a:custGeom>
              <a:avLst/>
              <a:gdLst>
                <a:gd name="connsiteX0" fmla="*/ 0 w 39342"/>
                <a:gd name="connsiteY0" fmla="*/ 25966 h 27539"/>
                <a:gd name="connsiteX1" fmla="*/ 2754 w 39342"/>
                <a:gd name="connsiteY1" fmla="*/ 27933 h 27539"/>
                <a:gd name="connsiteX2" fmla="*/ 5901 w 39342"/>
                <a:gd name="connsiteY2" fmla="*/ 26360 h 27539"/>
                <a:gd name="connsiteX3" fmla="*/ 8655 w 39342"/>
                <a:gd name="connsiteY3" fmla="*/ 24786 h 27539"/>
                <a:gd name="connsiteX4" fmla="*/ 11409 w 39342"/>
                <a:gd name="connsiteY4" fmla="*/ 22032 h 27539"/>
                <a:gd name="connsiteX5" fmla="*/ 11409 w 39342"/>
                <a:gd name="connsiteY5" fmla="*/ 19278 h 27539"/>
                <a:gd name="connsiteX6" fmla="*/ 8262 w 39342"/>
                <a:gd name="connsiteY6" fmla="*/ 18884 h 27539"/>
                <a:gd name="connsiteX7" fmla="*/ 11409 w 39342"/>
                <a:gd name="connsiteY7" fmla="*/ 18098 h 27539"/>
                <a:gd name="connsiteX8" fmla="*/ 12196 w 39342"/>
                <a:gd name="connsiteY8" fmla="*/ 15344 h 27539"/>
                <a:gd name="connsiteX9" fmla="*/ 14950 w 39342"/>
                <a:gd name="connsiteY9" fmla="*/ 16917 h 27539"/>
                <a:gd name="connsiteX10" fmla="*/ 17311 w 39342"/>
                <a:gd name="connsiteY10" fmla="*/ 20065 h 27539"/>
                <a:gd name="connsiteX11" fmla="*/ 19671 w 39342"/>
                <a:gd name="connsiteY11" fmla="*/ 22819 h 27539"/>
                <a:gd name="connsiteX12" fmla="*/ 22819 w 39342"/>
                <a:gd name="connsiteY12" fmla="*/ 24786 h 27539"/>
                <a:gd name="connsiteX13" fmla="*/ 25573 w 39342"/>
                <a:gd name="connsiteY13" fmla="*/ 24786 h 27539"/>
                <a:gd name="connsiteX14" fmla="*/ 28720 w 39342"/>
                <a:gd name="connsiteY14" fmla="*/ 22819 h 27539"/>
                <a:gd name="connsiteX15" fmla="*/ 31081 w 39342"/>
                <a:gd name="connsiteY15" fmla="*/ 20065 h 27539"/>
                <a:gd name="connsiteX16" fmla="*/ 33048 w 39342"/>
                <a:gd name="connsiteY16" fmla="*/ 16917 h 27539"/>
                <a:gd name="connsiteX17" fmla="*/ 30294 w 39342"/>
                <a:gd name="connsiteY17" fmla="*/ 15737 h 27539"/>
                <a:gd name="connsiteX18" fmla="*/ 27146 w 39342"/>
                <a:gd name="connsiteY18" fmla="*/ 16524 h 27539"/>
                <a:gd name="connsiteX19" fmla="*/ 24392 w 39342"/>
                <a:gd name="connsiteY19" fmla="*/ 16130 h 27539"/>
                <a:gd name="connsiteX20" fmla="*/ 23606 w 39342"/>
                <a:gd name="connsiteY20" fmla="*/ 13376 h 27539"/>
                <a:gd name="connsiteX21" fmla="*/ 20458 w 39342"/>
                <a:gd name="connsiteY21" fmla="*/ 10622 h 27539"/>
                <a:gd name="connsiteX22" fmla="*/ 23212 w 39342"/>
                <a:gd name="connsiteY22" fmla="*/ 10622 h 27539"/>
                <a:gd name="connsiteX23" fmla="*/ 25966 w 39342"/>
                <a:gd name="connsiteY23" fmla="*/ 13376 h 27539"/>
                <a:gd name="connsiteX24" fmla="*/ 29114 w 39342"/>
                <a:gd name="connsiteY24" fmla="*/ 14950 h 27539"/>
                <a:gd name="connsiteX25" fmla="*/ 31868 w 39342"/>
                <a:gd name="connsiteY25" fmla="*/ 14950 h 27539"/>
                <a:gd name="connsiteX26" fmla="*/ 34621 w 39342"/>
                <a:gd name="connsiteY26" fmla="*/ 13770 h 27539"/>
                <a:gd name="connsiteX27" fmla="*/ 32654 w 39342"/>
                <a:gd name="connsiteY27" fmla="*/ 11016 h 27539"/>
                <a:gd name="connsiteX28" fmla="*/ 35802 w 39342"/>
                <a:gd name="connsiteY28" fmla="*/ 11409 h 27539"/>
                <a:gd name="connsiteX29" fmla="*/ 38556 w 39342"/>
                <a:gd name="connsiteY29" fmla="*/ 10622 h 27539"/>
                <a:gd name="connsiteX30" fmla="*/ 41703 w 39342"/>
                <a:gd name="connsiteY30" fmla="*/ 8262 h 27539"/>
                <a:gd name="connsiteX31" fmla="*/ 39736 w 39342"/>
                <a:gd name="connsiteY31" fmla="*/ 5508 h 27539"/>
                <a:gd name="connsiteX32" fmla="*/ 36982 w 39342"/>
                <a:gd name="connsiteY32" fmla="*/ 4721 h 27539"/>
                <a:gd name="connsiteX33" fmla="*/ 33835 w 39342"/>
                <a:gd name="connsiteY33" fmla="*/ 3541 h 27539"/>
                <a:gd name="connsiteX34" fmla="*/ 31081 w 39342"/>
                <a:gd name="connsiteY34" fmla="*/ 5508 h 27539"/>
                <a:gd name="connsiteX35" fmla="*/ 27933 w 39342"/>
                <a:gd name="connsiteY35" fmla="*/ 6688 h 27539"/>
                <a:gd name="connsiteX36" fmla="*/ 25179 w 39342"/>
                <a:gd name="connsiteY36" fmla="*/ 8262 h 27539"/>
                <a:gd name="connsiteX37" fmla="*/ 22032 w 39342"/>
                <a:gd name="connsiteY37" fmla="*/ 9442 h 27539"/>
                <a:gd name="connsiteX38" fmla="*/ 24392 w 39342"/>
                <a:gd name="connsiteY38" fmla="*/ 6688 h 27539"/>
                <a:gd name="connsiteX39" fmla="*/ 27540 w 39342"/>
                <a:gd name="connsiteY39" fmla="*/ 5901 h 27539"/>
                <a:gd name="connsiteX40" fmla="*/ 30687 w 39342"/>
                <a:gd name="connsiteY40" fmla="*/ 4721 h 27539"/>
                <a:gd name="connsiteX41" fmla="*/ 32654 w 39342"/>
                <a:gd name="connsiteY41" fmla="*/ 1574 h 27539"/>
                <a:gd name="connsiteX42" fmla="*/ 29507 w 39342"/>
                <a:gd name="connsiteY42" fmla="*/ 787 h 27539"/>
                <a:gd name="connsiteX43" fmla="*/ 26753 w 39342"/>
                <a:gd name="connsiteY43" fmla="*/ 0 h 27539"/>
                <a:gd name="connsiteX44" fmla="*/ 23606 w 39342"/>
                <a:gd name="connsiteY44" fmla="*/ 787 h 27539"/>
                <a:gd name="connsiteX45" fmla="*/ 20852 w 39342"/>
                <a:gd name="connsiteY45" fmla="*/ 2361 h 27539"/>
                <a:gd name="connsiteX46" fmla="*/ 17704 w 39342"/>
                <a:gd name="connsiteY46" fmla="*/ 1574 h 27539"/>
                <a:gd name="connsiteX47" fmla="*/ 14950 w 39342"/>
                <a:gd name="connsiteY47" fmla="*/ 4328 h 27539"/>
                <a:gd name="connsiteX48" fmla="*/ 15344 w 39342"/>
                <a:gd name="connsiteY48" fmla="*/ 1574 h 27539"/>
                <a:gd name="connsiteX49" fmla="*/ 12590 w 39342"/>
                <a:gd name="connsiteY49" fmla="*/ 3147 h 27539"/>
                <a:gd name="connsiteX50" fmla="*/ 9836 w 39342"/>
                <a:gd name="connsiteY50" fmla="*/ 3541 h 27539"/>
                <a:gd name="connsiteX51" fmla="*/ 8262 w 39342"/>
                <a:gd name="connsiteY51" fmla="*/ 6688 h 27539"/>
                <a:gd name="connsiteX52" fmla="*/ 8655 w 39342"/>
                <a:gd name="connsiteY52" fmla="*/ 9442 h 27539"/>
                <a:gd name="connsiteX53" fmla="*/ 9442 w 39342"/>
                <a:gd name="connsiteY53" fmla="*/ 12196 h 27539"/>
                <a:gd name="connsiteX54" fmla="*/ 7869 w 39342"/>
                <a:gd name="connsiteY54" fmla="*/ 9442 h 27539"/>
                <a:gd name="connsiteX55" fmla="*/ 4721 w 39342"/>
                <a:gd name="connsiteY55" fmla="*/ 9049 h 27539"/>
                <a:gd name="connsiteX56" fmla="*/ 6295 w 39342"/>
                <a:gd name="connsiteY56" fmla="*/ 7869 h 27539"/>
                <a:gd name="connsiteX57" fmla="*/ 7082 w 39342"/>
                <a:gd name="connsiteY57" fmla="*/ 4721 h 27539"/>
                <a:gd name="connsiteX58" fmla="*/ 5901 w 39342"/>
                <a:gd name="connsiteY58" fmla="*/ 5114 h 27539"/>
                <a:gd name="connsiteX59" fmla="*/ 393 w 39342"/>
                <a:gd name="connsiteY59" fmla="*/ 9836 h 27539"/>
                <a:gd name="connsiteX60" fmla="*/ 0 w 39342"/>
                <a:gd name="connsiteY60" fmla="*/ 12590 h 27539"/>
                <a:gd name="connsiteX61" fmla="*/ 1967 w 39342"/>
                <a:gd name="connsiteY61" fmla="*/ 11409 h 27539"/>
                <a:gd name="connsiteX62" fmla="*/ 1180 w 39342"/>
                <a:gd name="connsiteY62" fmla="*/ 14557 h 27539"/>
                <a:gd name="connsiteX63" fmla="*/ 3934 w 39342"/>
                <a:gd name="connsiteY63" fmla="*/ 20065 h 27539"/>
                <a:gd name="connsiteX64" fmla="*/ 1180 w 39342"/>
                <a:gd name="connsiteY64" fmla="*/ 20065 h 27539"/>
                <a:gd name="connsiteX65" fmla="*/ 2361 w 39342"/>
                <a:gd name="connsiteY65" fmla="*/ 22819 h 27539"/>
                <a:gd name="connsiteX66" fmla="*/ 2361 w 39342"/>
                <a:gd name="connsiteY66" fmla="*/ 25966 h 27539"/>
                <a:gd name="connsiteX67" fmla="*/ 393 w 39342"/>
                <a:gd name="connsiteY67" fmla="*/ 22819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39342" h="27539">
                  <a:moveTo>
                    <a:pt x="0" y="25966"/>
                  </a:moveTo>
                  <a:lnTo>
                    <a:pt x="2754" y="27933"/>
                  </a:lnTo>
                  <a:lnTo>
                    <a:pt x="5901" y="26360"/>
                  </a:lnTo>
                  <a:lnTo>
                    <a:pt x="8655" y="24786"/>
                  </a:lnTo>
                  <a:lnTo>
                    <a:pt x="11409" y="22032"/>
                  </a:lnTo>
                  <a:lnTo>
                    <a:pt x="11409" y="19278"/>
                  </a:lnTo>
                  <a:lnTo>
                    <a:pt x="8262" y="18884"/>
                  </a:lnTo>
                  <a:lnTo>
                    <a:pt x="11409" y="18098"/>
                  </a:lnTo>
                  <a:lnTo>
                    <a:pt x="12196" y="15344"/>
                  </a:lnTo>
                  <a:lnTo>
                    <a:pt x="14950" y="16917"/>
                  </a:lnTo>
                  <a:lnTo>
                    <a:pt x="17311" y="20065"/>
                  </a:lnTo>
                  <a:lnTo>
                    <a:pt x="19671" y="22819"/>
                  </a:lnTo>
                  <a:lnTo>
                    <a:pt x="22819" y="24786"/>
                  </a:lnTo>
                  <a:lnTo>
                    <a:pt x="25573" y="24786"/>
                  </a:lnTo>
                  <a:lnTo>
                    <a:pt x="28720" y="22819"/>
                  </a:lnTo>
                  <a:lnTo>
                    <a:pt x="31081" y="20065"/>
                  </a:lnTo>
                  <a:lnTo>
                    <a:pt x="33048" y="16917"/>
                  </a:lnTo>
                  <a:lnTo>
                    <a:pt x="30294" y="15737"/>
                  </a:lnTo>
                  <a:lnTo>
                    <a:pt x="27146" y="16524"/>
                  </a:lnTo>
                  <a:lnTo>
                    <a:pt x="24392" y="16130"/>
                  </a:lnTo>
                  <a:lnTo>
                    <a:pt x="23606" y="13376"/>
                  </a:lnTo>
                  <a:lnTo>
                    <a:pt x="20458" y="10622"/>
                  </a:lnTo>
                  <a:lnTo>
                    <a:pt x="23212" y="10622"/>
                  </a:lnTo>
                  <a:lnTo>
                    <a:pt x="25966" y="13376"/>
                  </a:lnTo>
                  <a:lnTo>
                    <a:pt x="29114" y="14950"/>
                  </a:lnTo>
                  <a:lnTo>
                    <a:pt x="31868" y="14950"/>
                  </a:lnTo>
                  <a:lnTo>
                    <a:pt x="34621" y="13770"/>
                  </a:lnTo>
                  <a:lnTo>
                    <a:pt x="32654" y="11016"/>
                  </a:lnTo>
                  <a:lnTo>
                    <a:pt x="35802" y="11409"/>
                  </a:lnTo>
                  <a:lnTo>
                    <a:pt x="38556" y="10622"/>
                  </a:lnTo>
                  <a:lnTo>
                    <a:pt x="41703" y="8262"/>
                  </a:lnTo>
                  <a:lnTo>
                    <a:pt x="39736" y="5508"/>
                  </a:lnTo>
                  <a:lnTo>
                    <a:pt x="36982" y="4721"/>
                  </a:lnTo>
                  <a:lnTo>
                    <a:pt x="33835" y="3541"/>
                  </a:lnTo>
                  <a:lnTo>
                    <a:pt x="31081" y="5508"/>
                  </a:lnTo>
                  <a:lnTo>
                    <a:pt x="27933" y="6688"/>
                  </a:lnTo>
                  <a:lnTo>
                    <a:pt x="25179" y="8262"/>
                  </a:lnTo>
                  <a:lnTo>
                    <a:pt x="22032" y="9442"/>
                  </a:lnTo>
                  <a:lnTo>
                    <a:pt x="24392" y="6688"/>
                  </a:lnTo>
                  <a:lnTo>
                    <a:pt x="27540" y="5901"/>
                  </a:lnTo>
                  <a:lnTo>
                    <a:pt x="30687" y="4721"/>
                  </a:lnTo>
                  <a:lnTo>
                    <a:pt x="32654" y="1574"/>
                  </a:lnTo>
                  <a:lnTo>
                    <a:pt x="29507" y="787"/>
                  </a:lnTo>
                  <a:lnTo>
                    <a:pt x="26753" y="0"/>
                  </a:lnTo>
                  <a:lnTo>
                    <a:pt x="23606" y="787"/>
                  </a:lnTo>
                  <a:lnTo>
                    <a:pt x="20852" y="2361"/>
                  </a:lnTo>
                  <a:lnTo>
                    <a:pt x="17704" y="1574"/>
                  </a:lnTo>
                  <a:lnTo>
                    <a:pt x="14950" y="4328"/>
                  </a:lnTo>
                  <a:lnTo>
                    <a:pt x="15344" y="1574"/>
                  </a:lnTo>
                  <a:lnTo>
                    <a:pt x="12590" y="3147"/>
                  </a:lnTo>
                  <a:lnTo>
                    <a:pt x="9836" y="3541"/>
                  </a:lnTo>
                  <a:lnTo>
                    <a:pt x="8262" y="6688"/>
                  </a:lnTo>
                  <a:lnTo>
                    <a:pt x="8655" y="9442"/>
                  </a:lnTo>
                  <a:lnTo>
                    <a:pt x="9442" y="12196"/>
                  </a:lnTo>
                  <a:lnTo>
                    <a:pt x="7869" y="9442"/>
                  </a:lnTo>
                  <a:lnTo>
                    <a:pt x="4721" y="9049"/>
                  </a:lnTo>
                  <a:lnTo>
                    <a:pt x="6295" y="7869"/>
                  </a:lnTo>
                  <a:lnTo>
                    <a:pt x="7082" y="4721"/>
                  </a:lnTo>
                  <a:lnTo>
                    <a:pt x="5901" y="5114"/>
                  </a:lnTo>
                  <a:lnTo>
                    <a:pt x="393" y="9836"/>
                  </a:lnTo>
                  <a:lnTo>
                    <a:pt x="0" y="12590"/>
                  </a:lnTo>
                  <a:lnTo>
                    <a:pt x="1967" y="11409"/>
                  </a:lnTo>
                  <a:lnTo>
                    <a:pt x="1180" y="14557"/>
                  </a:lnTo>
                  <a:lnTo>
                    <a:pt x="3934" y="20065"/>
                  </a:lnTo>
                  <a:lnTo>
                    <a:pt x="1180" y="20065"/>
                  </a:lnTo>
                  <a:lnTo>
                    <a:pt x="2361" y="22819"/>
                  </a:lnTo>
                  <a:lnTo>
                    <a:pt x="2361" y="25966"/>
                  </a:lnTo>
                  <a:lnTo>
                    <a:pt x="393" y="2281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43" name="Freeform: Shape 2837">
              <a:extLst>
                <a:ext uri="{FF2B5EF4-FFF2-40B4-BE49-F238E27FC236}">
                  <a16:creationId xmlns:a16="http://schemas.microsoft.com/office/drawing/2014/main" id="{62894641-4FD4-4F2E-8379-DADF3561E14F}"/>
                </a:ext>
              </a:extLst>
            </p:cNvPr>
            <p:cNvSpPr/>
            <p:nvPr/>
          </p:nvSpPr>
          <p:spPr>
            <a:xfrm>
              <a:off x="2780989" y="1800650"/>
              <a:ext cx="27540" cy="19671"/>
            </a:xfrm>
            <a:custGeom>
              <a:avLst/>
              <a:gdLst>
                <a:gd name="connsiteX0" fmla="*/ 4328 w 27539"/>
                <a:gd name="connsiteY0" fmla="*/ 13770 h 19671"/>
                <a:gd name="connsiteX1" fmla="*/ 1967 w 27539"/>
                <a:gd name="connsiteY1" fmla="*/ 16524 h 19671"/>
                <a:gd name="connsiteX2" fmla="*/ 0 w 27539"/>
                <a:gd name="connsiteY2" fmla="*/ 19278 h 19671"/>
                <a:gd name="connsiteX3" fmla="*/ 393 w 27539"/>
                <a:gd name="connsiteY3" fmla="*/ 20852 h 19671"/>
                <a:gd name="connsiteX4" fmla="*/ 3541 w 27539"/>
                <a:gd name="connsiteY4" fmla="*/ 20458 h 19671"/>
                <a:gd name="connsiteX5" fmla="*/ 6295 w 27539"/>
                <a:gd name="connsiteY5" fmla="*/ 18884 h 19671"/>
                <a:gd name="connsiteX6" fmla="*/ 9442 w 27539"/>
                <a:gd name="connsiteY6" fmla="*/ 19671 h 19671"/>
                <a:gd name="connsiteX7" fmla="*/ 12590 w 27539"/>
                <a:gd name="connsiteY7" fmla="*/ 19671 h 19671"/>
                <a:gd name="connsiteX8" fmla="*/ 15344 w 27539"/>
                <a:gd name="connsiteY8" fmla="*/ 17704 h 19671"/>
                <a:gd name="connsiteX9" fmla="*/ 17704 w 27539"/>
                <a:gd name="connsiteY9" fmla="*/ 14950 h 19671"/>
                <a:gd name="connsiteX10" fmla="*/ 14950 w 27539"/>
                <a:gd name="connsiteY10" fmla="*/ 14557 h 19671"/>
                <a:gd name="connsiteX11" fmla="*/ 18098 w 27539"/>
                <a:gd name="connsiteY11" fmla="*/ 12196 h 19671"/>
                <a:gd name="connsiteX12" fmla="*/ 18098 w 27539"/>
                <a:gd name="connsiteY12" fmla="*/ 9442 h 19671"/>
                <a:gd name="connsiteX13" fmla="*/ 18885 w 27539"/>
                <a:gd name="connsiteY13" fmla="*/ 12196 h 19671"/>
                <a:gd name="connsiteX14" fmla="*/ 19671 w 27539"/>
                <a:gd name="connsiteY14" fmla="*/ 14950 h 19671"/>
                <a:gd name="connsiteX15" fmla="*/ 22819 w 27539"/>
                <a:gd name="connsiteY15" fmla="*/ 14557 h 19671"/>
                <a:gd name="connsiteX16" fmla="*/ 24786 w 27539"/>
                <a:gd name="connsiteY16" fmla="*/ 11803 h 19671"/>
                <a:gd name="connsiteX17" fmla="*/ 26753 w 27539"/>
                <a:gd name="connsiteY17" fmla="*/ 8655 h 19671"/>
                <a:gd name="connsiteX18" fmla="*/ 29507 w 27539"/>
                <a:gd name="connsiteY18" fmla="*/ 7475 h 19671"/>
                <a:gd name="connsiteX19" fmla="*/ 30294 w 27539"/>
                <a:gd name="connsiteY19" fmla="*/ 4721 h 19671"/>
                <a:gd name="connsiteX20" fmla="*/ 27540 w 27539"/>
                <a:gd name="connsiteY20" fmla="*/ 2754 h 19671"/>
                <a:gd name="connsiteX21" fmla="*/ 24786 w 27539"/>
                <a:gd name="connsiteY21" fmla="*/ 3541 h 19671"/>
                <a:gd name="connsiteX22" fmla="*/ 21638 w 27539"/>
                <a:gd name="connsiteY22" fmla="*/ 2361 h 19671"/>
                <a:gd name="connsiteX23" fmla="*/ 18491 w 27539"/>
                <a:gd name="connsiteY23" fmla="*/ 1574 h 19671"/>
                <a:gd name="connsiteX24" fmla="*/ 15737 w 27539"/>
                <a:gd name="connsiteY24" fmla="*/ 393 h 19671"/>
                <a:gd name="connsiteX25" fmla="*/ 12590 w 27539"/>
                <a:gd name="connsiteY25" fmla="*/ 0 h 19671"/>
                <a:gd name="connsiteX26" fmla="*/ 9836 w 27539"/>
                <a:gd name="connsiteY26" fmla="*/ 787 h 19671"/>
                <a:gd name="connsiteX27" fmla="*/ 8655 w 27539"/>
                <a:gd name="connsiteY27" fmla="*/ 3541 h 19671"/>
                <a:gd name="connsiteX28" fmla="*/ 9836 w 27539"/>
                <a:gd name="connsiteY28" fmla="*/ 6688 h 19671"/>
                <a:gd name="connsiteX29" fmla="*/ 7082 w 27539"/>
                <a:gd name="connsiteY29" fmla="*/ 6295 h 19671"/>
                <a:gd name="connsiteX30" fmla="*/ 7475 w 27539"/>
                <a:gd name="connsiteY30" fmla="*/ 9049 h 19671"/>
                <a:gd name="connsiteX31" fmla="*/ 10229 w 27539"/>
                <a:gd name="connsiteY31" fmla="*/ 7475 h 19671"/>
                <a:gd name="connsiteX32" fmla="*/ 7475 w 27539"/>
                <a:gd name="connsiteY32" fmla="*/ 10623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7539" h="19671">
                  <a:moveTo>
                    <a:pt x="4328" y="13770"/>
                  </a:moveTo>
                  <a:lnTo>
                    <a:pt x="1967" y="16524"/>
                  </a:lnTo>
                  <a:lnTo>
                    <a:pt x="0" y="19278"/>
                  </a:lnTo>
                  <a:lnTo>
                    <a:pt x="393" y="20852"/>
                  </a:lnTo>
                  <a:lnTo>
                    <a:pt x="3541" y="20458"/>
                  </a:lnTo>
                  <a:lnTo>
                    <a:pt x="6295" y="18884"/>
                  </a:lnTo>
                  <a:lnTo>
                    <a:pt x="9442" y="19671"/>
                  </a:lnTo>
                  <a:lnTo>
                    <a:pt x="12590" y="19671"/>
                  </a:lnTo>
                  <a:lnTo>
                    <a:pt x="15344" y="17704"/>
                  </a:lnTo>
                  <a:lnTo>
                    <a:pt x="17704" y="14950"/>
                  </a:lnTo>
                  <a:lnTo>
                    <a:pt x="14950" y="14557"/>
                  </a:lnTo>
                  <a:lnTo>
                    <a:pt x="18098" y="12196"/>
                  </a:lnTo>
                  <a:lnTo>
                    <a:pt x="18098" y="9442"/>
                  </a:lnTo>
                  <a:lnTo>
                    <a:pt x="18885" y="12196"/>
                  </a:lnTo>
                  <a:lnTo>
                    <a:pt x="19671" y="14950"/>
                  </a:lnTo>
                  <a:lnTo>
                    <a:pt x="22819" y="14557"/>
                  </a:lnTo>
                  <a:lnTo>
                    <a:pt x="24786" y="11803"/>
                  </a:lnTo>
                  <a:lnTo>
                    <a:pt x="26753" y="8655"/>
                  </a:lnTo>
                  <a:lnTo>
                    <a:pt x="29507" y="7475"/>
                  </a:lnTo>
                  <a:lnTo>
                    <a:pt x="30294" y="4721"/>
                  </a:lnTo>
                  <a:lnTo>
                    <a:pt x="27540" y="2754"/>
                  </a:lnTo>
                  <a:lnTo>
                    <a:pt x="24786" y="3541"/>
                  </a:lnTo>
                  <a:lnTo>
                    <a:pt x="21638" y="2361"/>
                  </a:lnTo>
                  <a:lnTo>
                    <a:pt x="18491" y="1574"/>
                  </a:lnTo>
                  <a:lnTo>
                    <a:pt x="15737" y="393"/>
                  </a:lnTo>
                  <a:lnTo>
                    <a:pt x="12590" y="0"/>
                  </a:lnTo>
                  <a:lnTo>
                    <a:pt x="9836" y="787"/>
                  </a:lnTo>
                  <a:lnTo>
                    <a:pt x="8655" y="3541"/>
                  </a:lnTo>
                  <a:lnTo>
                    <a:pt x="9836" y="6688"/>
                  </a:lnTo>
                  <a:lnTo>
                    <a:pt x="7082" y="6295"/>
                  </a:lnTo>
                  <a:lnTo>
                    <a:pt x="7475" y="9049"/>
                  </a:lnTo>
                  <a:lnTo>
                    <a:pt x="10229" y="7475"/>
                  </a:lnTo>
                  <a:lnTo>
                    <a:pt x="7475" y="1062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44" name="Freeform: Shape 2838">
              <a:extLst>
                <a:ext uri="{FF2B5EF4-FFF2-40B4-BE49-F238E27FC236}">
                  <a16:creationId xmlns:a16="http://schemas.microsoft.com/office/drawing/2014/main" id="{DC8173E8-599F-4CFF-A17F-44CF7D8047DB}"/>
                </a:ext>
              </a:extLst>
            </p:cNvPr>
            <p:cNvSpPr/>
            <p:nvPr/>
          </p:nvSpPr>
          <p:spPr>
            <a:xfrm>
              <a:off x="2745974" y="1786880"/>
              <a:ext cx="27540" cy="39343"/>
            </a:xfrm>
            <a:custGeom>
              <a:avLst/>
              <a:gdLst>
                <a:gd name="connsiteX0" fmla="*/ 27933 w 27539"/>
                <a:gd name="connsiteY0" fmla="*/ 2754 h 39342"/>
                <a:gd name="connsiteX1" fmla="*/ 25179 w 27539"/>
                <a:gd name="connsiteY1" fmla="*/ 1574 h 39342"/>
                <a:gd name="connsiteX2" fmla="*/ 22032 w 27539"/>
                <a:gd name="connsiteY2" fmla="*/ 2754 h 39342"/>
                <a:gd name="connsiteX3" fmla="*/ 25179 w 27539"/>
                <a:gd name="connsiteY3" fmla="*/ 1180 h 39342"/>
                <a:gd name="connsiteX4" fmla="*/ 22032 w 27539"/>
                <a:gd name="connsiteY4" fmla="*/ 0 h 39342"/>
                <a:gd name="connsiteX5" fmla="*/ 19278 w 27539"/>
                <a:gd name="connsiteY5" fmla="*/ 2361 h 39342"/>
                <a:gd name="connsiteX6" fmla="*/ 16131 w 27539"/>
                <a:gd name="connsiteY6" fmla="*/ 3934 h 39342"/>
                <a:gd name="connsiteX7" fmla="*/ 12983 w 27539"/>
                <a:gd name="connsiteY7" fmla="*/ 5115 h 39342"/>
                <a:gd name="connsiteX8" fmla="*/ 12196 w 27539"/>
                <a:gd name="connsiteY8" fmla="*/ 7869 h 39342"/>
                <a:gd name="connsiteX9" fmla="*/ 15344 w 27539"/>
                <a:gd name="connsiteY9" fmla="*/ 9049 h 39342"/>
                <a:gd name="connsiteX10" fmla="*/ 14557 w 27539"/>
                <a:gd name="connsiteY10" fmla="*/ 9836 h 39342"/>
                <a:gd name="connsiteX11" fmla="*/ 12590 w 27539"/>
                <a:gd name="connsiteY11" fmla="*/ 11803 h 39342"/>
                <a:gd name="connsiteX12" fmla="*/ 15737 w 27539"/>
                <a:gd name="connsiteY12" fmla="*/ 11016 h 39342"/>
                <a:gd name="connsiteX13" fmla="*/ 12590 w 27539"/>
                <a:gd name="connsiteY13" fmla="*/ 12590 h 39342"/>
                <a:gd name="connsiteX14" fmla="*/ 12196 w 27539"/>
                <a:gd name="connsiteY14" fmla="*/ 15344 h 39342"/>
                <a:gd name="connsiteX15" fmla="*/ 9049 w 27539"/>
                <a:gd name="connsiteY15" fmla="*/ 17311 h 39342"/>
                <a:gd name="connsiteX16" fmla="*/ 7082 w 27539"/>
                <a:gd name="connsiteY16" fmla="*/ 20458 h 39342"/>
                <a:gd name="connsiteX17" fmla="*/ 3934 w 27539"/>
                <a:gd name="connsiteY17" fmla="*/ 21245 h 39342"/>
                <a:gd name="connsiteX18" fmla="*/ 7082 w 27539"/>
                <a:gd name="connsiteY18" fmla="*/ 22425 h 39342"/>
                <a:gd name="connsiteX19" fmla="*/ 7082 w 27539"/>
                <a:gd name="connsiteY19" fmla="*/ 22819 h 39342"/>
                <a:gd name="connsiteX20" fmla="*/ 6688 w 27539"/>
                <a:gd name="connsiteY20" fmla="*/ 22819 h 39342"/>
                <a:gd name="connsiteX21" fmla="*/ 4721 w 27539"/>
                <a:gd name="connsiteY21" fmla="*/ 25573 h 39342"/>
                <a:gd name="connsiteX22" fmla="*/ 7869 w 27539"/>
                <a:gd name="connsiteY22" fmla="*/ 25179 h 39342"/>
                <a:gd name="connsiteX23" fmla="*/ 5114 w 27539"/>
                <a:gd name="connsiteY23" fmla="*/ 27146 h 39342"/>
                <a:gd name="connsiteX24" fmla="*/ 3147 w 27539"/>
                <a:gd name="connsiteY24" fmla="*/ 29507 h 39342"/>
                <a:gd name="connsiteX25" fmla="*/ 5901 w 27539"/>
                <a:gd name="connsiteY25" fmla="*/ 28327 h 39342"/>
                <a:gd name="connsiteX26" fmla="*/ 9049 w 27539"/>
                <a:gd name="connsiteY26" fmla="*/ 25966 h 39342"/>
                <a:gd name="connsiteX27" fmla="*/ 11803 w 27539"/>
                <a:gd name="connsiteY27" fmla="*/ 26360 h 39342"/>
                <a:gd name="connsiteX28" fmla="*/ 8655 w 27539"/>
                <a:gd name="connsiteY28" fmla="*/ 28327 h 39342"/>
                <a:gd name="connsiteX29" fmla="*/ 5901 w 27539"/>
                <a:gd name="connsiteY29" fmla="*/ 29900 h 39342"/>
                <a:gd name="connsiteX30" fmla="*/ 3147 w 27539"/>
                <a:gd name="connsiteY30" fmla="*/ 31081 h 39342"/>
                <a:gd name="connsiteX31" fmla="*/ 1180 w 27539"/>
                <a:gd name="connsiteY31" fmla="*/ 34228 h 39342"/>
                <a:gd name="connsiteX32" fmla="*/ 393 w 27539"/>
                <a:gd name="connsiteY32" fmla="*/ 36982 h 39342"/>
                <a:gd name="connsiteX33" fmla="*/ 0 w 27539"/>
                <a:gd name="connsiteY33" fmla="*/ 39736 h 39342"/>
                <a:gd name="connsiteX34" fmla="*/ 0 w 27539"/>
                <a:gd name="connsiteY34" fmla="*/ 42490 h 39342"/>
                <a:gd name="connsiteX35" fmla="*/ 3147 w 27539"/>
                <a:gd name="connsiteY35" fmla="*/ 41310 h 39342"/>
                <a:gd name="connsiteX36" fmla="*/ 8655 w 27539"/>
                <a:gd name="connsiteY36" fmla="*/ 35408 h 39342"/>
                <a:gd name="connsiteX37" fmla="*/ 11016 w 27539"/>
                <a:gd name="connsiteY37" fmla="*/ 32654 h 39342"/>
                <a:gd name="connsiteX38" fmla="*/ 13376 w 27539"/>
                <a:gd name="connsiteY38" fmla="*/ 29900 h 39342"/>
                <a:gd name="connsiteX39" fmla="*/ 16524 w 27539"/>
                <a:gd name="connsiteY39" fmla="*/ 27540 h 39342"/>
                <a:gd name="connsiteX40" fmla="*/ 19278 w 27539"/>
                <a:gd name="connsiteY40" fmla="*/ 24786 h 39342"/>
                <a:gd name="connsiteX41" fmla="*/ 20458 w 27539"/>
                <a:gd name="connsiteY41" fmla="*/ 22032 h 39342"/>
                <a:gd name="connsiteX42" fmla="*/ 22425 w 27539"/>
                <a:gd name="connsiteY42" fmla="*/ 19278 h 39342"/>
                <a:gd name="connsiteX43" fmla="*/ 25179 w 27539"/>
                <a:gd name="connsiteY43" fmla="*/ 16131 h 39342"/>
                <a:gd name="connsiteX44" fmla="*/ 26753 w 27539"/>
                <a:gd name="connsiteY44" fmla="*/ 13377 h 39342"/>
                <a:gd name="connsiteX45" fmla="*/ 28327 w 27539"/>
                <a:gd name="connsiteY45" fmla="*/ 10229 h 39342"/>
                <a:gd name="connsiteX46" fmla="*/ 28720 w 27539"/>
                <a:gd name="connsiteY46" fmla="*/ 7475 h 39342"/>
                <a:gd name="connsiteX47" fmla="*/ 30687 w 27539"/>
                <a:gd name="connsiteY47" fmla="*/ 4328 h 39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27539" h="39342">
                  <a:moveTo>
                    <a:pt x="27933" y="2754"/>
                  </a:moveTo>
                  <a:lnTo>
                    <a:pt x="25179" y="1574"/>
                  </a:lnTo>
                  <a:lnTo>
                    <a:pt x="22032" y="2754"/>
                  </a:lnTo>
                  <a:lnTo>
                    <a:pt x="25179" y="1180"/>
                  </a:lnTo>
                  <a:lnTo>
                    <a:pt x="22032" y="0"/>
                  </a:lnTo>
                  <a:lnTo>
                    <a:pt x="19278" y="2361"/>
                  </a:lnTo>
                  <a:lnTo>
                    <a:pt x="16131" y="3934"/>
                  </a:lnTo>
                  <a:lnTo>
                    <a:pt x="12983" y="5115"/>
                  </a:lnTo>
                  <a:lnTo>
                    <a:pt x="12196" y="7869"/>
                  </a:lnTo>
                  <a:lnTo>
                    <a:pt x="15344" y="9049"/>
                  </a:lnTo>
                  <a:lnTo>
                    <a:pt x="14557" y="9836"/>
                  </a:lnTo>
                  <a:lnTo>
                    <a:pt x="12590" y="11803"/>
                  </a:lnTo>
                  <a:lnTo>
                    <a:pt x="15737" y="11016"/>
                  </a:lnTo>
                  <a:lnTo>
                    <a:pt x="12590" y="12590"/>
                  </a:lnTo>
                  <a:lnTo>
                    <a:pt x="12196" y="15344"/>
                  </a:lnTo>
                  <a:lnTo>
                    <a:pt x="9049" y="17311"/>
                  </a:lnTo>
                  <a:lnTo>
                    <a:pt x="7082" y="20458"/>
                  </a:lnTo>
                  <a:lnTo>
                    <a:pt x="3934" y="21245"/>
                  </a:lnTo>
                  <a:lnTo>
                    <a:pt x="7082" y="22425"/>
                  </a:lnTo>
                  <a:lnTo>
                    <a:pt x="7082" y="22819"/>
                  </a:lnTo>
                  <a:lnTo>
                    <a:pt x="6688" y="22819"/>
                  </a:lnTo>
                  <a:lnTo>
                    <a:pt x="4721" y="25573"/>
                  </a:lnTo>
                  <a:lnTo>
                    <a:pt x="7869" y="25179"/>
                  </a:lnTo>
                  <a:lnTo>
                    <a:pt x="5114" y="27146"/>
                  </a:lnTo>
                  <a:lnTo>
                    <a:pt x="3147" y="29507"/>
                  </a:lnTo>
                  <a:lnTo>
                    <a:pt x="5901" y="28327"/>
                  </a:lnTo>
                  <a:lnTo>
                    <a:pt x="9049" y="25966"/>
                  </a:lnTo>
                  <a:lnTo>
                    <a:pt x="11803" y="26360"/>
                  </a:lnTo>
                  <a:lnTo>
                    <a:pt x="8655" y="28327"/>
                  </a:lnTo>
                  <a:lnTo>
                    <a:pt x="5901" y="29900"/>
                  </a:lnTo>
                  <a:lnTo>
                    <a:pt x="3147" y="31081"/>
                  </a:lnTo>
                  <a:lnTo>
                    <a:pt x="1180" y="34228"/>
                  </a:lnTo>
                  <a:lnTo>
                    <a:pt x="393" y="36982"/>
                  </a:lnTo>
                  <a:lnTo>
                    <a:pt x="0" y="39736"/>
                  </a:lnTo>
                  <a:lnTo>
                    <a:pt x="0" y="42490"/>
                  </a:lnTo>
                  <a:lnTo>
                    <a:pt x="3147" y="41310"/>
                  </a:lnTo>
                  <a:lnTo>
                    <a:pt x="8655" y="35408"/>
                  </a:lnTo>
                  <a:lnTo>
                    <a:pt x="11016" y="32654"/>
                  </a:lnTo>
                  <a:lnTo>
                    <a:pt x="13376" y="29900"/>
                  </a:lnTo>
                  <a:lnTo>
                    <a:pt x="16524" y="27540"/>
                  </a:lnTo>
                  <a:lnTo>
                    <a:pt x="19278" y="24786"/>
                  </a:lnTo>
                  <a:lnTo>
                    <a:pt x="20458" y="22032"/>
                  </a:lnTo>
                  <a:lnTo>
                    <a:pt x="22425" y="19278"/>
                  </a:lnTo>
                  <a:lnTo>
                    <a:pt x="25179" y="16131"/>
                  </a:lnTo>
                  <a:lnTo>
                    <a:pt x="26753" y="13377"/>
                  </a:lnTo>
                  <a:lnTo>
                    <a:pt x="28327" y="10229"/>
                  </a:lnTo>
                  <a:lnTo>
                    <a:pt x="28720" y="7475"/>
                  </a:lnTo>
                  <a:lnTo>
                    <a:pt x="30687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45" name="Freeform: Shape 2839">
              <a:extLst>
                <a:ext uri="{FF2B5EF4-FFF2-40B4-BE49-F238E27FC236}">
                  <a16:creationId xmlns:a16="http://schemas.microsoft.com/office/drawing/2014/main" id="{5FD3E9CB-8DBF-4070-8DC9-D3FF4F0470AF}"/>
                </a:ext>
              </a:extLst>
            </p:cNvPr>
            <p:cNvSpPr/>
            <p:nvPr/>
          </p:nvSpPr>
          <p:spPr>
            <a:xfrm>
              <a:off x="2755023" y="1805372"/>
              <a:ext cx="31474" cy="27540"/>
            </a:xfrm>
            <a:custGeom>
              <a:avLst/>
              <a:gdLst>
                <a:gd name="connsiteX0" fmla="*/ 28327 w 31474"/>
                <a:gd name="connsiteY0" fmla="*/ 5901 h 27539"/>
                <a:gd name="connsiteX1" fmla="*/ 29114 w 31474"/>
                <a:gd name="connsiteY1" fmla="*/ 3147 h 27539"/>
                <a:gd name="connsiteX2" fmla="*/ 26360 w 31474"/>
                <a:gd name="connsiteY2" fmla="*/ 0 h 27539"/>
                <a:gd name="connsiteX3" fmla="*/ 25966 w 31474"/>
                <a:gd name="connsiteY3" fmla="*/ 3147 h 27539"/>
                <a:gd name="connsiteX4" fmla="*/ 23212 w 31474"/>
                <a:gd name="connsiteY4" fmla="*/ 1180 h 27539"/>
                <a:gd name="connsiteX5" fmla="*/ 20852 w 31474"/>
                <a:gd name="connsiteY5" fmla="*/ 4328 h 27539"/>
                <a:gd name="connsiteX6" fmla="*/ 20458 w 31474"/>
                <a:gd name="connsiteY6" fmla="*/ 2754 h 27539"/>
                <a:gd name="connsiteX7" fmla="*/ 17704 w 31474"/>
                <a:gd name="connsiteY7" fmla="*/ 4721 h 27539"/>
                <a:gd name="connsiteX8" fmla="*/ 15344 w 31474"/>
                <a:gd name="connsiteY8" fmla="*/ 7475 h 27539"/>
                <a:gd name="connsiteX9" fmla="*/ 14950 w 31474"/>
                <a:gd name="connsiteY9" fmla="*/ 7869 h 27539"/>
                <a:gd name="connsiteX10" fmla="*/ 7082 w 31474"/>
                <a:gd name="connsiteY10" fmla="*/ 19278 h 27539"/>
                <a:gd name="connsiteX11" fmla="*/ 5901 w 31474"/>
                <a:gd name="connsiteY11" fmla="*/ 20065 h 27539"/>
                <a:gd name="connsiteX12" fmla="*/ 6688 w 31474"/>
                <a:gd name="connsiteY12" fmla="*/ 20065 h 27539"/>
                <a:gd name="connsiteX13" fmla="*/ 5901 w 31474"/>
                <a:gd name="connsiteY13" fmla="*/ 21245 h 27539"/>
                <a:gd name="connsiteX14" fmla="*/ 3147 w 31474"/>
                <a:gd name="connsiteY14" fmla="*/ 23212 h 27539"/>
                <a:gd name="connsiteX15" fmla="*/ 787 w 31474"/>
                <a:gd name="connsiteY15" fmla="*/ 26360 h 27539"/>
                <a:gd name="connsiteX16" fmla="*/ 0 w 31474"/>
                <a:gd name="connsiteY16" fmla="*/ 29114 h 27539"/>
                <a:gd name="connsiteX17" fmla="*/ 0 w 31474"/>
                <a:gd name="connsiteY17" fmla="*/ 29507 h 27539"/>
                <a:gd name="connsiteX18" fmla="*/ 3147 w 31474"/>
                <a:gd name="connsiteY18" fmla="*/ 27146 h 27539"/>
                <a:gd name="connsiteX19" fmla="*/ 3934 w 31474"/>
                <a:gd name="connsiteY19" fmla="*/ 24392 h 27539"/>
                <a:gd name="connsiteX20" fmla="*/ 6688 w 31474"/>
                <a:gd name="connsiteY20" fmla="*/ 23999 h 27539"/>
                <a:gd name="connsiteX21" fmla="*/ 9442 w 31474"/>
                <a:gd name="connsiteY21" fmla="*/ 21638 h 27539"/>
                <a:gd name="connsiteX22" fmla="*/ 7869 w 31474"/>
                <a:gd name="connsiteY22" fmla="*/ 24392 h 27539"/>
                <a:gd name="connsiteX23" fmla="*/ 11016 w 31474"/>
                <a:gd name="connsiteY23" fmla="*/ 23212 h 27539"/>
                <a:gd name="connsiteX24" fmla="*/ 12983 w 31474"/>
                <a:gd name="connsiteY24" fmla="*/ 20458 h 27539"/>
                <a:gd name="connsiteX25" fmla="*/ 15737 w 31474"/>
                <a:gd name="connsiteY25" fmla="*/ 20458 h 27539"/>
                <a:gd name="connsiteX26" fmla="*/ 17311 w 31474"/>
                <a:gd name="connsiteY26" fmla="*/ 17704 h 27539"/>
                <a:gd name="connsiteX27" fmla="*/ 20065 w 31474"/>
                <a:gd name="connsiteY27" fmla="*/ 16130 h 27539"/>
                <a:gd name="connsiteX28" fmla="*/ 21638 w 31474"/>
                <a:gd name="connsiteY28" fmla="*/ 13376 h 27539"/>
                <a:gd name="connsiteX29" fmla="*/ 23606 w 31474"/>
                <a:gd name="connsiteY29" fmla="*/ 10229 h 27539"/>
                <a:gd name="connsiteX30" fmla="*/ 26360 w 31474"/>
                <a:gd name="connsiteY30" fmla="*/ 11803 h 27539"/>
                <a:gd name="connsiteX31" fmla="*/ 29507 w 31474"/>
                <a:gd name="connsiteY31" fmla="*/ 9442 h 27539"/>
                <a:gd name="connsiteX32" fmla="*/ 31474 w 31474"/>
                <a:gd name="connsiteY32" fmla="*/ 6688 h 27539"/>
                <a:gd name="connsiteX33" fmla="*/ 28327 w 31474"/>
                <a:gd name="connsiteY33" fmla="*/ 7082 h 27539"/>
                <a:gd name="connsiteX34" fmla="*/ 25179 w 31474"/>
                <a:gd name="connsiteY34" fmla="*/ 8655 h 27539"/>
                <a:gd name="connsiteX35" fmla="*/ 22425 w 31474"/>
                <a:gd name="connsiteY35" fmla="*/ 9442 h 27539"/>
                <a:gd name="connsiteX36" fmla="*/ 25179 w 31474"/>
                <a:gd name="connsiteY36" fmla="*/ 7869 h 27539"/>
                <a:gd name="connsiteX37" fmla="*/ 28327 w 31474"/>
                <a:gd name="connsiteY37" fmla="*/ 5901 h 27539"/>
                <a:gd name="connsiteX38" fmla="*/ 6295 w 31474"/>
                <a:gd name="connsiteY38" fmla="*/ 20458 h 27539"/>
                <a:gd name="connsiteX39" fmla="*/ 6688 w 31474"/>
                <a:gd name="connsiteY39" fmla="*/ 19671 h 27539"/>
                <a:gd name="connsiteX40" fmla="*/ 8262 w 31474"/>
                <a:gd name="connsiteY40" fmla="*/ 19278 h 27539"/>
                <a:gd name="connsiteX41" fmla="*/ 6295 w 31474"/>
                <a:gd name="connsiteY41" fmla="*/ 20458 h 27539"/>
                <a:gd name="connsiteX42" fmla="*/ 14163 w 31474"/>
                <a:gd name="connsiteY42" fmla="*/ 16917 h 27539"/>
                <a:gd name="connsiteX43" fmla="*/ 11016 w 31474"/>
                <a:gd name="connsiteY43" fmla="*/ 18098 h 27539"/>
                <a:gd name="connsiteX44" fmla="*/ 8655 w 31474"/>
                <a:gd name="connsiteY44" fmla="*/ 18098 h 27539"/>
                <a:gd name="connsiteX45" fmla="*/ 12983 w 31474"/>
                <a:gd name="connsiteY45" fmla="*/ 12590 h 27539"/>
                <a:gd name="connsiteX46" fmla="*/ 15344 w 31474"/>
                <a:gd name="connsiteY46" fmla="*/ 14163 h 27539"/>
                <a:gd name="connsiteX47" fmla="*/ 14163 w 31474"/>
                <a:gd name="connsiteY47" fmla="*/ 16917 h 27539"/>
                <a:gd name="connsiteX48" fmla="*/ 15344 w 31474"/>
                <a:gd name="connsiteY48" fmla="*/ 11016 h 27539"/>
                <a:gd name="connsiteX49" fmla="*/ 13377 w 31474"/>
                <a:gd name="connsiteY49" fmla="*/ 11803 h 27539"/>
                <a:gd name="connsiteX50" fmla="*/ 16131 w 31474"/>
                <a:gd name="connsiteY50" fmla="*/ 8262 h 27539"/>
                <a:gd name="connsiteX51" fmla="*/ 17704 w 31474"/>
                <a:gd name="connsiteY51" fmla="*/ 8262 h 27539"/>
                <a:gd name="connsiteX52" fmla="*/ 15344 w 31474"/>
                <a:gd name="connsiteY52" fmla="*/ 11016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31474" h="27539">
                  <a:moveTo>
                    <a:pt x="28327" y="5901"/>
                  </a:moveTo>
                  <a:lnTo>
                    <a:pt x="29114" y="3147"/>
                  </a:lnTo>
                  <a:lnTo>
                    <a:pt x="26360" y="0"/>
                  </a:lnTo>
                  <a:lnTo>
                    <a:pt x="25966" y="3147"/>
                  </a:lnTo>
                  <a:lnTo>
                    <a:pt x="23212" y="1180"/>
                  </a:lnTo>
                  <a:lnTo>
                    <a:pt x="20852" y="4328"/>
                  </a:lnTo>
                  <a:lnTo>
                    <a:pt x="20458" y="2754"/>
                  </a:lnTo>
                  <a:lnTo>
                    <a:pt x="17704" y="4721"/>
                  </a:lnTo>
                  <a:lnTo>
                    <a:pt x="15344" y="7475"/>
                  </a:lnTo>
                  <a:lnTo>
                    <a:pt x="14950" y="7869"/>
                  </a:lnTo>
                  <a:lnTo>
                    <a:pt x="7082" y="19278"/>
                  </a:lnTo>
                  <a:lnTo>
                    <a:pt x="5901" y="20065"/>
                  </a:lnTo>
                  <a:lnTo>
                    <a:pt x="6688" y="20065"/>
                  </a:lnTo>
                  <a:lnTo>
                    <a:pt x="5901" y="21245"/>
                  </a:lnTo>
                  <a:lnTo>
                    <a:pt x="3147" y="23212"/>
                  </a:lnTo>
                  <a:lnTo>
                    <a:pt x="787" y="26360"/>
                  </a:lnTo>
                  <a:lnTo>
                    <a:pt x="0" y="29114"/>
                  </a:lnTo>
                  <a:lnTo>
                    <a:pt x="0" y="29507"/>
                  </a:lnTo>
                  <a:lnTo>
                    <a:pt x="3147" y="27146"/>
                  </a:lnTo>
                  <a:lnTo>
                    <a:pt x="3934" y="24392"/>
                  </a:lnTo>
                  <a:lnTo>
                    <a:pt x="6688" y="23999"/>
                  </a:lnTo>
                  <a:lnTo>
                    <a:pt x="9442" y="21638"/>
                  </a:lnTo>
                  <a:lnTo>
                    <a:pt x="7869" y="24392"/>
                  </a:lnTo>
                  <a:lnTo>
                    <a:pt x="11016" y="23212"/>
                  </a:lnTo>
                  <a:lnTo>
                    <a:pt x="12983" y="20458"/>
                  </a:lnTo>
                  <a:lnTo>
                    <a:pt x="15737" y="20458"/>
                  </a:lnTo>
                  <a:lnTo>
                    <a:pt x="17311" y="17704"/>
                  </a:lnTo>
                  <a:lnTo>
                    <a:pt x="20065" y="16130"/>
                  </a:lnTo>
                  <a:lnTo>
                    <a:pt x="21638" y="13376"/>
                  </a:lnTo>
                  <a:lnTo>
                    <a:pt x="23606" y="10229"/>
                  </a:lnTo>
                  <a:lnTo>
                    <a:pt x="26360" y="11803"/>
                  </a:lnTo>
                  <a:lnTo>
                    <a:pt x="29507" y="9442"/>
                  </a:lnTo>
                  <a:lnTo>
                    <a:pt x="31474" y="6688"/>
                  </a:lnTo>
                  <a:lnTo>
                    <a:pt x="28327" y="7082"/>
                  </a:lnTo>
                  <a:lnTo>
                    <a:pt x="25179" y="8655"/>
                  </a:lnTo>
                  <a:lnTo>
                    <a:pt x="22425" y="9442"/>
                  </a:lnTo>
                  <a:lnTo>
                    <a:pt x="25179" y="7869"/>
                  </a:lnTo>
                  <a:lnTo>
                    <a:pt x="28327" y="5901"/>
                  </a:lnTo>
                  <a:close/>
                  <a:moveTo>
                    <a:pt x="6295" y="20458"/>
                  </a:moveTo>
                  <a:lnTo>
                    <a:pt x="6688" y="19671"/>
                  </a:lnTo>
                  <a:lnTo>
                    <a:pt x="8262" y="19278"/>
                  </a:lnTo>
                  <a:lnTo>
                    <a:pt x="6295" y="20458"/>
                  </a:lnTo>
                  <a:close/>
                  <a:moveTo>
                    <a:pt x="14163" y="16917"/>
                  </a:moveTo>
                  <a:lnTo>
                    <a:pt x="11016" y="18098"/>
                  </a:lnTo>
                  <a:lnTo>
                    <a:pt x="8655" y="18098"/>
                  </a:lnTo>
                  <a:lnTo>
                    <a:pt x="12983" y="12590"/>
                  </a:lnTo>
                  <a:lnTo>
                    <a:pt x="15344" y="14163"/>
                  </a:lnTo>
                  <a:lnTo>
                    <a:pt x="14163" y="16917"/>
                  </a:lnTo>
                  <a:close/>
                  <a:moveTo>
                    <a:pt x="15344" y="11016"/>
                  </a:moveTo>
                  <a:lnTo>
                    <a:pt x="13377" y="11803"/>
                  </a:lnTo>
                  <a:lnTo>
                    <a:pt x="16131" y="8262"/>
                  </a:lnTo>
                  <a:lnTo>
                    <a:pt x="17704" y="8262"/>
                  </a:lnTo>
                  <a:lnTo>
                    <a:pt x="15344" y="1101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46" name="Freeform: Shape 2840">
              <a:extLst>
                <a:ext uri="{FF2B5EF4-FFF2-40B4-BE49-F238E27FC236}">
                  <a16:creationId xmlns:a16="http://schemas.microsoft.com/office/drawing/2014/main" id="{09F545CD-BA3D-462A-9C68-E52630124BBC}"/>
                </a:ext>
              </a:extLst>
            </p:cNvPr>
            <p:cNvSpPr/>
            <p:nvPr/>
          </p:nvSpPr>
          <p:spPr>
            <a:xfrm>
              <a:off x="2755023" y="1824256"/>
              <a:ext cx="31474" cy="51145"/>
            </a:xfrm>
            <a:custGeom>
              <a:avLst/>
              <a:gdLst>
                <a:gd name="connsiteX0" fmla="*/ 10229 w 31474"/>
                <a:gd name="connsiteY0" fmla="*/ 53113 h 51145"/>
                <a:gd name="connsiteX1" fmla="*/ 13377 w 31474"/>
                <a:gd name="connsiteY1" fmla="*/ 52719 h 51145"/>
                <a:gd name="connsiteX2" fmla="*/ 16131 w 31474"/>
                <a:gd name="connsiteY2" fmla="*/ 49965 h 51145"/>
                <a:gd name="connsiteX3" fmla="*/ 18098 w 31474"/>
                <a:gd name="connsiteY3" fmla="*/ 47211 h 51145"/>
                <a:gd name="connsiteX4" fmla="*/ 20852 w 31474"/>
                <a:gd name="connsiteY4" fmla="*/ 45637 h 51145"/>
                <a:gd name="connsiteX5" fmla="*/ 23212 w 31474"/>
                <a:gd name="connsiteY5" fmla="*/ 42490 h 51145"/>
                <a:gd name="connsiteX6" fmla="*/ 20458 w 31474"/>
                <a:gd name="connsiteY6" fmla="*/ 43277 h 51145"/>
                <a:gd name="connsiteX7" fmla="*/ 17311 w 31474"/>
                <a:gd name="connsiteY7" fmla="*/ 43670 h 51145"/>
                <a:gd name="connsiteX8" fmla="*/ 20458 w 31474"/>
                <a:gd name="connsiteY8" fmla="*/ 42097 h 51145"/>
                <a:gd name="connsiteX9" fmla="*/ 23212 w 31474"/>
                <a:gd name="connsiteY9" fmla="*/ 40523 h 51145"/>
                <a:gd name="connsiteX10" fmla="*/ 26360 w 31474"/>
                <a:gd name="connsiteY10" fmla="*/ 38556 h 51145"/>
                <a:gd name="connsiteX11" fmla="*/ 29507 w 31474"/>
                <a:gd name="connsiteY11" fmla="*/ 36589 h 51145"/>
                <a:gd name="connsiteX12" fmla="*/ 26360 w 31474"/>
                <a:gd name="connsiteY12" fmla="*/ 36589 h 51145"/>
                <a:gd name="connsiteX13" fmla="*/ 23212 w 31474"/>
                <a:gd name="connsiteY13" fmla="*/ 36195 h 51145"/>
                <a:gd name="connsiteX14" fmla="*/ 26360 w 31474"/>
                <a:gd name="connsiteY14" fmla="*/ 35408 h 51145"/>
                <a:gd name="connsiteX15" fmla="*/ 28720 w 31474"/>
                <a:gd name="connsiteY15" fmla="*/ 32654 h 51145"/>
                <a:gd name="connsiteX16" fmla="*/ 25573 w 31474"/>
                <a:gd name="connsiteY16" fmla="*/ 30687 h 51145"/>
                <a:gd name="connsiteX17" fmla="*/ 22819 w 31474"/>
                <a:gd name="connsiteY17" fmla="*/ 30687 h 51145"/>
                <a:gd name="connsiteX18" fmla="*/ 25966 w 31474"/>
                <a:gd name="connsiteY18" fmla="*/ 29507 h 51145"/>
                <a:gd name="connsiteX19" fmla="*/ 29114 w 31474"/>
                <a:gd name="connsiteY19" fmla="*/ 29114 h 51145"/>
                <a:gd name="connsiteX20" fmla="*/ 25966 w 31474"/>
                <a:gd name="connsiteY20" fmla="*/ 27146 h 51145"/>
                <a:gd name="connsiteX21" fmla="*/ 22819 w 31474"/>
                <a:gd name="connsiteY21" fmla="*/ 27933 h 51145"/>
                <a:gd name="connsiteX22" fmla="*/ 19671 w 31474"/>
                <a:gd name="connsiteY22" fmla="*/ 29114 h 51145"/>
                <a:gd name="connsiteX23" fmla="*/ 22819 w 31474"/>
                <a:gd name="connsiteY23" fmla="*/ 27540 h 51145"/>
                <a:gd name="connsiteX24" fmla="*/ 25573 w 31474"/>
                <a:gd name="connsiteY24" fmla="*/ 25573 h 51145"/>
                <a:gd name="connsiteX25" fmla="*/ 28720 w 31474"/>
                <a:gd name="connsiteY25" fmla="*/ 25966 h 51145"/>
                <a:gd name="connsiteX26" fmla="*/ 31474 w 31474"/>
                <a:gd name="connsiteY26" fmla="*/ 28720 h 51145"/>
                <a:gd name="connsiteX27" fmla="*/ 32654 w 31474"/>
                <a:gd name="connsiteY27" fmla="*/ 25966 h 51145"/>
                <a:gd name="connsiteX28" fmla="*/ 32654 w 31474"/>
                <a:gd name="connsiteY28" fmla="*/ 20065 h 51145"/>
                <a:gd name="connsiteX29" fmla="*/ 34622 w 31474"/>
                <a:gd name="connsiteY29" fmla="*/ 17311 h 51145"/>
                <a:gd name="connsiteX30" fmla="*/ 34622 w 31474"/>
                <a:gd name="connsiteY30" fmla="*/ 14163 h 51145"/>
                <a:gd name="connsiteX31" fmla="*/ 34228 w 31474"/>
                <a:gd name="connsiteY31" fmla="*/ 11409 h 51145"/>
                <a:gd name="connsiteX32" fmla="*/ 31081 w 31474"/>
                <a:gd name="connsiteY32" fmla="*/ 10229 h 51145"/>
                <a:gd name="connsiteX33" fmla="*/ 28327 w 31474"/>
                <a:gd name="connsiteY33" fmla="*/ 9442 h 51145"/>
                <a:gd name="connsiteX34" fmla="*/ 30687 w 31474"/>
                <a:gd name="connsiteY34" fmla="*/ 6688 h 51145"/>
                <a:gd name="connsiteX35" fmla="*/ 33441 w 31474"/>
                <a:gd name="connsiteY35" fmla="*/ 3541 h 51145"/>
                <a:gd name="connsiteX36" fmla="*/ 33048 w 31474"/>
                <a:gd name="connsiteY36" fmla="*/ 787 h 51145"/>
                <a:gd name="connsiteX37" fmla="*/ 30294 w 31474"/>
                <a:gd name="connsiteY37" fmla="*/ 1180 h 51145"/>
                <a:gd name="connsiteX38" fmla="*/ 27540 w 31474"/>
                <a:gd name="connsiteY38" fmla="*/ 787 h 51145"/>
                <a:gd name="connsiteX39" fmla="*/ 24392 w 31474"/>
                <a:gd name="connsiteY39" fmla="*/ 0 h 51145"/>
                <a:gd name="connsiteX40" fmla="*/ 21245 w 31474"/>
                <a:gd name="connsiteY40" fmla="*/ 1967 h 51145"/>
                <a:gd name="connsiteX41" fmla="*/ 18491 w 31474"/>
                <a:gd name="connsiteY41" fmla="*/ 4328 h 51145"/>
                <a:gd name="connsiteX42" fmla="*/ 21638 w 31474"/>
                <a:gd name="connsiteY42" fmla="*/ 5901 h 51145"/>
                <a:gd name="connsiteX43" fmla="*/ 24392 w 31474"/>
                <a:gd name="connsiteY43" fmla="*/ 5508 h 51145"/>
                <a:gd name="connsiteX44" fmla="*/ 23999 w 31474"/>
                <a:gd name="connsiteY44" fmla="*/ 6688 h 51145"/>
                <a:gd name="connsiteX45" fmla="*/ 22425 w 31474"/>
                <a:gd name="connsiteY45" fmla="*/ 6295 h 51145"/>
                <a:gd name="connsiteX46" fmla="*/ 19671 w 31474"/>
                <a:gd name="connsiteY46" fmla="*/ 7082 h 51145"/>
                <a:gd name="connsiteX47" fmla="*/ 16917 w 31474"/>
                <a:gd name="connsiteY47" fmla="*/ 8655 h 51145"/>
                <a:gd name="connsiteX48" fmla="*/ 13770 w 31474"/>
                <a:gd name="connsiteY48" fmla="*/ 8655 h 51145"/>
                <a:gd name="connsiteX49" fmla="*/ 11016 w 31474"/>
                <a:gd name="connsiteY49" fmla="*/ 10229 h 51145"/>
                <a:gd name="connsiteX50" fmla="*/ 8262 w 31474"/>
                <a:gd name="connsiteY50" fmla="*/ 11409 h 51145"/>
                <a:gd name="connsiteX51" fmla="*/ 6688 w 31474"/>
                <a:gd name="connsiteY51" fmla="*/ 14163 h 51145"/>
                <a:gd name="connsiteX52" fmla="*/ 9836 w 31474"/>
                <a:gd name="connsiteY52" fmla="*/ 12983 h 51145"/>
                <a:gd name="connsiteX53" fmla="*/ 12983 w 31474"/>
                <a:gd name="connsiteY53" fmla="*/ 12196 h 51145"/>
                <a:gd name="connsiteX54" fmla="*/ 15737 w 31474"/>
                <a:gd name="connsiteY54" fmla="*/ 10623 h 51145"/>
                <a:gd name="connsiteX55" fmla="*/ 18491 w 31474"/>
                <a:gd name="connsiteY55" fmla="*/ 11016 h 51145"/>
                <a:gd name="connsiteX56" fmla="*/ 21245 w 31474"/>
                <a:gd name="connsiteY56" fmla="*/ 9836 h 51145"/>
                <a:gd name="connsiteX57" fmla="*/ 23212 w 31474"/>
                <a:gd name="connsiteY57" fmla="*/ 8262 h 51145"/>
                <a:gd name="connsiteX58" fmla="*/ 22819 w 31474"/>
                <a:gd name="connsiteY58" fmla="*/ 8655 h 51145"/>
                <a:gd name="connsiteX59" fmla="*/ 21245 w 31474"/>
                <a:gd name="connsiteY59" fmla="*/ 11409 h 51145"/>
                <a:gd name="connsiteX60" fmla="*/ 18491 w 31474"/>
                <a:gd name="connsiteY60" fmla="*/ 14163 h 51145"/>
                <a:gd name="connsiteX61" fmla="*/ 18098 w 31474"/>
                <a:gd name="connsiteY61" fmla="*/ 15344 h 51145"/>
                <a:gd name="connsiteX62" fmla="*/ 17311 w 31474"/>
                <a:gd name="connsiteY62" fmla="*/ 17311 h 51145"/>
                <a:gd name="connsiteX63" fmla="*/ 14163 w 31474"/>
                <a:gd name="connsiteY63" fmla="*/ 19278 h 51145"/>
                <a:gd name="connsiteX64" fmla="*/ 11016 w 31474"/>
                <a:gd name="connsiteY64" fmla="*/ 19671 h 51145"/>
                <a:gd name="connsiteX65" fmla="*/ 8262 w 31474"/>
                <a:gd name="connsiteY65" fmla="*/ 21638 h 51145"/>
                <a:gd name="connsiteX66" fmla="*/ 8262 w 31474"/>
                <a:gd name="connsiteY66" fmla="*/ 24392 h 51145"/>
                <a:gd name="connsiteX67" fmla="*/ 11016 w 31474"/>
                <a:gd name="connsiteY67" fmla="*/ 24392 h 51145"/>
                <a:gd name="connsiteX68" fmla="*/ 14163 w 31474"/>
                <a:gd name="connsiteY68" fmla="*/ 23212 h 51145"/>
                <a:gd name="connsiteX69" fmla="*/ 16917 w 31474"/>
                <a:gd name="connsiteY69" fmla="*/ 22425 h 51145"/>
                <a:gd name="connsiteX70" fmla="*/ 11016 w 31474"/>
                <a:gd name="connsiteY70" fmla="*/ 25966 h 51145"/>
                <a:gd name="connsiteX71" fmla="*/ 10623 w 31474"/>
                <a:gd name="connsiteY71" fmla="*/ 28720 h 51145"/>
                <a:gd name="connsiteX72" fmla="*/ 11803 w 31474"/>
                <a:gd name="connsiteY72" fmla="*/ 31868 h 51145"/>
                <a:gd name="connsiteX73" fmla="*/ 8655 w 31474"/>
                <a:gd name="connsiteY73" fmla="*/ 31868 h 51145"/>
                <a:gd name="connsiteX74" fmla="*/ 5508 w 31474"/>
                <a:gd name="connsiteY74" fmla="*/ 31081 h 51145"/>
                <a:gd name="connsiteX75" fmla="*/ 2754 w 31474"/>
                <a:gd name="connsiteY75" fmla="*/ 31474 h 51145"/>
                <a:gd name="connsiteX76" fmla="*/ 0 w 31474"/>
                <a:gd name="connsiteY76" fmla="*/ 34228 h 51145"/>
                <a:gd name="connsiteX77" fmla="*/ 3147 w 31474"/>
                <a:gd name="connsiteY77" fmla="*/ 34622 h 51145"/>
                <a:gd name="connsiteX78" fmla="*/ 6295 w 31474"/>
                <a:gd name="connsiteY78" fmla="*/ 34622 h 51145"/>
                <a:gd name="connsiteX79" fmla="*/ 3147 w 31474"/>
                <a:gd name="connsiteY79" fmla="*/ 35802 h 51145"/>
                <a:gd name="connsiteX80" fmla="*/ 6295 w 31474"/>
                <a:gd name="connsiteY80" fmla="*/ 36195 h 51145"/>
                <a:gd name="connsiteX81" fmla="*/ 9049 w 31474"/>
                <a:gd name="connsiteY81" fmla="*/ 34622 h 51145"/>
                <a:gd name="connsiteX82" fmla="*/ 8262 w 31474"/>
                <a:gd name="connsiteY82" fmla="*/ 37376 h 51145"/>
                <a:gd name="connsiteX83" fmla="*/ 11409 w 31474"/>
                <a:gd name="connsiteY83" fmla="*/ 38556 h 51145"/>
                <a:gd name="connsiteX84" fmla="*/ 13377 w 31474"/>
                <a:gd name="connsiteY84" fmla="*/ 35408 h 51145"/>
                <a:gd name="connsiteX85" fmla="*/ 12196 w 31474"/>
                <a:gd name="connsiteY85" fmla="*/ 38556 h 51145"/>
                <a:gd name="connsiteX86" fmla="*/ 9442 w 31474"/>
                <a:gd name="connsiteY86" fmla="*/ 40523 h 51145"/>
                <a:gd name="connsiteX87" fmla="*/ 12590 w 31474"/>
                <a:gd name="connsiteY87" fmla="*/ 39736 h 51145"/>
                <a:gd name="connsiteX88" fmla="*/ 11016 w 31474"/>
                <a:gd name="connsiteY88" fmla="*/ 41703 h 51145"/>
                <a:gd name="connsiteX89" fmla="*/ 8262 w 31474"/>
                <a:gd name="connsiteY89" fmla="*/ 43670 h 51145"/>
                <a:gd name="connsiteX90" fmla="*/ 11016 w 31474"/>
                <a:gd name="connsiteY90" fmla="*/ 44064 h 51145"/>
                <a:gd name="connsiteX91" fmla="*/ 10623 w 31474"/>
                <a:gd name="connsiteY91" fmla="*/ 46818 h 51145"/>
                <a:gd name="connsiteX92" fmla="*/ 7869 w 31474"/>
                <a:gd name="connsiteY92" fmla="*/ 49572 h 51145"/>
                <a:gd name="connsiteX93" fmla="*/ 10623 w 31474"/>
                <a:gd name="connsiteY93" fmla="*/ 48785 h 51145"/>
                <a:gd name="connsiteX94" fmla="*/ 7475 w 31474"/>
                <a:gd name="connsiteY94" fmla="*/ 51145 h 5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31474" h="51145">
                  <a:moveTo>
                    <a:pt x="10229" y="53113"/>
                  </a:moveTo>
                  <a:lnTo>
                    <a:pt x="13377" y="52719"/>
                  </a:lnTo>
                  <a:lnTo>
                    <a:pt x="16131" y="49965"/>
                  </a:lnTo>
                  <a:lnTo>
                    <a:pt x="18098" y="47211"/>
                  </a:lnTo>
                  <a:lnTo>
                    <a:pt x="20852" y="45637"/>
                  </a:lnTo>
                  <a:lnTo>
                    <a:pt x="23212" y="42490"/>
                  </a:lnTo>
                  <a:lnTo>
                    <a:pt x="20458" y="43277"/>
                  </a:lnTo>
                  <a:lnTo>
                    <a:pt x="17311" y="43670"/>
                  </a:lnTo>
                  <a:lnTo>
                    <a:pt x="20458" y="42097"/>
                  </a:lnTo>
                  <a:lnTo>
                    <a:pt x="23212" y="40523"/>
                  </a:lnTo>
                  <a:lnTo>
                    <a:pt x="26360" y="38556"/>
                  </a:lnTo>
                  <a:lnTo>
                    <a:pt x="29507" y="36589"/>
                  </a:lnTo>
                  <a:lnTo>
                    <a:pt x="26360" y="36589"/>
                  </a:lnTo>
                  <a:lnTo>
                    <a:pt x="23212" y="36195"/>
                  </a:lnTo>
                  <a:lnTo>
                    <a:pt x="26360" y="35408"/>
                  </a:lnTo>
                  <a:lnTo>
                    <a:pt x="28720" y="32654"/>
                  </a:lnTo>
                  <a:lnTo>
                    <a:pt x="25573" y="30687"/>
                  </a:lnTo>
                  <a:lnTo>
                    <a:pt x="22819" y="30687"/>
                  </a:lnTo>
                  <a:lnTo>
                    <a:pt x="25966" y="29507"/>
                  </a:lnTo>
                  <a:lnTo>
                    <a:pt x="29114" y="29114"/>
                  </a:lnTo>
                  <a:lnTo>
                    <a:pt x="25966" y="27146"/>
                  </a:lnTo>
                  <a:lnTo>
                    <a:pt x="22819" y="27933"/>
                  </a:lnTo>
                  <a:lnTo>
                    <a:pt x="19671" y="29114"/>
                  </a:lnTo>
                  <a:lnTo>
                    <a:pt x="22819" y="27540"/>
                  </a:lnTo>
                  <a:lnTo>
                    <a:pt x="25573" y="25573"/>
                  </a:lnTo>
                  <a:lnTo>
                    <a:pt x="28720" y="25966"/>
                  </a:lnTo>
                  <a:lnTo>
                    <a:pt x="31474" y="28720"/>
                  </a:lnTo>
                  <a:lnTo>
                    <a:pt x="32654" y="25966"/>
                  </a:lnTo>
                  <a:lnTo>
                    <a:pt x="32654" y="20065"/>
                  </a:lnTo>
                  <a:lnTo>
                    <a:pt x="34622" y="17311"/>
                  </a:lnTo>
                  <a:lnTo>
                    <a:pt x="34622" y="14163"/>
                  </a:lnTo>
                  <a:lnTo>
                    <a:pt x="34228" y="11409"/>
                  </a:lnTo>
                  <a:lnTo>
                    <a:pt x="31081" y="10229"/>
                  </a:lnTo>
                  <a:lnTo>
                    <a:pt x="28327" y="9442"/>
                  </a:lnTo>
                  <a:lnTo>
                    <a:pt x="30687" y="6688"/>
                  </a:lnTo>
                  <a:lnTo>
                    <a:pt x="33441" y="3541"/>
                  </a:lnTo>
                  <a:lnTo>
                    <a:pt x="33048" y="787"/>
                  </a:lnTo>
                  <a:lnTo>
                    <a:pt x="30294" y="1180"/>
                  </a:lnTo>
                  <a:lnTo>
                    <a:pt x="27540" y="787"/>
                  </a:lnTo>
                  <a:lnTo>
                    <a:pt x="24392" y="0"/>
                  </a:lnTo>
                  <a:lnTo>
                    <a:pt x="21245" y="1967"/>
                  </a:lnTo>
                  <a:lnTo>
                    <a:pt x="18491" y="4328"/>
                  </a:lnTo>
                  <a:lnTo>
                    <a:pt x="21638" y="5901"/>
                  </a:lnTo>
                  <a:lnTo>
                    <a:pt x="24392" y="5508"/>
                  </a:lnTo>
                  <a:lnTo>
                    <a:pt x="23999" y="6688"/>
                  </a:lnTo>
                  <a:lnTo>
                    <a:pt x="22425" y="6295"/>
                  </a:lnTo>
                  <a:lnTo>
                    <a:pt x="19671" y="7082"/>
                  </a:lnTo>
                  <a:lnTo>
                    <a:pt x="16917" y="8655"/>
                  </a:lnTo>
                  <a:lnTo>
                    <a:pt x="13770" y="8655"/>
                  </a:lnTo>
                  <a:lnTo>
                    <a:pt x="11016" y="10229"/>
                  </a:lnTo>
                  <a:lnTo>
                    <a:pt x="8262" y="11409"/>
                  </a:lnTo>
                  <a:lnTo>
                    <a:pt x="6688" y="14163"/>
                  </a:lnTo>
                  <a:lnTo>
                    <a:pt x="9836" y="12983"/>
                  </a:lnTo>
                  <a:lnTo>
                    <a:pt x="12983" y="12196"/>
                  </a:lnTo>
                  <a:lnTo>
                    <a:pt x="15737" y="10623"/>
                  </a:lnTo>
                  <a:lnTo>
                    <a:pt x="18491" y="11016"/>
                  </a:lnTo>
                  <a:lnTo>
                    <a:pt x="21245" y="9836"/>
                  </a:lnTo>
                  <a:lnTo>
                    <a:pt x="23212" y="8262"/>
                  </a:lnTo>
                  <a:lnTo>
                    <a:pt x="22819" y="8655"/>
                  </a:lnTo>
                  <a:lnTo>
                    <a:pt x="21245" y="11409"/>
                  </a:lnTo>
                  <a:lnTo>
                    <a:pt x="18491" y="14163"/>
                  </a:lnTo>
                  <a:lnTo>
                    <a:pt x="18098" y="15344"/>
                  </a:lnTo>
                  <a:lnTo>
                    <a:pt x="17311" y="17311"/>
                  </a:lnTo>
                  <a:lnTo>
                    <a:pt x="14163" y="19278"/>
                  </a:lnTo>
                  <a:lnTo>
                    <a:pt x="11016" y="19671"/>
                  </a:lnTo>
                  <a:lnTo>
                    <a:pt x="8262" y="21638"/>
                  </a:lnTo>
                  <a:lnTo>
                    <a:pt x="8262" y="24392"/>
                  </a:lnTo>
                  <a:lnTo>
                    <a:pt x="11016" y="24392"/>
                  </a:lnTo>
                  <a:lnTo>
                    <a:pt x="14163" y="23212"/>
                  </a:lnTo>
                  <a:lnTo>
                    <a:pt x="16917" y="22425"/>
                  </a:lnTo>
                  <a:lnTo>
                    <a:pt x="11016" y="25966"/>
                  </a:lnTo>
                  <a:lnTo>
                    <a:pt x="10623" y="28720"/>
                  </a:lnTo>
                  <a:lnTo>
                    <a:pt x="11803" y="31868"/>
                  </a:lnTo>
                  <a:lnTo>
                    <a:pt x="8655" y="31868"/>
                  </a:lnTo>
                  <a:lnTo>
                    <a:pt x="5508" y="31081"/>
                  </a:lnTo>
                  <a:lnTo>
                    <a:pt x="2754" y="31474"/>
                  </a:lnTo>
                  <a:lnTo>
                    <a:pt x="0" y="34228"/>
                  </a:lnTo>
                  <a:lnTo>
                    <a:pt x="3147" y="34622"/>
                  </a:lnTo>
                  <a:lnTo>
                    <a:pt x="6295" y="34622"/>
                  </a:lnTo>
                  <a:lnTo>
                    <a:pt x="3147" y="35802"/>
                  </a:lnTo>
                  <a:lnTo>
                    <a:pt x="6295" y="36195"/>
                  </a:lnTo>
                  <a:lnTo>
                    <a:pt x="9049" y="34622"/>
                  </a:lnTo>
                  <a:lnTo>
                    <a:pt x="8262" y="37376"/>
                  </a:lnTo>
                  <a:lnTo>
                    <a:pt x="11409" y="38556"/>
                  </a:lnTo>
                  <a:lnTo>
                    <a:pt x="13377" y="35408"/>
                  </a:lnTo>
                  <a:lnTo>
                    <a:pt x="12196" y="38556"/>
                  </a:lnTo>
                  <a:lnTo>
                    <a:pt x="9442" y="40523"/>
                  </a:lnTo>
                  <a:lnTo>
                    <a:pt x="12590" y="39736"/>
                  </a:lnTo>
                  <a:lnTo>
                    <a:pt x="11016" y="41703"/>
                  </a:lnTo>
                  <a:lnTo>
                    <a:pt x="8262" y="43670"/>
                  </a:lnTo>
                  <a:lnTo>
                    <a:pt x="11016" y="44064"/>
                  </a:lnTo>
                  <a:lnTo>
                    <a:pt x="10623" y="46818"/>
                  </a:lnTo>
                  <a:lnTo>
                    <a:pt x="7869" y="49572"/>
                  </a:lnTo>
                  <a:lnTo>
                    <a:pt x="10623" y="48785"/>
                  </a:lnTo>
                  <a:lnTo>
                    <a:pt x="7475" y="5114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47" name="Freeform: Shape 2841">
              <a:extLst>
                <a:ext uri="{FF2B5EF4-FFF2-40B4-BE49-F238E27FC236}">
                  <a16:creationId xmlns:a16="http://schemas.microsoft.com/office/drawing/2014/main" id="{DE98B8C6-4927-4BAF-BFEA-151B61F30B70}"/>
                </a:ext>
              </a:extLst>
            </p:cNvPr>
            <p:cNvSpPr/>
            <p:nvPr/>
          </p:nvSpPr>
          <p:spPr>
            <a:xfrm>
              <a:off x="2779415" y="1930088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3147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3147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48" name="Freeform: Shape 2842">
              <a:extLst>
                <a:ext uri="{FF2B5EF4-FFF2-40B4-BE49-F238E27FC236}">
                  <a16:creationId xmlns:a16="http://schemas.microsoft.com/office/drawing/2014/main" id="{F6566176-88EF-4527-9C66-77DE5274D877}"/>
                </a:ext>
              </a:extLst>
            </p:cNvPr>
            <p:cNvSpPr/>
            <p:nvPr/>
          </p:nvSpPr>
          <p:spPr>
            <a:xfrm>
              <a:off x="2801447" y="1914744"/>
              <a:ext cx="7869" cy="3934"/>
            </a:xfrm>
            <a:custGeom>
              <a:avLst/>
              <a:gdLst>
                <a:gd name="connsiteX0" fmla="*/ 5901 w 7868"/>
                <a:gd name="connsiteY0" fmla="*/ 6295 h 3934"/>
                <a:gd name="connsiteX1" fmla="*/ 7869 w 7868"/>
                <a:gd name="connsiteY1" fmla="*/ 3147 h 3934"/>
                <a:gd name="connsiteX2" fmla="*/ 9442 w 7868"/>
                <a:gd name="connsiteY2" fmla="*/ 393 h 3934"/>
                <a:gd name="connsiteX3" fmla="*/ 8655 w 7868"/>
                <a:gd name="connsiteY3" fmla="*/ 0 h 3934"/>
                <a:gd name="connsiteX4" fmla="*/ 5901 w 7868"/>
                <a:gd name="connsiteY4" fmla="*/ 2361 h 3934"/>
                <a:gd name="connsiteX5" fmla="*/ 2754 w 7868"/>
                <a:gd name="connsiteY5" fmla="*/ 3934 h 3934"/>
                <a:gd name="connsiteX6" fmla="*/ 0 w 7868"/>
                <a:gd name="connsiteY6" fmla="*/ 7082 h 3934"/>
                <a:gd name="connsiteX7" fmla="*/ 2754 w 7868"/>
                <a:gd name="connsiteY7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901" y="6295"/>
                  </a:moveTo>
                  <a:lnTo>
                    <a:pt x="7869" y="3147"/>
                  </a:lnTo>
                  <a:lnTo>
                    <a:pt x="9442" y="393"/>
                  </a:lnTo>
                  <a:lnTo>
                    <a:pt x="8655" y="0"/>
                  </a:lnTo>
                  <a:lnTo>
                    <a:pt x="5901" y="2361"/>
                  </a:lnTo>
                  <a:lnTo>
                    <a:pt x="2754" y="3934"/>
                  </a:lnTo>
                  <a:lnTo>
                    <a:pt x="0" y="7082"/>
                  </a:lnTo>
                  <a:lnTo>
                    <a:pt x="2754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49" name="Freeform: Shape 2843">
              <a:extLst>
                <a:ext uri="{FF2B5EF4-FFF2-40B4-BE49-F238E27FC236}">
                  <a16:creationId xmlns:a16="http://schemas.microsoft.com/office/drawing/2014/main" id="{F39AB1B8-1A5A-4EB9-A102-B05C508B9312}"/>
                </a:ext>
              </a:extLst>
            </p:cNvPr>
            <p:cNvSpPr/>
            <p:nvPr/>
          </p:nvSpPr>
          <p:spPr>
            <a:xfrm>
              <a:off x="2802627" y="1937956"/>
              <a:ext cx="7869" cy="3934"/>
            </a:xfrm>
            <a:custGeom>
              <a:avLst/>
              <a:gdLst>
                <a:gd name="connsiteX0" fmla="*/ 0 w 7868"/>
                <a:gd name="connsiteY0" fmla="*/ 7082 h 3934"/>
                <a:gd name="connsiteX1" fmla="*/ 3147 w 7868"/>
                <a:gd name="connsiteY1" fmla="*/ 4721 h 3934"/>
                <a:gd name="connsiteX2" fmla="*/ 5901 w 7868"/>
                <a:gd name="connsiteY2" fmla="*/ 2754 h 3934"/>
                <a:gd name="connsiteX3" fmla="*/ 9049 w 7868"/>
                <a:gd name="connsiteY3" fmla="*/ 0 h 3934"/>
                <a:gd name="connsiteX4" fmla="*/ 6688 w 7868"/>
                <a:gd name="connsiteY4" fmla="*/ 1180 h 3934"/>
                <a:gd name="connsiteX5" fmla="*/ 3934 w 7868"/>
                <a:gd name="connsiteY5" fmla="*/ 1574 h 3934"/>
                <a:gd name="connsiteX6" fmla="*/ 2361 w 7868"/>
                <a:gd name="connsiteY6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0" y="7082"/>
                  </a:moveTo>
                  <a:lnTo>
                    <a:pt x="3147" y="4721"/>
                  </a:lnTo>
                  <a:lnTo>
                    <a:pt x="5901" y="2754"/>
                  </a:lnTo>
                  <a:lnTo>
                    <a:pt x="9049" y="0"/>
                  </a:lnTo>
                  <a:lnTo>
                    <a:pt x="6688" y="1180"/>
                  </a:lnTo>
                  <a:lnTo>
                    <a:pt x="3934" y="1574"/>
                  </a:lnTo>
                  <a:lnTo>
                    <a:pt x="2361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50" name="Freeform: Shape 2844">
              <a:extLst>
                <a:ext uri="{FF2B5EF4-FFF2-40B4-BE49-F238E27FC236}">
                  <a16:creationId xmlns:a16="http://schemas.microsoft.com/office/drawing/2014/main" id="{7C01157B-5C8C-49EA-8FA5-44BDC3F5A413}"/>
                </a:ext>
              </a:extLst>
            </p:cNvPr>
            <p:cNvSpPr/>
            <p:nvPr/>
          </p:nvSpPr>
          <p:spPr>
            <a:xfrm>
              <a:off x="2792398" y="1921432"/>
              <a:ext cx="3934" cy="3934"/>
            </a:xfrm>
            <a:custGeom>
              <a:avLst/>
              <a:gdLst>
                <a:gd name="connsiteX0" fmla="*/ 0 w 3934"/>
                <a:gd name="connsiteY0" fmla="*/ 4328 h 3934"/>
                <a:gd name="connsiteX1" fmla="*/ 393 w 3934"/>
                <a:gd name="connsiteY1" fmla="*/ 7475 h 3934"/>
                <a:gd name="connsiteX2" fmla="*/ 3147 w 3934"/>
                <a:gd name="connsiteY2" fmla="*/ 5901 h 3934"/>
                <a:gd name="connsiteX3" fmla="*/ 5901 w 3934"/>
                <a:gd name="connsiteY3" fmla="*/ 3147 h 3934"/>
                <a:gd name="connsiteX4" fmla="*/ 6295 w 3934"/>
                <a:gd name="connsiteY4" fmla="*/ 0 h 3934"/>
                <a:gd name="connsiteX5" fmla="*/ 5901 w 3934"/>
                <a:gd name="connsiteY5" fmla="*/ 0 h 3934"/>
                <a:gd name="connsiteX6" fmla="*/ 3147 w 3934"/>
                <a:gd name="connsiteY6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0" y="4328"/>
                  </a:moveTo>
                  <a:lnTo>
                    <a:pt x="393" y="7475"/>
                  </a:lnTo>
                  <a:lnTo>
                    <a:pt x="3147" y="5901"/>
                  </a:lnTo>
                  <a:lnTo>
                    <a:pt x="5901" y="3147"/>
                  </a:lnTo>
                  <a:lnTo>
                    <a:pt x="6295" y="0"/>
                  </a:lnTo>
                  <a:lnTo>
                    <a:pt x="5901" y="0"/>
                  </a:lnTo>
                  <a:lnTo>
                    <a:pt x="3147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51" name="Freeform: Shape 2845">
              <a:extLst>
                <a:ext uri="{FF2B5EF4-FFF2-40B4-BE49-F238E27FC236}">
                  <a16:creationId xmlns:a16="http://schemas.microsoft.com/office/drawing/2014/main" id="{DC68D589-D65C-4642-BA8C-185EE9C068B5}"/>
                </a:ext>
              </a:extLst>
            </p:cNvPr>
            <p:cNvSpPr/>
            <p:nvPr/>
          </p:nvSpPr>
          <p:spPr>
            <a:xfrm>
              <a:off x="2800660" y="1936382"/>
              <a:ext cx="3934" cy="3934"/>
            </a:xfrm>
            <a:custGeom>
              <a:avLst/>
              <a:gdLst>
                <a:gd name="connsiteX0" fmla="*/ 0 w 3934"/>
                <a:gd name="connsiteY0" fmla="*/ 5508 h 3934"/>
                <a:gd name="connsiteX1" fmla="*/ 2754 w 3934"/>
                <a:gd name="connsiteY1" fmla="*/ 2754 h 3934"/>
                <a:gd name="connsiteX2" fmla="*/ 3934 w 3934"/>
                <a:gd name="connsiteY2" fmla="*/ 0 h 3934"/>
                <a:gd name="connsiteX3" fmla="*/ 1180 w 3934"/>
                <a:gd name="connsiteY3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0" y="5508"/>
                  </a:moveTo>
                  <a:lnTo>
                    <a:pt x="2754" y="2754"/>
                  </a:lnTo>
                  <a:lnTo>
                    <a:pt x="3934" y="0"/>
                  </a:lnTo>
                  <a:lnTo>
                    <a:pt x="118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52" name="Freeform: Shape 2846">
              <a:extLst>
                <a:ext uri="{FF2B5EF4-FFF2-40B4-BE49-F238E27FC236}">
                  <a16:creationId xmlns:a16="http://schemas.microsoft.com/office/drawing/2014/main" id="{391FA5A2-A1E7-4C73-8B90-7B466250C6C6}"/>
                </a:ext>
              </a:extLst>
            </p:cNvPr>
            <p:cNvSpPr/>
            <p:nvPr/>
          </p:nvSpPr>
          <p:spPr>
            <a:xfrm>
              <a:off x="2788857" y="1943858"/>
              <a:ext cx="7869" cy="3934"/>
            </a:xfrm>
            <a:custGeom>
              <a:avLst/>
              <a:gdLst>
                <a:gd name="connsiteX0" fmla="*/ 7082 w 7868"/>
                <a:gd name="connsiteY0" fmla="*/ 2754 h 3934"/>
                <a:gd name="connsiteX1" fmla="*/ 8655 w 7868"/>
                <a:gd name="connsiteY1" fmla="*/ 0 h 3934"/>
                <a:gd name="connsiteX2" fmla="*/ 7475 w 7868"/>
                <a:gd name="connsiteY2" fmla="*/ 393 h 3934"/>
                <a:gd name="connsiteX3" fmla="*/ 4721 w 7868"/>
                <a:gd name="connsiteY3" fmla="*/ 1180 h 3934"/>
                <a:gd name="connsiteX4" fmla="*/ 1574 w 7868"/>
                <a:gd name="connsiteY4" fmla="*/ 1967 h 3934"/>
                <a:gd name="connsiteX5" fmla="*/ 0 w 7868"/>
                <a:gd name="connsiteY5" fmla="*/ 5115 h 3934"/>
                <a:gd name="connsiteX6" fmla="*/ 1180 w 7868"/>
                <a:gd name="connsiteY6" fmla="*/ 5508 h 3934"/>
                <a:gd name="connsiteX7" fmla="*/ 2754 w 7868"/>
                <a:gd name="connsiteY7" fmla="*/ 6295 h 3934"/>
                <a:gd name="connsiteX8" fmla="*/ 5508 w 7868"/>
                <a:gd name="connsiteY8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7082" y="2754"/>
                  </a:moveTo>
                  <a:lnTo>
                    <a:pt x="8655" y="0"/>
                  </a:lnTo>
                  <a:lnTo>
                    <a:pt x="7475" y="393"/>
                  </a:lnTo>
                  <a:lnTo>
                    <a:pt x="4721" y="1180"/>
                  </a:lnTo>
                  <a:lnTo>
                    <a:pt x="1574" y="1967"/>
                  </a:lnTo>
                  <a:lnTo>
                    <a:pt x="0" y="5115"/>
                  </a:lnTo>
                  <a:lnTo>
                    <a:pt x="1180" y="5508"/>
                  </a:lnTo>
                  <a:lnTo>
                    <a:pt x="2754" y="6295"/>
                  </a:lnTo>
                  <a:lnTo>
                    <a:pt x="5508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53" name="Freeform: Shape 2847">
              <a:extLst>
                <a:ext uri="{FF2B5EF4-FFF2-40B4-BE49-F238E27FC236}">
                  <a16:creationId xmlns:a16="http://schemas.microsoft.com/office/drawing/2014/main" id="{D54295B4-ED5D-4761-BFBD-EAAC1EA6C338}"/>
                </a:ext>
              </a:extLst>
            </p:cNvPr>
            <p:cNvSpPr/>
            <p:nvPr/>
          </p:nvSpPr>
          <p:spPr>
            <a:xfrm>
              <a:off x="2720008" y="1931268"/>
              <a:ext cx="7869" cy="3934"/>
            </a:xfrm>
            <a:custGeom>
              <a:avLst/>
              <a:gdLst>
                <a:gd name="connsiteX0" fmla="*/ 8262 w 7868"/>
                <a:gd name="connsiteY0" fmla="*/ 787 h 3934"/>
                <a:gd name="connsiteX1" fmla="*/ 5508 w 7868"/>
                <a:gd name="connsiteY1" fmla="*/ 393 h 3934"/>
                <a:gd name="connsiteX2" fmla="*/ 2361 w 7868"/>
                <a:gd name="connsiteY2" fmla="*/ 0 h 3934"/>
                <a:gd name="connsiteX3" fmla="*/ 0 w 7868"/>
                <a:gd name="connsiteY3" fmla="*/ 2361 h 3934"/>
                <a:gd name="connsiteX4" fmla="*/ 2754 w 7868"/>
                <a:gd name="connsiteY4" fmla="*/ 5114 h 3934"/>
                <a:gd name="connsiteX5" fmla="*/ 5901 w 7868"/>
                <a:gd name="connsiteY5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8262" y="787"/>
                  </a:moveTo>
                  <a:lnTo>
                    <a:pt x="5508" y="393"/>
                  </a:lnTo>
                  <a:lnTo>
                    <a:pt x="2361" y="0"/>
                  </a:lnTo>
                  <a:lnTo>
                    <a:pt x="0" y="2361"/>
                  </a:lnTo>
                  <a:lnTo>
                    <a:pt x="2754" y="5114"/>
                  </a:lnTo>
                  <a:lnTo>
                    <a:pt x="5901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54" name="Freeform: Shape 2848">
              <a:extLst>
                <a:ext uri="{FF2B5EF4-FFF2-40B4-BE49-F238E27FC236}">
                  <a16:creationId xmlns:a16="http://schemas.microsoft.com/office/drawing/2014/main" id="{24FAB347-9241-4136-A484-54D55F02561C}"/>
                </a:ext>
              </a:extLst>
            </p:cNvPr>
            <p:cNvSpPr/>
            <p:nvPr/>
          </p:nvSpPr>
          <p:spPr>
            <a:xfrm>
              <a:off x="2772333" y="1911597"/>
              <a:ext cx="7869" cy="11803"/>
            </a:xfrm>
            <a:custGeom>
              <a:avLst/>
              <a:gdLst>
                <a:gd name="connsiteX0" fmla="*/ 3934 w 7868"/>
                <a:gd name="connsiteY0" fmla="*/ 15344 h 11802"/>
                <a:gd name="connsiteX1" fmla="*/ 6688 w 7868"/>
                <a:gd name="connsiteY1" fmla="*/ 14950 h 11802"/>
                <a:gd name="connsiteX2" fmla="*/ 9836 w 7868"/>
                <a:gd name="connsiteY2" fmla="*/ 14163 h 11802"/>
                <a:gd name="connsiteX3" fmla="*/ 11016 w 7868"/>
                <a:gd name="connsiteY3" fmla="*/ 11409 h 11802"/>
                <a:gd name="connsiteX4" fmla="*/ 11409 w 7868"/>
                <a:gd name="connsiteY4" fmla="*/ 8262 h 11802"/>
                <a:gd name="connsiteX5" fmla="*/ 11016 w 7868"/>
                <a:gd name="connsiteY5" fmla="*/ 5508 h 11802"/>
                <a:gd name="connsiteX6" fmla="*/ 9049 w 7868"/>
                <a:gd name="connsiteY6" fmla="*/ 3147 h 11802"/>
                <a:gd name="connsiteX7" fmla="*/ 5901 w 7868"/>
                <a:gd name="connsiteY7" fmla="*/ 1180 h 11802"/>
                <a:gd name="connsiteX8" fmla="*/ 3147 w 7868"/>
                <a:gd name="connsiteY8" fmla="*/ 0 h 11802"/>
                <a:gd name="connsiteX9" fmla="*/ 0 w 7868"/>
                <a:gd name="connsiteY9" fmla="*/ 2361 h 11802"/>
                <a:gd name="connsiteX10" fmla="*/ 787 w 7868"/>
                <a:gd name="connsiteY10" fmla="*/ 5114 h 11802"/>
                <a:gd name="connsiteX11" fmla="*/ 1180 w 7868"/>
                <a:gd name="connsiteY11" fmla="*/ 7869 h 11802"/>
                <a:gd name="connsiteX12" fmla="*/ 4328 w 7868"/>
                <a:gd name="connsiteY12" fmla="*/ 10229 h 11802"/>
                <a:gd name="connsiteX13" fmla="*/ 3934 w 7868"/>
                <a:gd name="connsiteY13" fmla="*/ 13376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68" h="11802">
                  <a:moveTo>
                    <a:pt x="3934" y="15344"/>
                  </a:moveTo>
                  <a:lnTo>
                    <a:pt x="6688" y="14950"/>
                  </a:lnTo>
                  <a:lnTo>
                    <a:pt x="9836" y="14163"/>
                  </a:lnTo>
                  <a:lnTo>
                    <a:pt x="11016" y="11409"/>
                  </a:lnTo>
                  <a:lnTo>
                    <a:pt x="11409" y="8262"/>
                  </a:lnTo>
                  <a:lnTo>
                    <a:pt x="11016" y="5508"/>
                  </a:lnTo>
                  <a:lnTo>
                    <a:pt x="9049" y="3147"/>
                  </a:lnTo>
                  <a:lnTo>
                    <a:pt x="5901" y="1180"/>
                  </a:lnTo>
                  <a:lnTo>
                    <a:pt x="3147" y="0"/>
                  </a:lnTo>
                  <a:lnTo>
                    <a:pt x="0" y="2361"/>
                  </a:lnTo>
                  <a:lnTo>
                    <a:pt x="787" y="5114"/>
                  </a:lnTo>
                  <a:lnTo>
                    <a:pt x="1180" y="7869"/>
                  </a:lnTo>
                  <a:lnTo>
                    <a:pt x="4328" y="10229"/>
                  </a:lnTo>
                  <a:lnTo>
                    <a:pt x="3934" y="1337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55" name="Freeform: Shape 2849">
              <a:extLst>
                <a:ext uri="{FF2B5EF4-FFF2-40B4-BE49-F238E27FC236}">
                  <a16:creationId xmlns:a16="http://schemas.microsoft.com/office/drawing/2014/main" id="{B41EA973-1136-43DC-9A24-3599B7E823DE}"/>
                </a:ext>
              </a:extLst>
            </p:cNvPr>
            <p:cNvSpPr/>
            <p:nvPr/>
          </p:nvSpPr>
          <p:spPr>
            <a:xfrm>
              <a:off x="2780202" y="1937956"/>
              <a:ext cx="3934" cy="7869"/>
            </a:xfrm>
            <a:custGeom>
              <a:avLst/>
              <a:gdLst>
                <a:gd name="connsiteX0" fmla="*/ 4721 w 3934"/>
                <a:gd name="connsiteY0" fmla="*/ 9049 h 7868"/>
                <a:gd name="connsiteX1" fmla="*/ 6295 w 3934"/>
                <a:gd name="connsiteY1" fmla="*/ 5901 h 7868"/>
                <a:gd name="connsiteX2" fmla="*/ 5508 w 3934"/>
                <a:gd name="connsiteY2" fmla="*/ 2754 h 7868"/>
                <a:gd name="connsiteX3" fmla="*/ 4328 w 3934"/>
                <a:gd name="connsiteY3" fmla="*/ 0 h 7868"/>
                <a:gd name="connsiteX4" fmla="*/ 3147 w 3934"/>
                <a:gd name="connsiteY4" fmla="*/ 0 h 7868"/>
                <a:gd name="connsiteX5" fmla="*/ 1180 w 3934"/>
                <a:gd name="connsiteY5" fmla="*/ 2754 h 7868"/>
                <a:gd name="connsiteX6" fmla="*/ 0 w 3934"/>
                <a:gd name="connsiteY6" fmla="*/ 5901 h 7868"/>
                <a:gd name="connsiteX7" fmla="*/ 0 w 3934"/>
                <a:gd name="connsiteY7" fmla="*/ 8655 h 7868"/>
                <a:gd name="connsiteX8" fmla="*/ 1967 w 3934"/>
                <a:gd name="connsiteY8" fmla="*/ 1140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4721" y="9049"/>
                  </a:moveTo>
                  <a:lnTo>
                    <a:pt x="6295" y="5901"/>
                  </a:lnTo>
                  <a:lnTo>
                    <a:pt x="5508" y="2754"/>
                  </a:lnTo>
                  <a:lnTo>
                    <a:pt x="4328" y="0"/>
                  </a:lnTo>
                  <a:lnTo>
                    <a:pt x="3147" y="0"/>
                  </a:lnTo>
                  <a:lnTo>
                    <a:pt x="1180" y="2754"/>
                  </a:lnTo>
                  <a:lnTo>
                    <a:pt x="0" y="5901"/>
                  </a:lnTo>
                  <a:lnTo>
                    <a:pt x="0" y="8655"/>
                  </a:lnTo>
                  <a:lnTo>
                    <a:pt x="1967" y="1140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56" name="Freeform: Shape 2850">
              <a:extLst>
                <a:ext uri="{FF2B5EF4-FFF2-40B4-BE49-F238E27FC236}">
                  <a16:creationId xmlns:a16="http://schemas.microsoft.com/office/drawing/2014/main" id="{985040A2-07B6-4950-B218-782503CF00AD}"/>
                </a:ext>
              </a:extLst>
            </p:cNvPr>
            <p:cNvSpPr/>
            <p:nvPr/>
          </p:nvSpPr>
          <p:spPr>
            <a:xfrm>
              <a:off x="2785316" y="1926153"/>
              <a:ext cx="3934" cy="3934"/>
            </a:xfrm>
            <a:custGeom>
              <a:avLst/>
              <a:gdLst>
                <a:gd name="connsiteX0" fmla="*/ 3147 w 0"/>
                <a:gd name="connsiteY0" fmla="*/ 3147 h 3934"/>
                <a:gd name="connsiteX1" fmla="*/ 3541 w 0"/>
                <a:gd name="connsiteY1" fmla="*/ 0 h 3934"/>
                <a:gd name="connsiteX2" fmla="*/ 1180 w 0"/>
                <a:gd name="connsiteY2" fmla="*/ 2361 h 3934"/>
                <a:gd name="connsiteX3" fmla="*/ 0 w 0"/>
                <a:gd name="connsiteY3" fmla="*/ 5508 h 3934"/>
                <a:gd name="connsiteX4" fmla="*/ 2754 w 0"/>
                <a:gd name="connsiteY4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3147" y="3147"/>
                  </a:moveTo>
                  <a:lnTo>
                    <a:pt x="3541" y="0"/>
                  </a:lnTo>
                  <a:lnTo>
                    <a:pt x="1180" y="2361"/>
                  </a:lnTo>
                  <a:lnTo>
                    <a:pt x="0" y="5508"/>
                  </a:lnTo>
                  <a:lnTo>
                    <a:pt x="2754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57" name="Freeform: Shape 2851">
              <a:extLst>
                <a:ext uri="{FF2B5EF4-FFF2-40B4-BE49-F238E27FC236}">
                  <a16:creationId xmlns:a16="http://schemas.microsoft.com/office/drawing/2014/main" id="{C7D2096A-0B1F-4A51-BE29-630D0DDBF91A}"/>
                </a:ext>
              </a:extLst>
            </p:cNvPr>
            <p:cNvSpPr/>
            <p:nvPr/>
          </p:nvSpPr>
          <p:spPr>
            <a:xfrm>
              <a:off x="2787284" y="1922219"/>
              <a:ext cx="19671" cy="19671"/>
            </a:xfrm>
            <a:custGeom>
              <a:avLst/>
              <a:gdLst>
                <a:gd name="connsiteX0" fmla="*/ 11409 w 19671"/>
                <a:gd name="connsiteY0" fmla="*/ 4328 h 19671"/>
                <a:gd name="connsiteX1" fmla="*/ 8262 w 19671"/>
                <a:gd name="connsiteY1" fmla="*/ 7082 h 19671"/>
                <a:gd name="connsiteX2" fmla="*/ 5508 w 19671"/>
                <a:gd name="connsiteY2" fmla="*/ 8262 h 19671"/>
                <a:gd name="connsiteX3" fmla="*/ 2361 w 19671"/>
                <a:gd name="connsiteY3" fmla="*/ 11016 h 19671"/>
                <a:gd name="connsiteX4" fmla="*/ 5508 w 19671"/>
                <a:gd name="connsiteY4" fmla="*/ 12196 h 19671"/>
                <a:gd name="connsiteX5" fmla="*/ 8262 w 19671"/>
                <a:gd name="connsiteY5" fmla="*/ 10229 h 19671"/>
                <a:gd name="connsiteX6" fmla="*/ 11409 w 19671"/>
                <a:gd name="connsiteY6" fmla="*/ 8655 h 19671"/>
                <a:gd name="connsiteX7" fmla="*/ 11409 w 19671"/>
                <a:gd name="connsiteY7" fmla="*/ 5901 h 19671"/>
                <a:gd name="connsiteX8" fmla="*/ 13376 w 19671"/>
                <a:gd name="connsiteY8" fmla="*/ 9049 h 19671"/>
                <a:gd name="connsiteX9" fmla="*/ 10229 w 19671"/>
                <a:gd name="connsiteY9" fmla="*/ 9442 h 19671"/>
                <a:gd name="connsiteX10" fmla="*/ 7082 w 19671"/>
                <a:gd name="connsiteY10" fmla="*/ 11409 h 19671"/>
                <a:gd name="connsiteX11" fmla="*/ 4328 w 19671"/>
                <a:gd name="connsiteY11" fmla="*/ 13376 h 19671"/>
                <a:gd name="connsiteX12" fmla="*/ 1180 w 19671"/>
                <a:gd name="connsiteY12" fmla="*/ 14557 h 19671"/>
                <a:gd name="connsiteX13" fmla="*/ 0 w 19671"/>
                <a:gd name="connsiteY13" fmla="*/ 17311 h 19671"/>
                <a:gd name="connsiteX14" fmla="*/ 393 w 19671"/>
                <a:gd name="connsiteY14" fmla="*/ 20065 h 19671"/>
                <a:gd name="connsiteX15" fmla="*/ 1180 w 19671"/>
                <a:gd name="connsiteY15" fmla="*/ 20852 h 19671"/>
                <a:gd name="connsiteX16" fmla="*/ 4328 w 19671"/>
                <a:gd name="connsiteY16" fmla="*/ 20458 h 19671"/>
                <a:gd name="connsiteX17" fmla="*/ 7082 w 19671"/>
                <a:gd name="connsiteY17" fmla="*/ 17704 h 19671"/>
                <a:gd name="connsiteX18" fmla="*/ 10229 w 19671"/>
                <a:gd name="connsiteY18" fmla="*/ 15344 h 19671"/>
                <a:gd name="connsiteX19" fmla="*/ 12983 w 19671"/>
                <a:gd name="connsiteY19" fmla="*/ 12590 h 19671"/>
                <a:gd name="connsiteX20" fmla="*/ 16131 w 19671"/>
                <a:gd name="connsiteY20" fmla="*/ 11016 h 19671"/>
                <a:gd name="connsiteX21" fmla="*/ 13376 w 19671"/>
                <a:gd name="connsiteY21" fmla="*/ 13770 h 19671"/>
                <a:gd name="connsiteX22" fmla="*/ 10229 w 19671"/>
                <a:gd name="connsiteY22" fmla="*/ 15737 h 19671"/>
                <a:gd name="connsiteX23" fmla="*/ 7475 w 19671"/>
                <a:gd name="connsiteY23" fmla="*/ 18491 h 19671"/>
                <a:gd name="connsiteX24" fmla="*/ 5114 w 19671"/>
                <a:gd name="connsiteY24" fmla="*/ 21245 h 19671"/>
                <a:gd name="connsiteX25" fmla="*/ 8262 w 19671"/>
                <a:gd name="connsiteY25" fmla="*/ 22032 h 19671"/>
                <a:gd name="connsiteX26" fmla="*/ 11409 w 19671"/>
                <a:gd name="connsiteY26" fmla="*/ 19278 h 19671"/>
                <a:gd name="connsiteX27" fmla="*/ 14163 w 19671"/>
                <a:gd name="connsiteY27" fmla="*/ 16524 h 19671"/>
                <a:gd name="connsiteX28" fmla="*/ 17311 w 19671"/>
                <a:gd name="connsiteY28" fmla="*/ 13770 h 19671"/>
                <a:gd name="connsiteX29" fmla="*/ 19671 w 19671"/>
                <a:gd name="connsiteY29" fmla="*/ 10622 h 19671"/>
                <a:gd name="connsiteX30" fmla="*/ 21245 w 19671"/>
                <a:gd name="connsiteY30" fmla="*/ 7869 h 19671"/>
                <a:gd name="connsiteX31" fmla="*/ 22425 w 19671"/>
                <a:gd name="connsiteY31" fmla="*/ 5115 h 19671"/>
                <a:gd name="connsiteX32" fmla="*/ 19278 w 19671"/>
                <a:gd name="connsiteY32" fmla="*/ 2361 h 19671"/>
                <a:gd name="connsiteX33" fmla="*/ 16524 w 19671"/>
                <a:gd name="connsiteY33" fmla="*/ 0 h 19671"/>
                <a:gd name="connsiteX34" fmla="*/ 13770 w 19671"/>
                <a:gd name="connsiteY34" fmla="*/ 1180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9671" h="19671">
                  <a:moveTo>
                    <a:pt x="11409" y="4328"/>
                  </a:moveTo>
                  <a:lnTo>
                    <a:pt x="8262" y="7082"/>
                  </a:lnTo>
                  <a:lnTo>
                    <a:pt x="5508" y="8262"/>
                  </a:lnTo>
                  <a:lnTo>
                    <a:pt x="2361" y="11016"/>
                  </a:lnTo>
                  <a:lnTo>
                    <a:pt x="5508" y="12196"/>
                  </a:lnTo>
                  <a:lnTo>
                    <a:pt x="8262" y="10229"/>
                  </a:lnTo>
                  <a:lnTo>
                    <a:pt x="11409" y="8655"/>
                  </a:lnTo>
                  <a:lnTo>
                    <a:pt x="11409" y="5901"/>
                  </a:lnTo>
                  <a:lnTo>
                    <a:pt x="13376" y="9049"/>
                  </a:lnTo>
                  <a:lnTo>
                    <a:pt x="10229" y="9442"/>
                  </a:lnTo>
                  <a:lnTo>
                    <a:pt x="7082" y="11409"/>
                  </a:lnTo>
                  <a:lnTo>
                    <a:pt x="4328" y="13376"/>
                  </a:lnTo>
                  <a:lnTo>
                    <a:pt x="1180" y="14557"/>
                  </a:lnTo>
                  <a:lnTo>
                    <a:pt x="0" y="17311"/>
                  </a:lnTo>
                  <a:lnTo>
                    <a:pt x="393" y="20065"/>
                  </a:lnTo>
                  <a:lnTo>
                    <a:pt x="1180" y="20852"/>
                  </a:lnTo>
                  <a:lnTo>
                    <a:pt x="4328" y="20458"/>
                  </a:lnTo>
                  <a:lnTo>
                    <a:pt x="7082" y="17704"/>
                  </a:lnTo>
                  <a:lnTo>
                    <a:pt x="10229" y="15344"/>
                  </a:lnTo>
                  <a:lnTo>
                    <a:pt x="12983" y="12590"/>
                  </a:lnTo>
                  <a:lnTo>
                    <a:pt x="16131" y="11016"/>
                  </a:lnTo>
                  <a:lnTo>
                    <a:pt x="13376" y="13770"/>
                  </a:lnTo>
                  <a:lnTo>
                    <a:pt x="10229" y="15737"/>
                  </a:lnTo>
                  <a:lnTo>
                    <a:pt x="7475" y="18491"/>
                  </a:lnTo>
                  <a:lnTo>
                    <a:pt x="5114" y="21245"/>
                  </a:lnTo>
                  <a:lnTo>
                    <a:pt x="8262" y="22032"/>
                  </a:lnTo>
                  <a:lnTo>
                    <a:pt x="11409" y="19278"/>
                  </a:lnTo>
                  <a:lnTo>
                    <a:pt x="14163" y="16524"/>
                  </a:lnTo>
                  <a:lnTo>
                    <a:pt x="17311" y="13770"/>
                  </a:lnTo>
                  <a:lnTo>
                    <a:pt x="19671" y="10622"/>
                  </a:lnTo>
                  <a:lnTo>
                    <a:pt x="21245" y="7869"/>
                  </a:lnTo>
                  <a:lnTo>
                    <a:pt x="22425" y="5115"/>
                  </a:lnTo>
                  <a:lnTo>
                    <a:pt x="19278" y="2361"/>
                  </a:lnTo>
                  <a:lnTo>
                    <a:pt x="16524" y="0"/>
                  </a:lnTo>
                  <a:lnTo>
                    <a:pt x="1377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58" name="Freeform: Shape 2852">
              <a:extLst>
                <a:ext uri="{FF2B5EF4-FFF2-40B4-BE49-F238E27FC236}">
                  <a16:creationId xmlns:a16="http://schemas.microsoft.com/office/drawing/2014/main" id="{1AAD905D-9071-4C1E-BBFE-D81DE1132671}"/>
                </a:ext>
              </a:extLst>
            </p:cNvPr>
            <p:cNvSpPr/>
            <p:nvPr/>
          </p:nvSpPr>
          <p:spPr>
            <a:xfrm>
              <a:off x="2794759" y="1938743"/>
              <a:ext cx="7869" cy="11803"/>
            </a:xfrm>
            <a:custGeom>
              <a:avLst/>
              <a:gdLst>
                <a:gd name="connsiteX0" fmla="*/ 5901 w 7868"/>
                <a:gd name="connsiteY0" fmla="*/ 4721 h 11802"/>
                <a:gd name="connsiteX1" fmla="*/ 3147 w 7868"/>
                <a:gd name="connsiteY1" fmla="*/ 7475 h 11802"/>
                <a:gd name="connsiteX2" fmla="*/ 787 w 7868"/>
                <a:gd name="connsiteY2" fmla="*/ 10622 h 11802"/>
                <a:gd name="connsiteX3" fmla="*/ 0 w 7868"/>
                <a:gd name="connsiteY3" fmla="*/ 13376 h 11802"/>
                <a:gd name="connsiteX4" fmla="*/ 2754 w 7868"/>
                <a:gd name="connsiteY4" fmla="*/ 11803 h 11802"/>
                <a:gd name="connsiteX5" fmla="*/ 5508 w 7868"/>
                <a:gd name="connsiteY5" fmla="*/ 9049 h 11802"/>
                <a:gd name="connsiteX6" fmla="*/ 7475 w 7868"/>
                <a:gd name="connsiteY6" fmla="*/ 5901 h 11802"/>
                <a:gd name="connsiteX7" fmla="*/ 9442 w 7868"/>
                <a:gd name="connsiteY7" fmla="*/ 3147 h 11802"/>
                <a:gd name="connsiteX8" fmla="*/ 11016 w 7868"/>
                <a:gd name="connsiteY8" fmla="*/ 0 h 11802"/>
                <a:gd name="connsiteX9" fmla="*/ 11016 w 7868"/>
                <a:gd name="connsiteY9" fmla="*/ 0 h 11802"/>
                <a:gd name="connsiteX10" fmla="*/ 7869 w 7868"/>
                <a:gd name="connsiteY10" fmla="*/ 1574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68" h="11802">
                  <a:moveTo>
                    <a:pt x="5901" y="4721"/>
                  </a:moveTo>
                  <a:lnTo>
                    <a:pt x="3147" y="7475"/>
                  </a:lnTo>
                  <a:lnTo>
                    <a:pt x="787" y="10622"/>
                  </a:lnTo>
                  <a:lnTo>
                    <a:pt x="0" y="13376"/>
                  </a:lnTo>
                  <a:lnTo>
                    <a:pt x="2754" y="11803"/>
                  </a:lnTo>
                  <a:lnTo>
                    <a:pt x="5508" y="9049"/>
                  </a:lnTo>
                  <a:lnTo>
                    <a:pt x="7475" y="5901"/>
                  </a:lnTo>
                  <a:lnTo>
                    <a:pt x="9442" y="3147"/>
                  </a:lnTo>
                  <a:lnTo>
                    <a:pt x="11016" y="0"/>
                  </a:lnTo>
                  <a:lnTo>
                    <a:pt x="11016" y="0"/>
                  </a:lnTo>
                  <a:lnTo>
                    <a:pt x="7869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59" name="Freeform: Shape 2853">
              <a:extLst>
                <a:ext uri="{FF2B5EF4-FFF2-40B4-BE49-F238E27FC236}">
                  <a16:creationId xmlns:a16="http://schemas.microsoft.com/office/drawing/2014/main" id="{C2C40608-6132-45C7-B612-FDABF51A0E23}"/>
                </a:ext>
              </a:extLst>
            </p:cNvPr>
            <p:cNvSpPr/>
            <p:nvPr/>
          </p:nvSpPr>
          <p:spPr>
            <a:xfrm>
              <a:off x="2814823" y="2020576"/>
              <a:ext cx="3934" cy="7869"/>
            </a:xfrm>
            <a:custGeom>
              <a:avLst/>
              <a:gdLst>
                <a:gd name="connsiteX0" fmla="*/ 787 w 3934"/>
                <a:gd name="connsiteY0" fmla="*/ 9442 h 7868"/>
                <a:gd name="connsiteX1" fmla="*/ 2754 w 3934"/>
                <a:gd name="connsiteY1" fmla="*/ 5115 h 7868"/>
                <a:gd name="connsiteX2" fmla="*/ 5901 w 3934"/>
                <a:gd name="connsiteY2" fmla="*/ 2754 h 7868"/>
                <a:gd name="connsiteX3" fmla="*/ 5114 w 3934"/>
                <a:gd name="connsiteY3" fmla="*/ 0 h 7868"/>
                <a:gd name="connsiteX4" fmla="*/ 2361 w 3934"/>
                <a:gd name="connsiteY4" fmla="*/ 1180 h 7868"/>
                <a:gd name="connsiteX5" fmla="*/ 787 w 3934"/>
                <a:gd name="connsiteY5" fmla="*/ 3934 h 7868"/>
                <a:gd name="connsiteX6" fmla="*/ 1180 w 3934"/>
                <a:gd name="connsiteY6" fmla="*/ 6688 h 7868"/>
                <a:gd name="connsiteX7" fmla="*/ 0 w 3934"/>
                <a:gd name="connsiteY7" fmla="*/ 944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787" y="9442"/>
                  </a:moveTo>
                  <a:lnTo>
                    <a:pt x="2754" y="5115"/>
                  </a:lnTo>
                  <a:lnTo>
                    <a:pt x="5901" y="2754"/>
                  </a:lnTo>
                  <a:lnTo>
                    <a:pt x="5114" y="0"/>
                  </a:lnTo>
                  <a:lnTo>
                    <a:pt x="2361" y="1180"/>
                  </a:lnTo>
                  <a:lnTo>
                    <a:pt x="787" y="3934"/>
                  </a:lnTo>
                  <a:lnTo>
                    <a:pt x="1180" y="6688"/>
                  </a:lnTo>
                  <a:lnTo>
                    <a:pt x="0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60" name="Freeform: Shape 2854">
              <a:extLst>
                <a:ext uri="{FF2B5EF4-FFF2-40B4-BE49-F238E27FC236}">
                  <a16:creationId xmlns:a16="http://schemas.microsoft.com/office/drawing/2014/main" id="{054CE0F5-96C7-46D3-96F0-4723ED048EF7}"/>
                </a:ext>
              </a:extLst>
            </p:cNvPr>
            <p:cNvSpPr/>
            <p:nvPr/>
          </p:nvSpPr>
          <p:spPr>
            <a:xfrm>
              <a:off x="2778628" y="1973758"/>
              <a:ext cx="3934" cy="7869"/>
            </a:xfrm>
            <a:custGeom>
              <a:avLst/>
              <a:gdLst>
                <a:gd name="connsiteX0" fmla="*/ 3934 w 3934"/>
                <a:gd name="connsiteY0" fmla="*/ 9049 h 7868"/>
                <a:gd name="connsiteX1" fmla="*/ 6688 w 3934"/>
                <a:gd name="connsiteY1" fmla="*/ 3541 h 7868"/>
                <a:gd name="connsiteX2" fmla="*/ 7475 w 3934"/>
                <a:gd name="connsiteY2" fmla="*/ 393 h 7868"/>
                <a:gd name="connsiteX3" fmla="*/ 7475 w 3934"/>
                <a:gd name="connsiteY3" fmla="*/ 0 h 7868"/>
                <a:gd name="connsiteX4" fmla="*/ 4328 w 3934"/>
                <a:gd name="connsiteY4" fmla="*/ 1180 h 7868"/>
                <a:gd name="connsiteX5" fmla="*/ 1574 w 3934"/>
                <a:gd name="connsiteY5" fmla="*/ 2754 h 7868"/>
                <a:gd name="connsiteX6" fmla="*/ 0 w 3934"/>
                <a:gd name="connsiteY6" fmla="*/ 5508 h 7868"/>
                <a:gd name="connsiteX7" fmla="*/ 787 w 3934"/>
                <a:gd name="connsiteY7" fmla="*/ 865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3934" y="9049"/>
                  </a:moveTo>
                  <a:lnTo>
                    <a:pt x="6688" y="3541"/>
                  </a:lnTo>
                  <a:lnTo>
                    <a:pt x="7475" y="393"/>
                  </a:lnTo>
                  <a:lnTo>
                    <a:pt x="7475" y="0"/>
                  </a:lnTo>
                  <a:lnTo>
                    <a:pt x="4328" y="1180"/>
                  </a:lnTo>
                  <a:lnTo>
                    <a:pt x="1574" y="2754"/>
                  </a:lnTo>
                  <a:lnTo>
                    <a:pt x="0" y="5508"/>
                  </a:lnTo>
                  <a:lnTo>
                    <a:pt x="787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61" name="Freeform: Shape 2855">
              <a:extLst>
                <a:ext uri="{FF2B5EF4-FFF2-40B4-BE49-F238E27FC236}">
                  <a16:creationId xmlns:a16="http://schemas.microsoft.com/office/drawing/2014/main" id="{EEE2E53B-9AD6-4E0D-ADDD-D3313681208E}"/>
                </a:ext>
              </a:extLst>
            </p:cNvPr>
            <p:cNvSpPr/>
            <p:nvPr/>
          </p:nvSpPr>
          <p:spPr>
            <a:xfrm>
              <a:off x="2785316" y="1962742"/>
              <a:ext cx="7869" cy="7869"/>
            </a:xfrm>
            <a:custGeom>
              <a:avLst/>
              <a:gdLst>
                <a:gd name="connsiteX0" fmla="*/ 5114 w 7868"/>
                <a:gd name="connsiteY0" fmla="*/ 5901 h 7868"/>
                <a:gd name="connsiteX1" fmla="*/ 8262 w 7868"/>
                <a:gd name="connsiteY1" fmla="*/ 3147 h 7868"/>
                <a:gd name="connsiteX2" fmla="*/ 11016 w 7868"/>
                <a:gd name="connsiteY2" fmla="*/ 393 h 7868"/>
                <a:gd name="connsiteX3" fmla="*/ 10229 w 7868"/>
                <a:gd name="connsiteY3" fmla="*/ 0 h 7868"/>
                <a:gd name="connsiteX4" fmla="*/ 7082 w 7868"/>
                <a:gd name="connsiteY4" fmla="*/ 393 h 7868"/>
                <a:gd name="connsiteX5" fmla="*/ 4328 w 7868"/>
                <a:gd name="connsiteY5" fmla="*/ 1574 h 7868"/>
                <a:gd name="connsiteX6" fmla="*/ 1180 w 7868"/>
                <a:gd name="connsiteY6" fmla="*/ 3934 h 7868"/>
                <a:gd name="connsiteX7" fmla="*/ 1180 w 7868"/>
                <a:gd name="connsiteY7" fmla="*/ 6688 h 7868"/>
                <a:gd name="connsiteX8" fmla="*/ 0 w 7868"/>
                <a:gd name="connsiteY8" fmla="*/ 9442 h 7868"/>
                <a:gd name="connsiteX9" fmla="*/ 2754 w 7868"/>
                <a:gd name="connsiteY9" fmla="*/ 865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7868">
                  <a:moveTo>
                    <a:pt x="5114" y="5901"/>
                  </a:moveTo>
                  <a:lnTo>
                    <a:pt x="8262" y="3147"/>
                  </a:lnTo>
                  <a:lnTo>
                    <a:pt x="11016" y="393"/>
                  </a:lnTo>
                  <a:lnTo>
                    <a:pt x="10229" y="0"/>
                  </a:lnTo>
                  <a:lnTo>
                    <a:pt x="7082" y="393"/>
                  </a:lnTo>
                  <a:lnTo>
                    <a:pt x="4328" y="1574"/>
                  </a:lnTo>
                  <a:lnTo>
                    <a:pt x="1180" y="3934"/>
                  </a:lnTo>
                  <a:lnTo>
                    <a:pt x="1180" y="6688"/>
                  </a:lnTo>
                  <a:lnTo>
                    <a:pt x="0" y="9442"/>
                  </a:lnTo>
                  <a:lnTo>
                    <a:pt x="2754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62" name="Freeform: Shape 2856">
              <a:extLst>
                <a:ext uri="{FF2B5EF4-FFF2-40B4-BE49-F238E27FC236}">
                  <a16:creationId xmlns:a16="http://schemas.microsoft.com/office/drawing/2014/main" id="{E4E6BE61-A832-43C2-B208-DC8A0A395617}"/>
                </a:ext>
              </a:extLst>
            </p:cNvPr>
            <p:cNvSpPr/>
            <p:nvPr/>
          </p:nvSpPr>
          <p:spPr>
            <a:xfrm>
              <a:off x="2786497" y="1902548"/>
              <a:ext cx="7869" cy="19671"/>
            </a:xfrm>
            <a:custGeom>
              <a:avLst/>
              <a:gdLst>
                <a:gd name="connsiteX0" fmla="*/ 7869 w 7868"/>
                <a:gd name="connsiteY0" fmla="*/ 5115 h 19671"/>
                <a:gd name="connsiteX1" fmla="*/ 7082 w 7868"/>
                <a:gd name="connsiteY1" fmla="*/ 2754 h 19671"/>
                <a:gd name="connsiteX2" fmla="*/ 5115 w 7868"/>
                <a:gd name="connsiteY2" fmla="*/ 0 h 19671"/>
                <a:gd name="connsiteX3" fmla="*/ 1967 w 7868"/>
                <a:gd name="connsiteY3" fmla="*/ 787 h 19671"/>
                <a:gd name="connsiteX4" fmla="*/ 787 w 7868"/>
                <a:gd name="connsiteY4" fmla="*/ 3934 h 19671"/>
                <a:gd name="connsiteX5" fmla="*/ 0 w 7868"/>
                <a:gd name="connsiteY5" fmla="*/ 6688 h 19671"/>
                <a:gd name="connsiteX6" fmla="*/ 1967 w 7868"/>
                <a:gd name="connsiteY6" fmla="*/ 8262 h 19671"/>
                <a:gd name="connsiteX7" fmla="*/ 1967 w 7868"/>
                <a:gd name="connsiteY7" fmla="*/ 8262 h 19671"/>
                <a:gd name="connsiteX8" fmla="*/ 0 w 7868"/>
                <a:gd name="connsiteY8" fmla="*/ 11016 h 19671"/>
                <a:gd name="connsiteX9" fmla="*/ 2754 w 7868"/>
                <a:gd name="connsiteY9" fmla="*/ 9442 h 19671"/>
                <a:gd name="connsiteX10" fmla="*/ 1967 w 7868"/>
                <a:gd name="connsiteY10" fmla="*/ 12196 h 19671"/>
                <a:gd name="connsiteX11" fmla="*/ 393 w 7868"/>
                <a:gd name="connsiteY11" fmla="*/ 14950 h 19671"/>
                <a:gd name="connsiteX12" fmla="*/ 0 w 7868"/>
                <a:gd name="connsiteY12" fmla="*/ 18098 h 19671"/>
                <a:gd name="connsiteX13" fmla="*/ 787 w 7868"/>
                <a:gd name="connsiteY13" fmla="*/ 20852 h 19671"/>
                <a:gd name="connsiteX14" fmla="*/ 3541 w 7868"/>
                <a:gd name="connsiteY14" fmla="*/ 22032 h 19671"/>
                <a:gd name="connsiteX15" fmla="*/ 6295 w 7868"/>
                <a:gd name="connsiteY15" fmla="*/ 19278 h 19671"/>
                <a:gd name="connsiteX16" fmla="*/ 9442 w 7868"/>
                <a:gd name="connsiteY16" fmla="*/ 16130 h 19671"/>
                <a:gd name="connsiteX17" fmla="*/ 6688 w 7868"/>
                <a:gd name="connsiteY17" fmla="*/ 13770 h 19671"/>
                <a:gd name="connsiteX18" fmla="*/ 9442 w 7868"/>
                <a:gd name="connsiteY18" fmla="*/ 13770 h 19671"/>
                <a:gd name="connsiteX19" fmla="*/ 9049 w 7868"/>
                <a:gd name="connsiteY19" fmla="*/ 11016 h 19671"/>
                <a:gd name="connsiteX20" fmla="*/ 9049 w 7868"/>
                <a:gd name="connsiteY20" fmla="*/ 7869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868" h="19671">
                  <a:moveTo>
                    <a:pt x="7869" y="5115"/>
                  </a:moveTo>
                  <a:lnTo>
                    <a:pt x="7082" y="2754"/>
                  </a:lnTo>
                  <a:lnTo>
                    <a:pt x="5115" y="0"/>
                  </a:lnTo>
                  <a:lnTo>
                    <a:pt x="1967" y="787"/>
                  </a:lnTo>
                  <a:lnTo>
                    <a:pt x="787" y="3934"/>
                  </a:lnTo>
                  <a:lnTo>
                    <a:pt x="0" y="6688"/>
                  </a:lnTo>
                  <a:lnTo>
                    <a:pt x="1967" y="8262"/>
                  </a:lnTo>
                  <a:lnTo>
                    <a:pt x="1967" y="8262"/>
                  </a:lnTo>
                  <a:lnTo>
                    <a:pt x="0" y="11016"/>
                  </a:lnTo>
                  <a:lnTo>
                    <a:pt x="2754" y="9442"/>
                  </a:lnTo>
                  <a:lnTo>
                    <a:pt x="1967" y="12196"/>
                  </a:lnTo>
                  <a:lnTo>
                    <a:pt x="393" y="14950"/>
                  </a:lnTo>
                  <a:lnTo>
                    <a:pt x="0" y="18098"/>
                  </a:lnTo>
                  <a:lnTo>
                    <a:pt x="787" y="20852"/>
                  </a:lnTo>
                  <a:lnTo>
                    <a:pt x="3541" y="22032"/>
                  </a:lnTo>
                  <a:lnTo>
                    <a:pt x="6295" y="19278"/>
                  </a:lnTo>
                  <a:lnTo>
                    <a:pt x="9442" y="16130"/>
                  </a:lnTo>
                  <a:lnTo>
                    <a:pt x="6688" y="13770"/>
                  </a:lnTo>
                  <a:lnTo>
                    <a:pt x="9442" y="13770"/>
                  </a:lnTo>
                  <a:lnTo>
                    <a:pt x="9049" y="11016"/>
                  </a:lnTo>
                  <a:lnTo>
                    <a:pt x="9049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63" name="Freeform: Shape 2857">
              <a:extLst>
                <a:ext uri="{FF2B5EF4-FFF2-40B4-BE49-F238E27FC236}">
                  <a16:creationId xmlns:a16="http://schemas.microsoft.com/office/drawing/2014/main" id="{8B4DF9A7-B752-43FE-9435-1D6473A5C581}"/>
                </a:ext>
              </a:extLst>
            </p:cNvPr>
            <p:cNvSpPr/>
            <p:nvPr/>
          </p:nvSpPr>
          <p:spPr>
            <a:xfrm>
              <a:off x="2789251" y="1957234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393 w 0"/>
                <a:gd name="connsiteY1" fmla="*/ 2754 h 0"/>
                <a:gd name="connsiteX2" fmla="*/ 3541 w 0"/>
                <a:gd name="connsiteY2" fmla="*/ 0 h 0"/>
                <a:gd name="connsiteX3" fmla="*/ 787 w 0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393" y="2754"/>
                  </a:lnTo>
                  <a:lnTo>
                    <a:pt x="3541" y="0"/>
                  </a:lnTo>
                  <a:lnTo>
                    <a:pt x="78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64" name="Freeform: Shape 2858">
              <a:extLst>
                <a:ext uri="{FF2B5EF4-FFF2-40B4-BE49-F238E27FC236}">
                  <a16:creationId xmlns:a16="http://schemas.microsoft.com/office/drawing/2014/main" id="{F1B60D4F-330E-43C8-BF22-59804615F5A4}"/>
                </a:ext>
              </a:extLst>
            </p:cNvPr>
            <p:cNvSpPr/>
            <p:nvPr/>
          </p:nvSpPr>
          <p:spPr>
            <a:xfrm>
              <a:off x="2789644" y="1958808"/>
              <a:ext cx="3934" cy="3934"/>
            </a:xfrm>
            <a:custGeom>
              <a:avLst/>
              <a:gdLst>
                <a:gd name="connsiteX0" fmla="*/ 0 w 3934"/>
                <a:gd name="connsiteY0" fmla="*/ 1967 h 3934"/>
                <a:gd name="connsiteX1" fmla="*/ 0 w 3934"/>
                <a:gd name="connsiteY1" fmla="*/ 4721 h 3934"/>
                <a:gd name="connsiteX2" fmla="*/ 2754 w 3934"/>
                <a:gd name="connsiteY2" fmla="*/ 2754 h 3934"/>
                <a:gd name="connsiteX3" fmla="*/ 5114 w 3934"/>
                <a:gd name="connsiteY3" fmla="*/ 0 h 3934"/>
                <a:gd name="connsiteX4" fmla="*/ 2754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1967"/>
                  </a:moveTo>
                  <a:lnTo>
                    <a:pt x="0" y="4721"/>
                  </a:lnTo>
                  <a:lnTo>
                    <a:pt x="2754" y="2754"/>
                  </a:lnTo>
                  <a:lnTo>
                    <a:pt x="5114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65" name="Freeform: Shape 2859">
              <a:extLst>
                <a:ext uri="{FF2B5EF4-FFF2-40B4-BE49-F238E27FC236}">
                  <a16:creationId xmlns:a16="http://schemas.microsoft.com/office/drawing/2014/main" id="{CAEB48B4-417D-4C53-82C7-BF67CDC685F1}"/>
                </a:ext>
              </a:extLst>
            </p:cNvPr>
            <p:cNvSpPr/>
            <p:nvPr/>
          </p:nvSpPr>
          <p:spPr>
            <a:xfrm>
              <a:off x="2792398" y="2002478"/>
              <a:ext cx="3934" cy="3934"/>
            </a:xfrm>
            <a:custGeom>
              <a:avLst/>
              <a:gdLst>
                <a:gd name="connsiteX0" fmla="*/ 0 w 3934"/>
                <a:gd name="connsiteY0" fmla="*/ 2361 h 0"/>
                <a:gd name="connsiteX1" fmla="*/ 2754 w 3934"/>
                <a:gd name="connsiteY1" fmla="*/ 1967 h 0"/>
                <a:gd name="connsiteX2" fmla="*/ 5901 w 3934"/>
                <a:gd name="connsiteY2" fmla="*/ 0 h 0"/>
                <a:gd name="connsiteX3" fmla="*/ 3147 w 3934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361"/>
                  </a:moveTo>
                  <a:lnTo>
                    <a:pt x="2754" y="1967"/>
                  </a:lnTo>
                  <a:lnTo>
                    <a:pt x="5901" y="0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66" name="Freeform: Shape 2860">
              <a:extLst>
                <a:ext uri="{FF2B5EF4-FFF2-40B4-BE49-F238E27FC236}">
                  <a16:creationId xmlns:a16="http://schemas.microsoft.com/office/drawing/2014/main" id="{D09C469C-6A96-47B4-A4A1-19616795DE98}"/>
                </a:ext>
              </a:extLst>
            </p:cNvPr>
            <p:cNvSpPr/>
            <p:nvPr/>
          </p:nvSpPr>
          <p:spPr>
            <a:xfrm>
              <a:off x="2792398" y="2010740"/>
              <a:ext cx="7869" cy="3934"/>
            </a:xfrm>
            <a:custGeom>
              <a:avLst/>
              <a:gdLst>
                <a:gd name="connsiteX0" fmla="*/ 5901 w 7868"/>
                <a:gd name="connsiteY0" fmla="*/ 2361 h 0"/>
                <a:gd name="connsiteX1" fmla="*/ 9049 w 7868"/>
                <a:gd name="connsiteY1" fmla="*/ 0 h 0"/>
                <a:gd name="connsiteX2" fmla="*/ 5901 w 7868"/>
                <a:gd name="connsiteY2" fmla="*/ 393 h 0"/>
                <a:gd name="connsiteX3" fmla="*/ 0 w 7868"/>
                <a:gd name="connsiteY3" fmla="*/ 1967 h 0"/>
                <a:gd name="connsiteX4" fmla="*/ 3147 w 7868"/>
                <a:gd name="connsiteY4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>
                  <a:moveTo>
                    <a:pt x="5901" y="2361"/>
                  </a:moveTo>
                  <a:lnTo>
                    <a:pt x="9049" y="0"/>
                  </a:lnTo>
                  <a:lnTo>
                    <a:pt x="5901" y="393"/>
                  </a:lnTo>
                  <a:lnTo>
                    <a:pt x="0" y="1967"/>
                  </a:lnTo>
                  <a:lnTo>
                    <a:pt x="3147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67" name="Freeform: Shape 2861">
              <a:extLst>
                <a:ext uri="{FF2B5EF4-FFF2-40B4-BE49-F238E27FC236}">
                  <a16:creationId xmlns:a16="http://schemas.microsoft.com/office/drawing/2014/main" id="{E6A417DB-9A65-4AB7-9DCD-EA594B459302}"/>
                </a:ext>
              </a:extLst>
            </p:cNvPr>
            <p:cNvSpPr/>
            <p:nvPr/>
          </p:nvSpPr>
          <p:spPr>
            <a:xfrm>
              <a:off x="2794365" y="1959201"/>
              <a:ext cx="3934" cy="3934"/>
            </a:xfrm>
            <a:custGeom>
              <a:avLst/>
              <a:gdLst>
                <a:gd name="connsiteX0" fmla="*/ 2754 w 3934"/>
                <a:gd name="connsiteY0" fmla="*/ 0 h 0"/>
                <a:gd name="connsiteX1" fmla="*/ 0 w 3934"/>
                <a:gd name="connsiteY1" fmla="*/ 2754 h 0"/>
                <a:gd name="connsiteX2" fmla="*/ 3147 w 3934"/>
                <a:gd name="connsiteY2" fmla="*/ 2754 h 0"/>
                <a:gd name="connsiteX3" fmla="*/ 5901 w 3934"/>
                <a:gd name="connsiteY3" fmla="*/ 393 h 0"/>
                <a:gd name="connsiteX4" fmla="*/ 3147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2754" y="0"/>
                  </a:moveTo>
                  <a:lnTo>
                    <a:pt x="0" y="2754"/>
                  </a:lnTo>
                  <a:lnTo>
                    <a:pt x="3147" y="2754"/>
                  </a:lnTo>
                  <a:lnTo>
                    <a:pt x="5901" y="393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68" name="Freeform: Shape 2862">
              <a:extLst>
                <a:ext uri="{FF2B5EF4-FFF2-40B4-BE49-F238E27FC236}">
                  <a16:creationId xmlns:a16="http://schemas.microsoft.com/office/drawing/2014/main" id="{19A53225-35F2-4EF0-B7D0-3C862F3DFB96}"/>
                </a:ext>
              </a:extLst>
            </p:cNvPr>
            <p:cNvSpPr/>
            <p:nvPr/>
          </p:nvSpPr>
          <p:spPr>
            <a:xfrm>
              <a:off x="2798299" y="1954874"/>
              <a:ext cx="3934" cy="3934"/>
            </a:xfrm>
            <a:custGeom>
              <a:avLst/>
              <a:gdLst>
                <a:gd name="connsiteX0" fmla="*/ 393 w 3934"/>
                <a:gd name="connsiteY0" fmla="*/ 3934 h 3934"/>
                <a:gd name="connsiteX1" fmla="*/ 3147 w 3934"/>
                <a:gd name="connsiteY1" fmla="*/ 3147 h 3934"/>
                <a:gd name="connsiteX2" fmla="*/ 4328 w 3934"/>
                <a:gd name="connsiteY2" fmla="*/ 393 h 3934"/>
                <a:gd name="connsiteX3" fmla="*/ 2754 w 3934"/>
                <a:gd name="connsiteY3" fmla="*/ 0 h 3934"/>
                <a:gd name="connsiteX4" fmla="*/ 0 w 3934"/>
                <a:gd name="connsiteY4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93" y="3934"/>
                  </a:moveTo>
                  <a:lnTo>
                    <a:pt x="3147" y="3147"/>
                  </a:lnTo>
                  <a:lnTo>
                    <a:pt x="4328" y="393"/>
                  </a:lnTo>
                  <a:lnTo>
                    <a:pt x="2754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69" name="Freeform: Shape 2863">
              <a:extLst>
                <a:ext uri="{FF2B5EF4-FFF2-40B4-BE49-F238E27FC236}">
                  <a16:creationId xmlns:a16="http://schemas.microsoft.com/office/drawing/2014/main" id="{FCCC14E5-DBF2-4CF0-BBA6-F425AE5D8FA2}"/>
                </a:ext>
              </a:extLst>
            </p:cNvPr>
            <p:cNvSpPr/>
            <p:nvPr/>
          </p:nvSpPr>
          <p:spPr>
            <a:xfrm>
              <a:off x="2784923" y="1949366"/>
              <a:ext cx="3934" cy="3934"/>
            </a:xfrm>
            <a:custGeom>
              <a:avLst/>
              <a:gdLst>
                <a:gd name="connsiteX0" fmla="*/ 0 w 3934"/>
                <a:gd name="connsiteY0" fmla="*/ 2754 h 3934"/>
                <a:gd name="connsiteX1" fmla="*/ 0 w 3934"/>
                <a:gd name="connsiteY1" fmla="*/ 5508 h 3934"/>
                <a:gd name="connsiteX2" fmla="*/ 2754 w 3934"/>
                <a:gd name="connsiteY2" fmla="*/ 3541 h 3934"/>
                <a:gd name="connsiteX3" fmla="*/ 5115 w 3934"/>
                <a:gd name="connsiteY3" fmla="*/ 393 h 3934"/>
                <a:gd name="connsiteX4" fmla="*/ 5115 w 3934"/>
                <a:gd name="connsiteY4" fmla="*/ 0 h 3934"/>
                <a:gd name="connsiteX5" fmla="*/ 2361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2754"/>
                  </a:moveTo>
                  <a:lnTo>
                    <a:pt x="0" y="5508"/>
                  </a:lnTo>
                  <a:lnTo>
                    <a:pt x="2754" y="3541"/>
                  </a:lnTo>
                  <a:lnTo>
                    <a:pt x="5115" y="393"/>
                  </a:lnTo>
                  <a:lnTo>
                    <a:pt x="5115" y="0"/>
                  </a:lnTo>
                  <a:lnTo>
                    <a:pt x="236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70" name="Freeform: Shape 2864">
              <a:extLst>
                <a:ext uri="{FF2B5EF4-FFF2-40B4-BE49-F238E27FC236}">
                  <a16:creationId xmlns:a16="http://schemas.microsoft.com/office/drawing/2014/main" id="{A30C7C3A-AA6A-4862-B79F-88F04FC67521}"/>
                </a:ext>
              </a:extLst>
            </p:cNvPr>
            <p:cNvSpPr/>
            <p:nvPr/>
          </p:nvSpPr>
          <p:spPr>
            <a:xfrm>
              <a:off x="3994709" y="1924580"/>
              <a:ext cx="27540" cy="15737"/>
            </a:xfrm>
            <a:custGeom>
              <a:avLst/>
              <a:gdLst>
                <a:gd name="connsiteX0" fmla="*/ 27146 w 27539"/>
                <a:gd name="connsiteY0" fmla="*/ 1574 h 15737"/>
                <a:gd name="connsiteX1" fmla="*/ 25966 w 27539"/>
                <a:gd name="connsiteY1" fmla="*/ 1180 h 15737"/>
                <a:gd name="connsiteX2" fmla="*/ 22819 w 27539"/>
                <a:gd name="connsiteY2" fmla="*/ 787 h 15737"/>
                <a:gd name="connsiteX3" fmla="*/ 20065 w 27539"/>
                <a:gd name="connsiteY3" fmla="*/ 0 h 15737"/>
                <a:gd name="connsiteX4" fmla="*/ 16917 w 27539"/>
                <a:gd name="connsiteY4" fmla="*/ 393 h 15737"/>
                <a:gd name="connsiteX5" fmla="*/ 13770 w 27539"/>
                <a:gd name="connsiteY5" fmla="*/ 787 h 15737"/>
                <a:gd name="connsiteX6" fmla="*/ 11016 w 27539"/>
                <a:gd name="connsiteY6" fmla="*/ 1180 h 15737"/>
                <a:gd name="connsiteX7" fmla="*/ 7869 w 27539"/>
                <a:gd name="connsiteY7" fmla="*/ 1574 h 15737"/>
                <a:gd name="connsiteX8" fmla="*/ 5114 w 27539"/>
                <a:gd name="connsiteY8" fmla="*/ 2754 h 15737"/>
                <a:gd name="connsiteX9" fmla="*/ 1967 w 27539"/>
                <a:gd name="connsiteY9" fmla="*/ 4328 h 15737"/>
                <a:gd name="connsiteX10" fmla="*/ 0 w 27539"/>
                <a:gd name="connsiteY10" fmla="*/ 7475 h 15737"/>
                <a:gd name="connsiteX11" fmla="*/ 2754 w 27539"/>
                <a:gd name="connsiteY11" fmla="*/ 9049 h 15737"/>
                <a:gd name="connsiteX12" fmla="*/ 5901 w 27539"/>
                <a:gd name="connsiteY12" fmla="*/ 9836 h 15737"/>
                <a:gd name="connsiteX13" fmla="*/ 8655 w 27539"/>
                <a:gd name="connsiteY13" fmla="*/ 11016 h 15737"/>
                <a:gd name="connsiteX14" fmla="*/ 11803 w 27539"/>
                <a:gd name="connsiteY14" fmla="*/ 12196 h 15737"/>
                <a:gd name="connsiteX15" fmla="*/ 14557 w 27539"/>
                <a:gd name="connsiteY15" fmla="*/ 12196 h 15737"/>
                <a:gd name="connsiteX16" fmla="*/ 17704 w 27539"/>
                <a:gd name="connsiteY16" fmla="*/ 13770 h 15737"/>
                <a:gd name="connsiteX17" fmla="*/ 20458 w 27539"/>
                <a:gd name="connsiteY17" fmla="*/ 15344 h 15737"/>
                <a:gd name="connsiteX18" fmla="*/ 23212 w 27539"/>
                <a:gd name="connsiteY18" fmla="*/ 16131 h 15737"/>
                <a:gd name="connsiteX19" fmla="*/ 25966 w 27539"/>
                <a:gd name="connsiteY19" fmla="*/ 16917 h 15737"/>
                <a:gd name="connsiteX20" fmla="*/ 29113 w 27539"/>
                <a:gd name="connsiteY20" fmla="*/ 16131 h 15737"/>
                <a:gd name="connsiteX21" fmla="*/ 29900 w 27539"/>
                <a:gd name="connsiteY21" fmla="*/ 12983 h 15737"/>
                <a:gd name="connsiteX22" fmla="*/ 30294 w 27539"/>
                <a:gd name="connsiteY22" fmla="*/ 10229 h 15737"/>
                <a:gd name="connsiteX23" fmla="*/ 29900 w 27539"/>
                <a:gd name="connsiteY23" fmla="*/ 7475 h 15737"/>
                <a:gd name="connsiteX24" fmla="*/ 28327 w 27539"/>
                <a:gd name="connsiteY24" fmla="*/ 4721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7539" h="15737">
                  <a:moveTo>
                    <a:pt x="27146" y="1574"/>
                  </a:moveTo>
                  <a:lnTo>
                    <a:pt x="25966" y="1180"/>
                  </a:lnTo>
                  <a:lnTo>
                    <a:pt x="22819" y="787"/>
                  </a:lnTo>
                  <a:lnTo>
                    <a:pt x="20065" y="0"/>
                  </a:lnTo>
                  <a:lnTo>
                    <a:pt x="16917" y="393"/>
                  </a:lnTo>
                  <a:lnTo>
                    <a:pt x="13770" y="787"/>
                  </a:lnTo>
                  <a:lnTo>
                    <a:pt x="11016" y="1180"/>
                  </a:lnTo>
                  <a:lnTo>
                    <a:pt x="7869" y="1574"/>
                  </a:lnTo>
                  <a:lnTo>
                    <a:pt x="5114" y="2754"/>
                  </a:lnTo>
                  <a:lnTo>
                    <a:pt x="1967" y="4328"/>
                  </a:lnTo>
                  <a:lnTo>
                    <a:pt x="0" y="7475"/>
                  </a:lnTo>
                  <a:lnTo>
                    <a:pt x="2754" y="9049"/>
                  </a:lnTo>
                  <a:lnTo>
                    <a:pt x="5901" y="9836"/>
                  </a:lnTo>
                  <a:lnTo>
                    <a:pt x="8655" y="11016"/>
                  </a:lnTo>
                  <a:lnTo>
                    <a:pt x="11803" y="12196"/>
                  </a:lnTo>
                  <a:lnTo>
                    <a:pt x="14557" y="12196"/>
                  </a:lnTo>
                  <a:lnTo>
                    <a:pt x="17704" y="13770"/>
                  </a:lnTo>
                  <a:lnTo>
                    <a:pt x="20458" y="15344"/>
                  </a:lnTo>
                  <a:lnTo>
                    <a:pt x="23212" y="16131"/>
                  </a:lnTo>
                  <a:lnTo>
                    <a:pt x="25966" y="16917"/>
                  </a:lnTo>
                  <a:lnTo>
                    <a:pt x="29113" y="16131"/>
                  </a:lnTo>
                  <a:lnTo>
                    <a:pt x="29900" y="12983"/>
                  </a:lnTo>
                  <a:lnTo>
                    <a:pt x="30294" y="10229"/>
                  </a:lnTo>
                  <a:lnTo>
                    <a:pt x="29900" y="7475"/>
                  </a:lnTo>
                  <a:lnTo>
                    <a:pt x="28327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71" name="Freeform: Shape 2865">
              <a:extLst>
                <a:ext uri="{FF2B5EF4-FFF2-40B4-BE49-F238E27FC236}">
                  <a16:creationId xmlns:a16="http://schemas.microsoft.com/office/drawing/2014/main" id="{CC40598E-2129-4180-A094-8542A0140697}"/>
                </a:ext>
              </a:extLst>
            </p:cNvPr>
            <p:cNvSpPr/>
            <p:nvPr/>
          </p:nvSpPr>
          <p:spPr>
            <a:xfrm>
              <a:off x="4174112" y="1712523"/>
              <a:ext cx="3934" cy="3934"/>
            </a:xfrm>
            <a:custGeom>
              <a:avLst/>
              <a:gdLst>
                <a:gd name="connsiteX0" fmla="*/ 0 w 3934"/>
                <a:gd name="connsiteY0" fmla="*/ 4328 h 3934"/>
                <a:gd name="connsiteX1" fmla="*/ 3147 w 3934"/>
                <a:gd name="connsiteY1" fmla="*/ 3541 h 3934"/>
                <a:gd name="connsiteX2" fmla="*/ 3147 w 3934"/>
                <a:gd name="connsiteY2" fmla="*/ 3147 h 3934"/>
                <a:gd name="connsiteX3" fmla="*/ 5114 w 3934"/>
                <a:gd name="connsiteY3" fmla="*/ 0 h 3934"/>
                <a:gd name="connsiteX4" fmla="*/ 4721 w 3934"/>
                <a:gd name="connsiteY4" fmla="*/ 0 h 3934"/>
                <a:gd name="connsiteX5" fmla="*/ 1967 w 3934"/>
                <a:gd name="connsiteY5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4328"/>
                  </a:moveTo>
                  <a:lnTo>
                    <a:pt x="3147" y="3541"/>
                  </a:lnTo>
                  <a:lnTo>
                    <a:pt x="3147" y="3147"/>
                  </a:lnTo>
                  <a:lnTo>
                    <a:pt x="5114" y="0"/>
                  </a:lnTo>
                  <a:lnTo>
                    <a:pt x="4721" y="0"/>
                  </a:lnTo>
                  <a:lnTo>
                    <a:pt x="196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72" name="Freeform: Shape 2866">
              <a:extLst>
                <a:ext uri="{FF2B5EF4-FFF2-40B4-BE49-F238E27FC236}">
                  <a16:creationId xmlns:a16="http://schemas.microsoft.com/office/drawing/2014/main" id="{F77BEF2D-3B80-4C71-B6F7-9D9B74F52260}"/>
                </a:ext>
              </a:extLst>
            </p:cNvPr>
            <p:cNvSpPr/>
            <p:nvPr/>
          </p:nvSpPr>
          <p:spPr>
            <a:xfrm>
              <a:off x="2826626" y="2020576"/>
              <a:ext cx="3934" cy="3934"/>
            </a:xfrm>
            <a:custGeom>
              <a:avLst/>
              <a:gdLst>
                <a:gd name="connsiteX0" fmla="*/ 2754 w 0"/>
                <a:gd name="connsiteY0" fmla="*/ 2754 h 3934"/>
                <a:gd name="connsiteX1" fmla="*/ 3147 w 0"/>
                <a:gd name="connsiteY1" fmla="*/ 0 h 3934"/>
                <a:gd name="connsiteX2" fmla="*/ 2361 w 0"/>
                <a:gd name="connsiteY2" fmla="*/ 0 h 3934"/>
                <a:gd name="connsiteX3" fmla="*/ 0 w 0"/>
                <a:gd name="connsiteY3" fmla="*/ 2754 h 3934"/>
                <a:gd name="connsiteX4" fmla="*/ 1180 w 0"/>
                <a:gd name="connsiteY4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2754" y="2754"/>
                  </a:moveTo>
                  <a:lnTo>
                    <a:pt x="3147" y="0"/>
                  </a:lnTo>
                  <a:lnTo>
                    <a:pt x="2361" y="0"/>
                  </a:lnTo>
                  <a:lnTo>
                    <a:pt x="0" y="2754"/>
                  </a:lnTo>
                  <a:lnTo>
                    <a:pt x="1180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73" name="Freeform: Shape 2867">
              <a:extLst>
                <a:ext uri="{FF2B5EF4-FFF2-40B4-BE49-F238E27FC236}">
                  <a16:creationId xmlns:a16="http://schemas.microsoft.com/office/drawing/2014/main" id="{258C1C78-0D73-4BE1-AA35-E7822DE2E563}"/>
                </a:ext>
              </a:extLst>
            </p:cNvPr>
            <p:cNvSpPr/>
            <p:nvPr/>
          </p:nvSpPr>
          <p:spPr>
            <a:xfrm>
              <a:off x="2821905" y="2022936"/>
              <a:ext cx="3934" cy="3934"/>
            </a:xfrm>
            <a:custGeom>
              <a:avLst/>
              <a:gdLst>
                <a:gd name="connsiteX0" fmla="*/ 0 w 0"/>
                <a:gd name="connsiteY0" fmla="*/ 2754 h 3934"/>
                <a:gd name="connsiteX1" fmla="*/ 0 w 0"/>
                <a:gd name="connsiteY1" fmla="*/ 5901 h 3934"/>
                <a:gd name="connsiteX2" fmla="*/ 3147 w 0"/>
                <a:gd name="connsiteY2" fmla="*/ 3147 h 3934"/>
                <a:gd name="connsiteX3" fmla="*/ 3147 w 0"/>
                <a:gd name="connsiteY3" fmla="*/ 787 h 3934"/>
                <a:gd name="connsiteX4" fmla="*/ 3147 w 0"/>
                <a:gd name="connsiteY4" fmla="*/ 0 h 3934"/>
                <a:gd name="connsiteX5" fmla="*/ 3147 w 0"/>
                <a:gd name="connsiteY5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3934">
                  <a:moveTo>
                    <a:pt x="0" y="2754"/>
                  </a:moveTo>
                  <a:lnTo>
                    <a:pt x="0" y="5901"/>
                  </a:lnTo>
                  <a:lnTo>
                    <a:pt x="3147" y="3147"/>
                  </a:lnTo>
                  <a:lnTo>
                    <a:pt x="3147" y="787"/>
                  </a:lnTo>
                  <a:lnTo>
                    <a:pt x="3147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74" name="Freeform: Shape 2868">
              <a:extLst>
                <a:ext uri="{FF2B5EF4-FFF2-40B4-BE49-F238E27FC236}">
                  <a16:creationId xmlns:a16="http://schemas.microsoft.com/office/drawing/2014/main" id="{E7CFB29C-CFA1-416F-A05D-3D773A9DEA59}"/>
                </a:ext>
              </a:extLst>
            </p:cNvPr>
            <p:cNvSpPr/>
            <p:nvPr/>
          </p:nvSpPr>
          <p:spPr>
            <a:xfrm>
              <a:off x="2817971" y="2015855"/>
              <a:ext cx="3934" cy="7869"/>
            </a:xfrm>
            <a:custGeom>
              <a:avLst/>
              <a:gdLst>
                <a:gd name="connsiteX0" fmla="*/ 2754 w 3934"/>
                <a:gd name="connsiteY0" fmla="*/ 2754 h 7868"/>
                <a:gd name="connsiteX1" fmla="*/ 0 w 3934"/>
                <a:gd name="connsiteY1" fmla="*/ 3147 h 7868"/>
                <a:gd name="connsiteX2" fmla="*/ 2754 w 3934"/>
                <a:gd name="connsiteY2" fmla="*/ 3934 h 7868"/>
                <a:gd name="connsiteX3" fmla="*/ 3934 w 3934"/>
                <a:gd name="connsiteY3" fmla="*/ 6688 h 7868"/>
                <a:gd name="connsiteX4" fmla="*/ 1574 w 3934"/>
                <a:gd name="connsiteY4" fmla="*/ 9442 h 7868"/>
                <a:gd name="connsiteX5" fmla="*/ 4721 w 3934"/>
                <a:gd name="connsiteY5" fmla="*/ 7869 h 7868"/>
                <a:gd name="connsiteX6" fmla="*/ 6295 w 3934"/>
                <a:gd name="connsiteY6" fmla="*/ 4721 h 7868"/>
                <a:gd name="connsiteX7" fmla="*/ 7082 w 3934"/>
                <a:gd name="connsiteY7" fmla="*/ 1967 h 7868"/>
                <a:gd name="connsiteX8" fmla="*/ 5508 w 3934"/>
                <a:gd name="connsiteY8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2754" y="2754"/>
                  </a:moveTo>
                  <a:lnTo>
                    <a:pt x="0" y="3147"/>
                  </a:lnTo>
                  <a:lnTo>
                    <a:pt x="2754" y="3934"/>
                  </a:lnTo>
                  <a:lnTo>
                    <a:pt x="3934" y="6688"/>
                  </a:lnTo>
                  <a:lnTo>
                    <a:pt x="1574" y="9442"/>
                  </a:lnTo>
                  <a:lnTo>
                    <a:pt x="4721" y="7869"/>
                  </a:lnTo>
                  <a:lnTo>
                    <a:pt x="6295" y="4721"/>
                  </a:lnTo>
                  <a:lnTo>
                    <a:pt x="7082" y="1967"/>
                  </a:lnTo>
                  <a:lnTo>
                    <a:pt x="550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75" name="Freeform: Shape 2869">
              <a:extLst>
                <a:ext uri="{FF2B5EF4-FFF2-40B4-BE49-F238E27FC236}">
                  <a16:creationId xmlns:a16="http://schemas.microsoft.com/office/drawing/2014/main" id="{C5171D16-1910-4E0D-8265-1796FD66E363}"/>
                </a:ext>
              </a:extLst>
            </p:cNvPr>
            <p:cNvSpPr/>
            <p:nvPr/>
          </p:nvSpPr>
          <p:spPr>
            <a:xfrm>
              <a:off x="4186308" y="1750685"/>
              <a:ext cx="3934" cy="3934"/>
            </a:xfrm>
            <a:custGeom>
              <a:avLst/>
              <a:gdLst>
                <a:gd name="connsiteX0" fmla="*/ 1574 w 0"/>
                <a:gd name="connsiteY0" fmla="*/ 2754 h 0"/>
                <a:gd name="connsiteX1" fmla="*/ 787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2754"/>
                  </a:moveTo>
                  <a:lnTo>
                    <a:pt x="78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76" name="Freeform: Shape 2870">
              <a:extLst>
                <a:ext uri="{FF2B5EF4-FFF2-40B4-BE49-F238E27FC236}">
                  <a16:creationId xmlns:a16="http://schemas.microsoft.com/office/drawing/2014/main" id="{DAA66035-887E-4C2D-BF9C-8DAEAB84A7CC}"/>
                </a:ext>
              </a:extLst>
            </p:cNvPr>
            <p:cNvSpPr/>
            <p:nvPr/>
          </p:nvSpPr>
          <p:spPr>
            <a:xfrm>
              <a:off x="4100935" y="1817174"/>
              <a:ext cx="35408" cy="23606"/>
            </a:xfrm>
            <a:custGeom>
              <a:avLst/>
              <a:gdLst>
                <a:gd name="connsiteX0" fmla="*/ 33441 w 35408"/>
                <a:gd name="connsiteY0" fmla="*/ 9049 h 23605"/>
                <a:gd name="connsiteX1" fmla="*/ 34228 w 35408"/>
                <a:gd name="connsiteY1" fmla="*/ 8655 h 23605"/>
                <a:gd name="connsiteX2" fmla="*/ 35408 w 35408"/>
                <a:gd name="connsiteY2" fmla="*/ 5901 h 23605"/>
                <a:gd name="connsiteX3" fmla="*/ 33835 w 35408"/>
                <a:gd name="connsiteY3" fmla="*/ 5114 h 23605"/>
                <a:gd name="connsiteX4" fmla="*/ 33048 w 35408"/>
                <a:gd name="connsiteY4" fmla="*/ 2754 h 23605"/>
                <a:gd name="connsiteX5" fmla="*/ 33441 w 35408"/>
                <a:gd name="connsiteY5" fmla="*/ 1574 h 23605"/>
                <a:gd name="connsiteX6" fmla="*/ 30687 w 35408"/>
                <a:gd name="connsiteY6" fmla="*/ 0 h 23605"/>
                <a:gd name="connsiteX7" fmla="*/ 29900 w 35408"/>
                <a:gd name="connsiteY7" fmla="*/ 1180 h 23605"/>
                <a:gd name="connsiteX8" fmla="*/ 27540 w 35408"/>
                <a:gd name="connsiteY8" fmla="*/ 4328 h 23605"/>
                <a:gd name="connsiteX9" fmla="*/ 27540 w 35408"/>
                <a:gd name="connsiteY9" fmla="*/ 4328 h 23605"/>
                <a:gd name="connsiteX10" fmla="*/ 18884 w 35408"/>
                <a:gd name="connsiteY10" fmla="*/ 12196 h 23605"/>
                <a:gd name="connsiteX11" fmla="*/ 17704 w 35408"/>
                <a:gd name="connsiteY11" fmla="*/ 12590 h 23605"/>
                <a:gd name="connsiteX12" fmla="*/ 14950 w 35408"/>
                <a:gd name="connsiteY12" fmla="*/ 14163 h 23605"/>
                <a:gd name="connsiteX13" fmla="*/ 18098 w 35408"/>
                <a:gd name="connsiteY13" fmla="*/ 11803 h 23605"/>
                <a:gd name="connsiteX14" fmla="*/ 20458 w 35408"/>
                <a:gd name="connsiteY14" fmla="*/ 9049 h 23605"/>
                <a:gd name="connsiteX15" fmla="*/ 23212 w 35408"/>
                <a:gd name="connsiteY15" fmla="*/ 6295 h 23605"/>
                <a:gd name="connsiteX16" fmla="*/ 25179 w 35408"/>
                <a:gd name="connsiteY16" fmla="*/ 3147 h 23605"/>
                <a:gd name="connsiteX17" fmla="*/ 22425 w 35408"/>
                <a:gd name="connsiteY17" fmla="*/ 5901 h 23605"/>
                <a:gd name="connsiteX18" fmla="*/ 20065 w 35408"/>
                <a:gd name="connsiteY18" fmla="*/ 8655 h 23605"/>
                <a:gd name="connsiteX19" fmla="*/ 17311 w 35408"/>
                <a:gd name="connsiteY19" fmla="*/ 11016 h 23605"/>
                <a:gd name="connsiteX20" fmla="*/ 14163 w 35408"/>
                <a:gd name="connsiteY20" fmla="*/ 12590 h 23605"/>
                <a:gd name="connsiteX21" fmla="*/ 11409 w 35408"/>
                <a:gd name="connsiteY21" fmla="*/ 13770 h 23605"/>
                <a:gd name="connsiteX22" fmla="*/ 8655 w 35408"/>
                <a:gd name="connsiteY22" fmla="*/ 16130 h 23605"/>
                <a:gd name="connsiteX23" fmla="*/ 5508 w 35408"/>
                <a:gd name="connsiteY23" fmla="*/ 17704 h 23605"/>
                <a:gd name="connsiteX24" fmla="*/ 2754 w 35408"/>
                <a:gd name="connsiteY24" fmla="*/ 19671 h 23605"/>
                <a:gd name="connsiteX25" fmla="*/ 787 w 35408"/>
                <a:gd name="connsiteY25" fmla="*/ 20458 h 23605"/>
                <a:gd name="connsiteX26" fmla="*/ 0 w 35408"/>
                <a:gd name="connsiteY26" fmla="*/ 22032 h 23605"/>
                <a:gd name="connsiteX27" fmla="*/ 2754 w 35408"/>
                <a:gd name="connsiteY27" fmla="*/ 23212 h 23605"/>
                <a:gd name="connsiteX28" fmla="*/ 5508 w 35408"/>
                <a:gd name="connsiteY28" fmla="*/ 21245 h 23605"/>
                <a:gd name="connsiteX29" fmla="*/ 8655 w 35408"/>
                <a:gd name="connsiteY29" fmla="*/ 19671 h 23605"/>
                <a:gd name="connsiteX30" fmla="*/ 11803 w 35408"/>
                <a:gd name="connsiteY30" fmla="*/ 17311 h 23605"/>
                <a:gd name="connsiteX31" fmla="*/ 14557 w 35408"/>
                <a:gd name="connsiteY31" fmla="*/ 15344 h 23605"/>
                <a:gd name="connsiteX32" fmla="*/ 13376 w 35408"/>
                <a:gd name="connsiteY32" fmla="*/ 17704 h 23605"/>
                <a:gd name="connsiteX33" fmla="*/ 9049 w 35408"/>
                <a:gd name="connsiteY33" fmla="*/ 21245 h 23605"/>
                <a:gd name="connsiteX34" fmla="*/ 7475 w 35408"/>
                <a:gd name="connsiteY34" fmla="*/ 22425 h 23605"/>
                <a:gd name="connsiteX35" fmla="*/ 4721 w 35408"/>
                <a:gd name="connsiteY35" fmla="*/ 24786 h 23605"/>
                <a:gd name="connsiteX36" fmla="*/ 7869 w 35408"/>
                <a:gd name="connsiteY36" fmla="*/ 23212 h 23605"/>
                <a:gd name="connsiteX37" fmla="*/ 10622 w 35408"/>
                <a:gd name="connsiteY37" fmla="*/ 23212 h 23605"/>
                <a:gd name="connsiteX38" fmla="*/ 13770 w 35408"/>
                <a:gd name="connsiteY38" fmla="*/ 22819 h 23605"/>
                <a:gd name="connsiteX39" fmla="*/ 16524 w 35408"/>
                <a:gd name="connsiteY39" fmla="*/ 20458 h 23605"/>
                <a:gd name="connsiteX40" fmla="*/ 19671 w 35408"/>
                <a:gd name="connsiteY40" fmla="*/ 18491 h 23605"/>
                <a:gd name="connsiteX41" fmla="*/ 22425 w 35408"/>
                <a:gd name="connsiteY41" fmla="*/ 15737 h 23605"/>
                <a:gd name="connsiteX42" fmla="*/ 25573 w 35408"/>
                <a:gd name="connsiteY42" fmla="*/ 13376 h 23605"/>
                <a:gd name="connsiteX43" fmla="*/ 23999 w 35408"/>
                <a:gd name="connsiteY43" fmla="*/ 16917 h 23605"/>
                <a:gd name="connsiteX44" fmla="*/ 19671 w 35408"/>
                <a:gd name="connsiteY44" fmla="*/ 21245 h 23605"/>
                <a:gd name="connsiteX45" fmla="*/ 22425 w 35408"/>
                <a:gd name="connsiteY45" fmla="*/ 18884 h 23605"/>
                <a:gd name="connsiteX46" fmla="*/ 25573 w 35408"/>
                <a:gd name="connsiteY46" fmla="*/ 16130 h 23605"/>
                <a:gd name="connsiteX47" fmla="*/ 28327 w 35408"/>
                <a:gd name="connsiteY47" fmla="*/ 13376 h 23605"/>
                <a:gd name="connsiteX48" fmla="*/ 29900 w 35408"/>
                <a:gd name="connsiteY48" fmla="*/ 10622 h 23605"/>
                <a:gd name="connsiteX49" fmla="*/ 32654 w 35408"/>
                <a:gd name="connsiteY49" fmla="*/ 7475 h 23605"/>
                <a:gd name="connsiteX50" fmla="*/ 31081 w 35408"/>
                <a:gd name="connsiteY50" fmla="*/ 11803 h 23605"/>
                <a:gd name="connsiteX51" fmla="*/ 29507 w 35408"/>
                <a:gd name="connsiteY51" fmla="*/ 13376 h 23605"/>
                <a:gd name="connsiteX52" fmla="*/ 26753 w 35408"/>
                <a:gd name="connsiteY52" fmla="*/ 15737 h 23605"/>
                <a:gd name="connsiteX53" fmla="*/ 23999 w 35408"/>
                <a:gd name="connsiteY53" fmla="*/ 18491 h 23605"/>
                <a:gd name="connsiteX54" fmla="*/ 21245 w 35408"/>
                <a:gd name="connsiteY54" fmla="*/ 21638 h 23605"/>
                <a:gd name="connsiteX55" fmla="*/ 33441 w 35408"/>
                <a:gd name="connsiteY55" fmla="*/ 9049 h 23605"/>
                <a:gd name="connsiteX56" fmla="*/ 25966 w 35408"/>
                <a:gd name="connsiteY56" fmla="*/ 15344 h 23605"/>
                <a:gd name="connsiteX57" fmla="*/ 28327 w 35408"/>
                <a:gd name="connsiteY57" fmla="*/ 12983 h 23605"/>
                <a:gd name="connsiteX58" fmla="*/ 28720 w 35408"/>
                <a:gd name="connsiteY58" fmla="*/ 12590 h 23605"/>
                <a:gd name="connsiteX59" fmla="*/ 25966 w 35408"/>
                <a:gd name="connsiteY59" fmla="*/ 15344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35408" h="23605">
                  <a:moveTo>
                    <a:pt x="33441" y="9049"/>
                  </a:moveTo>
                  <a:lnTo>
                    <a:pt x="34228" y="8655"/>
                  </a:lnTo>
                  <a:lnTo>
                    <a:pt x="35408" y="5901"/>
                  </a:lnTo>
                  <a:lnTo>
                    <a:pt x="33835" y="5114"/>
                  </a:lnTo>
                  <a:cubicBezTo>
                    <a:pt x="33835" y="4328"/>
                    <a:pt x="33441" y="3147"/>
                    <a:pt x="33048" y="2754"/>
                  </a:cubicBezTo>
                  <a:lnTo>
                    <a:pt x="33441" y="1574"/>
                  </a:lnTo>
                  <a:lnTo>
                    <a:pt x="30687" y="0"/>
                  </a:lnTo>
                  <a:lnTo>
                    <a:pt x="29900" y="1180"/>
                  </a:lnTo>
                  <a:cubicBezTo>
                    <a:pt x="29113" y="1574"/>
                    <a:pt x="28327" y="2361"/>
                    <a:pt x="27540" y="4328"/>
                  </a:cubicBezTo>
                  <a:lnTo>
                    <a:pt x="27540" y="4328"/>
                  </a:lnTo>
                  <a:lnTo>
                    <a:pt x="18884" y="12196"/>
                  </a:lnTo>
                  <a:lnTo>
                    <a:pt x="17704" y="12590"/>
                  </a:lnTo>
                  <a:lnTo>
                    <a:pt x="14950" y="14163"/>
                  </a:lnTo>
                  <a:lnTo>
                    <a:pt x="18098" y="11803"/>
                  </a:lnTo>
                  <a:lnTo>
                    <a:pt x="20458" y="9049"/>
                  </a:lnTo>
                  <a:lnTo>
                    <a:pt x="23212" y="6295"/>
                  </a:lnTo>
                  <a:lnTo>
                    <a:pt x="25179" y="3147"/>
                  </a:lnTo>
                  <a:lnTo>
                    <a:pt x="22425" y="5901"/>
                  </a:lnTo>
                  <a:lnTo>
                    <a:pt x="20065" y="8655"/>
                  </a:lnTo>
                  <a:lnTo>
                    <a:pt x="17311" y="11016"/>
                  </a:lnTo>
                  <a:lnTo>
                    <a:pt x="14163" y="12590"/>
                  </a:lnTo>
                  <a:lnTo>
                    <a:pt x="11409" y="13770"/>
                  </a:lnTo>
                  <a:lnTo>
                    <a:pt x="8655" y="16130"/>
                  </a:lnTo>
                  <a:lnTo>
                    <a:pt x="5508" y="17704"/>
                  </a:lnTo>
                  <a:lnTo>
                    <a:pt x="2754" y="19671"/>
                  </a:lnTo>
                  <a:lnTo>
                    <a:pt x="787" y="20458"/>
                  </a:lnTo>
                  <a:lnTo>
                    <a:pt x="0" y="22032"/>
                  </a:lnTo>
                  <a:lnTo>
                    <a:pt x="2754" y="23212"/>
                  </a:lnTo>
                  <a:lnTo>
                    <a:pt x="5508" y="21245"/>
                  </a:lnTo>
                  <a:lnTo>
                    <a:pt x="8655" y="19671"/>
                  </a:lnTo>
                  <a:lnTo>
                    <a:pt x="11803" y="17311"/>
                  </a:lnTo>
                  <a:lnTo>
                    <a:pt x="14557" y="15344"/>
                  </a:lnTo>
                  <a:lnTo>
                    <a:pt x="13376" y="17704"/>
                  </a:lnTo>
                  <a:cubicBezTo>
                    <a:pt x="12196" y="18884"/>
                    <a:pt x="10622" y="20065"/>
                    <a:pt x="9049" y="21245"/>
                  </a:cubicBezTo>
                  <a:lnTo>
                    <a:pt x="7475" y="22425"/>
                  </a:lnTo>
                  <a:lnTo>
                    <a:pt x="4721" y="24786"/>
                  </a:lnTo>
                  <a:cubicBezTo>
                    <a:pt x="5901" y="24392"/>
                    <a:pt x="6688" y="23999"/>
                    <a:pt x="7869" y="23212"/>
                  </a:cubicBezTo>
                  <a:lnTo>
                    <a:pt x="10622" y="23212"/>
                  </a:lnTo>
                  <a:lnTo>
                    <a:pt x="13770" y="22819"/>
                  </a:lnTo>
                  <a:lnTo>
                    <a:pt x="16524" y="20458"/>
                  </a:lnTo>
                  <a:lnTo>
                    <a:pt x="19671" y="18491"/>
                  </a:lnTo>
                  <a:lnTo>
                    <a:pt x="22425" y="15737"/>
                  </a:lnTo>
                  <a:cubicBezTo>
                    <a:pt x="23606" y="14950"/>
                    <a:pt x="24392" y="14163"/>
                    <a:pt x="25573" y="13376"/>
                  </a:cubicBezTo>
                  <a:cubicBezTo>
                    <a:pt x="25573" y="14950"/>
                    <a:pt x="24786" y="16130"/>
                    <a:pt x="23999" y="16917"/>
                  </a:cubicBezTo>
                  <a:lnTo>
                    <a:pt x="19671" y="21245"/>
                  </a:lnTo>
                  <a:lnTo>
                    <a:pt x="22425" y="18884"/>
                  </a:lnTo>
                  <a:lnTo>
                    <a:pt x="25573" y="16130"/>
                  </a:lnTo>
                  <a:lnTo>
                    <a:pt x="28327" y="13376"/>
                  </a:lnTo>
                  <a:lnTo>
                    <a:pt x="29900" y="10622"/>
                  </a:lnTo>
                  <a:lnTo>
                    <a:pt x="32654" y="7475"/>
                  </a:lnTo>
                  <a:cubicBezTo>
                    <a:pt x="32654" y="9049"/>
                    <a:pt x="31867" y="10229"/>
                    <a:pt x="31081" y="11803"/>
                  </a:cubicBezTo>
                  <a:lnTo>
                    <a:pt x="29507" y="13376"/>
                  </a:lnTo>
                  <a:lnTo>
                    <a:pt x="26753" y="15737"/>
                  </a:lnTo>
                  <a:lnTo>
                    <a:pt x="23999" y="18491"/>
                  </a:lnTo>
                  <a:lnTo>
                    <a:pt x="21245" y="21638"/>
                  </a:lnTo>
                  <a:cubicBezTo>
                    <a:pt x="23212" y="18098"/>
                    <a:pt x="31474" y="12590"/>
                    <a:pt x="33441" y="9049"/>
                  </a:cubicBezTo>
                  <a:close/>
                  <a:moveTo>
                    <a:pt x="25966" y="15344"/>
                  </a:moveTo>
                  <a:lnTo>
                    <a:pt x="28327" y="12983"/>
                  </a:lnTo>
                  <a:lnTo>
                    <a:pt x="28720" y="12590"/>
                  </a:lnTo>
                  <a:cubicBezTo>
                    <a:pt x="27933" y="13376"/>
                    <a:pt x="26753" y="14557"/>
                    <a:pt x="25966" y="15344"/>
                  </a:cubicBez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77" name="Freeform: Shape 2871">
              <a:extLst>
                <a:ext uri="{FF2B5EF4-FFF2-40B4-BE49-F238E27FC236}">
                  <a16:creationId xmlns:a16="http://schemas.microsoft.com/office/drawing/2014/main" id="{5A73E303-CCBD-4ED3-98A2-5C90A76D08D3}"/>
                </a:ext>
              </a:extLst>
            </p:cNvPr>
            <p:cNvSpPr/>
            <p:nvPr/>
          </p:nvSpPr>
          <p:spPr>
            <a:xfrm>
              <a:off x="4131228" y="1821502"/>
              <a:ext cx="11803" cy="7869"/>
            </a:xfrm>
            <a:custGeom>
              <a:avLst/>
              <a:gdLst>
                <a:gd name="connsiteX0" fmla="*/ 5901 w 11802"/>
                <a:gd name="connsiteY0" fmla="*/ 8262 h 7868"/>
                <a:gd name="connsiteX1" fmla="*/ 8655 w 11802"/>
                <a:gd name="connsiteY1" fmla="*/ 6688 h 7868"/>
                <a:gd name="connsiteX2" fmla="*/ 10623 w 11802"/>
                <a:gd name="connsiteY2" fmla="*/ 3541 h 7868"/>
                <a:gd name="connsiteX3" fmla="*/ 11803 w 11802"/>
                <a:gd name="connsiteY3" fmla="*/ 787 h 7868"/>
                <a:gd name="connsiteX4" fmla="*/ 11016 w 11802"/>
                <a:gd name="connsiteY4" fmla="*/ 0 h 7868"/>
                <a:gd name="connsiteX5" fmla="*/ 8262 w 11802"/>
                <a:gd name="connsiteY5" fmla="*/ 1574 h 7868"/>
                <a:gd name="connsiteX6" fmla="*/ 5901 w 11802"/>
                <a:gd name="connsiteY6" fmla="*/ 4721 h 7868"/>
                <a:gd name="connsiteX7" fmla="*/ 2754 w 11802"/>
                <a:gd name="connsiteY7" fmla="*/ 7082 h 7868"/>
                <a:gd name="connsiteX8" fmla="*/ 0 w 11802"/>
                <a:gd name="connsiteY8" fmla="*/ 9836 h 7868"/>
                <a:gd name="connsiteX9" fmla="*/ 2754 w 11802"/>
                <a:gd name="connsiteY9" fmla="*/ 944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7868">
                  <a:moveTo>
                    <a:pt x="5901" y="8262"/>
                  </a:moveTo>
                  <a:lnTo>
                    <a:pt x="8655" y="6688"/>
                  </a:lnTo>
                  <a:lnTo>
                    <a:pt x="10623" y="3541"/>
                  </a:lnTo>
                  <a:lnTo>
                    <a:pt x="11803" y="787"/>
                  </a:lnTo>
                  <a:lnTo>
                    <a:pt x="11016" y="0"/>
                  </a:lnTo>
                  <a:lnTo>
                    <a:pt x="8262" y="1574"/>
                  </a:lnTo>
                  <a:lnTo>
                    <a:pt x="5901" y="4721"/>
                  </a:lnTo>
                  <a:lnTo>
                    <a:pt x="2754" y="7082"/>
                  </a:lnTo>
                  <a:lnTo>
                    <a:pt x="0" y="9836"/>
                  </a:lnTo>
                  <a:lnTo>
                    <a:pt x="2754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78" name="Freeform: Shape 2872">
              <a:extLst>
                <a:ext uri="{FF2B5EF4-FFF2-40B4-BE49-F238E27FC236}">
                  <a16:creationId xmlns:a16="http://schemas.microsoft.com/office/drawing/2014/main" id="{D550AAAE-F383-4D72-8A8B-C5F0575143C6}"/>
                </a:ext>
              </a:extLst>
            </p:cNvPr>
            <p:cNvSpPr/>
            <p:nvPr/>
          </p:nvSpPr>
          <p:spPr>
            <a:xfrm>
              <a:off x="4627732" y="1870287"/>
              <a:ext cx="7869" cy="3934"/>
            </a:xfrm>
            <a:custGeom>
              <a:avLst/>
              <a:gdLst>
                <a:gd name="connsiteX0" fmla="*/ 5901 w 7868"/>
                <a:gd name="connsiteY0" fmla="*/ 3934 h 3934"/>
                <a:gd name="connsiteX1" fmla="*/ 9049 w 7868"/>
                <a:gd name="connsiteY1" fmla="*/ 2754 h 3934"/>
                <a:gd name="connsiteX2" fmla="*/ 5901 w 7868"/>
                <a:gd name="connsiteY2" fmla="*/ 2754 h 3934"/>
                <a:gd name="connsiteX3" fmla="*/ 7869 w 7868"/>
                <a:gd name="connsiteY3" fmla="*/ 0 h 3934"/>
                <a:gd name="connsiteX4" fmla="*/ 5901 w 7868"/>
                <a:gd name="connsiteY4" fmla="*/ 393 h 3934"/>
                <a:gd name="connsiteX5" fmla="*/ 3147 w 7868"/>
                <a:gd name="connsiteY5" fmla="*/ 1180 h 3934"/>
                <a:gd name="connsiteX6" fmla="*/ 0 w 7868"/>
                <a:gd name="connsiteY6" fmla="*/ 2754 h 3934"/>
                <a:gd name="connsiteX7" fmla="*/ 2754 w 7868"/>
                <a:gd name="connsiteY7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901" y="3934"/>
                  </a:moveTo>
                  <a:lnTo>
                    <a:pt x="9049" y="2754"/>
                  </a:lnTo>
                  <a:lnTo>
                    <a:pt x="5901" y="2754"/>
                  </a:lnTo>
                  <a:lnTo>
                    <a:pt x="7869" y="0"/>
                  </a:lnTo>
                  <a:lnTo>
                    <a:pt x="5901" y="393"/>
                  </a:lnTo>
                  <a:lnTo>
                    <a:pt x="3147" y="1180"/>
                  </a:lnTo>
                  <a:lnTo>
                    <a:pt x="0" y="2754"/>
                  </a:lnTo>
                  <a:lnTo>
                    <a:pt x="2754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79" name="Freeform: Shape 2873">
              <a:extLst>
                <a:ext uri="{FF2B5EF4-FFF2-40B4-BE49-F238E27FC236}">
                  <a16:creationId xmlns:a16="http://schemas.microsoft.com/office/drawing/2014/main" id="{C6D73CEA-D83A-4F0D-805C-718247CA673C}"/>
                </a:ext>
              </a:extLst>
            </p:cNvPr>
            <p:cNvSpPr/>
            <p:nvPr/>
          </p:nvSpPr>
          <p:spPr>
            <a:xfrm>
              <a:off x="4571473" y="1829764"/>
              <a:ext cx="3934" cy="3934"/>
            </a:xfrm>
            <a:custGeom>
              <a:avLst/>
              <a:gdLst>
                <a:gd name="connsiteX0" fmla="*/ 5901 w 3934"/>
                <a:gd name="connsiteY0" fmla="*/ 2754 h 3934"/>
                <a:gd name="connsiteX1" fmla="*/ 3934 w 3934"/>
                <a:gd name="connsiteY1" fmla="*/ 0 h 3934"/>
                <a:gd name="connsiteX2" fmla="*/ 1180 w 3934"/>
                <a:gd name="connsiteY2" fmla="*/ 1574 h 3934"/>
                <a:gd name="connsiteX3" fmla="*/ 0 w 3934"/>
                <a:gd name="connsiteY3" fmla="*/ 4721 h 3934"/>
                <a:gd name="connsiteX4" fmla="*/ 2754 w 3934"/>
                <a:gd name="connsiteY4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901" y="2754"/>
                  </a:moveTo>
                  <a:lnTo>
                    <a:pt x="3934" y="0"/>
                  </a:lnTo>
                  <a:lnTo>
                    <a:pt x="1180" y="1574"/>
                  </a:lnTo>
                  <a:lnTo>
                    <a:pt x="0" y="4721"/>
                  </a:lnTo>
                  <a:lnTo>
                    <a:pt x="2754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80" name="Freeform: Shape 2874">
              <a:extLst>
                <a:ext uri="{FF2B5EF4-FFF2-40B4-BE49-F238E27FC236}">
                  <a16:creationId xmlns:a16="http://schemas.microsoft.com/office/drawing/2014/main" id="{22757231-C942-43DE-A67E-476B9A4347C4}"/>
                </a:ext>
              </a:extLst>
            </p:cNvPr>
            <p:cNvSpPr/>
            <p:nvPr/>
          </p:nvSpPr>
          <p:spPr>
            <a:xfrm>
              <a:off x="4566751" y="1817568"/>
              <a:ext cx="7869" cy="3934"/>
            </a:xfrm>
            <a:custGeom>
              <a:avLst/>
              <a:gdLst>
                <a:gd name="connsiteX0" fmla="*/ 9049 w 7868"/>
                <a:gd name="connsiteY0" fmla="*/ 3934 h 3934"/>
                <a:gd name="connsiteX1" fmla="*/ 6295 w 7868"/>
                <a:gd name="connsiteY1" fmla="*/ 787 h 3934"/>
                <a:gd name="connsiteX2" fmla="*/ 3147 w 7868"/>
                <a:gd name="connsiteY2" fmla="*/ 0 h 3934"/>
                <a:gd name="connsiteX3" fmla="*/ 3147 w 7868"/>
                <a:gd name="connsiteY3" fmla="*/ 0 h 3934"/>
                <a:gd name="connsiteX4" fmla="*/ 0 w 7868"/>
                <a:gd name="connsiteY4" fmla="*/ 1967 h 3934"/>
                <a:gd name="connsiteX5" fmla="*/ 3147 w 7868"/>
                <a:gd name="connsiteY5" fmla="*/ 3934 h 3934"/>
                <a:gd name="connsiteX6" fmla="*/ 5901 w 7868"/>
                <a:gd name="connsiteY6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9049" y="3934"/>
                  </a:moveTo>
                  <a:lnTo>
                    <a:pt x="6295" y="787"/>
                  </a:lnTo>
                  <a:lnTo>
                    <a:pt x="3147" y="0"/>
                  </a:lnTo>
                  <a:lnTo>
                    <a:pt x="3147" y="0"/>
                  </a:lnTo>
                  <a:lnTo>
                    <a:pt x="0" y="1967"/>
                  </a:lnTo>
                  <a:lnTo>
                    <a:pt x="3147" y="3934"/>
                  </a:lnTo>
                  <a:lnTo>
                    <a:pt x="5901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81" name="Freeform: Shape 2875">
              <a:extLst>
                <a:ext uri="{FF2B5EF4-FFF2-40B4-BE49-F238E27FC236}">
                  <a16:creationId xmlns:a16="http://schemas.microsoft.com/office/drawing/2014/main" id="{2BFF625A-7C61-41F9-B00D-CE09C03F9D61}"/>
                </a:ext>
              </a:extLst>
            </p:cNvPr>
            <p:cNvSpPr/>
            <p:nvPr/>
          </p:nvSpPr>
          <p:spPr>
            <a:xfrm>
              <a:off x="4577374" y="1837239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2361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2361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82" name="Freeform: Shape 2876">
              <a:extLst>
                <a:ext uri="{FF2B5EF4-FFF2-40B4-BE49-F238E27FC236}">
                  <a16:creationId xmlns:a16="http://schemas.microsoft.com/office/drawing/2014/main" id="{3B4DC386-0C9E-41CF-B71A-469C68F0DE05}"/>
                </a:ext>
              </a:extLst>
            </p:cNvPr>
            <p:cNvSpPr/>
            <p:nvPr/>
          </p:nvSpPr>
          <p:spPr>
            <a:xfrm>
              <a:off x="4561637" y="1822289"/>
              <a:ext cx="7869" cy="3934"/>
            </a:xfrm>
            <a:custGeom>
              <a:avLst/>
              <a:gdLst>
                <a:gd name="connsiteX0" fmla="*/ 3147 w 7868"/>
                <a:gd name="connsiteY0" fmla="*/ 0 h 0"/>
                <a:gd name="connsiteX1" fmla="*/ 0 w 7868"/>
                <a:gd name="connsiteY1" fmla="*/ 0 h 0"/>
                <a:gd name="connsiteX2" fmla="*/ 2754 w 7868"/>
                <a:gd name="connsiteY2" fmla="*/ 1967 h 0"/>
                <a:gd name="connsiteX3" fmla="*/ 5901 w 7868"/>
                <a:gd name="connsiteY3" fmla="*/ 3147 h 0"/>
                <a:gd name="connsiteX4" fmla="*/ 8655 w 7868"/>
                <a:gd name="connsiteY4" fmla="*/ 787 h 0"/>
                <a:gd name="connsiteX5" fmla="*/ 5901 w 7868"/>
                <a:gd name="connsiteY5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3147" y="0"/>
                  </a:moveTo>
                  <a:lnTo>
                    <a:pt x="0" y="0"/>
                  </a:lnTo>
                  <a:lnTo>
                    <a:pt x="2754" y="1967"/>
                  </a:lnTo>
                  <a:lnTo>
                    <a:pt x="5901" y="3147"/>
                  </a:lnTo>
                  <a:lnTo>
                    <a:pt x="8655" y="787"/>
                  </a:lnTo>
                  <a:lnTo>
                    <a:pt x="590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83" name="Freeform: Shape 2877">
              <a:extLst>
                <a:ext uri="{FF2B5EF4-FFF2-40B4-BE49-F238E27FC236}">
                  <a16:creationId xmlns:a16="http://schemas.microsoft.com/office/drawing/2014/main" id="{2348FC35-C4FA-40FC-AA50-9ADC228F24E4}"/>
                </a:ext>
              </a:extLst>
            </p:cNvPr>
            <p:cNvSpPr/>
            <p:nvPr/>
          </p:nvSpPr>
          <p:spPr>
            <a:xfrm>
              <a:off x="4576981" y="1789241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93 w 0"/>
                <a:gd name="connsiteY1" fmla="*/ 393 h 0"/>
                <a:gd name="connsiteX2" fmla="*/ 0 w 0"/>
                <a:gd name="connsiteY2" fmla="*/ 1180 h 0"/>
                <a:gd name="connsiteX3" fmla="*/ 2754 w 0"/>
                <a:gd name="connsiteY3" fmla="*/ 393 h 0"/>
                <a:gd name="connsiteX4" fmla="*/ 393 w 0"/>
                <a:gd name="connsiteY4" fmla="*/ 393 h 0"/>
                <a:gd name="connsiteX5" fmla="*/ 787 w 0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93" y="393"/>
                  </a:lnTo>
                  <a:lnTo>
                    <a:pt x="0" y="1180"/>
                  </a:lnTo>
                  <a:lnTo>
                    <a:pt x="2754" y="393"/>
                  </a:lnTo>
                  <a:lnTo>
                    <a:pt x="393" y="393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84" name="Freeform: Shape 2878">
              <a:extLst>
                <a:ext uri="{FF2B5EF4-FFF2-40B4-BE49-F238E27FC236}">
                  <a16:creationId xmlns:a16="http://schemas.microsoft.com/office/drawing/2014/main" id="{C48D9A12-C3B7-48E5-AEDE-51C07A9549AB}"/>
                </a:ext>
              </a:extLst>
            </p:cNvPr>
            <p:cNvSpPr/>
            <p:nvPr/>
          </p:nvSpPr>
          <p:spPr>
            <a:xfrm>
              <a:off x="4577767" y="1786880"/>
              <a:ext cx="3934" cy="3934"/>
            </a:xfrm>
            <a:custGeom>
              <a:avLst/>
              <a:gdLst>
                <a:gd name="connsiteX0" fmla="*/ 4721 w 3934"/>
                <a:gd name="connsiteY0" fmla="*/ 0 h 0"/>
                <a:gd name="connsiteX1" fmla="*/ 4328 w 3934"/>
                <a:gd name="connsiteY1" fmla="*/ 0 h 0"/>
                <a:gd name="connsiteX2" fmla="*/ 1180 w 3934"/>
                <a:gd name="connsiteY2" fmla="*/ 787 h 0"/>
                <a:gd name="connsiteX3" fmla="*/ 0 w 3934"/>
                <a:gd name="connsiteY3" fmla="*/ 2361 h 0"/>
                <a:gd name="connsiteX4" fmla="*/ 0 w 3934"/>
                <a:gd name="connsiteY4" fmla="*/ 2361 h 0"/>
                <a:gd name="connsiteX5" fmla="*/ 0 w 3934"/>
                <a:gd name="connsiteY5" fmla="*/ 2361 h 0"/>
                <a:gd name="connsiteX6" fmla="*/ 1967 w 3934"/>
                <a:gd name="connsiteY6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>
                  <a:moveTo>
                    <a:pt x="4721" y="0"/>
                  </a:moveTo>
                  <a:lnTo>
                    <a:pt x="4328" y="0"/>
                  </a:lnTo>
                  <a:lnTo>
                    <a:pt x="1180" y="787"/>
                  </a:lnTo>
                  <a:lnTo>
                    <a:pt x="0" y="2361"/>
                  </a:lnTo>
                  <a:lnTo>
                    <a:pt x="0" y="2361"/>
                  </a:lnTo>
                  <a:lnTo>
                    <a:pt x="0" y="2361"/>
                  </a:lnTo>
                  <a:lnTo>
                    <a:pt x="196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85" name="Freeform: Shape 2879">
              <a:extLst>
                <a:ext uri="{FF2B5EF4-FFF2-40B4-BE49-F238E27FC236}">
                  <a16:creationId xmlns:a16="http://schemas.microsoft.com/office/drawing/2014/main" id="{8A8857B6-3316-42BC-8E6D-C6FB8F6F1535}"/>
                </a:ext>
              </a:extLst>
            </p:cNvPr>
            <p:cNvSpPr/>
            <p:nvPr/>
          </p:nvSpPr>
          <p:spPr>
            <a:xfrm>
              <a:off x="4580128" y="1777045"/>
              <a:ext cx="3934" cy="3934"/>
            </a:xfrm>
            <a:custGeom>
              <a:avLst/>
              <a:gdLst>
                <a:gd name="connsiteX0" fmla="*/ 6295 w 3934"/>
                <a:gd name="connsiteY0" fmla="*/ 1967 h 3934"/>
                <a:gd name="connsiteX1" fmla="*/ 6295 w 3934"/>
                <a:gd name="connsiteY1" fmla="*/ 0 h 3934"/>
                <a:gd name="connsiteX2" fmla="*/ 3147 w 3934"/>
                <a:gd name="connsiteY2" fmla="*/ 0 h 3934"/>
                <a:gd name="connsiteX3" fmla="*/ 0 w 3934"/>
                <a:gd name="connsiteY3" fmla="*/ 2754 h 3934"/>
                <a:gd name="connsiteX4" fmla="*/ 3147 w 3934"/>
                <a:gd name="connsiteY4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6295" y="1967"/>
                  </a:moveTo>
                  <a:lnTo>
                    <a:pt x="6295" y="0"/>
                  </a:lnTo>
                  <a:lnTo>
                    <a:pt x="3147" y="0"/>
                  </a:lnTo>
                  <a:lnTo>
                    <a:pt x="0" y="2754"/>
                  </a:lnTo>
                  <a:lnTo>
                    <a:pt x="3147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86" name="Freeform: Shape 2880">
              <a:extLst>
                <a:ext uri="{FF2B5EF4-FFF2-40B4-BE49-F238E27FC236}">
                  <a16:creationId xmlns:a16="http://schemas.microsoft.com/office/drawing/2014/main" id="{368E9185-2858-4FFD-8700-6E83F0B75393}"/>
                </a:ext>
              </a:extLst>
            </p:cNvPr>
            <p:cNvSpPr/>
            <p:nvPr/>
          </p:nvSpPr>
          <p:spPr>
            <a:xfrm>
              <a:off x="4576194" y="1775078"/>
              <a:ext cx="3934" cy="3934"/>
            </a:xfrm>
            <a:custGeom>
              <a:avLst/>
              <a:gdLst>
                <a:gd name="connsiteX0" fmla="*/ 0 w 3934"/>
                <a:gd name="connsiteY0" fmla="*/ 2754 h 0"/>
                <a:gd name="connsiteX1" fmla="*/ 2754 w 3934"/>
                <a:gd name="connsiteY1" fmla="*/ 3541 h 0"/>
                <a:gd name="connsiteX2" fmla="*/ 5901 w 3934"/>
                <a:gd name="connsiteY2" fmla="*/ 787 h 0"/>
                <a:gd name="connsiteX3" fmla="*/ 314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754"/>
                  </a:moveTo>
                  <a:lnTo>
                    <a:pt x="2754" y="3541"/>
                  </a:lnTo>
                  <a:lnTo>
                    <a:pt x="5901" y="78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87" name="Freeform: Shape 2881">
              <a:extLst>
                <a:ext uri="{FF2B5EF4-FFF2-40B4-BE49-F238E27FC236}">
                  <a16:creationId xmlns:a16="http://schemas.microsoft.com/office/drawing/2014/main" id="{D2CDC487-40FC-4F84-9973-4E7679BA8FF3}"/>
                </a:ext>
              </a:extLst>
            </p:cNvPr>
            <p:cNvSpPr/>
            <p:nvPr/>
          </p:nvSpPr>
          <p:spPr>
            <a:xfrm>
              <a:off x="4418430" y="1735342"/>
              <a:ext cx="3934" cy="3934"/>
            </a:xfrm>
            <a:custGeom>
              <a:avLst/>
              <a:gdLst>
                <a:gd name="connsiteX0" fmla="*/ 2754 w 3934"/>
                <a:gd name="connsiteY0" fmla="*/ 3541 h 3934"/>
                <a:gd name="connsiteX1" fmla="*/ 0 w 3934"/>
                <a:gd name="connsiteY1" fmla="*/ 6688 h 3934"/>
                <a:gd name="connsiteX2" fmla="*/ 2754 w 3934"/>
                <a:gd name="connsiteY2" fmla="*/ 6688 h 3934"/>
                <a:gd name="connsiteX3" fmla="*/ 5901 w 3934"/>
                <a:gd name="connsiteY3" fmla="*/ 3934 h 3934"/>
                <a:gd name="connsiteX4" fmla="*/ 7082 w 3934"/>
                <a:gd name="connsiteY4" fmla="*/ 1180 h 3934"/>
                <a:gd name="connsiteX5" fmla="*/ 5901 w 3934"/>
                <a:gd name="connsiteY5" fmla="*/ 0 h 3934"/>
                <a:gd name="connsiteX6" fmla="*/ 3148 w 3934"/>
                <a:gd name="connsiteY6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2754" y="3541"/>
                  </a:moveTo>
                  <a:lnTo>
                    <a:pt x="0" y="6688"/>
                  </a:lnTo>
                  <a:lnTo>
                    <a:pt x="2754" y="6688"/>
                  </a:lnTo>
                  <a:lnTo>
                    <a:pt x="5901" y="3934"/>
                  </a:lnTo>
                  <a:lnTo>
                    <a:pt x="7082" y="1180"/>
                  </a:lnTo>
                  <a:lnTo>
                    <a:pt x="5901" y="0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88" name="Freeform: Shape 2882">
              <a:extLst>
                <a:ext uri="{FF2B5EF4-FFF2-40B4-BE49-F238E27FC236}">
                  <a16:creationId xmlns:a16="http://schemas.microsoft.com/office/drawing/2014/main" id="{0104208C-E9D6-4781-A50D-8C4A1A6B430C}"/>
                </a:ext>
              </a:extLst>
            </p:cNvPr>
            <p:cNvSpPr/>
            <p:nvPr/>
          </p:nvSpPr>
          <p:spPr>
            <a:xfrm>
              <a:off x="4036806" y="1961168"/>
              <a:ext cx="7869" cy="3934"/>
            </a:xfrm>
            <a:custGeom>
              <a:avLst/>
              <a:gdLst>
                <a:gd name="connsiteX0" fmla="*/ 3934 w 7868"/>
                <a:gd name="connsiteY0" fmla="*/ 2754 h 3934"/>
                <a:gd name="connsiteX1" fmla="*/ 787 w 7868"/>
                <a:gd name="connsiteY1" fmla="*/ 3147 h 3934"/>
                <a:gd name="connsiteX2" fmla="*/ 0 w 7868"/>
                <a:gd name="connsiteY2" fmla="*/ 6295 h 3934"/>
                <a:gd name="connsiteX3" fmla="*/ 2754 w 7868"/>
                <a:gd name="connsiteY3" fmla="*/ 5508 h 3934"/>
                <a:gd name="connsiteX4" fmla="*/ 5508 w 7868"/>
                <a:gd name="connsiteY4" fmla="*/ 5508 h 3934"/>
                <a:gd name="connsiteX5" fmla="*/ 8655 w 7868"/>
                <a:gd name="connsiteY5" fmla="*/ 3541 h 3934"/>
                <a:gd name="connsiteX6" fmla="*/ 11016 w 7868"/>
                <a:gd name="connsiteY6" fmla="*/ 393 h 3934"/>
                <a:gd name="connsiteX7" fmla="*/ 9836 w 7868"/>
                <a:gd name="connsiteY7" fmla="*/ 0 h 3934"/>
                <a:gd name="connsiteX8" fmla="*/ 6688 w 7868"/>
                <a:gd name="connsiteY8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3934" y="2754"/>
                  </a:moveTo>
                  <a:lnTo>
                    <a:pt x="787" y="3147"/>
                  </a:lnTo>
                  <a:lnTo>
                    <a:pt x="0" y="6295"/>
                  </a:lnTo>
                  <a:lnTo>
                    <a:pt x="2754" y="5508"/>
                  </a:lnTo>
                  <a:lnTo>
                    <a:pt x="5508" y="5508"/>
                  </a:lnTo>
                  <a:lnTo>
                    <a:pt x="8655" y="3541"/>
                  </a:lnTo>
                  <a:lnTo>
                    <a:pt x="11016" y="393"/>
                  </a:lnTo>
                  <a:lnTo>
                    <a:pt x="9836" y="0"/>
                  </a:lnTo>
                  <a:lnTo>
                    <a:pt x="6688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89" name="Freeform: Shape 2883">
              <a:extLst>
                <a:ext uri="{FF2B5EF4-FFF2-40B4-BE49-F238E27FC236}">
                  <a16:creationId xmlns:a16="http://schemas.microsoft.com/office/drawing/2014/main" id="{C3909C08-8114-4D12-A608-F000E05B3010}"/>
                </a:ext>
              </a:extLst>
            </p:cNvPr>
            <p:cNvSpPr/>
            <p:nvPr/>
          </p:nvSpPr>
          <p:spPr>
            <a:xfrm>
              <a:off x="4049789" y="1926547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1967 w 0"/>
                <a:gd name="connsiteY1" fmla="*/ 0 h 0"/>
                <a:gd name="connsiteX2" fmla="*/ 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1967" y="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90" name="Freeform: Shape 2884">
              <a:extLst>
                <a:ext uri="{FF2B5EF4-FFF2-40B4-BE49-F238E27FC236}">
                  <a16:creationId xmlns:a16="http://schemas.microsoft.com/office/drawing/2014/main" id="{AA88C60B-084F-4E2B-AB55-7C5A2E7E4CBE}"/>
                </a:ext>
              </a:extLst>
            </p:cNvPr>
            <p:cNvSpPr/>
            <p:nvPr/>
          </p:nvSpPr>
          <p:spPr>
            <a:xfrm>
              <a:off x="4050576" y="1920252"/>
              <a:ext cx="3934" cy="3934"/>
            </a:xfrm>
            <a:custGeom>
              <a:avLst/>
              <a:gdLst>
                <a:gd name="connsiteX0" fmla="*/ 1967 w 0"/>
                <a:gd name="connsiteY0" fmla="*/ 0 h 0"/>
                <a:gd name="connsiteX1" fmla="*/ 0 w 0"/>
                <a:gd name="connsiteY1" fmla="*/ 393 h 0"/>
                <a:gd name="connsiteX2" fmla="*/ 394 w 0"/>
                <a:gd name="connsiteY2" fmla="*/ 3147 h 0"/>
                <a:gd name="connsiteX3" fmla="*/ 2361 w 0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967" y="0"/>
                  </a:moveTo>
                  <a:lnTo>
                    <a:pt x="0" y="393"/>
                  </a:lnTo>
                  <a:lnTo>
                    <a:pt x="394" y="3147"/>
                  </a:lnTo>
                  <a:lnTo>
                    <a:pt x="236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91" name="Freeform: Shape 2885">
              <a:extLst>
                <a:ext uri="{FF2B5EF4-FFF2-40B4-BE49-F238E27FC236}">
                  <a16:creationId xmlns:a16="http://schemas.microsoft.com/office/drawing/2014/main" id="{DFEC153E-181B-43B0-85CE-79BAB9459D93}"/>
                </a:ext>
              </a:extLst>
            </p:cNvPr>
            <p:cNvSpPr/>
            <p:nvPr/>
          </p:nvSpPr>
          <p:spPr>
            <a:xfrm>
              <a:off x="4084411" y="1869107"/>
              <a:ext cx="19671" cy="3934"/>
            </a:xfrm>
            <a:custGeom>
              <a:avLst/>
              <a:gdLst>
                <a:gd name="connsiteX0" fmla="*/ 9049 w 19671"/>
                <a:gd name="connsiteY0" fmla="*/ 3147 h 3934"/>
                <a:gd name="connsiteX1" fmla="*/ 12196 w 19671"/>
                <a:gd name="connsiteY1" fmla="*/ 2754 h 3934"/>
                <a:gd name="connsiteX2" fmla="*/ 14950 w 19671"/>
                <a:gd name="connsiteY2" fmla="*/ 1967 h 3934"/>
                <a:gd name="connsiteX3" fmla="*/ 18098 w 19671"/>
                <a:gd name="connsiteY3" fmla="*/ 1574 h 3934"/>
                <a:gd name="connsiteX4" fmla="*/ 20852 w 19671"/>
                <a:gd name="connsiteY4" fmla="*/ 787 h 3934"/>
                <a:gd name="connsiteX5" fmla="*/ 21245 w 19671"/>
                <a:gd name="connsiteY5" fmla="*/ 0 h 3934"/>
                <a:gd name="connsiteX6" fmla="*/ 18098 w 19671"/>
                <a:gd name="connsiteY6" fmla="*/ 787 h 3934"/>
                <a:gd name="connsiteX7" fmla="*/ 15343 w 19671"/>
                <a:gd name="connsiteY7" fmla="*/ 1180 h 3934"/>
                <a:gd name="connsiteX8" fmla="*/ 12196 w 19671"/>
                <a:gd name="connsiteY8" fmla="*/ 1967 h 3934"/>
                <a:gd name="connsiteX9" fmla="*/ 9049 w 19671"/>
                <a:gd name="connsiteY9" fmla="*/ 1967 h 3934"/>
                <a:gd name="connsiteX10" fmla="*/ 5901 w 19671"/>
                <a:gd name="connsiteY10" fmla="*/ 2754 h 3934"/>
                <a:gd name="connsiteX11" fmla="*/ 3147 w 19671"/>
                <a:gd name="connsiteY11" fmla="*/ 4328 h 3934"/>
                <a:gd name="connsiteX12" fmla="*/ 0 w 19671"/>
                <a:gd name="connsiteY12" fmla="*/ 5508 h 3934"/>
                <a:gd name="connsiteX13" fmla="*/ 3147 w 19671"/>
                <a:gd name="connsiteY13" fmla="*/ 4721 h 3934"/>
                <a:gd name="connsiteX14" fmla="*/ 5901 w 19671"/>
                <a:gd name="connsiteY14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671" h="3934">
                  <a:moveTo>
                    <a:pt x="9049" y="3147"/>
                  </a:moveTo>
                  <a:lnTo>
                    <a:pt x="12196" y="2754"/>
                  </a:lnTo>
                  <a:lnTo>
                    <a:pt x="14950" y="1967"/>
                  </a:lnTo>
                  <a:lnTo>
                    <a:pt x="18098" y="1574"/>
                  </a:lnTo>
                  <a:lnTo>
                    <a:pt x="20852" y="787"/>
                  </a:lnTo>
                  <a:lnTo>
                    <a:pt x="21245" y="0"/>
                  </a:lnTo>
                  <a:lnTo>
                    <a:pt x="18098" y="787"/>
                  </a:lnTo>
                  <a:lnTo>
                    <a:pt x="15343" y="1180"/>
                  </a:lnTo>
                  <a:lnTo>
                    <a:pt x="12196" y="1967"/>
                  </a:lnTo>
                  <a:lnTo>
                    <a:pt x="9049" y="1967"/>
                  </a:lnTo>
                  <a:lnTo>
                    <a:pt x="5901" y="2754"/>
                  </a:lnTo>
                  <a:lnTo>
                    <a:pt x="3147" y="4328"/>
                  </a:lnTo>
                  <a:lnTo>
                    <a:pt x="0" y="5508"/>
                  </a:lnTo>
                  <a:lnTo>
                    <a:pt x="3147" y="4721"/>
                  </a:lnTo>
                  <a:lnTo>
                    <a:pt x="5901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92" name="Freeform: Shape 2886">
              <a:extLst>
                <a:ext uri="{FF2B5EF4-FFF2-40B4-BE49-F238E27FC236}">
                  <a16:creationId xmlns:a16="http://schemas.microsoft.com/office/drawing/2014/main" id="{043854A0-1826-4890-BD43-1606797E3034}"/>
                </a:ext>
              </a:extLst>
            </p:cNvPr>
            <p:cNvSpPr/>
            <p:nvPr/>
          </p:nvSpPr>
          <p:spPr>
            <a:xfrm>
              <a:off x="4120606" y="1833305"/>
              <a:ext cx="3934" cy="7869"/>
            </a:xfrm>
            <a:custGeom>
              <a:avLst/>
              <a:gdLst>
                <a:gd name="connsiteX0" fmla="*/ 0 w 3934"/>
                <a:gd name="connsiteY0" fmla="*/ 8262 h 7868"/>
                <a:gd name="connsiteX1" fmla="*/ 3147 w 3934"/>
                <a:gd name="connsiteY1" fmla="*/ 5901 h 7868"/>
                <a:gd name="connsiteX2" fmla="*/ 5508 w 3934"/>
                <a:gd name="connsiteY2" fmla="*/ 3147 h 7868"/>
                <a:gd name="connsiteX3" fmla="*/ 7475 w 3934"/>
                <a:gd name="connsiteY3" fmla="*/ 0 h 7868"/>
                <a:gd name="connsiteX4" fmla="*/ 5508 w 3934"/>
                <a:gd name="connsiteY4" fmla="*/ 2754 h 7868"/>
                <a:gd name="connsiteX5" fmla="*/ 2360 w 3934"/>
                <a:gd name="connsiteY5" fmla="*/ 511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0" y="8262"/>
                  </a:moveTo>
                  <a:lnTo>
                    <a:pt x="3147" y="5901"/>
                  </a:lnTo>
                  <a:lnTo>
                    <a:pt x="5508" y="3147"/>
                  </a:lnTo>
                  <a:lnTo>
                    <a:pt x="7475" y="0"/>
                  </a:lnTo>
                  <a:lnTo>
                    <a:pt x="5508" y="2754"/>
                  </a:lnTo>
                  <a:lnTo>
                    <a:pt x="2360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93" name="Freeform: Shape 2887">
              <a:extLst>
                <a:ext uri="{FF2B5EF4-FFF2-40B4-BE49-F238E27FC236}">
                  <a16:creationId xmlns:a16="http://schemas.microsoft.com/office/drawing/2014/main" id="{630E121D-B00A-4890-A305-37B5EBB0E586}"/>
                </a:ext>
              </a:extLst>
            </p:cNvPr>
            <p:cNvSpPr/>
            <p:nvPr/>
          </p:nvSpPr>
          <p:spPr>
            <a:xfrm>
              <a:off x="4641896" y="1998150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2361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2361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94" name="Freeform: Shape 2888">
              <a:extLst>
                <a:ext uri="{FF2B5EF4-FFF2-40B4-BE49-F238E27FC236}">
                  <a16:creationId xmlns:a16="http://schemas.microsoft.com/office/drawing/2014/main" id="{53B7F704-EA6B-4B1C-9E33-D2CB91CFC09E}"/>
                </a:ext>
              </a:extLst>
            </p:cNvPr>
            <p:cNvSpPr/>
            <p:nvPr/>
          </p:nvSpPr>
          <p:spPr>
            <a:xfrm>
              <a:off x="4661174" y="1965496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2754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275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95" name="Freeform: Shape 2889">
              <a:extLst>
                <a:ext uri="{FF2B5EF4-FFF2-40B4-BE49-F238E27FC236}">
                  <a16:creationId xmlns:a16="http://schemas.microsoft.com/office/drawing/2014/main" id="{03BF8C86-1FDB-4F7B-9EA3-E16EF1A24A85}"/>
                </a:ext>
              </a:extLst>
            </p:cNvPr>
            <p:cNvSpPr/>
            <p:nvPr/>
          </p:nvSpPr>
          <p:spPr>
            <a:xfrm>
              <a:off x="5036896" y="1708195"/>
              <a:ext cx="7869" cy="3934"/>
            </a:xfrm>
            <a:custGeom>
              <a:avLst/>
              <a:gdLst>
                <a:gd name="connsiteX0" fmla="*/ 8262 w 7868"/>
                <a:gd name="connsiteY0" fmla="*/ 1574 h 3934"/>
                <a:gd name="connsiteX1" fmla="*/ 9442 w 7868"/>
                <a:gd name="connsiteY1" fmla="*/ 787 h 3934"/>
                <a:gd name="connsiteX2" fmla="*/ 6688 w 7868"/>
                <a:gd name="connsiteY2" fmla="*/ 0 h 3934"/>
                <a:gd name="connsiteX3" fmla="*/ 3541 w 7868"/>
                <a:gd name="connsiteY3" fmla="*/ 393 h 3934"/>
                <a:gd name="connsiteX4" fmla="*/ 2754 w 7868"/>
                <a:gd name="connsiteY4" fmla="*/ 787 h 3934"/>
                <a:gd name="connsiteX5" fmla="*/ 0 w 7868"/>
                <a:gd name="connsiteY5" fmla="*/ 2754 h 3934"/>
                <a:gd name="connsiteX6" fmla="*/ 3147 w 7868"/>
                <a:gd name="connsiteY6" fmla="*/ 4328 h 3934"/>
                <a:gd name="connsiteX7" fmla="*/ 5114 w 7868"/>
                <a:gd name="connsiteY7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8262" y="1574"/>
                  </a:moveTo>
                  <a:lnTo>
                    <a:pt x="9442" y="787"/>
                  </a:lnTo>
                  <a:lnTo>
                    <a:pt x="6688" y="0"/>
                  </a:lnTo>
                  <a:lnTo>
                    <a:pt x="3541" y="393"/>
                  </a:lnTo>
                  <a:lnTo>
                    <a:pt x="2754" y="787"/>
                  </a:lnTo>
                  <a:lnTo>
                    <a:pt x="0" y="2754"/>
                  </a:lnTo>
                  <a:lnTo>
                    <a:pt x="3147" y="4328"/>
                  </a:lnTo>
                  <a:lnTo>
                    <a:pt x="511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96" name="Freeform: Shape 2890">
              <a:extLst>
                <a:ext uri="{FF2B5EF4-FFF2-40B4-BE49-F238E27FC236}">
                  <a16:creationId xmlns:a16="http://schemas.microsoft.com/office/drawing/2014/main" id="{F8F89606-07AC-497A-B3CF-07680632018B}"/>
                </a:ext>
              </a:extLst>
            </p:cNvPr>
            <p:cNvSpPr/>
            <p:nvPr/>
          </p:nvSpPr>
          <p:spPr>
            <a:xfrm>
              <a:off x="5041224" y="1709769"/>
              <a:ext cx="7869" cy="3934"/>
            </a:xfrm>
            <a:custGeom>
              <a:avLst/>
              <a:gdLst>
                <a:gd name="connsiteX0" fmla="*/ 5508 w 7868"/>
                <a:gd name="connsiteY0" fmla="*/ 0 h 3934"/>
                <a:gd name="connsiteX1" fmla="*/ 2360 w 7868"/>
                <a:gd name="connsiteY1" fmla="*/ 2361 h 3934"/>
                <a:gd name="connsiteX2" fmla="*/ 0 w 7868"/>
                <a:gd name="connsiteY2" fmla="*/ 5115 h 3934"/>
                <a:gd name="connsiteX3" fmla="*/ 3147 w 7868"/>
                <a:gd name="connsiteY3" fmla="*/ 4721 h 3934"/>
                <a:gd name="connsiteX4" fmla="*/ 5901 w 7868"/>
                <a:gd name="connsiteY4" fmla="*/ 2754 h 3934"/>
                <a:gd name="connsiteX5" fmla="*/ 4721 w 7868"/>
                <a:gd name="connsiteY5" fmla="*/ 5901 h 3934"/>
                <a:gd name="connsiteX6" fmla="*/ 5508 w 7868"/>
                <a:gd name="connsiteY6" fmla="*/ 5508 h 3934"/>
                <a:gd name="connsiteX7" fmla="*/ 8262 w 7868"/>
                <a:gd name="connsiteY7" fmla="*/ 5115 h 3934"/>
                <a:gd name="connsiteX8" fmla="*/ 11016 w 7868"/>
                <a:gd name="connsiteY8" fmla="*/ 2754 h 3934"/>
                <a:gd name="connsiteX9" fmla="*/ 8262 w 7868"/>
                <a:gd name="connsiteY9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3934">
                  <a:moveTo>
                    <a:pt x="5508" y="0"/>
                  </a:moveTo>
                  <a:lnTo>
                    <a:pt x="2360" y="2361"/>
                  </a:lnTo>
                  <a:lnTo>
                    <a:pt x="0" y="5115"/>
                  </a:lnTo>
                  <a:lnTo>
                    <a:pt x="3147" y="4721"/>
                  </a:lnTo>
                  <a:lnTo>
                    <a:pt x="5901" y="2754"/>
                  </a:lnTo>
                  <a:lnTo>
                    <a:pt x="4721" y="5901"/>
                  </a:lnTo>
                  <a:lnTo>
                    <a:pt x="5508" y="5508"/>
                  </a:lnTo>
                  <a:lnTo>
                    <a:pt x="8262" y="5115"/>
                  </a:lnTo>
                  <a:lnTo>
                    <a:pt x="11016" y="2754"/>
                  </a:lnTo>
                  <a:lnTo>
                    <a:pt x="8262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97" name="Freeform: Shape 2891">
              <a:extLst>
                <a:ext uri="{FF2B5EF4-FFF2-40B4-BE49-F238E27FC236}">
                  <a16:creationId xmlns:a16="http://schemas.microsoft.com/office/drawing/2014/main" id="{C11F8CC0-23B7-4373-9424-CB3F96B0E662}"/>
                </a:ext>
              </a:extLst>
            </p:cNvPr>
            <p:cNvSpPr/>
            <p:nvPr/>
          </p:nvSpPr>
          <p:spPr>
            <a:xfrm>
              <a:off x="5060502" y="1708982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2754 w 0"/>
                <a:gd name="connsiteY1" fmla="*/ 0 h 0"/>
                <a:gd name="connsiteX2" fmla="*/ 196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2754" y="0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98" name="Freeform: Shape 2892">
              <a:extLst>
                <a:ext uri="{FF2B5EF4-FFF2-40B4-BE49-F238E27FC236}">
                  <a16:creationId xmlns:a16="http://schemas.microsoft.com/office/drawing/2014/main" id="{65A11B3A-BC51-41ED-AE29-B873B825AA4E}"/>
                </a:ext>
              </a:extLst>
            </p:cNvPr>
            <p:cNvSpPr/>
            <p:nvPr/>
          </p:nvSpPr>
          <p:spPr>
            <a:xfrm>
              <a:off x="4640715" y="2004052"/>
              <a:ext cx="3934" cy="3934"/>
            </a:xfrm>
            <a:custGeom>
              <a:avLst/>
              <a:gdLst>
                <a:gd name="connsiteX0" fmla="*/ 3148 w 0"/>
                <a:gd name="connsiteY0" fmla="*/ 393 h 0"/>
                <a:gd name="connsiteX1" fmla="*/ 1967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393"/>
                  </a:moveTo>
                  <a:lnTo>
                    <a:pt x="1967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99" name="Freeform: Shape 2893">
              <a:extLst>
                <a:ext uri="{FF2B5EF4-FFF2-40B4-BE49-F238E27FC236}">
                  <a16:creationId xmlns:a16="http://schemas.microsoft.com/office/drawing/2014/main" id="{AEBD900B-345D-4A1B-93E4-D7297B6616F1}"/>
                </a:ext>
              </a:extLst>
            </p:cNvPr>
            <p:cNvSpPr/>
            <p:nvPr/>
          </p:nvSpPr>
          <p:spPr>
            <a:xfrm>
              <a:off x="2823085" y="2036706"/>
              <a:ext cx="3934" cy="7869"/>
            </a:xfrm>
            <a:custGeom>
              <a:avLst/>
              <a:gdLst>
                <a:gd name="connsiteX0" fmla="*/ 7475 w 3934"/>
                <a:gd name="connsiteY0" fmla="*/ 10229 h 7868"/>
                <a:gd name="connsiteX1" fmla="*/ 7082 w 3934"/>
                <a:gd name="connsiteY1" fmla="*/ 7082 h 7868"/>
                <a:gd name="connsiteX2" fmla="*/ 6688 w 3934"/>
                <a:gd name="connsiteY2" fmla="*/ 4328 h 7868"/>
                <a:gd name="connsiteX3" fmla="*/ 3541 w 3934"/>
                <a:gd name="connsiteY3" fmla="*/ 2361 h 7868"/>
                <a:gd name="connsiteX4" fmla="*/ 787 w 3934"/>
                <a:gd name="connsiteY4" fmla="*/ 0 h 7868"/>
                <a:gd name="connsiteX5" fmla="*/ 0 w 3934"/>
                <a:gd name="connsiteY5" fmla="*/ 3147 h 7868"/>
                <a:gd name="connsiteX6" fmla="*/ 2361 w 3934"/>
                <a:gd name="connsiteY6" fmla="*/ 5901 h 7868"/>
                <a:gd name="connsiteX7" fmla="*/ 5114 w 3934"/>
                <a:gd name="connsiteY7" fmla="*/ 826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7475" y="10229"/>
                  </a:moveTo>
                  <a:lnTo>
                    <a:pt x="7082" y="7082"/>
                  </a:lnTo>
                  <a:lnTo>
                    <a:pt x="6688" y="4328"/>
                  </a:lnTo>
                  <a:lnTo>
                    <a:pt x="3541" y="2361"/>
                  </a:lnTo>
                  <a:lnTo>
                    <a:pt x="787" y="0"/>
                  </a:lnTo>
                  <a:lnTo>
                    <a:pt x="0" y="3147"/>
                  </a:lnTo>
                  <a:lnTo>
                    <a:pt x="2361" y="5901"/>
                  </a:lnTo>
                  <a:lnTo>
                    <a:pt x="5114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00" name="Freeform: Shape 2894">
              <a:extLst>
                <a:ext uri="{FF2B5EF4-FFF2-40B4-BE49-F238E27FC236}">
                  <a16:creationId xmlns:a16="http://schemas.microsoft.com/office/drawing/2014/main" id="{D86E7F31-D6BF-4EF4-B488-85C0AAADE8D5}"/>
                </a:ext>
              </a:extLst>
            </p:cNvPr>
            <p:cNvSpPr/>
            <p:nvPr/>
          </p:nvSpPr>
          <p:spPr>
            <a:xfrm>
              <a:off x="2832921" y="2076049"/>
              <a:ext cx="3934" cy="3934"/>
            </a:xfrm>
            <a:custGeom>
              <a:avLst/>
              <a:gdLst>
                <a:gd name="connsiteX0" fmla="*/ 4721 w 3934"/>
                <a:gd name="connsiteY0" fmla="*/ 3147 h 3934"/>
                <a:gd name="connsiteX1" fmla="*/ 3541 w 3934"/>
                <a:gd name="connsiteY1" fmla="*/ 393 h 3934"/>
                <a:gd name="connsiteX2" fmla="*/ 3147 w 3934"/>
                <a:gd name="connsiteY2" fmla="*/ 0 h 3934"/>
                <a:gd name="connsiteX3" fmla="*/ 0 w 3934"/>
                <a:gd name="connsiteY3" fmla="*/ 2361 h 3934"/>
                <a:gd name="connsiteX4" fmla="*/ 1967 w 3934"/>
                <a:gd name="connsiteY4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4721" y="3147"/>
                  </a:moveTo>
                  <a:lnTo>
                    <a:pt x="3541" y="393"/>
                  </a:lnTo>
                  <a:lnTo>
                    <a:pt x="3147" y="0"/>
                  </a:lnTo>
                  <a:lnTo>
                    <a:pt x="0" y="2361"/>
                  </a:lnTo>
                  <a:lnTo>
                    <a:pt x="1967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01" name="Freeform: Shape 2895">
              <a:extLst>
                <a:ext uri="{FF2B5EF4-FFF2-40B4-BE49-F238E27FC236}">
                  <a16:creationId xmlns:a16="http://schemas.microsoft.com/office/drawing/2014/main" id="{47153E20-9C94-42A9-8E26-A76DC1F3E81C}"/>
                </a:ext>
              </a:extLst>
            </p:cNvPr>
            <p:cNvSpPr/>
            <p:nvPr/>
          </p:nvSpPr>
          <p:spPr>
            <a:xfrm>
              <a:off x="2833708" y="2037886"/>
              <a:ext cx="3934" cy="3934"/>
            </a:xfrm>
            <a:custGeom>
              <a:avLst/>
              <a:gdLst>
                <a:gd name="connsiteX0" fmla="*/ 5901 w 3934"/>
                <a:gd name="connsiteY0" fmla="*/ 0 h 3934"/>
                <a:gd name="connsiteX1" fmla="*/ 5115 w 3934"/>
                <a:gd name="connsiteY1" fmla="*/ 0 h 3934"/>
                <a:gd name="connsiteX2" fmla="*/ 1967 w 3934"/>
                <a:gd name="connsiteY2" fmla="*/ 787 h 3934"/>
                <a:gd name="connsiteX3" fmla="*/ 0 w 3934"/>
                <a:gd name="connsiteY3" fmla="*/ 3934 h 3934"/>
                <a:gd name="connsiteX4" fmla="*/ 3147 w 3934"/>
                <a:gd name="connsiteY4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901" y="0"/>
                  </a:moveTo>
                  <a:lnTo>
                    <a:pt x="5115" y="0"/>
                  </a:lnTo>
                  <a:lnTo>
                    <a:pt x="1967" y="787"/>
                  </a:lnTo>
                  <a:lnTo>
                    <a:pt x="0" y="3934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02" name="Freeform: Shape 2896">
              <a:extLst>
                <a:ext uri="{FF2B5EF4-FFF2-40B4-BE49-F238E27FC236}">
                  <a16:creationId xmlns:a16="http://schemas.microsoft.com/office/drawing/2014/main" id="{9681D5B9-4756-44B2-8241-F836BAFECFCD}"/>
                </a:ext>
              </a:extLst>
            </p:cNvPr>
            <p:cNvSpPr/>
            <p:nvPr/>
          </p:nvSpPr>
          <p:spPr>
            <a:xfrm>
              <a:off x="2839216" y="2072901"/>
              <a:ext cx="3934" cy="3934"/>
            </a:xfrm>
            <a:custGeom>
              <a:avLst/>
              <a:gdLst>
                <a:gd name="connsiteX0" fmla="*/ 5901 w 3934"/>
                <a:gd name="connsiteY0" fmla="*/ 2754 h 3934"/>
                <a:gd name="connsiteX1" fmla="*/ 5114 w 3934"/>
                <a:gd name="connsiteY1" fmla="*/ 0 h 3934"/>
                <a:gd name="connsiteX2" fmla="*/ 2754 w 3934"/>
                <a:gd name="connsiteY2" fmla="*/ 1180 h 3934"/>
                <a:gd name="connsiteX3" fmla="*/ 0 w 3934"/>
                <a:gd name="connsiteY3" fmla="*/ 3541 h 3934"/>
                <a:gd name="connsiteX4" fmla="*/ 2754 w 3934"/>
                <a:gd name="connsiteY4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901" y="2754"/>
                  </a:moveTo>
                  <a:lnTo>
                    <a:pt x="5114" y="0"/>
                  </a:lnTo>
                  <a:lnTo>
                    <a:pt x="2754" y="1180"/>
                  </a:lnTo>
                  <a:lnTo>
                    <a:pt x="0" y="3541"/>
                  </a:lnTo>
                  <a:lnTo>
                    <a:pt x="2754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03" name="Freeform: Shape 2897">
              <a:extLst>
                <a:ext uri="{FF2B5EF4-FFF2-40B4-BE49-F238E27FC236}">
                  <a16:creationId xmlns:a16="http://schemas.microsoft.com/office/drawing/2014/main" id="{2C9FC800-ED54-4F46-9828-9C0531CAD329}"/>
                </a:ext>
              </a:extLst>
            </p:cNvPr>
            <p:cNvSpPr/>
            <p:nvPr/>
          </p:nvSpPr>
          <p:spPr>
            <a:xfrm>
              <a:off x="2839609" y="2078016"/>
              <a:ext cx="3934" cy="3934"/>
            </a:xfrm>
            <a:custGeom>
              <a:avLst/>
              <a:gdLst>
                <a:gd name="connsiteX0" fmla="*/ 1967 w 0"/>
                <a:gd name="connsiteY0" fmla="*/ 0 h 0"/>
                <a:gd name="connsiteX1" fmla="*/ 1180 w 0"/>
                <a:gd name="connsiteY1" fmla="*/ 0 h 0"/>
                <a:gd name="connsiteX2" fmla="*/ 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0"/>
                  </a:moveTo>
                  <a:lnTo>
                    <a:pt x="1180" y="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04" name="Freeform: Shape 2898">
              <a:extLst>
                <a:ext uri="{FF2B5EF4-FFF2-40B4-BE49-F238E27FC236}">
                  <a16:creationId xmlns:a16="http://schemas.microsoft.com/office/drawing/2014/main" id="{1A19CD39-4696-4B3B-9BBF-78FA758C43B7}"/>
                </a:ext>
              </a:extLst>
            </p:cNvPr>
            <p:cNvSpPr/>
            <p:nvPr/>
          </p:nvSpPr>
          <p:spPr>
            <a:xfrm>
              <a:off x="2771940" y="2050083"/>
              <a:ext cx="3934" cy="3934"/>
            </a:xfrm>
            <a:custGeom>
              <a:avLst/>
              <a:gdLst>
                <a:gd name="connsiteX0" fmla="*/ 3541 w 0"/>
                <a:gd name="connsiteY0" fmla="*/ 0 h 3934"/>
                <a:gd name="connsiteX1" fmla="*/ 3147 w 0"/>
                <a:gd name="connsiteY1" fmla="*/ 0 h 3934"/>
                <a:gd name="connsiteX2" fmla="*/ 393 w 0"/>
                <a:gd name="connsiteY2" fmla="*/ 1180 h 3934"/>
                <a:gd name="connsiteX3" fmla="*/ 0 w 0"/>
                <a:gd name="connsiteY3" fmla="*/ 3934 h 3934"/>
                <a:gd name="connsiteX4" fmla="*/ 2754 w 0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3541" y="0"/>
                  </a:moveTo>
                  <a:lnTo>
                    <a:pt x="3147" y="0"/>
                  </a:lnTo>
                  <a:lnTo>
                    <a:pt x="393" y="1180"/>
                  </a:lnTo>
                  <a:lnTo>
                    <a:pt x="0" y="3934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05" name="Freeform: Shape 2899">
              <a:extLst>
                <a:ext uri="{FF2B5EF4-FFF2-40B4-BE49-F238E27FC236}">
                  <a16:creationId xmlns:a16="http://schemas.microsoft.com/office/drawing/2014/main" id="{29A3BD44-D849-46F7-8FE9-D4386F52A0EC}"/>
                </a:ext>
              </a:extLst>
            </p:cNvPr>
            <p:cNvSpPr/>
            <p:nvPr/>
          </p:nvSpPr>
          <p:spPr>
            <a:xfrm>
              <a:off x="2636601" y="2566651"/>
              <a:ext cx="3934" cy="3934"/>
            </a:xfrm>
            <a:custGeom>
              <a:avLst/>
              <a:gdLst>
                <a:gd name="connsiteX0" fmla="*/ 3147 w 3934"/>
                <a:gd name="connsiteY0" fmla="*/ 393 h 3934"/>
                <a:gd name="connsiteX1" fmla="*/ 0 w 3934"/>
                <a:gd name="connsiteY1" fmla="*/ 1180 h 3934"/>
                <a:gd name="connsiteX2" fmla="*/ 2754 w 3934"/>
                <a:gd name="connsiteY2" fmla="*/ 4328 h 3934"/>
                <a:gd name="connsiteX3" fmla="*/ 5508 w 3934"/>
                <a:gd name="connsiteY3" fmla="*/ 3541 h 3934"/>
                <a:gd name="connsiteX4" fmla="*/ 6295 w 3934"/>
                <a:gd name="connsiteY4" fmla="*/ 1967 h 3934"/>
                <a:gd name="connsiteX5" fmla="*/ 5901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147" y="393"/>
                  </a:moveTo>
                  <a:lnTo>
                    <a:pt x="0" y="1180"/>
                  </a:lnTo>
                  <a:lnTo>
                    <a:pt x="2754" y="4328"/>
                  </a:lnTo>
                  <a:lnTo>
                    <a:pt x="5508" y="3541"/>
                  </a:lnTo>
                  <a:lnTo>
                    <a:pt x="6295" y="1967"/>
                  </a:lnTo>
                  <a:lnTo>
                    <a:pt x="590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06" name="Freeform: Shape 2900">
              <a:extLst>
                <a:ext uri="{FF2B5EF4-FFF2-40B4-BE49-F238E27FC236}">
                  <a16:creationId xmlns:a16="http://schemas.microsoft.com/office/drawing/2014/main" id="{09D20FDD-AFFD-4F4F-A575-5C7B9AF60A69}"/>
                </a:ext>
              </a:extLst>
            </p:cNvPr>
            <p:cNvSpPr/>
            <p:nvPr/>
          </p:nvSpPr>
          <p:spPr>
            <a:xfrm>
              <a:off x="4021856" y="2325088"/>
              <a:ext cx="62948" cy="19671"/>
            </a:xfrm>
            <a:custGeom>
              <a:avLst/>
              <a:gdLst>
                <a:gd name="connsiteX0" fmla="*/ 14557 w 62948"/>
                <a:gd name="connsiteY0" fmla="*/ 17311 h 19671"/>
                <a:gd name="connsiteX1" fmla="*/ 17311 w 62948"/>
                <a:gd name="connsiteY1" fmla="*/ 16917 h 19671"/>
                <a:gd name="connsiteX2" fmla="*/ 19671 w 62948"/>
                <a:gd name="connsiteY2" fmla="*/ 16130 h 19671"/>
                <a:gd name="connsiteX3" fmla="*/ 22819 w 62948"/>
                <a:gd name="connsiteY3" fmla="*/ 15344 h 19671"/>
                <a:gd name="connsiteX4" fmla="*/ 25573 w 62948"/>
                <a:gd name="connsiteY4" fmla="*/ 14557 h 19671"/>
                <a:gd name="connsiteX5" fmla="*/ 28327 w 62948"/>
                <a:gd name="connsiteY5" fmla="*/ 14557 h 19671"/>
                <a:gd name="connsiteX6" fmla="*/ 31081 w 62948"/>
                <a:gd name="connsiteY6" fmla="*/ 14163 h 19671"/>
                <a:gd name="connsiteX7" fmla="*/ 34228 w 62948"/>
                <a:gd name="connsiteY7" fmla="*/ 13770 h 19671"/>
                <a:gd name="connsiteX8" fmla="*/ 37376 w 62948"/>
                <a:gd name="connsiteY8" fmla="*/ 12590 h 19671"/>
                <a:gd name="connsiteX9" fmla="*/ 40130 w 62948"/>
                <a:gd name="connsiteY9" fmla="*/ 12196 h 19671"/>
                <a:gd name="connsiteX10" fmla="*/ 43277 w 62948"/>
                <a:gd name="connsiteY10" fmla="*/ 11409 h 19671"/>
                <a:gd name="connsiteX11" fmla="*/ 46031 w 62948"/>
                <a:gd name="connsiteY11" fmla="*/ 10622 h 19671"/>
                <a:gd name="connsiteX12" fmla="*/ 49178 w 62948"/>
                <a:gd name="connsiteY12" fmla="*/ 9442 h 19671"/>
                <a:gd name="connsiteX13" fmla="*/ 51932 w 62948"/>
                <a:gd name="connsiteY13" fmla="*/ 8262 h 19671"/>
                <a:gd name="connsiteX14" fmla="*/ 55080 w 62948"/>
                <a:gd name="connsiteY14" fmla="*/ 7082 h 19671"/>
                <a:gd name="connsiteX15" fmla="*/ 57834 w 62948"/>
                <a:gd name="connsiteY15" fmla="*/ 6295 h 19671"/>
                <a:gd name="connsiteX16" fmla="*/ 60981 w 62948"/>
                <a:gd name="connsiteY16" fmla="*/ 5114 h 19671"/>
                <a:gd name="connsiteX17" fmla="*/ 63735 w 62948"/>
                <a:gd name="connsiteY17" fmla="*/ 3147 h 19671"/>
                <a:gd name="connsiteX18" fmla="*/ 60588 w 62948"/>
                <a:gd name="connsiteY18" fmla="*/ 4328 h 19671"/>
                <a:gd name="connsiteX19" fmla="*/ 57834 w 62948"/>
                <a:gd name="connsiteY19" fmla="*/ 5114 h 19671"/>
                <a:gd name="connsiteX20" fmla="*/ 55080 w 62948"/>
                <a:gd name="connsiteY20" fmla="*/ 4328 h 19671"/>
                <a:gd name="connsiteX21" fmla="*/ 51932 w 62948"/>
                <a:gd name="connsiteY21" fmla="*/ 4328 h 19671"/>
                <a:gd name="connsiteX22" fmla="*/ 49178 w 62948"/>
                <a:gd name="connsiteY22" fmla="*/ 6295 h 19671"/>
                <a:gd name="connsiteX23" fmla="*/ 46424 w 62948"/>
                <a:gd name="connsiteY23" fmla="*/ 8655 h 19671"/>
                <a:gd name="connsiteX24" fmla="*/ 43277 w 62948"/>
                <a:gd name="connsiteY24" fmla="*/ 7869 h 19671"/>
                <a:gd name="connsiteX25" fmla="*/ 46424 w 62948"/>
                <a:gd name="connsiteY25" fmla="*/ 5901 h 19671"/>
                <a:gd name="connsiteX26" fmla="*/ 49178 w 62948"/>
                <a:gd name="connsiteY26" fmla="*/ 4328 h 19671"/>
                <a:gd name="connsiteX27" fmla="*/ 52326 w 62948"/>
                <a:gd name="connsiteY27" fmla="*/ 1967 h 19671"/>
                <a:gd name="connsiteX28" fmla="*/ 55080 w 62948"/>
                <a:gd name="connsiteY28" fmla="*/ 0 h 19671"/>
                <a:gd name="connsiteX29" fmla="*/ 52326 w 62948"/>
                <a:gd name="connsiteY29" fmla="*/ 1180 h 19671"/>
                <a:gd name="connsiteX30" fmla="*/ 49178 w 62948"/>
                <a:gd name="connsiteY30" fmla="*/ 2360 h 19671"/>
                <a:gd name="connsiteX31" fmla="*/ 43277 w 62948"/>
                <a:gd name="connsiteY31" fmla="*/ 5901 h 19671"/>
                <a:gd name="connsiteX32" fmla="*/ 40130 w 62948"/>
                <a:gd name="connsiteY32" fmla="*/ 6295 h 19671"/>
                <a:gd name="connsiteX33" fmla="*/ 37376 w 62948"/>
                <a:gd name="connsiteY33" fmla="*/ 6688 h 19671"/>
                <a:gd name="connsiteX34" fmla="*/ 28327 w 62948"/>
                <a:gd name="connsiteY34" fmla="*/ 6688 h 19671"/>
                <a:gd name="connsiteX35" fmla="*/ 25573 w 62948"/>
                <a:gd name="connsiteY35" fmla="*/ 8655 h 19671"/>
                <a:gd name="connsiteX36" fmla="*/ 22819 w 62948"/>
                <a:gd name="connsiteY36" fmla="*/ 7869 h 19671"/>
                <a:gd name="connsiteX37" fmla="*/ 19671 w 62948"/>
                <a:gd name="connsiteY37" fmla="*/ 7475 h 19671"/>
                <a:gd name="connsiteX38" fmla="*/ 16917 w 62948"/>
                <a:gd name="connsiteY38" fmla="*/ 8262 h 19671"/>
                <a:gd name="connsiteX39" fmla="*/ 13770 w 62948"/>
                <a:gd name="connsiteY39" fmla="*/ 9049 h 19671"/>
                <a:gd name="connsiteX40" fmla="*/ 11016 w 62948"/>
                <a:gd name="connsiteY40" fmla="*/ 12196 h 19671"/>
                <a:gd name="connsiteX41" fmla="*/ 7869 w 62948"/>
                <a:gd name="connsiteY41" fmla="*/ 12196 h 19671"/>
                <a:gd name="connsiteX42" fmla="*/ 4721 w 62948"/>
                <a:gd name="connsiteY42" fmla="*/ 12590 h 19671"/>
                <a:gd name="connsiteX43" fmla="*/ 1967 w 62948"/>
                <a:gd name="connsiteY43" fmla="*/ 15344 h 19671"/>
                <a:gd name="connsiteX44" fmla="*/ 0 w 62948"/>
                <a:gd name="connsiteY44" fmla="*/ 18491 h 19671"/>
                <a:gd name="connsiteX45" fmla="*/ 2754 w 62948"/>
                <a:gd name="connsiteY45" fmla="*/ 19278 h 19671"/>
                <a:gd name="connsiteX46" fmla="*/ 5508 w 62948"/>
                <a:gd name="connsiteY46" fmla="*/ 19278 h 19671"/>
                <a:gd name="connsiteX47" fmla="*/ 2754 w 62948"/>
                <a:gd name="connsiteY47" fmla="*/ 20458 h 19671"/>
                <a:gd name="connsiteX48" fmla="*/ 5901 w 62948"/>
                <a:gd name="connsiteY48" fmla="*/ 19278 h 19671"/>
                <a:gd name="connsiteX49" fmla="*/ 8655 w 62948"/>
                <a:gd name="connsiteY49" fmla="*/ 19278 h 19671"/>
                <a:gd name="connsiteX50" fmla="*/ 11803 w 62948"/>
                <a:gd name="connsiteY50" fmla="*/ 18884 h 19671"/>
                <a:gd name="connsiteX51" fmla="*/ 9049 w 62948"/>
                <a:gd name="connsiteY51" fmla="*/ 18491 h 19671"/>
                <a:gd name="connsiteX52" fmla="*/ 11803 w 62948"/>
                <a:gd name="connsiteY52" fmla="*/ 18098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62948" h="19671">
                  <a:moveTo>
                    <a:pt x="14557" y="17311"/>
                  </a:moveTo>
                  <a:lnTo>
                    <a:pt x="17311" y="16917"/>
                  </a:lnTo>
                  <a:lnTo>
                    <a:pt x="19671" y="16130"/>
                  </a:lnTo>
                  <a:lnTo>
                    <a:pt x="22819" y="15344"/>
                  </a:lnTo>
                  <a:lnTo>
                    <a:pt x="25573" y="14557"/>
                  </a:lnTo>
                  <a:lnTo>
                    <a:pt x="28327" y="14557"/>
                  </a:lnTo>
                  <a:lnTo>
                    <a:pt x="31081" y="14163"/>
                  </a:lnTo>
                  <a:lnTo>
                    <a:pt x="34228" y="13770"/>
                  </a:lnTo>
                  <a:lnTo>
                    <a:pt x="37376" y="12590"/>
                  </a:lnTo>
                  <a:lnTo>
                    <a:pt x="40130" y="12196"/>
                  </a:lnTo>
                  <a:lnTo>
                    <a:pt x="43277" y="11409"/>
                  </a:lnTo>
                  <a:lnTo>
                    <a:pt x="46031" y="10622"/>
                  </a:lnTo>
                  <a:lnTo>
                    <a:pt x="49178" y="9442"/>
                  </a:lnTo>
                  <a:lnTo>
                    <a:pt x="51932" y="8262"/>
                  </a:lnTo>
                  <a:lnTo>
                    <a:pt x="55080" y="7082"/>
                  </a:lnTo>
                  <a:lnTo>
                    <a:pt x="57834" y="6295"/>
                  </a:lnTo>
                  <a:lnTo>
                    <a:pt x="60981" y="5114"/>
                  </a:lnTo>
                  <a:lnTo>
                    <a:pt x="63735" y="3147"/>
                  </a:lnTo>
                  <a:lnTo>
                    <a:pt x="60588" y="4328"/>
                  </a:lnTo>
                  <a:lnTo>
                    <a:pt x="57834" y="5114"/>
                  </a:lnTo>
                  <a:lnTo>
                    <a:pt x="55080" y="4328"/>
                  </a:lnTo>
                  <a:lnTo>
                    <a:pt x="51932" y="4328"/>
                  </a:lnTo>
                  <a:lnTo>
                    <a:pt x="49178" y="6295"/>
                  </a:lnTo>
                  <a:lnTo>
                    <a:pt x="46424" y="8655"/>
                  </a:lnTo>
                  <a:lnTo>
                    <a:pt x="43277" y="7869"/>
                  </a:lnTo>
                  <a:lnTo>
                    <a:pt x="46424" y="5901"/>
                  </a:lnTo>
                  <a:lnTo>
                    <a:pt x="49178" y="4328"/>
                  </a:lnTo>
                  <a:lnTo>
                    <a:pt x="52326" y="1967"/>
                  </a:lnTo>
                  <a:lnTo>
                    <a:pt x="55080" y="0"/>
                  </a:lnTo>
                  <a:lnTo>
                    <a:pt x="52326" y="1180"/>
                  </a:lnTo>
                  <a:lnTo>
                    <a:pt x="49178" y="2360"/>
                  </a:lnTo>
                  <a:lnTo>
                    <a:pt x="43277" y="5901"/>
                  </a:lnTo>
                  <a:lnTo>
                    <a:pt x="40130" y="6295"/>
                  </a:lnTo>
                  <a:lnTo>
                    <a:pt x="37376" y="6688"/>
                  </a:lnTo>
                  <a:lnTo>
                    <a:pt x="28327" y="6688"/>
                  </a:lnTo>
                  <a:lnTo>
                    <a:pt x="25573" y="8655"/>
                  </a:lnTo>
                  <a:lnTo>
                    <a:pt x="22819" y="7869"/>
                  </a:lnTo>
                  <a:lnTo>
                    <a:pt x="19671" y="7475"/>
                  </a:lnTo>
                  <a:lnTo>
                    <a:pt x="16917" y="8262"/>
                  </a:lnTo>
                  <a:lnTo>
                    <a:pt x="13770" y="9049"/>
                  </a:lnTo>
                  <a:lnTo>
                    <a:pt x="11016" y="12196"/>
                  </a:lnTo>
                  <a:lnTo>
                    <a:pt x="7869" y="12196"/>
                  </a:lnTo>
                  <a:lnTo>
                    <a:pt x="4721" y="12590"/>
                  </a:lnTo>
                  <a:lnTo>
                    <a:pt x="1967" y="15344"/>
                  </a:lnTo>
                  <a:lnTo>
                    <a:pt x="0" y="18491"/>
                  </a:lnTo>
                  <a:lnTo>
                    <a:pt x="2754" y="19278"/>
                  </a:lnTo>
                  <a:lnTo>
                    <a:pt x="5508" y="19278"/>
                  </a:lnTo>
                  <a:lnTo>
                    <a:pt x="2754" y="20458"/>
                  </a:lnTo>
                  <a:lnTo>
                    <a:pt x="5901" y="19278"/>
                  </a:lnTo>
                  <a:lnTo>
                    <a:pt x="8655" y="19278"/>
                  </a:lnTo>
                  <a:lnTo>
                    <a:pt x="11803" y="18884"/>
                  </a:lnTo>
                  <a:lnTo>
                    <a:pt x="9049" y="18491"/>
                  </a:lnTo>
                  <a:lnTo>
                    <a:pt x="11803" y="1809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07" name="Freeform: Shape 2901">
              <a:extLst>
                <a:ext uri="{FF2B5EF4-FFF2-40B4-BE49-F238E27FC236}">
                  <a16:creationId xmlns:a16="http://schemas.microsoft.com/office/drawing/2014/main" id="{6726A696-F5E4-4196-91EC-1C33D54C1826}"/>
                </a:ext>
              </a:extLst>
            </p:cNvPr>
            <p:cNvSpPr/>
            <p:nvPr/>
          </p:nvSpPr>
          <p:spPr>
            <a:xfrm>
              <a:off x="4015561" y="2342398"/>
              <a:ext cx="3934" cy="3934"/>
            </a:xfrm>
            <a:custGeom>
              <a:avLst/>
              <a:gdLst>
                <a:gd name="connsiteX0" fmla="*/ 1574 w 3934"/>
                <a:gd name="connsiteY0" fmla="*/ 1967 h 3934"/>
                <a:gd name="connsiteX1" fmla="*/ 0 w 3934"/>
                <a:gd name="connsiteY1" fmla="*/ 4721 h 3934"/>
                <a:gd name="connsiteX2" fmla="*/ 2754 w 3934"/>
                <a:gd name="connsiteY2" fmla="*/ 3541 h 3934"/>
                <a:gd name="connsiteX3" fmla="*/ 5114 w 3934"/>
                <a:gd name="connsiteY3" fmla="*/ 393 h 3934"/>
                <a:gd name="connsiteX4" fmla="*/ 4328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1574" y="1967"/>
                  </a:moveTo>
                  <a:lnTo>
                    <a:pt x="0" y="4721"/>
                  </a:lnTo>
                  <a:lnTo>
                    <a:pt x="2754" y="3541"/>
                  </a:lnTo>
                  <a:lnTo>
                    <a:pt x="5114" y="393"/>
                  </a:lnTo>
                  <a:lnTo>
                    <a:pt x="432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08" name="Freeform: Shape 2902">
              <a:extLst>
                <a:ext uri="{FF2B5EF4-FFF2-40B4-BE49-F238E27FC236}">
                  <a16:creationId xmlns:a16="http://schemas.microsoft.com/office/drawing/2014/main" id="{C24FBDBC-1569-46E9-844E-48ADF05BD7D9}"/>
                </a:ext>
              </a:extLst>
            </p:cNvPr>
            <p:cNvSpPr/>
            <p:nvPr/>
          </p:nvSpPr>
          <p:spPr>
            <a:xfrm>
              <a:off x="4133982" y="2317219"/>
              <a:ext cx="3934" cy="3934"/>
            </a:xfrm>
            <a:custGeom>
              <a:avLst/>
              <a:gdLst>
                <a:gd name="connsiteX0" fmla="*/ 6688 w 3934"/>
                <a:gd name="connsiteY0" fmla="*/ 0 h 3934"/>
                <a:gd name="connsiteX1" fmla="*/ 5901 w 3934"/>
                <a:gd name="connsiteY1" fmla="*/ 2754 h 3934"/>
                <a:gd name="connsiteX2" fmla="*/ 3147 w 3934"/>
                <a:gd name="connsiteY2" fmla="*/ 3541 h 3934"/>
                <a:gd name="connsiteX3" fmla="*/ 0 w 3934"/>
                <a:gd name="connsiteY3" fmla="*/ 3934 h 3934"/>
                <a:gd name="connsiteX4" fmla="*/ 3147 w 3934"/>
                <a:gd name="connsiteY4" fmla="*/ 5114 h 3934"/>
                <a:gd name="connsiteX5" fmla="*/ 5901 w 3934"/>
                <a:gd name="connsiteY5" fmla="*/ 5114 h 3934"/>
                <a:gd name="connsiteX6" fmla="*/ 6295 w 3934"/>
                <a:gd name="connsiteY6" fmla="*/ 5114 h 3934"/>
                <a:gd name="connsiteX7" fmla="*/ 7082 w 3934"/>
                <a:gd name="connsiteY7" fmla="*/ 236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3934">
                  <a:moveTo>
                    <a:pt x="6688" y="0"/>
                  </a:moveTo>
                  <a:lnTo>
                    <a:pt x="5901" y="2754"/>
                  </a:lnTo>
                  <a:lnTo>
                    <a:pt x="3147" y="3541"/>
                  </a:lnTo>
                  <a:lnTo>
                    <a:pt x="0" y="3934"/>
                  </a:lnTo>
                  <a:lnTo>
                    <a:pt x="3147" y="5114"/>
                  </a:lnTo>
                  <a:lnTo>
                    <a:pt x="5901" y="5114"/>
                  </a:lnTo>
                  <a:lnTo>
                    <a:pt x="6295" y="5114"/>
                  </a:lnTo>
                  <a:lnTo>
                    <a:pt x="7082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09" name="Freeform: Shape 2903">
              <a:extLst>
                <a:ext uri="{FF2B5EF4-FFF2-40B4-BE49-F238E27FC236}">
                  <a16:creationId xmlns:a16="http://schemas.microsoft.com/office/drawing/2014/main" id="{ACA90987-4029-4D83-B2F7-98406E8E712D}"/>
                </a:ext>
              </a:extLst>
            </p:cNvPr>
            <p:cNvSpPr/>
            <p:nvPr/>
          </p:nvSpPr>
          <p:spPr>
            <a:xfrm>
              <a:off x="4119032" y="2315252"/>
              <a:ext cx="7869" cy="3934"/>
            </a:xfrm>
            <a:custGeom>
              <a:avLst/>
              <a:gdLst>
                <a:gd name="connsiteX0" fmla="*/ 5508 w 7868"/>
                <a:gd name="connsiteY0" fmla="*/ 0 h 3934"/>
                <a:gd name="connsiteX1" fmla="*/ 2754 w 7868"/>
                <a:gd name="connsiteY1" fmla="*/ 2360 h 3934"/>
                <a:gd name="connsiteX2" fmla="*/ 0 w 7868"/>
                <a:gd name="connsiteY2" fmla="*/ 3934 h 3934"/>
                <a:gd name="connsiteX3" fmla="*/ 2754 w 7868"/>
                <a:gd name="connsiteY3" fmla="*/ 3934 h 3934"/>
                <a:gd name="connsiteX4" fmla="*/ 5508 w 7868"/>
                <a:gd name="connsiteY4" fmla="*/ 3541 h 3934"/>
                <a:gd name="connsiteX5" fmla="*/ 8655 w 7868"/>
                <a:gd name="connsiteY5" fmla="*/ 2754 h 3934"/>
                <a:gd name="connsiteX6" fmla="*/ 8262 w 7868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5508" y="0"/>
                  </a:moveTo>
                  <a:lnTo>
                    <a:pt x="2754" y="2360"/>
                  </a:lnTo>
                  <a:lnTo>
                    <a:pt x="0" y="3934"/>
                  </a:lnTo>
                  <a:lnTo>
                    <a:pt x="2754" y="3934"/>
                  </a:lnTo>
                  <a:lnTo>
                    <a:pt x="5508" y="3541"/>
                  </a:lnTo>
                  <a:lnTo>
                    <a:pt x="8655" y="2754"/>
                  </a:lnTo>
                  <a:lnTo>
                    <a:pt x="8262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10" name="Freeform: Shape 2904">
              <a:extLst>
                <a:ext uri="{FF2B5EF4-FFF2-40B4-BE49-F238E27FC236}">
                  <a16:creationId xmlns:a16="http://schemas.microsoft.com/office/drawing/2014/main" id="{B2534394-078E-4AAE-8D06-CAC7B0725F79}"/>
                </a:ext>
              </a:extLst>
            </p:cNvPr>
            <p:cNvSpPr/>
            <p:nvPr/>
          </p:nvSpPr>
          <p:spPr>
            <a:xfrm>
              <a:off x="4106836" y="2309351"/>
              <a:ext cx="3934" cy="3934"/>
            </a:xfrm>
            <a:custGeom>
              <a:avLst/>
              <a:gdLst>
                <a:gd name="connsiteX0" fmla="*/ 4328 w 3934"/>
                <a:gd name="connsiteY0" fmla="*/ 0 h 3934"/>
                <a:gd name="connsiteX1" fmla="*/ 3147 w 3934"/>
                <a:gd name="connsiteY1" fmla="*/ 0 h 3934"/>
                <a:gd name="connsiteX2" fmla="*/ 787 w 3934"/>
                <a:gd name="connsiteY2" fmla="*/ 2754 h 3934"/>
                <a:gd name="connsiteX3" fmla="*/ 0 w 3934"/>
                <a:gd name="connsiteY3" fmla="*/ 5901 h 3934"/>
                <a:gd name="connsiteX4" fmla="*/ 3147 w 3934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4328" y="0"/>
                  </a:moveTo>
                  <a:lnTo>
                    <a:pt x="3147" y="0"/>
                  </a:lnTo>
                  <a:lnTo>
                    <a:pt x="787" y="2754"/>
                  </a:lnTo>
                  <a:lnTo>
                    <a:pt x="0" y="5901"/>
                  </a:lnTo>
                  <a:lnTo>
                    <a:pt x="314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11" name="Freeform: Shape 2905">
              <a:extLst>
                <a:ext uri="{FF2B5EF4-FFF2-40B4-BE49-F238E27FC236}">
                  <a16:creationId xmlns:a16="http://schemas.microsoft.com/office/drawing/2014/main" id="{89B1D4DE-62E7-474E-A6F6-38DF9028CCFB}"/>
                </a:ext>
              </a:extLst>
            </p:cNvPr>
            <p:cNvSpPr/>
            <p:nvPr/>
          </p:nvSpPr>
          <p:spPr>
            <a:xfrm>
              <a:off x="4182767" y="2128768"/>
              <a:ext cx="7869" cy="3934"/>
            </a:xfrm>
            <a:custGeom>
              <a:avLst/>
              <a:gdLst>
                <a:gd name="connsiteX0" fmla="*/ 2754 w 7868"/>
                <a:gd name="connsiteY0" fmla="*/ 2754 h 3934"/>
                <a:gd name="connsiteX1" fmla="*/ 0 w 7868"/>
                <a:gd name="connsiteY1" fmla="*/ 5508 h 3934"/>
                <a:gd name="connsiteX2" fmla="*/ 2754 w 7868"/>
                <a:gd name="connsiteY2" fmla="*/ 4721 h 3934"/>
                <a:gd name="connsiteX3" fmla="*/ 5901 w 7868"/>
                <a:gd name="connsiteY3" fmla="*/ 3147 h 3934"/>
                <a:gd name="connsiteX4" fmla="*/ 9049 w 7868"/>
                <a:gd name="connsiteY4" fmla="*/ 787 h 3934"/>
                <a:gd name="connsiteX5" fmla="*/ 9049 w 7868"/>
                <a:gd name="connsiteY5" fmla="*/ 0 h 3934"/>
                <a:gd name="connsiteX6" fmla="*/ 5901 w 7868"/>
                <a:gd name="connsiteY6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2754" y="2754"/>
                  </a:moveTo>
                  <a:lnTo>
                    <a:pt x="0" y="5508"/>
                  </a:lnTo>
                  <a:lnTo>
                    <a:pt x="2754" y="4721"/>
                  </a:lnTo>
                  <a:lnTo>
                    <a:pt x="5901" y="3147"/>
                  </a:lnTo>
                  <a:lnTo>
                    <a:pt x="9049" y="787"/>
                  </a:lnTo>
                  <a:lnTo>
                    <a:pt x="9049" y="0"/>
                  </a:lnTo>
                  <a:lnTo>
                    <a:pt x="590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12" name="Freeform: Shape 2906">
              <a:extLst>
                <a:ext uri="{FF2B5EF4-FFF2-40B4-BE49-F238E27FC236}">
                  <a16:creationId xmlns:a16="http://schemas.microsoft.com/office/drawing/2014/main" id="{71C1D26A-DCCB-4303-A087-F5FC73B79F04}"/>
                </a:ext>
              </a:extLst>
            </p:cNvPr>
            <p:cNvSpPr/>
            <p:nvPr/>
          </p:nvSpPr>
          <p:spPr>
            <a:xfrm>
              <a:off x="4396398" y="2031985"/>
              <a:ext cx="62948" cy="27540"/>
            </a:xfrm>
            <a:custGeom>
              <a:avLst/>
              <a:gdLst>
                <a:gd name="connsiteX0" fmla="*/ 28327 w 62948"/>
                <a:gd name="connsiteY0" fmla="*/ 23212 h 27539"/>
                <a:gd name="connsiteX1" fmla="*/ 31081 w 62948"/>
                <a:gd name="connsiteY1" fmla="*/ 23999 h 27539"/>
                <a:gd name="connsiteX2" fmla="*/ 34228 w 62948"/>
                <a:gd name="connsiteY2" fmla="*/ 25179 h 27539"/>
                <a:gd name="connsiteX3" fmla="*/ 36982 w 62948"/>
                <a:gd name="connsiteY3" fmla="*/ 25966 h 27539"/>
                <a:gd name="connsiteX4" fmla="*/ 40130 w 62948"/>
                <a:gd name="connsiteY4" fmla="*/ 26753 h 27539"/>
                <a:gd name="connsiteX5" fmla="*/ 42884 w 62948"/>
                <a:gd name="connsiteY5" fmla="*/ 26753 h 27539"/>
                <a:gd name="connsiteX6" fmla="*/ 46031 w 62948"/>
                <a:gd name="connsiteY6" fmla="*/ 27933 h 27539"/>
                <a:gd name="connsiteX7" fmla="*/ 49178 w 62948"/>
                <a:gd name="connsiteY7" fmla="*/ 29114 h 27539"/>
                <a:gd name="connsiteX8" fmla="*/ 51932 w 62948"/>
                <a:gd name="connsiteY8" fmla="*/ 28327 h 27539"/>
                <a:gd name="connsiteX9" fmla="*/ 54686 w 62948"/>
                <a:gd name="connsiteY9" fmla="*/ 29114 h 27539"/>
                <a:gd name="connsiteX10" fmla="*/ 57440 w 62948"/>
                <a:gd name="connsiteY10" fmla="*/ 28720 h 27539"/>
                <a:gd name="connsiteX11" fmla="*/ 60194 w 62948"/>
                <a:gd name="connsiteY11" fmla="*/ 29114 h 27539"/>
                <a:gd name="connsiteX12" fmla="*/ 63342 w 62948"/>
                <a:gd name="connsiteY12" fmla="*/ 28327 h 27539"/>
                <a:gd name="connsiteX13" fmla="*/ 64522 w 62948"/>
                <a:gd name="connsiteY13" fmla="*/ 25179 h 27539"/>
                <a:gd name="connsiteX14" fmla="*/ 63735 w 62948"/>
                <a:gd name="connsiteY14" fmla="*/ 22425 h 27539"/>
                <a:gd name="connsiteX15" fmla="*/ 60588 w 62948"/>
                <a:gd name="connsiteY15" fmla="*/ 19671 h 27539"/>
                <a:gd name="connsiteX16" fmla="*/ 57834 w 62948"/>
                <a:gd name="connsiteY16" fmla="*/ 18491 h 27539"/>
                <a:gd name="connsiteX17" fmla="*/ 55080 w 62948"/>
                <a:gd name="connsiteY17" fmla="*/ 17704 h 27539"/>
                <a:gd name="connsiteX18" fmla="*/ 51932 w 62948"/>
                <a:gd name="connsiteY18" fmla="*/ 14950 h 27539"/>
                <a:gd name="connsiteX19" fmla="*/ 49178 w 62948"/>
                <a:gd name="connsiteY19" fmla="*/ 12196 h 27539"/>
                <a:gd name="connsiteX20" fmla="*/ 46031 w 62948"/>
                <a:gd name="connsiteY20" fmla="*/ 10622 h 27539"/>
                <a:gd name="connsiteX21" fmla="*/ 43277 w 62948"/>
                <a:gd name="connsiteY21" fmla="*/ 9442 h 27539"/>
                <a:gd name="connsiteX22" fmla="*/ 40130 w 62948"/>
                <a:gd name="connsiteY22" fmla="*/ 8262 h 27539"/>
                <a:gd name="connsiteX23" fmla="*/ 37376 w 62948"/>
                <a:gd name="connsiteY23" fmla="*/ 6295 h 27539"/>
                <a:gd name="connsiteX24" fmla="*/ 34621 w 62948"/>
                <a:gd name="connsiteY24" fmla="*/ 5508 h 27539"/>
                <a:gd name="connsiteX25" fmla="*/ 31867 w 62948"/>
                <a:gd name="connsiteY25" fmla="*/ 4721 h 27539"/>
                <a:gd name="connsiteX26" fmla="*/ 28720 w 62948"/>
                <a:gd name="connsiteY26" fmla="*/ 3934 h 27539"/>
                <a:gd name="connsiteX27" fmla="*/ 26360 w 62948"/>
                <a:gd name="connsiteY27" fmla="*/ 3541 h 27539"/>
                <a:gd name="connsiteX28" fmla="*/ 23606 w 62948"/>
                <a:gd name="connsiteY28" fmla="*/ 3147 h 27539"/>
                <a:gd name="connsiteX29" fmla="*/ 20852 w 62948"/>
                <a:gd name="connsiteY29" fmla="*/ 2361 h 27539"/>
                <a:gd name="connsiteX30" fmla="*/ 17704 w 62948"/>
                <a:gd name="connsiteY30" fmla="*/ 1967 h 27539"/>
                <a:gd name="connsiteX31" fmla="*/ 14950 w 62948"/>
                <a:gd name="connsiteY31" fmla="*/ 1574 h 27539"/>
                <a:gd name="connsiteX32" fmla="*/ 11803 w 62948"/>
                <a:gd name="connsiteY32" fmla="*/ 393 h 27539"/>
                <a:gd name="connsiteX33" fmla="*/ 8655 w 62948"/>
                <a:gd name="connsiteY33" fmla="*/ 0 h 27539"/>
                <a:gd name="connsiteX34" fmla="*/ 5901 w 62948"/>
                <a:gd name="connsiteY34" fmla="*/ 787 h 27539"/>
                <a:gd name="connsiteX35" fmla="*/ 3147 w 62948"/>
                <a:gd name="connsiteY35" fmla="*/ 1180 h 27539"/>
                <a:gd name="connsiteX36" fmla="*/ 0 w 62948"/>
                <a:gd name="connsiteY36" fmla="*/ 2754 h 27539"/>
                <a:gd name="connsiteX37" fmla="*/ 3147 w 62948"/>
                <a:gd name="connsiteY37" fmla="*/ 3934 h 27539"/>
                <a:gd name="connsiteX38" fmla="*/ 5901 w 62948"/>
                <a:gd name="connsiteY38" fmla="*/ 6295 h 27539"/>
                <a:gd name="connsiteX39" fmla="*/ 8655 w 62948"/>
                <a:gd name="connsiteY39" fmla="*/ 7475 h 27539"/>
                <a:gd name="connsiteX40" fmla="*/ 11803 w 62948"/>
                <a:gd name="connsiteY40" fmla="*/ 8262 h 27539"/>
                <a:gd name="connsiteX41" fmla="*/ 14950 w 62948"/>
                <a:gd name="connsiteY41" fmla="*/ 10229 h 27539"/>
                <a:gd name="connsiteX42" fmla="*/ 17704 w 62948"/>
                <a:gd name="connsiteY42" fmla="*/ 12983 h 27539"/>
                <a:gd name="connsiteX43" fmla="*/ 18098 w 62948"/>
                <a:gd name="connsiteY43" fmla="*/ 16131 h 27539"/>
                <a:gd name="connsiteX44" fmla="*/ 19671 w 62948"/>
                <a:gd name="connsiteY44" fmla="*/ 18884 h 27539"/>
                <a:gd name="connsiteX45" fmla="*/ 22819 w 62948"/>
                <a:gd name="connsiteY45" fmla="*/ 20065 h 27539"/>
                <a:gd name="connsiteX46" fmla="*/ 25573 w 62948"/>
                <a:gd name="connsiteY46" fmla="*/ 21245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62948" h="27539">
                  <a:moveTo>
                    <a:pt x="28327" y="23212"/>
                  </a:moveTo>
                  <a:lnTo>
                    <a:pt x="31081" y="23999"/>
                  </a:lnTo>
                  <a:lnTo>
                    <a:pt x="34228" y="25179"/>
                  </a:lnTo>
                  <a:lnTo>
                    <a:pt x="36982" y="25966"/>
                  </a:lnTo>
                  <a:lnTo>
                    <a:pt x="40130" y="26753"/>
                  </a:lnTo>
                  <a:lnTo>
                    <a:pt x="42884" y="26753"/>
                  </a:lnTo>
                  <a:lnTo>
                    <a:pt x="46031" y="27933"/>
                  </a:lnTo>
                  <a:lnTo>
                    <a:pt x="49178" y="29114"/>
                  </a:lnTo>
                  <a:lnTo>
                    <a:pt x="51932" y="28327"/>
                  </a:lnTo>
                  <a:lnTo>
                    <a:pt x="54686" y="29114"/>
                  </a:lnTo>
                  <a:lnTo>
                    <a:pt x="57440" y="28720"/>
                  </a:lnTo>
                  <a:lnTo>
                    <a:pt x="60194" y="29114"/>
                  </a:lnTo>
                  <a:lnTo>
                    <a:pt x="63342" y="28327"/>
                  </a:lnTo>
                  <a:lnTo>
                    <a:pt x="64522" y="25179"/>
                  </a:lnTo>
                  <a:lnTo>
                    <a:pt x="63735" y="22425"/>
                  </a:lnTo>
                  <a:lnTo>
                    <a:pt x="60588" y="19671"/>
                  </a:lnTo>
                  <a:lnTo>
                    <a:pt x="57834" y="18491"/>
                  </a:lnTo>
                  <a:lnTo>
                    <a:pt x="55080" y="17704"/>
                  </a:lnTo>
                  <a:lnTo>
                    <a:pt x="51932" y="14950"/>
                  </a:lnTo>
                  <a:lnTo>
                    <a:pt x="49178" y="12196"/>
                  </a:lnTo>
                  <a:lnTo>
                    <a:pt x="46031" y="10622"/>
                  </a:lnTo>
                  <a:lnTo>
                    <a:pt x="43277" y="9442"/>
                  </a:lnTo>
                  <a:lnTo>
                    <a:pt x="40130" y="8262"/>
                  </a:lnTo>
                  <a:lnTo>
                    <a:pt x="37376" y="6295"/>
                  </a:lnTo>
                  <a:lnTo>
                    <a:pt x="34621" y="5508"/>
                  </a:lnTo>
                  <a:lnTo>
                    <a:pt x="31867" y="4721"/>
                  </a:lnTo>
                  <a:lnTo>
                    <a:pt x="28720" y="3934"/>
                  </a:lnTo>
                  <a:lnTo>
                    <a:pt x="26360" y="3541"/>
                  </a:lnTo>
                  <a:lnTo>
                    <a:pt x="23606" y="3147"/>
                  </a:lnTo>
                  <a:lnTo>
                    <a:pt x="20852" y="2361"/>
                  </a:lnTo>
                  <a:lnTo>
                    <a:pt x="17704" y="1967"/>
                  </a:lnTo>
                  <a:lnTo>
                    <a:pt x="14950" y="1574"/>
                  </a:lnTo>
                  <a:lnTo>
                    <a:pt x="11803" y="393"/>
                  </a:lnTo>
                  <a:lnTo>
                    <a:pt x="8655" y="0"/>
                  </a:lnTo>
                  <a:lnTo>
                    <a:pt x="5901" y="787"/>
                  </a:lnTo>
                  <a:lnTo>
                    <a:pt x="3147" y="1180"/>
                  </a:lnTo>
                  <a:lnTo>
                    <a:pt x="0" y="2754"/>
                  </a:lnTo>
                  <a:lnTo>
                    <a:pt x="3147" y="3934"/>
                  </a:lnTo>
                  <a:lnTo>
                    <a:pt x="5901" y="6295"/>
                  </a:lnTo>
                  <a:lnTo>
                    <a:pt x="8655" y="7475"/>
                  </a:lnTo>
                  <a:lnTo>
                    <a:pt x="11803" y="8262"/>
                  </a:lnTo>
                  <a:lnTo>
                    <a:pt x="14950" y="10229"/>
                  </a:lnTo>
                  <a:lnTo>
                    <a:pt x="17704" y="12983"/>
                  </a:lnTo>
                  <a:lnTo>
                    <a:pt x="18098" y="16131"/>
                  </a:lnTo>
                  <a:lnTo>
                    <a:pt x="19671" y="18884"/>
                  </a:lnTo>
                  <a:lnTo>
                    <a:pt x="22819" y="20065"/>
                  </a:lnTo>
                  <a:lnTo>
                    <a:pt x="25573" y="2124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13" name="Freeform: Shape 2907">
              <a:extLst>
                <a:ext uri="{FF2B5EF4-FFF2-40B4-BE49-F238E27FC236}">
                  <a16:creationId xmlns:a16="http://schemas.microsoft.com/office/drawing/2014/main" id="{7EC96044-C4FD-437A-8714-4E4192517D65}"/>
                </a:ext>
              </a:extLst>
            </p:cNvPr>
            <p:cNvSpPr/>
            <p:nvPr/>
          </p:nvSpPr>
          <p:spPr>
            <a:xfrm>
              <a:off x="4433380" y="2177159"/>
              <a:ext cx="3934" cy="3934"/>
            </a:xfrm>
            <a:custGeom>
              <a:avLst/>
              <a:gdLst>
                <a:gd name="connsiteX0" fmla="*/ 1967 w 3934"/>
                <a:gd name="connsiteY0" fmla="*/ 3541 h 0"/>
                <a:gd name="connsiteX1" fmla="*/ 5114 w 3934"/>
                <a:gd name="connsiteY1" fmla="*/ 787 h 0"/>
                <a:gd name="connsiteX2" fmla="*/ 3147 w 3934"/>
                <a:gd name="connsiteY2" fmla="*/ 0 h 0"/>
                <a:gd name="connsiteX3" fmla="*/ 0 w 3934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967" y="3541"/>
                  </a:moveTo>
                  <a:lnTo>
                    <a:pt x="5114" y="787"/>
                  </a:lnTo>
                  <a:lnTo>
                    <a:pt x="3147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14" name="Freeform: Shape 2908">
              <a:extLst>
                <a:ext uri="{FF2B5EF4-FFF2-40B4-BE49-F238E27FC236}">
                  <a16:creationId xmlns:a16="http://schemas.microsoft.com/office/drawing/2014/main" id="{2305B71C-96F5-46C0-BB5C-CBF69CF2F7AA}"/>
                </a:ext>
              </a:extLst>
            </p:cNvPr>
            <p:cNvSpPr/>
            <p:nvPr/>
          </p:nvSpPr>
          <p:spPr>
            <a:xfrm>
              <a:off x="4428659" y="2108310"/>
              <a:ext cx="19671" cy="11803"/>
            </a:xfrm>
            <a:custGeom>
              <a:avLst/>
              <a:gdLst>
                <a:gd name="connsiteX0" fmla="*/ 7082 w 19671"/>
                <a:gd name="connsiteY0" fmla="*/ 7869 h 11802"/>
                <a:gd name="connsiteX1" fmla="*/ 9836 w 19671"/>
                <a:gd name="connsiteY1" fmla="*/ 6295 h 11802"/>
                <a:gd name="connsiteX2" fmla="*/ 12983 w 19671"/>
                <a:gd name="connsiteY2" fmla="*/ 3541 h 11802"/>
                <a:gd name="connsiteX3" fmla="*/ 12983 w 19671"/>
                <a:gd name="connsiteY3" fmla="*/ 3147 h 11802"/>
                <a:gd name="connsiteX4" fmla="*/ 16130 w 19671"/>
                <a:gd name="connsiteY4" fmla="*/ 1574 h 11802"/>
                <a:gd name="connsiteX5" fmla="*/ 18884 w 19671"/>
                <a:gd name="connsiteY5" fmla="*/ 2361 h 11802"/>
                <a:gd name="connsiteX6" fmla="*/ 21638 w 19671"/>
                <a:gd name="connsiteY6" fmla="*/ 0 h 11802"/>
                <a:gd name="connsiteX7" fmla="*/ 18884 w 19671"/>
                <a:gd name="connsiteY7" fmla="*/ 393 h 11802"/>
                <a:gd name="connsiteX8" fmla="*/ 16130 w 19671"/>
                <a:gd name="connsiteY8" fmla="*/ 1574 h 11802"/>
                <a:gd name="connsiteX9" fmla="*/ 12983 w 19671"/>
                <a:gd name="connsiteY9" fmla="*/ 2754 h 11802"/>
                <a:gd name="connsiteX10" fmla="*/ 9836 w 19671"/>
                <a:gd name="connsiteY10" fmla="*/ 5114 h 11802"/>
                <a:gd name="connsiteX11" fmla="*/ 7082 w 19671"/>
                <a:gd name="connsiteY11" fmla="*/ 6688 h 11802"/>
                <a:gd name="connsiteX12" fmla="*/ 4328 w 19671"/>
                <a:gd name="connsiteY12" fmla="*/ 7869 h 11802"/>
                <a:gd name="connsiteX13" fmla="*/ 2360 w 19671"/>
                <a:gd name="connsiteY13" fmla="*/ 11016 h 11802"/>
                <a:gd name="connsiteX14" fmla="*/ 0 w 19671"/>
                <a:gd name="connsiteY14" fmla="*/ 13770 h 11802"/>
                <a:gd name="connsiteX15" fmla="*/ 3147 w 19671"/>
                <a:gd name="connsiteY15" fmla="*/ 13770 h 11802"/>
                <a:gd name="connsiteX16" fmla="*/ 5901 w 19671"/>
                <a:gd name="connsiteY16" fmla="*/ 12983 h 11802"/>
                <a:gd name="connsiteX17" fmla="*/ 2754 w 19671"/>
                <a:gd name="connsiteY17" fmla="*/ 11016 h 11802"/>
                <a:gd name="connsiteX18" fmla="*/ 4328 w 19671"/>
                <a:gd name="connsiteY18" fmla="*/ 9442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71" h="11802">
                  <a:moveTo>
                    <a:pt x="7082" y="7869"/>
                  </a:moveTo>
                  <a:lnTo>
                    <a:pt x="9836" y="6295"/>
                  </a:lnTo>
                  <a:lnTo>
                    <a:pt x="12983" y="3541"/>
                  </a:lnTo>
                  <a:lnTo>
                    <a:pt x="12983" y="3147"/>
                  </a:lnTo>
                  <a:lnTo>
                    <a:pt x="16130" y="1574"/>
                  </a:lnTo>
                  <a:lnTo>
                    <a:pt x="18884" y="2361"/>
                  </a:lnTo>
                  <a:lnTo>
                    <a:pt x="21638" y="0"/>
                  </a:lnTo>
                  <a:lnTo>
                    <a:pt x="18884" y="393"/>
                  </a:lnTo>
                  <a:lnTo>
                    <a:pt x="16130" y="1574"/>
                  </a:lnTo>
                  <a:lnTo>
                    <a:pt x="12983" y="2754"/>
                  </a:lnTo>
                  <a:lnTo>
                    <a:pt x="9836" y="5114"/>
                  </a:lnTo>
                  <a:lnTo>
                    <a:pt x="7082" y="6688"/>
                  </a:lnTo>
                  <a:lnTo>
                    <a:pt x="4328" y="7869"/>
                  </a:lnTo>
                  <a:lnTo>
                    <a:pt x="2360" y="11016"/>
                  </a:lnTo>
                  <a:lnTo>
                    <a:pt x="0" y="13770"/>
                  </a:lnTo>
                  <a:lnTo>
                    <a:pt x="3147" y="13770"/>
                  </a:lnTo>
                  <a:lnTo>
                    <a:pt x="5901" y="12983"/>
                  </a:lnTo>
                  <a:lnTo>
                    <a:pt x="2754" y="11016"/>
                  </a:lnTo>
                  <a:lnTo>
                    <a:pt x="4328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15" name="Freeform: Shape 2909">
              <a:extLst>
                <a:ext uri="{FF2B5EF4-FFF2-40B4-BE49-F238E27FC236}">
                  <a16:creationId xmlns:a16="http://schemas.microsoft.com/office/drawing/2014/main" id="{364CB6AC-2548-424C-B1F3-185D90130FA4}"/>
                </a:ext>
              </a:extLst>
            </p:cNvPr>
            <p:cNvSpPr/>
            <p:nvPr/>
          </p:nvSpPr>
          <p:spPr>
            <a:xfrm>
              <a:off x="4365711" y="2098868"/>
              <a:ext cx="3934" cy="3934"/>
            </a:xfrm>
            <a:custGeom>
              <a:avLst/>
              <a:gdLst>
                <a:gd name="connsiteX0" fmla="*/ 2754 w 3934"/>
                <a:gd name="connsiteY0" fmla="*/ 1180 h 3934"/>
                <a:gd name="connsiteX1" fmla="*/ 0 w 3934"/>
                <a:gd name="connsiteY1" fmla="*/ 2754 h 3934"/>
                <a:gd name="connsiteX2" fmla="*/ 1180 w 3934"/>
                <a:gd name="connsiteY2" fmla="*/ 5508 h 3934"/>
                <a:gd name="connsiteX3" fmla="*/ 3934 w 3934"/>
                <a:gd name="connsiteY3" fmla="*/ 3147 h 3934"/>
                <a:gd name="connsiteX4" fmla="*/ 5901 w 3934"/>
                <a:gd name="connsiteY4" fmla="*/ 0 h 3934"/>
                <a:gd name="connsiteX5" fmla="*/ 5508 w 3934"/>
                <a:gd name="connsiteY5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2754" y="1180"/>
                  </a:moveTo>
                  <a:lnTo>
                    <a:pt x="0" y="2754"/>
                  </a:lnTo>
                  <a:lnTo>
                    <a:pt x="1180" y="5508"/>
                  </a:lnTo>
                  <a:lnTo>
                    <a:pt x="3934" y="3147"/>
                  </a:lnTo>
                  <a:lnTo>
                    <a:pt x="5901" y="0"/>
                  </a:lnTo>
                  <a:lnTo>
                    <a:pt x="5508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16" name="Freeform: Shape 2910">
              <a:extLst>
                <a:ext uri="{FF2B5EF4-FFF2-40B4-BE49-F238E27FC236}">
                  <a16:creationId xmlns:a16="http://schemas.microsoft.com/office/drawing/2014/main" id="{6C17FBF4-0F78-420A-8F78-9C84A4EBF4E3}"/>
                </a:ext>
              </a:extLst>
            </p:cNvPr>
            <p:cNvSpPr/>
            <p:nvPr/>
          </p:nvSpPr>
          <p:spPr>
            <a:xfrm>
              <a:off x="4371218" y="2095720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3147 h 0"/>
                <a:gd name="connsiteX2" fmla="*/ 157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3147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17" name="Freeform: Shape 2911">
              <a:extLst>
                <a:ext uri="{FF2B5EF4-FFF2-40B4-BE49-F238E27FC236}">
                  <a16:creationId xmlns:a16="http://schemas.microsoft.com/office/drawing/2014/main" id="{A710C217-CD94-4E73-B74A-B3F6CEAEBE02}"/>
                </a:ext>
              </a:extLst>
            </p:cNvPr>
            <p:cNvSpPr/>
            <p:nvPr/>
          </p:nvSpPr>
          <p:spPr>
            <a:xfrm>
              <a:off x="4268141" y="2202732"/>
              <a:ext cx="3934" cy="3934"/>
            </a:xfrm>
            <a:custGeom>
              <a:avLst/>
              <a:gdLst>
                <a:gd name="connsiteX0" fmla="*/ 3541 w 0"/>
                <a:gd name="connsiteY0" fmla="*/ 0 h 3934"/>
                <a:gd name="connsiteX1" fmla="*/ 3541 w 0"/>
                <a:gd name="connsiteY1" fmla="*/ 0 h 3934"/>
                <a:gd name="connsiteX2" fmla="*/ 393 w 0"/>
                <a:gd name="connsiteY2" fmla="*/ 1967 h 3934"/>
                <a:gd name="connsiteX3" fmla="*/ 0 w 0"/>
                <a:gd name="connsiteY3" fmla="*/ 4721 h 3934"/>
                <a:gd name="connsiteX4" fmla="*/ 3147 w 0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3541" y="0"/>
                  </a:moveTo>
                  <a:lnTo>
                    <a:pt x="3541" y="0"/>
                  </a:lnTo>
                  <a:lnTo>
                    <a:pt x="393" y="1967"/>
                  </a:lnTo>
                  <a:lnTo>
                    <a:pt x="0" y="4721"/>
                  </a:lnTo>
                  <a:lnTo>
                    <a:pt x="314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18" name="Freeform: Shape 2912">
              <a:extLst>
                <a:ext uri="{FF2B5EF4-FFF2-40B4-BE49-F238E27FC236}">
                  <a16:creationId xmlns:a16="http://schemas.microsoft.com/office/drawing/2014/main" id="{8944D822-ADE5-4C04-83E3-BD19F0A669D8}"/>
                </a:ext>
              </a:extLst>
            </p:cNvPr>
            <p:cNvSpPr/>
            <p:nvPr/>
          </p:nvSpPr>
          <p:spPr>
            <a:xfrm>
              <a:off x="4357842" y="2127981"/>
              <a:ext cx="62948" cy="35408"/>
            </a:xfrm>
            <a:custGeom>
              <a:avLst/>
              <a:gdLst>
                <a:gd name="connsiteX0" fmla="*/ 48785 w 62948"/>
                <a:gd name="connsiteY0" fmla="*/ 25966 h 35408"/>
                <a:gd name="connsiteX1" fmla="*/ 51145 w 62948"/>
                <a:gd name="connsiteY1" fmla="*/ 23212 h 35408"/>
                <a:gd name="connsiteX2" fmla="*/ 54293 w 62948"/>
                <a:gd name="connsiteY2" fmla="*/ 23212 h 35408"/>
                <a:gd name="connsiteX3" fmla="*/ 57440 w 62948"/>
                <a:gd name="connsiteY3" fmla="*/ 22425 h 35408"/>
                <a:gd name="connsiteX4" fmla="*/ 60194 w 62948"/>
                <a:gd name="connsiteY4" fmla="*/ 21245 h 35408"/>
                <a:gd name="connsiteX5" fmla="*/ 62948 w 62948"/>
                <a:gd name="connsiteY5" fmla="*/ 19671 h 35408"/>
                <a:gd name="connsiteX6" fmla="*/ 59801 w 62948"/>
                <a:gd name="connsiteY6" fmla="*/ 19278 h 35408"/>
                <a:gd name="connsiteX7" fmla="*/ 57047 w 62948"/>
                <a:gd name="connsiteY7" fmla="*/ 18884 h 35408"/>
                <a:gd name="connsiteX8" fmla="*/ 54293 w 62948"/>
                <a:gd name="connsiteY8" fmla="*/ 19278 h 35408"/>
                <a:gd name="connsiteX9" fmla="*/ 52326 w 62948"/>
                <a:gd name="connsiteY9" fmla="*/ 19278 h 35408"/>
                <a:gd name="connsiteX10" fmla="*/ 49572 w 62948"/>
                <a:gd name="connsiteY10" fmla="*/ 19278 h 35408"/>
                <a:gd name="connsiteX11" fmla="*/ 46424 w 62948"/>
                <a:gd name="connsiteY11" fmla="*/ 19278 h 35408"/>
                <a:gd name="connsiteX12" fmla="*/ 43670 w 62948"/>
                <a:gd name="connsiteY12" fmla="*/ 19671 h 35408"/>
                <a:gd name="connsiteX13" fmla="*/ 40523 w 62948"/>
                <a:gd name="connsiteY13" fmla="*/ 20065 h 35408"/>
                <a:gd name="connsiteX14" fmla="*/ 37769 w 62948"/>
                <a:gd name="connsiteY14" fmla="*/ 20458 h 35408"/>
                <a:gd name="connsiteX15" fmla="*/ 35015 w 62948"/>
                <a:gd name="connsiteY15" fmla="*/ 20852 h 35408"/>
                <a:gd name="connsiteX16" fmla="*/ 31867 w 62948"/>
                <a:gd name="connsiteY16" fmla="*/ 20852 h 35408"/>
                <a:gd name="connsiteX17" fmla="*/ 29113 w 62948"/>
                <a:gd name="connsiteY17" fmla="*/ 20458 h 35408"/>
                <a:gd name="connsiteX18" fmla="*/ 25966 w 62948"/>
                <a:gd name="connsiteY18" fmla="*/ 18098 h 35408"/>
                <a:gd name="connsiteX19" fmla="*/ 23212 w 62948"/>
                <a:gd name="connsiteY19" fmla="*/ 19278 h 35408"/>
                <a:gd name="connsiteX20" fmla="*/ 20852 w 62948"/>
                <a:gd name="connsiteY20" fmla="*/ 16524 h 35408"/>
                <a:gd name="connsiteX21" fmla="*/ 18098 w 62948"/>
                <a:gd name="connsiteY21" fmla="*/ 16131 h 35408"/>
                <a:gd name="connsiteX22" fmla="*/ 16524 w 62948"/>
                <a:gd name="connsiteY22" fmla="*/ 19278 h 35408"/>
                <a:gd name="connsiteX23" fmla="*/ 13770 w 62948"/>
                <a:gd name="connsiteY23" fmla="*/ 19671 h 35408"/>
                <a:gd name="connsiteX24" fmla="*/ 10623 w 62948"/>
                <a:gd name="connsiteY24" fmla="*/ 18884 h 35408"/>
                <a:gd name="connsiteX25" fmla="*/ 13770 w 62948"/>
                <a:gd name="connsiteY25" fmla="*/ 16131 h 35408"/>
                <a:gd name="connsiteX26" fmla="*/ 13770 w 62948"/>
                <a:gd name="connsiteY26" fmla="*/ 13376 h 35408"/>
                <a:gd name="connsiteX27" fmla="*/ 11016 w 62948"/>
                <a:gd name="connsiteY27" fmla="*/ 7869 h 35408"/>
                <a:gd name="connsiteX28" fmla="*/ 13770 w 62948"/>
                <a:gd name="connsiteY28" fmla="*/ 5901 h 35408"/>
                <a:gd name="connsiteX29" fmla="*/ 14950 w 62948"/>
                <a:gd name="connsiteY29" fmla="*/ 3147 h 35408"/>
                <a:gd name="connsiteX30" fmla="*/ 16130 w 62948"/>
                <a:gd name="connsiteY30" fmla="*/ 0 h 35408"/>
                <a:gd name="connsiteX31" fmla="*/ 13376 w 62948"/>
                <a:gd name="connsiteY31" fmla="*/ 1574 h 35408"/>
                <a:gd name="connsiteX32" fmla="*/ 10623 w 62948"/>
                <a:gd name="connsiteY32" fmla="*/ 3147 h 35408"/>
                <a:gd name="connsiteX33" fmla="*/ 7475 w 62948"/>
                <a:gd name="connsiteY33" fmla="*/ 5114 h 35408"/>
                <a:gd name="connsiteX34" fmla="*/ 5114 w 62948"/>
                <a:gd name="connsiteY34" fmla="*/ 7869 h 35408"/>
                <a:gd name="connsiteX35" fmla="*/ 1967 w 62948"/>
                <a:gd name="connsiteY35" fmla="*/ 9836 h 35408"/>
                <a:gd name="connsiteX36" fmla="*/ 0 w 62948"/>
                <a:gd name="connsiteY36" fmla="*/ 12590 h 35408"/>
                <a:gd name="connsiteX37" fmla="*/ 3147 w 62948"/>
                <a:gd name="connsiteY37" fmla="*/ 14163 h 35408"/>
                <a:gd name="connsiteX38" fmla="*/ 5901 w 62948"/>
                <a:gd name="connsiteY38" fmla="*/ 14557 h 35408"/>
                <a:gd name="connsiteX39" fmla="*/ 8655 w 62948"/>
                <a:gd name="connsiteY39" fmla="*/ 13770 h 35408"/>
                <a:gd name="connsiteX40" fmla="*/ 7869 w 62948"/>
                <a:gd name="connsiteY40" fmla="*/ 16524 h 35408"/>
                <a:gd name="connsiteX41" fmla="*/ 5901 w 62948"/>
                <a:gd name="connsiteY41" fmla="*/ 19671 h 35408"/>
                <a:gd name="connsiteX42" fmla="*/ 8655 w 62948"/>
                <a:gd name="connsiteY42" fmla="*/ 21638 h 35408"/>
                <a:gd name="connsiteX43" fmla="*/ 11803 w 62948"/>
                <a:gd name="connsiteY43" fmla="*/ 21245 h 35408"/>
                <a:gd name="connsiteX44" fmla="*/ 14557 w 62948"/>
                <a:gd name="connsiteY44" fmla="*/ 21638 h 35408"/>
                <a:gd name="connsiteX45" fmla="*/ 13376 w 62948"/>
                <a:gd name="connsiteY45" fmla="*/ 24392 h 35408"/>
                <a:gd name="connsiteX46" fmla="*/ 14163 w 62948"/>
                <a:gd name="connsiteY46" fmla="*/ 26359 h 35408"/>
                <a:gd name="connsiteX47" fmla="*/ 16917 w 62948"/>
                <a:gd name="connsiteY47" fmla="*/ 27540 h 35408"/>
                <a:gd name="connsiteX48" fmla="*/ 20065 w 62948"/>
                <a:gd name="connsiteY48" fmla="*/ 28327 h 35408"/>
                <a:gd name="connsiteX49" fmla="*/ 22819 w 62948"/>
                <a:gd name="connsiteY49" fmla="*/ 29507 h 35408"/>
                <a:gd name="connsiteX50" fmla="*/ 25573 w 62948"/>
                <a:gd name="connsiteY50" fmla="*/ 29900 h 35408"/>
                <a:gd name="connsiteX51" fmla="*/ 27933 w 62948"/>
                <a:gd name="connsiteY51" fmla="*/ 27146 h 35408"/>
                <a:gd name="connsiteX52" fmla="*/ 29113 w 62948"/>
                <a:gd name="connsiteY52" fmla="*/ 27146 h 35408"/>
                <a:gd name="connsiteX53" fmla="*/ 30294 w 62948"/>
                <a:gd name="connsiteY53" fmla="*/ 26753 h 35408"/>
                <a:gd name="connsiteX54" fmla="*/ 33441 w 62948"/>
                <a:gd name="connsiteY54" fmla="*/ 28327 h 35408"/>
                <a:gd name="connsiteX55" fmla="*/ 33441 w 62948"/>
                <a:gd name="connsiteY55" fmla="*/ 31474 h 35408"/>
                <a:gd name="connsiteX56" fmla="*/ 30687 w 62948"/>
                <a:gd name="connsiteY56" fmla="*/ 32654 h 35408"/>
                <a:gd name="connsiteX57" fmla="*/ 33441 w 62948"/>
                <a:gd name="connsiteY57" fmla="*/ 32654 h 35408"/>
                <a:gd name="connsiteX58" fmla="*/ 33441 w 62948"/>
                <a:gd name="connsiteY58" fmla="*/ 35802 h 35408"/>
                <a:gd name="connsiteX59" fmla="*/ 36195 w 62948"/>
                <a:gd name="connsiteY59" fmla="*/ 36195 h 35408"/>
                <a:gd name="connsiteX60" fmla="*/ 39343 w 62948"/>
                <a:gd name="connsiteY60" fmla="*/ 36195 h 35408"/>
                <a:gd name="connsiteX61" fmla="*/ 42097 w 62948"/>
                <a:gd name="connsiteY61" fmla="*/ 35802 h 35408"/>
                <a:gd name="connsiteX62" fmla="*/ 44457 w 62948"/>
                <a:gd name="connsiteY62" fmla="*/ 33048 h 35408"/>
                <a:gd name="connsiteX63" fmla="*/ 45637 w 62948"/>
                <a:gd name="connsiteY63" fmla="*/ 29900 h 35408"/>
                <a:gd name="connsiteX64" fmla="*/ 42490 w 62948"/>
                <a:gd name="connsiteY64" fmla="*/ 29114 h 35408"/>
                <a:gd name="connsiteX65" fmla="*/ 45637 w 62948"/>
                <a:gd name="connsiteY65" fmla="*/ 27540 h 35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62948" h="35408">
                  <a:moveTo>
                    <a:pt x="48785" y="25966"/>
                  </a:moveTo>
                  <a:lnTo>
                    <a:pt x="51145" y="23212"/>
                  </a:lnTo>
                  <a:lnTo>
                    <a:pt x="54293" y="23212"/>
                  </a:lnTo>
                  <a:lnTo>
                    <a:pt x="57440" y="22425"/>
                  </a:lnTo>
                  <a:lnTo>
                    <a:pt x="60194" y="21245"/>
                  </a:lnTo>
                  <a:lnTo>
                    <a:pt x="62948" y="19671"/>
                  </a:lnTo>
                  <a:lnTo>
                    <a:pt x="59801" y="19278"/>
                  </a:lnTo>
                  <a:lnTo>
                    <a:pt x="57047" y="18884"/>
                  </a:lnTo>
                  <a:lnTo>
                    <a:pt x="54293" y="19278"/>
                  </a:lnTo>
                  <a:lnTo>
                    <a:pt x="52326" y="19278"/>
                  </a:lnTo>
                  <a:lnTo>
                    <a:pt x="49572" y="19278"/>
                  </a:lnTo>
                  <a:lnTo>
                    <a:pt x="46424" y="19278"/>
                  </a:lnTo>
                  <a:lnTo>
                    <a:pt x="43670" y="19671"/>
                  </a:lnTo>
                  <a:lnTo>
                    <a:pt x="40523" y="20065"/>
                  </a:lnTo>
                  <a:lnTo>
                    <a:pt x="37769" y="20458"/>
                  </a:lnTo>
                  <a:lnTo>
                    <a:pt x="35015" y="20852"/>
                  </a:lnTo>
                  <a:lnTo>
                    <a:pt x="31867" y="20852"/>
                  </a:lnTo>
                  <a:lnTo>
                    <a:pt x="29113" y="20458"/>
                  </a:lnTo>
                  <a:lnTo>
                    <a:pt x="25966" y="18098"/>
                  </a:lnTo>
                  <a:lnTo>
                    <a:pt x="23212" y="19278"/>
                  </a:lnTo>
                  <a:lnTo>
                    <a:pt x="20852" y="16524"/>
                  </a:lnTo>
                  <a:lnTo>
                    <a:pt x="18098" y="16131"/>
                  </a:lnTo>
                  <a:lnTo>
                    <a:pt x="16524" y="19278"/>
                  </a:lnTo>
                  <a:lnTo>
                    <a:pt x="13770" y="19671"/>
                  </a:lnTo>
                  <a:lnTo>
                    <a:pt x="10623" y="18884"/>
                  </a:lnTo>
                  <a:lnTo>
                    <a:pt x="13770" y="16131"/>
                  </a:lnTo>
                  <a:lnTo>
                    <a:pt x="13770" y="13376"/>
                  </a:lnTo>
                  <a:lnTo>
                    <a:pt x="11016" y="7869"/>
                  </a:lnTo>
                  <a:lnTo>
                    <a:pt x="13770" y="5901"/>
                  </a:lnTo>
                  <a:lnTo>
                    <a:pt x="14950" y="3147"/>
                  </a:lnTo>
                  <a:lnTo>
                    <a:pt x="16130" y="0"/>
                  </a:lnTo>
                  <a:lnTo>
                    <a:pt x="13376" y="1574"/>
                  </a:lnTo>
                  <a:lnTo>
                    <a:pt x="10623" y="3147"/>
                  </a:lnTo>
                  <a:lnTo>
                    <a:pt x="7475" y="5114"/>
                  </a:lnTo>
                  <a:lnTo>
                    <a:pt x="5114" y="7869"/>
                  </a:lnTo>
                  <a:lnTo>
                    <a:pt x="1967" y="9836"/>
                  </a:lnTo>
                  <a:lnTo>
                    <a:pt x="0" y="12590"/>
                  </a:lnTo>
                  <a:lnTo>
                    <a:pt x="3147" y="14163"/>
                  </a:lnTo>
                  <a:lnTo>
                    <a:pt x="5901" y="14557"/>
                  </a:lnTo>
                  <a:lnTo>
                    <a:pt x="8655" y="13770"/>
                  </a:lnTo>
                  <a:lnTo>
                    <a:pt x="7869" y="16524"/>
                  </a:lnTo>
                  <a:lnTo>
                    <a:pt x="5901" y="19671"/>
                  </a:lnTo>
                  <a:lnTo>
                    <a:pt x="8655" y="21638"/>
                  </a:lnTo>
                  <a:lnTo>
                    <a:pt x="11803" y="21245"/>
                  </a:lnTo>
                  <a:lnTo>
                    <a:pt x="14557" y="21638"/>
                  </a:lnTo>
                  <a:lnTo>
                    <a:pt x="13376" y="24392"/>
                  </a:lnTo>
                  <a:lnTo>
                    <a:pt x="14163" y="26359"/>
                  </a:lnTo>
                  <a:lnTo>
                    <a:pt x="16917" y="27540"/>
                  </a:lnTo>
                  <a:lnTo>
                    <a:pt x="20065" y="28327"/>
                  </a:lnTo>
                  <a:lnTo>
                    <a:pt x="22819" y="29507"/>
                  </a:lnTo>
                  <a:lnTo>
                    <a:pt x="25573" y="29900"/>
                  </a:lnTo>
                  <a:lnTo>
                    <a:pt x="27933" y="27146"/>
                  </a:lnTo>
                  <a:lnTo>
                    <a:pt x="29113" y="27146"/>
                  </a:lnTo>
                  <a:lnTo>
                    <a:pt x="30294" y="26753"/>
                  </a:lnTo>
                  <a:lnTo>
                    <a:pt x="33441" y="28327"/>
                  </a:lnTo>
                  <a:lnTo>
                    <a:pt x="33441" y="31474"/>
                  </a:lnTo>
                  <a:lnTo>
                    <a:pt x="30687" y="32654"/>
                  </a:lnTo>
                  <a:lnTo>
                    <a:pt x="33441" y="32654"/>
                  </a:lnTo>
                  <a:lnTo>
                    <a:pt x="33441" y="35802"/>
                  </a:lnTo>
                  <a:lnTo>
                    <a:pt x="36195" y="36195"/>
                  </a:lnTo>
                  <a:lnTo>
                    <a:pt x="39343" y="36195"/>
                  </a:lnTo>
                  <a:lnTo>
                    <a:pt x="42097" y="35802"/>
                  </a:lnTo>
                  <a:lnTo>
                    <a:pt x="44457" y="33048"/>
                  </a:lnTo>
                  <a:lnTo>
                    <a:pt x="45637" y="29900"/>
                  </a:lnTo>
                  <a:lnTo>
                    <a:pt x="42490" y="29114"/>
                  </a:lnTo>
                  <a:lnTo>
                    <a:pt x="45637" y="2754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19" name="Freeform: Shape 2913">
              <a:extLst>
                <a:ext uri="{FF2B5EF4-FFF2-40B4-BE49-F238E27FC236}">
                  <a16:creationId xmlns:a16="http://schemas.microsoft.com/office/drawing/2014/main" id="{D2401C5A-23F8-4D5B-ADD1-3EA9E861C0A4}"/>
                </a:ext>
              </a:extLst>
            </p:cNvPr>
            <p:cNvSpPr/>
            <p:nvPr/>
          </p:nvSpPr>
          <p:spPr>
            <a:xfrm>
              <a:off x="4441248" y="2231059"/>
              <a:ext cx="7869" cy="3934"/>
            </a:xfrm>
            <a:custGeom>
              <a:avLst/>
              <a:gdLst>
                <a:gd name="connsiteX0" fmla="*/ 3147 w 7868"/>
                <a:gd name="connsiteY0" fmla="*/ 1180 h 0"/>
                <a:gd name="connsiteX1" fmla="*/ 2754 w 7868"/>
                <a:gd name="connsiteY1" fmla="*/ 1180 h 0"/>
                <a:gd name="connsiteX2" fmla="*/ 0 w 7868"/>
                <a:gd name="connsiteY2" fmla="*/ 1180 h 0"/>
                <a:gd name="connsiteX3" fmla="*/ 2754 w 7868"/>
                <a:gd name="connsiteY3" fmla="*/ 1967 h 0"/>
                <a:gd name="connsiteX4" fmla="*/ 5901 w 7868"/>
                <a:gd name="connsiteY4" fmla="*/ 1967 h 0"/>
                <a:gd name="connsiteX5" fmla="*/ 8655 w 7868"/>
                <a:gd name="connsiteY5" fmla="*/ 0 h 0"/>
                <a:gd name="connsiteX6" fmla="*/ 5901 w 7868"/>
                <a:gd name="connsiteY6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3147" y="1180"/>
                  </a:moveTo>
                  <a:lnTo>
                    <a:pt x="2754" y="1180"/>
                  </a:lnTo>
                  <a:lnTo>
                    <a:pt x="0" y="1180"/>
                  </a:lnTo>
                  <a:lnTo>
                    <a:pt x="2754" y="1967"/>
                  </a:lnTo>
                  <a:lnTo>
                    <a:pt x="5901" y="1967"/>
                  </a:lnTo>
                  <a:lnTo>
                    <a:pt x="8655" y="0"/>
                  </a:lnTo>
                  <a:lnTo>
                    <a:pt x="590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20" name="Freeform: Shape 2914">
              <a:extLst>
                <a:ext uri="{FF2B5EF4-FFF2-40B4-BE49-F238E27FC236}">
                  <a16:creationId xmlns:a16="http://schemas.microsoft.com/office/drawing/2014/main" id="{623DDCE4-FAC9-487A-A92D-9E49FB3D6FC3}"/>
                </a:ext>
              </a:extLst>
            </p:cNvPr>
            <p:cNvSpPr/>
            <p:nvPr/>
          </p:nvSpPr>
          <p:spPr>
            <a:xfrm>
              <a:off x="4576194" y="2126801"/>
              <a:ext cx="3934" cy="7869"/>
            </a:xfrm>
            <a:custGeom>
              <a:avLst/>
              <a:gdLst>
                <a:gd name="connsiteX0" fmla="*/ 0 w 0"/>
                <a:gd name="connsiteY0" fmla="*/ 6295 h 7868"/>
                <a:gd name="connsiteX1" fmla="*/ 0 w 0"/>
                <a:gd name="connsiteY1" fmla="*/ 9049 h 7868"/>
                <a:gd name="connsiteX2" fmla="*/ 787 w 0"/>
                <a:gd name="connsiteY2" fmla="*/ 6295 h 7868"/>
                <a:gd name="connsiteX3" fmla="*/ 1967 w 0"/>
                <a:gd name="connsiteY3" fmla="*/ 3147 h 7868"/>
                <a:gd name="connsiteX4" fmla="*/ 2754 w 0"/>
                <a:gd name="connsiteY4" fmla="*/ 393 h 7868"/>
                <a:gd name="connsiteX5" fmla="*/ 393 w 0"/>
                <a:gd name="connsiteY5" fmla="*/ 0 h 7868"/>
                <a:gd name="connsiteX6" fmla="*/ 393 w 0"/>
                <a:gd name="connsiteY6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7868">
                  <a:moveTo>
                    <a:pt x="0" y="6295"/>
                  </a:moveTo>
                  <a:lnTo>
                    <a:pt x="0" y="9049"/>
                  </a:lnTo>
                  <a:lnTo>
                    <a:pt x="787" y="6295"/>
                  </a:lnTo>
                  <a:lnTo>
                    <a:pt x="1967" y="3147"/>
                  </a:lnTo>
                  <a:lnTo>
                    <a:pt x="2754" y="393"/>
                  </a:lnTo>
                  <a:lnTo>
                    <a:pt x="393" y="0"/>
                  </a:lnTo>
                  <a:lnTo>
                    <a:pt x="393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21" name="Freeform: Shape 2915">
              <a:extLst>
                <a:ext uri="{FF2B5EF4-FFF2-40B4-BE49-F238E27FC236}">
                  <a16:creationId xmlns:a16="http://schemas.microsoft.com/office/drawing/2014/main" id="{8B6AB3C2-F242-4DB4-BADB-968A801849FB}"/>
                </a:ext>
              </a:extLst>
            </p:cNvPr>
            <p:cNvSpPr/>
            <p:nvPr/>
          </p:nvSpPr>
          <p:spPr>
            <a:xfrm>
              <a:off x="4646617" y="2046935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2754 w 0"/>
                <a:gd name="connsiteY1" fmla="*/ 0 h 0"/>
                <a:gd name="connsiteX2" fmla="*/ 0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2754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22" name="Freeform: Shape 2916">
              <a:extLst>
                <a:ext uri="{FF2B5EF4-FFF2-40B4-BE49-F238E27FC236}">
                  <a16:creationId xmlns:a16="http://schemas.microsoft.com/office/drawing/2014/main" id="{85446FA1-885D-4BF6-91AA-C0835F210DF1}"/>
                </a:ext>
              </a:extLst>
            </p:cNvPr>
            <p:cNvSpPr/>
            <p:nvPr/>
          </p:nvSpPr>
          <p:spPr>
            <a:xfrm>
              <a:off x="4644650" y="2042214"/>
              <a:ext cx="7869" cy="3934"/>
            </a:xfrm>
            <a:custGeom>
              <a:avLst/>
              <a:gdLst>
                <a:gd name="connsiteX0" fmla="*/ 9836 w 7868"/>
                <a:gd name="connsiteY0" fmla="*/ 0 h 3934"/>
                <a:gd name="connsiteX1" fmla="*/ 8655 w 7868"/>
                <a:gd name="connsiteY1" fmla="*/ 0 h 3934"/>
                <a:gd name="connsiteX2" fmla="*/ 5901 w 7868"/>
                <a:gd name="connsiteY2" fmla="*/ 1574 h 3934"/>
                <a:gd name="connsiteX3" fmla="*/ 2754 w 7868"/>
                <a:gd name="connsiteY3" fmla="*/ 1180 h 3934"/>
                <a:gd name="connsiteX4" fmla="*/ 0 w 7868"/>
                <a:gd name="connsiteY4" fmla="*/ 1967 h 3934"/>
                <a:gd name="connsiteX5" fmla="*/ 1180 w 7868"/>
                <a:gd name="connsiteY5" fmla="*/ 4721 h 3934"/>
                <a:gd name="connsiteX6" fmla="*/ 4328 w 7868"/>
                <a:gd name="connsiteY6" fmla="*/ 3541 h 3934"/>
                <a:gd name="connsiteX7" fmla="*/ 7082 w 7868"/>
                <a:gd name="connsiteY7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9836" y="0"/>
                  </a:moveTo>
                  <a:lnTo>
                    <a:pt x="8655" y="0"/>
                  </a:lnTo>
                  <a:lnTo>
                    <a:pt x="5901" y="1574"/>
                  </a:lnTo>
                  <a:lnTo>
                    <a:pt x="2754" y="1180"/>
                  </a:lnTo>
                  <a:lnTo>
                    <a:pt x="0" y="1967"/>
                  </a:lnTo>
                  <a:lnTo>
                    <a:pt x="1180" y="4721"/>
                  </a:lnTo>
                  <a:lnTo>
                    <a:pt x="4328" y="3541"/>
                  </a:lnTo>
                  <a:lnTo>
                    <a:pt x="7082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23" name="Freeform: Shape 2917">
              <a:extLst>
                <a:ext uri="{FF2B5EF4-FFF2-40B4-BE49-F238E27FC236}">
                  <a16:creationId xmlns:a16="http://schemas.microsoft.com/office/drawing/2014/main" id="{00838561-622C-4955-B70D-87B177338DA6}"/>
                </a:ext>
              </a:extLst>
            </p:cNvPr>
            <p:cNvSpPr/>
            <p:nvPr/>
          </p:nvSpPr>
          <p:spPr>
            <a:xfrm>
              <a:off x="4660387" y="2038280"/>
              <a:ext cx="7869" cy="3934"/>
            </a:xfrm>
            <a:custGeom>
              <a:avLst/>
              <a:gdLst>
                <a:gd name="connsiteX0" fmla="*/ 0 w 7868"/>
                <a:gd name="connsiteY0" fmla="*/ 5901 h 3934"/>
                <a:gd name="connsiteX1" fmla="*/ 2754 w 7868"/>
                <a:gd name="connsiteY1" fmla="*/ 5115 h 3934"/>
                <a:gd name="connsiteX2" fmla="*/ 5901 w 7868"/>
                <a:gd name="connsiteY2" fmla="*/ 3934 h 3934"/>
                <a:gd name="connsiteX3" fmla="*/ 8655 w 7868"/>
                <a:gd name="connsiteY3" fmla="*/ 3541 h 3934"/>
                <a:gd name="connsiteX4" fmla="*/ 7082 w 7868"/>
                <a:gd name="connsiteY4" fmla="*/ 787 h 3934"/>
                <a:gd name="connsiteX5" fmla="*/ 6295 w 7868"/>
                <a:gd name="connsiteY5" fmla="*/ 0 h 3934"/>
                <a:gd name="connsiteX6" fmla="*/ 3541 w 7868"/>
                <a:gd name="connsiteY6" fmla="*/ 1180 h 3934"/>
                <a:gd name="connsiteX7" fmla="*/ 394 w 7868"/>
                <a:gd name="connsiteY7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0" y="5901"/>
                  </a:moveTo>
                  <a:lnTo>
                    <a:pt x="2754" y="5115"/>
                  </a:lnTo>
                  <a:lnTo>
                    <a:pt x="5901" y="3934"/>
                  </a:lnTo>
                  <a:lnTo>
                    <a:pt x="8655" y="3541"/>
                  </a:lnTo>
                  <a:lnTo>
                    <a:pt x="7082" y="787"/>
                  </a:lnTo>
                  <a:lnTo>
                    <a:pt x="6295" y="0"/>
                  </a:lnTo>
                  <a:lnTo>
                    <a:pt x="3541" y="1180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24" name="Freeform: Shape 2918">
              <a:extLst>
                <a:ext uri="{FF2B5EF4-FFF2-40B4-BE49-F238E27FC236}">
                  <a16:creationId xmlns:a16="http://schemas.microsoft.com/office/drawing/2014/main" id="{75CFC26F-4173-4EE0-88D5-F56C8B7247F5}"/>
                </a:ext>
              </a:extLst>
            </p:cNvPr>
            <p:cNvSpPr/>
            <p:nvPr/>
          </p:nvSpPr>
          <p:spPr>
            <a:xfrm>
              <a:off x="4205979" y="2226338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25" name="Freeform: Shape 2919">
              <a:extLst>
                <a:ext uri="{FF2B5EF4-FFF2-40B4-BE49-F238E27FC236}">
                  <a16:creationId xmlns:a16="http://schemas.microsoft.com/office/drawing/2014/main" id="{C101BED0-090D-4876-B8E6-B1EDE8B46F3A}"/>
                </a:ext>
              </a:extLst>
            </p:cNvPr>
            <p:cNvSpPr/>
            <p:nvPr/>
          </p:nvSpPr>
          <p:spPr>
            <a:xfrm>
              <a:off x="4211094" y="2220436"/>
              <a:ext cx="3934" cy="3934"/>
            </a:xfrm>
            <a:custGeom>
              <a:avLst/>
              <a:gdLst>
                <a:gd name="connsiteX0" fmla="*/ 1574 w 0"/>
                <a:gd name="connsiteY0" fmla="*/ 393 h 0"/>
                <a:gd name="connsiteX1" fmla="*/ 0 w 0"/>
                <a:gd name="connsiteY1" fmla="*/ 3541 h 0"/>
                <a:gd name="connsiteX2" fmla="*/ 2754 w 0"/>
                <a:gd name="connsiteY2" fmla="*/ 2754 h 0"/>
                <a:gd name="connsiteX3" fmla="*/ 3541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574" y="393"/>
                  </a:moveTo>
                  <a:lnTo>
                    <a:pt x="0" y="3541"/>
                  </a:lnTo>
                  <a:lnTo>
                    <a:pt x="2754" y="2754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26" name="Freeform: Shape 2920">
              <a:extLst>
                <a:ext uri="{FF2B5EF4-FFF2-40B4-BE49-F238E27FC236}">
                  <a16:creationId xmlns:a16="http://schemas.microsoft.com/office/drawing/2014/main" id="{94290515-3961-418B-AEF2-48E64E5F93AB}"/>
                </a:ext>
              </a:extLst>
            </p:cNvPr>
            <p:cNvSpPr/>
            <p:nvPr/>
          </p:nvSpPr>
          <p:spPr>
            <a:xfrm>
              <a:off x="4277976" y="2217289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2754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2754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27" name="Freeform: Shape 2921">
              <a:extLst>
                <a:ext uri="{FF2B5EF4-FFF2-40B4-BE49-F238E27FC236}">
                  <a16:creationId xmlns:a16="http://schemas.microsoft.com/office/drawing/2014/main" id="{DDC3F058-43A3-4F6F-8726-896D6A6FD7EB}"/>
                </a:ext>
              </a:extLst>
            </p:cNvPr>
            <p:cNvSpPr/>
            <p:nvPr/>
          </p:nvSpPr>
          <p:spPr>
            <a:xfrm>
              <a:off x="2669256" y="2602453"/>
              <a:ext cx="3934" cy="3934"/>
            </a:xfrm>
            <a:custGeom>
              <a:avLst/>
              <a:gdLst>
                <a:gd name="connsiteX0" fmla="*/ 0 w 0"/>
                <a:gd name="connsiteY0" fmla="*/ 0 h 3934"/>
                <a:gd name="connsiteX1" fmla="*/ 787 w 0"/>
                <a:gd name="connsiteY1" fmla="*/ 3147 h 3934"/>
                <a:gd name="connsiteX2" fmla="*/ 2754 w 0"/>
                <a:gd name="connsiteY2" fmla="*/ 5901 h 3934"/>
                <a:gd name="connsiteX3" fmla="*/ 2754 w 0"/>
                <a:gd name="connsiteY3" fmla="*/ 3147 h 3934"/>
                <a:gd name="connsiteX4" fmla="*/ 1574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0"/>
                  </a:moveTo>
                  <a:lnTo>
                    <a:pt x="787" y="3147"/>
                  </a:lnTo>
                  <a:lnTo>
                    <a:pt x="2754" y="5901"/>
                  </a:lnTo>
                  <a:lnTo>
                    <a:pt x="2754" y="3147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28" name="Freeform: Shape 2922">
              <a:extLst>
                <a:ext uri="{FF2B5EF4-FFF2-40B4-BE49-F238E27FC236}">
                  <a16:creationId xmlns:a16="http://schemas.microsoft.com/office/drawing/2014/main" id="{A0E6321E-E712-46CA-988A-774BCC118FC9}"/>
                </a:ext>
              </a:extLst>
            </p:cNvPr>
            <p:cNvSpPr/>
            <p:nvPr/>
          </p:nvSpPr>
          <p:spPr>
            <a:xfrm>
              <a:off x="2646830" y="2565471"/>
              <a:ext cx="7869" cy="3934"/>
            </a:xfrm>
            <a:custGeom>
              <a:avLst/>
              <a:gdLst>
                <a:gd name="connsiteX0" fmla="*/ 3934 w 7868"/>
                <a:gd name="connsiteY0" fmla="*/ 393 h 0"/>
                <a:gd name="connsiteX1" fmla="*/ 1180 w 7868"/>
                <a:gd name="connsiteY1" fmla="*/ 0 h 0"/>
                <a:gd name="connsiteX2" fmla="*/ 0 w 7868"/>
                <a:gd name="connsiteY2" fmla="*/ 787 h 0"/>
                <a:gd name="connsiteX3" fmla="*/ 1180 w 7868"/>
                <a:gd name="connsiteY3" fmla="*/ 3541 h 0"/>
                <a:gd name="connsiteX4" fmla="*/ 3934 w 7868"/>
                <a:gd name="connsiteY4" fmla="*/ 3541 h 0"/>
                <a:gd name="connsiteX5" fmla="*/ 7082 w 7868"/>
                <a:gd name="connsiteY5" fmla="*/ 2754 h 0"/>
                <a:gd name="connsiteX6" fmla="*/ 9836 w 7868"/>
                <a:gd name="connsiteY6" fmla="*/ 393 h 0"/>
                <a:gd name="connsiteX7" fmla="*/ 7082 w 7868"/>
                <a:gd name="connsiteY7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>
                  <a:moveTo>
                    <a:pt x="3934" y="393"/>
                  </a:moveTo>
                  <a:lnTo>
                    <a:pt x="1180" y="0"/>
                  </a:lnTo>
                  <a:lnTo>
                    <a:pt x="0" y="787"/>
                  </a:lnTo>
                  <a:lnTo>
                    <a:pt x="1180" y="3541"/>
                  </a:lnTo>
                  <a:lnTo>
                    <a:pt x="3934" y="3541"/>
                  </a:lnTo>
                  <a:lnTo>
                    <a:pt x="7082" y="2754"/>
                  </a:lnTo>
                  <a:lnTo>
                    <a:pt x="9836" y="393"/>
                  </a:lnTo>
                  <a:lnTo>
                    <a:pt x="7082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29" name="Freeform: Shape 2923">
              <a:extLst>
                <a:ext uri="{FF2B5EF4-FFF2-40B4-BE49-F238E27FC236}">
                  <a16:creationId xmlns:a16="http://schemas.microsoft.com/office/drawing/2014/main" id="{5241E7CC-4C00-4D0B-AD04-475A58BD67D1}"/>
                </a:ext>
              </a:extLst>
            </p:cNvPr>
            <p:cNvSpPr/>
            <p:nvPr/>
          </p:nvSpPr>
          <p:spPr>
            <a:xfrm>
              <a:off x="4425511" y="2128375"/>
              <a:ext cx="47211" cy="47211"/>
            </a:xfrm>
            <a:custGeom>
              <a:avLst/>
              <a:gdLst>
                <a:gd name="connsiteX0" fmla="*/ 48391 w 47211"/>
                <a:gd name="connsiteY0" fmla="*/ 29114 h 47211"/>
                <a:gd name="connsiteX1" fmla="*/ 45637 w 47211"/>
                <a:gd name="connsiteY1" fmla="*/ 29507 h 47211"/>
                <a:gd name="connsiteX2" fmla="*/ 44850 w 47211"/>
                <a:gd name="connsiteY2" fmla="*/ 27933 h 47211"/>
                <a:gd name="connsiteX3" fmla="*/ 41703 w 47211"/>
                <a:gd name="connsiteY3" fmla="*/ 25966 h 47211"/>
                <a:gd name="connsiteX4" fmla="*/ 39343 w 47211"/>
                <a:gd name="connsiteY4" fmla="*/ 29114 h 47211"/>
                <a:gd name="connsiteX5" fmla="*/ 39343 w 47211"/>
                <a:gd name="connsiteY5" fmla="*/ 25966 h 47211"/>
                <a:gd name="connsiteX6" fmla="*/ 36589 w 47211"/>
                <a:gd name="connsiteY6" fmla="*/ 23999 h 47211"/>
                <a:gd name="connsiteX7" fmla="*/ 33441 w 47211"/>
                <a:gd name="connsiteY7" fmla="*/ 25966 h 47211"/>
                <a:gd name="connsiteX8" fmla="*/ 27933 w 47211"/>
                <a:gd name="connsiteY8" fmla="*/ 30687 h 47211"/>
                <a:gd name="connsiteX9" fmla="*/ 30687 w 47211"/>
                <a:gd name="connsiteY9" fmla="*/ 29900 h 47211"/>
                <a:gd name="connsiteX10" fmla="*/ 33441 w 47211"/>
                <a:gd name="connsiteY10" fmla="*/ 27933 h 47211"/>
                <a:gd name="connsiteX11" fmla="*/ 36195 w 47211"/>
                <a:gd name="connsiteY11" fmla="*/ 26753 h 47211"/>
                <a:gd name="connsiteX12" fmla="*/ 33441 w 47211"/>
                <a:gd name="connsiteY12" fmla="*/ 28720 h 47211"/>
                <a:gd name="connsiteX13" fmla="*/ 30687 w 47211"/>
                <a:gd name="connsiteY13" fmla="*/ 31081 h 47211"/>
                <a:gd name="connsiteX14" fmla="*/ 27540 w 47211"/>
                <a:gd name="connsiteY14" fmla="*/ 32654 h 47211"/>
                <a:gd name="connsiteX15" fmla="*/ 24786 w 47211"/>
                <a:gd name="connsiteY15" fmla="*/ 33835 h 47211"/>
                <a:gd name="connsiteX16" fmla="*/ 21638 w 47211"/>
                <a:gd name="connsiteY16" fmla="*/ 35802 h 47211"/>
                <a:gd name="connsiteX17" fmla="*/ 20852 w 47211"/>
                <a:gd name="connsiteY17" fmla="*/ 36195 h 47211"/>
                <a:gd name="connsiteX18" fmla="*/ 20065 w 47211"/>
                <a:gd name="connsiteY18" fmla="*/ 36195 h 47211"/>
                <a:gd name="connsiteX19" fmla="*/ 22425 w 47211"/>
                <a:gd name="connsiteY19" fmla="*/ 33441 h 47211"/>
                <a:gd name="connsiteX20" fmla="*/ 19671 w 47211"/>
                <a:gd name="connsiteY20" fmla="*/ 33048 h 47211"/>
                <a:gd name="connsiteX21" fmla="*/ 16917 w 47211"/>
                <a:gd name="connsiteY21" fmla="*/ 35015 h 47211"/>
                <a:gd name="connsiteX22" fmla="*/ 13770 w 47211"/>
                <a:gd name="connsiteY22" fmla="*/ 36982 h 47211"/>
                <a:gd name="connsiteX23" fmla="*/ 16917 w 47211"/>
                <a:gd name="connsiteY23" fmla="*/ 34228 h 47211"/>
                <a:gd name="connsiteX24" fmla="*/ 19671 w 47211"/>
                <a:gd name="connsiteY24" fmla="*/ 31867 h 47211"/>
                <a:gd name="connsiteX25" fmla="*/ 22425 w 47211"/>
                <a:gd name="connsiteY25" fmla="*/ 31867 h 47211"/>
                <a:gd name="connsiteX26" fmla="*/ 25179 w 47211"/>
                <a:gd name="connsiteY26" fmla="*/ 31474 h 47211"/>
                <a:gd name="connsiteX27" fmla="*/ 28327 w 47211"/>
                <a:gd name="connsiteY27" fmla="*/ 29900 h 47211"/>
                <a:gd name="connsiteX28" fmla="*/ 31081 w 47211"/>
                <a:gd name="connsiteY28" fmla="*/ 27146 h 47211"/>
                <a:gd name="connsiteX29" fmla="*/ 34228 w 47211"/>
                <a:gd name="connsiteY29" fmla="*/ 25179 h 47211"/>
                <a:gd name="connsiteX30" fmla="*/ 31081 w 47211"/>
                <a:gd name="connsiteY30" fmla="*/ 25179 h 47211"/>
                <a:gd name="connsiteX31" fmla="*/ 28327 w 47211"/>
                <a:gd name="connsiteY31" fmla="*/ 27933 h 47211"/>
                <a:gd name="connsiteX32" fmla="*/ 31081 w 47211"/>
                <a:gd name="connsiteY32" fmla="*/ 24786 h 47211"/>
                <a:gd name="connsiteX33" fmla="*/ 33441 w 47211"/>
                <a:gd name="connsiteY33" fmla="*/ 21638 h 47211"/>
                <a:gd name="connsiteX34" fmla="*/ 36195 w 47211"/>
                <a:gd name="connsiteY34" fmla="*/ 18884 h 47211"/>
                <a:gd name="connsiteX35" fmla="*/ 38162 w 47211"/>
                <a:gd name="connsiteY35" fmla="*/ 16130 h 47211"/>
                <a:gd name="connsiteX36" fmla="*/ 39736 w 47211"/>
                <a:gd name="connsiteY36" fmla="*/ 12983 h 47211"/>
                <a:gd name="connsiteX37" fmla="*/ 42490 w 47211"/>
                <a:gd name="connsiteY37" fmla="*/ 10229 h 47211"/>
                <a:gd name="connsiteX38" fmla="*/ 44064 w 47211"/>
                <a:gd name="connsiteY38" fmla="*/ 7082 h 47211"/>
                <a:gd name="connsiteX39" fmla="*/ 40916 w 47211"/>
                <a:gd name="connsiteY39" fmla="*/ 5508 h 47211"/>
                <a:gd name="connsiteX40" fmla="*/ 41703 w 47211"/>
                <a:gd name="connsiteY40" fmla="*/ 2754 h 47211"/>
                <a:gd name="connsiteX41" fmla="*/ 38556 w 47211"/>
                <a:gd name="connsiteY41" fmla="*/ 0 h 47211"/>
                <a:gd name="connsiteX42" fmla="*/ 35802 w 47211"/>
                <a:gd name="connsiteY42" fmla="*/ 2754 h 47211"/>
                <a:gd name="connsiteX43" fmla="*/ 33048 w 47211"/>
                <a:gd name="connsiteY43" fmla="*/ 5508 h 47211"/>
                <a:gd name="connsiteX44" fmla="*/ 30294 w 47211"/>
                <a:gd name="connsiteY44" fmla="*/ 7475 h 47211"/>
                <a:gd name="connsiteX45" fmla="*/ 27146 w 47211"/>
                <a:gd name="connsiteY45" fmla="*/ 9442 h 47211"/>
                <a:gd name="connsiteX46" fmla="*/ 24392 w 47211"/>
                <a:gd name="connsiteY46" fmla="*/ 12196 h 47211"/>
                <a:gd name="connsiteX47" fmla="*/ 21638 w 47211"/>
                <a:gd name="connsiteY47" fmla="*/ 14163 h 47211"/>
                <a:gd name="connsiteX48" fmla="*/ 20065 w 47211"/>
                <a:gd name="connsiteY48" fmla="*/ 16917 h 47211"/>
                <a:gd name="connsiteX49" fmla="*/ 18098 w 47211"/>
                <a:gd name="connsiteY49" fmla="*/ 19671 h 47211"/>
                <a:gd name="connsiteX50" fmla="*/ 14950 w 47211"/>
                <a:gd name="connsiteY50" fmla="*/ 22032 h 47211"/>
                <a:gd name="connsiteX51" fmla="*/ 11803 w 47211"/>
                <a:gd name="connsiteY51" fmla="*/ 24786 h 47211"/>
                <a:gd name="connsiteX52" fmla="*/ 9049 w 47211"/>
                <a:gd name="connsiteY52" fmla="*/ 27146 h 47211"/>
                <a:gd name="connsiteX53" fmla="*/ 5901 w 47211"/>
                <a:gd name="connsiteY53" fmla="*/ 28720 h 47211"/>
                <a:gd name="connsiteX54" fmla="*/ 3934 w 47211"/>
                <a:gd name="connsiteY54" fmla="*/ 31867 h 47211"/>
                <a:gd name="connsiteX55" fmla="*/ 1180 w 47211"/>
                <a:gd name="connsiteY55" fmla="*/ 34621 h 47211"/>
                <a:gd name="connsiteX56" fmla="*/ 787 w 47211"/>
                <a:gd name="connsiteY56" fmla="*/ 37769 h 47211"/>
                <a:gd name="connsiteX57" fmla="*/ 393 w 47211"/>
                <a:gd name="connsiteY57" fmla="*/ 40523 h 47211"/>
                <a:gd name="connsiteX58" fmla="*/ 0 w 47211"/>
                <a:gd name="connsiteY58" fmla="*/ 43670 h 47211"/>
                <a:gd name="connsiteX59" fmla="*/ 787 w 47211"/>
                <a:gd name="connsiteY59" fmla="*/ 46424 h 47211"/>
                <a:gd name="connsiteX60" fmla="*/ 1574 w 47211"/>
                <a:gd name="connsiteY60" fmla="*/ 47998 h 47211"/>
                <a:gd name="connsiteX61" fmla="*/ 4328 w 47211"/>
                <a:gd name="connsiteY61" fmla="*/ 48391 h 47211"/>
                <a:gd name="connsiteX62" fmla="*/ 7082 w 47211"/>
                <a:gd name="connsiteY62" fmla="*/ 49178 h 47211"/>
                <a:gd name="connsiteX63" fmla="*/ 9836 w 47211"/>
                <a:gd name="connsiteY63" fmla="*/ 47998 h 47211"/>
                <a:gd name="connsiteX64" fmla="*/ 12983 w 47211"/>
                <a:gd name="connsiteY64" fmla="*/ 47211 h 47211"/>
                <a:gd name="connsiteX65" fmla="*/ 16130 w 47211"/>
                <a:gd name="connsiteY65" fmla="*/ 47998 h 47211"/>
                <a:gd name="connsiteX66" fmla="*/ 18884 w 47211"/>
                <a:gd name="connsiteY66" fmla="*/ 49178 h 47211"/>
                <a:gd name="connsiteX67" fmla="*/ 22032 w 47211"/>
                <a:gd name="connsiteY67" fmla="*/ 47604 h 47211"/>
                <a:gd name="connsiteX68" fmla="*/ 24786 w 47211"/>
                <a:gd name="connsiteY68" fmla="*/ 47211 h 47211"/>
                <a:gd name="connsiteX69" fmla="*/ 27933 w 47211"/>
                <a:gd name="connsiteY69" fmla="*/ 46424 h 47211"/>
                <a:gd name="connsiteX70" fmla="*/ 30687 w 47211"/>
                <a:gd name="connsiteY70" fmla="*/ 44851 h 47211"/>
                <a:gd name="connsiteX71" fmla="*/ 33441 w 47211"/>
                <a:gd name="connsiteY71" fmla="*/ 43670 h 47211"/>
                <a:gd name="connsiteX72" fmla="*/ 36589 w 47211"/>
                <a:gd name="connsiteY72" fmla="*/ 42097 h 47211"/>
                <a:gd name="connsiteX73" fmla="*/ 36982 w 47211"/>
                <a:gd name="connsiteY73" fmla="*/ 39736 h 47211"/>
                <a:gd name="connsiteX74" fmla="*/ 40916 w 47211"/>
                <a:gd name="connsiteY74" fmla="*/ 38949 h 47211"/>
                <a:gd name="connsiteX75" fmla="*/ 43670 w 47211"/>
                <a:gd name="connsiteY75" fmla="*/ 36982 h 47211"/>
                <a:gd name="connsiteX76" fmla="*/ 46818 w 47211"/>
                <a:gd name="connsiteY76" fmla="*/ 36982 h 47211"/>
                <a:gd name="connsiteX77" fmla="*/ 44064 w 47211"/>
                <a:gd name="connsiteY77" fmla="*/ 34621 h 47211"/>
                <a:gd name="connsiteX78" fmla="*/ 46818 w 47211"/>
                <a:gd name="connsiteY78" fmla="*/ 32261 h 4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47211" h="47211">
                  <a:moveTo>
                    <a:pt x="48391" y="29114"/>
                  </a:moveTo>
                  <a:lnTo>
                    <a:pt x="45637" y="29507"/>
                  </a:lnTo>
                  <a:lnTo>
                    <a:pt x="44850" y="27933"/>
                  </a:lnTo>
                  <a:lnTo>
                    <a:pt x="41703" y="25966"/>
                  </a:lnTo>
                  <a:lnTo>
                    <a:pt x="39343" y="29114"/>
                  </a:lnTo>
                  <a:lnTo>
                    <a:pt x="39343" y="25966"/>
                  </a:lnTo>
                  <a:lnTo>
                    <a:pt x="36589" y="23999"/>
                  </a:lnTo>
                  <a:lnTo>
                    <a:pt x="33441" y="25966"/>
                  </a:lnTo>
                  <a:lnTo>
                    <a:pt x="27933" y="30687"/>
                  </a:lnTo>
                  <a:lnTo>
                    <a:pt x="30687" y="29900"/>
                  </a:lnTo>
                  <a:lnTo>
                    <a:pt x="33441" y="27933"/>
                  </a:lnTo>
                  <a:lnTo>
                    <a:pt x="36195" y="26753"/>
                  </a:lnTo>
                  <a:lnTo>
                    <a:pt x="33441" y="28720"/>
                  </a:lnTo>
                  <a:lnTo>
                    <a:pt x="30687" y="31081"/>
                  </a:lnTo>
                  <a:lnTo>
                    <a:pt x="27540" y="32654"/>
                  </a:lnTo>
                  <a:lnTo>
                    <a:pt x="24786" y="33835"/>
                  </a:lnTo>
                  <a:lnTo>
                    <a:pt x="21638" y="35802"/>
                  </a:lnTo>
                  <a:lnTo>
                    <a:pt x="20852" y="36195"/>
                  </a:lnTo>
                  <a:lnTo>
                    <a:pt x="20065" y="36195"/>
                  </a:lnTo>
                  <a:lnTo>
                    <a:pt x="22425" y="33441"/>
                  </a:lnTo>
                  <a:lnTo>
                    <a:pt x="19671" y="33048"/>
                  </a:lnTo>
                  <a:lnTo>
                    <a:pt x="16917" y="35015"/>
                  </a:lnTo>
                  <a:lnTo>
                    <a:pt x="13770" y="36982"/>
                  </a:lnTo>
                  <a:lnTo>
                    <a:pt x="16917" y="34228"/>
                  </a:lnTo>
                  <a:lnTo>
                    <a:pt x="19671" y="31867"/>
                  </a:lnTo>
                  <a:lnTo>
                    <a:pt x="22425" y="31867"/>
                  </a:lnTo>
                  <a:lnTo>
                    <a:pt x="25179" y="31474"/>
                  </a:lnTo>
                  <a:lnTo>
                    <a:pt x="28327" y="29900"/>
                  </a:lnTo>
                  <a:lnTo>
                    <a:pt x="31081" y="27146"/>
                  </a:lnTo>
                  <a:lnTo>
                    <a:pt x="34228" y="25179"/>
                  </a:lnTo>
                  <a:lnTo>
                    <a:pt x="31081" y="25179"/>
                  </a:lnTo>
                  <a:lnTo>
                    <a:pt x="28327" y="27933"/>
                  </a:lnTo>
                  <a:lnTo>
                    <a:pt x="31081" y="24786"/>
                  </a:lnTo>
                  <a:lnTo>
                    <a:pt x="33441" y="21638"/>
                  </a:lnTo>
                  <a:lnTo>
                    <a:pt x="36195" y="18884"/>
                  </a:lnTo>
                  <a:lnTo>
                    <a:pt x="38162" y="16130"/>
                  </a:lnTo>
                  <a:lnTo>
                    <a:pt x="39736" y="12983"/>
                  </a:lnTo>
                  <a:lnTo>
                    <a:pt x="42490" y="10229"/>
                  </a:lnTo>
                  <a:lnTo>
                    <a:pt x="44064" y="7082"/>
                  </a:lnTo>
                  <a:lnTo>
                    <a:pt x="40916" y="5508"/>
                  </a:lnTo>
                  <a:lnTo>
                    <a:pt x="41703" y="2754"/>
                  </a:lnTo>
                  <a:lnTo>
                    <a:pt x="38556" y="0"/>
                  </a:lnTo>
                  <a:lnTo>
                    <a:pt x="35802" y="2754"/>
                  </a:lnTo>
                  <a:lnTo>
                    <a:pt x="33048" y="5508"/>
                  </a:lnTo>
                  <a:lnTo>
                    <a:pt x="30294" y="7475"/>
                  </a:lnTo>
                  <a:lnTo>
                    <a:pt x="27146" y="9442"/>
                  </a:lnTo>
                  <a:lnTo>
                    <a:pt x="24392" y="12196"/>
                  </a:lnTo>
                  <a:lnTo>
                    <a:pt x="21638" y="14163"/>
                  </a:lnTo>
                  <a:lnTo>
                    <a:pt x="20065" y="16917"/>
                  </a:lnTo>
                  <a:lnTo>
                    <a:pt x="18098" y="19671"/>
                  </a:lnTo>
                  <a:lnTo>
                    <a:pt x="14950" y="22032"/>
                  </a:lnTo>
                  <a:lnTo>
                    <a:pt x="11803" y="24786"/>
                  </a:lnTo>
                  <a:lnTo>
                    <a:pt x="9049" y="27146"/>
                  </a:lnTo>
                  <a:lnTo>
                    <a:pt x="5901" y="28720"/>
                  </a:lnTo>
                  <a:lnTo>
                    <a:pt x="3934" y="31867"/>
                  </a:lnTo>
                  <a:lnTo>
                    <a:pt x="1180" y="34621"/>
                  </a:lnTo>
                  <a:lnTo>
                    <a:pt x="787" y="37769"/>
                  </a:lnTo>
                  <a:lnTo>
                    <a:pt x="393" y="40523"/>
                  </a:lnTo>
                  <a:lnTo>
                    <a:pt x="0" y="43670"/>
                  </a:lnTo>
                  <a:lnTo>
                    <a:pt x="787" y="46424"/>
                  </a:lnTo>
                  <a:lnTo>
                    <a:pt x="1574" y="47998"/>
                  </a:lnTo>
                  <a:lnTo>
                    <a:pt x="4328" y="48391"/>
                  </a:lnTo>
                  <a:lnTo>
                    <a:pt x="7082" y="49178"/>
                  </a:lnTo>
                  <a:lnTo>
                    <a:pt x="9836" y="47998"/>
                  </a:lnTo>
                  <a:lnTo>
                    <a:pt x="12983" y="47211"/>
                  </a:lnTo>
                  <a:lnTo>
                    <a:pt x="16130" y="47998"/>
                  </a:lnTo>
                  <a:lnTo>
                    <a:pt x="18884" y="49178"/>
                  </a:lnTo>
                  <a:lnTo>
                    <a:pt x="22032" y="47604"/>
                  </a:lnTo>
                  <a:lnTo>
                    <a:pt x="24786" y="47211"/>
                  </a:lnTo>
                  <a:lnTo>
                    <a:pt x="27933" y="46424"/>
                  </a:lnTo>
                  <a:lnTo>
                    <a:pt x="30687" y="44851"/>
                  </a:lnTo>
                  <a:lnTo>
                    <a:pt x="33441" y="43670"/>
                  </a:lnTo>
                  <a:lnTo>
                    <a:pt x="36589" y="42097"/>
                  </a:lnTo>
                  <a:lnTo>
                    <a:pt x="36982" y="39736"/>
                  </a:lnTo>
                  <a:lnTo>
                    <a:pt x="40916" y="38949"/>
                  </a:lnTo>
                  <a:lnTo>
                    <a:pt x="43670" y="36982"/>
                  </a:lnTo>
                  <a:lnTo>
                    <a:pt x="46818" y="36982"/>
                  </a:lnTo>
                  <a:lnTo>
                    <a:pt x="44064" y="34621"/>
                  </a:lnTo>
                  <a:lnTo>
                    <a:pt x="46818" y="322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30" name="Freeform: Shape 2924">
              <a:extLst>
                <a:ext uri="{FF2B5EF4-FFF2-40B4-BE49-F238E27FC236}">
                  <a16:creationId xmlns:a16="http://schemas.microsoft.com/office/drawing/2014/main" id="{5A49318D-BB8B-45EF-B698-45AEB3377A75}"/>
                </a:ext>
              </a:extLst>
            </p:cNvPr>
            <p:cNvSpPr/>
            <p:nvPr/>
          </p:nvSpPr>
          <p:spPr>
            <a:xfrm>
              <a:off x="4505377" y="1976905"/>
              <a:ext cx="177042" cy="165239"/>
            </a:xfrm>
            <a:custGeom>
              <a:avLst/>
              <a:gdLst>
                <a:gd name="connsiteX0" fmla="*/ 166419 w 177041"/>
                <a:gd name="connsiteY0" fmla="*/ 106619 h 165239"/>
                <a:gd name="connsiteX1" fmla="*/ 169173 w 177041"/>
                <a:gd name="connsiteY1" fmla="*/ 107799 h 165239"/>
                <a:gd name="connsiteX2" fmla="*/ 172321 w 177041"/>
                <a:gd name="connsiteY2" fmla="*/ 106619 h 165239"/>
                <a:gd name="connsiteX3" fmla="*/ 175075 w 177041"/>
                <a:gd name="connsiteY3" fmla="*/ 103471 h 165239"/>
                <a:gd name="connsiteX4" fmla="*/ 177435 w 177041"/>
                <a:gd name="connsiteY4" fmla="*/ 100717 h 165239"/>
                <a:gd name="connsiteX5" fmla="*/ 175862 w 177041"/>
                <a:gd name="connsiteY5" fmla="*/ 97963 h 165239"/>
                <a:gd name="connsiteX6" fmla="*/ 173108 w 177041"/>
                <a:gd name="connsiteY6" fmla="*/ 100324 h 165239"/>
                <a:gd name="connsiteX7" fmla="*/ 169960 w 177041"/>
                <a:gd name="connsiteY7" fmla="*/ 101897 h 165239"/>
                <a:gd name="connsiteX8" fmla="*/ 167993 w 177041"/>
                <a:gd name="connsiteY8" fmla="*/ 99143 h 165239"/>
                <a:gd name="connsiteX9" fmla="*/ 165239 w 177041"/>
                <a:gd name="connsiteY9" fmla="*/ 101111 h 165239"/>
                <a:gd name="connsiteX10" fmla="*/ 162878 w 177041"/>
                <a:gd name="connsiteY10" fmla="*/ 103865 h 165239"/>
                <a:gd name="connsiteX11" fmla="*/ 159731 w 177041"/>
                <a:gd name="connsiteY11" fmla="*/ 103865 h 165239"/>
                <a:gd name="connsiteX12" fmla="*/ 156977 w 177041"/>
                <a:gd name="connsiteY12" fmla="*/ 105438 h 165239"/>
                <a:gd name="connsiteX13" fmla="*/ 157764 w 177041"/>
                <a:gd name="connsiteY13" fmla="*/ 102291 h 165239"/>
                <a:gd name="connsiteX14" fmla="*/ 155010 w 177041"/>
                <a:gd name="connsiteY14" fmla="*/ 104651 h 165239"/>
                <a:gd name="connsiteX15" fmla="*/ 152256 w 177041"/>
                <a:gd name="connsiteY15" fmla="*/ 106619 h 165239"/>
                <a:gd name="connsiteX16" fmla="*/ 154223 w 177041"/>
                <a:gd name="connsiteY16" fmla="*/ 103865 h 165239"/>
                <a:gd name="connsiteX17" fmla="*/ 151469 w 177041"/>
                <a:gd name="connsiteY17" fmla="*/ 105045 h 165239"/>
                <a:gd name="connsiteX18" fmla="*/ 148322 w 177041"/>
                <a:gd name="connsiteY18" fmla="*/ 106225 h 165239"/>
                <a:gd name="connsiteX19" fmla="*/ 145568 w 177041"/>
                <a:gd name="connsiteY19" fmla="*/ 107405 h 165239"/>
                <a:gd name="connsiteX20" fmla="*/ 147535 w 177041"/>
                <a:gd name="connsiteY20" fmla="*/ 105045 h 165239"/>
                <a:gd name="connsiteX21" fmla="*/ 150289 w 177041"/>
                <a:gd name="connsiteY21" fmla="*/ 104651 h 165239"/>
                <a:gd name="connsiteX22" fmla="*/ 153043 w 177041"/>
                <a:gd name="connsiteY22" fmla="*/ 103471 h 165239"/>
                <a:gd name="connsiteX23" fmla="*/ 155797 w 177041"/>
                <a:gd name="connsiteY23" fmla="*/ 100324 h 165239"/>
                <a:gd name="connsiteX24" fmla="*/ 153043 w 177041"/>
                <a:gd name="connsiteY24" fmla="*/ 100324 h 165239"/>
                <a:gd name="connsiteX25" fmla="*/ 156190 w 177041"/>
                <a:gd name="connsiteY25" fmla="*/ 99930 h 165239"/>
                <a:gd name="connsiteX26" fmla="*/ 158944 w 177041"/>
                <a:gd name="connsiteY26" fmla="*/ 98357 h 165239"/>
                <a:gd name="connsiteX27" fmla="*/ 162092 w 177041"/>
                <a:gd name="connsiteY27" fmla="*/ 96389 h 165239"/>
                <a:gd name="connsiteX28" fmla="*/ 159338 w 177041"/>
                <a:gd name="connsiteY28" fmla="*/ 97570 h 165239"/>
                <a:gd name="connsiteX29" fmla="*/ 157764 w 177041"/>
                <a:gd name="connsiteY29" fmla="*/ 94422 h 165239"/>
                <a:gd name="connsiteX30" fmla="*/ 156584 w 177041"/>
                <a:gd name="connsiteY30" fmla="*/ 97570 h 165239"/>
                <a:gd name="connsiteX31" fmla="*/ 153830 w 177041"/>
                <a:gd name="connsiteY31" fmla="*/ 98750 h 165239"/>
                <a:gd name="connsiteX32" fmla="*/ 173108 w 177041"/>
                <a:gd name="connsiteY32" fmla="*/ 77898 h 165239"/>
                <a:gd name="connsiteX33" fmla="*/ 170747 w 177041"/>
                <a:gd name="connsiteY33" fmla="*/ 77112 h 165239"/>
                <a:gd name="connsiteX34" fmla="*/ 168386 w 177041"/>
                <a:gd name="connsiteY34" fmla="*/ 73964 h 165239"/>
                <a:gd name="connsiteX35" fmla="*/ 165632 w 177041"/>
                <a:gd name="connsiteY35" fmla="*/ 73177 h 165239"/>
                <a:gd name="connsiteX36" fmla="*/ 162485 w 177041"/>
                <a:gd name="connsiteY36" fmla="*/ 71210 h 165239"/>
                <a:gd name="connsiteX37" fmla="*/ 159731 w 177041"/>
                <a:gd name="connsiteY37" fmla="*/ 71210 h 165239"/>
                <a:gd name="connsiteX38" fmla="*/ 156584 w 177041"/>
                <a:gd name="connsiteY38" fmla="*/ 72390 h 165239"/>
                <a:gd name="connsiteX39" fmla="*/ 151076 w 177041"/>
                <a:gd name="connsiteY39" fmla="*/ 72390 h 165239"/>
                <a:gd name="connsiteX40" fmla="*/ 149108 w 177041"/>
                <a:gd name="connsiteY40" fmla="*/ 75144 h 165239"/>
                <a:gd name="connsiteX41" fmla="*/ 146355 w 177041"/>
                <a:gd name="connsiteY41" fmla="*/ 77505 h 165239"/>
                <a:gd name="connsiteX42" fmla="*/ 145961 w 177041"/>
                <a:gd name="connsiteY42" fmla="*/ 77505 h 165239"/>
                <a:gd name="connsiteX43" fmla="*/ 147535 w 177041"/>
                <a:gd name="connsiteY43" fmla="*/ 74358 h 165239"/>
                <a:gd name="connsiteX44" fmla="*/ 148715 w 177041"/>
                <a:gd name="connsiteY44" fmla="*/ 71604 h 165239"/>
                <a:gd name="connsiteX45" fmla="*/ 148715 w 177041"/>
                <a:gd name="connsiteY45" fmla="*/ 68850 h 165239"/>
                <a:gd name="connsiteX46" fmla="*/ 145961 w 177041"/>
                <a:gd name="connsiteY46" fmla="*/ 70423 h 165239"/>
                <a:gd name="connsiteX47" fmla="*/ 142814 w 177041"/>
                <a:gd name="connsiteY47" fmla="*/ 73177 h 165239"/>
                <a:gd name="connsiteX48" fmla="*/ 140060 w 177041"/>
                <a:gd name="connsiteY48" fmla="*/ 75538 h 165239"/>
                <a:gd name="connsiteX49" fmla="*/ 137306 w 177041"/>
                <a:gd name="connsiteY49" fmla="*/ 77112 h 165239"/>
                <a:gd name="connsiteX50" fmla="*/ 136912 w 177041"/>
                <a:gd name="connsiteY50" fmla="*/ 73964 h 165239"/>
                <a:gd name="connsiteX51" fmla="*/ 136125 w 177041"/>
                <a:gd name="connsiteY51" fmla="*/ 77112 h 165239"/>
                <a:gd name="connsiteX52" fmla="*/ 132978 w 177041"/>
                <a:gd name="connsiteY52" fmla="*/ 77898 h 165239"/>
                <a:gd name="connsiteX53" fmla="*/ 130618 w 177041"/>
                <a:gd name="connsiteY53" fmla="*/ 77112 h 165239"/>
                <a:gd name="connsiteX54" fmla="*/ 127864 w 177041"/>
                <a:gd name="connsiteY54" fmla="*/ 78292 h 165239"/>
                <a:gd name="connsiteX55" fmla="*/ 124716 w 177041"/>
                <a:gd name="connsiteY55" fmla="*/ 79472 h 165239"/>
                <a:gd name="connsiteX56" fmla="*/ 125896 w 177041"/>
                <a:gd name="connsiteY56" fmla="*/ 81833 h 165239"/>
                <a:gd name="connsiteX57" fmla="*/ 120388 w 177041"/>
                <a:gd name="connsiteY57" fmla="*/ 84980 h 165239"/>
                <a:gd name="connsiteX58" fmla="*/ 119995 w 177041"/>
                <a:gd name="connsiteY58" fmla="*/ 84980 h 165239"/>
                <a:gd name="connsiteX59" fmla="*/ 120388 w 177041"/>
                <a:gd name="connsiteY59" fmla="*/ 84587 h 165239"/>
                <a:gd name="connsiteX60" fmla="*/ 122356 w 177041"/>
                <a:gd name="connsiteY60" fmla="*/ 81833 h 165239"/>
                <a:gd name="connsiteX61" fmla="*/ 124323 w 177041"/>
                <a:gd name="connsiteY61" fmla="*/ 79079 h 165239"/>
                <a:gd name="connsiteX62" fmla="*/ 127470 w 177041"/>
                <a:gd name="connsiteY62" fmla="*/ 76325 h 165239"/>
                <a:gd name="connsiteX63" fmla="*/ 128257 w 177041"/>
                <a:gd name="connsiteY63" fmla="*/ 73571 h 165239"/>
                <a:gd name="connsiteX64" fmla="*/ 131404 w 177041"/>
                <a:gd name="connsiteY64" fmla="*/ 71210 h 165239"/>
                <a:gd name="connsiteX65" fmla="*/ 131011 w 177041"/>
                <a:gd name="connsiteY65" fmla="*/ 68063 h 165239"/>
                <a:gd name="connsiteX66" fmla="*/ 128257 w 177041"/>
                <a:gd name="connsiteY66" fmla="*/ 70817 h 165239"/>
                <a:gd name="connsiteX67" fmla="*/ 127864 w 177041"/>
                <a:gd name="connsiteY67" fmla="*/ 73571 h 165239"/>
                <a:gd name="connsiteX68" fmla="*/ 125110 w 177041"/>
                <a:gd name="connsiteY68" fmla="*/ 75931 h 165239"/>
                <a:gd name="connsiteX69" fmla="*/ 124716 w 177041"/>
                <a:gd name="connsiteY69" fmla="*/ 72784 h 165239"/>
                <a:gd name="connsiteX70" fmla="*/ 124716 w 177041"/>
                <a:gd name="connsiteY70" fmla="*/ 70030 h 165239"/>
                <a:gd name="connsiteX71" fmla="*/ 121962 w 177041"/>
                <a:gd name="connsiteY71" fmla="*/ 71210 h 165239"/>
                <a:gd name="connsiteX72" fmla="*/ 119208 w 177041"/>
                <a:gd name="connsiteY72" fmla="*/ 74358 h 165239"/>
                <a:gd name="connsiteX73" fmla="*/ 128257 w 177041"/>
                <a:gd name="connsiteY73" fmla="*/ 53113 h 165239"/>
                <a:gd name="connsiteX74" fmla="*/ 128257 w 177041"/>
                <a:gd name="connsiteY74" fmla="*/ 52719 h 165239"/>
                <a:gd name="connsiteX75" fmla="*/ 127470 w 177041"/>
                <a:gd name="connsiteY75" fmla="*/ 53113 h 165239"/>
                <a:gd name="connsiteX76" fmla="*/ 119208 w 177041"/>
                <a:gd name="connsiteY76" fmla="*/ 53113 h 165239"/>
                <a:gd name="connsiteX77" fmla="*/ 118421 w 177041"/>
                <a:gd name="connsiteY77" fmla="*/ 52719 h 165239"/>
                <a:gd name="connsiteX78" fmla="*/ 115667 w 177041"/>
                <a:gd name="connsiteY78" fmla="*/ 53113 h 165239"/>
                <a:gd name="connsiteX79" fmla="*/ 115274 w 177041"/>
                <a:gd name="connsiteY79" fmla="*/ 53113 h 165239"/>
                <a:gd name="connsiteX80" fmla="*/ 113307 w 177041"/>
                <a:gd name="connsiteY80" fmla="*/ 53113 h 165239"/>
                <a:gd name="connsiteX81" fmla="*/ 112127 w 177041"/>
                <a:gd name="connsiteY81" fmla="*/ 53113 h 165239"/>
                <a:gd name="connsiteX82" fmla="*/ 113307 w 177041"/>
                <a:gd name="connsiteY82" fmla="*/ 51932 h 165239"/>
                <a:gd name="connsiteX83" fmla="*/ 112127 w 177041"/>
                <a:gd name="connsiteY83" fmla="*/ 48785 h 165239"/>
                <a:gd name="connsiteX84" fmla="*/ 108979 w 177041"/>
                <a:gd name="connsiteY84" fmla="*/ 50752 h 165239"/>
                <a:gd name="connsiteX85" fmla="*/ 106225 w 177041"/>
                <a:gd name="connsiteY85" fmla="*/ 53113 h 165239"/>
                <a:gd name="connsiteX86" fmla="*/ 95603 w 177041"/>
                <a:gd name="connsiteY86" fmla="*/ 53113 h 165239"/>
                <a:gd name="connsiteX87" fmla="*/ 97963 w 177041"/>
                <a:gd name="connsiteY87" fmla="*/ 51145 h 165239"/>
                <a:gd name="connsiteX88" fmla="*/ 101111 w 177041"/>
                <a:gd name="connsiteY88" fmla="*/ 48785 h 165239"/>
                <a:gd name="connsiteX89" fmla="*/ 103864 w 177041"/>
                <a:gd name="connsiteY89" fmla="*/ 46818 h 165239"/>
                <a:gd name="connsiteX90" fmla="*/ 106618 w 177041"/>
                <a:gd name="connsiteY90" fmla="*/ 43670 h 165239"/>
                <a:gd name="connsiteX91" fmla="*/ 108586 w 177041"/>
                <a:gd name="connsiteY91" fmla="*/ 40916 h 165239"/>
                <a:gd name="connsiteX92" fmla="*/ 111340 w 177041"/>
                <a:gd name="connsiteY92" fmla="*/ 38949 h 165239"/>
                <a:gd name="connsiteX93" fmla="*/ 114094 w 177041"/>
                <a:gd name="connsiteY93" fmla="*/ 36195 h 165239"/>
                <a:gd name="connsiteX94" fmla="*/ 120388 w 177041"/>
                <a:gd name="connsiteY94" fmla="*/ 30687 h 165239"/>
                <a:gd name="connsiteX95" fmla="*/ 120388 w 177041"/>
                <a:gd name="connsiteY95" fmla="*/ 27933 h 165239"/>
                <a:gd name="connsiteX96" fmla="*/ 122356 w 177041"/>
                <a:gd name="connsiteY96" fmla="*/ 25179 h 165239"/>
                <a:gd name="connsiteX97" fmla="*/ 123536 w 177041"/>
                <a:gd name="connsiteY97" fmla="*/ 27933 h 165239"/>
                <a:gd name="connsiteX98" fmla="*/ 126683 w 177041"/>
                <a:gd name="connsiteY98" fmla="*/ 25179 h 165239"/>
                <a:gd name="connsiteX99" fmla="*/ 129437 w 177041"/>
                <a:gd name="connsiteY99" fmla="*/ 23999 h 165239"/>
                <a:gd name="connsiteX100" fmla="*/ 131404 w 177041"/>
                <a:gd name="connsiteY100" fmla="*/ 21245 h 165239"/>
                <a:gd name="connsiteX101" fmla="*/ 133371 w 177041"/>
                <a:gd name="connsiteY101" fmla="*/ 18491 h 165239"/>
                <a:gd name="connsiteX102" fmla="*/ 136519 w 177041"/>
                <a:gd name="connsiteY102" fmla="*/ 16524 h 165239"/>
                <a:gd name="connsiteX103" fmla="*/ 135339 w 177041"/>
                <a:gd name="connsiteY103" fmla="*/ 13377 h 165239"/>
                <a:gd name="connsiteX104" fmla="*/ 132191 w 177041"/>
                <a:gd name="connsiteY104" fmla="*/ 13770 h 165239"/>
                <a:gd name="connsiteX105" fmla="*/ 129437 w 177041"/>
                <a:gd name="connsiteY105" fmla="*/ 14163 h 165239"/>
                <a:gd name="connsiteX106" fmla="*/ 130224 w 177041"/>
                <a:gd name="connsiteY106" fmla="*/ 11016 h 165239"/>
                <a:gd name="connsiteX107" fmla="*/ 131798 w 177041"/>
                <a:gd name="connsiteY107" fmla="*/ 8262 h 165239"/>
                <a:gd name="connsiteX108" fmla="*/ 134552 w 177041"/>
                <a:gd name="connsiteY108" fmla="*/ 9442 h 165239"/>
                <a:gd name="connsiteX109" fmla="*/ 137699 w 177041"/>
                <a:gd name="connsiteY109" fmla="*/ 9049 h 165239"/>
                <a:gd name="connsiteX110" fmla="*/ 140453 w 177041"/>
                <a:gd name="connsiteY110" fmla="*/ 10229 h 165239"/>
                <a:gd name="connsiteX111" fmla="*/ 143601 w 177041"/>
                <a:gd name="connsiteY111" fmla="*/ 7869 h 165239"/>
                <a:gd name="connsiteX112" fmla="*/ 146355 w 177041"/>
                <a:gd name="connsiteY112" fmla="*/ 6688 h 165239"/>
                <a:gd name="connsiteX113" fmla="*/ 148322 w 177041"/>
                <a:gd name="connsiteY113" fmla="*/ 3541 h 165239"/>
                <a:gd name="connsiteX114" fmla="*/ 147535 w 177041"/>
                <a:gd name="connsiteY114" fmla="*/ 787 h 165239"/>
                <a:gd name="connsiteX115" fmla="*/ 144388 w 177041"/>
                <a:gd name="connsiteY115" fmla="*/ 393 h 165239"/>
                <a:gd name="connsiteX116" fmla="*/ 141634 w 177041"/>
                <a:gd name="connsiteY116" fmla="*/ 1574 h 165239"/>
                <a:gd name="connsiteX117" fmla="*/ 140847 w 177041"/>
                <a:gd name="connsiteY117" fmla="*/ 4328 h 165239"/>
                <a:gd name="connsiteX118" fmla="*/ 138093 w 177041"/>
                <a:gd name="connsiteY118" fmla="*/ 2754 h 165239"/>
                <a:gd name="connsiteX119" fmla="*/ 137699 w 177041"/>
                <a:gd name="connsiteY119" fmla="*/ 0 h 165239"/>
                <a:gd name="connsiteX120" fmla="*/ 134945 w 177041"/>
                <a:gd name="connsiteY120" fmla="*/ 1574 h 165239"/>
                <a:gd name="connsiteX121" fmla="*/ 132191 w 177041"/>
                <a:gd name="connsiteY121" fmla="*/ 2754 h 165239"/>
                <a:gd name="connsiteX122" fmla="*/ 129044 w 177041"/>
                <a:gd name="connsiteY122" fmla="*/ 3934 h 165239"/>
                <a:gd name="connsiteX123" fmla="*/ 126290 w 177041"/>
                <a:gd name="connsiteY123" fmla="*/ 5115 h 165239"/>
                <a:gd name="connsiteX124" fmla="*/ 123536 w 177041"/>
                <a:gd name="connsiteY124" fmla="*/ 6295 h 165239"/>
                <a:gd name="connsiteX125" fmla="*/ 120388 w 177041"/>
                <a:gd name="connsiteY125" fmla="*/ 7082 h 165239"/>
                <a:gd name="connsiteX126" fmla="*/ 117241 w 177041"/>
                <a:gd name="connsiteY126" fmla="*/ 7869 h 165239"/>
                <a:gd name="connsiteX127" fmla="*/ 114487 w 177041"/>
                <a:gd name="connsiteY127" fmla="*/ 9442 h 165239"/>
                <a:gd name="connsiteX128" fmla="*/ 111340 w 177041"/>
                <a:gd name="connsiteY128" fmla="*/ 11409 h 165239"/>
                <a:gd name="connsiteX129" fmla="*/ 110159 w 177041"/>
                <a:gd name="connsiteY129" fmla="*/ 14163 h 165239"/>
                <a:gd name="connsiteX130" fmla="*/ 107012 w 177041"/>
                <a:gd name="connsiteY130" fmla="*/ 16524 h 165239"/>
                <a:gd name="connsiteX131" fmla="*/ 104258 w 177041"/>
                <a:gd name="connsiteY131" fmla="*/ 18491 h 165239"/>
                <a:gd name="connsiteX132" fmla="*/ 102291 w 177041"/>
                <a:gd name="connsiteY132" fmla="*/ 21638 h 165239"/>
                <a:gd name="connsiteX133" fmla="*/ 100324 w 177041"/>
                <a:gd name="connsiteY133" fmla="*/ 24392 h 165239"/>
                <a:gd name="connsiteX134" fmla="*/ 97570 w 177041"/>
                <a:gd name="connsiteY134" fmla="*/ 26753 h 165239"/>
                <a:gd name="connsiteX135" fmla="*/ 94422 w 177041"/>
                <a:gd name="connsiteY135" fmla="*/ 28720 h 165239"/>
                <a:gd name="connsiteX136" fmla="*/ 91668 w 177041"/>
                <a:gd name="connsiteY136" fmla="*/ 29507 h 165239"/>
                <a:gd name="connsiteX137" fmla="*/ 88914 w 177041"/>
                <a:gd name="connsiteY137" fmla="*/ 30687 h 165239"/>
                <a:gd name="connsiteX138" fmla="*/ 91275 w 177041"/>
                <a:gd name="connsiteY138" fmla="*/ 33835 h 165239"/>
                <a:gd name="connsiteX139" fmla="*/ 88127 w 177041"/>
                <a:gd name="connsiteY139" fmla="*/ 33048 h 165239"/>
                <a:gd name="connsiteX140" fmla="*/ 79866 w 177041"/>
                <a:gd name="connsiteY140" fmla="*/ 41703 h 165239"/>
                <a:gd name="connsiteX141" fmla="*/ 77898 w 177041"/>
                <a:gd name="connsiteY141" fmla="*/ 44457 h 165239"/>
                <a:gd name="connsiteX142" fmla="*/ 75538 w 177041"/>
                <a:gd name="connsiteY142" fmla="*/ 47211 h 165239"/>
                <a:gd name="connsiteX143" fmla="*/ 72784 w 177041"/>
                <a:gd name="connsiteY143" fmla="*/ 50359 h 165239"/>
                <a:gd name="connsiteX144" fmla="*/ 69637 w 177041"/>
                <a:gd name="connsiteY144" fmla="*/ 53113 h 165239"/>
                <a:gd name="connsiteX145" fmla="*/ 67669 w 177041"/>
                <a:gd name="connsiteY145" fmla="*/ 55867 h 165239"/>
                <a:gd name="connsiteX146" fmla="*/ 62161 w 177041"/>
                <a:gd name="connsiteY146" fmla="*/ 61375 h 165239"/>
                <a:gd name="connsiteX147" fmla="*/ 60194 w 177041"/>
                <a:gd name="connsiteY147" fmla="*/ 64129 h 165239"/>
                <a:gd name="connsiteX148" fmla="*/ 60194 w 177041"/>
                <a:gd name="connsiteY148" fmla="*/ 67276 h 165239"/>
                <a:gd name="connsiteX149" fmla="*/ 61374 w 177041"/>
                <a:gd name="connsiteY149" fmla="*/ 70030 h 165239"/>
                <a:gd name="connsiteX150" fmla="*/ 61374 w 177041"/>
                <a:gd name="connsiteY150" fmla="*/ 70030 h 165239"/>
                <a:gd name="connsiteX151" fmla="*/ 58620 w 177041"/>
                <a:gd name="connsiteY151" fmla="*/ 71210 h 165239"/>
                <a:gd name="connsiteX152" fmla="*/ 59014 w 177041"/>
                <a:gd name="connsiteY152" fmla="*/ 68456 h 165239"/>
                <a:gd name="connsiteX153" fmla="*/ 56260 w 177041"/>
                <a:gd name="connsiteY153" fmla="*/ 68456 h 165239"/>
                <a:gd name="connsiteX154" fmla="*/ 53506 w 177041"/>
                <a:gd name="connsiteY154" fmla="*/ 70423 h 165239"/>
                <a:gd name="connsiteX155" fmla="*/ 50359 w 177041"/>
                <a:gd name="connsiteY155" fmla="*/ 72784 h 165239"/>
                <a:gd name="connsiteX156" fmla="*/ 48391 w 177041"/>
                <a:gd name="connsiteY156" fmla="*/ 75538 h 165239"/>
                <a:gd name="connsiteX157" fmla="*/ 48391 w 177041"/>
                <a:gd name="connsiteY157" fmla="*/ 78292 h 165239"/>
                <a:gd name="connsiteX158" fmla="*/ 51539 w 177041"/>
                <a:gd name="connsiteY158" fmla="*/ 79079 h 165239"/>
                <a:gd name="connsiteX159" fmla="*/ 54686 w 177041"/>
                <a:gd name="connsiteY159" fmla="*/ 79079 h 165239"/>
                <a:gd name="connsiteX160" fmla="*/ 51539 w 177041"/>
                <a:gd name="connsiteY160" fmla="*/ 81439 h 165239"/>
                <a:gd name="connsiteX161" fmla="*/ 54686 w 177041"/>
                <a:gd name="connsiteY161" fmla="*/ 82226 h 165239"/>
                <a:gd name="connsiteX162" fmla="*/ 51539 w 177041"/>
                <a:gd name="connsiteY162" fmla="*/ 82226 h 165239"/>
                <a:gd name="connsiteX163" fmla="*/ 48391 w 177041"/>
                <a:gd name="connsiteY163" fmla="*/ 84193 h 165239"/>
                <a:gd name="connsiteX164" fmla="*/ 50359 w 177041"/>
                <a:gd name="connsiteY164" fmla="*/ 86947 h 165239"/>
                <a:gd name="connsiteX165" fmla="*/ 53506 w 177041"/>
                <a:gd name="connsiteY165" fmla="*/ 86947 h 165239"/>
                <a:gd name="connsiteX166" fmla="*/ 51539 w 177041"/>
                <a:gd name="connsiteY166" fmla="*/ 87734 h 165239"/>
                <a:gd name="connsiteX167" fmla="*/ 48785 w 177041"/>
                <a:gd name="connsiteY167" fmla="*/ 86947 h 165239"/>
                <a:gd name="connsiteX168" fmla="*/ 46424 w 177041"/>
                <a:gd name="connsiteY168" fmla="*/ 84193 h 165239"/>
                <a:gd name="connsiteX169" fmla="*/ 43277 w 177041"/>
                <a:gd name="connsiteY169" fmla="*/ 84193 h 165239"/>
                <a:gd name="connsiteX170" fmla="*/ 40523 w 177041"/>
                <a:gd name="connsiteY170" fmla="*/ 83406 h 165239"/>
                <a:gd name="connsiteX171" fmla="*/ 37376 w 177041"/>
                <a:gd name="connsiteY171" fmla="*/ 86160 h 165239"/>
                <a:gd name="connsiteX172" fmla="*/ 36195 w 177041"/>
                <a:gd name="connsiteY172" fmla="*/ 89308 h 165239"/>
                <a:gd name="connsiteX173" fmla="*/ 30294 w 177041"/>
                <a:gd name="connsiteY173" fmla="*/ 94816 h 165239"/>
                <a:gd name="connsiteX174" fmla="*/ 29113 w 177041"/>
                <a:gd name="connsiteY174" fmla="*/ 97570 h 165239"/>
                <a:gd name="connsiteX175" fmla="*/ 26753 w 177041"/>
                <a:gd name="connsiteY175" fmla="*/ 100324 h 165239"/>
                <a:gd name="connsiteX176" fmla="*/ 23999 w 177041"/>
                <a:gd name="connsiteY176" fmla="*/ 98750 h 165239"/>
                <a:gd name="connsiteX177" fmla="*/ 21245 w 177041"/>
                <a:gd name="connsiteY177" fmla="*/ 99537 h 165239"/>
                <a:gd name="connsiteX178" fmla="*/ 23606 w 177041"/>
                <a:gd name="connsiteY178" fmla="*/ 96389 h 165239"/>
                <a:gd name="connsiteX179" fmla="*/ 26753 w 177041"/>
                <a:gd name="connsiteY179" fmla="*/ 94422 h 165239"/>
                <a:gd name="connsiteX180" fmla="*/ 23606 w 177041"/>
                <a:gd name="connsiteY180" fmla="*/ 95996 h 165239"/>
                <a:gd name="connsiteX181" fmla="*/ 18098 w 177041"/>
                <a:gd name="connsiteY181" fmla="*/ 98750 h 165239"/>
                <a:gd name="connsiteX182" fmla="*/ 14950 w 177041"/>
                <a:gd name="connsiteY182" fmla="*/ 100324 h 165239"/>
                <a:gd name="connsiteX183" fmla="*/ 14163 w 177041"/>
                <a:gd name="connsiteY183" fmla="*/ 103471 h 165239"/>
                <a:gd name="connsiteX184" fmla="*/ 17311 w 177041"/>
                <a:gd name="connsiteY184" fmla="*/ 102291 h 165239"/>
                <a:gd name="connsiteX185" fmla="*/ 20065 w 177041"/>
                <a:gd name="connsiteY185" fmla="*/ 102291 h 165239"/>
                <a:gd name="connsiteX186" fmla="*/ 22819 w 177041"/>
                <a:gd name="connsiteY186" fmla="*/ 102291 h 165239"/>
                <a:gd name="connsiteX187" fmla="*/ 25573 w 177041"/>
                <a:gd name="connsiteY187" fmla="*/ 101504 h 165239"/>
                <a:gd name="connsiteX188" fmla="*/ 28327 w 177041"/>
                <a:gd name="connsiteY188" fmla="*/ 101111 h 165239"/>
                <a:gd name="connsiteX189" fmla="*/ 30687 w 177041"/>
                <a:gd name="connsiteY189" fmla="*/ 102291 h 165239"/>
                <a:gd name="connsiteX190" fmla="*/ 33441 w 177041"/>
                <a:gd name="connsiteY190" fmla="*/ 102684 h 165239"/>
                <a:gd name="connsiteX191" fmla="*/ 33441 w 177041"/>
                <a:gd name="connsiteY191" fmla="*/ 103471 h 165239"/>
                <a:gd name="connsiteX192" fmla="*/ 32654 w 177041"/>
                <a:gd name="connsiteY192" fmla="*/ 104651 h 165239"/>
                <a:gd name="connsiteX193" fmla="*/ 29900 w 177041"/>
                <a:gd name="connsiteY193" fmla="*/ 104651 h 165239"/>
                <a:gd name="connsiteX194" fmla="*/ 27146 w 177041"/>
                <a:gd name="connsiteY194" fmla="*/ 106619 h 165239"/>
                <a:gd name="connsiteX195" fmla="*/ 23999 w 177041"/>
                <a:gd name="connsiteY195" fmla="*/ 108979 h 165239"/>
                <a:gd name="connsiteX196" fmla="*/ 21245 w 177041"/>
                <a:gd name="connsiteY196" fmla="*/ 110553 h 165239"/>
                <a:gd name="connsiteX197" fmla="*/ 18098 w 177041"/>
                <a:gd name="connsiteY197" fmla="*/ 112520 h 165239"/>
                <a:gd name="connsiteX198" fmla="*/ 15343 w 177041"/>
                <a:gd name="connsiteY198" fmla="*/ 114487 h 165239"/>
                <a:gd name="connsiteX199" fmla="*/ 12590 w 177041"/>
                <a:gd name="connsiteY199" fmla="*/ 115667 h 165239"/>
                <a:gd name="connsiteX200" fmla="*/ 9836 w 177041"/>
                <a:gd name="connsiteY200" fmla="*/ 117241 h 165239"/>
                <a:gd name="connsiteX201" fmla="*/ 6688 w 177041"/>
                <a:gd name="connsiteY201" fmla="*/ 118815 h 165239"/>
                <a:gd name="connsiteX202" fmla="*/ 3934 w 177041"/>
                <a:gd name="connsiteY202" fmla="*/ 121175 h 165239"/>
                <a:gd name="connsiteX203" fmla="*/ 787 w 177041"/>
                <a:gd name="connsiteY203" fmla="*/ 123536 h 165239"/>
                <a:gd name="connsiteX204" fmla="*/ 1180 w 177041"/>
                <a:gd name="connsiteY204" fmla="*/ 126683 h 165239"/>
                <a:gd name="connsiteX205" fmla="*/ 787 w 177041"/>
                <a:gd name="connsiteY205" fmla="*/ 129831 h 165239"/>
                <a:gd name="connsiteX206" fmla="*/ 0 w 177041"/>
                <a:gd name="connsiteY206" fmla="*/ 132585 h 165239"/>
                <a:gd name="connsiteX207" fmla="*/ 2754 w 177041"/>
                <a:gd name="connsiteY207" fmla="*/ 133765 h 165239"/>
                <a:gd name="connsiteX208" fmla="*/ 5901 w 177041"/>
                <a:gd name="connsiteY208" fmla="*/ 133765 h 165239"/>
                <a:gd name="connsiteX209" fmla="*/ 9049 w 177041"/>
                <a:gd name="connsiteY209" fmla="*/ 133372 h 165239"/>
                <a:gd name="connsiteX210" fmla="*/ 11803 w 177041"/>
                <a:gd name="connsiteY210" fmla="*/ 132978 h 165239"/>
                <a:gd name="connsiteX211" fmla="*/ 14557 w 177041"/>
                <a:gd name="connsiteY211" fmla="*/ 132978 h 165239"/>
                <a:gd name="connsiteX212" fmla="*/ 17311 w 177041"/>
                <a:gd name="connsiteY212" fmla="*/ 131798 h 165239"/>
                <a:gd name="connsiteX213" fmla="*/ 20065 w 177041"/>
                <a:gd name="connsiteY213" fmla="*/ 131798 h 165239"/>
                <a:gd name="connsiteX214" fmla="*/ 23212 w 177041"/>
                <a:gd name="connsiteY214" fmla="*/ 131798 h 165239"/>
                <a:gd name="connsiteX215" fmla="*/ 38949 w 177041"/>
                <a:gd name="connsiteY215" fmla="*/ 131404 h 165239"/>
                <a:gd name="connsiteX216" fmla="*/ 40916 w 177041"/>
                <a:gd name="connsiteY216" fmla="*/ 132191 h 165239"/>
                <a:gd name="connsiteX217" fmla="*/ 43670 w 177041"/>
                <a:gd name="connsiteY217" fmla="*/ 132978 h 165239"/>
                <a:gd name="connsiteX218" fmla="*/ 46818 w 177041"/>
                <a:gd name="connsiteY218" fmla="*/ 131404 h 165239"/>
                <a:gd name="connsiteX219" fmla="*/ 47211 w 177041"/>
                <a:gd name="connsiteY219" fmla="*/ 131404 h 165239"/>
                <a:gd name="connsiteX220" fmla="*/ 49572 w 177041"/>
                <a:gd name="connsiteY220" fmla="*/ 131798 h 165239"/>
                <a:gd name="connsiteX221" fmla="*/ 52719 w 177041"/>
                <a:gd name="connsiteY221" fmla="*/ 131404 h 165239"/>
                <a:gd name="connsiteX222" fmla="*/ 51932 w 177041"/>
                <a:gd name="connsiteY222" fmla="*/ 132978 h 165239"/>
                <a:gd name="connsiteX223" fmla="*/ 54686 w 177041"/>
                <a:gd name="connsiteY223" fmla="*/ 132978 h 165239"/>
                <a:gd name="connsiteX224" fmla="*/ 57440 w 177041"/>
                <a:gd name="connsiteY224" fmla="*/ 133765 h 165239"/>
                <a:gd name="connsiteX225" fmla="*/ 60588 w 177041"/>
                <a:gd name="connsiteY225" fmla="*/ 132978 h 165239"/>
                <a:gd name="connsiteX226" fmla="*/ 63735 w 177041"/>
                <a:gd name="connsiteY226" fmla="*/ 134945 h 165239"/>
                <a:gd name="connsiteX227" fmla="*/ 66882 w 177041"/>
                <a:gd name="connsiteY227" fmla="*/ 134552 h 165239"/>
                <a:gd name="connsiteX228" fmla="*/ 69637 w 177041"/>
                <a:gd name="connsiteY228" fmla="*/ 133372 h 165239"/>
                <a:gd name="connsiteX229" fmla="*/ 92062 w 177041"/>
                <a:gd name="connsiteY229" fmla="*/ 132585 h 165239"/>
                <a:gd name="connsiteX230" fmla="*/ 89308 w 177041"/>
                <a:gd name="connsiteY230" fmla="*/ 133765 h 165239"/>
                <a:gd name="connsiteX231" fmla="*/ 86160 w 177041"/>
                <a:gd name="connsiteY231" fmla="*/ 134552 h 165239"/>
                <a:gd name="connsiteX232" fmla="*/ 83406 w 177041"/>
                <a:gd name="connsiteY232" fmla="*/ 136912 h 165239"/>
                <a:gd name="connsiteX233" fmla="*/ 86554 w 177041"/>
                <a:gd name="connsiteY233" fmla="*/ 135732 h 165239"/>
                <a:gd name="connsiteX234" fmla="*/ 89308 w 177041"/>
                <a:gd name="connsiteY234" fmla="*/ 134945 h 165239"/>
                <a:gd name="connsiteX235" fmla="*/ 92062 w 177041"/>
                <a:gd name="connsiteY235" fmla="*/ 134552 h 165239"/>
                <a:gd name="connsiteX236" fmla="*/ 90095 w 177041"/>
                <a:gd name="connsiteY236" fmla="*/ 137306 h 165239"/>
                <a:gd name="connsiteX237" fmla="*/ 93242 w 177041"/>
                <a:gd name="connsiteY237" fmla="*/ 136912 h 165239"/>
                <a:gd name="connsiteX238" fmla="*/ 94816 w 177041"/>
                <a:gd name="connsiteY238" fmla="*/ 136912 h 165239"/>
                <a:gd name="connsiteX239" fmla="*/ 95996 w 177041"/>
                <a:gd name="connsiteY239" fmla="*/ 139273 h 165239"/>
                <a:gd name="connsiteX240" fmla="*/ 107012 w 177041"/>
                <a:gd name="connsiteY240" fmla="*/ 137699 h 165239"/>
                <a:gd name="connsiteX241" fmla="*/ 106225 w 177041"/>
                <a:gd name="connsiteY241" fmla="*/ 138093 h 165239"/>
                <a:gd name="connsiteX242" fmla="*/ 103864 w 177041"/>
                <a:gd name="connsiteY242" fmla="*/ 140847 h 165239"/>
                <a:gd name="connsiteX243" fmla="*/ 101897 w 177041"/>
                <a:gd name="connsiteY243" fmla="*/ 143994 h 165239"/>
                <a:gd name="connsiteX244" fmla="*/ 99144 w 177041"/>
                <a:gd name="connsiteY244" fmla="*/ 145568 h 165239"/>
                <a:gd name="connsiteX245" fmla="*/ 95996 w 177041"/>
                <a:gd name="connsiteY245" fmla="*/ 147928 h 165239"/>
                <a:gd name="connsiteX246" fmla="*/ 93242 w 177041"/>
                <a:gd name="connsiteY246" fmla="*/ 149109 h 165239"/>
                <a:gd name="connsiteX247" fmla="*/ 90488 w 177041"/>
                <a:gd name="connsiteY247" fmla="*/ 149502 h 165239"/>
                <a:gd name="connsiteX248" fmla="*/ 87341 w 177041"/>
                <a:gd name="connsiteY248" fmla="*/ 149502 h 165239"/>
                <a:gd name="connsiteX249" fmla="*/ 84587 w 177041"/>
                <a:gd name="connsiteY249" fmla="*/ 150682 h 165239"/>
                <a:gd name="connsiteX250" fmla="*/ 81439 w 177041"/>
                <a:gd name="connsiteY250" fmla="*/ 153043 h 165239"/>
                <a:gd name="connsiteX251" fmla="*/ 81046 w 177041"/>
                <a:gd name="connsiteY251" fmla="*/ 156190 h 165239"/>
                <a:gd name="connsiteX252" fmla="*/ 83800 w 177041"/>
                <a:gd name="connsiteY252" fmla="*/ 156977 h 165239"/>
                <a:gd name="connsiteX253" fmla="*/ 86947 w 177041"/>
                <a:gd name="connsiteY253" fmla="*/ 156977 h 165239"/>
                <a:gd name="connsiteX254" fmla="*/ 89701 w 177041"/>
                <a:gd name="connsiteY254" fmla="*/ 156584 h 165239"/>
                <a:gd name="connsiteX255" fmla="*/ 92849 w 177041"/>
                <a:gd name="connsiteY255" fmla="*/ 155403 h 165239"/>
                <a:gd name="connsiteX256" fmla="*/ 95603 w 177041"/>
                <a:gd name="connsiteY256" fmla="*/ 156977 h 165239"/>
                <a:gd name="connsiteX257" fmla="*/ 127077 w 177041"/>
                <a:gd name="connsiteY257" fmla="*/ 158551 h 165239"/>
                <a:gd name="connsiteX258" fmla="*/ 127864 w 177041"/>
                <a:gd name="connsiteY258" fmla="*/ 158551 h 165239"/>
                <a:gd name="connsiteX259" fmla="*/ 130618 w 177041"/>
                <a:gd name="connsiteY259" fmla="*/ 158944 h 165239"/>
                <a:gd name="connsiteX260" fmla="*/ 133371 w 177041"/>
                <a:gd name="connsiteY260" fmla="*/ 157371 h 165239"/>
                <a:gd name="connsiteX261" fmla="*/ 136519 w 177041"/>
                <a:gd name="connsiteY261" fmla="*/ 155010 h 165239"/>
                <a:gd name="connsiteX262" fmla="*/ 136912 w 177041"/>
                <a:gd name="connsiteY262" fmla="*/ 155010 h 165239"/>
                <a:gd name="connsiteX263" fmla="*/ 144388 w 177041"/>
                <a:gd name="connsiteY263" fmla="*/ 152256 h 165239"/>
                <a:gd name="connsiteX264" fmla="*/ 143601 w 177041"/>
                <a:gd name="connsiteY264" fmla="*/ 153043 h 165239"/>
                <a:gd name="connsiteX265" fmla="*/ 146355 w 177041"/>
                <a:gd name="connsiteY265" fmla="*/ 154223 h 165239"/>
                <a:gd name="connsiteX266" fmla="*/ 143601 w 177041"/>
                <a:gd name="connsiteY266" fmla="*/ 156190 h 165239"/>
                <a:gd name="connsiteX267" fmla="*/ 142027 w 177041"/>
                <a:gd name="connsiteY267" fmla="*/ 158944 h 165239"/>
                <a:gd name="connsiteX268" fmla="*/ 144781 w 177041"/>
                <a:gd name="connsiteY268" fmla="*/ 156977 h 165239"/>
                <a:gd name="connsiteX269" fmla="*/ 142027 w 177041"/>
                <a:gd name="connsiteY269" fmla="*/ 159731 h 165239"/>
                <a:gd name="connsiteX270" fmla="*/ 140453 w 177041"/>
                <a:gd name="connsiteY270" fmla="*/ 162485 h 165239"/>
                <a:gd name="connsiteX271" fmla="*/ 141634 w 177041"/>
                <a:gd name="connsiteY271" fmla="*/ 165632 h 165239"/>
                <a:gd name="connsiteX272" fmla="*/ 147141 w 177041"/>
                <a:gd name="connsiteY272" fmla="*/ 162879 h 165239"/>
                <a:gd name="connsiteX273" fmla="*/ 150289 w 177041"/>
                <a:gd name="connsiteY273" fmla="*/ 162092 h 165239"/>
                <a:gd name="connsiteX274" fmla="*/ 152649 w 177041"/>
                <a:gd name="connsiteY274" fmla="*/ 165239 h 165239"/>
                <a:gd name="connsiteX275" fmla="*/ 155797 w 177041"/>
                <a:gd name="connsiteY275" fmla="*/ 163272 h 165239"/>
                <a:gd name="connsiteX276" fmla="*/ 158944 w 177041"/>
                <a:gd name="connsiteY276" fmla="*/ 160911 h 165239"/>
                <a:gd name="connsiteX277" fmla="*/ 160911 w 177041"/>
                <a:gd name="connsiteY277" fmla="*/ 157764 h 165239"/>
                <a:gd name="connsiteX278" fmla="*/ 162878 w 177041"/>
                <a:gd name="connsiteY278" fmla="*/ 155010 h 165239"/>
                <a:gd name="connsiteX279" fmla="*/ 164846 w 177041"/>
                <a:gd name="connsiteY279" fmla="*/ 151863 h 165239"/>
                <a:gd name="connsiteX280" fmla="*/ 165632 w 177041"/>
                <a:gd name="connsiteY280" fmla="*/ 149109 h 165239"/>
                <a:gd name="connsiteX281" fmla="*/ 167206 w 177041"/>
                <a:gd name="connsiteY281" fmla="*/ 145961 h 165239"/>
                <a:gd name="connsiteX282" fmla="*/ 169960 w 177041"/>
                <a:gd name="connsiteY282" fmla="*/ 142814 h 165239"/>
                <a:gd name="connsiteX283" fmla="*/ 170747 w 177041"/>
                <a:gd name="connsiteY283" fmla="*/ 142027 h 165239"/>
                <a:gd name="connsiteX284" fmla="*/ 173501 w 177041"/>
                <a:gd name="connsiteY284" fmla="*/ 138880 h 165239"/>
                <a:gd name="connsiteX285" fmla="*/ 175862 w 177041"/>
                <a:gd name="connsiteY285" fmla="*/ 136125 h 165239"/>
                <a:gd name="connsiteX286" fmla="*/ 175862 w 177041"/>
                <a:gd name="connsiteY286" fmla="*/ 133372 h 165239"/>
                <a:gd name="connsiteX287" fmla="*/ 175468 w 177041"/>
                <a:gd name="connsiteY287" fmla="*/ 130224 h 165239"/>
                <a:gd name="connsiteX288" fmla="*/ 175862 w 177041"/>
                <a:gd name="connsiteY288" fmla="*/ 127470 h 165239"/>
                <a:gd name="connsiteX289" fmla="*/ 173108 w 177041"/>
                <a:gd name="connsiteY289" fmla="*/ 128650 h 165239"/>
                <a:gd name="connsiteX290" fmla="*/ 171534 w 177041"/>
                <a:gd name="connsiteY290" fmla="*/ 131404 h 165239"/>
                <a:gd name="connsiteX291" fmla="*/ 168780 w 177041"/>
                <a:gd name="connsiteY291" fmla="*/ 134552 h 165239"/>
                <a:gd name="connsiteX292" fmla="*/ 165632 w 177041"/>
                <a:gd name="connsiteY292" fmla="*/ 135732 h 165239"/>
                <a:gd name="connsiteX293" fmla="*/ 162878 w 177041"/>
                <a:gd name="connsiteY293" fmla="*/ 137699 h 165239"/>
                <a:gd name="connsiteX294" fmla="*/ 160125 w 177041"/>
                <a:gd name="connsiteY294" fmla="*/ 137699 h 165239"/>
                <a:gd name="connsiteX295" fmla="*/ 161305 w 177041"/>
                <a:gd name="connsiteY295" fmla="*/ 134945 h 165239"/>
                <a:gd name="connsiteX296" fmla="*/ 160911 w 177041"/>
                <a:gd name="connsiteY296" fmla="*/ 131798 h 165239"/>
                <a:gd name="connsiteX297" fmla="*/ 163665 w 177041"/>
                <a:gd name="connsiteY297" fmla="*/ 129437 h 165239"/>
                <a:gd name="connsiteX298" fmla="*/ 165632 w 177041"/>
                <a:gd name="connsiteY298" fmla="*/ 126290 h 165239"/>
                <a:gd name="connsiteX299" fmla="*/ 168386 w 177041"/>
                <a:gd name="connsiteY299" fmla="*/ 123536 h 165239"/>
                <a:gd name="connsiteX300" fmla="*/ 170747 w 177041"/>
                <a:gd name="connsiteY300" fmla="*/ 120782 h 165239"/>
                <a:gd name="connsiteX301" fmla="*/ 173501 w 177041"/>
                <a:gd name="connsiteY301" fmla="*/ 117635 h 165239"/>
                <a:gd name="connsiteX302" fmla="*/ 176648 w 177041"/>
                <a:gd name="connsiteY302" fmla="*/ 115667 h 165239"/>
                <a:gd name="connsiteX303" fmla="*/ 173501 w 177041"/>
                <a:gd name="connsiteY303" fmla="*/ 115274 h 165239"/>
                <a:gd name="connsiteX304" fmla="*/ 170747 w 177041"/>
                <a:gd name="connsiteY304" fmla="*/ 117635 h 165239"/>
                <a:gd name="connsiteX305" fmla="*/ 167600 w 177041"/>
                <a:gd name="connsiteY305" fmla="*/ 117241 h 165239"/>
                <a:gd name="connsiteX306" fmla="*/ 164846 w 177041"/>
                <a:gd name="connsiteY306" fmla="*/ 118815 h 165239"/>
                <a:gd name="connsiteX307" fmla="*/ 161698 w 177041"/>
                <a:gd name="connsiteY307" fmla="*/ 121569 h 165239"/>
                <a:gd name="connsiteX308" fmla="*/ 158944 w 177041"/>
                <a:gd name="connsiteY308" fmla="*/ 123929 h 165239"/>
                <a:gd name="connsiteX309" fmla="*/ 156584 w 177041"/>
                <a:gd name="connsiteY309" fmla="*/ 126683 h 165239"/>
                <a:gd name="connsiteX310" fmla="*/ 155010 w 177041"/>
                <a:gd name="connsiteY310" fmla="*/ 129831 h 165239"/>
                <a:gd name="connsiteX311" fmla="*/ 152256 w 177041"/>
                <a:gd name="connsiteY311" fmla="*/ 131798 h 165239"/>
                <a:gd name="connsiteX312" fmla="*/ 151863 w 177041"/>
                <a:gd name="connsiteY312" fmla="*/ 134945 h 165239"/>
                <a:gd name="connsiteX313" fmla="*/ 148715 w 177041"/>
                <a:gd name="connsiteY313" fmla="*/ 135339 h 165239"/>
                <a:gd name="connsiteX314" fmla="*/ 164846 w 177041"/>
                <a:gd name="connsiteY314" fmla="*/ 108586 h 16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</a:cxnLst>
              <a:rect l="l" t="t" r="r" b="b"/>
              <a:pathLst>
                <a:path w="177041" h="165239">
                  <a:moveTo>
                    <a:pt x="166419" y="106619"/>
                  </a:moveTo>
                  <a:lnTo>
                    <a:pt x="169173" y="107799"/>
                  </a:lnTo>
                  <a:lnTo>
                    <a:pt x="172321" y="106619"/>
                  </a:lnTo>
                  <a:lnTo>
                    <a:pt x="175075" y="103471"/>
                  </a:lnTo>
                  <a:lnTo>
                    <a:pt x="177435" y="100717"/>
                  </a:lnTo>
                  <a:lnTo>
                    <a:pt x="175862" y="97963"/>
                  </a:lnTo>
                  <a:lnTo>
                    <a:pt x="173108" y="100324"/>
                  </a:lnTo>
                  <a:lnTo>
                    <a:pt x="169960" y="101897"/>
                  </a:lnTo>
                  <a:lnTo>
                    <a:pt x="167993" y="99143"/>
                  </a:lnTo>
                  <a:lnTo>
                    <a:pt x="165239" y="101111"/>
                  </a:lnTo>
                  <a:lnTo>
                    <a:pt x="162878" y="103865"/>
                  </a:lnTo>
                  <a:lnTo>
                    <a:pt x="159731" y="103865"/>
                  </a:lnTo>
                  <a:lnTo>
                    <a:pt x="156977" y="105438"/>
                  </a:lnTo>
                  <a:lnTo>
                    <a:pt x="157764" y="102291"/>
                  </a:lnTo>
                  <a:lnTo>
                    <a:pt x="155010" y="104651"/>
                  </a:lnTo>
                  <a:lnTo>
                    <a:pt x="152256" y="106619"/>
                  </a:lnTo>
                  <a:lnTo>
                    <a:pt x="154223" y="103865"/>
                  </a:lnTo>
                  <a:lnTo>
                    <a:pt x="151469" y="105045"/>
                  </a:lnTo>
                  <a:lnTo>
                    <a:pt x="148322" y="106225"/>
                  </a:lnTo>
                  <a:lnTo>
                    <a:pt x="145568" y="107405"/>
                  </a:lnTo>
                  <a:lnTo>
                    <a:pt x="147535" y="105045"/>
                  </a:lnTo>
                  <a:lnTo>
                    <a:pt x="150289" y="104651"/>
                  </a:lnTo>
                  <a:lnTo>
                    <a:pt x="153043" y="103471"/>
                  </a:lnTo>
                  <a:lnTo>
                    <a:pt x="155797" y="100324"/>
                  </a:lnTo>
                  <a:lnTo>
                    <a:pt x="153043" y="100324"/>
                  </a:lnTo>
                  <a:lnTo>
                    <a:pt x="156190" y="99930"/>
                  </a:lnTo>
                  <a:lnTo>
                    <a:pt x="158944" y="98357"/>
                  </a:lnTo>
                  <a:lnTo>
                    <a:pt x="162092" y="96389"/>
                  </a:lnTo>
                  <a:lnTo>
                    <a:pt x="159338" y="97570"/>
                  </a:lnTo>
                  <a:lnTo>
                    <a:pt x="157764" y="94422"/>
                  </a:lnTo>
                  <a:lnTo>
                    <a:pt x="156584" y="97570"/>
                  </a:lnTo>
                  <a:lnTo>
                    <a:pt x="153830" y="98750"/>
                  </a:lnTo>
                  <a:lnTo>
                    <a:pt x="173108" y="77898"/>
                  </a:lnTo>
                  <a:lnTo>
                    <a:pt x="170747" y="77112"/>
                  </a:lnTo>
                  <a:lnTo>
                    <a:pt x="168386" y="73964"/>
                  </a:lnTo>
                  <a:lnTo>
                    <a:pt x="165632" y="73177"/>
                  </a:lnTo>
                  <a:lnTo>
                    <a:pt x="162485" y="71210"/>
                  </a:lnTo>
                  <a:lnTo>
                    <a:pt x="159731" y="71210"/>
                  </a:lnTo>
                  <a:lnTo>
                    <a:pt x="156584" y="72390"/>
                  </a:lnTo>
                  <a:lnTo>
                    <a:pt x="151076" y="72390"/>
                  </a:lnTo>
                  <a:lnTo>
                    <a:pt x="149108" y="75144"/>
                  </a:lnTo>
                  <a:lnTo>
                    <a:pt x="146355" y="77505"/>
                  </a:lnTo>
                  <a:lnTo>
                    <a:pt x="145961" y="77505"/>
                  </a:lnTo>
                  <a:lnTo>
                    <a:pt x="147535" y="74358"/>
                  </a:lnTo>
                  <a:lnTo>
                    <a:pt x="148715" y="71604"/>
                  </a:lnTo>
                  <a:lnTo>
                    <a:pt x="148715" y="68850"/>
                  </a:lnTo>
                  <a:lnTo>
                    <a:pt x="145961" y="70423"/>
                  </a:lnTo>
                  <a:lnTo>
                    <a:pt x="142814" y="73177"/>
                  </a:lnTo>
                  <a:lnTo>
                    <a:pt x="140060" y="75538"/>
                  </a:lnTo>
                  <a:lnTo>
                    <a:pt x="137306" y="77112"/>
                  </a:lnTo>
                  <a:lnTo>
                    <a:pt x="136912" y="73964"/>
                  </a:lnTo>
                  <a:lnTo>
                    <a:pt x="136125" y="77112"/>
                  </a:lnTo>
                  <a:lnTo>
                    <a:pt x="132978" y="77898"/>
                  </a:lnTo>
                  <a:lnTo>
                    <a:pt x="130618" y="77112"/>
                  </a:lnTo>
                  <a:lnTo>
                    <a:pt x="127864" y="78292"/>
                  </a:lnTo>
                  <a:lnTo>
                    <a:pt x="124716" y="79472"/>
                  </a:lnTo>
                  <a:lnTo>
                    <a:pt x="125896" y="81833"/>
                  </a:lnTo>
                  <a:lnTo>
                    <a:pt x="120388" y="84980"/>
                  </a:lnTo>
                  <a:lnTo>
                    <a:pt x="119995" y="84980"/>
                  </a:lnTo>
                  <a:lnTo>
                    <a:pt x="120388" y="84587"/>
                  </a:lnTo>
                  <a:lnTo>
                    <a:pt x="122356" y="81833"/>
                  </a:lnTo>
                  <a:lnTo>
                    <a:pt x="124323" y="79079"/>
                  </a:lnTo>
                  <a:lnTo>
                    <a:pt x="127470" y="76325"/>
                  </a:lnTo>
                  <a:lnTo>
                    <a:pt x="128257" y="73571"/>
                  </a:lnTo>
                  <a:lnTo>
                    <a:pt x="131404" y="71210"/>
                  </a:lnTo>
                  <a:lnTo>
                    <a:pt x="131011" y="68063"/>
                  </a:lnTo>
                  <a:lnTo>
                    <a:pt x="128257" y="70817"/>
                  </a:lnTo>
                  <a:lnTo>
                    <a:pt x="127864" y="73571"/>
                  </a:lnTo>
                  <a:lnTo>
                    <a:pt x="125110" y="75931"/>
                  </a:lnTo>
                  <a:lnTo>
                    <a:pt x="124716" y="72784"/>
                  </a:lnTo>
                  <a:lnTo>
                    <a:pt x="124716" y="70030"/>
                  </a:lnTo>
                  <a:lnTo>
                    <a:pt x="121962" y="71210"/>
                  </a:lnTo>
                  <a:lnTo>
                    <a:pt x="119208" y="74358"/>
                  </a:lnTo>
                  <a:lnTo>
                    <a:pt x="128257" y="53113"/>
                  </a:lnTo>
                  <a:lnTo>
                    <a:pt x="128257" y="52719"/>
                  </a:lnTo>
                  <a:lnTo>
                    <a:pt x="127470" y="53113"/>
                  </a:lnTo>
                  <a:lnTo>
                    <a:pt x="119208" y="53113"/>
                  </a:lnTo>
                  <a:lnTo>
                    <a:pt x="118421" y="52719"/>
                  </a:lnTo>
                  <a:lnTo>
                    <a:pt x="115667" y="53113"/>
                  </a:lnTo>
                  <a:lnTo>
                    <a:pt x="115274" y="53113"/>
                  </a:lnTo>
                  <a:lnTo>
                    <a:pt x="113307" y="53113"/>
                  </a:lnTo>
                  <a:lnTo>
                    <a:pt x="112127" y="53113"/>
                  </a:lnTo>
                  <a:lnTo>
                    <a:pt x="113307" y="51932"/>
                  </a:lnTo>
                  <a:lnTo>
                    <a:pt x="112127" y="48785"/>
                  </a:lnTo>
                  <a:lnTo>
                    <a:pt x="108979" y="50752"/>
                  </a:lnTo>
                  <a:lnTo>
                    <a:pt x="106225" y="53113"/>
                  </a:lnTo>
                  <a:lnTo>
                    <a:pt x="95603" y="53113"/>
                  </a:lnTo>
                  <a:lnTo>
                    <a:pt x="97963" y="51145"/>
                  </a:lnTo>
                  <a:lnTo>
                    <a:pt x="101111" y="48785"/>
                  </a:lnTo>
                  <a:lnTo>
                    <a:pt x="103864" y="46818"/>
                  </a:lnTo>
                  <a:lnTo>
                    <a:pt x="106618" y="43670"/>
                  </a:lnTo>
                  <a:lnTo>
                    <a:pt x="108586" y="40916"/>
                  </a:lnTo>
                  <a:lnTo>
                    <a:pt x="111340" y="38949"/>
                  </a:lnTo>
                  <a:lnTo>
                    <a:pt x="114094" y="36195"/>
                  </a:lnTo>
                  <a:lnTo>
                    <a:pt x="120388" y="30687"/>
                  </a:lnTo>
                  <a:lnTo>
                    <a:pt x="120388" y="27933"/>
                  </a:lnTo>
                  <a:lnTo>
                    <a:pt x="122356" y="25179"/>
                  </a:lnTo>
                  <a:lnTo>
                    <a:pt x="123536" y="27933"/>
                  </a:lnTo>
                  <a:lnTo>
                    <a:pt x="126683" y="25179"/>
                  </a:lnTo>
                  <a:lnTo>
                    <a:pt x="129437" y="23999"/>
                  </a:lnTo>
                  <a:lnTo>
                    <a:pt x="131404" y="21245"/>
                  </a:lnTo>
                  <a:lnTo>
                    <a:pt x="133371" y="18491"/>
                  </a:lnTo>
                  <a:lnTo>
                    <a:pt x="136519" y="16524"/>
                  </a:lnTo>
                  <a:lnTo>
                    <a:pt x="135339" y="13377"/>
                  </a:lnTo>
                  <a:lnTo>
                    <a:pt x="132191" y="13770"/>
                  </a:lnTo>
                  <a:lnTo>
                    <a:pt x="129437" y="14163"/>
                  </a:lnTo>
                  <a:lnTo>
                    <a:pt x="130224" y="11016"/>
                  </a:lnTo>
                  <a:lnTo>
                    <a:pt x="131798" y="8262"/>
                  </a:lnTo>
                  <a:lnTo>
                    <a:pt x="134552" y="9442"/>
                  </a:lnTo>
                  <a:lnTo>
                    <a:pt x="137699" y="9049"/>
                  </a:lnTo>
                  <a:lnTo>
                    <a:pt x="140453" y="10229"/>
                  </a:lnTo>
                  <a:lnTo>
                    <a:pt x="143601" y="7869"/>
                  </a:lnTo>
                  <a:lnTo>
                    <a:pt x="146355" y="6688"/>
                  </a:lnTo>
                  <a:lnTo>
                    <a:pt x="148322" y="3541"/>
                  </a:lnTo>
                  <a:lnTo>
                    <a:pt x="147535" y="787"/>
                  </a:lnTo>
                  <a:lnTo>
                    <a:pt x="144388" y="393"/>
                  </a:lnTo>
                  <a:lnTo>
                    <a:pt x="141634" y="1574"/>
                  </a:lnTo>
                  <a:lnTo>
                    <a:pt x="140847" y="4328"/>
                  </a:lnTo>
                  <a:lnTo>
                    <a:pt x="138093" y="2754"/>
                  </a:lnTo>
                  <a:lnTo>
                    <a:pt x="137699" y="0"/>
                  </a:lnTo>
                  <a:lnTo>
                    <a:pt x="134945" y="1574"/>
                  </a:lnTo>
                  <a:lnTo>
                    <a:pt x="132191" y="2754"/>
                  </a:lnTo>
                  <a:lnTo>
                    <a:pt x="129044" y="3934"/>
                  </a:lnTo>
                  <a:lnTo>
                    <a:pt x="126290" y="5115"/>
                  </a:lnTo>
                  <a:lnTo>
                    <a:pt x="123536" y="6295"/>
                  </a:lnTo>
                  <a:lnTo>
                    <a:pt x="120388" y="7082"/>
                  </a:lnTo>
                  <a:lnTo>
                    <a:pt x="117241" y="7869"/>
                  </a:lnTo>
                  <a:lnTo>
                    <a:pt x="114487" y="9442"/>
                  </a:lnTo>
                  <a:lnTo>
                    <a:pt x="111340" y="11409"/>
                  </a:lnTo>
                  <a:lnTo>
                    <a:pt x="110159" y="14163"/>
                  </a:lnTo>
                  <a:lnTo>
                    <a:pt x="107012" y="16524"/>
                  </a:lnTo>
                  <a:lnTo>
                    <a:pt x="104258" y="18491"/>
                  </a:lnTo>
                  <a:lnTo>
                    <a:pt x="102291" y="21638"/>
                  </a:lnTo>
                  <a:lnTo>
                    <a:pt x="100324" y="24392"/>
                  </a:lnTo>
                  <a:lnTo>
                    <a:pt x="97570" y="26753"/>
                  </a:lnTo>
                  <a:lnTo>
                    <a:pt x="94422" y="28720"/>
                  </a:lnTo>
                  <a:lnTo>
                    <a:pt x="91668" y="29507"/>
                  </a:lnTo>
                  <a:lnTo>
                    <a:pt x="88914" y="30687"/>
                  </a:lnTo>
                  <a:lnTo>
                    <a:pt x="91275" y="33835"/>
                  </a:lnTo>
                  <a:lnTo>
                    <a:pt x="88127" y="33048"/>
                  </a:lnTo>
                  <a:lnTo>
                    <a:pt x="79866" y="41703"/>
                  </a:lnTo>
                  <a:lnTo>
                    <a:pt x="77898" y="44457"/>
                  </a:lnTo>
                  <a:lnTo>
                    <a:pt x="75538" y="47211"/>
                  </a:lnTo>
                  <a:lnTo>
                    <a:pt x="72784" y="50359"/>
                  </a:lnTo>
                  <a:lnTo>
                    <a:pt x="69637" y="53113"/>
                  </a:lnTo>
                  <a:lnTo>
                    <a:pt x="67669" y="55867"/>
                  </a:lnTo>
                  <a:lnTo>
                    <a:pt x="62161" y="61375"/>
                  </a:lnTo>
                  <a:lnTo>
                    <a:pt x="60194" y="64129"/>
                  </a:lnTo>
                  <a:lnTo>
                    <a:pt x="60194" y="67276"/>
                  </a:lnTo>
                  <a:lnTo>
                    <a:pt x="61374" y="70030"/>
                  </a:lnTo>
                  <a:lnTo>
                    <a:pt x="61374" y="70030"/>
                  </a:lnTo>
                  <a:lnTo>
                    <a:pt x="58620" y="71210"/>
                  </a:lnTo>
                  <a:lnTo>
                    <a:pt x="59014" y="68456"/>
                  </a:lnTo>
                  <a:lnTo>
                    <a:pt x="56260" y="68456"/>
                  </a:lnTo>
                  <a:lnTo>
                    <a:pt x="53506" y="70423"/>
                  </a:lnTo>
                  <a:lnTo>
                    <a:pt x="50359" y="72784"/>
                  </a:lnTo>
                  <a:lnTo>
                    <a:pt x="48391" y="75538"/>
                  </a:lnTo>
                  <a:lnTo>
                    <a:pt x="48391" y="78292"/>
                  </a:lnTo>
                  <a:lnTo>
                    <a:pt x="51539" y="79079"/>
                  </a:lnTo>
                  <a:lnTo>
                    <a:pt x="54686" y="79079"/>
                  </a:lnTo>
                  <a:lnTo>
                    <a:pt x="51539" y="81439"/>
                  </a:lnTo>
                  <a:lnTo>
                    <a:pt x="54686" y="82226"/>
                  </a:lnTo>
                  <a:lnTo>
                    <a:pt x="51539" y="82226"/>
                  </a:lnTo>
                  <a:lnTo>
                    <a:pt x="48391" y="84193"/>
                  </a:lnTo>
                  <a:lnTo>
                    <a:pt x="50359" y="86947"/>
                  </a:lnTo>
                  <a:lnTo>
                    <a:pt x="53506" y="86947"/>
                  </a:lnTo>
                  <a:lnTo>
                    <a:pt x="51539" y="87734"/>
                  </a:lnTo>
                  <a:lnTo>
                    <a:pt x="48785" y="86947"/>
                  </a:lnTo>
                  <a:lnTo>
                    <a:pt x="46424" y="84193"/>
                  </a:lnTo>
                  <a:lnTo>
                    <a:pt x="43277" y="84193"/>
                  </a:lnTo>
                  <a:lnTo>
                    <a:pt x="40523" y="83406"/>
                  </a:lnTo>
                  <a:lnTo>
                    <a:pt x="37376" y="86160"/>
                  </a:lnTo>
                  <a:lnTo>
                    <a:pt x="36195" y="89308"/>
                  </a:lnTo>
                  <a:lnTo>
                    <a:pt x="30294" y="94816"/>
                  </a:lnTo>
                  <a:lnTo>
                    <a:pt x="29113" y="97570"/>
                  </a:lnTo>
                  <a:lnTo>
                    <a:pt x="26753" y="100324"/>
                  </a:lnTo>
                  <a:lnTo>
                    <a:pt x="23999" y="98750"/>
                  </a:lnTo>
                  <a:lnTo>
                    <a:pt x="21245" y="99537"/>
                  </a:lnTo>
                  <a:lnTo>
                    <a:pt x="23606" y="96389"/>
                  </a:lnTo>
                  <a:lnTo>
                    <a:pt x="26753" y="94422"/>
                  </a:lnTo>
                  <a:lnTo>
                    <a:pt x="23606" y="95996"/>
                  </a:lnTo>
                  <a:lnTo>
                    <a:pt x="18098" y="98750"/>
                  </a:lnTo>
                  <a:lnTo>
                    <a:pt x="14950" y="100324"/>
                  </a:lnTo>
                  <a:lnTo>
                    <a:pt x="14163" y="103471"/>
                  </a:lnTo>
                  <a:lnTo>
                    <a:pt x="17311" y="102291"/>
                  </a:lnTo>
                  <a:lnTo>
                    <a:pt x="20065" y="102291"/>
                  </a:lnTo>
                  <a:lnTo>
                    <a:pt x="22819" y="102291"/>
                  </a:lnTo>
                  <a:lnTo>
                    <a:pt x="25573" y="101504"/>
                  </a:lnTo>
                  <a:lnTo>
                    <a:pt x="28327" y="101111"/>
                  </a:lnTo>
                  <a:lnTo>
                    <a:pt x="30687" y="102291"/>
                  </a:lnTo>
                  <a:lnTo>
                    <a:pt x="33441" y="102684"/>
                  </a:lnTo>
                  <a:lnTo>
                    <a:pt x="33441" y="103471"/>
                  </a:lnTo>
                  <a:lnTo>
                    <a:pt x="32654" y="104651"/>
                  </a:lnTo>
                  <a:lnTo>
                    <a:pt x="29900" y="104651"/>
                  </a:lnTo>
                  <a:lnTo>
                    <a:pt x="27146" y="106619"/>
                  </a:lnTo>
                  <a:lnTo>
                    <a:pt x="23999" y="108979"/>
                  </a:lnTo>
                  <a:lnTo>
                    <a:pt x="21245" y="110553"/>
                  </a:lnTo>
                  <a:lnTo>
                    <a:pt x="18098" y="112520"/>
                  </a:lnTo>
                  <a:lnTo>
                    <a:pt x="15343" y="114487"/>
                  </a:lnTo>
                  <a:lnTo>
                    <a:pt x="12590" y="115667"/>
                  </a:lnTo>
                  <a:lnTo>
                    <a:pt x="9836" y="117241"/>
                  </a:lnTo>
                  <a:lnTo>
                    <a:pt x="6688" y="118815"/>
                  </a:lnTo>
                  <a:lnTo>
                    <a:pt x="3934" y="121175"/>
                  </a:lnTo>
                  <a:lnTo>
                    <a:pt x="787" y="123536"/>
                  </a:lnTo>
                  <a:lnTo>
                    <a:pt x="1180" y="126683"/>
                  </a:lnTo>
                  <a:lnTo>
                    <a:pt x="787" y="129831"/>
                  </a:lnTo>
                  <a:lnTo>
                    <a:pt x="0" y="132585"/>
                  </a:lnTo>
                  <a:lnTo>
                    <a:pt x="2754" y="133765"/>
                  </a:lnTo>
                  <a:lnTo>
                    <a:pt x="5901" y="133765"/>
                  </a:lnTo>
                  <a:lnTo>
                    <a:pt x="9049" y="133372"/>
                  </a:lnTo>
                  <a:lnTo>
                    <a:pt x="11803" y="132978"/>
                  </a:lnTo>
                  <a:lnTo>
                    <a:pt x="14557" y="132978"/>
                  </a:lnTo>
                  <a:lnTo>
                    <a:pt x="17311" y="131798"/>
                  </a:lnTo>
                  <a:lnTo>
                    <a:pt x="20065" y="131798"/>
                  </a:lnTo>
                  <a:lnTo>
                    <a:pt x="23212" y="131798"/>
                  </a:lnTo>
                  <a:lnTo>
                    <a:pt x="38949" y="131404"/>
                  </a:lnTo>
                  <a:lnTo>
                    <a:pt x="40916" y="132191"/>
                  </a:lnTo>
                  <a:lnTo>
                    <a:pt x="43670" y="132978"/>
                  </a:lnTo>
                  <a:lnTo>
                    <a:pt x="46818" y="131404"/>
                  </a:lnTo>
                  <a:lnTo>
                    <a:pt x="47211" y="131404"/>
                  </a:lnTo>
                  <a:lnTo>
                    <a:pt x="49572" y="131798"/>
                  </a:lnTo>
                  <a:lnTo>
                    <a:pt x="52719" y="131404"/>
                  </a:lnTo>
                  <a:lnTo>
                    <a:pt x="51932" y="132978"/>
                  </a:lnTo>
                  <a:lnTo>
                    <a:pt x="54686" y="132978"/>
                  </a:lnTo>
                  <a:lnTo>
                    <a:pt x="57440" y="133765"/>
                  </a:lnTo>
                  <a:lnTo>
                    <a:pt x="60588" y="132978"/>
                  </a:lnTo>
                  <a:lnTo>
                    <a:pt x="63735" y="134945"/>
                  </a:lnTo>
                  <a:lnTo>
                    <a:pt x="66882" y="134552"/>
                  </a:lnTo>
                  <a:lnTo>
                    <a:pt x="69637" y="133372"/>
                  </a:lnTo>
                  <a:lnTo>
                    <a:pt x="92062" y="132585"/>
                  </a:lnTo>
                  <a:lnTo>
                    <a:pt x="89308" y="133765"/>
                  </a:lnTo>
                  <a:lnTo>
                    <a:pt x="86160" y="134552"/>
                  </a:lnTo>
                  <a:lnTo>
                    <a:pt x="83406" y="136912"/>
                  </a:lnTo>
                  <a:lnTo>
                    <a:pt x="86554" y="135732"/>
                  </a:lnTo>
                  <a:lnTo>
                    <a:pt x="89308" y="134945"/>
                  </a:lnTo>
                  <a:lnTo>
                    <a:pt x="92062" y="134552"/>
                  </a:lnTo>
                  <a:lnTo>
                    <a:pt x="90095" y="137306"/>
                  </a:lnTo>
                  <a:lnTo>
                    <a:pt x="93242" y="136912"/>
                  </a:lnTo>
                  <a:lnTo>
                    <a:pt x="94816" y="136912"/>
                  </a:lnTo>
                  <a:lnTo>
                    <a:pt x="95996" y="139273"/>
                  </a:lnTo>
                  <a:lnTo>
                    <a:pt x="107012" y="137699"/>
                  </a:lnTo>
                  <a:lnTo>
                    <a:pt x="106225" y="138093"/>
                  </a:lnTo>
                  <a:lnTo>
                    <a:pt x="103864" y="140847"/>
                  </a:lnTo>
                  <a:lnTo>
                    <a:pt x="101897" y="143994"/>
                  </a:lnTo>
                  <a:lnTo>
                    <a:pt x="99144" y="145568"/>
                  </a:lnTo>
                  <a:lnTo>
                    <a:pt x="95996" y="147928"/>
                  </a:lnTo>
                  <a:lnTo>
                    <a:pt x="93242" y="149109"/>
                  </a:lnTo>
                  <a:lnTo>
                    <a:pt x="90488" y="149502"/>
                  </a:lnTo>
                  <a:lnTo>
                    <a:pt x="87341" y="149502"/>
                  </a:lnTo>
                  <a:lnTo>
                    <a:pt x="84587" y="150682"/>
                  </a:lnTo>
                  <a:lnTo>
                    <a:pt x="81439" y="153043"/>
                  </a:lnTo>
                  <a:lnTo>
                    <a:pt x="81046" y="156190"/>
                  </a:lnTo>
                  <a:lnTo>
                    <a:pt x="83800" y="156977"/>
                  </a:lnTo>
                  <a:lnTo>
                    <a:pt x="86947" y="156977"/>
                  </a:lnTo>
                  <a:lnTo>
                    <a:pt x="89701" y="156584"/>
                  </a:lnTo>
                  <a:lnTo>
                    <a:pt x="92849" y="155403"/>
                  </a:lnTo>
                  <a:lnTo>
                    <a:pt x="95603" y="156977"/>
                  </a:lnTo>
                  <a:lnTo>
                    <a:pt x="127077" y="158551"/>
                  </a:lnTo>
                  <a:lnTo>
                    <a:pt x="127864" y="158551"/>
                  </a:lnTo>
                  <a:lnTo>
                    <a:pt x="130618" y="158944"/>
                  </a:lnTo>
                  <a:lnTo>
                    <a:pt x="133371" y="157371"/>
                  </a:lnTo>
                  <a:lnTo>
                    <a:pt x="136519" y="155010"/>
                  </a:lnTo>
                  <a:lnTo>
                    <a:pt x="136912" y="155010"/>
                  </a:lnTo>
                  <a:lnTo>
                    <a:pt x="144388" y="152256"/>
                  </a:lnTo>
                  <a:lnTo>
                    <a:pt x="143601" y="153043"/>
                  </a:lnTo>
                  <a:lnTo>
                    <a:pt x="146355" y="154223"/>
                  </a:lnTo>
                  <a:lnTo>
                    <a:pt x="143601" y="156190"/>
                  </a:lnTo>
                  <a:lnTo>
                    <a:pt x="142027" y="158944"/>
                  </a:lnTo>
                  <a:lnTo>
                    <a:pt x="144781" y="156977"/>
                  </a:lnTo>
                  <a:lnTo>
                    <a:pt x="142027" y="159731"/>
                  </a:lnTo>
                  <a:lnTo>
                    <a:pt x="140453" y="162485"/>
                  </a:lnTo>
                  <a:lnTo>
                    <a:pt x="141634" y="165632"/>
                  </a:lnTo>
                  <a:lnTo>
                    <a:pt x="147141" y="162879"/>
                  </a:lnTo>
                  <a:lnTo>
                    <a:pt x="150289" y="162092"/>
                  </a:lnTo>
                  <a:lnTo>
                    <a:pt x="152649" y="165239"/>
                  </a:lnTo>
                  <a:lnTo>
                    <a:pt x="155797" y="163272"/>
                  </a:lnTo>
                  <a:lnTo>
                    <a:pt x="158944" y="160911"/>
                  </a:lnTo>
                  <a:lnTo>
                    <a:pt x="160911" y="157764"/>
                  </a:lnTo>
                  <a:lnTo>
                    <a:pt x="162878" y="155010"/>
                  </a:lnTo>
                  <a:lnTo>
                    <a:pt x="164846" y="151863"/>
                  </a:lnTo>
                  <a:lnTo>
                    <a:pt x="165632" y="149109"/>
                  </a:lnTo>
                  <a:lnTo>
                    <a:pt x="167206" y="145961"/>
                  </a:lnTo>
                  <a:lnTo>
                    <a:pt x="169960" y="142814"/>
                  </a:lnTo>
                  <a:lnTo>
                    <a:pt x="170747" y="142027"/>
                  </a:lnTo>
                  <a:lnTo>
                    <a:pt x="173501" y="138880"/>
                  </a:lnTo>
                  <a:lnTo>
                    <a:pt x="175862" y="136125"/>
                  </a:lnTo>
                  <a:lnTo>
                    <a:pt x="175862" y="133372"/>
                  </a:lnTo>
                  <a:lnTo>
                    <a:pt x="175468" y="130224"/>
                  </a:lnTo>
                  <a:lnTo>
                    <a:pt x="175862" y="127470"/>
                  </a:lnTo>
                  <a:lnTo>
                    <a:pt x="173108" y="128650"/>
                  </a:lnTo>
                  <a:lnTo>
                    <a:pt x="171534" y="131404"/>
                  </a:lnTo>
                  <a:lnTo>
                    <a:pt x="168780" y="134552"/>
                  </a:lnTo>
                  <a:lnTo>
                    <a:pt x="165632" y="135732"/>
                  </a:lnTo>
                  <a:lnTo>
                    <a:pt x="162878" y="137699"/>
                  </a:lnTo>
                  <a:lnTo>
                    <a:pt x="160125" y="137699"/>
                  </a:lnTo>
                  <a:lnTo>
                    <a:pt x="161305" y="134945"/>
                  </a:lnTo>
                  <a:lnTo>
                    <a:pt x="160911" y="131798"/>
                  </a:lnTo>
                  <a:lnTo>
                    <a:pt x="163665" y="129437"/>
                  </a:lnTo>
                  <a:lnTo>
                    <a:pt x="165632" y="126290"/>
                  </a:lnTo>
                  <a:lnTo>
                    <a:pt x="168386" y="123536"/>
                  </a:lnTo>
                  <a:lnTo>
                    <a:pt x="170747" y="120782"/>
                  </a:lnTo>
                  <a:lnTo>
                    <a:pt x="173501" y="117635"/>
                  </a:lnTo>
                  <a:lnTo>
                    <a:pt x="176648" y="115667"/>
                  </a:lnTo>
                  <a:lnTo>
                    <a:pt x="173501" y="115274"/>
                  </a:lnTo>
                  <a:lnTo>
                    <a:pt x="170747" y="117635"/>
                  </a:lnTo>
                  <a:lnTo>
                    <a:pt x="167600" y="117241"/>
                  </a:lnTo>
                  <a:lnTo>
                    <a:pt x="164846" y="118815"/>
                  </a:lnTo>
                  <a:lnTo>
                    <a:pt x="161698" y="121569"/>
                  </a:lnTo>
                  <a:lnTo>
                    <a:pt x="158944" y="123929"/>
                  </a:lnTo>
                  <a:lnTo>
                    <a:pt x="156584" y="126683"/>
                  </a:lnTo>
                  <a:lnTo>
                    <a:pt x="155010" y="129831"/>
                  </a:lnTo>
                  <a:lnTo>
                    <a:pt x="152256" y="131798"/>
                  </a:lnTo>
                  <a:lnTo>
                    <a:pt x="151863" y="134945"/>
                  </a:lnTo>
                  <a:lnTo>
                    <a:pt x="148715" y="135339"/>
                  </a:lnTo>
                  <a:lnTo>
                    <a:pt x="164846" y="10858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31" name="Freeform: Shape 2925">
              <a:extLst>
                <a:ext uri="{FF2B5EF4-FFF2-40B4-BE49-F238E27FC236}">
                  <a16:creationId xmlns:a16="http://schemas.microsoft.com/office/drawing/2014/main" id="{BC44A721-0AA6-4916-B1AF-92A005F3DFF8}"/>
                </a:ext>
              </a:extLst>
            </p:cNvPr>
            <p:cNvSpPr/>
            <p:nvPr/>
          </p:nvSpPr>
          <p:spPr>
            <a:xfrm>
              <a:off x="3886911" y="2537144"/>
              <a:ext cx="7869" cy="7869"/>
            </a:xfrm>
            <a:custGeom>
              <a:avLst/>
              <a:gdLst>
                <a:gd name="connsiteX0" fmla="*/ 5114 w 7868"/>
                <a:gd name="connsiteY0" fmla="*/ 3541 h 7868"/>
                <a:gd name="connsiteX1" fmla="*/ 2360 w 7868"/>
                <a:gd name="connsiteY1" fmla="*/ 6688 h 7868"/>
                <a:gd name="connsiteX2" fmla="*/ 0 w 7868"/>
                <a:gd name="connsiteY2" fmla="*/ 9442 h 7868"/>
                <a:gd name="connsiteX3" fmla="*/ 2754 w 7868"/>
                <a:gd name="connsiteY3" fmla="*/ 6688 h 7868"/>
                <a:gd name="connsiteX4" fmla="*/ 5508 w 7868"/>
                <a:gd name="connsiteY4" fmla="*/ 3541 h 7868"/>
                <a:gd name="connsiteX5" fmla="*/ 8262 w 7868"/>
                <a:gd name="connsiteY5" fmla="*/ 1574 h 7868"/>
                <a:gd name="connsiteX6" fmla="*/ 11016 w 7868"/>
                <a:gd name="connsiteY6" fmla="*/ 0 h 7868"/>
                <a:gd name="connsiteX7" fmla="*/ 8262 w 7868"/>
                <a:gd name="connsiteY7" fmla="*/ 157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7868">
                  <a:moveTo>
                    <a:pt x="5114" y="3541"/>
                  </a:moveTo>
                  <a:lnTo>
                    <a:pt x="2360" y="6688"/>
                  </a:lnTo>
                  <a:lnTo>
                    <a:pt x="0" y="9442"/>
                  </a:lnTo>
                  <a:lnTo>
                    <a:pt x="2754" y="6688"/>
                  </a:lnTo>
                  <a:lnTo>
                    <a:pt x="5508" y="3541"/>
                  </a:lnTo>
                  <a:lnTo>
                    <a:pt x="8262" y="1574"/>
                  </a:lnTo>
                  <a:lnTo>
                    <a:pt x="11016" y="0"/>
                  </a:lnTo>
                  <a:lnTo>
                    <a:pt x="8262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32" name="Freeform: Shape 2926">
              <a:extLst>
                <a:ext uri="{FF2B5EF4-FFF2-40B4-BE49-F238E27FC236}">
                  <a16:creationId xmlns:a16="http://schemas.microsoft.com/office/drawing/2014/main" id="{85CC60EE-1B1D-4781-947D-7C5FA6211C77}"/>
                </a:ext>
              </a:extLst>
            </p:cNvPr>
            <p:cNvSpPr/>
            <p:nvPr/>
          </p:nvSpPr>
          <p:spPr>
            <a:xfrm>
              <a:off x="3709082" y="2672090"/>
              <a:ext cx="3934" cy="3934"/>
            </a:xfrm>
            <a:custGeom>
              <a:avLst/>
              <a:gdLst>
                <a:gd name="connsiteX0" fmla="*/ 0 w 0"/>
                <a:gd name="connsiteY0" fmla="*/ 6295 h 3934"/>
                <a:gd name="connsiteX1" fmla="*/ 1574 w 0"/>
                <a:gd name="connsiteY1" fmla="*/ 3147 h 3934"/>
                <a:gd name="connsiteX2" fmla="*/ 3147 w 0"/>
                <a:gd name="connsiteY2" fmla="*/ 393 h 3934"/>
                <a:gd name="connsiteX3" fmla="*/ 3147 w 0"/>
                <a:gd name="connsiteY3" fmla="*/ 0 h 3934"/>
                <a:gd name="connsiteX4" fmla="*/ 394 w 0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6295"/>
                  </a:moveTo>
                  <a:lnTo>
                    <a:pt x="1574" y="3147"/>
                  </a:lnTo>
                  <a:lnTo>
                    <a:pt x="3147" y="393"/>
                  </a:lnTo>
                  <a:lnTo>
                    <a:pt x="3147" y="0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33" name="Freeform: Shape 2927">
              <a:extLst>
                <a:ext uri="{FF2B5EF4-FFF2-40B4-BE49-F238E27FC236}">
                  <a16:creationId xmlns:a16="http://schemas.microsoft.com/office/drawing/2014/main" id="{4BF9CCD5-6897-4352-9C26-B627D0CFF5BA}"/>
                </a:ext>
              </a:extLst>
            </p:cNvPr>
            <p:cNvSpPr/>
            <p:nvPr/>
          </p:nvSpPr>
          <p:spPr>
            <a:xfrm>
              <a:off x="3476567" y="2700416"/>
              <a:ext cx="3934" cy="3934"/>
            </a:xfrm>
            <a:custGeom>
              <a:avLst/>
              <a:gdLst>
                <a:gd name="connsiteX0" fmla="*/ 2754 w 0"/>
                <a:gd name="connsiteY0" fmla="*/ 2754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754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34" name="Freeform: Shape 2928">
              <a:extLst>
                <a:ext uri="{FF2B5EF4-FFF2-40B4-BE49-F238E27FC236}">
                  <a16:creationId xmlns:a16="http://schemas.microsoft.com/office/drawing/2014/main" id="{AE83F4B7-3127-471C-B19D-4E847F458C7D}"/>
                </a:ext>
              </a:extLst>
            </p:cNvPr>
            <p:cNvSpPr/>
            <p:nvPr/>
          </p:nvSpPr>
          <p:spPr>
            <a:xfrm>
              <a:off x="3538728" y="2690581"/>
              <a:ext cx="19671" cy="3934"/>
            </a:xfrm>
            <a:custGeom>
              <a:avLst/>
              <a:gdLst>
                <a:gd name="connsiteX0" fmla="*/ 14557 w 19671"/>
                <a:gd name="connsiteY0" fmla="*/ 0 h 0"/>
                <a:gd name="connsiteX1" fmla="*/ 11409 w 19671"/>
                <a:gd name="connsiteY1" fmla="*/ 393 h 0"/>
                <a:gd name="connsiteX2" fmla="*/ 8655 w 19671"/>
                <a:gd name="connsiteY2" fmla="*/ 1180 h 0"/>
                <a:gd name="connsiteX3" fmla="*/ 5901 w 19671"/>
                <a:gd name="connsiteY3" fmla="*/ 1574 h 0"/>
                <a:gd name="connsiteX4" fmla="*/ 3147 w 19671"/>
                <a:gd name="connsiteY4" fmla="*/ 1967 h 0"/>
                <a:gd name="connsiteX5" fmla="*/ 0 w 19671"/>
                <a:gd name="connsiteY5" fmla="*/ 2754 h 0"/>
                <a:gd name="connsiteX6" fmla="*/ 3147 w 19671"/>
                <a:gd name="connsiteY6" fmla="*/ 2361 h 0"/>
                <a:gd name="connsiteX7" fmla="*/ 5901 w 19671"/>
                <a:gd name="connsiteY7" fmla="*/ 1967 h 0"/>
                <a:gd name="connsiteX8" fmla="*/ 8655 w 19671"/>
                <a:gd name="connsiteY8" fmla="*/ 1574 h 0"/>
                <a:gd name="connsiteX9" fmla="*/ 11409 w 19671"/>
                <a:gd name="connsiteY9" fmla="*/ 787 h 0"/>
                <a:gd name="connsiteX10" fmla="*/ 14557 w 19671"/>
                <a:gd name="connsiteY10" fmla="*/ 393 h 0"/>
                <a:gd name="connsiteX11" fmla="*/ 20458 w 19671"/>
                <a:gd name="connsiteY11" fmla="*/ 393 h 0"/>
                <a:gd name="connsiteX12" fmla="*/ 17704 w 19671"/>
                <a:gd name="connsiteY1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671">
                  <a:moveTo>
                    <a:pt x="14557" y="0"/>
                  </a:moveTo>
                  <a:lnTo>
                    <a:pt x="11409" y="393"/>
                  </a:lnTo>
                  <a:lnTo>
                    <a:pt x="8655" y="1180"/>
                  </a:lnTo>
                  <a:lnTo>
                    <a:pt x="5901" y="1574"/>
                  </a:lnTo>
                  <a:lnTo>
                    <a:pt x="3147" y="1967"/>
                  </a:lnTo>
                  <a:lnTo>
                    <a:pt x="0" y="2754"/>
                  </a:lnTo>
                  <a:lnTo>
                    <a:pt x="3147" y="2361"/>
                  </a:lnTo>
                  <a:lnTo>
                    <a:pt x="5901" y="1967"/>
                  </a:lnTo>
                  <a:lnTo>
                    <a:pt x="8655" y="1574"/>
                  </a:lnTo>
                  <a:lnTo>
                    <a:pt x="11409" y="787"/>
                  </a:lnTo>
                  <a:lnTo>
                    <a:pt x="14557" y="393"/>
                  </a:lnTo>
                  <a:lnTo>
                    <a:pt x="20458" y="393"/>
                  </a:lnTo>
                  <a:lnTo>
                    <a:pt x="1770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35" name="Freeform: Shape 2929">
              <a:extLst>
                <a:ext uri="{FF2B5EF4-FFF2-40B4-BE49-F238E27FC236}">
                  <a16:creationId xmlns:a16="http://schemas.microsoft.com/office/drawing/2014/main" id="{AE7AB1CA-67F9-46DF-9ED2-BBFC3577826A}"/>
                </a:ext>
              </a:extLst>
            </p:cNvPr>
            <p:cNvSpPr/>
            <p:nvPr/>
          </p:nvSpPr>
          <p:spPr>
            <a:xfrm>
              <a:off x="3482468" y="2695695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3147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36" name="Freeform: Shape 2930">
              <a:extLst>
                <a:ext uri="{FF2B5EF4-FFF2-40B4-BE49-F238E27FC236}">
                  <a16:creationId xmlns:a16="http://schemas.microsoft.com/office/drawing/2014/main" id="{2CD2BD6F-C861-44F6-A1B4-84724A0349E6}"/>
                </a:ext>
              </a:extLst>
            </p:cNvPr>
            <p:cNvSpPr/>
            <p:nvPr/>
          </p:nvSpPr>
          <p:spPr>
            <a:xfrm>
              <a:off x="3495845" y="2695695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2754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2754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37" name="Freeform: Shape 2931">
              <a:extLst>
                <a:ext uri="{FF2B5EF4-FFF2-40B4-BE49-F238E27FC236}">
                  <a16:creationId xmlns:a16="http://schemas.microsoft.com/office/drawing/2014/main" id="{191BCF9A-1037-4145-875D-E62620B5D3E3}"/>
                </a:ext>
              </a:extLst>
            </p:cNvPr>
            <p:cNvSpPr/>
            <p:nvPr/>
          </p:nvSpPr>
          <p:spPr>
            <a:xfrm>
              <a:off x="3507647" y="2694908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2754 w 3934"/>
                <a:gd name="connsiteY1" fmla="*/ 1574 h 0"/>
                <a:gd name="connsiteX2" fmla="*/ 5508 w 3934"/>
                <a:gd name="connsiteY2" fmla="*/ 393 h 0"/>
                <a:gd name="connsiteX3" fmla="*/ 5508 w 3934"/>
                <a:gd name="connsiteY3" fmla="*/ 0 h 0"/>
                <a:gd name="connsiteX4" fmla="*/ 2754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2754" y="1574"/>
                  </a:lnTo>
                  <a:lnTo>
                    <a:pt x="5508" y="393"/>
                  </a:lnTo>
                  <a:lnTo>
                    <a:pt x="5508" y="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38" name="Freeform: Shape 2932">
              <a:extLst>
                <a:ext uri="{FF2B5EF4-FFF2-40B4-BE49-F238E27FC236}">
                  <a16:creationId xmlns:a16="http://schemas.microsoft.com/office/drawing/2014/main" id="{85F54EEA-0BAD-45FD-A2DA-8B061004EDD5}"/>
                </a:ext>
              </a:extLst>
            </p:cNvPr>
            <p:cNvSpPr/>
            <p:nvPr/>
          </p:nvSpPr>
          <p:spPr>
            <a:xfrm>
              <a:off x="2761711" y="2642976"/>
              <a:ext cx="3934" cy="3934"/>
            </a:xfrm>
            <a:custGeom>
              <a:avLst/>
              <a:gdLst>
                <a:gd name="connsiteX0" fmla="*/ 0 w 0"/>
                <a:gd name="connsiteY0" fmla="*/ 3147 h 3934"/>
                <a:gd name="connsiteX1" fmla="*/ 2754 w 0"/>
                <a:gd name="connsiteY1" fmla="*/ 3934 h 3934"/>
                <a:gd name="connsiteX2" fmla="*/ 3147 w 0"/>
                <a:gd name="connsiteY2" fmla="*/ 2754 h 3934"/>
                <a:gd name="connsiteX3" fmla="*/ 393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3147"/>
                  </a:moveTo>
                  <a:lnTo>
                    <a:pt x="2754" y="3934"/>
                  </a:lnTo>
                  <a:lnTo>
                    <a:pt x="3147" y="2754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39" name="Freeform: Shape 2933">
              <a:extLst>
                <a:ext uri="{FF2B5EF4-FFF2-40B4-BE49-F238E27FC236}">
                  <a16:creationId xmlns:a16="http://schemas.microsoft.com/office/drawing/2014/main" id="{A0796655-3963-4005-8A4D-16327A1C1E8C}"/>
                </a:ext>
              </a:extLst>
            </p:cNvPr>
            <p:cNvSpPr/>
            <p:nvPr/>
          </p:nvSpPr>
          <p:spPr>
            <a:xfrm>
              <a:off x="2675944" y="2585142"/>
              <a:ext cx="3934" cy="3934"/>
            </a:xfrm>
            <a:custGeom>
              <a:avLst/>
              <a:gdLst>
                <a:gd name="connsiteX0" fmla="*/ 2754 w 3934"/>
                <a:gd name="connsiteY0" fmla="*/ 1180 h 3934"/>
                <a:gd name="connsiteX1" fmla="*/ 0 w 3934"/>
                <a:gd name="connsiteY1" fmla="*/ 0 h 3934"/>
                <a:gd name="connsiteX2" fmla="*/ 2360 w 3934"/>
                <a:gd name="connsiteY2" fmla="*/ 2754 h 3934"/>
                <a:gd name="connsiteX3" fmla="*/ 3147 w 3934"/>
                <a:gd name="connsiteY3" fmla="*/ 5901 h 3934"/>
                <a:gd name="connsiteX4" fmla="*/ 6295 w 3934"/>
                <a:gd name="connsiteY4" fmla="*/ 5115 h 3934"/>
                <a:gd name="connsiteX5" fmla="*/ 5508 w 3934"/>
                <a:gd name="connsiteY5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2754" y="1180"/>
                  </a:moveTo>
                  <a:lnTo>
                    <a:pt x="0" y="0"/>
                  </a:lnTo>
                  <a:lnTo>
                    <a:pt x="2360" y="2754"/>
                  </a:lnTo>
                  <a:lnTo>
                    <a:pt x="3147" y="5901"/>
                  </a:lnTo>
                  <a:lnTo>
                    <a:pt x="6295" y="5115"/>
                  </a:lnTo>
                  <a:lnTo>
                    <a:pt x="5508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40" name="Freeform: Shape 2934">
              <a:extLst>
                <a:ext uri="{FF2B5EF4-FFF2-40B4-BE49-F238E27FC236}">
                  <a16:creationId xmlns:a16="http://schemas.microsoft.com/office/drawing/2014/main" id="{60E364CD-AF79-4374-9E3F-C5A89090E364}"/>
                </a:ext>
              </a:extLst>
            </p:cNvPr>
            <p:cNvSpPr/>
            <p:nvPr/>
          </p:nvSpPr>
          <p:spPr>
            <a:xfrm>
              <a:off x="1437044" y="3035616"/>
              <a:ext cx="35408" cy="43277"/>
            </a:xfrm>
            <a:custGeom>
              <a:avLst/>
              <a:gdLst>
                <a:gd name="connsiteX0" fmla="*/ 32654 w 35408"/>
                <a:gd name="connsiteY0" fmla="*/ 20065 h 43276"/>
                <a:gd name="connsiteX1" fmla="*/ 30294 w 35408"/>
                <a:gd name="connsiteY1" fmla="*/ 17311 h 43276"/>
                <a:gd name="connsiteX2" fmla="*/ 31081 w 35408"/>
                <a:gd name="connsiteY2" fmla="*/ 14163 h 43276"/>
                <a:gd name="connsiteX3" fmla="*/ 29900 w 35408"/>
                <a:gd name="connsiteY3" fmla="*/ 11409 h 43276"/>
                <a:gd name="connsiteX4" fmla="*/ 27146 w 35408"/>
                <a:gd name="connsiteY4" fmla="*/ 9049 h 43276"/>
                <a:gd name="connsiteX5" fmla="*/ 23999 w 35408"/>
                <a:gd name="connsiteY5" fmla="*/ 6688 h 43276"/>
                <a:gd name="connsiteX6" fmla="*/ 21245 w 35408"/>
                <a:gd name="connsiteY6" fmla="*/ 5901 h 43276"/>
                <a:gd name="connsiteX7" fmla="*/ 18491 w 35408"/>
                <a:gd name="connsiteY7" fmla="*/ 4721 h 43276"/>
                <a:gd name="connsiteX8" fmla="*/ 15344 w 35408"/>
                <a:gd name="connsiteY8" fmla="*/ 2754 h 43276"/>
                <a:gd name="connsiteX9" fmla="*/ 12590 w 35408"/>
                <a:gd name="connsiteY9" fmla="*/ 0 h 43276"/>
                <a:gd name="connsiteX10" fmla="*/ 9836 w 35408"/>
                <a:gd name="connsiteY10" fmla="*/ 3147 h 43276"/>
                <a:gd name="connsiteX11" fmla="*/ 9836 w 35408"/>
                <a:gd name="connsiteY11" fmla="*/ 5901 h 43276"/>
                <a:gd name="connsiteX12" fmla="*/ 10623 w 35408"/>
                <a:gd name="connsiteY12" fmla="*/ 9049 h 43276"/>
                <a:gd name="connsiteX13" fmla="*/ 4721 w 35408"/>
                <a:gd name="connsiteY13" fmla="*/ 14163 h 43276"/>
                <a:gd name="connsiteX14" fmla="*/ 1967 w 35408"/>
                <a:gd name="connsiteY14" fmla="*/ 16524 h 43276"/>
                <a:gd name="connsiteX15" fmla="*/ 1180 w 35408"/>
                <a:gd name="connsiteY15" fmla="*/ 19671 h 43276"/>
                <a:gd name="connsiteX16" fmla="*/ 2361 w 35408"/>
                <a:gd name="connsiteY16" fmla="*/ 22425 h 43276"/>
                <a:gd name="connsiteX17" fmla="*/ 2361 w 35408"/>
                <a:gd name="connsiteY17" fmla="*/ 25179 h 43276"/>
                <a:gd name="connsiteX18" fmla="*/ 2754 w 35408"/>
                <a:gd name="connsiteY18" fmla="*/ 28327 h 43276"/>
                <a:gd name="connsiteX19" fmla="*/ 2754 w 35408"/>
                <a:gd name="connsiteY19" fmla="*/ 31081 h 43276"/>
                <a:gd name="connsiteX20" fmla="*/ 1967 w 35408"/>
                <a:gd name="connsiteY20" fmla="*/ 34228 h 43276"/>
                <a:gd name="connsiteX21" fmla="*/ 787 w 35408"/>
                <a:gd name="connsiteY21" fmla="*/ 37376 h 43276"/>
                <a:gd name="connsiteX22" fmla="*/ 0 w 35408"/>
                <a:gd name="connsiteY22" fmla="*/ 40130 h 43276"/>
                <a:gd name="connsiteX23" fmla="*/ 2754 w 35408"/>
                <a:gd name="connsiteY23" fmla="*/ 42884 h 43276"/>
                <a:gd name="connsiteX24" fmla="*/ 4721 w 35408"/>
                <a:gd name="connsiteY24" fmla="*/ 44064 h 43276"/>
                <a:gd name="connsiteX25" fmla="*/ 7475 w 35408"/>
                <a:gd name="connsiteY25" fmla="*/ 44457 h 43276"/>
                <a:gd name="connsiteX26" fmla="*/ 9836 w 35408"/>
                <a:gd name="connsiteY26" fmla="*/ 41310 h 43276"/>
                <a:gd name="connsiteX27" fmla="*/ 12983 w 35408"/>
                <a:gd name="connsiteY27" fmla="*/ 38162 h 43276"/>
                <a:gd name="connsiteX28" fmla="*/ 16130 w 35408"/>
                <a:gd name="connsiteY28" fmla="*/ 36589 h 43276"/>
                <a:gd name="connsiteX29" fmla="*/ 18884 w 35408"/>
                <a:gd name="connsiteY29" fmla="*/ 34622 h 43276"/>
                <a:gd name="connsiteX30" fmla="*/ 21638 w 35408"/>
                <a:gd name="connsiteY30" fmla="*/ 34228 h 43276"/>
                <a:gd name="connsiteX31" fmla="*/ 24786 w 35408"/>
                <a:gd name="connsiteY31" fmla="*/ 33441 h 43276"/>
                <a:gd name="connsiteX32" fmla="*/ 27540 w 35408"/>
                <a:gd name="connsiteY32" fmla="*/ 32261 h 43276"/>
                <a:gd name="connsiteX33" fmla="*/ 30294 w 35408"/>
                <a:gd name="connsiteY33" fmla="*/ 30687 h 43276"/>
                <a:gd name="connsiteX34" fmla="*/ 33048 w 35408"/>
                <a:gd name="connsiteY34" fmla="*/ 28720 h 43276"/>
                <a:gd name="connsiteX35" fmla="*/ 36195 w 35408"/>
                <a:gd name="connsiteY35" fmla="*/ 25966 h 43276"/>
                <a:gd name="connsiteX36" fmla="*/ 34228 w 35408"/>
                <a:gd name="connsiteY36" fmla="*/ 23212 h 43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35408" h="43276">
                  <a:moveTo>
                    <a:pt x="32654" y="20065"/>
                  </a:moveTo>
                  <a:lnTo>
                    <a:pt x="30294" y="17311"/>
                  </a:lnTo>
                  <a:lnTo>
                    <a:pt x="31081" y="14163"/>
                  </a:lnTo>
                  <a:lnTo>
                    <a:pt x="29900" y="11409"/>
                  </a:lnTo>
                  <a:lnTo>
                    <a:pt x="27146" y="9049"/>
                  </a:lnTo>
                  <a:lnTo>
                    <a:pt x="23999" y="6688"/>
                  </a:lnTo>
                  <a:lnTo>
                    <a:pt x="21245" y="5901"/>
                  </a:lnTo>
                  <a:lnTo>
                    <a:pt x="18491" y="4721"/>
                  </a:lnTo>
                  <a:lnTo>
                    <a:pt x="15344" y="2754"/>
                  </a:lnTo>
                  <a:lnTo>
                    <a:pt x="12590" y="0"/>
                  </a:lnTo>
                  <a:lnTo>
                    <a:pt x="9836" y="3147"/>
                  </a:lnTo>
                  <a:lnTo>
                    <a:pt x="9836" y="5901"/>
                  </a:lnTo>
                  <a:lnTo>
                    <a:pt x="10623" y="9049"/>
                  </a:lnTo>
                  <a:lnTo>
                    <a:pt x="4721" y="14163"/>
                  </a:lnTo>
                  <a:lnTo>
                    <a:pt x="1967" y="16524"/>
                  </a:lnTo>
                  <a:lnTo>
                    <a:pt x="1180" y="19671"/>
                  </a:lnTo>
                  <a:lnTo>
                    <a:pt x="2361" y="22425"/>
                  </a:lnTo>
                  <a:lnTo>
                    <a:pt x="2361" y="25179"/>
                  </a:lnTo>
                  <a:lnTo>
                    <a:pt x="2754" y="28327"/>
                  </a:lnTo>
                  <a:lnTo>
                    <a:pt x="2754" y="31081"/>
                  </a:lnTo>
                  <a:lnTo>
                    <a:pt x="1967" y="34228"/>
                  </a:lnTo>
                  <a:lnTo>
                    <a:pt x="787" y="37376"/>
                  </a:lnTo>
                  <a:lnTo>
                    <a:pt x="0" y="40130"/>
                  </a:lnTo>
                  <a:lnTo>
                    <a:pt x="2754" y="42884"/>
                  </a:lnTo>
                  <a:lnTo>
                    <a:pt x="4721" y="44064"/>
                  </a:lnTo>
                  <a:lnTo>
                    <a:pt x="7475" y="44457"/>
                  </a:lnTo>
                  <a:lnTo>
                    <a:pt x="9836" y="41310"/>
                  </a:lnTo>
                  <a:lnTo>
                    <a:pt x="12983" y="38162"/>
                  </a:lnTo>
                  <a:lnTo>
                    <a:pt x="16130" y="36589"/>
                  </a:lnTo>
                  <a:lnTo>
                    <a:pt x="18884" y="34622"/>
                  </a:lnTo>
                  <a:lnTo>
                    <a:pt x="21638" y="34228"/>
                  </a:lnTo>
                  <a:lnTo>
                    <a:pt x="24786" y="33441"/>
                  </a:lnTo>
                  <a:lnTo>
                    <a:pt x="27540" y="32261"/>
                  </a:lnTo>
                  <a:lnTo>
                    <a:pt x="30294" y="30687"/>
                  </a:lnTo>
                  <a:lnTo>
                    <a:pt x="33048" y="28720"/>
                  </a:lnTo>
                  <a:lnTo>
                    <a:pt x="36195" y="25966"/>
                  </a:lnTo>
                  <a:lnTo>
                    <a:pt x="34228" y="2321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41" name="Freeform: Shape 2935">
              <a:extLst>
                <a:ext uri="{FF2B5EF4-FFF2-40B4-BE49-F238E27FC236}">
                  <a16:creationId xmlns:a16="http://schemas.microsoft.com/office/drawing/2014/main" id="{AB9B9A9A-D40B-4776-AEAF-51694A28076F}"/>
                </a:ext>
              </a:extLst>
            </p:cNvPr>
            <p:cNvSpPr/>
            <p:nvPr/>
          </p:nvSpPr>
          <p:spPr>
            <a:xfrm>
              <a:off x="1424848" y="3024600"/>
              <a:ext cx="3934" cy="3934"/>
            </a:xfrm>
            <a:custGeom>
              <a:avLst/>
              <a:gdLst>
                <a:gd name="connsiteX0" fmla="*/ 393 w 0"/>
                <a:gd name="connsiteY0" fmla="*/ 2754 h 0"/>
                <a:gd name="connsiteX1" fmla="*/ 2754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2754"/>
                  </a:moveTo>
                  <a:lnTo>
                    <a:pt x="275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42" name="Freeform: Shape 2936">
              <a:extLst>
                <a:ext uri="{FF2B5EF4-FFF2-40B4-BE49-F238E27FC236}">
                  <a16:creationId xmlns:a16="http://schemas.microsoft.com/office/drawing/2014/main" id="{CF2976D0-0088-4DDB-80A0-9598985C3E8E}"/>
                </a:ext>
              </a:extLst>
            </p:cNvPr>
            <p:cNvSpPr/>
            <p:nvPr/>
          </p:nvSpPr>
          <p:spPr>
            <a:xfrm>
              <a:off x="1427602" y="3009256"/>
              <a:ext cx="15737" cy="15737"/>
            </a:xfrm>
            <a:custGeom>
              <a:avLst/>
              <a:gdLst>
                <a:gd name="connsiteX0" fmla="*/ 13770 w 15737"/>
                <a:gd name="connsiteY0" fmla="*/ 14163 h 15737"/>
                <a:gd name="connsiteX1" fmla="*/ 16524 w 15737"/>
                <a:gd name="connsiteY1" fmla="*/ 12983 h 15737"/>
                <a:gd name="connsiteX2" fmla="*/ 19278 w 15737"/>
                <a:gd name="connsiteY2" fmla="*/ 9836 h 15737"/>
                <a:gd name="connsiteX3" fmla="*/ 17311 w 15737"/>
                <a:gd name="connsiteY3" fmla="*/ 7082 h 15737"/>
                <a:gd name="connsiteX4" fmla="*/ 14557 w 15737"/>
                <a:gd name="connsiteY4" fmla="*/ 5114 h 15737"/>
                <a:gd name="connsiteX5" fmla="*/ 11803 w 15737"/>
                <a:gd name="connsiteY5" fmla="*/ 3147 h 15737"/>
                <a:gd name="connsiteX6" fmla="*/ 9049 w 15737"/>
                <a:gd name="connsiteY6" fmla="*/ 4328 h 15737"/>
                <a:gd name="connsiteX7" fmla="*/ 5901 w 15737"/>
                <a:gd name="connsiteY7" fmla="*/ 2754 h 15737"/>
                <a:gd name="connsiteX8" fmla="*/ 3541 w 15737"/>
                <a:gd name="connsiteY8" fmla="*/ 0 h 15737"/>
                <a:gd name="connsiteX9" fmla="*/ 787 w 15737"/>
                <a:gd name="connsiteY9" fmla="*/ 2361 h 15737"/>
                <a:gd name="connsiteX10" fmla="*/ 0 w 15737"/>
                <a:gd name="connsiteY10" fmla="*/ 5508 h 15737"/>
                <a:gd name="connsiteX11" fmla="*/ 2754 w 15737"/>
                <a:gd name="connsiteY11" fmla="*/ 8262 h 15737"/>
                <a:gd name="connsiteX12" fmla="*/ 5508 w 15737"/>
                <a:gd name="connsiteY12" fmla="*/ 9836 h 15737"/>
                <a:gd name="connsiteX13" fmla="*/ 5115 w 15737"/>
                <a:gd name="connsiteY13" fmla="*/ 12983 h 15737"/>
                <a:gd name="connsiteX14" fmla="*/ 6295 w 15737"/>
                <a:gd name="connsiteY14" fmla="*/ 15737 h 15737"/>
                <a:gd name="connsiteX15" fmla="*/ 7869 w 15737"/>
                <a:gd name="connsiteY15" fmla="*/ 14950 h 15737"/>
                <a:gd name="connsiteX16" fmla="*/ 10623 w 15737"/>
                <a:gd name="connsiteY16" fmla="*/ 1455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737" h="15737">
                  <a:moveTo>
                    <a:pt x="13770" y="14163"/>
                  </a:moveTo>
                  <a:lnTo>
                    <a:pt x="16524" y="12983"/>
                  </a:lnTo>
                  <a:lnTo>
                    <a:pt x="19278" y="9836"/>
                  </a:lnTo>
                  <a:lnTo>
                    <a:pt x="17311" y="7082"/>
                  </a:lnTo>
                  <a:lnTo>
                    <a:pt x="14557" y="5114"/>
                  </a:lnTo>
                  <a:lnTo>
                    <a:pt x="11803" y="3147"/>
                  </a:lnTo>
                  <a:lnTo>
                    <a:pt x="9049" y="4328"/>
                  </a:lnTo>
                  <a:lnTo>
                    <a:pt x="5901" y="2754"/>
                  </a:lnTo>
                  <a:lnTo>
                    <a:pt x="3541" y="0"/>
                  </a:lnTo>
                  <a:lnTo>
                    <a:pt x="787" y="2361"/>
                  </a:lnTo>
                  <a:lnTo>
                    <a:pt x="0" y="5508"/>
                  </a:lnTo>
                  <a:lnTo>
                    <a:pt x="2754" y="8262"/>
                  </a:lnTo>
                  <a:lnTo>
                    <a:pt x="5508" y="9836"/>
                  </a:lnTo>
                  <a:lnTo>
                    <a:pt x="5115" y="12983"/>
                  </a:lnTo>
                  <a:lnTo>
                    <a:pt x="6295" y="15737"/>
                  </a:lnTo>
                  <a:lnTo>
                    <a:pt x="7869" y="14950"/>
                  </a:lnTo>
                  <a:lnTo>
                    <a:pt x="10623" y="1455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43" name="Freeform: Shape 2937">
              <a:extLst>
                <a:ext uri="{FF2B5EF4-FFF2-40B4-BE49-F238E27FC236}">
                  <a16:creationId xmlns:a16="http://schemas.microsoft.com/office/drawing/2014/main" id="{A6171C7D-BA03-4562-A18E-13FC08DCC77E}"/>
                </a:ext>
              </a:extLst>
            </p:cNvPr>
            <p:cNvSpPr/>
            <p:nvPr/>
          </p:nvSpPr>
          <p:spPr>
            <a:xfrm>
              <a:off x="1416586" y="3013190"/>
              <a:ext cx="3934" cy="3934"/>
            </a:xfrm>
            <a:custGeom>
              <a:avLst/>
              <a:gdLst>
                <a:gd name="connsiteX0" fmla="*/ 0 w 3934"/>
                <a:gd name="connsiteY0" fmla="*/ 787 h 3934"/>
                <a:gd name="connsiteX1" fmla="*/ 1574 w 3934"/>
                <a:gd name="connsiteY1" fmla="*/ 3541 h 3934"/>
                <a:gd name="connsiteX2" fmla="*/ 3147 w 3934"/>
                <a:gd name="connsiteY2" fmla="*/ 6295 h 3934"/>
                <a:gd name="connsiteX3" fmla="*/ 6295 w 3934"/>
                <a:gd name="connsiteY3" fmla="*/ 4721 h 3934"/>
                <a:gd name="connsiteX4" fmla="*/ 6295 w 3934"/>
                <a:gd name="connsiteY4" fmla="*/ 1967 h 3934"/>
                <a:gd name="connsiteX5" fmla="*/ 3147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787"/>
                  </a:moveTo>
                  <a:lnTo>
                    <a:pt x="1574" y="3541"/>
                  </a:lnTo>
                  <a:lnTo>
                    <a:pt x="3147" y="6295"/>
                  </a:lnTo>
                  <a:lnTo>
                    <a:pt x="6295" y="4721"/>
                  </a:lnTo>
                  <a:lnTo>
                    <a:pt x="6295" y="196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44" name="Freeform: Shape 2938">
              <a:extLst>
                <a:ext uri="{FF2B5EF4-FFF2-40B4-BE49-F238E27FC236}">
                  <a16:creationId xmlns:a16="http://schemas.microsoft.com/office/drawing/2014/main" id="{A09ECC09-0CB0-46CC-9DA8-A657F6091290}"/>
                </a:ext>
              </a:extLst>
            </p:cNvPr>
            <p:cNvSpPr/>
            <p:nvPr/>
          </p:nvSpPr>
          <p:spPr>
            <a:xfrm>
              <a:off x="1411865" y="3004141"/>
              <a:ext cx="15737" cy="3934"/>
            </a:xfrm>
            <a:custGeom>
              <a:avLst/>
              <a:gdLst>
                <a:gd name="connsiteX0" fmla="*/ 15737 w 15737"/>
                <a:gd name="connsiteY0" fmla="*/ 787 h 3934"/>
                <a:gd name="connsiteX1" fmla="*/ 12983 w 15737"/>
                <a:gd name="connsiteY1" fmla="*/ 787 h 3934"/>
                <a:gd name="connsiteX2" fmla="*/ 9836 w 15737"/>
                <a:gd name="connsiteY2" fmla="*/ 0 h 3934"/>
                <a:gd name="connsiteX3" fmla="*/ 7082 w 15737"/>
                <a:gd name="connsiteY3" fmla="*/ 0 h 3934"/>
                <a:gd name="connsiteX4" fmla="*/ 4328 w 15737"/>
                <a:gd name="connsiteY4" fmla="*/ 0 h 3934"/>
                <a:gd name="connsiteX5" fmla="*/ 1574 w 15737"/>
                <a:gd name="connsiteY5" fmla="*/ 787 h 3934"/>
                <a:gd name="connsiteX6" fmla="*/ 0 w 15737"/>
                <a:gd name="connsiteY6" fmla="*/ 3541 h 3934"/>
                <a:gd name="connsiteX7" fmla="*/ 3147 w 15737"/>
                <a:gd name="connsiteY7" fmla="*/ 3147 h 3934"/>
                <a:gd name="connsiteX8" fmla="*/ 5901 w 15737"/>
                <a:gd name="connsiteY8" fmla="*/ 2754 h 3934"/>
                <a:gd name="connsiteX9" fmla="*/ 8655 w 15737"/>
                <a:gd name="connsiteY9" fmla="*/ 3934 h 3934"/>
                <a:gd name="connsiteX10" fmla="*/ 11803 w 15737"/>
                <a:gd name="connsiteY10" fmla="*/ 5115 h 3934"/>
                <a:gd name="connsiteX11" fmla="*/ 12590 w 15737"/>
                <a:gd name="connsiteY11" fmla="*/ 5115 h 3934"/>
                <a:gd name="connsiteX12" fmla="*/ 15344 w 15737"/>
                <a:gd name="connsiteY12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3934">
                  <a:moveTo>
                    <a:pt x="15737" y="787"/>
                  </a:moveTo>
                  <a:lnTo>
                    <a:pt x="12983" y="787"/>
                  </a:lnTo>
                  <a:lnTo>
                    <a:pt x="9836" y="0"/>
                  </a:lnTo>
                  <a:lnTo>
                    <a:pt x="7082" y="0"/>
                  </a:lnTo>
                  <a:lnTo>
                    <a:pt x="4328" y="0"/>
                  </a:lnTo>
                  <a:lnTo>
                    <a:pt x="1574" y="787"/>
                  </a:lnTo>
                  <a:lnTo>
                    <a:pt x="0" y="3541"/>
                  </a:lnTo>
                  <a:lnTo>
                    <a:pt x="3147" y="3147"/>
                  </a:lnTo>
                  <a:lnTo>
                    <a:pt x="5901" y="2754"/>
                  </a:lnTo>
                  <a:lnTo>
                    <a:pt x="8655" y="3934"/>
                  </a:lnTo>
                  <a:lnTo>
                    <a:pt x="11803" y="5115"/>
                  </a:lnTo>
                  <a:lnTo>
                    <a:pt x="12590" y="5115"/>
                  </a:lnTo>
                  <a:lnTo>
                    <a:pt x="15344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45" name="Freeform: Shape 2939">
              <a:extLst>
                <a:ext uri="{FF2B5EF4-FFF2-40B4-BE49-F238E27FC236}">
                  <a16:creationId xmlns:a16="http://schemas.microsoft.com/office/drawing/2014/main" id="{586AD438-65EF-4616-8F66-B87F222ACCA3}"/>
                </a:ext>
              </a:extLst>
            </p:cNvPr>
            <p:cNvSpPr/>
            <p:nvPr/>
          </p:nvSpPr>
          <p:spPr>
            <a:xfrm>
              <a:off x="1387472" y="2987224"/>
              <a:ext cx="11803" cy="11803"/>
            </a:xfrm>
            <a:custGeom>
              <a:avLst/>
              <a:gdLst>
                <a:gd name="connsiteX0" fmla="*/ 11803 w 11802"/>
                <a:gd name="connsiteY0" fmla="*/ 5901 h 11802"/>
                <a:gd name="connsiteX1" fmla="*/ 11016 w 11802"/>
                <a:gd name="connsiteY1" fmla="*/ 2754 h 11802"/>
                <a:gd name="connsiteX2" fmla="*/ 8655 w 11802"/>
                <a:gd name="connsiteY2" fmla="*/ 0 h 11802"/>
                <a:gd name="connsiteX3" fmla="*/ 5901 w 11802"/>
                <a:gd name="connsiteY3" fmla="*/ 1967 h 11802"/>
                <a:gd name="connsiteX4" fmla="*/ 2754 w 11802"/>
                <a:gd name="connsiteY4" fmla="*/ 3541 h 11802"/>
                <a:gd name="connsiteX5" fmla="*/ 0 w 11802"/>
                <a:gd name="connsiteY5" fmla="*/ 4721 h 11802"/>
                <a:gd name="connsiteX6" fmla="*/ 0 w 11802"/>
                <a:gd name="connsiteY6" fmla="*/ 7475 h 11802"/>
                <a:gd name="connsiteX7" fmla="*/ 1574 w 11802"/>
                <a:gd name="connsiteY7" fmla="*/ 10229 h 11802"/>
                <a:gd name="connsiteX8" fmla="*/ 4328 w 11802"/>
                <a:gd name="connsiteY8" fmla="*/ 12590 h 11802"/>
                <a:gd name="connsiteX9" fmla="*/ 7082 w 11802"/>
                <a:gd name="connsiteY9" fmla="*/ 12590 h 11802"/>
                <a:gd name="connsiteX10" fmla="*/ 10229 w 11802"/>
                <a:gd name="connsiteY10" fmla="*/ 14950 h 11802"/>
                <a:gd name="connsiteX11" fmla="*/ 11016 w 11802"/>
                <a:gd name="connsiteY11" fmla="*/ 14557 h 11802"/>
                <a:gd name="connsiteX12" fmla="*/ 13770 w 11802"/>
                <a:gd name="connsiteY12" fmla="*/ 14557 h 11802"/>
                <a:gd name="connsiteX13" fmla="*/ 14557 w 11802"/>
                <a:gd name="connsiteY13" fmla="*/ 11803 h 11802"/>
                <a:gd name="connsiteX14" fmla="*/ 11803 w 11802"/>
                <a:gd name="connsiteY14" fmla="*/ 865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802" h="11802">
                  <a:moveTo>
                    <a:pt x="11803" y="5901"/>
                  </a:moveTo>
                  <a:lnTo>
                    <a:pt x="11016" y="2754"/>
                  </a:lnTo>
                  <a:lnTo>
                    <a:pt x="8655" y="0"/>
                  </a:lnTo>
                  <a:lnTo>
                    <a:pt x="5901" y="1967"/>
                  </a:lnTo>
                  <a:lnTo>
                    <a:pt x="2754" y="3541"/>
                  </a:lnTo>
                  <a:lnTo>
                    <a:pt x="0" y="4721"/>
                  </a:lnTo>
                  <a:lnTo>
                    <a:pt x="0" y="7475"/>
                  </a:lnTo>
                  <a:lnTo>
                    <a:pt x="1574" y="10229"/>
                  </a:lnTo>
                  <a:lnTo>
                    <a:pt x="4328" y="12590"/>
                  </a:lnTo>
                  <a:lnTo>
                    <a:pt x="7082" y="12590"/>
                  </a:lnTo>
                  <a:lnTo>
                    <a:pt x="10229" y="14950"/>
                  </a:lnTo>
                  <a:lnTo>
                    <a:pt x="11016" y="14557"/>
                  </a:lnTo>
                  <a:lnTo>
                    <a:pt x="13770" y="14557"/>
                  </a:lnTo>
                  <a:lnTo>
                    <a:pt x="14557" y="11803"/>
                  </a:lnTo>
                  <a:lnTo>
                    <a:pt x="11803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46" name="Freeform: Shape 2940">
              <a:extLst>
                <a:ext uri="{FF2B5EF4-FFF2-40B4-BE49-F238E27FC236}">
                  <a16:creationId xmlns:a16="http://schemas.microsoft.com/office/drawing/2014/main" id="{E0FC87C3-5CFD-492E-90C2-5421CCEA154A}"/>
                </a:ext>
              </a:extLst>
            </p:cNvPr>
            <p:cNvSpPr/>
            <p:nvPr/>
          </p:nvSpPr>
          <p:spPr>
            <a:xfrm>
              <a:off x="1346556" y="2969127"/>
              <a:ext cx="11803" cy="11803"/>
            </a:xfrm>
            <a:custGeom>
              <a:avLst/>
              <a:gdLst>
                <a:gd name="connsiteX0" fmla="*/ 8262 w 11802"/>
                <a:gd name="connsiteY0" fmla="*/ 0 h 11802"/>
                <a:gd name="connsiteX1" fmla="*/ 5508 w 11802"/>
                <a:gd name="connsiteY1" fmla="*/ 1574 h 11802"/>
                <a:gd name="connsiteX2" fmla="*/ 2361 w 11802"/>
                <a:gd name="connsiteY2" fmla="*/ 3147 h 11802"/>
                <a:gd name="connsiteX3" fmla="*/ 0 w 11802"/>
                <a:gd name="connsiteY3" fmla="*/ 6295 h 11802"/>
                <a:gd name="connsiteX4" fmla="*/ 2361 w 11802"/>
                <a:gd name="connsiteY4" fmla="*/ 9049 h 11802"/>
                <a:gd name="connsiteX5" fmla="*/ 5508 w 11802"/>
                <a:gd name="connsiteY5" fmla="*/ 11016 h 11802"/>
                <a:gd name="connsiteX6" fmla="*/ 8262 w 11802"/>
                <a:gd name="connsiteY6" fmla="*/ 11803 h 11802"/>
                <a:gd name="connsiteX7" fmla="*/ 9836 w 11802"/>
                <a:gd name="connsiteY7" fmla="*/ 11016 h 11802"/>
                <a:gd name="connsiteX8" fmla="*/ 12983 w 11802"/>
                <a:gd name="connsiteY8" fmla="*/ 8655 h 11802"/>
                <a:gd name="connsiteX9" fmla="*/ 13377 w 11802"/>
                <a:gd name="connsiteY9" fmla="*/ 5508 h 11802"/>
                <a:gd name="connsiteX10" fmla="*/ 15344 w 11802"/>
                <a:gd name="connsiteY10" fmla="*/ 2754 h 11802"/>
                <a:gd name="connsiteX11" fmla="*/ 14163 w 11802"/>
                <a:gd name="connsiteY11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11802">
                  <a:moveTo>
                    <a:pt x="8262" y="0"/>
                  </a:moveTo>
                  <a:lnTo>
                    <a:pt x="5508" y="1574"/>
                  </a:lnTo>
                  <a:lnTo>
                    <a:pt x="2361" y="3147"/>
                  </a:lnTo>
                  <a:lnTo>
                    <a:pt x="0" y="6295"/>
                  </a:lnTo>
                  <a:lnTo>
                    <a:pt x="2361" y="9049"/>
                  </a:lnTo>
                  <a:lnTo>
                    <a:pt x="5508" y="11016"/>
                  </a:lnTo>
                  <a:lnTo>
                    <a:pt x="8262" y="11803"/>
                  </a:lnTo>
                  <a:lnTo>
                    <a:pt x="9836" y="11016"/>
                  </a:lnTo>
                  <a:lnTo>
                    <a:pt x="12983" y="8655"/>
                  </a:lnTo>
                  <a:lnTo>
                    <a:pt x="13377" y="5508"/>
                  </a:lnTo>
                  <a:lnTo>
                    <a:pt x="15344" y="2754"/>
                  </a:lnTo>
                  <a:lnTo>
                    <a:pt x="1416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47" name="Freeform: Shape 2941">
              <a:extLst>
                <a:ext uri="{FF2B5EF4-FFF2-40B4-BE49-F238E27FC236}">
                  <a16:creationId xmlns:a16="http://schemas.microsoft.com/office/drawing/2014/main" id="{924A4472-6423-453A-96CC-1721E2F0342C}"/>
                </a:ext>
              </a:extLst>
            </p:cNvPr>
            <p:cNvSpPr/>
            <p:nvPr/>
          </p:nvSpPr>
          <p:spPr>
            <a:xfrm>
              <a:off x="1331606" y="2976208"/>
              <a:ext cx="3934" cy="7869"/>
            </a:xfrm>
            <a:custGeom>
              <a:avLst/>
              <a:gdLst>
                <a:gd name="connsiteX0" fmla="*/ 0 w 3934"/>
                <a:gd name="connsiteY0" fmla="*/ 5114 h 7868"/>
                <a:gd name="connsiteX1" fmla="*/ 393 w 3934"/>
                <a:gd name="connsiteY1" fmla="*/ 7869 h 7868"/>
                <a:gd name="connsiteX2" fmla="*/ 2361 w 3934"/>
                <a:gd name="connsiteY2" fmla="*/ 4721 h 7868"/>
                <a:gd name="connsiteX3" fmla="*/ 5508 w 3934"/>
                <a:gd name="connsiteY3" fmla="*/ 2754 h 7868"/>
                <a:gd name="connsiteX4" fmla="*/ 6295 w 3934"/>
                <a:gd name="connsiteY4" fmla="*/ 0 h 7868"/>
                <a:gd name="connsiteX5" fmla="*/ 3147 w 3934"/>
                <a:gd name="connsiteY5" fmla="*/ 236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0" y="5114"/>
                  </a:moveTo>
                  <a:lnTo>
                    <a:pt x="393" y="7869"/>
                  </a:lnTo>
                  <a:lnTo>
                    <a:pt x="2361" y="4721"/>
                  </a:lnTo>
                  <a:lnTo>
                    <a:pt x="5508" y="2754"/>
                  </a:lnTo>
                  <a:lnTo>
                    <a:pt x="6295" y="0"/>
                  </a:lnTo>
                  <a:lnTo>
                    <a:pt x="3147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48" name="Freeform: Shape 2942">
              <a:extLst>
                <a:ext uri="{FF2B5EF4-FFF2-40B4-BE49-F238E27FC236}">
                  <a16:creationId xmlns:a16="http://schemas.microsoft.com/office/drawing/2014/main" id="{616C8327-0A67-4A08-9CD1-22DEABE214D0}"/>
                </a:ext>
              </a:extLst>
            </p:cNvPr>
            <p:cNvSpPr/>
            <p:nvPr/>
          </p:nvSpPr>
          <p:spPr>
            <a:xfrm>
              <a:off x="2886034" y="2872737"/>
              <a:ext cx="3934" cy="3934"/>
            </a:xfrm>
            <a:custGeom>
              <a:avLst/>
              <a:gdLst>
                <a:gd name="connsiteX0" fmla="*/ 2754 w 0"/>
                <a:gd name="connsiteY0" fmla="*/ 2754 h 3934"/>
                <a:gd name="connsiteX1" fmla="*/ 787 w 0"/>
                <a:gd name="connsiteY1" fmla="*/ 0 h 3934"/>
                <a:gd name="connsiteX2" fmla="*/ 0 w 0"/>
                <a:gd name="connsiteY2" fmla="*/ 2754 h 3934"/>
                <a:gd name="connsiteX3" fmla="*/ 2361 w 0"/>
                <a:gd name="connsiteY3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2754" y="2754"/>
                  </a:moveTo>
                  <a:lnTo>
                    <a:pt x="787" y="0"/>
                  </a:lnTo>
                  <a:lnTo>
                    <a:pt x="0" y="2754"/>
                  </a:lnTo>
                  <a:lnTo>
                    <a:pt x="2361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49" name="Freeform: Shape 2943">
              <a:extLst>
                <a:ext uri="{FF2B5EF4-FFF2-40B4-BE49-F238E27FC236}">
                  <a16:creationId xmlns:a16="http://schemas.microsoft.com/office/drawing/2014/main" id="{CD20A084-985F-4B73-8972-04C26337A3CF}"/>
                </a:ext>
              </a:extLst>
            </p:cNvPr>
            <p:cNvSpPr/>
            <p:nvPr/>
          </p:nvSpPr>
          <p:spPr>
            <a:xfrm>
              <a:off x="2882099" y="2871557"/>
              <a:ext cx="3934" cy="7869"/>
            </a:xfrm>
            <a:custGeom>
              <a:avLst/>
              <a:gdLst>
                <a:gd name="connsiteX0" fmla="*/ 2754 w 3934"/>
                <a:gd name="connsiteY0" fmla="*/ 3147 h 7868"/>
                <a:gd name="connsiteX1" fmla="*/ 0 w 3934"/>
                <a:gd name="connsiteY1" fmla="*/ 0 h 7868"/>
                <a:gd name="connsiteX2" fmla="*/ 2361 w 3934"/>
                <a:gd name="connsiteY2" fmla="*/ 3147 h 7868"/>
                <a:gd name="connsiteX3" fmla="*/ 3147 w 3934"/>
                <a:gd name="connsiteY3" fmla="*/ 5901 h 7868"/>
                <a:gd name="connsiteX4" fmla="*/ 4328 w 3934"/>
                <a:gd name="connsiteY4" fmla="*/ 9049 h 7868"/>
                <a:gd name="connsiteX5" fmla="*/ 4328 w 3934"/>
                <a:gd name="connsiteY5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2754" y="3147"/>
                  </a:moveTo>
                  <a:lnTo>
                    <a:pt x="0" y="0"/>
                  </a:lnTo>
                  <a:lnTo>
                    <a:pt x="2361" y="3147"/>
                  </a:lnTo>
                  <a:lnTo>
                    <a:pt x="3147" y="5901"/>
                  </a:lnTo>
                  <a:lnTo>
                    <a:pt x="4328" y="9049"/>
                  </a:lnTo>
                  <a:lnTo>
                    <a:pt x="4328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50" name="Freeform: Shape 2944">
              <a:extLst>
                <a:ext uri="{FF2B5EF4-FFF2-40B4-BE49-F238E27FC236}">
                  <a16:creationId xmlns:a16="http://schemas.microsoft.com/office/drawing/2014/main" id="{9A0FF1C6-BC76-4899-B9D8-179B8304DBDE}"/>
                </a:ext>
              </a:extLst>
            </p:cNvPr>
            <p:cNvSpPr/>
            <p:nvPr/>
          </p:nvSpPr>
          <p:spPr>
            <a:xfrm>
              <a:off x="2829774" y="2898310"/>
              <a:ext cx="3934" cy="3934"/>
            </a:xfrm>
            <a:custGeom>
              <a:avLst/>
              <a:gdLst>
                <a:gd name="connsiteX0" fmla="*/ 0 w 0"/>
                <a:gd name="connsiteY0" fmla="*/ 2754 h 3934"/>
                <a:gd name="connsiteX1" fmla="*/ 2361 w 0"/>
                <a:gd name="connsiteY1" fmla="*/ 5901 h 3934"/>
                <a:gd name="connsiteX2" fmla="*/ 2361 w 0"/>
                <a:gd name="connsiteY2" fmla="*/ 2754 h 3934"/>
                <a:gd name="connsiteX3" fmla="*/ 0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2754"/>
                  </a:moveTo>
                  <a:lnTo>
                    <a:pt x="2361" y="5901"/>
                  </a:lnTo>
                  <a:lnTo>
                    <a:pt x="2361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51" name="Freeform: Shape 2945">
              <a:extLst>
                <a:ext uri="{FF2B5EF4-FFF2-40B4-BE49-F238E27FC236}">
                  <a16:creationId xmlns:a16="http://schemas.microsoft.com/office/drawing/2014/main" id="{C04D0B5B-65D4-4EA9-93E0-3366250EF25E}"/>
                </a:ext>
              </a:extLst>
            </p:cNvPr>
            <p:cNvSpPr/>
            <p:nvPr/>
          </p:nvSpPr>
          <p:spPr>
            <a:xfrm>
              <a:off x="2864789" y="2859361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2754 w 0"/>
                <a:gd name="connsiteY1" fmla="*/ 393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2754" y="39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52" name="Freeform: Shape 2946">
              <a:extLst>
                <a:ext uri="{FF2B5EF4-FFF2-40B4-BE49-F238E27FC236}">
                  <a16:creationId xmlns:a16="http://schemas.microsoft.com/office/drawing/2014/main" id="{B5D86046-56AB-4668-8013-C4820AE9EB00}"/>
                </a:ext>
              </a:extLst>
            </p:cNvPr>
            <p:cNvSpPr/>
            <p:nvPr/>
          </p:nvSpPr>
          <p:spPr>
            <a:xfrm>
              <a:off x="2705451" y="2759430"/>
              <a:ext cx="3934" cy="11803"/>
            </a:xfrm>
            <a:custGeom>
              <a:avLst/>
              <a:gdLst>
                <a:gd name="connsiteX0" fmla="*/ 5114 w 3934"/>
                <a:gd name="connsiteY0" fmla="*/ 5901 h 11802"/>
                <a:gd name="connsiteX1" fmla="*/ 6295 w 3934"/>
                <a:gd name="connsiteY1" fmla="*/ 3147 h 11802"/>
                <a:gd name="connsiteX2" fmla="*/ 5508 w 3934"/>
                <a:gd name="connsiteY2" fmla="*/ 0 h 11802"/>
                <a:gd name="connsiteX3" fmla="*/ 4721 w 3934"/>
                <a:gd name="connsiteY3" fmla="*/ 393 h 11802"/>
                <a:gd name="connsiteX4" fmla="*/ 3541 w 3934"/>
                <a:gd name="connsiteY4" fmla="*/ 3541 h 11802"/>
                <a:gd name="connsiteX5" fmla="*/ 1967 w 3934"/>
                <a:gd name="connsiteY5" fmla="*/ 6688 h 11802"/>
                <a:gd name="connsiteX6" fmla="*/ 0 w 3934"/>
                <a:gd name="connsiteY6" fmla="*/ 9836 h 11802"/>
                <a:gd name="connsiteX7" fmla="*/ 2754 w 3934"/>
                <a:gd name="connsiteY7" fmla="*/ 11803 h 11802"/>
                <a:gd name="connsiteX8" fmla="*/ 3934 w 3934"/>
                <a:gd name="connsiteY8" fmla="*/ 904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11802">
                  <a:moveTo>
                    <a:pt x="5114" y="5901"/>
                  </a:moveTo>
                  <a:lnTo>
                    <a:pt x="6295" y="3147"/>
                  </a:lnTo>
                  <a:lnTo>
                    <a:pt x="5508" y="0"/>
                  </a:lnTo>
                  <a:lnTo>
                    <a:pt x="4721" y="393"/>
                  </a:lnTo>
                  <a:lnTo>
                    <a:pt x="3541" y="3541"/>
                  </a:lnTo>
                  <a:lnTo>
                    <a:pt x="1967" y="6688"/>
                  </a:lnTo>
                  <a:lnTo>
                    <a:pt x="0" y="9836"/>
                  </a:lnTo>
                  <a:lnTo>
                    <a:pt x="2754" y="11803"/>
                  </a:lnTo>
                  <a:lnTo>
                    <a:pt x="3934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53" name="Freeform: Shape 2947">
              <a:extLst>
                <a:ext uri="{FF2B5EF4-FFF2-40B4-BE49-F238E27FC236}">
                  <a16:creationId xmlns:a16="http://schemas.microsoft.com/office/drawing/2014/main" id="{F76896F7-B3F9-4742-B915-D48FEF72A040}"/>
                </a:ext>
              </a:extLst>
            </p:cNvPr>
            <p:cNvSpPr/>
            <p:nvPr/>
          </p:nvSpPr>
          <p:spPr>
            <a:xfrm>
              <a:off x="2769579" y="2890048"/>
              <a:ext cx="7869" cy="3934"/>
            </a:xfrm>
            <a:custGeom>
              <a:avLst/>
              <a:gdLst>
                <a:gd name="connsiteX0" fmla="*/ 3541 w 7868"/>
                <a:gd name="connsiteY0" fmla="*/ 393 h 3934"/>
                <a:gd name="connsiteX1" fmla="*/ 393 w 7868"/>
                <a:gd name="connsiteY1" fmla="*/ 0 h 3934"/>
                <a:gd name="connsiteX2" fmla="*/ 0 w 7868"/>
                <a:gd name="connsiteY2" fmla="*/ 0 h 3934"/>
                <a:gd name="connsiteX3" fmla="*/ 4721 w 7868"/>
                <a:gd name="connsiteY3" fmla="*/ 4721 h 3934"/>
                <a:gd name="connsiteX4" fmla="*/ 7869 w 7868"/>
                <a:gd name="connsiteY4" fmla="*/ 5508 h 3934"/>
                <a:gd name="connsiteX5" fmla="*/ 6295 w 7868"/>
                <a:gd name="connsiteY5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3541" y="393"/>
                  </a:moveTo>
                  <a:lnTo>
                    <a:pt x="393" y="0"/>
                  </a:lnTo>
                  <a:lnTo>
                    <a:pt x="0" y="0"/>
                  </a:lnTo>
                  <a:lnTo>
                    <a:pt x="4721" y="4721"/>
                  </a:lnTo>
                  <a:lnTo>
                    <a:pt x="7869" y="5508"/>
                  </a:lnTo>
                  <a:lnTo>
                    <a:pt x="6295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54" name="Freeform: Shape 2948">
              <a:extLst>
                <a:ext uri="{FF2B5EF4-FFF2-40B4-BE49-F238E27FC236}">
                  <a16:creationId xmlns:a16="http://schemas.microsoft.com/office/drawing/2014/main" id="{7CD7DD6D-1A5D-4D2F-83F1-C597A7FCF7AF}"/>
                </a:ext>
              </a:extLst>
            </p:cNvPr>
            <p:cNvSpPr/>
            <p:nvPr/>
          </p:nvSpPr>
          <p:spPr>
            <a:xfrm>
              <a:off x="2811676" y="2870377"/>
              <a:ext cx="3934" cy="7869"/>
            </a:xfrm>
            <a:custGeom>
              <a:avLst/>
              <a:gdLst>
                <a:gd name="connsiteX0" fmla="*/ 0 w 3934"/>
                <a:gd name="connsiteY0" fmla="*/ 3147 h 7868"/>
                <a:gd name="connsiteX1" fmla="*/ 393 w 3934"/>
                <a:gd name="connsiteY1" fmla="*/ 5901 h 7868"/>
                <a:gd name="connsiteX2" fmla="*/ 1967 w 3934"/>
                <a:gd name="connsiteY2" fmla="*/ 8655 h 7868"/>
                <a:gd name="connsiteX3" fmla="*/ 3934 w 3934"/>
                <a:gd name="connsiteY3" fmla="*/ 5901 h 7868"/>
                <a:gd name="connsiteX4" fmla="*/ 3147 w 3934"/>
                <a:gd name="connsiteY4" fmla="*/ 3147 h 7868"/>
                <a:gd name="connsiteX5" fmla="*/ 0 w 3934"/>
                <a:gd name="connsiteY5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0" y="3147"/>
                  </a:moveTo>
                  <a:lnTo>
                    <a:pt x="393" y="5901"/>
                  </a:lnTo>
                  <a:lnTo>
                    <a:pt x="1967" y="8655"/>
                  </a:lnTo>
                  <a:lnTo>
                    <a:pt x="3934" y="5901"/>
                  </a:lnTo>
                  <a:lnTo>
                    <a:pt x="3147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55" name="Freeform: Shape 2949">
              <a:extLst>
                <a:ext uri="{FF2B5EF4-FFF2-40B4-BE49-F238E27FC236}">
                  <a16:creationId xmlns:a16="http://schemas.microsoft.com/office/drawing/2014/main" id="{05ACCC0A-9227-4EC8-9484-9860360B5087}"/>
                </a:ext>
              </a:extLst>
            </p:cNvPr>
            <p:cNvSpPr/>
            <p:nvPr/>
          </p:nvSpPr>
          <p:spPr>
            <a:xfrm>
              <a:off x="2804201" y="2838116"/>
              <a:ext cx="3934" cy="3934"/>
            </a:xfrm>
            <a:custGeom>
              <a:avLst/>
              <a:gdLst>
                <a:gd name="connsiteX0" fmla="*/ 4721 w 3934"/>
                <a:gd name="connsiteY0" fmla="*/ 2754 h 3934"/>
                <a:gd name="connsiteX1" fmla="*/ 5508 w 3934"/>
                <a:gd name="connsiteY1" fmla="*/ 0 h 3934"/>
                <a:gd name="connsiteX2" fmla="*/ 4721 w 3934"/>
                <a:gd name="connsiteY2" fmla="*/ 0 h 3934"/>
                <a:gd name="connsiteX3" fmla="*/ 1574 w 3934"/>
                <a:gd name="connsiteY3" fmla="*/ 1180 h 3934"/>
                <a:gd name="connsiteX4" fmla="*/ 393 w 3934"/>
                <a:gd name="connsiteY4" fmla="*/ 4721 h 3934"/>
                <a:gd name="connsiteX5" fmla="*/ 0 w 3934"/>
                <a:gd name="connsiteY5" fmla="*/ 7475 h 3934"/>
                <a:gd name="connsiteX6" fmla="*/ 1967 w 3934"/>
                <a:gd name="connsiteY6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4721" y="2754"/>
                  </a:moveTo>
                  <a:lnTo>
                    <a:pt x="5508" y="0"/>
                  </a:lnTo>
                  <a:lnTo>
                    <a:pt x="4721" y="0"/>
                  </a:lnTo>
                  <a:lnTo>
                    <a:pt x="1574" y="1180"/>
                  </a:lnTo>
                  <a:lnTo>
                    <a:pt x="393" y="4721"/>
                  </a:lnTo>
                  <a:lnTo>
                    <a:pt x="0" y="7475"/>
                  </a:lnTo>
                  <a:lnTo>
                    <a:pt x="1967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56" name="Freeform: Shape 2950">
              <a:extLst>
                <a:ext uri="{FF2B5EF4-FFF2-40B4-BE49-F238E27FC236}">
                  <a16:creationId xmlns:a16="http://schemas.microsoft.com/office/drawing/2014/main" id="{15E777B1-A64A-4101-A10E-56CDB3AABC6D}"/>
                </a:ext>
              </a:extLst>
            </p:cNvPr>
            <p:cNvSpPr/>
            <p:nvPr/>
          </p:nvSpPr>
          <p:spPr>
            <a:xfrm>
              <a:off x="2780202" y="289594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147 w 0"/>
                <a:gd name="connsiteY1" fmla="*/ 787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147" y="787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57" name="Freeform: Shape 2951">
              <a:extLst>
                <a:ext uri="{FF2B5EF4-FFF2-40B4-BE49-F238E27FC236}">
                  <a16:creationId xmlns:a16="http://schemas.microsoft.com/office/drawing/2014/main" id="{D8E0F0B8-CF89-48F2-A47E-AB2CDF2B61D7}"/>
                </a:ext>
              </a:extLst>
            </p:cNvPr>
            <p:cNvSpPr/>
            <p:nvPr/>
          </p:nvSpPr>
          <p:spPr>
            <a:xfrm>
              <a:off x="2817184" y="2892015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0 w 0"/>
                <a:gd name="connsiteY1" fmla="*/ 0 h 0"/>
                <a:gd name="connsiteX2" fmla="*/ 78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0" y="0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58" name="Freeform: Shape 2952">
              <a:extLst>
                <a:ext uri="{FF2B5EF4-FFF2-40B4-BE49-F238E27FC236}">
                  <a16:creationId xmlns:a16="http://schemas.microsoft.com/office/drawing/2014/main" id="{33A24685-2134-41B4-A661-916D57102AD0}"/>
                </a:ext>
              </a:extLst>
            </p:cNvPr>
            <p:cNvSpPr/>
            <p:nvPr/>
          </p:nvSpPr>
          <p:spPr>
            <a:xfrm>
              <a:off x="2764071" y="2865262"/>
              <a:ext cx="3934" cy="23606"/>
            </a:xfrm>
            <a:custGeom>
              <a:avLst/>
              <a:gdLst>
                <a:gd name="connsiteX0" fmla="*/ 3541 w 3934"/>
                <a:gd name="connsiteY0" fmla="*/ 18098 h 23605"/>
                <a:gd name="connsiteX1" fmla="*/ 1967 w 3934"/>
                <a:gd name="connsiteY1" fmla="*/ 14950 h 23605"/>
                <a:gd name="connsiteX2" fmla="*/ 3541 w 3934"/>
                <a:gd name="connsiteY2" fmla="*/ 12196 h 23605"/>
                <a:gd name="connsiteX3" fmla="*/ 4328 w 3934"/>
                <a:gd name="connsiteY3" fmla="*/ 9442 h 23605"/>
                <a:gd name="connsiteX4" fmla="*/ 5114 w 3934"/>
                <a:gd name="connsiteY4" fmla="*/ 6295 h 23605"/>
                <a:gd name="connsiteX5" fmla="*/ 6688 w 3934"/>
                <a:gd name="connsiteY5" fmla="*/ 3147 h 23605"/>
                <a:gd name="connsiteX6" fmla="*/ 7082 w 3934"/>
                <a:gd name="connsiteY6" fmla="*/ 0 h 23605"/>
                <a:gd name="connsiteX7" fmla="*/ 6295 w 3934"/>
                <a:gd name="connsiteY7" fmla="*/ 3147 h 23605"/>
                <a:gd name="connsiteX8" fmla="*/ 4721 w 3934"/>
                <a:gd name="connsiteY8" fmla="*/ 6295 h 23605"/>
                <a:gd name="connsiteX9" fmla="*/ 3541 w 3934"/>
                <a:gd name="connsiteY9" fmla="*/ 9442 h 23605"/>
                <a:gd name="connsiteX10" fmla="*/ 1967 w 3934"/>
                <a:gd name="connsiteY10" fmla="*/ 12196 h 23605"/>
                <a:gd name="connsiteX11" fmla="*/ 0 w 3934"/>
                <a:gd name="connsiteY11" fmla="*/ 14950 h 23605"/>
                <a:gd name="connsiteX12" fmla="*/ 0 w 3934"/>
                <a:gd name="connsiteY12" fmla="*/ 17311 h 23605"/>
                <a:gd name="connsiteX13" fmla="*/ 2754 w 3934"/>
                <a:gd name="connsiteY13" fmla="*/ 17704 h 23605"/>
                <a:gd name="connsiteX14" fmla="*/ 1967 w 3934"/>
                <a:gd name="connsiteY14" fmla="*/ 20852 h 23605"/>
                <a:gd name="connsiteX15" fmla="*/ 4328 w 3934"/>
                <a:gd name="connsiteY15" fmla="*/ 23999 h 23605"/>
                <a:gd name="connsiteX16" fmla="*/ 2754 w 3934"/>
                <a:gd name="connsiteY16" fmla="*/ 20852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34" h="23605">
                  <a:moveTo>
                    <a:pt x="3541" y="18098"/>
                  </a:moveTo>
                  <a:lnTo>
                    <a:pt x="1967" y="14950"/>
                  </a:lnTo>
                  <a:lnTo>
                    <a:pt x="3541" y="12196"/>
                  </a:lnTo>
                  <a:lnTo>
                    <a:pt x="4328" y="9442"/>
                  </a:lnTo>
                  <a:lnTo>
                    <a:pt x="5114" y="6295"/>
                  </a:lnTo>
                  <a:lnTo>
                    <a:pt x="6688" y="3147"/>
                  </a:lnTo>
                  <a:lnTo>
                    <a:pt x="7082" y="0"/>
                  </a:lnTo>
                  <a:lnTo>
                    <a:pt x="6295" y="3147"/>
                  </a:lnTo>
                  <a:lnTo>
                    <a:pt x="4721" y="6295"/>
                  </a:lnTo>
                  <a:lnTo>
                    <a:pt x="3541" y="9442"/>
                  </a:lnTo>
                  <a:lnTo>
                    <a:pt x="1967" y="12196"/>
                  </a:lnTo>
                  <a:lnTo>
                    <a:pt x="0" y="14950"/>
                  </a:lnTo>
                  <a:lnTo>
                    <a:pt x="0" y="17311"/>
                  </a:lnTo>
                  <a:lnTo>
                    <a:pt x="2754" y="17704"/>
                  </a:lnTo>
                  <a:lnTo>
                    <a:pt x="1967" y="20852"/>
                  </a:lnTo>
                  <a:lnTo>
                    <a:pt x="4328" y="23999"/>
                  </a:lnTo>
                  <a:lnTo>
                    <a:pt x="2754" y="2085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59" name="Freeform: Shape 2953">
              <a:extLst>
                <a:ext uri="{FF2B5EF4-FFF2-40B4-BE49-F238E27FC236}">
                  <a16:creationId xmlns:a16="http://schemas.microsoft.com/office/drawing/2014/main" id="{5BB1A574-0FC7-4173-82BC-F7B3DD80327F}"/>
                </a:ext>
              </a:extLst>
            </p:cNvPr>
            <p:cNvSpPr/>
            <p:nvPr/>
          </p:nvSpPr>
          <p:spPr>
            <a:xfrm>
              <a:off x="2813250" y="2851492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393 w 0"/>
                <a:gd name="connsiteY1" fmla="*/ 2754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393" y="2754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60" name="Freeform: Shape 2954">
              <a:extLst>
                <a:ext uri="{FF2B5EF4-FFF2-40B4-BE49-F238E27FC236}">
                  <a16:creationId xmlns:a16="http://schemas.microsoft.com/office/drawing/2014/main" id="{888667E6-3AF9-43A8-9D51-D1C4AA6177BB}"/>
                </a:ext>
              </a:extLst>
            </p:cNvPr>
            <p:cNvSpPr/>
            <p:nvPr/>
          </p:nvSpPr>
          <p:spPr>
            <a:xfrm>
              <a:off x="2781776" y="2749595"/>
              <a:ext cx="3934" cy="3934"/>
            </a:xfrm>
            <a:custGeom>
              <a:avLst/>
              <a:gdLst>
                <a:gd name="connsiteX0" fmla="*/ 2361 w 0"/>
                <a:gd name="connsiteY0" fmla="*/ 2754 h 0"/>
                <a:gd name="connsiteX1" fmla="*/ 0 w 0"/>
                <a:gd name="connsiteY1" fmla="*/ 0 h 0"/>
                <a:gd name="connsiteX2" fmla="*/ 196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1" y="2754"/>
                  </a:moveTo>
                  <a:lnTo>
                    <a:pt x="0" y="0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61" name="Freeform: Shape 2955">
              <a:extLst>
                <a:ext uri="{FF2B5EF4-FFF2-40B4-BE49-F238E27FC236}">
                  <a16:creationId xmlns:a16="http://schemas.microsoft.com/office/drawing/2014/main" id="{06E3C665-1A2E-47F8-9A2E-EAC3B0985FCE}"/>
                </a:ext>
              </a:extLst>
            </p:cNvPr>
            <p:cNvSpPr/>
            <p:nvPr/>
          </p:nvSpPr>
          <p:spPr>
            <a:xfrm>
              <a:off x="2793578" y="2729923"/>
              <a:ext cx="11803" cy="15737"/>
            </a:xfrm>
            <a:custGeom>
              <a:avLst/>
              <a:gdLst>
                <a:gd name="connsiteX0" fmla="*/ 9049 w 11802"/>
                <a:gd name="connsiteY0" fmla="*/ 787 h 15737"/>
                <a:gd name="connsiteX1" fmla="*/ 6295 w 11802"/>
                <a:gd name="connsiteY1" fmla="*/ 1967 h 15737"/>
                <a:gd name="connsiteX2" fmla="*/ 3934 w 11802"/>
                <a:gd name="connsiteY2" fmla="*/ 4721 h 15737"/>
                <a:gd name="connsiteX3" fmla="*/ 2754 w 11802"/>
                <a:gd name="connsiteY3" fmla="*/ 7475 h 15737"/>
                <a:gd name="connsiteX4" fmla="*/ 1967 w 11802"/>
                <a:gd name="connsiteY4" fmla="*/ 10622 h 15737"/>
                <a:gd name="connsiteX5" fmla="*/ 0 w 11802"/>
                <a:gd name="connsiteY5" fmla="*/ 13376 h 15737"/>
                <a:gd name="connsiteX6" fmla="*/ 2754 w 11802"/>
                <a:gd name="connsiteY6" fmla="*/ 14950 h 15737"/>
                <a:gd name="connsiteX7" fmla="*/ 5901 w 11802"/>
                <a:gd name="connsiteY7" fmla="*/ 16917 h 15737"/>
                <a:gd name="connsiteX8" fmla="*/ 7475 w 11802"/>
                <a:gd name="connsiteY8" fmla="*/ 14950 h 15737"/>
                <a:gd name="connsiteX9" fmla="*/ 9049 w 11802"/>
                <a:gd name="connsiteY9" fmla="*/ 11803 h 15737"/>
                <a:gd name="connsiteX10" fmla="*/ 11016 w 11802"/>
                <a:gd name="connsiteY10" fmla="*/ 9049 h 15737"/>
                <a:gd name="connsiteX11" fmla="*/ 11409 w 11802"/>
                <a:gd name="connsiteY11" fmla="*/ 5901 h 15737"/>
                <a:gd name="connsiteX12" fmla="*/ 11016 w 11802"/>
                <a:gd name="connsiteY12" fmla="*/ 3147 h 15737"/>
                <a:gd name="connsiteX13" fmla="*/ 12196 w 11802"/>
                <a:gd name="connsiteY13" fmla="*/ 0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802" h="15737">
                  <a:moveTo>
                    <a:pt x="9049" y="787"/>
                  </a:moveTo>
                  <a:lnTo>
                    <a:pt x="6295" y="1967"/>
                  </a:lnTo>
                  <a:lnTo>
                    <a:pt x="3934" y="4721"/>
                  </a:lnTo>
                  <a:lnTo>
                    <a:pt x="2754" y="7475"/>
                  </a:lnTo>
                  <a:lnTo>
                    <a:pt x="1967" y="10622"/>
                  </a:lnTo>
                  <a:lnTo>
                    <a:pt x="0" y="13376"/>
                  </a:lnTo>
                  <a:lnTo>
                    <a:pt x="2754" y="14950"/>
                  </a:lnTo>
                  <a:lnTo>
                    <a:pt x="5901" y="16917"/>
                  </a:lnTo>
                  <a:lnTo>
                    <a:pt x="7475" y="14950"/>
                  </a:lnTo>
                  <a:lnTo>
                    <a:pt x="9049" y="11803"/>
                  </a:lnTo>
                  <a:lnTo>
                    <a:pt x="11016" y="9049"/>
                  </a:lnTo>
                  <a:lnTo>
                    <a:pt x="11409" y="5901"/>
                  </a:lnTo>
                  <a:lnTo>
                    <a:pt x="11016" y="3147"/>
                  </a:lnTo>
                  <a:lnTo>
                    <a:pt x="12196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62" name="Freeform: Shape 2956">
              <a:extLst>
                <a:ext uri="{FF2B5EF4-FFF2-40B4-BE49-F238E27FC236}">
                  <a16:creationId xmlns:a16="http://schemas.microsoft.com/office/drawing/2014/main" id="{05A35FCF-7C5A-4CB3-BC4F-806C624AB449}"/>
                </a:ext>
              </a:extLst>
            </p:cNvPr>
            <p:cNvSpPr/>
            <p:nvPr/>
          </p:nvSpPr>
          <p:spPr>
            <a:xfrm>
              <a:off x="2769186" y="2720088"/>
              <a:ext cx="7869" cy="15737"/>
            </a:xfrm>
            <a:custGeom>
              <a:avLst/>
              <a:gdLst>
                <a:gd name="connsiteX0" fmla="*/ 8262 w 7868"/>
                <a:gd name="connsiteY0" fmla="*/ 8262 h 15737"/>
                <a:gd name="connsiteX1" fmla="*/ 5115 w 7868"/>
                <a:gd name="connsiteY1" fmla="*/ 5901 h 15737"/>
                <a:gd name="connsiteX2" fmla="*/ 5901 w 7868"/>
                <a:gd name="connsiteY2" fmla="*/ 2754 h 15737"/>
                <a:gd name="connsiteX3" fmla="*/ 3934 w 7868"/>
                <a:gd name="connsiteY3" fmla="*/ 0 h 15737"/>
                <a:gd name="connsiteX4" fmla="*/ 1180 w 7868"/>
                <a:gd name="connsiteY4" fmla="*/ 0 h 15737"/>
                <a:gd name="connsiteX5" fmla="*/ 0 w 7868"/>
                <a:gd name="connsiteY5" fmla="*/ 2754 h 15737"/>
                <a:gd name="connsiteX6" fmla="*/ 393 w 7868"/>
                <a:gd name="connsiteY6" fmla="*/ 5901 h 15737"/>
                <a:gd name="connsiteX7" fmla="*/ 2361 w 7868"/>
                <a:gd name="connsiteY7" fmla="*/ 8655 h 15737"/>
                <a:gd name="connsiteX8" fmla="*/ 3541 w 7868"/>
                <a:gd name="connsiteY8" fmla="*/ 11803 h 15737"/>
                <a:gd name="connsiteX9" fmla="*/ 5508 w 7868"/>
                <a:gd name="connsiteY9" fmla="*/ 14950 h 15737"/>
                <a:gd name="connsiteX10" fmla="*/ 8262 w 7868"/>
                <a:gd name="connsiteY10" fmla="*/ 17704 h 15737"/>
                <a:gd name="connsiteX11" fmla="*/ 9049 w 7868"/>
                <a:gd name="connsiteY11" fmla="*/ 16917 h 15737"/>
                <a:gd name="connsiteX12" fmla="*/ 8262 w 7868"/>
                <a:gd name="connsiteY12" fmla="*/ 13770 h 15737"/>
                <a:gd name="connsiteX13" fmla="*/ 9049 w 7868"/>
                <a:gd name="connsiteY13" fmla="*/ 11016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68" h="15737">
                  <a:moveTo>
                    <a:pt x="8262" y="8262"/>
                  </a:moveTo>
                  <a:lnTo>
                    <a:pt x="5115" y="5901"/>
                  </a:lnTo>
                  <a:lnTo>
                    <a:pt x="5901" y="2754"/>
                  </a:lnTo>
                  <a:lnTo>
                    <a:pt x="3934" y="0"/>
                  </a:lnTo>
                  <a:lnTo>
                    <a:pt x="1180" y="0"/>
                  </a:lnTo>
                  <a:lnTo>
                    <a:pt x="0" y="2754"/>
                  </a:lnTo>
                  <a:lnTo>
                    <a:pt x="393" y="5901"/>
                  </a:lnTo>
                  <a:lnTo>
                    <a:pt x="2361" y="8655"/>
                  </a:lnTo>
                  <a:lnTo>
                    <a:pt x="3541" y="11803"/>
                  </a:lnTo>
                  <a:lnTo>
                    <a:pt x="5508" y="14950"/>
                  </a:lnTo>
                  <a:lnTo>
                    <a:pt x="8262" y="17704"/>
                  </a:lnTo>
                  <a:lnTo>
                    <a:pt x="9049" y="16917"/>
                  </a:lnTo>
                  <a:lnTo>
                    <a:pt x="8262" y="13770"/>
                  </a:lnTo>
                  <a:lnTo>
                    <a:pt x="9049" y="1101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63" name="Freeform: Shape 2957">
              <a:extLst>
                <a:ext uri="{FF2B5EF4-FFF2-40B4-BE49-F238E27FC236}">
                  <a16:creationId xmlns:a16="http://schemas.microsoft.com/office/drawing/2014/main" id="{683A9FC5-7D8C-4CA0-A59B-DBE2BDE0F161}"/>
                </a:ext>
              </a:extLst>
            </p:cNvPr>
            <p:cNvSpPr/>
            <p:nvPr/>
          </p:nvSpPr>
          <p:spPr>
            <a:xfrm>
              <a:off x="3555252" y="2962438"/>
              <a:ext cx="7869" cy="7869"/>
            </a:xfrm>
            <a:custGeom>
              <a:avLst/>
              <a:gdLst>
                <a:gd name="connsiteX0" fmla="*/ 0 w 7868"/>
                <a:gd name="connsiteY0" fmla="*/ 8262 h 7868"/>
                <a:gd name="connsiteX1" fmla="*/ 8655 w 7868"/>
                <a:gd name="connsiteY1" fmla="*/ 0 h 7868"/>
                <a:gd name="connsiteX2" fmla="*/ 5508 w 7868"/>
                <a:gd name="connsiteY2" fmla="*/ 1967 h 7868"/>
                <a:gd name="connsiteX3" fmla="*/ 2754 w 7868"/>
                <a:gd name="connsiteY3" fmla="*/ 4721 h 7868"/>
                <a:gd name="connsiteX4" fmla="*/ 787 w 7868"/>
                <a:gd name="connsiteY4" fmla="*/ 747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 h="7868">
                  <a:moveTo>
                    <a:pt x="0" y="8262"/>
                  </a:moveTo>
                  <a:lnTo>
                    <a:pt x="8655" y="0"/>
                  </a:lnTo>
                  <a:lnTo>
                    <a:pt x="5508" y="1967"/>
                  </a:lnTo>
                  <a:lnTo>
                    <a:pt x="2754" y="4721"/>
                  </a:lnTo>
                  <a:lnTo>
                    <a:pt x="787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64" name="Freeform: Shape 2958">
              <a:extLst>
                <a:ext uri="{FF2B5EF4-FFF2-40B4-BE49-F238E27FC236}">
                  <a16:creationId xmlns:a16="http://schemas.microsoft.com/office/drawing/2014/main" id="{033F3700-C363-4A08-A44E-2C318A1DEC89}"/>
                </a:ext>
              </a:extLst>
            </p:cNvPr>
            <p:cNvSpPr/>
            <p:nvPr/>
          </p:nvSpPr>
          <p:spPr>
            <a:xfrm>
              <a:off x="3671313" y="2937259"/>
              <a:ext cx="3934" cy="3934"/>
            </a:xfrm>
            <a:custGeom>
              <a:avLst/>
              <a:gdLst>
                <a:gd name="connsiteX0" fmla="*/ 0 w 0"/>
                <a:gd name="connsiteY0" fmla="*/ 1967 h 0"/>
                <a:gd name="connsiteX1" fmla="*/ 393 w 0"/>
                <a:gd name="connsiteY1" fmla="*/ 1967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967"/>
                  </a:moveTo>
                  <a:lnTo>
                    <a:pt x="393" y="196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65" name="Freeform: Shape 2959">
              <a:extLst>
                <a:ext uri="{FF2B5EF4-FFF2-40B4-BE49-F238E27FC236}">
                  <a16:creationId xmlns:a16="http://schemas.microsoft.com/office/drawing/2014/main" id="{6BF7930D-EE4E-4ABD-8EE5-C7049FF82014}"/>
                </a:ext>
              </a:extLst>
            </p:cNvPr>
            <p:cNvSpPr/>
            <p:nvPr/>
          </p:nvSpPr>
          <p:spPr>
            <a:xfrm>
              <a:off x="2907279" y="2987224"/>
              <a:ext cx="3934" cy="3934"/>
            </a:xfrm>
            <a:custGeom>
              <a:avLst/>
              <a:gdLst>
                <a:gd name="connsiteX0" fmla="*/ 393 w 3934"/>
                <a:gd name="connsiteY0" fmla="*/ 0 h 3934"/>
                <a:gd name="connsiteX1" fmla="*/ 0 w 3934"/>
                <a:gd name="connsiteY1" fmla="*/ 787 h 3934"/>
                <a:gd name="connsiteX2" fmla="*/ 1180 w 3934"/>
                <a:gd name="connsiteY2" fmla="*/ 3541 h 3934"/>
                <a:gd name="connsiteX3" fmla="*/ 3934 w 3934"/>
                <a:gd name="connsiteY3" fmla="*/ 3934 h 3934"/>
                <a:gd name="connsiteX4" fmla="*/ 3147 w 3934"/>
                <a:gd name="connsiteY4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93" y="0"/>
                  </a:moveTo>
                  <a:lnTo>
                    <a:pt x="0" y="787"/>
                  </a:lnTo>
                  <a:lnTo>
                    <a:pt x="1180" y="3541"/>
                  </a:lnTo>
                  <a:lnTo>
                    <a:pt x="3934" y="3934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66" name="Freeform: Shape 2960">
              <a:extLst>
                <a:ext uri="{FF2B5EF4-FFF2-40B4-BE49-F238E27FC236}">
                  <a16:creationId xmlns:a16="http://schemas.microsoft.com/office/drawing/2014/main" id="{DBEFBC79-5E12-42D8-80AC-DF4E2DC8887E}"/>
                </a:ext>
              </a:extLst>
            </p:cNvPr>
            <p:cNvSpPr/>
            <p:nvPr/>
          </p:nvSpPr>
          <p:spPr>
            <a:xfrm>
              <a:off x="3657149" y="2817657"/>
              <a:ext cx="3934" cy="3934"/>
            </a:xfrm>
            <a:custGeom>
              <a:avLst/>
              <a:gdLst>
                <a:gd name="connsiteX0" fmla="*/ 1180 w 0"/>
                <a:gd name="connsiteY0" fmla="*/ 5901 h 3934"/>
                <a:gd name="connsiteX1" fmla="*/ 1180 w 0"/>
                <a:gd name="connsiteY1" fmla="*/ 3147 h 3934"/>
                <a:gd name="connsiteX2" fmla="*/ 0 w 0"/>
                <a:gd name="connsiteY2" fmla="*/ 0 h 3934"/>
                <a:gd name="connsiteX3" fmla="*/ 394 w 0"/>
                <a:gd name="connsiteY3" fmla="*/ 2754 h 3934"/>
                <a:gd name="connsiteX4" fmla="*/ 787 w 0"/>
                <a:gd name="connsiteY4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1180" y="5901"/>
                  </a:moveTo>
                  <a:lnTo>
                    <a:pt x="1180" y="3147"/>
                  </a:lnTo>
                  <a:lnTo>
                    <a:pt x="0" y="0"/>
                  </a:lnTo>
                  <a:lnTo>
                    <a:pt x="394" y="2754"/>
                  </a:lnTo>
                  <a:lnTo>
                    <a:pt x="78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67" name="Freeform: Shape 2961">
              <a:extLst>
                <a:ext uri="{FF2B5EF4-FFF2-40B4-BE49-F238E27FC236}">
                  <a16:creationId xmlns:a16="http://schemas.microsoft.com/office/drawing/2014/main" id="{0236A6F2-3B65-4192-9628-A08FCDF6C4FA}"/>
                </a:ext>
              </a:extLst>
            </p:cNvPr>
            <p:cNvSpPr/>
            <p:nvPr/>
          </p:nvSpPr>
          <p:spPr>
            <a:xfrm>
              <a:off x="3654396" y="2813330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787 w 0"/>
                <a:gd name="connsiteY1" fmla="*/ 0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787" y="0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68" name="Freeform: Shape 2962">
              <a:extLst>
                <a:ext uri="{FF2B5EF4-FFF2-40B4-BE49-F238E27FC236}">
                  <a16:creationId xmlns:a16="http://schemas.microsoft.com/office/drawing/2014/main" id="{17A75329-56EE-4F89-A52B-73D327349707}"/>
                </a:ext>
              </a:extLst>
            </p:cNvPr>
            <p:cNvSpPr/>
            <p:nvPr/>
          </p:nvSpPr>
          <p:spPr>
            <a:xfrm>
              <a:off x="3647314" y="2792085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967 w 0"/>
                <a:gd name="connsiteY1" fmla="*/ 2754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967" y="2754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69" name="Freeform: Shape 2963">
              <a:extLst>
                <a:ext uri="{FF2B5EF4-FFF2-40B4-BE49-F238E27FC236}">
                  <a16:creationId xmlns:a16="http://schemas.microsoft.com/office/drawing/2014/main" id="{3129D6D6-EB24-456A-804A-1F4DCE60331E}"/>
                </a:ext>
              </a:extLst>
            </p:cNvPr>
            <p:cNvSpPr/>
            <p:nvPr/>
          </p:nvSpPr>
          <p:spPr>
            <a:xfrm>
              <a:off x="3594595" y="2713399"/>
              <a:ext cx="11803" cy="3934"/>
            </a:xfrm>
            <a:custGeom>
              <a:avLst/>
              <a:gdLst>
                <a:gd name="connsiteX0" fmla="*/ 0 w 11802"/>
                <a:gd name="connsiteY0" fmla="*/ 3934 h 3934"/>
                <a:gd name="connsiteX1" fmla="*/ 3147 w 11802"/>
                <a:gd name="connsiteY1" fmla="*/ 4328 h 3934"/>
                <a:gd name="connsiteX2" fmla="*/ 5901 w 11802"/>
                <a:gd name="connsiteY2" fmla="*/ 3147 h 3934"/>
                <a:gd name="connsiteX3" fmla="*/ 9049 w 11802"/>
                <a:gd name="connsiteY3" fmla="*/ 1967 h 3934"/>
                <a:gd name="connsiteX4" fmla="*/ 11803 w 11802"/>
                <a:gd name="connsiteY4" fmla="*/ 0 h 3934"/>
                <a:gd name="connsiteX5" fmla="*/ 9049 w 11802"/>
                <a:gd name="connsiteY5" fmla="*/ 1180 h 3934"/>
                <a:gd name="connsiteX6" fmla="*/ 5901 w 11802"/>
                <a:gd name="connsiteY6" fmla="*/ 2361 h 3934"/>
                <a:gd name="connsiteX7" fmla="*/ 3147 w 11802"/>
                <a:gd name="connsiteY7" fmla="*/ 4328 h 3934"/>
                <a:gd name="connsiteX8" fmla="*/ 0 w 11802"/>
                <a:gd name="connsiteY8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 h="3934">
                  <a:moveTo>
                    <a:pt x="0" y="3934"/>
                  </a:moveTo>
                  <a:lnTo>
                    <a:pt x="3147" y="4328"/>
                  </a:lnTo>
                  <a:lnTo>
                    <a:pt x="5901" y="3147"/>
                  </a:lnTo>
                  <a:lnTo>
                    <a:pt x="9049" y="1967"/>
                  </a:lnTo>
                  <a:lnTo>
                    <a:pt x="11803" y="0"/>
                  </a:lnTo>
                  <a:lnTo>
                    <a:pt x="9049" y="1180"/>
                  </a:lnTo>
                  <a:lnTo>
                    <a:pt x="5901" y="2361"/>
                  </a:lnTo>
                  <a:lnTo>
                    <a:pt x="3147" y="4328"/>
                  </a:lnTo>
                  <a:lnTo>
                    <a:pt x="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70" name="Freeform: Shape 2964">
              <a:extLst>
                <a:ext uri="{FF2B5EF4-FFF2-40B4-BE49-F238E27FC236}">
                  <a16:creationId xmlns:a16="http://schemas.microsoft.com/office/drawing/2014/main" id="{946A1097-7F0C-4C2D-B2D7-B9598EE400F8}"/>
                </a:ext>
              </a:extLst>
            </p:cNvPr>
            <p:cNvSpPr/>
            <p:nvPr/>
          </p:nvSpPr>
          <p:spPr>
            <a:xfrm>
              <a:off x="3592628" y="2714973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2754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2754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71" name="Freeform: Shape 2965">
              <a:extLst>
                <a:ext uri="{FF2B5EF4-FFF2-40B4-BE49-F238E27FC236}">
                  <a16:creationId xmlns:a16="http://schemas.microsoft.com/office/drawing/2014/main" id="{44A6A614-C8CD-4580-87F7-43B0F95F7A45}"/>
                </a:ext>
              </a:extLst>
            </p:cNvPr>
            <p:cNvSpPr/>
            <p:nvPr/>
          </p:nvSpPr>
          <p:spPr>
            <a:xfrm>
              <a:off x="3486796" y="2704351"/>
              <a:ext cx="3934" cy="7869"/>
            </a:xfrm>
            <a:custGeom>
              <a:avLst/>
              <a:gdLst>
                <a:gd name="connsiteX0" fmla="*/ 0 w 0"/>
                <a:gd name="connsiteY0" fmla="*/ 8262 h 7868"/>
                <a:gd name="connsiteX1" fmla="*/ 1967 w 0"/>
                <a:gd name="connsiteY1" fmla="*/ 5901 h 7868"/>
                <a:gd name="connsiteX2" fmla="*/ 3147 w 0"/>
                <a:gd name="connsiteY2" fmla="*/ 3147 h 7868"/>
                <a:gd name="connsiteX3" fmla="*/ 3147 w 0"/>
                <a:gd name="connsiteY3" fmla="*/ 0 h 7868"/>
                <a:gd name="connsiteX4" fmla="*/ 2754 w 0"/>
                <a:gd name="connsiteY4" fmla="*/ 787 h 7868"/>
                <a:gd name="connsiteX5" fmla="*/ 2754 w 0"/>
                <a:gd name="connsiteY5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7868">
                  <a:moveTo>
                    <a:pt x="0" y="8262"/>
                  </a:moveTo>
                  <a:lnTo>
                    <a:pt x="1967" y="5901"/>
                  </a:lnTo>
                  <a:lnTo>
                    <a:pt x="3147" y="3147"/>
                  </a:lnTo>
                  <a:lnTo>
                    <a:pt x="3147" y="0"/>
                  </a:lnTo>
                  <a:lnTo>
                    <a:pt x="2754" y="78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72" name="Freeform: Shape 2966">
              <a:extLst>
                <a:ext uri="{FF2B5EF4-FFF2-40B4-BE49-F238E27FC236}">
                  <a16:creationId xmlns:a16="http://schemas.microsoft.com/office/drawing/2014/main" id="{F698F539-6A26-4BCF-95FC-6CCC0434DDCE}"/>
                </a:ext>
              </a:extLst>
            </p:cNvPr>
            <p:cNvSpPr/>
            <p:nvPr/>
          </p:nvSpPr>
          <p:spPr>
            <a:xfrm>
              <a:off x="3598922" y="2978962"/>
              <a:ext cx="15737" cy="15737"/>
            </a:xfrm>
            <a:custGeom>
              <a:avLst/>
              <a:gdLst>
                <a:gd name="connsiteX0" fmla="*/ 9049 w 15737"/>
                <a:gd name="connsiteY0" fmla="*/ 16524 h 15737"/>
                <a:gd name="connsiteX1" fmla="*/ 12196 w 15737"/>
                <a:gd name="connsiteY1" fmla="*/ 15737 h 15737"/>
                <a:gd name="connsiteX2" fmla="*/ 14950 w 15737"/>
                <a:gd name="connsiteY2" fmla="*/ 14163 h 15737"/>
                <a:gd name="connsiteX3" fmla="*/ 18098 w 15737"/>
                <a:gd name="connsiteY3" fmla="*/ 12590 h 15737"/>
                <a:gd name="connsiteX4" fmla="*/ 17311 w 15737"/>
                <a:gd name="connsiteY4" fmla="*/ 9836 h 15737"/>
                <a:gd name="connsiteX5" fmla="*/ 17704 w 15737"/>
                <a:gd name="connsiteY5" fmla="*/ 6688 h 15737"/>
                <a:gd name="connsiteX6" fmla="*/ 14950 w 15737"/>
                <a:gd name="connsiteY6" fmla="*/ 3934 h 15737"/>
                <a:gd name="connsiteX7" fmla="*/ 12983 w 15737"/>
                <a:gd name="connsiteY7" fmla="*/ 787 h 15737"/>
                <a:gd name="connsiteX8" fmla="*/ 9836 w 15737"/>
                <a:gd name="connsiteY8" fmla="*/ 0 h 15737"/>
                <a:gd name="connsiteX9" fmla="*/ 7082 w 15737"/>
                <a:gd name="connsiteY9" fmla="*/ 787 h 15737"/>
                <a:gd name="connsiteX10" fmla="*/ 3934 w 15737"/>
                <a:gd name="connsiteY10" fmla="*/ 3147 h 15737"/>
                <a:gd name="connsiteX11" fmla="*/ 3934 w 15737"/>
                <a:gd name="connsiteY11" fmla="*/ 5901 h 15737"/>
                <a:gd name="connsiteX12" fmla="*/ 5114 w 15737"/>
                <a:gd name="connsiteY12" fmla="*/ 9049 h 15737"/>
                <a:gd name="connsiteX13" fmla="*/ 5901 w 15737"/>
                <a:gd name="connsiteY13" fmla="*/ 11803 h 15737"/>
                <a:gd name="connsiteX14" fmla="*/ 2754 w 15737"/>
                <a:gd name="connsiteY14" fmla="*/ 13376 h 15737"/>
                <a:gd name="connsiteX15" fmla="*/ 0 w 15737"/>
                <a:gd name="connsiteY15" fmla="*/ 11803 h 15737"/>
                <a:gd name="connsiteX16" fmla="*/ 1574 w 15737"/>
                <a:gd name="connsiteY16" fmla="*/ 14950 h 15737"/>
                <a:gd name="connsiteX17" fmla="*/ 4328 w 15737"/>
                <a:gd name="connsiteY17" fmla="*/ 16131 h 15737"/>
                <a:gd name="connsiteX18" fmla="*/ 7082 w 15737"/>
                <a:gd name="connsiteY18" fmla="*/ 1691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5737" h="15737">
                  <a:moveTo>
                    <a:pt x="9049" y="16524"/>
                  </a:moveTo>
                  <a:lnTo>
                    <a:pt x="12196" y="15737"/>
                  </a:lnTo>
                  <a:lnTo>
                    <a:pt x="14950" y="14163"/>
                  </a:lnTo>
                  <a:lnTo>
                    <a:pt x="18098" y="12590"/>
                  </a:lnTo>
                  <a:lnTo>
                    <a:pt x="17311" y="9836"/>
                  </a:lnTo>
                  <a:lnTo>
                    <a:pt x="17704" y="6688"/>
                  </a:lnTo>
                  <a:lnTo>
                    <a:pt x="14950" y="3934"/>
                  </a:lnTo>
                  <a:lnTo>
                    <a:pt x="12983" y="787"/>
                  </a:lnTo>
                  <a:lnTo>
                    <a:pt x="9836" y="0"/>
                  </a:lnTo>
                  <a:lnTo>
                    <a:pt x="7082" y="787"/>
                  </a:lnTo>
                  <a:lnTo>
                    <a:pt x="3934" y="3147"/>
                  </a:lnTo>
                  <a:lnTo>
                    <a:pt x="3934" y="5901"/>
                  </a:lnTo>
                  <a:lnTo>
                    <a:pt x="5114" y="9049"/>
                  </a:lnTo>
                  <a:lnTo>
                    <a:pt x="5901" y="11803"/>
                  </a:lnTo>
                  <a:lnTo>
                    <a:pt x="2754" y="13376"/>
                  </a:lnTo>
                  <a:lnTo>
                    <a:pt x="0" y="11803"/>
                  </a:lnTo>
                  <a:lnTo>
                    <a:pt x="1574" y="14950"/>
                  </a:lnTo>
                  <a:lnTo>
                    <a:pt x="4328" y="16131"/>
                  </a:lnTo>
                  <a:lnTo>
                    <a:pt x="7082" y="1691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73" name="Freeform: Shape 2967">
              <a:extLst>
                <a:ext uri="{FF2B5EF4-FFF2-40B4-BE49-F238E27FC236}">
                  <a16:creationId xmlns:a16="http://schemas.microsoft.com/office/drawing/2014/main" id="{D8E03EFA-D8C4-471F-A789-F9FE44C0E9C8}"/>
                </a:ext>
              </a:extLst>
            </p:cNvPr>
            <p:cNvSpPr/>
            <p:nvPr/>
          </p:nvSpPr>
          <p:spPr>
            <a:xfrm>
              <a:off x="3654789" y="2981323"/>
              <a:ext cx="3934" cy="3934"/>
            </a:xfrm>
            <a:custGeom>
              <a:avLst/>
              <a:gdLst>
                <a:gd name="connsiteX0" fmla="*/ 4328 w 3934"/>
                <a:gd name="connsiteY0" fmla="*/ 3541 h 0"/>
                <a:gd name="connsiteX1" fmla="*/ 2754 w 3934"/>
                <a:gd name="connsiteY1" fmla="*/ 1574 h 0"/>
                <a:gd name="connsiteX2" fmla="*/ 0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4328" y="3541"/>
                  </a:moveTo>
                  <a:lnTo>
                    <a:pt x="2754" y="15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74" name="Freeform: Shape 2968">
              <a:extLst>
                <a:ext uri="{FF2B5EF4-FFF2-40B4-BE49-F238E27FC236}">
                  <a16:creationId xmlns:a16="http://schemas.microsoft.com/office/drawing/2014/main" id="{4D88D4EC-014D-452E-B45B-A4526E97F2A0}"/>
                </a:ext>
              </a:extLst>
            </p:cNvPr>
            <p:cNvSpPr/>
            <p:nvPr/>
          </p:nvSpPr>
          <p:spPr>
            <a:xfrm>
              <a:off x="3781866" y="2809002"/>
              <a:ext cx="19671" cy="35408"/>
            </a:xfrm>
            <a:custGeom>
              <a:avLst/>
              <a:gdLst>
                <a:gd name="connsiteX0" fmla="*/ 20458 w 19671"/>
                <a:gd name="connsiteY0" fmla="*/ 11016 h 35408"/>
                <a:gd name="connsiteX1" fmla="*/ 17311 w 19671"/>
                <a:gd name="connsiteY1" fmla="*/ 9836 h 35408"/>
                <a:gd name="connsiteX2" fmla="*/ 16131 w 19671"/>
                <a:gd name="connsiteY2" fmla="*/ 7082 h 35408"/>
                <a:gd name="connsiteX3" fmla="*/ 14163 w 19671"/>
                <a:gd name="connsiteY3" fmla="*/ 3934 h 35408"/>
                <a:gd name="connsiteX4" fmla="*/ 11803 w 19671"/>
                <a:gd name="connsiteY4" fmla="*/ 1180 h 35408"/>
                <a:gd name="connsiteX5" fmla="*/ 9049 w 19671"/>
                <a:gd name="connsiteY5" fmla="*/ 787 h 35408"/>
                <a:gd name="connsiteX6" fmla="*/ 5901 w 19671"/>
                <a:gd name="connsiteY6" fmla="*/ 393 h 35408"/>
                <a:gd name="connsiteX7" fmla="*/ 3147 w 19671"/>
                <a:gd name="connsiteY7" fmla="*/ 0 h 35408"/>
                <a:gd name="connsiteX8" fmla="*/ 0 w 19671"/>
                <a:gd name="connsiteY8" fmla="*/ 1180 h 35408"/>
                <a:gd name="connsiteX9" fmla="*/ 3147 w 19671"/>
                <a:gd name="connsiteY9" fmla="*/ 787 h 35408"/>
                <a:gd name="connsiteX10" fmla="*/ 5901 w 19671"/>
                <a:gd name="connsiteY10" fmla="*/ 1574 h 35408"/>
                <a:gd name="connsiteX11" fmla="*/ 9049 w 19671"/>
                <a:gd name="connsiteY11" fmla="*/ 2360 h 35408"/>
                <a:gd name="connsiteX12" fmla="*/ 12196 w 19671"/>
                <a:gd name="connsiteY12" fmla="*/ 2754 h 35408"/>
                <a:gd name="connsiteX13" fmla="*/ 13377 w 19671"/>
                <a:gd name="connsiteY13" fmla="*/ 5901 h 35408"/>
                <a:gd name="connsiteX14" fmla="*/ 15344 w 19671"/>
                <a:gd name="connsiteY14" fmla="*/ 8655 h 35408"/>
                <a:gd name="connsiteX15" fmla="*/ 16917 w 19671"/>
                <a:gd name="connsiteY15" fmla="*/ 11409 h 35408"/>
                <a:gd name="connsiteX16" fmla="*/ 20065 w 19671"/>
                <a:gd name="connsiteY16" fmla="*/ 12196 h 35408"/>
                <a:gd name="connsiteX17" fmla="*/ 19278 w 19671"/>
                <a:gd name="connsiteY17" fmla="*/ 14950 h 35408"/>
                <a:gd name="connsiteX18" fmla="*/ 17311 w 19671"/>
                <a:gd name="connsiteY18" fmla="*/ 18098 h 35408"/>
                <a:gd name="connsiteX19" fmla="*/ 16131 w 19671"/>
                <a:gd name="connsiteY19" fmla="*/ 20852 h 35408"/>
                <a:gd name="connsiteX20" fmla="*/ 15737 w 19671"/>
                <a:gd name="connsiteY20" fmla="*/ 26753 h 35408"/>
                <a:gd name="connsiteX21" fmla="*/ 10229 w 19671"/>
                <a:gd name="connsiteY21" fmla="*/ 31081 h 35408"/>
                <a:gd name="connsiteX22" fmla="*/ 12983 w 19671"/>
                <a:gd name="connsiteY22" fmla="*/ 32654 h 35408"/>
                <a:gd name="connsiteX23" fmla="*/ 14557 w 19671"/>
                <a:gd name="connsiteY23" fmla="*/ 35802 h 35408"/>
                <a:gd name="connsiteX24" fmla="*/ 15737 w 19671"/>
                <a:gd name="connsiteY24" fmla="*/ 33835 h 35408"/>
                <a:gd name="connsiteX25" fmla="*/ 16131 w 19671"/>
                <a:gd name="connsiteY25" fmla="*/ 31081 h 35408"/>
                <a:gd name="connsiteX26" fmla="*/ 16917 w 19671"/>
                <a:gd name="connsiteY26" fmla="*/ 27933 h 35408"/>
                <a:gd name="connsiteX27" fmla="*/ 17704 w 19671"/>
                <a:gd name="connsiteY27" fmla="*/ 24786 h 35408"/>
                <a:gd name="connsiteX28" fmla="*/ 20458 w 19671"/>
                <a:gd name="connsiteY28" fmla="*/ 22032 h 35408"/>
                <a:gd name="connsiteX29" fmla="*/ 23212 w 19671"/>
                <a:gd name="connsiteY29" fmla="*/ 19278 h 35408"/>
                <a:gd name="connsiteX30" fmla="*/ 22425 w 19671"/>
                <a:gd name="connsiteY30" fmla="*/ 16524 h 35408"/>
                <a:gd name="connsiteX31" fmla="*/ 23212 w 19671"/>
                <a:gd name="connsiteY31" fmla="*/ 13770 h 35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9671" h="35408">
                  <a:moveTo>
                    <a:pt x="20458" y="11016"/>
                  </a:moveTo>
                  <a:lnTo>
                    <a:pt x="17311" y="9836"/>
                  </a:lnTo>
                  <a:lnTo>
                    <a:pt x="16131" y="7082"/>
                  </a:lnTo>
                  <a:lnTo>
                    <a:pt x="14163" y="3934"/>
                  </a:lnTo>
                  <a:lnTo>
                    <a:pt x="11803" y="1180"/>
                  </a:lnTo>
                  <a:lnTo>
                    <a:pt x="9049" y="787"/>
                  </a:lnTo>
                  <a:lnTo>
                    <a:pt x="5901" y="393"/>
                  </a:lnTo>
                  <a:lnTo>
                    <a:pt x="3147" y="0"/>
                  </a:lnTo>
                  <a:lnTo>
                    <a:pt x="0" y="1180"/>
                  </a:lnTo>
                  <a:lnTo>
                    <a:pt x="3147" y="787"/>
                  </a:lnTo>
                  <a:lnTo>
                    <a:pt x="5901" y="1574"/>
                  </a:lnTo>
                  <a:lnTo>
                    <a:pt x="9049" y="2360"/>
                  </a:lnTo>
                  <a:lnTo>
                    <a:pt x="12196" y="2754"/>
                  </a:lnTo>
                  <a:lnTo>
                    <a:pt x="13377" y="5901"/>
                  </a:lnTo>
                  <a:lnTo>
                    <a:pt x="15344" y="8655"/>
                  </a:lnTo>
                  <a:lnTo>
                    <a:pt x="16917" y="11409"/>
                  </a:lnTo>
                  <a:lnTo>
                    <a:pt x="20065" y="12196"/>
                  </a:lnTo>
                  <a:lnTo>
                    <a:pt x="19278" y="14950"/>
                  </a:lnTo>
                  <a:lnTo>
                    <a:pt x="17311" y="18098"/>
                  </a:lnTo>
                  <a:lnTo>
                    <a:pt x="16131" y="20852"/>
                  </a:lnTo>
                  <a:lnTo>
                    <a:pt x="15737" y="26753"/>
                  </a:lnTo>
                  <a:lnTo>
                    <a:pt x="10229" y="31081"/>
                  </a:lnTo>
                  <a:lnTo>
                    <a:pt x="12983" y="32654"/>
                  </a:lnTo>
                  <a:lnTo>
                    <a:pt x="14557" y="35802"/>
                  </a:lnTo>
                  <a:lnTo>
                    <a:pt x="15737" y="33835"/>
                  </a:lnTo>
                  <a:lnTo>
                    <a:pt x="16131" y="31081"/>
                  </a:lnTo>
                  <a:lnTo>
                    <a:pt x="16917" y="27933"/>
                  </a:lnTo>
                  <a:lnTo>
                    <a:pt x="17704" y="24786"/>
                  </a:lnTo>
                  <a:lnTo>
                    <a:pt x="20458" y="22032"/>
                  </a:lnTo>
                  <a:lnTo>
                    <a:pt x="23212" y="19278"/>
                  </a:lnTo>
                  <a:lnTo>
                    <a:pt x="22425" y="16524"/>
                  </a:lnTo>
                  <a:lnTo>
                    <a:pt x="23212" y="1377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75" name="Freeform: Shape 2969">
              <a:extLst>
                <a:ext uri="{FF2B5EF4-FFF2-40B4-BE49-F238E27FC236}">
                  <a16:creationId xmlns:a16="http://schemas.microsoft.com/office/drawing/2014/main" id="{5B339A56-D13E-4D98-BB55-67EABD0C7A58}"/>
                </a:ext>
              </a:extLst>
            </p:cNvPr>
            <p:cNvSpPr/>
            <p:nvPr/>
          </p:nvSpPr>
          <p:spPr>
            <a:xfrm>
              <a:off x="3751572" y="2814117"/>
              <a:ext cx="27540" cy="7869"/>
            </a:xfrm>
            <a:custGeom>
              <a:avLst/>
              <a:gdLst>
                <a:gd name="connsiteX0" fmla="*/ 15344 w 27539"/>
                <a:gd name="connsiteY0" fmla="*/ 2361 h 7868"/>
                <a:gd name="connsiteX1" fmla="*/ 12590 w 27539"/>
                <a:gd name="connsiteY1" fmla="*/ 1574 h 7868"/>
                <a:gd name="connsiteX2" fmla="*/ 9442 w 27539"/>
                <a:gd name="connsiteY2" fmla="*/ 1180 h 7868"/>
                <a:gd name="connsiteX3" fmla="*/ 8655 w 27539"/>
                <a:gd name="connsiteY3" fmla="*/ 3934 h 7868"/>
                <a:gd name="connsiteX4" fmla="*/ 5901 w 27539"/>
                <a:gd name="connsiteY4" fmla="*/ 6688 h 7868"/>
                <a:gd name="connsiteX5" fmla="*/ 3148 w 27539"/>
                <a:gd name="connsiteY5" fmla="*/ 6688 h 7868"/>
                <a:gd name="connsiteX6" fmla="*/ 0 w 27539"/>
                <a:gd name="connsiteY6" fmla="*/ 4721 h 7868"/>
                <a:gd name="connsiteX7" fmla="*/ 2361 w 27539"/>
                <a:gd name="connsiteY7" fmla="*/ 7869 h 7868"/>
                <a:gd name="connsiteX8" fmla="*/ 5115 w 27539"/>
                <a:gd name="connsiteY8" fmla="*/ 9836 h 7868"/>
                <a:gd name="connsiteX9" fmla="*/ 6295 w 27539"/>
                <a:gd name="connsiteY9" fmla="*/ 9442 h 7868"/>
                <a:gd name="connsiteX10" fmla="*/ 9049 w 27539"/>
                <a:gd name="connsiteY10" fmla="*/ 7869 h 7868"/>
                <a:gd name="connsiteX11" fmla="*/ 12196 w 27539"/>
                <a:gd name="connsiteY11" fmla="*/ 6688 h 7868"/>
                <a:gd name="connsiteX12" fmla="*/ 15344 w 27539"/>
                <a:gd name="connsiteY12" fmla="*/ 5901 h 7868"/>
                <a:gd name="connsiteX13" fmla="*/ 18098 w 27539"/>
                <a:gd name="connsiteY13" fmla="*/ 5114 h 7868"/>
                <a:gd name="connsiteX14" fmla="*/ 20852 w 27539"/>
                <a:gd name="connsiteY14" fmla="*/ 4721 h 7868"/>
                <a:gd name="connsiteX15" fmla="*/ 23999 w 27539"/>
                <a:gd name="connsiteY15" fmla="*/ 4721 h 7868"/>
                <a:gd name="connsiteX16" fmla="*/ 26753 w 27539"/>
                <a:gd name="connsiteY16" fmla="*/ 3934 h 7868"/>
                <a:gd name="connsiteX17" fmla="*/ 29901 w 27539"/>
                <a:gd name="connsiteY17" fmla="*/ 2754 h 7868"/>
                <a:gd name="connsiteX18" fmla="*/ 30294 w 27539"/>
                <a:gd name="connsiteY18" fmla="*/ 0 h 7868"/>
                <a:gd name="connsiteX19" fmla="*/ 27147 w 27539"/>
                <a:gd name="connsiteY19" fmla="*/ 1574 h 7868"/>
                <a:gd name="connsiteX20" fmla="*/ 24392 w 27539"/>
                <a:gd name="connsiteY20" fmla="*/ 2754 h 7868"/>
                <a:gd name="connsiteX21" fmla="*/ 21245 w 27539"/>
                <a:gd name="connsiteY21" fmla="*/ 2361 h 7868"/>
                <a:gd name="connsiteX22" fmla="*/ 18098 w 27539"/>
                <a:gd name="connsiteY22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7539" h="7868">
                  <a:moveTo>
                    <a:pt x="15344" y="2361"/>
                  </a:moveTo>
                  <a:lnTo>
                    <a:pt x="12590" y="1574"/>
                  </a:lnTo>
                  <a:lnTo>
                    <a:pt x="9442" y="1180"/>
                  </a:lnTo>
                  <a:lnTo>
                    <a:pt x="8655" y="3934"/>
                  </a:lnTo>
                  <a:lnTo>
                    <a:pt x="5901" y="6688"/>
                  </a:lnTo>
                  <a:lnTo>
                    <a:pt x="3148" y="6688"/>
                  </a:lnTo>
                  <a:lnTo>
                    <a:pt x="0" y="4721"/>
                  </a:lnTo>
                  <a:lnTo>
                    <a:pt x="2361" y="7869"/>
                  </a:lnTo>
                  <a:lnTo>
                    <a:pt x="5115" y="9836"/>
                  </a:lnTo>
                  <a:lnTo>
                    <a:pt x="6295" y="9442"/>
                  </a:lnTo>
                  <a:lnTo>
                    <a:pt x="9049" y="7869"/>
                  </a:lnTo>
                  <a:lnTo>
                    <a:pt x="12196" y="6688"/>
                  </a:lnTo>
                  <a:lnTo>
                    <a:pt x="15344" y="5901"/>
                  </a:lnTo>
                  <a:lnTo>
                    <a:pt x="18098" y="5114"/>
                  </a:lnTo>
                  <a:lnTo>
                    <a:pt x="20852" y="4721"/>
                  </a:lnTo>
                  <a:lnTo>
                    <a:pt x="23999" y="4721"/>
                  </a:lnTo>
                  <a:lnTo>
                    <a:pt x="26753" y="3934"/>
                  </a:lnTo>
                  <a:lnTo>
                    <a:pt x="29901" y="2754"/>
                  </a:lnTo>
                  <a:lnTo>
                    <a:pt x="30294" y="0"/>
                  </a:lnTo>
                  <a:lnTo>
                    <a:pt x="27147" y="1574"/>
                  </a:lnTo>
                  <a:lnTo>
                    <a:pt x="24392" y="2754"/>
                  </a:lnTo>
                  <a:lnTo>
                    <a:pt x="21245" y="2361"/>
                  </a:lnTo>
                  <a:lnTo>
                    <a:pt x="1809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76" name="Freeform: Shape 2970">
              <a:extLst>
                <a:ext uri="{FF2B5EF4-FFF2-40B4-BE49-F238E27FC236}">
                  <a16:creationId xmlns:a16="http://schemas.microsoft.com/office/drawing/2014/main" id="{BB6846DC-899C-4113-9F18-EEC4EBE99D62}"/>
                </a:ext>
              </a:extLst>
            </p:cNvPr>
            <p:cNvSpPr/>
            <p:nvPr/>
          </p:nvSpPr>
          <p:spPr>
            <a:xfrm>
              <a:off x="3770850" y="2799560"/>
              <a:ext cx="27540" cy="7869"/>
            </a:xfrm>
            <a:custGeom>
              <a:avLst/>
              <a:gdLst>
                <a:gd name="connsiteX0" fmla="*/ 22032 w 27539"/>
                <a:gd name="connsiteY0" fmla="*/ 7082 h 7868"/>
                <a:gd name="connsiteX1" fmla="*/ 19278 w 27539"/>
                <a:gd name="connsiteY1" fmla="*/ 6295 h 7868"/>
                <a:gd name="connsiteX2" fmla="*/ 16130 w 27539"/>
                <a:gd name="connsiteY2" fmla="*/ 5115 h 7868"/>
                <a:gd name="connsiteX3" fmla="*/ 12983 w 27539"/>
                <a:gd name="connsiteY3" fmla="*/ 3934 h 7868"/>
                <a:gd name="connsiteX4" fmla="*/ 10229 w 27539"/>
                <a:gd name="connsiteY4" fmla="*/ 2754 h 7868"/>
                <a:gd name="connsiteX5" fmla="*/ 7475 w 27539"/>
                <a:gd name="connsiteY5" fmla="*/ 1967 h 7868"/>
                <a:gd name="connsiteX6" fmla="*/ 4328 w 27539"/>
                <a:gd name="connsiteY6" fmla="*/ 1180 h 7868"/>
                <a:gd name="connsiteX7" fmla="*/ 1574 w 27539"/>
                <a:gd name="connsiteY7" fmla="*/ 393 h 7868"/>
                <a:gd name="connsiteX8" fmla="*/ 0 w 27539"/>
                <a:gd name="connsiteY8" fmla="*/ 0 h 7868"/>
                <a:gd name="connsiteX9" fmla="*/ 27933 w 27539"/>
                <a:gd name="connsiteY9" fmla="*/ 10229 h 7868"/>
                <a:gd name="connsiteX10" fmla="*/ 25179 w 27539"/>
                <a:gd name="connsiteY10" fmla="*/ 865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539" h="7868">
                  <a:moveTo>
                    <a:pt x="22032" y="7082"/>
                  </a:moveTo>
                  <a:lnTo>
                    <a:pt x="19278" y="6295"/>
                  </a:lnTo>
                  <a:lnTo>
                    <a:pt x="16130" y="5115"/>
                  </a:lnTo>
                  <a:lnTo>
                    <a:pt x="12983" y="3934"/>
                  </a:lnTo>
                  <a:lnTo>
                    <a:pt x="10229" y="2754"/>
                  </a:lnTo>
                  <a:lnTo>
                    <a:pt x="7475" y="1967"/>
                  </a:lnTo>
                  <a:lnTo>
                    <a:pt x="4328" y="1180"/>
                  </a:lnTo>
                  <a:lnTo>
                    <a:pt x="1574" y="393"/>
                  </a:lnTo>
                  <a:lnTo>
                    <a:pt x="0" y="0"/>
                  </a:lnTo>
                  <a:lnTo>
                    <a:pt x="27933" y="10229"/>
                  </a:lnTo>
                  <a:lnTo>
                    <a:pt x="25179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77" name="Freeform: Shape 2971">
              <a:extLst>
                <a:ext uri="{FF2B5EF4-FFF2-40B4-BE49-F238E27FC236}">
                  <a16:creationId xmlns:a16="http://schemas.microsoft.com/office/drawing/2014/main" id="{F06EA39A-C75A-4C0D-B23E-A84ABAF12897}"/>
                </a:ext>
              </a:extLst>
            </p:cNvPr>
            <p:cNvSpPr/>
            <p:nvPr/>
          </p:nvSpPr>
          <p:spPr>
            <a:xfrm>
              <a:off x="3409684" y="2956930"/>
              <a:ext cx="3934" cy="3934"/>
            </a:xfrm>
            <a:custGeom>
              <a:avLst/>
              <a:gdLst>
                <a:gd name="connsiteX0" fmla="*/ 0 w 3934"/>
                <a:gd name="connsiteY0" fmla="*/ 5508 h 3934"/>
                <a:gd name="connsiteX1" fmla="*/ 3147 w 3934"/>
                <a:gd name="connsiteY1" fmla="*/ 6688 h 3934"/>
                <a:gd name="connsiteX2" fmla="*/ 3934 w 3934"/>
                <a:gd name="connsiteY2" fmla="*/ 3541 h 3934"/>
                <a:gd name="connsiteX3" fmla="*/ 3147 w 3934"/>
                <a:gd name="connsiteY3" fmla="*/ 393 h 3934"/>
                <a:gd name="connsiteX4" fmla="*/ 393 w 3934"/>
                <a:gd name="connsiteY4" fmla="*/ 0 h 3934"/>
                <a:gd name="connsiteX5" fmla="*/ 787 w 3934"/>
                <a:gd name="connsiteY5" fmla="*/ 393 h 3934"/>
                <a:gd name="connsiteX6" fmla="*/ 3541 w 3934"/>
                <a:gd name="connsiteY6" fmla="*/ 2754 h 3934"/>
                <a:gd name="connsiteX7" fmla="*/ 3147 w 3934"/>
                <a:gd name="connsiteY7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3934">
                  <a:moveTo>
                    <a:pt x="0" y="5508"/>
                  </a:moveTo>
                  <a:lnTo>
                    <a:pt x="3147" y="6688"/>
                  </a:lnTo>
                  <a:lnTo>
                    <a:pt x="3934" y="3541"/>
                  </a:lnTo>
                  <a:lnTo>
                    <a:pt x="3147" y="393"/>
                  </a:lnTo>
                  <a:lnTo>
                    <a:pt x="393" y="0"/>
                  </a:lnTo>
                  <a:lnTo>
                    <a:pt x="787" y="393"/>
                  </a:lnTo>
                  <a:lnTo>
                    <a:pt x="3541" y="2754"/>
                  </a:lnTo>
                  <a:lnTo>
                    <a:pt x="3147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78" name="Freeform: Shape 2972">
              <a:extLst>
                <a:ext uri="{FF2B5EF4-FFF2-40B4-BE49-F238E27FC236}">
                  <a16:creationId xmlns:a16="http://schemas.microsoft.com/office/drawing/2014/main" id="{74BF7810-17D5-43CE-A506-FAD613C6424F}"/>
                </a:ext>
              </a:extLst>
            </p:cNvPr>
            <p:cNvSpPr/>
            <p:nvPr/>
          </p:nvSpPr>
          <p:spPr>
            <a:xfrm>
              <a:off x="3479321" y="3024600"/>
              <a:ext cx="7869" cy="7869"/>
            </a:xfrm>
            <a:custGeom>
              <a:avLst/>
              <a:gdLst>
                <a:gd name="connsiteX0" fmla="*/ 7869 w 7868"/>
                <a:gd name="connsiteY0" fmla="*/ 3147 h 7868"/>
                <a:gd name="connsiteX1" fmla="*/ 9442 w 7868"/>
                <a:gd name="connsiteY1" fmla="*/ 0 h 7868"/>
                <a:gd name="connsiteX2" fmla="*/ 6688 w 7868"/>
                <a:gd name="connsiteY2" fmla="*/ 1574 h 7868"/>
                <a:gd name="connsiteX3" fmla="*/ 3934 w 7868"/>
                <a:gd name="connsiteY3" fmla="*/ 1574 h 7868"/>
                <a:gd name="connsiteX4" fmla="*/ 2754 w 7868"/>
                <a:gd name="connsiteY4" fmla="*/ 2754 h 7868"/>
                <a:gd name="connsiteX5" fmla="*/ 787 w 7868"/>
                <a:gd name="connsiteY5" fmla="*/ 5901 h 7868"/>
                <a:gd name="connsiteX6" fmla="*/ 0 w 7868"/>
                <a:gd name="connsiteY6" fmla="*/ 8655 h 7868"/>
                <a:gd name="connsiteX7" fmla="*/ 0 w 7868"/>
                <a:gd name="connsiteY7" fmla="*/ 11409 h 7868"/>
                <a:gd name="connsiteX8" fmla="*/ 0 w 7868"/>
                <a:gd name="connsiteY8" fmla="*/ 11409 h 7868"/>
                <a:gd name="connsiteX9" fmla="*/ 3147 w 7868"/>
                <a:gd name="connsiteY9" fmla="*/ 8655 h 7868"/>
                <a:gd name="connsiteX10" fmla="*/ 5114 w 7868"/>
                <a:gd name="connsiteY10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68" h="7868">
                  <a:moveTo>
                    <a:pt x="7869" y="3147"/>
                  </a:moveTo>
                  <a:lnTo>
                    <a:pt x="9442" y="0"/>
                  </a:lnTo>
                  <a:lnTo>
                    <a:pt x="6688" y="1574"/>
                  </a:lnTo>
                  <a:lnTo>
                    <a:pt x="3934" y="1574"/>
                  </a:lnTo>
                  <a:lnTo>
                    <a:pt x="2754" y="2754"/>
                  </a:lnTo>
                  <a:lnTo>
                    <a:pt x="787" y="5901"/>
                  </a:lnTo>
                  <a:lnTo>
                    <a:pt x="0" y="8655"/>
                  </a:lnTo>
                  <a:lnTo>
                    <a:pt x="0" y="11409"/>
                  </a:lnTo>
                  <a:lnTo>
                    <a:pt x="0" y="11409"/>
                  </a:lnTo>
                  <a:lnTo>
                    <a:pt x="3147" y="8655"/>
                  </a:lnTo>
                  <a:lnTo>
                    <a:pt x="5114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79" name="Freeform: Shape 2973">
              <a:extLst>
                <a:ext uri="{FF2B5EF4-FFF2-40B4-BE49-F238E27FC236}">
                  <a16:creationId xmlns:a16="http://schemas.microsoft.com/office/drawing/2014/main" id="{858A2E1B-4C56-43DD-8540-BAEDFCF6F7E6}"/>
                </a:ext>
              </a:extLst>
            </p:cNvPr>
            <p:cNvSpPr/>
            <p:nvPr/>
          </p:nvSpPr>
          <p:spPr>
            <a:xfrm>
              <a:off x="3693345" y="2863295"/>
              <a:ext cx="7869" cy="11803"/>
            </a:xfrm>
            <a:custGeom>
              <a:avLst/>
              <a:gdLst>
                <a:gd name="connsiteX0" fmla="*/ 7475 w 7868"/>
                <a:gd name="connsiteY0" fmla="*/ 3934 h 11802"/>
                <a:gd name="connsiteX1" fmla="*/ 9836 w 7868"/>
                <a:gd name="connsiteY1" fmla="*/ 1180 h 11802"/>
                <a:gd name="connsiteX2" fmla="*/ 10623 w 7868"/>
                <a:gd name="connsiteY2" fmla="*/ 0 h 11802"/>
                <a:gd name="connsiteX3" fmla="*/ 7475 w 7868"/>
                <a:gd name="connsiteY3" fmla="*/ 1180 h 11802"/>
                <a:gd name="connsiteX4" fmla="*/ 6688 w 7868"/>
                <a:gd name="connsiteY4" fmla="*/ 4328 h 11802"/>
                <a:gd name="connsiteX5" fmla="*/ 3934 w 7868"/>
                <a:gd name="connsiteY5" fmla="*/ 6295 h 11802"/>
                <a:gd name="connsiteX6" fmla="*/ 2754 w 7868"/>
                <a:gd name="connsiteY6" fmla="*/ 9049 h 11802"/>
                <a:gd name="connsiteX7" fmla="*/ 0 w 7868"/>
                <a:gd name="connsiteY7" fmla="*/ 11803 h 11802"/>
                <a:gd name="connsiteX8" fmla="*/ 2754 w 7868"/>
                <a:gd name="connsiteY8" fmla="*/ 9049 h 11802"/>
                <a:gd name="connsiteX9" fmla="*/ 5508 w 7868"/>
                <a:gd name="connsiteY9" fmla="*/ 7082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11802">
                  <a:moveTo>
                    <a:pt x="7475" y="3934"/>
                  </a:moveTo>
                  <a:lnTo>
                    <a:pt x="9836" y="1180"/>
                  </a:lnTo>
                  <a:lnTo>
                    <a:pt x="10623" y="0"/>
                  </a:lnTo>
                  <a:lnTo>
                    <a:pt x="7475" y="1180"/>
                  </a:lnTo>
                  <a:lnTo>
                    <a:pt x="6688" y="4328"/>
                  </a:lnTo>
                  <a:lnTo>
                    <a:pt x="3934" y="6295"/>
                  </a:lnTo>
                  <a:lnTo>
                    <a:pt x="2754" y="9049"/>
                  </a:lnTo>
                  <a:lnTo>
                    <a:pt x="0" y="11803"/>
                  </a:lnTo>
                  <a:lnTo>
                    <a:pt x="2754" y="9049"/>
                  </a:lnTo>
                  <a:lnTo>
                    <a:pt x="5508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80" name="Freeform: Shape 2974">
              <a:extLst>
                <a:ext uri="{FF2B5EF4-FFF2-40B4-BE49-F238E27FC236}">
                  <a16:creationId xmlns:a16="http://schemas.microsoft.com/office/drawing/2014/main" id="{E5DCABA7-C4C7-46FC-9F62-12CBB0AE31FE}"/>
                </a:ext>
              </a:extLst>
            </p:cNvPr>
            <p:cNvSpPr/>
            <p:nvPr/>
          </p:nvSpPr>
          <p:spPr>
            <a:xfrm>
              <a:off x="3715770" y="2777921"/>
              <a:ext cx="3934" cy="19671"/>
            </a:xfrm>
            <a:custGeom>
              <a:avLst/>
              <a:gdLst>
                <a:gd name="connsiteX0" fmla="*/ 1967 w 0"/>
                <a:gd name="connsiteY0" fmla="*/ 17704 h 19671"/>
                <a:gd name="connsiteX1" fmla="*/ 2360 w 0"/>
                <a:gd name="connsiteY1" fmla="*/ 20458 h 19671"/>
                <a:gd name="connsiteX2" fmla="*/ 2360 w 0"/>
                <a:gd name="connsiteY2" fmla="*/ 17704 h 19671"/>
                <a:gd name="connsiteX3" fmla="*/ 1967 w 0"/>
                <a:gd name="connsiteY3" fmla="*/ 14557 h 19671"/>
                <a:gd name="connsiteX4" fmla="*/ 1574 w 0"/>
                <a:gd name="connsiteY4" fmla="*/ 11803 h 19671"/>
                <a:gd name="connsiteX5" fmla="*/ 1574 w 0"/>
                <a:gd name="connsiteY5" fmla="*/ 8655 h 19671"/>
                <a:gd name="connsiteX6" fmla="*/ 1180 w 0"/>
                <a:gd name="connsiteY6" fmla="*/ 5508 h 19671"/>
                <a:gd name="connsiteX7" fmla="*/ 393 w 0"/>
                <a:gd name="connsiteY7" fmla="*/ 2754 h 19671"/>
                <a:gd name="connsiteX8" fmla="*/ 393 w 0"/>
                <a:gd name="connsiteY8" fmla="*/ 0 h 19671"/>
                <a:gd name="connsiteX9" fmla="*/ 0 w 0"/>
                <a:gd name="connsiteY9" fmla="*/ 0 h 19671"/>
                <a:gd name="connsiteX10" fmla="*/ 0 w 0"/>
                <a:gd name="connsiteY10" fmla="*/ 2754 h 19671"/>
                <a:gd name="connsiteX11" fmla="*/ 393 w 0"/>
                <a:gd name="connsiteY11" fmla="*/ 5508 h 19671"/>
                <a:gd name="connsiteX12" fmla="*/ 787 w 0"/>
                <a:gd name="connsiteY12" fmla="*/ 8655 h 19671"/>
                <a:gd name="connsiteX13" fmla="*/ 1180 w 0"/>
                <a:gd name="connsiteY13" fmla="*/ 11803 h 19671"/>
                <a:gd name="connsiteX14" fmla="*/ 1180 w 0"/>
                <a:gd name="connsiteY14" fmla="*/ 14557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h="19671">
                  <a:moveTo>
                    <a:pt x="1967" y="17704"/>
                  </a:moveTo>
                  <a:lnTo>
                    <a:pt x="2360" y="20458"/>
                  </a:lnTo>
                  <a:lnTo>
                    <a:pt x="2360" y="17704"/>
                  </a:lnTo>
                  <a:lnTo>
                    <a:pt x="1967" y="14557"/>
                  </a:lnTo>
                  <a:lnTo>
                    <a:pt x="1574" y="11803"/>
                  </a:lnTo>
                  <a:lnTo>
                    <a:pt x="1574" y="8655"/>
                  </a:lnTo>
                  <a:lnTo>
                    <a:pt x="1180" y="5508"/>
                  </a:lnTo>
                  <a:lnTo>
                    <a:pt x="393" y="2754"/>
                  </a:lnTo>
                  <a:lnTo>
                    <a:pt x="393" y="0"/>
                  </a:lnTo>
                  <a:lnTo>
                    <a:pt x="0" y="0"/>
                  </a:lnTo>
                  <a:lnTo>
                    <a:pt x="0" y="2754"/>
                  </a:lnTo>
                  <a:lnTo>
                    <a:pt x="393" y="5508"/>
                  </a:lnTo>
                  <a:lnTo>
                    <a:pt x="787" y="8655"/>
                  </a:lnTo>
                  <a:lnTo>
                    <a:pt x="1180" y="11803"/>
                  </a:lnTo>
                  <a:lnTo>
                    <a:pt x="1180" y="1455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81" name="Freeform: Shape 2975">
              <a:extLst>
                <a:ext uri="{FF2B5EF4-FFF2-40B4-BE49-F238E27FC236}">
                  <a16:creationId xmlns:a16="http://schemas.microsoft.com/office/drawing/2014/main" id="{91BFC9DB-E402-493B-9172-CE8F0B99EAAB}"/>
                </a:ext>
              </a:extLst>
            </p:cNvPr>
            <p:cNvSpPr/>
            <p:nvPr/>
          </p:nvSpPr>
          <p:spPr>
            <a:xfrm>
              <a:off x="3666592" y="2883360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967 w 0"/>
                <a:gd name="connsiteY1" fmla="*/ 2754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967" y="2754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82" name="Freeform: Shape 2976">
              <a:extLst>
                <a:ext uri="{FF2B5EF4-FFF2-40B4-BE49-F238E27FC236}">
                  <a16:creationId xmlns:a16="http://schemas.microsoft.com/office/drawing/2014/main" id="{EBC8A7D5-8B9D-4B5F-BCA6-60D9592FF575}"/>
                </a:ext>
              </a:extLst>
            </p:cNvPr>
            <p:cNvSpPr/>
            <p:nvPr/>
          </p:nvSpPr>
          <p:spPr>
            <a:xfrm>
              <a:off x="3678001" y="2882573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574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57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83" name="Freeform: Shape 2977">
              <a:extLst>
                <a:ext uri="{FF2B5EF4-FFF2-40B4-BE49-F238E27FC236}">
                  <a16:creationId xmlns:a16="http://schemas.microsoft.com/office/drawing/2014/main" id="{289C87CB-DF5F-4061-AA2D-C5D380CED275}"/>
                </a:ext>
              </a:extLst>
            </p:cNvPr>
            <p:cNvSpPr/>
            <p:nvPr/>
          </p:nvSpPr>
          <p:spPr>
            <a:xfrm>
              <a:off x="3655182" y="2821985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94 w 0"/>
                <a:gd name="connsiteY1" fmla="*/ 3147 h 0"/>
                <a:gd name="connsiteX2" fmla="*/ 3148 w 0"/>
                <a:gd name="connsiteY2" fmla="*/ 3147 h 0"/>
                <a:gd name="connsiteX3" fmla="*/ 394 w 0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94" y="3147"/>
                  </a:lnTo>
                  <a:lnTo>
                    <a:pt x="3148" y="3147"/>
                  </a:lnTo>
                  <a:lnTo>
                    <a:pt x="39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84" name="Freeform: Shape 2978">
              <a:extLst>
                <a:ext uri="{FF2B5EF4-FFF2-40B4-BE49-F238E27FC236}">
                  <a16:creationId xmlns:a16="http://schemas.microsoft.com/office/drawing/2014/main" id="{AF8E0108-4809-4A39-9FCF-6793E6538DEB}"/>
                </a:ext>
              </a:extLst>
            </p:cNvPr>
            <p:cNvSpPr/>
            <p:nvPr/>
          </p:nvSpPr>
          <p:spPr>
            <a:xfrm>
              <a:off x="3819241" y="2919555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0 w 3934"/>
                <a:gd name="connsiteY1" fmla="*/ 393 h 3934"/>
                <a:gd name="connsiteX2" fmla="*/ 1574 w 3934"/>
                <a:gd name="connsiteY2" fmla="*/ 3147 h 3934"/>
                <a:gd name="connsiteX3" fmla="*/ 4721 w 3934"/>
                <a:gd name="connsiteY3" fmla="*/ 5508 h 3934"/>
                <a:gd name="connsiteX4" fmla="*/ 7475 w 3934"/>
                <a:gd name="connsiteY4" fmla="*/ 7082 h 3934"/>
                <a:gd name="connsiteX5" fmla="*/ 5114 w 3934"/>
                <a:gd name="connsiteY5" fmla="*/ 4328 h 3934"/>
                <a:gd name="connsiteX6" fmla="*/ 3147 w 3934"/>
                <a:gd name="connsiteY6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0" y="393"/>
                  </a:lnTo>
                  <a:lnTo>
                    <a:pt x="1574" y="3147"/>
                  </a:lnTo>
                  <a:lnTo>
                    <a:pt x="4721" y="5508"/>
                  </a:lnTo>
                  <a:lnTo>
                    <a:pt x="7475" y="7082"/>
                  </a:lnTo>
                  <a:lnTo>
                    <a:pt x="5114" y="4328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85" name="Freeform: Shape 2979">
              <a:extLst>
                <a:ext uri="{FF2B5EF4-FFF2-40B4-BE49-F238E27FC236}">
                  <a16:creationId xmlns:a16="http://schemas.microsoft.com/office/drawing/2014/main" id="{2284E524-2165-4EB4-A6ED-F737F0DC779B}"/>
                </a:ext>
              </a:extLst>
            </p:cNvPr>
            <p:cNvSpPr/>
            <p:nvPr/>
          </p:nvSpPr>
          <p:spPr>
            <a:xfrm>
              <a:off x="3851895" y="2918375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574 h 0"/>
                <a:gd name="connsiteX2" fmla="*/ 275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574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86" name="Freeform: Shape 2980">
              <a:extLst>
                <a:ext uri="{FF2B5EF4-FFF2-40B4-BE49-F238E27FC236}">
                  <a16:creationId xmlns:a16="http://schemas.microsoft.com/office/drawing/2014/main" id="{13250865-20CE-499B-8CD7-0852A1424DB6}"/>
                </a:ext>
              </a:extLst>
            </p:cNvPr>
            <p:cNvSpPr/>
            <p:nvPr/>
          </p:nvSpPr>
          <p:spPr>
            <a:xfrm>
              <a:off x="3765735" y="2898703"/>
              <a:ext cx="7869" cy="15737"/>
            </a:xfrm>
            <a:custGeom>
              <a:avLst/>
              <a:gdLst>
                <a:gd name="connsiteX0" fmla="*/ 2754 w 7868"/>
                <a:gd name="connsiteY0" fmla="*/ 18491 h 15737"/>
                <a:gd name="connsiteX1" fmla="*/ 5901 w 7868"/>
                <a:gd name="connsiteY1" fmla="*/ 19278 h 15737"/>
                <a:gd name="connsiteX2" fmla="*/ 6688 w 7868"/>
                <a:gd name="connsiteY2" fmla="*/ 18491 h 15737"/>
                <a:gd name="connsiteX3" fmla="*/ 9442 w 7868"/>
                <a:gd name="connsiteY3" fmla="*/ 17311 h 15737"/>
                <a:gd name="connsiteX4" fmla="*/ 10623 w 7868"/>
                <a:gd name="connsiteY4" fmla="*/ 14163 h 15737"/>
                <a:gd name="connsiteX5" fmla="*/ 11016 w 7868"/>
                <a:gd name="connsiteY5" fmla="*/ 11409 h 15737"/>
                <a:gd name="connsiteX6" fmla="*/ 11016 w 7868"/>
                <a:gd name="connsiteY6" fmla="*/ 8262 h 15737"/>
                <a:gd name="connsiteX7" fmla="*/ 11016 w 7868"/>
                <a:gd name="connsiteY7" fmla="*/ 5508 h 15737"/>
                <a:gd name="connsiteX8" fmla="*/ 9049 w 7868"/>
                <a:gd name="connsiteY8" fmla="*/ 2754 h 15737"/>
                <a:gd name="connsiteX9" fmla="*/ 8262 w 7868"/>
                <a:gd name="connsiteY9" fmla="*/ 5508 h 15737"/>
                <a:gd name="connsiteX10" fmla="*/ 5508 w 7868"/>
                <a:gd name="connsiteY10" fmla="*/ 8262 h 15737"/>
                <a:gd name="connsiteX11" fmla="*/ 5114 w 7868"/>
                <a:gd name="connsiteY11" fmla="*/ 5508 h 15737"/>
                <a:gd name="connsiteX12" fmla="*/ 7869 w 7868"/>
                <a:gd name="connsiteY12" fmla="*/ 2754 h 15737"/>
                <a:gd name="connsiteX13" fmla="*/ 8262 w 7868"/>
                <a:gd name="connsiteY13" fmla="*/ 0 h 15737"/>
                <a:gd name="connsiteX14" fmla="*/ 5508 w 7868"/>
                <a:gd name="connsiteY14" fmla="*/ 1180 h 15737"/>
                <a:gd name="connsiteX15" fmla="*/ 2754 w 7868"/>
                <a:gd name="connsiteY15" fmla="*/ 4328 h 15737"/>
                <a:gd name="connsiteX16" fmla="*/ 0 w 7868"/>
                <a:gd name="connsiteY16" fmla="*/ 6295 h 15737"/>
                <a:gd name="connsiteX17" fmla="*/ 2360 w 7868"/>
                <a:gd name="connsiteY17" fmla="*/ 9049 h 15737"/>
                <a:gd name="connsiteX18" fmla="*/ 1967 w 7868"/>
                <a:gd name="connsiteY18" fmla="*/ 12196 h 15737"/>
                <a:gd name="connsiteX19" fmla="*/ 2754 w 7868"/>
                <a:gd name="connsiteY19" fmla="*/ 14950 h 15737"/>
                <a:gd name="connsiteX20" fmla="*/ 5508 w 7868"/>
                <a:gd name="connsiteY20" fmla="*/ 16917 h 15737"/>
                <a:gd name="connsiteX21" fmla="*/ 8655 w 7868"/>
                <a:gd name="connsiteY21" fmla="*/ 15737 h 15737"/>
                <a:gd name="connsiteX22" fmla="*/ 5901 w 7868"/>
                <a:gd name="connsiteY22" fmla="*/ 18098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868" h="15737">
                  <a:moveTo>
                    <a:pt x="2754" y="18491"/>
                  </a:moveTo>
                  <a:lnTo>
                    <a:pt x="5901" y="19278"/>
                  </a:lnTo>
                  <a:lnTo>
                    <a:pt x="6688" y="18491"/>
                  </a:lnTo>
                  <a:lnTo>
                    <a:pt x="9442" y="17311"/>
                  </a:lnTo>
                  <a:lnTo>
                    <a:pt x="10623" y="14163"/>
                  </a:lnTo>
                  <a:lnTo>
                    <a:pt x="11016" y="11409"/>
                  </a:lnTo>
                  <a:lnTo>
                    <a:pt x="11016" y="8262"/>
                  </a:lnTo>
                  <a:lnTo>
                    <a:pt x="11016" y="5508"/>
                  </a:lnTo>
                  <a:lnTo>
                    <a:pt x="9049" y="2754"/>
                  </a:lnTo>
                  <a:lnTo>
                    <a:pt x="8262" y="5508"/>
                  </a:lnTo>
                  <a:lnTo>
                    <a:pt x="5508" y="8262"/>
                  </a:lnTo>
                  <a:lnTo>
                    <a:pt x="5114" y="5508"/>
                  </a:lnTo>
                  <a:lnTo>
                    <a:pt x="7869" y="2754"/>
                  </a:lnTo>
                  <a:lnTo>
                    <a:pt x="8262" y="0"/>
                  </a:lnTo>
                  <a:lnTo>
                    <a:pt x="5508" y="1180"/>
                  </a:lnTo>
                  <a:lnTo>
                    <a:pt x="2754" y="4328"/>
                  </a:lnTo>
                  <a:lnTo>
                    <a:pt x="0" y="6295"/>
                  </a:lnTo>
                  <a:lnTo>
                    <a:pt x="2360" y="9049"/>
                  </a:lnTo>
                  <a:lnTo>
                    <a:pt x="1967" y="12196"/>
                  </a:lnTo>
                  <a:lnTo>
                    <a:pt x="2754" y="14950"/>
                  </a:lnTo>
                  <a:lnTo>
                    <a:pt x="5508" y="16917"/>
                  </a:lnTo>
                  <a:lnTo>
                    <a:pt x="8655" y="15737"/>
                  </a:lnTo>
                  <a:lnTo>
                    <a:pt x="5901" y="1809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87" name="Freeform: Shape 2981">
              <a:extLst>
                <a:ext uri="{FF2B5EF4-FFF2-40B4-BE49-F238E27FC236}">
                  <a16:creationId xmlns:a16="http://schemas.microsoft.com/office/drawing/2014/main" id="{FC37D0B4-902F-40E3-B2D1-4583A579F7D4}"/>
                </a:ext>
              </a:extLst>
            </p:cNvPr>
            <p:cNvSpPr/>
            <p:nvPr/>
          </p:nvSpPr>
          <p:spPr>
            <a:xfrm>
              <a:off x="3863698" y="2905392"/>
              <a:ext cx="3934" cy="3934"/>
            </a:xfrm>
            <a:custGeom>
              <a:avLst/>
              <a:gdLst>
                <a:gd name="connsiteX0" fmla="*/ 1180 w 3934"/>
                <a:gd name="connsiteY0" fmla="*/ 2360 h 3934"/>
                <a:gd name="connsiteX1" fmla="*/ 0 w 3934"/>
                <a:gd name="connsiteY1" fmla="*/ 5114 h 3934"/>
                <a:gd name="connsiteX2" fmla="*/ 3148 w 3934"/>
                <a:gd name="connsiteY2" fmla="*/ 2754 h 3934"/>
                <a:gd name="connsiteX3" fmla="*/ 4328 w 3934"/>
                <a:gd name="connsiteY3" fmla="*/ 0 h 3934"/>
                <a:gd name="connsiteX4" fmla="*/ 1180 w 3934"/>
                <a:gd name="connsiteY4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1180" y="2360"/>
                  </a:moveTo>
                  <a:lnTo>
                    <a:pt x="0" y="5114"/>
                  </a:lnTo>
                  <a:lnTo>
                    <a:pt x="3148" y="2754"/>
                  </a:lnTo>
                  <a:lnTo>
                    <a:pt x="4328" y="0"/>
                  </a:lnTo>
                  <a:lnTo>
                    <a:pt x="118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88" name="Freeform: Shape 2982">
              <a:extLst>
                <a:ext uri="{FF2B5EF4-FFF2-40B4-BE49-F238E27FC236}">
                  <a16:creationId xmlns:a16="http://schemas.microsoft.com/office/drawing/2014/main" id="{592D31B7-18D0-4EDE-93F6-B49D7DDB1B34}"/>
                </a:ext>
              </a:extLst>
            </p:cNvPr>
            <p:cNvSpPr/>
            <p:nvPr/>
          </p:nvSpPr>
          <p:spPr>
            <a:xfrm>
              <a:off x="3834585" y="2885720"/>
              <a:ext cx="3934" cy="15737"/>
            </a:xfrm>
            <a:custGeom>
              <a:avLst/>
              <a:gdLst>
                <a:gd name="connsiteX0" fmla="*/ 3541 w 3934"/>
                <a:gd name="connsiteY0" fmla="*/ 9049 h 15737"/>
                <a:gd name="connsiteX1" fmla="*/ 2360 w 3934"/>
                <a:gd name="connsiteY1" fmla="*/ 5901 h 15737"/>
                <a:gd name="connsiteX2" fmla="*/ 1180 w 3934"/>
                <a:gd name="connsiteY2" fmla="*/ 3147 h 15737"/>
                <a:gd name="connsiteX3" fmla="*/ 0 w 3934"/>
                <a:gd name="connsiteY3" fmla="*/ 0 h 15737"/>
                <a:gd name="connsiteX4" fmla="*/ 393 w 3934"/>
                <a:gd name="connsiteY4" fmla="*/ 3147 h 15737"/>
                <a:gd name="connsiteX5" fmla="*/ 1967 w 3934"/>
                <a:gd name="connsiteY5" fmla="*/ 5901 h 15737"/>
                <a:gd name="connsiteX6" fmla="*/ 3541 w 3934"/>
                <a:gd name="connsiteY6" fmla="*/ 11803 h 15737"/>
                <a:gd name="connsiteX7" fmla="*/ 5901 w 3934"/>
                <a:gd name="connsiteY7" fmla="*/ 14557 h 15737"/>
                <a:gd name="connsiteX8" fmla="*/ 3147 w 3934"/>
                <a:gd name="connsiteY8" fmla="*/ 17311 h 15737"/>
                <a:gd name="connsiteX9" fmla="*/ 3541 w 3934"/>
                <a:gd name="connsiteY9" fmla="*/ 18884 h 15737"/>
                <a:gd name="connsiteX10" fmla="*/ 6295 w 3934"/>
                <a:gd name="connsiteY10" fmla="*/ 17704 h 15737"/>
                <a:gd name="connsiteX11" fmla="*/ 7475 w 3934"/>
                <a:gd name="connsiteY11" fmla="*/ 14950 h 15737"/>
                <a:gd name="connsiteX12" fmla="*/ 5901 w 3934"/>
                <a:gd name="connsiteY12" fmla="*/ 11803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34" h="15737">
                  <a:moveTo>
                    <a:pt x="3541" y="9049"/>
                  </a:moveTo>
                  <a:lnTo>
                    <a:pt x="2360" y="5901"/>
                  </a:lnTo>
                  <a:lnTo>
                    <a:pt x="1180" y="3147"/>
                  </a:lnTo>
                  <a:lnTo>
                    <a:pt x="0" y="0"/>
                  </a:lnTo>
                  <a:lnTo>
                    <a:pt x="393" y="3147"/>
                  </a:lnTo>
                  <a:lnTo>
                    <a:pt x="1967" y="5901"/>
                  </a:lnTo>
                  <a:lnTo>
                    <a:pt x="3541" y="11803"/>
                  </a:lnTo>
                  <a:lnTo>
                    <a:pt x="5901" y="14557"/>
                  </a:lnTo>
                  <a:lnTo>
                    <a:pt x="3147" y="17311"/>
                  </a:lnTo>
                  <a:lnTo>
                    <a:pt x="3541" y="18884"/>
                  </a:lnTo>
                  <a:lnTo>
                    <a:pt x="6295" y="17704"/>
                  </a:lnTo>
                  <a:lnTo>
                    <a:pt x="7475" y="14950"/>
                  </a:lnTo>
                  <a:lnTo>
                    <a:pt x="5901" y="1180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89" name="Freeform: Shape 2983">
              <a:extLst>
                <a:ext uri="{FF2B5EF4-FFF2-40B4-BE49-F238E27FC236}">
                  <a16:creationId xmlns:a16="http://schemas.microsoft.com/office/drawing/2014/main" id="{D51E42CD-F0F9-497C-AEA9-32F284600EA2}"/>
                </a:ext>
              </a:extLst>
            </p:cNvPr>
            <p:cNvSpPr/>
            <p:nvPr/>
          </p:nvSpPr>
          <p:spPr>
            <a:xfrm>
              <a:off x="3764948" y="2901851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0 h 0"/>
                <a:gd name="connsiteX2" fmla="*/ 393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0"/>
                  </a:lnTo>
                  <a:lnTo>
                    <a:pt x="393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90" name="Freeform: Shape 2984">
              <a:extLst>
                <a:ext uri="{FF2B5EF4-FFF2-40B4-BE49-F238E27FC236}">
                  <a16:creationId xmlns:a16="http://schemas.microsoft.com/office/drawing/2014/main" id="{1DC33F4D-D081-4B64-A514-E4AAAC974F99}"/>
                </a:ext>
              </a:extLst>
            </p:cNvPr>
            <p:cNvSpPr/>
            <p:nvPr/>
          </p:nvSpPr>
          <p:spPr>
            <a:xfrm>
              <a:off x="3753539" y="2867623"/>
              <a:ext cx="19671" cy="27540"/>
            </a:xfrm>
            <a:custGeom>
              <a:avLst/>
              <a:gdLst>
                <a:gd name="connsiteX0" fmla="*/ 14163 w 19671"/>
                <a:gd name="connsiteY0" fmla="*/ 29114 h 27539"/>
                <a:gd name="connsiteX1" fmla="*/ 17311 w 19671"/>
                <a:gd name="connsiteY1" fmla="*/ 25966 h 27539"/>
                <a:gd name="connsiteX2" fmla="*/ 20065 w 19671"/>
                <a:gd name="connsiteY2" fmla="*/ 25179 h 27539"/>
                <a:gd name="connsiteX3" fmla="*/ 20065 w 19671"/>
                <a:gd name="connsiteY3" fmla="*/ 22032 h 27539"/>
                <a:gd name="connsiteX4" fmla="*/ 20458 w 19671"/>
                <a:gd name="connsiteY4" fmla="*/ 18884 h 27539"/>
                <a:gd name="connsiteX5" fmla="*/ 20065 w 19671"/>
                <a:gd name="connsiteY5" fmla="*/ 16131 h 27539"/>
                <a:gd name="connsiteX6" fmla="*/ 17704 w 19671"/>
                <a:gd name="connsiteY6" fmla="*/ 12983 h 27539"/>
                <a:gd name="connsiteX7" fmla="*/ 17311 w 19671"/>
                <a:gd name="connsiteY7" fmla="*/ 10229 h 27539"/>
                <a:gd name="connsiteX8" fmla="*/ 16131 w 19671"/>
                <a:gd name="connsiteY8" fmla="*/ 7475 h 27539"/>
                <a:gd name="connsiteX9" fmla="*/ 16131 w 19671"/>
                <a:gd name="connsiteY9" fmla="*/ 4721 h 27539"/>
                <a:gd name="connsiteX10" fmla="*/ 15344 w 19671"/>
                <a:gd name="connsiteY10" fmla="*/ 1967 h 27539"/>
                <a:gd name="connsiteX11" fmla="*/ 12590 w 19671"/>
                <a:gd name="connsiteY11" fmla="*/ 1967 h 27539"/>
                <a:gd name="connsiteX12" fmla="*/ 9836 w 19671"/>
                <a:gd name="connsiteY12" fmla="*/ 0 h 27539"/>
                <a:gd name="connsiteX13" fmla="*/ 9442 w 19671"/>
                <a:gd name="connsiteY13" fmla="*/ 1180 h 27539"/>
                <a:gd name="connsiteX14" fmla="*/ 10229 w 19671"/>
                <a:gd name="connsiteY14" fmla="*/ 3934 h 27539"/>
                <a:gd name="connsiteX15" fmla="*/ 10229 w 19671"/>
                <a:gd name="connsiteY15" fmla="*/ 7082 h 27539"/>
                <a:gd name="connsiteX16" fmla="*/ 9049 w 19671"/>
                <a:gd name="connsiteY16" fmla="*/ 9836 h 27539"/>
                <a:gd name="connsiteX17" fmla="*/ 7082 w 19671"/>
                <a:gd name="connsiteY17" fmla="*/ 12983 h 27539"/>
                <a:gd name="connsiteX18" fmla="*/ 4721 w 19671"/>
                <a:gd name="connsiteY18" fmla="*/ 15737 h 27539"/>
                <a:gd name="connsiteX19" fmla="*/ 6295 w 19671"/>
                <a:gd name="connsiteY19" fmla="*/ 18491 h 27539"/>
                <a:gd name="connsiteX20" fmla="*/ 5115 w 19671"/>
                <a:gd name="connsiteY20" fmla="*/ 21638 h 27539"/>
                <a:gd name="connsiteX21" fmla="*/ 3148 w 19671"/>
                <a:gd name="connsiteY21" fmla="*/ 18491 h 27539"/>
                <a:gd name="connsiteX22" fmla="*/ 0 w 19671"/>
                <a:gd name="connsiteY22" fmla="*/ 20458 h 27539"/>
                <a:gd name="connsiteX23" fmla="*/ 1967 w 19671"/>
                <a:gd name="connsiteY23" fmla="*/ 23212 h 27539"/>
                <a:gd name="connsiteX24" fmla="*/ 5115 w 19671"/>
                <a:gd name="connsiteY24" fmla="*/ 25179 h 27539"/>
                <a:gd name="connsiteX25" fmla="*/ 8262 w 19671"/>
                <a:gd name="connsiteY25" fmla="*/ 24786 h 27539"/>
                <a:gd name="connsiteX26" fmla="*/ 8262 w 19671"/>
                <a:gd name="connsiteY26" fmla="*/ 27933 h 27539"/>
                <a:gd name="connsiteX27" fmla="*/ 11016 w 19671"/>
                <a:gd name="connsiteY27" fmla="*/ 30294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9671" h="27539">
                  <a:moveTo>
                    <a:pt x="14163" y="29114"/>
                  </a:moveTo>
                  <a:lnTo>
                    <a:pt x="17311" y="25966"/>
                  </a:lnTo>
                  <a:lnTo>
                    <a:pt x="20065" y="25179"/>
                  </a:lnTo>
                  <a:lnTo>
                    <a:pt x="20065" y="22032"/>
                  </a:lnTo>
                  <a:lnTo>
                    <a:pt x="20458" y="18884"/>
                  </a:lnTo>
                  <a:lnTo>
                    <a:pt x="20065" y="16131"/>
                  </a:lnTo>
                  <a:lnTo>
                    <a:pt x="17704" y="12983"/>
                  </a:lnTo>
                  <a:lnTo>
                    <a:pt x="17311" y="10229"/>
                  </a:lnTo>
                  <a:lnTo>
                    <a:pt x="16131" y="7475"/>
                  </a:lnTo>
                  <a:lnTo>
                    <a:pt x="16131" y="4721"/>
                  </a:lnTo>
                  <a:lnTo>
                    <a:pt x="15344" y="1967"/>
                  </a:lnTo>
                  <a:lnTo>
                    <a:pt x="12590" y="1967"/>
                  </a:lnTo>
                  <a:lnTo>
                    <a:pt x="9836" y="0"/>
                  </a:lnTo>
                  <a:lnTo>
                    <a:pt x="9442" y="1180"/>
                  </a:lnTo>
                  <a:lnTo>
                    <a:pt x="10229" y="3934"/>
                  </a:lnTo>
                  <a:lnTo>
                    <a:pt x="10229" y="7082"/>
                  </a:lnTo>
                  <a:lnTo>
                    <a:pt x="9049" y="9836"/>
                  </a:lnTo>
                  <a:lnTo>
                    <a:pt x="7082" y="12983"/>
                  </a:lnTo>
                  <a:lnTo>
                    <a:pt x="4721" y="15737"/>
                  </a:lnTo>
                  <a:lnTo>
                    <a:pt x="6295" y="18491"/>
                  </a:lnTo>
                  <a:lnTo>
                    <a:pt x="5115" y="21638"/>
                  </a:lnTo>
                  <a:lnTo>
                    <a:pt x="3148" y="18491"/>
                  </a:lnTo>
                  <a:lnTo>
                    <a:pt x="0" y="20458"/>
                  </a:lnTo>
                  <a:lnTo>
                    <a:pt x="1967" y="23212"/>
                  </a:lnTo>
                  <a:lnTo>
                    <a:pt x="5115" y="25179"/>
                  </a:lnTo>
                  <a:lnTo>
                    <a:pt x="8262" y="24786"/>
                  </a:lnTo>
                  <a:lnTo>
                    <a:pt x="8262" y="27933"/>
                  </a:lnTo>
                  <a:lnTo>
                    <a:pt x="11016" y="302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91" name="Freeform: Shape 2985">
              <a:extLst>
                <a:ext uri="{FF2B5EF4-FFF2-40B4-BE49-F238E27FC236}">
                  <a16:creationId xmlns:a16="http://schemas.microsoft.com/office/drawing/2014/main" id="{22020805-A20D-4BB3-A92C-7CA08BBA193D}"/>
                </a:ext>
              </a:extLst>
            </p:cNvPr>
            <p:cNvSpPr/>
            <p:nvPr/>
          </p:nvSpPr>
          <p:spPr>
            <a:xfrm>
              <a:off x="3808225" y="2856607"/>
              <a:ext cx="15737" cy="27540"/>
            </a:xfrm>
            <a:custGeom>
              <a:avLst/>
              <a:gdLst>
                <a:gd name="connsiteX0" fmla="*/ 11409 w 15737"/>
                <a:gd name="connsiteY0" fmla="*/ 8655 h 27539"/>
                <a:gd name="connsiteX1" fmla="*/ 8262 w 15737"/>
                <a:gd name="connsiteY1" fmla="*/ 6295 h 27539"/>
                <a:gd name="connsiteX2" fmla="*/ 5508 w 15737"/>
                <a:gd name="connsiteY2" fmla="*/ 4721 h 27539"/>
                <a:gd name="connsiteX3" fmla="*/ 2754 w 15737"/>
                <a:gd name="connsiteY3" fmla="*/ 2361 h 27539"/>
                <a:gd name="connsiteX4" fmla="*/ 0 w 15737"/>
                <a:gd name="connsiteY4" fmla="*/ 0 h 27539"/>
                <a:gd name="connsiteX5" fmla="*/ 1180 w 15737"/>
                <a:gd name="connsiteY5" fmla="*/ 3147 h 27539"/>
                <a:gd name="connsiteX6" fmla="*/ 3934 w 15737"/>
                <a:gd name="connsiteY6" fmla="*/ 3934 h 27539"/>
                <a:gd name="connsiteX7" fmla="*/ 4721 w 15737"/>
                <a:gd name="connsiteY7" fmla="*/ 5115 h 27539"/>
                <a:gd name="connsiteX8" fmla="*/ 7475 w 15737"/>
                <a:gd name="connsiteY8" fmla="*/ 6688 h 27539"/>
                <a:gd name="connsiteX9" fmla="*/ 10229 w 15737"/>
                <a:gd name="connsiteY9" fmla="*/ 8655 h 27539"/>
                <a:gd name="connsiteX10" fmla="*/ 11803 w 15737"/>
                <a:gd name="connsiteY10" fmla="*/ 11409 h 27539"/>
                <a:gd name="connsiteX11" fmla="*/ 14557 w 15737"/>
                <a:gd name="connsiteY11" fmla="*/ 14163 h 27539"/>
                <a:gd name="connsiteX12" fmla="*/ 14163 w 15737"/>
                <a:gd name="connsiteY12" fmla="*/ 17311 h 27539"/>
                <a:gd name="connsiteX13" fmla="*/ 12196 w 15737"/>
                <a:gd name="connsiteY13" fmla="*/ 20065 h 27539"/>
                <a:gd name="connsiteX14" fmla="*/ 12196 w 15737"/>
                <a:gd name="connsiteY14" fmla="*/ 23212 h 27539"/>
                <a:gd name="connsiteX15" fmla="*/ 10229 w 15737"/>
                <a:gd name="connsiteY15" fmla="*/ 25966 h 27539"/>
                <a:gd name="connsiteX16" fmla="*/ 12196 w 15737"/>
                <a:gd name="connsiteY16" fmla="*/ 29114 h 27539"/>
                <a:gd name="connsiteX17" fmla="*/ 12196 w 15737"/>
                <a:gd name="connsiteY17" fmla="*/ 25966 h 27539"/>
                <a:gd name="connsiteX18" fmla="*/ 13770 w 15737"/>
                <a:gd name="connsiteY18" fmla="*/ 23212 h 27539"/>
                <a:gd name="connsiteX19" fmla="*/ 13770 w 15737"/>
                <a:gd name="connsiteY19" fmla="*/ 20065 h 27539"/>
                <a:gd name="connsiteX20" fmla="*/ 15344 w 15737"/>
                <a:gd name="connsiteY20" fmla="*/ 17311 h 27539"/>
                <a:gd name="connsiteX21" fmla="*/ 15737 w 15737"/>
                <a:gd name="connsiteY21" fmla="*/ 14557 h 27539"/>
                <a:gd name="connsiteX22" fmla="*/ 13770 w 15737"/>
                <a:gd name="connsiteY22" fmla="*/ 11409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37" h="27539">
                  <a:moveTo>
                    <a:pt x="11409" y="8655"/>
                  </a:moveTo>
                  <a:lnTo>
                    <a:pt x="8262" y="6295"/>
                  </a:lnTo>
                  <a:lnTo>
                    <a:pt x="5508" y="4721"/>
                  </a:lnTo>
                  <a:lnTo>
                    <a:pt x="2754" y="2361"/>
                  </a:lnTo>
                  <a:lnTo>
                    <a:pt x="0" y="0"/>
                  </a:lnTo>
                  <a:lnTo>
                    <a:pt x="1180" y="3147"/>
                  </a:lnTo>
                  <a:lnTo>
                    <a:pt x="3934" y="3934"/>
                  </a:lnTo>
                  <a:lnTo>
                    <a:pt x="4721" y="5115"/>
                  </a:lnTo>
                  <a:lnTo>
                    <a:pt x="7475" y="6688"/>
                  </a:lnTo>
                  <a:lnTo>
                    <a:pt x="10229" y="8655"/>
                  </a:lnTo>
                  <a:lnTo>
                    <a:pt x="11803" y="11409"/>
                  </a:lnTo>
                  <a:lnTo>
                    <a:pt x="14557" y="14163"/>
                  </a:lnTo>
                  <a:lnTo>
                    <a:pt x="14163" y="17311"/>
                  </a:lnTo>
                  <a:lnTo>
                    <a:pt x="12196" y="20065"/>
                  </a:lnTo>
                  <a:lnTo>
                    <a:pt x="12196" y="23212"/>
                  </a:lnTo>
                  <a:lnTo>
                    <a:pt x="10229" y="25966"/>
                  </a:lnTo>
                  <a:lnTo>
                    <a:pt x="12196" y="29114"/>
                  </a:lnTo>
                  <a:lnTo>
                    <a:pt x="12196" y="25966"/>
                  </a:lnTo>
                  <a:lnTo>
                    <a:pt x="13770" y="23212"/>
                  </a:lnTo>
                  <a:lnTo>
                    <a:pt x="13770" y="20065"/>
                  </a:lnTo>
                  <a:lnTo>
                    <a:pt x="15344" y="17311"/>
                  </a:lnTo>
                  <a:lnTo>
                    <a:pt x="15737" y="14557"/>
                  </a:lnTo>
                  <a:lnTo>
                    <a:pt x="13770" y="1140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92" name="Freeform: Shape 2986">
              <a:extLst>
                <a:ext uri="{FF2B5EF4-FFF2-40B4-BE49-F238E27FC236}">
                  <a16:creationId xmlns:a16="http://schemas.microsoft.com/office/drawing/2014/main" id="{092FB875-EA53-45AE-9446-103907CDC70A}"/>
                </a:ext>
              </a:extLst>
            </p:cNvPr>
            <p:cNvSpPr/>
            <p:nvPr/>
          </p:nvSpPr>
          <p:spPr>
            <a:xfrm>
              <a:off x="3783833" y="2871950"/>
              <a:ext cx="3934" cy="3934"/>
            </a:xfrm>
            <a:custGeom>
              <a:avLst/>
              <a:gdLst>
                <a:gd name="connsiteX0" fmla="*/ 394 w 3934"/>
                <a:gd name="connsiteY0" fmla="*/ 393 h 0"/>
                <a:gd name="connsiteX1" fmla="*/ 0 w 3934"/>
                <a:gd name="connsiteY1" fmla="*/ 3147 h 0"/>
                <a:gd name="connsiteX2" fmla="*/ 394 w 3934"/>
                <a:gd name="connsiteY2" fmla="*/ 2754 h 0"/>
                <a:gd name="connsiteX3" fmla="*/ 3147 w 3934"/>
                <a:gd name="connsiteY3" fmla="*/ 2360 h 0"/>
                <a:gd name="connsiteX4" fmla="*/ 6295 w 3934"/>
                <a:gd name="connsiteY4" fmla="*/ 787 h 0"/>
                <a:gd name="connsiteX5" fmla="*/ 3147 w 3934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394" y="393"/>
                  </a:moveTo>
                  <a:lnTo>
                    <a:pt x="0" y="3147"/>
                  </a:lnTo>
                  <a:lnTo>
                    <a:pt x="394" y="2754"/>
                  </a:lnTo>
                  <a:lnTo>
                    <a:pt x="3147" y="2360"/>
                  </a:lnTo>
                  <a:lnTo>
                    <a:pt x="6295" y="78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93" name="Freeform: Shape 2987">
              <a:extLst>
                <a:ext uri="{FF2B5EF4-FFF2-40B4-BE49-F238E27FC236}">
                  <a16:creationId xmlns:a16="http://schemas.microsoft.com/office/drawing/2014/main" id="{F9E987F3-E47D-4A5D-A68E-10FA52BFF221}"/>
                </a:ext>
              </a:extLst>
            </p:cNvPr>
            <p:cNvSpPr/>
            <p:nvPr/>
          </p:nvSpPr>
          <p:spPr>
            <a:xfrm>
              <a:off x="3791701" y="2865262"/>
              <a:ext cx="7869" cy="3934"/>
            </a:xfrm>
            <a:custGeom>
              <a:avLst/>
              <a:gdLst>
                <a:gd name="connsiteX0" fmla="*/ 1180 w 7868"/>
                <a:gd name="connsiteY0" fmla="*/ 5901 h 3934"/>
                <a:gd name="connsiteX1" fmla="*/ 4328 w 7868"/>
                <a:gd name="connsiteY1" fmla="*/ 4328 h 3934"/>
                <a:gd name="connsiteX2" fmla="*/ 9836 w 7868"/>
                <a:gd name="connsiteY2" fmla="*/ 0 h 3934"/>
                <a:gd name="connsiteX3" fmla="*/ 0 w 7868"/>
                <a:gd name="connsiteY3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68" h="3934">
                  <a:moveTo>
                    <a:pt x="1180" y="5901"/>
                  </a:moveTo>
                  <a:lnTo>
                    <a:pt x="4328" y="4328"/>
                  </a:lnTo>
                  <a:lnTo>
                    <a:pt x="9836" y="0"/>
                  </a:lnTo>
                  <a:lnTo>
                    <a:pt x="0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94" name="Freeform: Shape 2988">
              <a:extLst>
                <a:ext uri="{FF2B5EF4-FFF2-40B4-BE49-F238E27FC236}">
                  <a16:creationId xmlns:a16="http://schemas.microsoft.com/office/drawing/2014/main" id="{3CBB19F5-A39A-44C6-A31E-882ACDC414F7}"/>
                </a:ext>
              </a:extLst>
            </p:cNvPr>
            <p:cNvSpPr/>
            <p:nvPr/>
          </p:nvSpPr>
          <p:spPr>
            <a:xfrm>
              <a:off x="3753539" y="2966766"/>
              <a:ext cx="3934" cy="3934"/>
            </a:xfrm>
            <a:custGeom>
              <a:avLst/>
              <a:gdLst>
                <a:gd name="connsiteX0" fmla="*/ 2754 w 3934"/>
                <a:gd name="connsiteY0" fmla="*/ 2754 h 3934"/>
                <a:gd name="connsiteX1" fmla="*/ 1180 w 3934"/>
                <a:gd name="connsiteY1" fmla="*/ 0 h 3934"/>
                <a:gd name="connsiteX2" fmla="*/ 0 w 3934"/>
                <a:gd name="connsiteY2" fmla="*/ 2754 h 3934"/>
                <a:gd name="connsiteX3" fmla="*/ 1180 w 3934"/>
                <a:gd name="connsiteY3" fmla="*/ 5508 h 3934"/>
                <a:gd name="connsiteX4" fmla="*/ 3934 w 3934"/>
                <a:gd name="connsiteY4" fmla="*/ 6688 h 3934"/>
                <a:gd name="connsiteX5" fmla="*/ 5115 w 3934"/>
                <a:gd name="connsiteY5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2754" y="2754"/>
                  </a:moveTo>
                  <a:lnTo>
                    <a:pt x="1180" y="0"/>
                  </a:lnTo>
                  <a:lnTo>
                    <a:pt x="0" y="2754"/>
                  </a:lnTo>
                  <a:lnTo>
                    <a:pt x="1180" y="5508"/>
                  </a:lnTo>
                  <a:lnTo>
                    <a:pt x="3934" y="6688"/>
                  </a:lnTo>
                  <a:lnTo>
                    <a:pt x="5115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95" name="Freeform: Shape 2989">
              <a:extLst>
                <a:ext uri="{FF2B5EF4-FFF2-40B4-BE49-F238E27FC236}">
                  <a16:creationId xmlns:a16="http://schemas.microsoft.com/office/drawing/2014/main" id="{1DCC53B1-C330-4250-AAE8-DD47AEC5688C}"/>
                </a:ext>
              </a:extLst>
            </p:cNvPr>
            <p:cNvSpPr/>
            <p:nvPr/>
          </p:nvSpPr>
          <p:spPr>
            <a:xfrm>
              <a:off x="3759047" y="2967946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574 w 0"/>
                <a:gd name="connsiteY1" fmla="*/ 3147 h 0"/>
                <a:gd name="connsiteX2" fmla="*/ 157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574" y="3147"/>
                  </a:lnTo>
                  <a:lnTo>
                    <a:pt x="157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96" name="Freeform: Shape 2990">
              <a:extLst>
                <a:ext uri="{FF2B5EF4-FFF2-40B4-BE49-F238E27FC236}">
                  <a16:creationId xmlns:a16="http://schemas.microsoft.com/office/drawing/2014/main" id="{704C2647-2710-4277-8E00-A0F22B26EF14}"/>
                </a:ext>
              </a:extLst>
            </p:cNvPr>
            <p:cNvSpPr/>
            <p:nvPr/>
          </p:nvSpPr>
          <p:spPr>
            <a:xfrm>
              <a:off x="3863698" y="2952603"/>
              <a:ext cx="11803" cy="15737"/>
            </a:xfrm>
            <a:custGeom>
              <a:avLst/>
              <a:gdLst>
                <a:gd name="connsiteX0" fmla="*/ 7475 w 11802"/>
                <a:gd name="connsiteY0" fmla="*/ 10622 h 15737"/>
                <a:gd name="connsiteX1" fmla="*/ 4721 w 11802"/>
                <a:gd name="connsiteY1" fmla="*/ 12983 h 15737"/>
                <a:gd name="connsiteX2" fmla="*/ 2754 w 11802"/>
                <a:gd name="connsiteY2" fmla="*/ 15737 h 15737"/>
                <a:gd name="connsiteX3" fmla="*/ 1180 w 11802"/>
                <a:gd name="connsiteY3" fmla="*/ 16917 h 15737"/>
                <a:gd name="connsiteX4" fmla="*/ 0 w 11802"/>
                <a:gd name="connsiteY4" fmla="*/ 18098 h 15737"/>
                <a:gd name="connsiteX5" fmla="*/ 1574 w 11802"/>
                <a:gd name="connsiteY5" fmla="*/ 16917 h 15737"/>
                <a:gd name="connsiteX6" fmla="*/ 4328 w 11802"/>
                <a:gd name="connsiteY6" fmla="*/ 14950 h 15737"/>
                <a:gd name="connsiteX7" fmla="*/ 7082 w 11802"/>
                <a:gd name="connsiteY7" fmla="*/ 13376 h 15737"/>
                <a:gd name="connsiteX8" fmla="*/ 9836 w 11802"/>
                <a:gd name="connsiteY8" fmla="*/ 11803 h 15737"/>
                <a:gd name="connsiteX9" fmla="*/ 12196 w 11802"/>
                <a:gd name="connsiteY9" fmla="*/ 8655 h 15737"/>
                <a:gd name="connsiteX10" fmla="*/ 14557 w 11802"/>
                <a:gd name="connsiteY10" fmla="*/ 5901 h 15737"/>
                <a:gd name="connsiteX11" fmla="*/ 14163 w 11802"/>
                <a:gd name="connsiteY11" fmla="*/ 2754 h 15737"/>
                <a:gd name="connsiteX12" fmla="*/ 12983 w 11802"/>
                <a:gd name="connsiteY12" fmla="*/ 0 h 15737"/>
                <a:gd name="connsiteX13" fmla="*/ 9836 w 11802"/>
                <a:gd name="connsiteY13" fmla="*/ 1180 h 15737"/>
                <a:gd name="connsiteX14" fmla="*/ 10623 w 11802"/>
                <a:gd name="connsiteY14" fmla="*/ 3934 h 15737"/>
                <a:gd name="connsiteX15" fmla="*/ 13377 w 11802"/>
                <a:gd name="connsiteY15" fmla="*/ 6688 h 15737"/>
                <a:gd name="connsiteX16" fmla="*/ 10623 w 11802"/>
                <a:gd name="connsiteY16" fmla="*/ 8262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802" h="15737">
                  <a:moveTo>
                    <a:pt x="7475" y="10622"/>
                  </a:moveTo>
                  <a:lnTo>
                    <a:pt x="4721" y="12983"/>
                  </a:lnTo>
                  <a:lnTo>
                    <a:pt x="2754" y="15737"/>
                  </a:lnTo>
                  <a:lnTo>
                    <a:pt x="1180" y="16917"/>
                  </a:lnTo>
                  <a:lnTo>
                    <a:pt x="0" y="18098"/>
                  </a:lnTo>
                  <a:lnTo>
                    <a:pt x="1574" y="16917"/>
                  </a:lnTo>
                  <a:lnTo>
                    <a:pt x="4328" y="14950"/>
                  </a:lnTo>
                  <a:lnTo>
                    <a:pt x="7082" y="13376"/>
                  </a:lnTo>
                  <a:lnTo>
                    <a:pt x="9836" y="11803"/>
                  </a:lnTo>
                  <a:lnTo>
                    <a:pt x="12196" y="8655"/>
                  </a:lnTo>
                  <a:lnTo>
                    <a:pt x="14557" y="5901"/>
                  </a:lnTo>
                  <a:lnTo>
                    <a:pt x="14163" y="2754"/>
                  </a:lnTo>
                  <a:lnTo>
                    <a:pt x="12983" y="0"/>
                  </a:lnTo>
                  <a:lnTo>
                    <a:pt x="9836" y="1180"/>
                  </a:lnTo>
                  <a:lnTo>
                    <a:pt x="10623" y="3934"/>
                  </a:lnTo>
                  <a:lnTo>
                    <a:pt x="13377" y="6688"/>
                  </a:lnTo>
                  <a:lnTo>
                    <a:pt x="10623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97" name="Freeform: Shape 2991">
              <a:extLst>
                <a:ext uri="{FF2B5EF4-FFF2-40B4-BE49-F238E27FC236}">
                  <a16:creationId xmlns:a16="http://schemas.microsoft.com/office/drawing/2014/main" id="{0BC6830E-A607-47BB-92E4-572A92F84B07}"/>
                </a:ext>
              </a:extLst>
            </p:cNvPr>
            <p:cNvSpPr/>
            <p:nvPr/>
          </p:nvSpPr>
          <p:spPr>
            <a:xfrm>
              <a:off x="3746457" y="2961651"/>
              <a:ext cx="3934" cy="3934"/>
            </a:xfrm>
            <a:custGeom>
              <a:avLst/>
              <a:gdLst>
                <a:gd name="connsiteX0" fmla="*/ 0 w 3934"/>
                <a:gd name="connsiteY0" fmla="*/ 787 h 3934"/>
                <a:gd name="connsiteX1" fmla="*/ 1574 w 3934"/>
                <a:gd name="connsiteY1" fmla="*/ 3934 h 3934"/>
                <a:gd name="connsiteX2" fmla="*/ 4328 w 3934"/>
                <a:gd name="connsiteY2" fmla="*/ 4721 h 3934"/>
                <a:gd name="connsiteX3" fmla="*/ 7082 w 3934"/>
                <a:gd name="connsiteY3" fmla="*/ 5901 h 3934"/>
                <a:gd name="connsiteX4" fmla="*/ 6295 w 3934"/>
                <a:gd name="connsiteY4" fmla="*/ 4721 h 3934"/>
                <a:gd name="connsiteX5" fmla="*/ 5901 w 3934"/>
                <a:gd name="connsiteY5" fmla="*/ 1574 h 3934"/>
                <a:gd name="connsiteX6" fmla="*/ 3147 w 3934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0" y="787"/>
                  </a:moveTo>
                  <a:lnTo>
                    <a:pt x="1574" y="3934"/>
                  </a:lnTo>
                  <a:lnTo>
                    <a:pt x="4328" y="4721"/>
                  </a:lnTo>
                  <a:lnTo>
                    <a:pt x="7082" y="5901"/>
                  </a:lnTo>
                  <a:lnTo>
                    <a:pt x="6295" y="4721"/>
                  </a:lnTo>
                  <a:lnTo>
                    <a:pt x="5901" y="157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98" name="Freeform: Shape 2992">
              <a:extLst>
                <a:ext uri="{FF2B5EF4-FFF2-40B4-BE49-F238E27FC236}">
                  <a16:creationId xmlns:a16="http://schemas.microsoft.com/office/drawing/2014/main" id="{85E5F19D-FFF8-4FC2-8FBF-68E63205487A}"/>
                </a:ext>
              </a:extLst>
            </p:cNvPr>
            <p:cNvSpPr/>
            <p:nvPr/>
          </p:nvSpPr>
          <p:spPr>
            <a:xfrm>
              <a:off x="3898320" y="2962045"/>
              <a:ext cx="7869" cy="3934"/>
            </a:xfrm>
            <a:custGeom>
              <a:avLst/>
              <a:gdLst>
                <a:gd name="connsiteX0" fmla="*/ 0 w 7868"/>
                <a:gd name="connsiteY0" fmla="*/ 0 h 3934"/>
                <a:gd name="connsiteX1" fmla="*/ 787 w 7868"/>
                <a:gd name="connsiteY1" fmla="*/ 2754 h 3934"/>
                <a:gd name="connsiteX2" fmla="*/ 3541 w 7868"/>
                <a:gd name="connsiteY2" fmla="*/ 2361 h 3934"/>
                <a:gd name="connsiteX3" fmla="*/ 6688 w 7868"/>
                <a:gd name="connsiteY3" fmla="*/ 2361 h 3934"/>
                <a:gd name="connsiteX4" fmla="*/ 9442 w 7868"/>
                <a:gd name="connsiteY4" fmla="*/ 5114 h 3934"/>
                <a:gd name="connsiteX5" fmla="*/ 10229 w 7868"/>
                <a:gd name="connsiteY5" fmla="*/ 4721 h 3934"/>
                <a:gd name="connsiteX6" fmla="*/ 8262 w 7868"/>
                <a:gd name="connsiteY6" fmla="*/ 1574 h 3934"/>
                <a:gd name="connsiteX7" fmla="*/ 5508 w 7868"/>
                <a:gd name="connsiteY7" fmla="*/ 1574 h 3934"/>
                <a:gd name="connsiteX8" fmla="*/ 2754 w 7868"/>
                <a:gd name="connsiteY8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0" y="0"/>
                  </a:moveTo>
                  <a:lnTo>
                    <a:pt x="787" y="2754"/>
                  </a:lnTo>
                  <a:lnTo>
                    <a:pt x="3541" y="2361"/>
                  </a:lnTo>
                  <a:lnTo>
                    <a:pt x="6688" y="2361"/>
                  </a:lnTo>
                  <a:lnTo>
                    <a:pt x="9442" y="5114"/>
                  </a:lnTo>
                  <a:lnTo>
                    <a:pt x="10229" y="4721"/>
                  </a:lnTo>
                  <a:lnTo>
                    <a:pt x="8262" y="1574"/>
                  </a:lnTo>
                  <a:lnTo>
                    <a:pt x="5508" y="157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99" name="Freeform: Shape 2993">
              <a:extLst>
                <a:ext uri="{FF2B5EF4-FFF2-40B4-BE49-F238E27FC236}">
                  <a16:creationId xmlns:a16="http://schemas.microsoft.com/office/drawing/2014/main" id="{FE0793DB-E4D7-4705-9022-56A2DB60525F}"/>
                </a:ext>
              </a:extLst>
            </p:cNvPr>
            <p:cNvSpPr/>
            <p:nvPr/>
          </p:nvSpPr>
          <p:spPr>
            <a:xfrm>
              <a:off x="3737015" y="2958111"/>
              <a:ext cx="7869" cy="3934"/>
            </a:xfrm>
            <a:custGeom>
              <a:avLst/>
              <a:gdLst>
                <a:gd name="connsiteX0" fmla="*/ 5901 w 7868"/>
                <a:gd name="connsiteY0" fmla="*/ 0 h 3934"/>
                <a:gd name="connsiteX1" fmla="*/ 2754 w 7868"/>
                <a:gd name="connsiteY1" fmla="*/ 787 h 3934"/>
                <a:gd name="connsiteX2" fmla="*/ 0 w 7868"/>
                <a:gd name="connsiteY2" fmla="*/ 1967 h 3934"/>
                <a:gd name="connsiteX3" fmla="*/ 2754 w 7868"/>
                <a:gd name="connsiteY3" fmla="*/ 3541 h 3934"/>
                <a:gd name="connsiteX4" fmla="*/ 5508 w 7868"/>
                <a:gd name="connsiteY4" fmla="*/ 4328 h 3934"/>
                <a:gd name="connsiteX5" fmla="*/ 7082 w 7868"/>
                <a:gd name="connsiteY5" fmla="*/ 3934 h 3934"/>
                <a:gd name="connsiteX6" fmla="*/ 10229 w 7868"/>
                <a:gd name="connsiteY6" fmla="*/ 3541 h 3934"/>
                <a:gd name="connsiteX7" fmla="*/ 8655 w 7868"/>
                <a:gd name="connsiteY7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901" y="0"/>
                  </a:moveTo>
                  <a:lnTo>
                    <a:pt x="2754" y="787"/>
                  </a:lnTo>
                  <a:lnTo>
                    <a:pt x="0" y="1967"/>
                  </a:lnTo>
                  <a:lnTo>
                    <a:pt x="2754" y="3541"/>
                  </a:lnTo>
                  <a:lnTo>
                    <a:pt x="5508" y="4328"/>
                  </a:lnTo>
                  <a:lnTo>
                    <a:pt x="7082" y="3934"/>
                  </a:lnTo>
                  <a:lnTo>
                    <a:pt x="10229" y="3541"/>
                  </a:lnTo>
                  <a:lnTo>
                    <a:pt x="8655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00" name="Freeform: Shape 2994">
              <a:extLst>
                <a:ext uri="{FF2B5EF4-FFF2-40B4-BE49-F238E27FC236}">
                  <a16:creationId xmlns:a16="http://schemas.microsoft.com/office/drawing/2014/main" id="{514A8DDC-DCFC-45C4-940A-AEA23E265079}"/>
                </a:ext>
              </a:extLst>
            </p:cNvPr>
            <p:cNvSpPr/>
            <p:nvPr/>
          </p:nvSpPr>
          <p:spPr>
            <a:xfrm>
              <a:off x="3711049" y="2951029"/>
              <a:ext cx="3934" cy="3934"/>
            </a:xfrm>
            <a:custGeom>
              <a:avLst/>
              <a:gdLst>
                <a:gd name="connsiteX0" fmla="*/ 6295 w 3934"/>
                <a:gd name="connsiteY0" fmla="*/ 4721 h 3934"/>
                <a:gd name="connsiteX1" fmla="*/ 5901 w 3934"/>
                <a:gd name="connsiteY1" fmla="*/ 4328 h 3934"/>
                <a:gd name="connsiteX2" fmla="*/ 3147 w 3934"/>
                <a:gd name="connsiteY2" fmla="*/ 1574 h 3934"/>
                <a:gd name="connsiteX3" fmla="*/ 0 w 3934"/>
                <a:gd name="connsiteY3" fmla="*/ 0 h 3934"/>
                <a:gd name="connsiteX4" fmla="*/ 3147 w 3934"/>
                <a:gd name="connsiteY4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6295" y="4721"/>
                  </a:moveTo>
                  <a:lnTo>
                    <a:pt x="5901" y="4328"/>
                  </a:lnTo>
                  <a:lnTo>
                    <a:pt x="3147" y="1574"/>
                  </a:lnTo>
                  <a:lnTo>
                    <a:pt x="0" y="0"/>
                  </a:lnTo>
                  <a:lnTo>
                    <a:pt x="3147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01" name="Freeform: Shape 2995">
              <a:extLst>
                <a:ext uri="{FF2B5EF4-FFF2-40B4-BE49-F238E27FC236}">
                  <a16:creationId xmlns:a16="http://schemas.microsoft.com/office/drawing/2014/main" id="{FA2A6A51-4531-4C02-B433-E334106510DC}"/>
                </a:ext>
              </a:extLst>
            </p:cNvPr>
            <p:cNvSpPr/>
            <p:nvPr/>
          </p:nvSpPr>
          <p:spPr>
            <a:xfrm>
              <a:off x="3724425" y="2953783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393 h 0"/>
                <a:gd name="connsiteX2" fmla="*/ 2754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393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02" name="Freeform: Shape 2996">
              <a:extLst>
                <a:ext uri="{FF2B5EF4-FFF2-40B4-BE49-F238E27FC236}">
                  <a16:creationId xmlns:a16="http://schemas.microsoft.com/office/drawing/2014/main" id="{09049314-93B1-44E2-BC39-56EC4BA73F42}"/>
                </a:ext>
              </a:extLst>
            </p:cNvPr>
            <p:cNvSpPr/>
            <p:nvPr/>
          </p:nvSpPr>
          <p:spPr>
            <a:xfrm>
              <a:off x="3865665" y="2948275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0 w 3934"/>
                <a:gd name="connsiteY1" fmla="*/ 2754 h 3934"/>
                <a:gd name="connsiteX2" fmla="*/ 2754 w 3934"/>
                <a:gd name="connsiteY2" fmla="*/ 5114 h 3934"/>
                <a:gd name="connsiteX3" fmla="*/ 5508 w 3934"/>
                <a:gd name="connsiteY3" fmla="*/ 6295 h 3934"/>
                <a:gd name="connsiteX4" fmla="*/ 5508 w 3934"/>
                <a:gd name="connsiteY4" fmla="*/ 3541 h 3934"/>
                <a:gd name="connsiteX5" fmla="*/ 2754 w 3934"/>
                <a:gd name="connsiteY5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0" y="2754"/>
                  </a:lnTo>
                  <a:lnTo>
                    <a:pt x="2754" y="5114"/>
                  </a:lnTo>
                  <a:lnTo>
                    <a:pt x="5508" y="6295"/>
                  </a:lnTo>
                  <a:lnTo>
                    <a:pt x="5508" y="3541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03" name="Freeform: Shape 2997">
              <a:extLst>
                <a:ext uri="{FF2B5EF4-FFF2-40B4-BE49-F238E27FC236}">
                  <a16:creationId xmlns:a16="http://schemas.microsoft.com/office/drawing/2014/main" id="{8497E861-4B5A-441E-A6B2-F7786CD370D9}"/>
                </a:ext>
              </a:extLst>
            </p:cNvPr>
            <p:cNvSpPr/>
            <p:nvPr/>
          </p:nvSpPr>
          <p:spPr>
            <a:xfrm>
              <a:off x="3840093" y="2919948"/>
              <a:ext cx="7869" cy="23606"/>
            </a:xfrm>
            <a:custGeom>
              <a:avLst/>
              <a:gdLst>
                <a:gd name="connsiteX0" fmla="*/ 4328 w 7868"/>
                <a:gd name="connsiteY0" fmla="*/ 10229 h 23605"/>
                <a:gd name="connsiteX1" fmla="*/ 2754 w 7868"/>
                <a:gd name="connsiteY1" fmla="*/ 7082 h 23605"/>
                <a:gd name="connsiteX2" fmla="*/ 2361 w 7868"/>
                <a:gd name="connsiteY2" fmla="*/ 4328 h 23605"/>
                <a:gd name="connsiteX3" fmla="*/ 1180 w 7868"/>
                <a:gd name="connsiteY3" fmla="*/ 1180 h 23605"/>
                <a:gd name="connsiteX4" fmla="*/ 394 w 7868"/>
                <a:gd name="connsiteY4" fmla="*/ 0 h 23605"/>
                <a:gd name="connsiteX5" fmla="*/ 0 w 7868"/>
                <a:gd name="connsiteY5" fmla="*/ 2754 h 23605"/>
                <a:gd name="connsiteX6" fmla="*/ 787 w 7868"/>
                <a:gd name="connsiteY6" fmla="*/ 5901 h 23605"/>
                <a:gd name="connsiteX7" fmla="*/ 2361 w 7868"/>
                <a:gd name="connsiteY7" fmla="*/ 9049 h 23605"/>
                <a:gd name="connsiteX8" fmla="*/ 3934 w 7868"/>
                <a:gd name="connsiteY8" fmla="*/ 11803 h 23605"/>
                <a:gd name="connsiteX9" fmla="*/ 3148 w 7868"/>
                <a:gd name="connsiteY9" fmla="*/ 14950 h 23605"/>
                <a:gd name="connsiteX10" fmla="*/ 3934 w 7868"/>
                <a:gd name="connsiteY10" fmla="*/ 17704 h 23605"/>
                <a:gd name="connsiteX11" fmla="*/ 787 w 7868"/>
                <a:gd name="connsiteY11" fmla="*/ 16131 h 23605"/>
                <a:gd name="connsiteX12" fmla="*/ 2754 w 7868"/>
                <a:gd name="connsiteY12" fmla="*/ 18885 h 23605"/>
                <a:gd name="connsiteX13" fmla="*/ 5901 w 7868"/>
                <a:gd name="connsiteY13" fmla="*/ 20065 h 23605"/>
                <a:gd name="connsiteX14" fmla="*/ 8262 w 7868"/>
                <a:gd name="connsiteY14" fmla="*/ 22819 h 23605"/>
                <a:gd name="connsiteX15" fmla="*/ 9049 w 7868"/>
                <a:gd name="connsiteY15" fmla="*/ 25966 h 23605"/>
                <a:gd name="connsiteX16" fmla="*/ 10623 w 7868"/>
                <a:gd name="connsiteY16" fmla="*/ 22819 h 23605"/>
                <a:gd name="connsiteX17" fmla="*/ 8655 w 7868"/>
                <a:gd name="connsiteY17" fmla="*/ 20065 h 23605"/>
                <a:gd name="connsiteX18" fmla="*/ 5901 w 7868"/>
                <a:gd name="connsiteY18" fmla="*/ 18885 h 23605"/>
                <a:gd name="connsiteX19" fmla="*/ 4721 w 7868"/>
                <a:gd name="connsiteY19" fmla="*/ 16131 h 23605"/>
                <a:gd name="connsiteX20" fmla="*/ 4721 w 7868"/>
                <a:gd name="connsiteY20" fmla="*/ 13376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868" h="23605">
                  <a:moveTo>
                    <a:pt x="4328" y="10229"/>
                  </a:moveTo>
                  <a:lnTo>
                    <a:pt x="2754" y="7082"/>
                  </a:lnTo>
                  <a:lnTo>
                    <a:pt x="2361" y="4328"/>
                  </a:lnTo>
                  <a:lnTo>
                    <a:pt x="1180" y="1180"/>
                  </a:lnTo>
                  <a:lnTo>
                    <a:pt x="394" y="0"/>
                  </a:lnTo>
                  <a:lnTo>
                    <a:pt x="0" y="2754"/>
                  </a:lnTo>
                  <a:lnTo>
                    <a:pt x="787" y="5901"/>
                  </a:lnTo>
                  <a:lnTo>
                    <a:pt x="2361" y="9049"/>
                  </a:lnTo>
                  <a:lnTo>
                    <a:pt x="3934" y="11803"/>
                  </a:lnTo>
                  <a:lnTo>
                    <a:pt x="3148" y="14950"/>
                  </a:lnTo>
                  <a:lnTo>
                    <a:pt x="3934" y="17704"/>
                  </a:lnTo>
                  <a:lnTo>
                    <a:pt x="787" y="16131"/>
                  </a:lnTo>
                  <a:lnTo>
                    <a:pt x="2754" y="18885"/>
                  </a:lnTo>
                  <a:lnTo>
                    <a:pt x="5901" y="20065"/>
                  </a:lnTo>
                  <a:lnTo>
                    <a:pt x="8262" y="22819"/>
                  </a:lnTo>
                  <a:lnTo>
                    <a:pt x="9049" y="25966"/>
                  </a:lnTo>
                  <a:lnTo>
                    <a:pt x="10623" y="22819"/>
                  </a:lnTo>
                  <a:lnTo>
                    <a:pt x="8655" y="20065"/>
                  </a:lnTo>
                  <a:lnTo>
                    <a:pt x="5901" y="18885"/>
                  </a:lnTo>
                  <a:lnTo>
                    <a:pt x="4721" y="16131"/>
                  </a:lnTo>
                  <a:lnTo>
                    <a:pt x="4721" y="1337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04" name="Freeform: Shape 2998">
              <a:extLst>
                <a:ext uri="{FF2B5EF4-FFF2-40B4-BE49-F238E27FC236}">
                  <a16:creationId xmlns:a16="http://schemas.microsoft.com/office/drawing/2014/main" id="{96909DB2-B4AE-467A-A7CE-A807461CFCBC}"/>
                </a:ext>
              </a:extLst>
            </p:cNvPr>
            <p:cNvSpPr/>
            <p:nvPr/>
          </p:nvSpPr>
          <p:spPr>
            <a:xfrm>
              <a:off x="3829470" y="2927817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0 w 0"/>
                <a:gd name="connsiteY1" fmla="*/ 0 h 0"/>
                <a:gd name="connsiteX2" fmla="*/ 3147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0" y="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05" name="Freeform: Shape 2999">
              <a:extLst>
                <a:ext uri="{FF2B5EF4-FFF2-40B4-BE49-F238E27FC236}">
                  <a16:creationId xmlns:a16="http://schemas.microsoft.com/office/drawing/2014/main" id="{80486DDF-AE28-4172-AE6B-3778D012C38B}"/>
                </a:ext>
              </a:extLst>
            </p:cNvPr>
            <p:cNvSpPr/>
            <p:nvPr/>
          </p:nvSpPr>
          <p:spPr>
            <a:xfrm>
              <a:off x="3875108" y="2999814"/>
              <a:ext cx="19671" cy="11803"/>
            </a:xfrm>
            <a:custGeom>
              <a:avLst/>
              <a:gdLst>
                <a:gd name="connsiteX0" fmla="*/ 1967 w 19671"/>
                <a:gd name="connsiteY0" fmla="*/ 8262 h 11802"/>
                <a:gd name="connsiteX1" fmla="*/ 0 w 19671"/>
                <a:gd name="connsiteY1" fmla="*/ 11016 h 11802"/>
                <a:gd name="connsiteX2" fmla="*/ 787 w 19671"/>
                <a:gd name="connsiteY2" fmla="*/ 13770 h 11802"/>
                <a:gd name="connsiteX3" fmla="*/ 1967 w 19671"/>
                <a:gd name="connsiteY3" fmla="*/ 13376 h 11802"/>
                <a:gd name="connsiteX4" fmla="*/ 7869 w 19671"/>
                <a:gd name="connsiteY4" fmla="*/ 13376 h 11802"/>
                <a:gd name="connsiteX5" fmla="*/ 10623 w 19671"/>
                <a:gd name="connsiteY5" fmla="*/ 12590 h 11802"/>
                <a:gd name="connsiteX6" fmla="*/ 13377 w 19671"/>
                <a:gd name="connsiteY6" fmla="*/ 12196 h 11802"/>
                <a:gd name="connsiteX7" fmla="*/ 16130 w 19671"/>
                <a:gd name="connsiteY7" fmla="*/ 11409 h 11802"/>
                <a:gd name="connsiteX8" fmla="*/ 18098 w 19671"/>
                <a:gd name="connsiteY8" fmla="*/ 8655 h 11802"/>
                <a:gd name="connsiteX9" fmla="*/ 20458 w 19671"/>
                <a:gd name="connsiteY9" fmla="*/ 5901 h 11802"/>
                <a:gd name="connsiteX10" fmla="*/ 21245 w 19671"/>
                <a:gd name="connsiteY10" fmla="*/ 2754 h 11802"/>
                <a:gd name="connsiteX11" fmla="*/ 22032 w 19671"/>
                <a:gd name="connsiteY11" fmla="*/ 0 h 11802"/>
                <a:gd name="connsiteX12" fmla="*/ 19278 w 19671"/>
                <a:gd name="connsiteY12" fmla="*/ 2360 h 11802"/>
                <a:gd name="connsiteX13" fmla="*/ 16130 w 19671"/>
                <a:gd name="connsiteY13" fmla="*/ 5114 h 11802"/>
                <a:gd name="connsiteX14" fmla="*/ 13377 w 19671"/>
                <a:gd name="connsiteY14" fmla="*/ 6295 h 11802"/>
                <a:gd name="connsiteX15" fmla="*/ 10623 w 19671"/>
                <a:gd name="connsiteY15" fmla="*/ 3541 h 11802"/>
                <a:gd name="connsiteX16" fmla="*/ 7475 w 19671"/>
                <a:gd name="connsiteY16" fmla="*/ 4328 h 11802"/>
                <a:gd name="connsiteX17" fmla="*/ 4721 w 19671"/>
                <a:gd name="connsiteY17" fmla="*/ 629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671" h="11802">
                  <a:moveTo>
                    <a:pt x="1967" y="8262"/>
                  </a:moveTo>
                  <a:lnTo>
                    <a:pt x="0" y="11016"/>
                  </a:lnTo>
                  <a:lnTo>
                    <a:pt x="787" y="13770"/>
                  </a:lnTo>
                  <a:lnTo>
                    <a:pt x="1967" y="13376"/>
                  </a:lnTo>
                  <a:lnTo>
                    <a:pt x="7869" y="13376"/>
                  </a:lnTo>
                  <a:lnTo>
                    <a:pt x="10623" y="12590"/>
                  </a:lnTo>
                  <a:lnTo>
                    <a:pt x="13377" y="12196"/>
                  </a:lnTo>
                  <a:lnTo>
                    <a:pt x="16130" y="11409"/>
                  </a:lnTo>
                  <a:lnTo>
                    <a:pt x="18098" y="8655"/>
                  </a:lnTo>
                  <a:lnTo>
                    <a:pt x="20458" y="5901"/>
                  </a:lnTo>
                  <a:lnTo>
                    <a:pt x="21245" y="2754"/>
                  </a:lnTo>
                  <a:lnTo>
                    <a:pt x="22032" y="0"/>
                  </a:lnTo>
                  <a:lnTo>
                    <a:pt x="19278" y="2360"/>
                  </a:lnTo>
                  <a:lnTo>
                    <a:pt x="16130" y="5114"/>
                  </a:lnTo>
                  <a:lnTo>
                    <a:pt x="13377" y="6295"/>
                  </a:lnTo>
                  <a:lnTo>
                    <a:pt x="10623" y="3541"/>
                  </a:lnTo>
                  <a:lnTo>
                    <a:pt x="7475" y="4328"/>
                  </a:lnTo>
                  <a:lnTo>
                    <a:pt x="4721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06" name="Freeform: Shape 3000">
              <a:extLst>
                <a:ext uri="{FF2B5EF4-FFF2-40B4-BE49-F238E27FC236}">
                  <a16:creationId xmlns:a16="http://schemas.microsoft.com/office/drawing/2014/main" id="{4AD14CFC-2C98-4BAB-AC2F-D192101CBBF6}"/>
                </a:ext>
              </a:extLst>
            </p:cNvPr>
            <p:cNvSpPr/>
            <p:nvPr/>
          </p:nvSpPr>
          <p:spPr>
            <a:xfrm>
              <a:off x="3896746" y="2992732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07" name="Freeform: Shape 3001">
              <a:extLst>
                <a:ext uri="{FF2B5EF4-FFF2-40B4-BE49-F238E27FC236}">
                  <a16:creationId xmlns:a16="http://schemas.microsoft.com/office/drawing/2014/main" id="{5AE4C5BF-74BF-4941-B88C-A2D239FB9E2C}"/>
                </a:ext>
              </a:extLst>
            </p:cNvPr>
            <p:cNvSpPr/>
            <p:nvPr/>
          </p:nvSpPr>
          <p:spPr>
            <a:xfrm>
              <a:off x="3940810" y="2985650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0 w 0"/>
                <a:gd name="connsiteY1" fmla="*/ 0 h 0"/>
                <a:gd name="connsiteX2" fmla="*/ 314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0" y="0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08" name="Freeform: Shape 3002">
              <a:extLst>
                <a:ext uri="{FF2B5EF4-FFF2-40B4-BE49-F238E27FC236}">
                  <a16:creationId xmlns:a16="http://schemas.microsoft.com/office/drawing/2014/main" id="{82BA408D-FBAA-431C-A405-706CB8323128}"/>
                </a:ext>
              </a:extLst>
            </p:cNvPr>
            <p:cNvSpPr/>
            <p:nvPr/>
          </p:nvSpPr>
          <p:spPr>
            <a:xfrm>
              <a:off x="3935695" y="2982503"/>
              <a:ext cx="3934" cy="3934"/>
            </a:xfrm>
            <a:custGeom>
              <a:avLst/>
              <a:gdLst>
                <a:gd name="connsiteX0" fmla="*/ 3541 w 0"/>
                <a:gd name="connsiteY0" fmla="*/ 2754 h 0"/>
                <a:gd name="connsiteX1" fmla="*/ 3147 w 0"/>
                <a:gd name="connsiteY1" fmla="*/ 0 h 0"/>
                <a:gd name="connsiteX2" fmla="*/ 0 w 0"/>
                <a:gd name="connsiteY2" fmla="*/ 1180 h 0"/>
                <a:gd name="connsiteX3" fmla="*/ 3147 w 0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541" y="2754"/>
                  </a:moveTo>
                  <a:lnTo>
                    <a:pt x="3147" y="0"/>
                  </a:lnTo>
                  <a:lnTo>
                    <a:pt x="0" y="1180"/>
                  </a:lnTo>
                  <a:lnTo>
                    <a:pt x="314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09" name="Freeform: Shape 3003">
              <a:extLst>
                <a:ext uri="{FF2B5EF4-FFF2-40B4-BE49-F238E27FC236}">
                  <a16:creationId xmlns:a16="http://schemas.microsoft.com/office/drawing/2014/main" id="{D2CA1F55-7392-431F-9259-1823A4129EFC}"/>
                </a:ext>
              </a:extLst>
            </p:cNvPr>
            <p:cNvSpPr/>
            <p:nvPr/>
          </p:nvSpPr>
          <p:spPr>
            <a:xfrm>
              <a:off x="3919172" y="2982896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1180 w 3934"/>
                <a:gd name="connsiteY1" fmla="*/ 2754 h 0"/>
                <a:gd name="connsiteX2" fmla="*/ 3147 w 3934"/>
                <a:gd name="connsiteY2" fmla="*/ 1967 h 0"/>
                <a:gd name="connsiteX3" fmla="*/ 5901 w 3934"/>
                <a:gd name="connsiteY3" fmla="*/ 0 h 0"/>
                <a:gd name="connsiteX4" fmla="*/ 3147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1180" y="2754"/>
                  </a:lnTo>
                  <a:lnTo>
                    <a:pt x="3147" y="1967"/>
                  </a:lnTo>
                  <a:lnTo>
                    <a:pt x="5901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10" name="Freeform: Shape 3004">
              <a:extLst>
                <a:ext uri="{FF2B5EF4-FFF2-40B4-BE49-F238E27FC236}">
                  <a16:creationId xmlns:a16="http://schemas.microsoft.com/office/drawing/2014/main" id="{CAD744FF-8098-4EC9-83D8-C924FFCD160D}"/>
                </a:ext>
              </a:extLst>
            </p:cNvPr>
            <p:cNvSpPr/>
            <p:nvPr/>
          </p:nvSpPr>
          <p:spPr>
            <a:xfrm>
              <a:off x="3930974" y="297974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574 w 0"/>
                <a:gd name="connsiteY1" fmla="*/ 3147 h 0"/>
                <a:gd name="connsiteX2" fmla="*/ 1574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574" y="3147"/>
                  </a:lnTo>
                  <a:lnTo>
                    <a:pt x="157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11" name="Freeform: Shape 3005">
              <a:extLst>
                <a:ext uri="{FF2B5EF4-FFF2-40B4-BE49-F238E27FC236}">
                  <a16:creationId xmlns:a16="http://schemas.microsoft.com/office/drawing/2014/main" id="{A2BEE835-4B28-4244-99D5-8B76CA3A29E9}"/>
                </a:ext>
              </a:extLst>
            </p:cNvPr>
            <p:cNvSpPr/>
            <p:nvPr/>
          </p:nvSpPr>
          <p:spPr>
            <a:xfrm>
              <a:off x="3755506" y="2973848"/>
              <a:ext cx="7869" cy="3934"/>
            </a:xfrm>
            <a:custGeom>
              <a:avLst/>
              <a:gdLst>
                <a:gd name="connsiteX0" fmla="*/ 7869 w 7868"/>
                <a:gd name="connsiteY0" fmla="*/ 4328 h 3934"/>
                <a:gd name="connsiteX1" fmla="*/ 9049 w 7868"/>
                <a:gd name="connsiteY1" fmla="*/ 1574 h 3934"/>
                <a:gd name="connsiteX2" fmla="*/ 5901 w 7868"/>
                <a:gd name="connsiteY2" fmla="*/ 0 h 3934"/>
                <a:gd name="connsiteX3" fmla="*/ 3148 w 7868"/>
                <a:gd name="connsiteY3" fmla="*/ 0 h 3934"/>
                <a:gd name="connsiteX4" fmla="*/ 0 w 7868"/>
                <a:gd name="connsiteY4" fmla="*/ 1574 h 3934"/>
                <a:gd name="connsiteX5" fmla="*/ 5901 w 7868"/>
                <a:gd name="connsiteY5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7869" y="4328"/>
                  </a:moveTo>
                  <a:lnTo>
                    <a:pt x="9049" y="1574"/>
                  </a:lnTo>
                  <a:lnTo>
                    <a:pt x="5901" y="0"/>
                  </a:lnTo>
                  <a:lnTo>
                    <a:pt x="3148" y="0"/>
                  </a:lnTo>
                  <a:lnTo>
                    <a:pt x="0" y="1574"/>
                  </a:lnTo>
                  <a:lnTo>
                    <a:pt x="5901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12" name="Freeform: Shape 3006">
              <a:extLst>
                <a:ext uri="{FF2B5EF4-FFF2-40B4-BE49-F238E27FC236}">
                  <a16:creationId xmlns:a16="http://schemas.microsoft.com/office/drawing/2014/main" id="{C49A9C6D-E68C-4469-87F5-3F9521D4CC59}"/>
                </a:ext>
              </a:extLst>
            </p:cNvPr>
            <p:cNvSpPr/>
            <p:nvPr/>
          </p:nvSpPr>
          <p:spPr>
            <a:xfrm>
              <a:off x="3895959" y="3042304"/>
              <a:ext cx="3934" cy="3934"/>
            </a:xfrm>
            <a:custGeom>
              <a:avLst/>
              <a:gdLst>
                <a:gd name="connsiteX0" fmla="*/ 2754 w 3934"/>
                <a:gd name="connsiteY0" fmla="*/ 0 h 0"/>
                <a:gd name="connsiteX1" fmla="*/ 0 w 3934"/>
                <a:gd name="connsiteY1" fmla="*/ 1574 h 0"/>
                <a:gd name="connsiteX2" fmla="*/ 2754 w 3934"/>
                <a:gd name="connsiteY2" fmla="*/ 2361 h 0"/>
                <a:gd name="connsiteX3" fmla="*/ 3147 w 3934"/>
                <a:gd name="connsiteY3" fmla="*/ 2361 h 0"/>
                <a:gd name="connsiteX4" fmla="*/ 3541 w 3934"/>
                <a:gd name="connsiteY4" fmla="*/ 2361 h 0"/>
                <a:gd name="connsiteX5" fmla="*/ 6688 w 3934"/>
                <a:gd name="connsiteY5" fmla="*/ 2361 h 0"/>
                <a:gd name="connsiteX6" fmla="*/ 5508 w 3934"/>
                <a:gd name="connsiteY6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>
                  <a:moveTo>
                    <a:pt x="2754" y="0"/>
                  </a:moveTo>
                  <a:lnTo>
                    <a:pt x="0" y="1574"/>
                  </a:lnTo>
                  <a:lnTo>
                    <a:pt x="2754" y="2361"/>
                  </a:lnTo>
                  <a:lnTo>
                    <a:pt x="3147" y="2361"/>
                  </a:lnTo>
                  <a:lnTo>
                    <a:pt x="3541" y="2361"/>
                  </a:lnTo>
                  <a:lnTo>
                    <a:pt x="6688" y="2361"/>
                  </a:lnTo>
                  <a:lnTo>
                    <a:pt x="550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13" name="Freeform: Shape 3007">
              <a:extLst>
                <a:ext uri="{FF2B5EF4-FFF2-40B4-BE49-F238E27FC236}">
                  <a16:creationId xmlns:a16="http://schemas.microsoft.com/office/drawing/2014/main" id="{CAE644AC-76CE-46A8-8A48-18AE7573BFC6}"/>
                </a:ext>
              </a:extLst>
            </p:cNvPr>
            <p:cNvSpPr/>
            <p:nvPr/>
          </p:nvSpPr>
          <p:spPr>
            <a:xfrm>
              <a:off x="3754719" y="3033648"/>
              <a:ext cx="3934" cy="3934"/>
            </a:xfrm>
            <a:custGeom>
              <a:avLst/>
              <a:gdLst>
                <a:gd name="connsiteX0" fmla="*/ 2360 w 3934"/>
                <a:gd name="connsiteY0" fmla="*/ 2754 h 3934"/>
                <a:gd name="connsiteX1" fmla="*/ 3934 w 3934"/>
                <a:gd name="connsiteY1" fmla="*/ 0 h 3934"/>
                <a:gd name="connsiteX2" fmla="*/ 0 w 3934"/>
                <a:gd name="connsiteY2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2360" y="2754"/>
                  </a:moveTo>
                  <a:lnTo>
                    <a:pt x="3934" y="0"/>
                  </a:lnTo>
                  <a:lnTo>
                    <a:pt x="0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14" name="Freeform: Shape 3008">
              <a:extLst>
                <a:ext uri="{FF2B5EF4-FFF2-40B4-BE49-F238E27FC236}">
                  <a16:creationId xmlns:a16="http://schemas.microsoft.com/office/drawing/2014/main" id="{A04774F1-CD05-4981-A828-37C3F2FFC6EE}"/>
                </a:ext>
              </a:extLst>
            </p:cNvPr>
            <p:cNvSpPr/>
            <p:nvPr/>
          </p:nvSpPr>
          <p:spPr>
            <a:xfrm>
              <a:off x="3747637" y="3030108"/>
              <a:ext cx="3934" cy="7869"/>
            </a:xfrm>
            <a:custGeom>
              <a:avLst/>
              <a:gdLst>
                <a:gd name="connsiteX0" fmla="*/ 3934 w 3934"/>
                <a:gd name="connsiteY0" fmla="*/ 5508 h 7868"/>
                <a:gd name="connsiteX1" fmla="*/ 2361 w 3934"/>
                <a:gd name="connsiteY1" fmla="*/ 2754 h 7868"/>
                <a:gd name="connsiteX2" fmla="*/ 0 w 3934"/>
                <a:gd name="connsiteY2" fmla="*/ 0 h 7868"/>
                <a:gd name="connsiteX3" fmla="*/ 4721 w 3934"/>
                <a:gd name="connsiteY3" fmla="*/ 826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7868">
                  <a:moveTo>
                    <a:pt x="3934" y="5508"/>
                  </a:moveTo>
                  <a:lnTo>
                    <a:pt x="2361" y="2754"/>
                  </a:lnTo>
                  <a:lnTo>
                    <a:pt x="0" y="0"/>
                  </a:lnTo>
                  <a:lnTo>
                    <a:pt x="4721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15" name="Freeform: Shape 3009">
              <a:extLst>
                <a:ext uri="{FF2B5EF4-FFF2-40B4-BE49-F238E27FC236}">
                  <a16:creationId xmlns:a16="http://schemas.microsoft.com/office/drawing/2014/main" id="{CB89549E-93DF-4280-B65A-E6698691A062}"/>
                </a:ext>
              </a:extLst>
            </p:cNvPr>
            <p:cNvSpPr/>
            <p:nvPr/>
          </p:nvSpPr>
          <p:spPr>
            <a:xfrm>
              <a:off x="3752359" y="3038370"/>
              <a:ext cx="3934" cy="3934"/>
            </a:xfrm>
            <a:custGeom>
              <a:avLst/>
              <a:gdLst>
                <a:gd name="connsiteX0" fmla="*/ 394 w 0"/>
                <a:gd name="connsiteY0" fmla="*/ 393 h 0"/>
                <a:gd name="connsiteX1" fmla="*/ 0 w 0"/>
                <a:gd name="connsiteY1" fmla="*/ 0 h 0"/>
                <a:gd name="connsiteX2" fmla="*/ 39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393"/>
                  </a:moveTo>
                  <a:lnTo>
                    <a:pt x="0" y="0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16" name="Freeform: Shape 3010">
              <a:extLst>
                <a:ext uri="{FF2B5EF4-FFF2-40B4-BE49-F238E27FC236}">
                  <a16:creationId xmlns:a16="http://schemas.microsoft.com/office/drawing/2014/main" id="{5A22508B-F75D-4B0C-B234-82F1DBA2ED70}"/>
                </a:ext>
              </a:extLst>
            </p:cNvPr>
            <p:cNvSpPr/>
            <p:nvPr/>
          </p:nvSpPr>
          <p:spPr>
            <a:xfrm>
              <a:off x="3753539" y="3030108"/>
              <a:ext cx="3934" cy="3934"/>
            </a:xfrm>
            <a:custGeom>
              <a:avLst/>
              <a:gdLst>
                <a:gd name="connsiteX0" fmla="*/ 0 w 0"/>
                <a:gd name="connsiteY0" fmla="*/ 0 h 3934"/>
                <a:gd name="connsiteX1" fmla="*/ 1967 w 0"/>
                <a:gd name="connsiteY1" fmla="*/ 6295 h 3934"/>
                <a:gd name="connsiteX2" fmla="*/ 1967 w 0"/>
                <a:gd name="connsiteY2" fmla="*/ 5508 h 3934"/>
                <a:gd name="connsiteX3" fmla="*/ 1180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0"/>
                  </a:moveTo>
                  <a:lnTo>
                    <a:pt x="1967" y="6295"/>
                  </a:lnTo>
                  <a:lnTo>
                    <a:pt x="1967" y="5508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17" name="Freeform: Shape 3011">
              <a:extLst>
                <a:ext uri="{FF2B5EF4-FFF2-40B4-BE49-F238E27FC236}">
                  <a16:creationId xmlns:a16="http://schemas.microsoft.com/office/drawing/2014/main" id="{599D8E01-F1A1-46BF-96D5-8B3856DCC16B}"/>
                </a:ext>
              </a:extLst>
            </p:cNvPr>
            <p:cNvSpPr/>
            <p:nvPr/>
          </p:nvSpPr>
          <p:spPr>
            <a:xfrm>
              <a:off x="3756293" y="3028534"/>
              <a:ext cx="7869" cy="3934"/>
            </a:xfrm>
            <a:custGeom>
              <a:avLst/>
              <a:gdLst>
                <a:gd name="connsiteX0" fmla="*/ 8262 w 7868"/>
                <a:gd name="connsiteY0" fmla="*/ 0 h 3934"/>
                <a:gd name="connsiteX1" fmla="*/ 0 w 7868"/>
                <a:gd name="connsiteY1" fmla="*/ 4721 h 3934"/>
                <a:gd name="connsiteX2" fmla="*/ 2361 w 7868"/>
                <a:gd name="connsiteY2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868" h="3934">
                  <a:moveTo>
                    <a:pt x="8262" y="0"/>
                  </a:moveTo>
                  <a:lnTo>
                    <a:pt x="0" y="4721"/>
                  </a:lnTo>
                  <a:lnTo>
                    <a:pt x="2361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18" name="Freeform: Shape 3012">
              <a:extLst>
                <a:ext uri="{FF2B5EF4-FFF2-40B4-BE49-F238E27FC236}">
                  <a16:creationId xmlns:a16="http://schemas.microsoft.com/office/drawing/2014/main" id="{2F6E0351-DBC5-4F69-9CD5-0B86261C8599}"/>
                </a:ext>
              </a:extLst>
            </p:cNvPr>
            <p:cNvSpPr/>
            <p:nvPr/>
          </p:nvSpPr>
          <p:spPr>
            <a:xfrm>
              <a:off x="3740949" y="3027354"/>
              <a:ext cx="3934" cy="3934"/>
            </a:xfrm>
            <a:custGeom>
              <a:avLst/>
              <a:gdLst>
                <a:gd name="connsiteX0" fmla="*/ 4721 w 3934"/>
                <a:gd name="connsiteY0" fmla="*/ 1574 h 0"/>
                <a:gd name="connsiteX1" fmla="*/ 3147 w 3934"/>
                <a:gd name="connsiteY1" fmla="*/ 787 h 0"/>
                <a:gd name="connsiteX2" fmla="*/ 0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4721" y="1574"/>
                  </a:moveTo>
                  <a:lnTo>
                    <a:pt x="3147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19" name="Freeform: Shape 3013">
              <a:extLst>
                <a:ext uri="{FF2B5EF4-FFF2-40B4-BE49-F238E27FC236}">
                  <a16:creationId xmlns:a16="http://schemas.microsoft.com/office/drawing/2014/main" id="{F92D6C60-103C-4755-9013-A1A7DC5DE4F5}"/>
                </a:ext>
              </a:extLst>
            </p:cNvPr>
            <p:cNvSpPr/>
            <p:nvPr/>
          </p:nvSpPr>
          <p:spPr>
            <a:xfrm>
              <a:off x="3733474" y="3024600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0 w 0"/>
                <a:gd name="connsiteY1" fmla="*/ 0 h 0"/>
                <a:gd name="connsiteX2" fmla="*/ 275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0" y="0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20" name="Freeform: Shape 3014">
              <a:extLst>
                <a:ext uri="{FF2B5EF4-FFF2-40B4-BE49-F238E27FC236}">
                  <a16:creationId xmlns:a16="http://schemas.microsoft.com/office/drawing/2014/main" id="{4AEB05FD-4555-4B96-978F-5460F6C119F0}"/>
                </a:ext>
              </a:extLst>
            </p:cNvPr>
            <p:cNvSpPr/>
            <p:nvPr/>
          </p:nvSpPr>
          <p:spPr>
            <a:xfrm>
              <a:off x="3742523" y="3021846"/>
              <a:ext cx="3934" cy="3934"/>
            </a:xfrm>
            <a:custGeom>
              <a:avLst/>
              <a:gdLst>
                <a:gd name="connsiteX0" fmla="*/ 0 w 0"/>
                <a:gd name="connsiteY0" fmla="*/ 4328 h 3934"/>
                <a:gd name="connsiteX1" fmla="*/ 1180 w 0"/>
                <a:gd name="connsiteY1" fmla="*/ 2754 h 3934"/>
                <a:gd name="connsiteX2" fmla="*/ 1574 w 0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0" y="4328"/>
                  </a:moveTo>
                  <a:lnTo>
                    <a:pt x="1180" y="2754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21" name="Freeform: Shape 3015">
              <a:extLst>
                <a:ext uri="{FF2B5EF4-FFF2-40B4-BE49-F238E27FC236}">
                  <a16:creationId xmlns:a16="http://schemas.microsoft.com/office/drawing/2014/main" id="{95592FBB-D5BC-41B7-BAF0-A866E01906A1}"/>
                </a:ext>
              </a:extLst>
            </p:cNvPr>
            <p:cNvSpPr/>
            <p:nvPr/>
          </p:nvSpPr>
          <p:spPr>
            <a:xfrm>
              <a:off x="3719311" y="3017518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22" name="Freeform: Shape 3016">
              <a:extLst>
                <a:ext uri="{FF2B5EF4-FFF2-40B4-BE49-F238E27FC236}">
                  <a16:creationId xmlns:a16="http://schemas.microsoft.com/office/drawing/2014/main" id="{7CB298C1-D733-40EB-BF4C-716B4071A667}"/>
                </a:ext>
              </a:extLst>
            </p:cNvPr>
            <p:cNvSpPr/>
            <p:nvPr/>
          </p:nvSpPr>
          <p:spPr>
            <a:xfrm>
              <a:off x="3878255" y="3080073"/>
              <a:ext cx="11803" cy="7869"/>
            </a:xfrm>
            <a:custGeom>
              <a:avLst/>
              <a:gdLst>
                <a:gd name="connsiteX0" fmla="*/ 6688 w 11802"/>
                <a:gd name="connsiteY0" fmla="*/ 7082 h 7868"/>
                <a:gd name="connsiteX1" fmla="*/ 9836 w 11802"/>
                <a:gd name="connsiteY1" fmla="*/ 7475 h 7868"/>
                <a:gd name="connsiteX2" fmla="*/ 12983 w 11802"/>
                <a:gd name="connsiteY2" fmla="*/ 9049 h 7868"/>
                <a:gd name="connsiteX3" fmla="*/ 13770 w 11802"/>
                <a:gd name="connsiteY3" fmla="*/ 7082 h 7868"/>
                <a:gd name="connsiteX4" fmla="*/ 11803 w 11802"/>
                <a:gd name="connsiteY4" fmla="*/ 3934 h 7868"/>
                <a:gd name="connsiteX5" fmla="*/ 9049 w 11802"/>
                <a:gd name="connsiteY5" fmla="*/ 2754 h 7868"/>
                <a:gd name="connsiteX6" fmla="*/ 5901 w 11802"/>
                <a:gd name="connsiteY6" fmla="*/ 1180 h 7868"/>
                <a:gd name="connsiteX7" fmla="*/ 2754 w 11802"/>
                <a:gd name="connsiteY7" fmla="*/ 0 h 7868"/>
                <a:gd name="connsiteX8" fmla="*/ 0 w 11802"/>
                <a:gd name="connsiteY8" fmla="*/ 787 h 7868"/>
                <a:gd name="connsiteX9" fmla="*/ 1180 w 11802"/>
                <a:gd name="connsiteY9" fmla="*/ 3934 h 7868"/>
                <a:gd name="connsiteX10" fmla="*/ 3934 w 11802"/>
                <a:gd name="connsiteY10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7868">
                  <a:moveTo>
                    <a:pt x="6688" y="7082"/>
                  </a:moveTo>
                  <a:lnTo>
                    <a:pt x="9836" y="7475"/>
                  </a:lnTo>
                  <a:lnTo>
                    <a:pt x="12983" y="9049"/>
                  </a:lnTo>
                  <a:lnTo>
                    <a:pt x="13770" y="7082"/>
                  </a:lnTo>
                  <a:lnTo>
                    <a:pt x="11803" y="3934"/>
                  </a:lnTo>
                  <a:lnTo>
                    <a:pt x="9049" y="2754"/>
                  </a:lnTo>
                  <a:lnTo>
                    <a:pt x="5901" y="1180"/>
                  </a:lnTo>
                  <a:lnTo>
                    <a:pt x="2754" y="0"/>
                  </a:lnTo>
                  <a:lnTo>
                    <a:pt x="0" y="787"/>
                  </a:lnTo>
                  <a:lnTo>
                    <a:pt x="1180" y="3934"/>
                  </a:lnTo>
                  <a:lnTo>
                    <a:pt x="3934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23" name="Freeform: Shape 3017">
              <a:extLst>
                <a:ext uri="{FF2B5EF4-FFF2-40B4-BE49-F238E27FC236}">
                  <a16:creationId xmlns:a16="http://schemas.microsoft.com/office/drawing/2014/main" id="{DBE0E8A1-8B23-44A6-934E-F6D2E6B0C7D5}"/>
                </a:ext>
              </a:extLst>
            </p:cNvPr>
            <p:cNvSpPr/>
            <p:nvPr/>
          </p:nvSpPr>
          <p:spPr>
            <a:xfrm>
              <a:off x="3862912" y="3109973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393 h 0"/>
                <a:gd name="connsiteX2" fmla="*/ 3147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393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24" name="Freeform: Shape 3018">
              <a:extLst>
                <a:ext uri="{FF2B5EF4-FFF2-40B4-BE49-F238E27FC236}">
                  <a16:creationId xmlns:a16="http://schemas.microsoft.com/office/drawing/2014/main" id="{13721FEB-7D8B-4CBB-954B-0CBE0464365D}"/>
                </a:ext>
              </a:extLst>
            </p:cNvPr>
            <p:cNvSpPr/>
            <p:nvPr/>
          </p:nvSpPr>
          <p:spPr>
            <a:xfrm>
              <a:off x="3840486" y="3047025"/>
              <a:ext cx="180976" cy="78685"/>
            </a:xfrm>
            <a:custGeom>
              <a:avLst/>
              <a:gdLst>
                <a:gd name="connsiteX0" fmla="*/ 175862 w 180976"/>
                <a:gd name="connsiteY0" fmla="*/ 53899 h 78685"/>
                <a:gd name="connsiteX1" fmla="*/ 179009 w 180976"/>
                <a:gd name="connsiteY1" fmla="*/ 53506 h 78685"/>
                <a:gd name="connsiteX2" fmla="*/ 180189 w 180976"/>
                <a:gd name="connsiteY2" fmla="*/ 50752 h 78685"/>
                <a:gd name="connsiteX3" fmla="*/ 182156 w 180976"/>
                <a:gd name="connsiteY3" fmla="*/ 47998 h 78685"/>
                <a:gd name="connsiteX4" fmla="*/ 183337 w 180976"/>
                <a:gd name="connsiteY4" fmla="*/ 44850 h 78685"/>
                <a:gd name="connsiteX5" fmla="*/ 180583 w 180976"/>
                <a:gd name="connsiteY5" fmla="*/ 42097 h 78685"/>
                <a:gd name="connsiteX6" fmla="*/ 177829 w 180976"/>
                <a:gd name="connsiteY6" fmla="*/ 39343 h 78685"/>
                <a:gd name="connsiteX7" fmla="*/ 175075 w 180976"/>
                <a:gd name="connsiteY7" fmla="*/ 36589 h 78685"/>
                <a:gd name="connsiteX8" fmla="*/ 173108 w 180976"/>
                <a:gd name="connsiteY8" fmla="*/ 33441 h 78685"/>
                <a:gd name="connsiteX9" fmla="*/ 169960 w 180976"/>
                <a:gd name="connsiteY9" fmla="*/ 32261 h 78685"/>
                <a:gd name="connsiteX10" fmla="*/ 167206 w 180976"/>
                <a:gd name="connsiteY10" fmla="*/ 30687 h 78685"/>
                <a:gd name="connsiteX11" fmla="*/ 164059 w 180976"/>
                <a:gd name="connsiteY11" fmla="*/ 32261 h 78685"/>
                <a:gd name="connsiteX12" fmla="*/ 161305 w 180976"/>
                <a:gd name="connsiteY12" fmla="*/ 30294 h 78685"/>
                <a:gd name="connsiteX13" fmla="*/ 158157 w 180976"/>
                <a:gd name="connsiteY13" fmla="*/ 30687 h 78685"/>
                <a:gd name="connsiteX14" fmla="*/ 155403 w 180976"/>
                <a:gd name="connsiteY14" fmla="*/ 29900 h 78685"/>
                <a:gd name="connsiteX15" fmla="*/ 152649 w 180976"/>
                <a:gd name="connsiteY15" fmla="*/ 27933 h 78685"/>
                <a:gd name="connsiteX16" fmla="*/ 150682 w 180976"/>
                <a:gd name="connsiteY16" fmla="*/ 28327 h 78685"/>
                <a:gd name="connsiteX17" fmla="*/ 147141 w 180976"/>
                <a:gd name="connsiteY17" fmla="*/ 24786 h 78685"/>
                <a:gd name="connsiteX18" fmla="*/ 147928 w 180976"/>
                <a:gd name="connsiteY18" fmla="*/ 23999 h 78685"/>
                <a:gd name="connsiteX19" fmla="*/ 150682 w 180976"/>
                <a:gd name="connsiteY19" fmla="*/ 24786 h 78685"/>
                <a:gd name="connsiteX20" fmla="*/ 153830 w 180976"/>
                <a:gd name="connsiteY20" fmla="*/ 25179 h 78685"/>
                <a:gd name="connsiteX21" fmla="*/ 156977 w 180976"/>
                <a:gd name="connsiteY21" fmla="*/ 25179 h 78685"/>
                <a:gd name="connsiteX22" fmla="*/ 159731 w 180976"/>
                <a:gd name="connsiteY22" fmla="*/ 24392 h 78685"/>
                <a:gd name="connsiteX23" fmla="*/ 161305 w 180976"/>
                <a:gd name="connsiteY23" fmla="*/ 21638 h 78685"/>
                <a:gd name="connsiteX24" fmla="*/ 158157 w 180976"/>
                <a:gd name="connsiteY24" fmla="*/ 20065 h 78685"/>
                <a:gd name="connsiteX25" fmla="*/ 155403 w 180976"/>
                <a:gd name="connsiteY25" fmla="*/ 21638 h 78685"/>
                <a:gd name="connsiteX26" fmla="*/ 152649 w 180976"/>
                <a:gd name="connsiteY26" fmla="*/ 20852 h 78685"/>
                <a:gd name="connsiteX27" fmla="*/ 149502 w 180976"/>
                <a:gd name="connsiteY27" fmla="*/ 20852 h 78685"/>
                <a:gd name="connsiteX28" fmla="*/ 146748 w 180976"/>
                <a:gd name="connsiteY28" fmla="*/ 21638 h 78685"/>
                <a:gd name="connsiteX29" fmla="*/ 145568 w 180976"/>
                <a:gd name="connsiteY29" fmla="*/ 21638 h 78685"/>
                <a:gd name="connsiteX30" fmla="*/ 140847 w 180976"/>
                <a:gd name="connsiteY30" fmla="*/ 13376 h 78685"/>
                <a:gd name="connsiteX31" fmla="*/ 140847 w 180976"/>
                <a:gd name="connsiteY31" fmla="*/ 12983 h 78685"/>
                <a:gd name="connsiteX32" fmla="*/ 140847 w 180976"/>
                <a:gd name="connsiteY32" fmla="*/ 10229 h 78685"/>
                <a:gd name="connsiteX33" fmla="*/ 138093 w 180976"/>
                <a:gd name="connsiteY33" fmla="*/ 8655 h 78685"/>
                <a:gd name="connsiteX34" fmla="*/ 127864 w 180976"/>
                <a:gd name="connsiteY34" fmla="*/ 7475 h 78685"/>
                <a:gd name="connsiteX35" fmla="*/ 127077 w 180976"/>
                <a:gd name="connsiteY35" fmla="*/ 6688 h 78685"/>
                <a:gd name="connsiteX36" fmla="*/ 124323 w 180976"/>
                <a:gd name="connsiteY36" fmla="*/ 5508 h 78685"/>
                <a:gd name="connsiteX37" fmla="*/ 121569 w 180976"/>
                <a:gd name="connsiteY37" fmla="*/ 5901 h 78685"/>
                <a:gd name="connsiteX38" fmla="*/ 118421 w 180976"/>
                <a:gd name="connsiteY38" fmla="*/ 4721 h 78685"/>
                <a:gd name="connsiteX39" fmla="*/ 115667 w 180976"/>
                <a:gd name="connsiteY39" fmla="*/ 2360 h 78685"/>
                <a:gd name="connsiteX40" fmla="*/ 112520 w 180976"/>
                <a:gd name="connsiteY40" fmla="*/ 1180 h 78685"/>
                <a:gd name="connsiteX41" fmla="*/ 109766 w 180976"/>
                <a:gd name="connsiteY41" fmla="*/ 0 h 78685"/>
                <a:gd name="connsiteX42" fmla="*/ 107012 w 180976"/>
                <a:gd name="connsiteY42" fmla="*/ 1967 h 78685"/>
                <a:gd name="connsiteX43" fmla="*/ 103864 w 180976"/>
                <a:gd name="connsiteY43" fmla="*/ 2360 h 78685"/>
                <a:gd name="connsiteX44" fmla="*/ 101111 w 180976"/>
                <a:gd name="connsiteY44" fmla="*/ 3541 h 78685"/>
                <a:gd name="connsiteX45" fmla="*/ 98357 w 180976"/>
                <a:gd name="connsiteY45" fmla="*/ 2360 h 78685"/>
                <a:gd name="connsiteX46" fmla="*/ 95209 w 180976"/>
                <a:gd name="connsiteY46" fmla="*/ 787 h 78685"/>
                <a:gd name="connsiteX47" fmla="*/ 92062 w 180976"/>
                <a:gd name="connsiteY47" fmla="*/ 787 h 78685"/>
                <a:gd name="connsiteX48" fmla="*/ 89308 w 180976"/>
                <a:gd name="connsiteY48" fmla="*/ 3541 h 78685"/>
                <a:gd name="connsiteX49" fmla="*/ 86554 w 180976"/>
                <a:gd name="connsiteY49" fmla="*/ 4721 h 78685"/>
                <a:gd name="connsiteX50" fmla="*/ 86554 w 180976"/>
                <a:gd name="connsiteY50" fmla="*/ 7475 h 78685"/>
                <a:gd name="connsiteX51" fmla="*/ 84587 w 180976"/>
                <a:gd name="connsiteY51" fmla="*/ 7475 h 78685"/>
                <a:gd name="connsiteX52" fmla="*/ 82620 w 180976"/>
                <a:gd name="connsiteY52" fmla="*/ 7475 h 78685"/>
                <a:gd name="connsiteX53" fmla="*/ 79866 w 180976"/>
                <a:gd name="connsiteY53" fmla="*/ 7475 h 78685"/>
                <a:gd name="connsiteX54" fmla="*/ 72390 w 180976"/>
                <a:gd name="connsiteY54" fmla="*/ 5508 h 78685"/>
                <a:gd name="connsiteX55" fmla="*/ 71997 w 180976"/>
                <a:gd name="connsiteY55" fmla="*/ 5508 h 78685"/>
                <a:gd name="connsiteX56" fmla="*/ 71997 w 180976"/>
                <a:gd name="connsiteY56" fmla="*/ 5508 h 78685"/>
                <a:gd name="connsiteX57" fmla="*/ 66489 w 180976"/>
                <a:gd name="connsiteY57" fmla="*/ 3934 h 78685"/>
                <a:gd name="connsiteX58" fmla="*/ 64128 w 180976"/>
                <a:gd name="connsiteY58" fmla="*/ 3147 h 78685"/>
                <a:gd name="connsiteX59" fmla="*/ 60981 w 180976"/>
                <a:gd name="connsiteY59" fmla="*/ 1180 h 78685"/>
                <a:gd name="connsiteX60" fmla="*/ 58227 w 180976"/>
                <a:gd name="connsiteY60" fmla="*/ 0 h 78685"/>
                <a:gd name="connsiteX61" fmla="*/ 55473 w 180976"/>
                <a:gd name="connsiteY61" fmla="*/ 0 h 78685"/>
                <a:gd name="connsiteX62" fmla="*/ 53899 w 180976"/>
                <a:gd name="connsiteY62" fmla="*/ 393 h 78685"/>
                <a:gd name="connsiteX63" fmla="*/ 50752 w 180976"/>
                <a:gd name="connsiteY63" fmla="*/ 393 h 78685"/>
                <a:gd name="connsiteX64" fmla="*/ 47998 w 180976"/>
                <a:gd name="connsiteY64" fmla="*/ 393 h 78685"/>
                <a:gd name="connsiteX65" fmla="*/ 44850 w 180976"/>
                <a:gd name="connsiteY65" fmla="*/ 1180 h 78685"/>
                <a:gd name="connsiteX66" fmla="*/ 42097 w 180976"/>
                <a:gd name="connsiteY66" fmla="*/ 2754 h 78685"/>
                <a:gd name="connsiteX67" fmla="*/ 38949 w 180976"/>
                <a:gd name="connsiteY67" fmla="*/ 4721 h 78685"/>
                <a:gd name="connsiteX68" fmla="*/ 36195 w 180976"/>
                <a:gd name="connsiteY68" fmla="*/ 7475 h 78685"/>
                <a:gd name="connsiteX69" fmla="*/ 37376 w 180976"/>
                <a:gd name="connsiteY69" fmla="*/ 10229 h 78685"/>
                <a:gd name="connsiteX70" fmla="*/ 40130 w 180976"/>
                <a:gd name="connsiteY70" fmla="*/ 10622 h 78685"/>
                <a:gd name="connsiteX71" fmla="*/ 42883 w 180976"/>
                <a:gd name="connsiteY71" fmla="*/ 9836 h 78685"/>
                <a:gd name="connsiteX72" fmla="*/ 46031 w 180976"/>
                <a:gd name="connsiteY72" fmla="*/ 10622 h 78685"/>
                <a:gd name="connsiteX73" fmla="*/ 48785 w 180976"/>
                <a:gd name="connsiteY73" fmla="*/ 11409 h 78685"/>
                <a:gd name="connsiteX74" fmla="*/ 54686 w 180976"/>
                <a:gd name="connsiteY74" fmla="*/ 14557 h 78685"/>
                <a:gd name="connsiteX75" fmla="*/ 53899 w 180976"/>
                <a:gd name="connsiteY75" fmla="*/ 23606 h 78685"/>
                <a:gd name="connsiteX76" fmla="*/ 53899 w 180976"/>
                <a:gd name="connsiteY76" fmla="*/ 23606 h 78685"/>
                <a:gd name="connsiteX77" fmla="*/ 54686 w 180976"/>
                <a:gd name="connsiteY77" fmla="*/ 26753 h 78685"/>
                <a:gd name="connsiteX78" fmla="*/ 53506 w 180976"/>
                <a:gd name="connsiteY78" fmla="*/ 28720 h 78685"/>
                <a:gd name="connsiteX79" fmla="*/ 53899 w 180976"/>
                <a:gd name="connsiteY79" fmla="*/ 31474 h 78685"/>
                <a:gd name="connsiteX80" fmla="*/ 54293 w 180976"/>
                <a:gd name="connsiteY80" fmla="*/ 31867 h 78685"/>
                <a:gd name="connsiteX81" fmla="*/ 51932 w 180976"/>
                <a:gd name="connsiteY81" fmla="*/ 51145 h 78685"/>
                <a:gd name="connsiteX82" fmla="*/ 50752 w 180976"/>
                <a:gd name="connsiteY82" fmla="*/ 51145 h 78685"/>
                <a:gd name="connsiteX83" fmla="*/ 50359 w 180976"/>
                <a:gd name="connsiteY83" fmla="*/ 51145 h 78685"/>
                <a:gd name="connsiteX84" fmla="*/ 25966 w 180976"/>
                <a:gd name="connsiteY84" fmla="*/ 46818 h 78685"/>
                <a:gd name="connsiteX85" fmla="*/ 27933 w 180976"/>
                <a:gd name="connsiteY85" fmla="*/ 46031 h 78685"/>
                <a:gd name="connsiteX86" fmla="*/ 24786 w 180976"/>
                <a:gd name="connsiteY86" fmla="*/ 46424 h 78685"/>
                <a:gd name="connsiteX87" fmla="*/ 12196 w 180976"/>
                <a:gd name="connsiteY87" fmla="*/ 44064 h 78685"/>
                <a:gd name="connsiteX88" fmla="*/ 11409 w 180976"/>
                <a:gd name="connsiteY88" fmla="*/ 43670 h 78685"/>
                <a:gd name="connsiteX89" fmla="*/ 8655 w 180976"/>
                <a:gd name="connsiteY89" fmla="*/ 42883 h 78685"/>
                <a:gd name="connsiteX90" fmla="*/ 5901 w 180976"/>
                <a:gd name="connsiteY90" fmla="*/ 43670 h 78685"/>
                <a:gd name="connsiteX91" fmla="*/ 2754 w 180976"/>
                <a:gd name="connsiteY91" fmla="*/ 45637 h 78685"/>
                <a:gd name="connsiteX92" fmla="*/ 1967 w 180976"/>
                <a:gd name="connsiteY92" fmla="*/ 48785 h 78685"/>
                <a:gd name="connsiteX93" fmla="*/ 0 w 180976"/>
                <a:gd name="connsiteY93" fmla="*/ 51539 h 78685"/>
                <a:gd name="connsiteX94" fmla="*/ 1574 w 180976"/>
                <a:gd name="connsiteY94" fmla="*/ 54293 h 78685"/>
                <a:gd name="connsiteX95" fmla="*/ 4328 w 180976"/>
                <a:gd name="connsiteY95" fmla="*/ 56260 h 78685"/>
                <a:gd name="connsiteX96" fmla="*/ 7082 w 180976"/>
                <a:gd name="connsiteY96" fmla="*/ 55473 h 78685"/>
                <a:gd name="connsiteX97" fmla="*/ 10229 w 180976"/>
                <a:gd name="connsiteY97" fmla="*/ 57047 h 78685"/>
                <a:gd name="connsiteX98" fmla="*/ 12983 w 180976"/>
                <a:gd name="connsiteY98" fmla="*/ 59014 h 78685"/>
                <a:gd name="connsiteX99" fmla="*/ 14950 w 180976"/>
                <a:gd name="connsiteY99" fmla="*/ 62161 h 78685"/>
                <a:gd name="connsiteX100" fmla="*/ 16524 w 180976"/>
                <a:gd name="connsiteY100" fmla="*/ 65309 h 78685"/>
                <a:gd name="connsiteX101" fmla="*/ 19278 w 180976"/>
                <a:gd name="connsiteY101" fmla="*/ 63735 h 78685"/>
                <a:gd name="connsiteX102" fmla="*/ 19278 w 180976"/>
                <a:gd name="connsiteY102" fmla="*/ 63735 h 78685"/>
                <a:gd name="connsiteX103" fmla="*/ 30294 w 180976"/>
                <a:gd name="connsiteY103" fmla="*/ 57047 h 78685"/>
                <a:gd name="connsiteX104" fmla="*/ 33441 w 180976"/>
                <a:gd name="connsiteY104" fmla="*/ 58227 h 78685"/>
                <a:gd name="connsiteX105" fmla="*/ 36589 w 180976"/>
                <a:gd name="connsiteY105" fmla="*/ 58227 h 78685"/>
                <a:gd name="connsiteX106" fmla="*/ 39343 w 180976"/>
                <a:gd name="connsiteY106" fmla="*/ 59014 h 78685"/>
                <a:gd name="connsiteX107" fmla="*/ 42490 w 180976"/>
                <a:gd name="connsiteY107" fmla="*/ 59801 h 78685"/>
                <a:gd name="connsiteX108" fmla="*/ 45244 w 180976"/>
                <a:gd name="connsiteY108" fmla="*/ 60194 h 78685"/>
                <a:gd name="connsiteX109" fmla="*/ 47998 w 180976"/>
                <a:gd name="connsiteY109" fmla="*/ 61374 h 78685"/>
                <a:gd name="connsiteX110" fmla="*/ 50359 w 180976"/>
                <a:gd name="connsiteY110" fmla="*/ 60194 h 78685"/>
                <a:gd name="connsiteX111" fmla="*/ 79079 w 180976"/>
                <a:gd name="connsiteY111" fmla="*/ 64522 h 78685"/>
                <a:gd name="connsiteX112" fmla="*/ 81439 w 180976"/>
                <a:gd name="connsiteY112" fmla="*/ 66882 h 78685"/>
                <a:gd name="connsiteX113" fmla="*/ 82226 w 180976"/>
                <a:gd name="connsiteY113" fmla="*/ 68456 h 78685"/>
                <a:gd name="connsiteX114" fmla="*/ 83013 w 180976"/>
                <a:gd name="connsiteY114" fmla="*/ 73964 h 78685"/>
                <a:gd name="connsiteX115" fmla="*/ 86160 w 180976"/>
                <a:gd name="connsiteY115" fmla="*/ 76325 h 78685"/>
                <a:gd name="connsiteX116" fmla="*/ 88127 w 180976"/>
                <a:gd name="connsiteY116" fmla="*/ 79472 h 78685"/>
                <a:gd name="connsiteX117" fmla="*/ 90095 w 180976"/>
                <a:gd name="connsiteY117" fmla="*/ 76325 h 78685"/>
                <a:gd name="connsiteX118" fmla="*/ 91668 w 180976"/>
                <a:gd name="connsiteY118" fmla="*/ 73177 h 78685"/>
                <a:gd name="connsiteX119" fmla="*/ 93242 w 180976"/>
                <a:gd name="connsiteY119" fmla="*/ 70817 h 78685"/>
                <a:gd name="connsiteX120" fmla="*/ 96389 w 180976"/>
                <a:gd name="connsiteY120" fmla="*/ 68063 h 78685"/>
                <a:gd name="connsiteX121" fmla="*/ 98357 w 180976"/>
                <a:gd name="connsiteY121" fmla="*/ 65309 h 78685"/>
                <a:gd name="connsiteX122" fmla="*/ 99930 w 180976"/>
                <a:gd name="connsiteY122" fmla="*/ 62161 h 78685"/>
                <a:gd name="connsiteX123" fmla="*/ 100324 w 180976"/>
                <a:gd name="connsiteY123" fmla="*/ 59014 h 78685"/>
                <a:gd name="connsiteX124" fmla="*/ 100324 w 180976"/>
                <a:gd name="connsiteY124" fmla="*/ 56260 h 78685"/>
                <a:gd name="connsiteX125" fmla="*/ 104258 w 180976"/>
                <a:gd name="connsiteY125" fmla="*/ 56260 h 78685"/>
                <a:gd name="connsiteX126" fmla="*/ 105438 w 180976"/>
                <a:gd name="connsiteY126" fmla="*/ 57047 h 78685"/>
                <a:gd name="connsiteX127" fmla="*/ 105832 w 180976"/>
                <a:gd name="connsiteY127" fmla="*/ 56653 h 78685"/>
                <a:gd name="connsiteX128" fmla="*/ 115274 w 180976"/>
                <a:gd name="connsiteY128" fmla="*/ 56653 h 78685"/>
                <a:gd name="connsiteX129" fmla="*/ 116454 w 180976"/>
                <a:gd name="connsiteY129" fmla="*/ 59014 h 78685"/>
                <a:gd name="connsiteX130" fmla="*/ 119208 w 180976"/>
                <a:gd name="connsiteY130" fmla="*/ 58620 h 78685"/>
                <a:gd name="connsiteX131" fmla="*/ 122356 w 180976"/>
                <a:gd name="connsiteY131" fmla="*/ 58227 h 78685"/>
                <a:gd name="connsiteX132" fmla="*/ 125110 w 180976"/>
                <a:gd name="connsiteY132" fmla="*/ 58227 h 78685"/>
                <a:gd name="connsiteX133" fmla="*/ 128257 w 180976"/>
                <a:gd name="connsiteY133" fmla="*/ 57440 h 78685"/>
                <a:gd name="connsiteX134" fmla="*/ 130618 w 180976"/>
                <a:gd name="connsiteY134" fmla="*/ 54293 h 78685"/>
                <a:gd name="connsiteX135" fmla="*/ 132585 w 180976"/>
                <a:gd name="connsiteY135" fmla="*/ 51539 h 78685"/>
                <a:gd name="connsiteX136" fmla="*/ 132978 w 180976"/>
                <a:gd name="connsiteY136" fmla="*/ 51539 h 78685"/>
                <a:gd name="connsiteX137" fmla="*/ 133765 w 180976"/>
                <a:gd name="connsiteY137" fmla="*/ 51539 h 78685"/>
                <a:gd name="connsiteX138" fmla="*/ 136519 w 180976"/>
                <a:gd name="connsiteY138" fmla="*/ 49965 h 78685"/>
                <a:gd name="connsiteX139" fmla="*/ 138879 w 180976"/>
                <a:gd name="connsiteY139" fmla="*/ 49965 h 78685"/>
                <a:gd name="connsiteX140" fmla="*/ 141634 w 180976"/>
                <a:gd name="connsiteY140" fmla="*/ 49965 h 78685"/>
                <a:gd name="connsiteX141" fmla="*/ 144781 w 180976"/>
                <a:gd name="connsiteY141" fmla="*/ 50359 h 78685"/>
                <a:gd name="connsiteX142" fmla="*/ 147928 w 180976"/>
                <a:gd name="connsiteY142" fmla="*/ 51932 h 78685"/>
                <a:gd name="connsiteX143" fmla="*/ 150682 w 180976"/>
                <a:gd name="connsiteY143" fmla="*/ 51145 h 78685"/>
                <a:gd name="connsiteX144" fmla="*/ 153436 w 180976"/>
                <a:gd name="connsiteY144" fmla="*/ 50752 h 78685"/>
                <a:gd name="connsiteX145" fmla="*/ 155797 w 180976"/>
                <a:gd name="connsiteY145" fmla="*/ 51145 h 78685"/>
                <a:gd name="connsiteX146" fmla="*/ 158157 w 180976"/>
                <a:gd name="connsiteY146" fmla="*/ 51932 h 78685"/>
                <a:gd name="connsiteX147" fmla="*/ 161305 w 180976"/>
                <a:gd name="connsiteY147" fmla="*/ 52326 h 78685"/>
                <a:gd name="connsiteX148" fmla="*/ 164059 w 180976"/>
                <a:gd name="connsiteY148" fmla="*/ 51932 h 78685"/>
                <a:gd name="connsiteX149" fmla="*/ 164059 w 180976"/>
                <a:gd name="connsiteY149" fmla="*/ 51932 h 78685"/>
                <a:gd name="connsiteX150" fmla="*/ 167206 w 180976"/>
                <a:gd name="connsiteY150" fmla="*/ 53113 h 78685"/>
                <a:gd name="connsiteX151" fmla="*/ 168386 w 180976"/>
                <a:gd name="connsiteY151" fmla="*/ 56260 h 78685"/>
                <a:gd name="connsiteX152" fmla="*/ 169567 w 180976"/>
                <a:gd name="connsiteY152" fmla="*/ 59014 h 78685"/>
                <a:gd name="connsiteX153" fmla="*/ 172321 w 180976"/>
                <a:gd name="connsiteY153" fmla="*/ 59014 h 78685"/>
                <a:gd name="connsiteX154" fmla="*/ 173501 w 180976"/>
                <a:gd name="connsiteY154" fmla="*/ 55867 h 78685"/>
                <a:gd name="connsiteX155" fmla="*/ 174681 w 180976"/>
                <a:gd name="connsiteY155" fmla="*/ 53113 h 7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</a:cxnLst>
              <a:rect l="l" t="t" r="r" b="b"/>
              <a:pathLst>
                <a:path w="180976" h="78685">
                  <a:moveTo>
                    <a:pt x="175862" y="53899"/>
                  </a:moveTo>
                  <a:lnTo>
                    <a:pt x="179009" y="53506"/>
                  </a:lnTo>
                  <a:lnTo>
                    <a:pt x="180189" y="50752"/>
                  </a:lnTo>
                  <a:lnTo>
                    <a:pt x="182156" y="47998"/>
                  </a:lnTo>
                  <a:lnTo>
                    <a:pt x="183337" y="44850"/>
                  </a:lnTo>
                  <a:lnTo>
                    <a:pt x="180583" y="42097"/>
                  </a:lnTo>
                  <a:lnTo>
                    <a:pt x="177829" y="39343"/>
                  </a:lnTo>
                  <a:lnTo>
                    <a:pt x="175075" y="36589"/>
                  </a:lnTo>
                  <a:lnTo>
                    <a:pt x="173108" y="33441"/>
                  </a:lnTo>
                  <a:lnTo>
                    <a:pt x="169960" y="32261"/>
                  </a:lnTo>
                  <a:lnTo>
                    <a:pt x="167206" y="30687"/>
                  </a:lnTo>
                  <a:lnTo>
                    <a:pt x="164059" y="32261"/>
                  </a:lnTo>
                  <a:lnTo>
                    <a:pt x="161305" y="30294"/>
                  </a:lnTo>
                  <a:lnTo>
                    <a:pt x="158157" y="30687"/>
                  </a:lnTo>
                  <a:lnTo>
                    <a:pt x="155403" y="29900"/>
                  </a:lnTo>
                  <a:lnTo>
                    <a:pt x="152649" y="27933"/>
                  </a:lnTo>
                  <a:lnTo>
                    <a:pt x="150682" y="28327"/>
                  </a:lnTo>
                  <a:lnTo>
                    <a:pt x="147141" y="24786"/>
                  </a:lnTo>
                  <a:lnTo>
                    <a:pt x="147928" y="23999"/>
                  </a:lnTo>
                  <a:lnTo>
                    <a:pt x="150682" y="24786"/>
                  </a:lnTo>
                  <a:lnTo>
                    <a:pt x="153830" y="25179"/>
                  </a:lnTo>
                  <a:lnTo>
                    <a:pt x="156977" y="25179"/>
                  </a:lnTo>
                  <a:lnTo>
                    <a:pt x="159731" y="24392"/>
                  </a:lnTo>
                  <a:lnTo>
                    <a:pt x="161305" y="21638"/>
                  </a:lnTo>
                  <a:lnTo>
                    <a:pt x="158157" y="20065"/>
                  </a:lnTo>
                  <a:lnTo>
                    <a:pt x="155403" y="21638"/>
                  </a:lnTo>
                  <a:lnTo>
                    <a:pt x="152649" y="20852"/>
                  </a:lnTo>
                  <a:lnTo>
                    <a:pt x="149502" y="20852"/>
                  </a:lnTo>
                  <a:lnTo>
                    <a:pt x="146748" y="21638"/>
                  </a:lnTo>
                  <a:lnTo>
                    <a:pt x="145568" y="21638"/>
                  </a:lnTo>
                  <a:lnTo>
                    <a:pt x="140847" y="13376"/>
                  </a:lnTo>
                  <a:lnTo>
                    <a:pt x="140847" y="12983"/>
                  </a:lnTo>
                  <a:lnTo>
                    <a:pt x="140847" y="10229"/>
                  </a:lnTo>
                  <a:lnTo>
                    <a:pt x="138093" y="8655"/>
                  </a:lnTo>
                  <a:lnTo>
                    <a:pt x="127864" y="7475"/>
                  </a:lnTo>
                  <a:lnTo>
                    <a:pt x="127077" y="6688"/>
                  </a:lnTo>
                  <a:lnTo>
                    <a:pt x="124323" y="5508"/>
                  </a:lnTo>
                  <a:lnTo>
                    <a:pt x="121569" y="5901"/>
                  </a:lnTo>
                  <a:lnTo>
                    <a:pt x="118421" y="4721"/>
                  </a:lnTo>
                  <a:lnTo>
                    <a:pt x="115667" y="2360"/>
                  </a:lnTo>
                  <a:lnTo>
                    <a:pt x="112520" y="1180"/>
                  </a:lnTo>
                  <a:lnTo>
                    <a:pt x="109766" y="0"/>
                  </a:lnTo>
                  <a:lnTo>
                    <a:pt x="107012" y="1967"/>
                  </a:lnTo>
                  <a:lnTo>
                    <a:pt x="103864" y="2360"/>
                  </a:lnTo>
                  <a:lnTo>
                    <a:pt x="101111" y="3541"/>
                  </a:lnTo>
                  <a:lnTo>
                    <a:pt x="98357" y="2360"/>
                  </a:lnTo>
                  <a:lnTo>
                    <a:pt x="95209" y="787"/>
                  </a:lnTo>
                  <a:lnTo>
                    <a:pt x="92062" y="787"/>
                  </a:lnTo>
                  <a:lnTo>
                    <a:pt x="89308" y="3541"/>
                  </a:lnTo>
                  <a:lnTo>
                    <a:pt x="86554" y="4721"/>
                  </a:lnTo>
                  <a:lnTo>
                    <a:pt x="86554" y="7475"/>
                  </a:lnTo>
                  <a:lnTo>
                    <a:pt x="84587" y="7475"/>
                  </a:lnTo>
                  <a:lnTo>
                    <a:pt x="82620" y="7475"/>
                  </a:lnTo>
                  <a:lnTo>
                    <a:pt x="79866" y="7475"/>
                  </a:lnTo>
                  <a:lnTo>
                    <a:pt x="72390" y="5508"/>
                  </a:lnTo>
                  <a:lnTo>
                    <a:pt x="71997" y="5508"/>
                  </a:lnTo>
                  <a:lnTo>
                    <a:pt x="71997" y="5508"/>
                  </a:lnTo>
                  <a:lnTo>
                    <a:pt x="66489" y="3934"/>
                  </a:lnTo>
                  <a:lnTo>
                    <a:pt x="64128" y="3147"/>
                  </a:lnTo>
                  <a:lnTo>
                    <a:pt x="60981" y="1180"/>
                  </a:lnTo>
                  <a:lnTo>
                    <a:pt x="58227" y="0"/>
                  </a:lnTo>
                  <a:lnTo>
                    <a:pt x="55473" y="0"/>
                  </a:lnTo>
                  <a:lnTo>
                    <a:pt x="53899" y="393"/>
                  </a:lnTo>
                  <a:lnTo>
                    <a:pt x="50752" y="393"/>
                  </a:lnTo>
                  <a:lnTo>
                    <a:pt x="47998" y="393"/>
                  </a:lnTo>
                  <a:lnTo>
                    <a:pt x="44850" y="1180"/>
                  </a:lnTo>
                  <a:lnTo>
                    <a:pt x="42097" y="2754"/>
                  </a:lnTo>
                  <a:lnTo>
                    <a:pt x="38949" y="4721"/>
                  </a:lnTo>
                  <a:lnTo>
                    <a:pt x="36195" y="7475"/>
                  </a:lnTo>
                  <a:lnTo>
                    <a:pt x="37376" y="10229"/>
                  </a:lnTo>
                  <a:lnTo>
                    <a:pt x="40130" y="10622"/>
                  </a:lnTo>
                  <a:lnTo>
                    <a:pt x="42883" y="9836"/>
                  </a:lnTo>
                  <a:lnTo>
                    <a:pt x="46031" y="10622"/>
                  </a:lnTo>
                  <a:lnTo>
                    <a:pt x="48785" y="11409"/>
                  </a:lnTo>
                  <a:lnTo>
                    <a:pt x="54686" y="14557"/>
                  </a:lnTo>
                  <a:lnTo>
                    <a:pt x="53899" y="23606"/>
                  </a:lnTo>
                  <a:lnTo>
                    <a:pt x="53899" y="23606"/>
                  </a:lnTo>
                  <a:lnTo>
                    <a:pt x="54686" y="26753"/>
                  </a:lnTo>
                  <a:lnTo>
                    <a:pt x="53506" y="28720"/>
                  </a:lnTo>
                  <a:lnTo>
                    <a:pt x="53899" y="31474"/>
                  </a:lnTo>
                  <a:lnTo>
                    <a:pt x="54293" y="31867"/>
                  </a:lnTo>
                  <a:lnTo>
                    <a:pt x="51932" y="51145"/>
                  </a:lnTo>
                  <a:lnTo>
                    <a:pt x="50752" y="51145"/>
                  </a:lnTo>
                  <a:lnTo>
                    <a:pt x="50359" y="51145"/>
                  </a:lnTo>
                  <a:lnTo>
                    <a:pt x="25966" y="46818"/>
                  </a:lnTo>
                  <a:lnTo>
                    <a:pt x="27933" y="46031"/>
                  </a:lnTo>
                  <a:lnTo>
                    <a:pt x="24786" y="46424"/>
                  </a:lnTo>
                  <a:lnTo>
                    <a:pt x="12196" y="44064"/>
                  </a:lnTo>
                  <a:lnTo>
                    <a:pt x="11409" y="43670"/>
                  </a:lnTo>
                  <a:lnTo>
                    <a:pt x="8655" y="42883"/>
                  </a:lnTo>
                  <a:lnTo>
                    <a:pt x="5901" y="43670"/>
                  </a:lnTo>
                  <a:lnTo>
                    <a:pt x="2754" y="45637"/>
                  </a:lnTo>
                  <a:lnTo>
                    <a:pt x="1967" y="48785"/>
                  </a:lnTo>
                  <a:lnTo>
                    <a:pt x="0" y="51539"/>
                  </a:lnTo>
                  <a:lnTo>
                    <a:pt x="1574" y="54293"/>
                  </a:lnTo>
                  <a:lnTo>
                    <a:pt x="4328" y="56260"/>
                  </a:lnTo>
                  <a:lnTo>
                    <a:pt x="7082" y="55473"/>
                  </a:lnTo>
                  <a:lnTo>
                    <a:pt x="10229" y="57047"/>
                  </a:lnTo>
                  <a:lnTo>
                    <a:pt x="12983" y="59014"/>
                  </a:lnTo>
                  <a:lnTo>
                    <a:pt x="14950" y="62161"/>
                  </a:lnTo>
                  <a:lnTo>
                    <a:pt x="16524" y="65309"/>
                  </a:lnTo>
                  <a:lnTo>
                    <a:pt x="19278" y="63735"/>
                  </a:lnTo>
                  <a:lnTo>
                    <a:pt x="19278" y="63735"/>
                  </a:lnTo>
                  <a:lnTo>
                    <a:pt x="30294" y="57047"/>
                  </a:lnTo>
                  <a:lnTo>
                    <a:pt x="33441" y="58227"/>
                  </a:lnTo>
                  <a:lnTo>
                    <a:pt x="36589" y="58227"/>
                  </a:lnTo>
                  <a:lnTo>
                    <a:pt x="39343" y="59014"/>
                  </a:lnTo>
                  <a:lnTo>
                    <a:pt x="42490" y="59801"/>
                  </a:lnTo>
                  <a:lnTo>
                    <a:pt x="45244" y="60194"/>
                  </a:lnTo>
                  <a:lnTo>
                    <a:pt x="47998" y="61374"/>
                  </a:lnTo>
                  <a:lnTo>
                    <a:pt x="50359" y="60194"/>
                  </a:lnTo>
                  <a:lnTo>
                    <a:pt x="79079" y="64522"/>
                  </a:lnTo>
                  <a:lnTo>
                    <a:pt x="81439" y="66882"/>
                  </a:lnTo>
                  <a:lnTo>
                    <a:pt x="82226" y="68456"/>
                  </a:lnTo>
                  <a:lnTo>
                    <a:pt x="83013" y="73964"/>
                  </a:lnTo>
                  <a:lnTo>
                    <a:pt x="86160" y="76325"/>
                  </a:lnTo>
                  <a:lnTo>
                    <a:pt x="88127" y="79472"/>
                  </a:lnTo>
                  <a:lnTo>
                    <a:pt x="90095" y="76325"/>
                  </a:lnTo>
                  <a:lnTo>
                    <a:pt x="91668" y="73177"/>
                  </a:lnTo>
                  <a:lnTo>
                    <a:pt x="93242" y="70817"/>
                  </a:lnTo>
                  <a:lnTo>
                    <a:pt x="96389" y="68063"/>
                  </a:lnTo>
                  <a:lnTo>
                    <a:pt x="98357" y="65309"/>
                  </a:lnTo>
                  <a:lnTo>
                    <a:pt x="99930" y="62161"/>
                  </a:lnTo>
                  <a:lnTo>
                    <a:pt x="100324" y="59014"/>
                  </a:lnTo>
                  <a:lnTo>
                    <a:pt x="100324" y="56260"/>
                  </a:lnTo>
                  <a:lnTo>
                    <a:pt x="104258" y="56260"/>
                  </a:lnTo>
                  <a:lnTo>
                    <a:pt x="105438" y="57047"/>
                  </a:lnTo>
                  <a:lnTo>
                    <a:pt x="105832" y="56653"/>
                  </a:lnTo>
                  <a:lnTo>
                    <a:pt x="115274" y="56653"/>
                  </a:lnTo>
                  <a:lnTo>
                    <a:pt x="116454" y="59014"/>
                  </a:lnTo>
                  <a:lnTo>
                    <a:pt x="119208" y="58620"/>
                  </a:lnTo>
                  <a:lnTo>
                    <a:pt x="122356" y="58227"/>
                  </a:lnTo>
                  <a:lnTo>
                    <a:pt x="125110" y="58227"/>
                  </a:lnTo>
                  <a:lnTo>
                    <a:pt x="128257" y="57440"/>
                  </a:lnTo>
                  <a:lnTo>
                    <a:pt x="130618" y="54293"/>
                  </a:lnTo>
                  <a:lnTo>
                    <a:pt x="132585" y="51539"/>
                  </a:lnTo>
                  <a:lnTo>
                    <a:pt x="132978" y="51539"/>
                  </a:lnTo>
                  <a:lnTo>
                    <a:pt x="133765" y="51539"/>
                  </a:lnTo>
                  <a:lnTo>
                    <a:pt x="136519" y="49965"/>
                  </a:lnTo>
                  <a:lnTo>
                    <a:pt x="138879" y="49965"/>
                  </a:lnTo>
                  <a:lnTo>
                    <a:pt x="141634" y="49965"/>
                  </a:lnTo>
                  <a:lnTo>
                    <a:pt x="144781" y="50359"/>
                  </a:lnTo>
                  <a:lnTo>
                    <a:pt x="147928" y="51932"/>
                  </a:lnTo>
                  <a:lnTo>
                    <a:pt x="150682" y="51145"/>
                  </a:lnTo>
                  <a:lnTo>
                    <a:pt x="153436" y="50752"/>
                  </a:lnTo>
                  <a:lnTo>
                    <a:pt x="155797" y="51145"/>
                  </a:lnTo>
                  <a:lnTo>
                    <a:pt x="158157" y="51932"/>
                  </a:lnTo>
                  <a:lnTo>
                    <a:pt x="161305" y="52326"/>
                  </a:lnTo>
                  <a:lnTo>
                    <a:pt x="164059" y="51932"/>
                  </a:lnTo>
                  <a:lnTo>
                    <a:pt x="164059" y="51932"/>
                  </a:lnTo>
                  <a:lnTo>
                    <a:pt x="167206" y="53113"/>
                  </a:lnTo>
                  <a:lnTo>
                    <a:pt x="168386" y="56260"/>
                  </a:lnTo>
                  <a:lnTo>
                    <a:pt x="169567" y="59014"/>
                  </a:lnTo>
                  <a:lnTo>
                    <a:pt x="172321" y="59014"/>
                  </a:lnTo>
                  <a:lnTo>
                    <a:pt x="173501" y="55867"/>
                  </a:lnTo>
                  <a:lnTo>
                    <a:pt x="174681" y="5311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25" name="Freeform: Shape 3019">
              <a:extLst>
                <a:ext uri="{FF2B5EF4-FFF2-40B4-BE49-F238E27FC236}">
                  <a16:creationId xmlns:a16="http://schemas.microsoft.com/office/drawing/2014/main" id="{ECE78651-3022-40B1-9B05-39D593B04F48}"/>
                </a:ext>
              </a:extLst>
            </p:cNvPr>
            <p:cNvSpPr/>
            <p:nvPr/>
          </p:nvSpPr>
          <p:spPr>
            <a:xfrm>
              <a:off x="4190636" y="3356652"/>
              <a:ext cx="27540" cy="23606"/>
            </a:xfrm>
            <a:custGeom>
              <a:avLst/>
              <a:gdLst>
                <a:gd name="connsiteX0" fmla="*/ 29507 w 27539"/>
                <a:gd name="connsiteY0" fmla="*/ 0 h 23605"/>
                <a:gd name="connsiteX1" fmla="*/ 26753 w 27539"/>
                <a:gd name="connsiteY1" fmla="*/ 393 h 23605"/>
                <a:gd name="connsiteX2" fmla="*/ 23999 w 27539"/>
                <a:gd name="connsiteY2" fmla="*/ 1180 h 23605"/>
                <a:gd name="connsiteX3" fmla="*/ 21245 w 27539"/>
                <a:gd name="connsiteY3" fmla="*/ 1574 h 23605"/>
                <a:gd name="connsiteX4" fmla="*/ 18098 w 27539"/>
                <a:gd name="connsiteY4" fmla="*/ 1180 h 23605"/>
                <a:gd name="connsiteX5" fmla="*/ 15343 w 27539"/>
                <a:gd name="connsiteY5" fmla="*/ 2360 h 23605"/>
                <a:gd name="connsiteX6" fmla="*/ 12196 w 27539"/>
                <a:gd name="connsiteY6" fmla="*/ 3147 h 23605"/>
                <a:gd name="connsiteX7" fmla="*/ 9049 w 27539"/>
                <a:gd name="connsiteY7" fmla="*/ 5508 h 23605"/>
                <a:gd name="connsiteX8" fmla="*/ 12196 w 27539"/>
                <a:gd name="connsiteY8" fmla="*/ 5901 h 23605"/>
                <a:gd name="connsiteX9" fmla="*/ 14163 w 27539"/>
                <a:gd name="connsiteY9" fmla="*/ 8655 h 23605"/>
                <a:gd name="connsiteX10" fmla="*/ 14163 w 27539"/>
                <a:gd name="connsiteY10" fmla="*/ 11803 h 23605"/>
                <a:gd name="connsiteX11" fmla="*/ 13376 w 27539"/>
                <a:gd name="connsiteY11" fmla="*/ 14557 h 23605"/>
                <a:gd name="connsiteX12" fmla="*/ 14163 w 27539"/>
                <a:gd name="connsiteY12" fmla="*/ 17704 h 23605"/>
                <a:gd name="connsiteX13" fmla="*/ 11409 w 27539"/>
                <a:gd name="connsiteY13" fmla="*/ 20852 h 23605"/>
                <a:gd name="connsiteX14" fmla="*/ 8655 w 27539"/>
                <a:gd name="connsiteY14" fmla="*/ 21245 h 23605"/>
                <a:gd name="connsiteX15" fmla="*/ 5901 w 27539"/>
                <a:gd name="connsiteY15" fmla="*/ 23606 h 23605"/>
                <a:gd name="connsiteX16" fmla="*/ 2754 w 27539"/>
                <a:gd name="connsiteY16" fmla="*/ 24392 h 23605"/>
                <a:gd name="connsiteX17" fmla="*/ 0 w 27539"/>
                <a:gd name="connsiteY17" fmla="*/ 27146 h 23605"/>
                <a:gd name="connsiteX18" fmla="*/ 1574 w 27539"/>
                <a:gd name="connsiteY18" fmla="*/ 26753 h 23605"/>
                <a:gd name="connsiteX19" fmla="*/ 4328 w 27539"/>
                <a:gd name="connsiteY19" fmla="*/ 25966 h 23605"/>
                <a:gd name="connsiteX20" fmla="*/ 7082 w 27539"/>
                <a:gd name="connsiteY20" fmla="*/ 25966 h 23605"/>
                <a:gd name="connsiteX21" fmla="*/ 10229 w 27539"/>
                <a:gd name="connsiteY21" fmla="*/ 26359 h 23605"/>
                <a:gd name="connsiteX22" fmla="*/ 16130 w 27539"/>
                <a:gd name="connsiteY22" fmla="*/ 26359 h 23605"/>
                <a:gd name="connsiteX23" fmla="*/ 18884 w 27539"/>
                <a:gd name="connsiteY23" fmla="*/ 25966 h 23605"/>
                <a:gd name="connsiteX24" fmla="*/ 21638 w 27539"/>
                <a:gd name="connsiteY24" fmla="*/ 25966 h 23605"/>
                <a:gd name="connsiteX25" fmla="*/ 24392 w 27539"/>
                <a:gd name="connsiteY25" fmla="*/ 25179 h 23605"/>
                <a:gd name="connsiteX26" fmla="*/ 27540 w 27539"/>
                <a:gd name="connsiteY26" fmla="*/ 23212 h 23605"/>
                <a:gd name="connsiteX27" fmla="*/ 27540 w 27539"/>
                <a:gd name="connsiteY27" fmla="*/ 20458 h 23605"/>
                <a:gd name="connsiteX28" fmla="*/ 28720 w 27539"/>
                <a:gd name="connsiteY28" fmla="*/ 17704 h 23605"/>
                <a:gd name="connsiteX29" fmla="*/ 27146 w 27539"/>
                <a:gd name="connsiteY29" fmla="*/ 14557 h 23605"/>
                <a:gd name="connsiteX30" fmla="*/ 26753 w 27539"/>
                <a:gd name="connsiteY30" fmla="*/ 11803 h 23605"/>
                <a:gd name="connsiteX31" fmla="*/ 27540 w 27539"/>
                <a:gd name="connsiteY31" fmla="*/ 8655 h 23605"/>
                <a:gd name="connsiteX32" fmla="*/ 27540 w 27539"/>
                <a:gd name="connsiteY32" fmla="*/ 5901 h 23605"/>
                <a:gd name="connsiteX33" fmla="*/ 29900 w 27539"/>
                <a:gd name="connsiteY33" fmla="*/ 3147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7539" h="23605">
                  <a:moveTo>
                    <a:pt x="29507" y="0"/>
                  </a:moveTo>
                  <a:lnTo>
                    <a:pt x="26753" y="393"/>
                  </a:lnTo>
                  <a:lnTo>
                    <a:pt x="23999" y="1180"/>
                  </a:lnTo>
                  <a:lnTo>
                    <a:pt x="21245" y="1574"/>
                  </a:lnTo>
                  <a:lnTo>
                    <a:pt x="18098" y="1180"/>
                  </a:lnTo>
                  <a:lnTo>
                    <a:pt x="15343" y="2360"/>
                  </a:lnTo>
                  <a:lnTo>
                    <a:pt x="12196" y="3147"/>
                  </a:lnTo>
                  <a:lnTo>
                    <a:pt x="9049" y="5508"/>
                  </a:lnTo>
                  <a:lnTo>
                    <a:pt x="12196" y="5901"/>
                  </a:lnTo>
                  <a:lnTo>
                    <a:pt x="14163" y="8655"/>
                  </a:lnTo>
                  <a:lnTo>
                    <a:pt x="14163" y="11803"/>
                  </a:lnTo>
                  <a:lnTo>
                    <a:pt x="13376" y="14557"/>
                  </a:lnTo>
                  <a:lnTo>
                    <a:pt x="14163" y="17704"/>
                  </a:lnTo>
                  <a:lnTo>
                    <a:pt x="11409" y="20852"/>
                  </a:lnTo>
                  <a:lnTo>
                    <a:pt x="8655" y="21245"/>
                  </a:lnTo>
                  <a:lnTo>
                    <a:pt x="5901" y="23606"/>
                  </a:lnTo>
                  <a:lnTo>
                    <a:pt x="2754" y="24392"/>
                  </a:lnTo>
                  <a:lnTo>
                    <a:pt x="0" y="27146"/>
                  </a:lnTo>
                  <a:lnTo>
                    <a:pt x="1574" y="26753"/>
                  </a:lnTo>
                  <a:lnTo>
                    <a:pt x="4328" y="25966"/>
                  </a:lnTo>
                  <a:lnTo>
                    <a:pt x="7082" y="25966"/>
                  </a:lnTo>
                  <a:lnTo>
                    <a:pt x="10229" y="26359"/>
                  </a:lnTo>
                  <a:lnTo>
                    <a:pt x="16130" y="26359"/>
                  </a:lnTo>
                  <a:lnTo>
                    <a:pt x="18884" y="25966"/>
                  </a:lnTo>
                  <a:lnTo>
                    <a:pt x="21638" y="25966"/>
                  </a:lnTo>
                  <a:lnTo>
                    <a:pt x="24392" y="25179"/>
                  </a:lnTo>
                  <a:lnTo>
                    <a:pt x="27540" y="23212"/>
                  </a:lnTo>
                  <a:lnTo>
                    <a:pt x="27540" y="20458"/>
                  </a:lnTo>
                  <a:lnTo>
                    <a:pt x="28720" y="17704"/>
                  </a:lnTo>
                  <a:lnTo>
                    <a:pt x="27146" y="14557"/>
                  </a:lnTo>
                  <a:lnTo>
                    <a:pt x="26753" y="11803"/>
                  </a:lnTo>
                  <a:lnTo>
                    <a:pt x="27540" y="8655"/>
                  </a:lnTo>
                  <a:lnTo>
                    <a:pt x="27540" y="5901"/>
                  </a:lnTo>
                  <a:lnTo>
                    <a:pt x="2990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26" name="Freeform: Shape 3020">
              <a:extLst>
                <a:ext uri="{FF2B5EF4-FFF2-40B4-BE49-F238E27FC236}">
                  <a16:creationId xmlns:a16="http://schemas.microsoft.com/office/drawing/2014/main" id="{1E67D06F-4E06-46B4-A819-89CBA34A9884}"/>
                </a:ext>
              </a:extLst>
            </p:cNvPr>
            <p:cNvSpPr/>
            <p:nvPr/>
          </p:nvSpPr>
          <p:spPr>
            <a:xfrm>
              <a:off x="4118639" y="3345242"/>
              <a:ext cx="15737" cy="7869"/>
            </a:xfrm>
            <a:custGeom>
              <a:avLst/>
              <a:gdLst>
                <a:gd name="connsiteX0" fmla="*/ 1180 w 15737"/>
                <a:gd name="connsiteY0" fmla="*/ 7475 h 7868"/>
                <a:gd name="connsiteX1" fmla="*/ 4328 w 15737"/>
                <a:gd name="connsiteY1" fmla="*/ 8262 h 7868"/>
                <a:gd name="connsiteX2" fmla="*/ 7475 w 15737"/>
                <a:gd name="connsiteY2" fmla="*/ 7869 h 7868"/>
                <a:gd name="connsiteX3" fmla="*/ 9442 w 15737"/>
                <a:gd name="connsiteY3" fmla="*/ 11016 h 7868"/>
                <a:gd name="connsiteX4" fmla="*/ 12196 w 15737"/>
                <a:gd name="connsiteY4" fmla="*/ 9442 h 7868"/>
                <a:gd name="connsiteX5" fmla="*/ 14950 w 15737"/>
                <a:gd name="connsiteY5" fmla="*/ 8262 h 7868"/>
                <a:gd name="connsiteX6" fmla="*/ 17704 w 15737"/>
                <a:gd name="connsiteY6" fmla="*/ 5901 h 7868"/>
                <a:gd name="connsiteX7" fmla="*/ 16130 w 15737"/>
                <a:gd name="connsiteY7" fmla="*/ 2754 h 7868"/>
                <a:gd name="connsiteX8" fmla="*/ 15343 w 15737"/>
                <a:gd name="connsiteY8" fmla="*/ 0 h 7868"/>
                <a:gd name="connsiteX9" fmla="*/ 12196 w 15737"/>
                <a:gd name="connsiteY9" fmla="*/ 1967 h 7868"/>
                <a:gd name="connsiteX10" fmla="*/ 11016 w 15737"/>
                <a:gd name="connsiteY10" fmla="*/ 4721 h 7868"/>
                <a:gd name="connsiteX11" fmla="*/ 8262 w 15737"/>
                <a:gd name="connsiteY11" fmla="*/ 5901 h 7868"/>
                <a:gd name="connsiteX12" fmla="*/ 5901 w 15737"/>
                <a:gd name="connsiteY12" fmla="*/ 3147 h 7868"/>
                <a:gd name="connsiteX13" fmla="*/ 3147 w 15737"/>
                <a:gd name="connsiteY13" fmla="*/ 3147 h 7868"/>
                <a:gd name="connsiteX14" fmla="*/ 0 w 15737"/>
                <a:gd name="connsiteY14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737" h="7868">
                  <a:moveTo>
                    <a:pt x="1180" y="7475"/>
                  </a:moveTo>
                  <a:lnTo>
                    <a:pt x="4328" y="8262"/>
                  </a:lnTo>
                  <a:lnTo>
                    <a:pt x="7475" y="7869"/>
                  </a:lnTo>
                  <a:lnTo>
                    <a:pt x="9442" y="11016"/>
                  </a:lnTo>
                  <a:lnTo>
                    <a:pt x="12196" y="9442"/>
                  </a:lnTo>
                  <a:lnTo>
                    <a:pt x="14950" y="8262"/>
                  </a:lnTo>
                  <a:lnTo>
                    <a:pt x="17704" y="5901"/>
                  </a:lnTo>
                  <a:lnTo>
                    <a:pt x="16130" y="2754"/>
                  </a:lnTo>
                  <a:lnTo>
                    <a:pt x="15343" y="0"/>
                  </a:lnTo>
                  <a:lnTo>
                    <a:pt x="12196" y="1967"/>
                  </a:lnTo>
                  <a:lnTo>
                    <a:pt x="11016" y="4721"/>
                  </a:lnTo>
                  <a:lnTo>
                    <a:pt x="8262" y="5901"/>
                  </a:lnTo>
                  <a:lnTo>
                    <a:pt x="5901" y="3147"/>
                  </a:lnTo>
                  <a:lnTo>
                    <a:pt x="3147" y="3147"/>
                  </a:lnTo>
                  <a:lnTo>
                    <a:pt x="0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27" name="Freeform: Shape 3021">
              <a:extLst>
                <a:ext uri="{FF2B5EF4-FFF2-40B4-BE49-F238E27FC236}">
                  <a16:creationId xmlns:a16="http://schemas.microsoft.com/office/drawing/2014/main" id="{9695AD64-BFBE-40F7-A687-CF81C40C7FBB}"/>
                </a:ext>
              </a:extLst>
            </p:cNvPr>
            <p:cNvSpPr/>
            <p:nvPr/>
          </p:nvSpPr>
          <p:spPr>
            <a:xfrm>
              <a:off x="4088345" y="3351930"/>
              <a:ext cx="3934" cy="3934"/>
            </a:xfrm>
            <a:custGeom>
              <a:avLst/>
              <a:gdLst>
                <a:gd name="connsiteX0" fmla="*/ 0 w 3934"/>
                <a:gd name="connsiteY0" fmla="*/ 2360 h 0"/>
                <a:gd name="connsiteX1" fmla="*/ 3147 w 3934"/>
                <a:gd name="connsiteY1" fmla="*/ 3147 h 0"/>
                <a:gd name="connsiteX2" fmla="*/ 4328 w 3934"/>
                <a:gd name="connsiteY2" fmla="*/ 3147 h 0"/>
                <a:gd name="connsiteX3" fmla="*/ 314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360"/>
                  </a:moveTo>
                  <a:lnTo>
                    <a:pt x="3147" y="3147"/>
                  </a:lnTo>
                  <a:lnTo>
                    <a:pt x="4328" y="314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28" name="Freeform: Shape 3022">
              <a:extLst>
                <a:ext uri="{FF2B5EF4-FFF2-40B4-BE49-F238E27FC236}">
                  <a16:creationId xmlns:a16="http://schemas.microsoft.com/office/drawing/2014/main" id="{CA758491-E34B-49A4-972E-ED2A6317572B}"/>
                </a:ext>
              </a:extLst>
            </p:cNvPr>
            <p:cNvSpPr/>
            <p:nvPr/>
          </p:nvSpPr>
          <p:spPr>
            <a:xfrm>
              <a:off x="4226044" y="3340128"/>
              <a:ext cx="3934" cy="3934"/>
            </a:xfrm>
            <a:custGeom>
              <a:avLst/>
              <a:gdLst>
                <a:gd name="connsiteX0" fmla="*/ 3147 w 3934"/>
                <a:gd name="connsiteY0" fmla="*/ 3934 h 3934"/>
                <a:gd name="connsiteX1" fmla="*/ 6295 w 3934"/>
                <a:gd name="connsiteY1" fmla="*/ 2754 h 3934"/>
                <a:gd name="connsiteX2" fmla="*/ 7082 w 3934"/>
                <a:gd name="connsiteY2" fmla="*/ 0 h 3934"/>
                <a:gd name="connsiteX3" fmla="*/ 3934 w 3934"/>
                <a:gd name="connsiteY3" fmla="*/ 787 h 3934"/>
                <a:gd name="connsiteX4" fmla="*/ 787 w 3934"/>
                <a:gd name="connsiteY4" fmla="*/ 3147 h 3934"/>
                <a:gd name="connsiteX5" fmla="*/ 0 w 3934"/>
                <a:gd name="connsiteY5" fmla="*/ 6295 h 3934"/>
                <a:gd name="connsiteX6" fmla="*/ 393 w 3934"/>
                <a:gd name="connsiteY6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3147" y="3934"/>
                  </a:moveTo>
                  <a:lnTo>
                    <a:pt x="6295" y="2754"/>
                  </a:lnTo>
                  <a:lnTo>
                    <a:pt x="7082" y="0"/>
                  </a:lnTo>
                  <a:lnTo>
                    <a:pt x="3934" y="787"/>
                  </a:lnTo>
                  <a:lnTo>
                    <a:pt x="787" y="3147"/>
                  </a:lnTo>
                  <a:lnTo>
                    <a:pt x="0" y="6295"/>
                  </a:lnTo>
                  <a:lnTo>
                    <a:pt x="393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29" name="Freeform: Shape 3023">
              <a:extLst>
                <a:ext uri="{FF2B5EF4-FFF2-40B4-BE49-F238E27FC236}">
                  <a16:creationId xmlns:a16="http://schemas.microsoft.com/office/drawing/2014/main" id="{5C9C080A-C9EF-470B-94A8-A3A6CB2B66A4}"/>
                </a:ext>
              </a:extLst>
            </p:cNvPr>
            <p:cNvSpPr/>
            <p:nvPr/>
          </p:nvSpPr>
          <p:spPr>
            <a:xfrm>
              <a:off x="3724819" y="3095023"/>
              <a:ext cx="62948" cy="27540"/>
            </a:xfrm>
            <a:custGeom>
              <a:avLst/>
              <a:gdLst>
                <a:gd name="connsiteX0" fmla="*/ 49572 w 62948"/>
                <a:gd name="connsiteY0" fmla="*/ 20458 h 27539"/>
                <a:gd name="connsiteX1" fmla="*/ 51539 w 62948"/>
                <a:gd name="connsiteY1" fmla="*/ 22425 h 27539"/>
                <a:gd name="connsiteX2" fmla="*/ 57440 w 62948"/>
                <a:gd name="connsiteY2" fmla="*/ 22425 h 27539"/>
                <a:gd name="connsiteX3" fmla="*/ 60194 w 62948"/>
                <a:gd name="connsiteY3" fmla="*/ 22032 h 27539"/>
                <a:gd name="connsiteX4" fmla="*/ 63342 w 62948"/>
                <a:gd name="connsiteY4" fmla="*/ 20852 h 27539"/>
                <a:gd name="connsiteX5" fmla="*/ 61768 w 62948"/>
                <a:gd name="connsiteY5" fmla="*/ 18098 h 27539"/>
                <a:gd name="connsiteX6" fmla="*/ 60981 w 62948"/>
                <a:gd name="connsiteY6" fmla="*/ 15343 h 27539"/>
                <a:gd name="connsiteX7" fmla="*/ 58227 w 62948"/>
                <a:gd name="connsiteY7" fmla="*/ 12196 h 27539"/>
                <a:gd name="connsiteX8" fmla="*/ 55473 w 62948"/>
                <a:gd name="connsiteY8" fmla="*/ 11016 h 27539"/>
                <a:gd name="connsiteX9" fmla="*/ 52719 w 62948"/>
                <a:gd name="connsiteY9" fmla="*/ 10229 h 27539"/>
                <a:gd name="connsiteX10" fmla="*/ 49572 w 62948"/>
                <a:gd name="connsiteY10" fmla="*/ 8655 h 27539"/>
                <a:gd name="connsiteX11" fmla="*/ 47211 w 62948"/>
                <a:gd name="connsiteY11" fmla="*/ 7869 h 27539"/>
                <a:gd name="connsiteX12" fmla="*/ 45244 w 62948"/>
                <a:gd name="connsiteY12" fmla="*/ 5901 h 27539"/>
                <a:gd name="connsiteX13" fmla="*/ 42097 w 62948"/>
                <a:gd name="connsiteY13" fmla="*/ 4328 h 27539"/>
                <a:gd name="connsiteX14" fmla="*/ 39343 w 62948"/>
                <a:gd name="connsiteY14" fmla="*/ 3934 h 27539"/>
                <a:gd name="connsiteX15" fmla="*/ 36589 w 62948"/>
                <a:gd name="connsiteY15" fmla="*/ 3147 h 27539"/>
                <a:gd name="connsiteX16" fmla="*/ 33835 w 62948"/>
                <a:gd name="connsiteY16" fmla="*/ 2360 h 27539"/>
                <a:gd name="connsiteX17" fmla="*/ 30687 w 62948"/>
                <a:gd name="connsiteY17" fmla="*/ 2360 h 27539"/>
                <a:gd name="connsiteX18" fmla="*/ 27933 w 62948"/>
                <a:gd name="connsiteY18" fmla="*/ 1967 h 27539"/>
                <a:gd name="connsiteX19" fmla="*/ 25573 w 62948"/>
                <a:gd name="connsiteY19" fmla="*/ 1180 h 27539"/>
                <a:gd name="connsiteX20" fmla="*/ 23999 w 62948"/>
                <a:gd name="connsiteY20" fmla="*/ 1180 h 27539"/>
                <a:gd name="connsiteX21" fmla="*/ 20065 w 62948"/>
                <a:gd name="connsiteY21" fmla="*/ 787 h 27539"/>
                <a:gd name="connsiteX22" fmla="*/ 17704 w 62948"/>
                <a:gd name="connsiteY22" fmla="*/ 0 h 27539"/>
                <a:gd name="connsiteX23" fmla="*/ 14950 w 62948"/>
                <a:gd name="connsiteY23" fmla="*/ 393 h 27539"/>
                <a:gd name="connsiteX24" fmla="*/ 11803 w 62948"/>
                <a:gd name="connsiteY24" fmla="*/ 2754 h 27539"/>
                <a:gd name="connsiteX25" fmla="*/ 8655 w 62948"/>
                <a:gd name="connsiteY25" fmla="*/ 2754 h 27539"/>
                <a:gd name="connsiteX26" fmla="*/ 5901 w 62948"/>
                <a:gd name="connsiteY26" fmla="*/ 2360 h 27539"/>
                <a:gd name="connsiteX27" fmla="*/ 2754 w 62948"/>
                <a:gd name="connsiteY27" fmla="*/ 4721 h 27539"/>
                <a:gd name="connsiteX28" fmla="*/ 1180 w 62948"/>
                <a:gd name="connsiteY28" fmla="*/ 7869 h 27539"/>
                <a:gd name="connsiteX29" fmla="*/ 0 w 62948"/>
                <a:gd name="connsiteY29" fmla="*/ 9049 h 27539"/>
                <a:gd name="connsiteX30" fmla="*/ 787 w 62948"/>
                <a:gd name="connsiteY30" fmla="*/ 10229 h 27539"/>
                <a:gd name="connsiteX31" fmla="*/ 3541 w 62948"/>
                <a:gd name="connsiteY31" fmla="*/ 11409 h 27539"/>
                <a:gd name="connsiteX32" fmla="*/ 3934 w 62948"/>
                <a:gd name="connsiteY32" fmla="*/ 11409 h 27539"/>
                <a:gd name="connsiteX33" fmla="*/ 11409 w 62948"/>
                <a:gd name="connsiteY33" fmla="*/ 16130 h 27539"/>
                <a:gd name="connsiteX34" fmla="*/ 11409 w 62948"/>
                <a:gd name="connsiteY34" fmla="*/ 16917 h 27539"/>
                <a:gd name="connsiteX35" fmla="*/ 14557 w 62948"/>
                <a:gd name="connsiteY35" fmla="*/ 19278 h 27539"/>
                <a:gd name="connsiteX36" fmla="*/ 16524 w 62948"/>
                <a:gd name="connsiteY36" fmla="*/ 22425 h 27539"/>
                <a:gd name="connsiteX37" fmla="*/ 19278 w 62948"/>
                <a:gd name="connsiteY37" fmla="*/ 22819 h 27539"/>
                <a:gd name="connsiteX38" fmla="*/ 22425 w 62948"/>
                <a:gd name="connsiteY38" fmla="*/ 22425 h 27539"/>
                <a:gd name="connsiteX39" fmla="*/ 24392 w 62948"/>
                <a:gd name="connsiteY39" fmla="*/ 23212 h 27539"/>
                <a:gd name="connsiteX40" fmla="*/ 27147 w 62948"/>
                <a:gd name="connsiteY40" fmla="*/ 22819 h 27539"/>
                <a:gd name="connsiteX41" fmla="*/ 29114 w 62948"/>
                <a:gd name="connsiteY41" fmla="*/ 24392 h 27539"/>
                <a:gd name="connsiteX42" fmla="*/ 31474 w 62948"/>
                <a:gd name="connsiteY42" fmla="*/ 27146 h 27539"/>
                <a:gd name="connsiteX43" fmla="*/ 34228 w 62948"/>
                <a:gd name="connsiteY43" fmla="*/ 27540 h 27539"/>
                <a:gd name="connsiteX44" fmla="*/ 33441 w 62948"/>
                <a:gd name="connsiteY44" fmla="*/ 24786 h 27539"/>
                <a:gd name="connsiteX45" fmla="*/ 35015 w 62948"/>
                <a:gd name="connsiteY45" fmla="*/ 22032 h 27539"/>
                <a:gd name="connsiteX46" fmla="*/ 36589 w 62948"/>
                <a:gd name="connsiteY46" fmla="*/ 21638 h 27539"/>
                <a:gd name="connsiteX47" fmla="*/ 39736 w 62948"/>
                <a:gd name="connsiteY47" fmla="*/ 23212 h 27539"/>
                <a:gd name="connsiteX48" fmla="*/ 42490 w 62948"/>
                <a:gd name="connsiteY48" fmla="*/ 21245 h 27539"/>
                <a:gd name="connsiteX49" fmla="*/ 44064 w 62948"/>
                <a:gd name="connsiteY49" fmla="*/ 18491 h 27539"/>
                <a:gd name="connsiteX50" fmla="*/ 44851 w 62948"/>
                <a:gd name="connsiteY50" fmla="*/ 18491 h 27539"/>
                <a:gd name="connsiteX51" fmla="*/ 46031 w 62948"/>
                <a:gd name="connsiteY51" fmla="*/ 19278 h 27539"/>
                <a:gd name="connsiteX52" fmla="*/ 47605 w 62948"/>
                <a:gd name="connsiteY52" fmla="*/ 19671 h 27539"/>
                <a:gd name="connsiteX53" fmla="*/ 46031 w 62948"/>
                <a:gd name="connsiteY53" fmla="*/ 20065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62948" h="27539">
                  <a:moveTo>
                    <a:pt x="49572" y="20458"/>
                  </a:moveTo>
                  <a:lnTo>
                    <a:pt x="51539" y="22425"/>
                  </a:lnTo>
                  <a:lnTo>
                    <a:pt x="57440" y="22425"/>
                  </a:lnTo>
                  <a:lnTo>
                    <a:pt x="60194" y="22032"/>
                  </a:lnTo>
                  <a:lnTo>
                    <a:pt x="63342" y="20852"/>
                  </a:lnTo>
                  <a:lnTo>
                    <a:pt x="61768" y="18098"/>
                  </a:lnTo>
                  <a:lnTo>
                    <a:pt x="60981" y="15343"/>
                  </a:lnTo>
                  <a:lnTo>
                    <a:pt x="58227" y="12196"/>
                  </a:lnTo>
                  <a:lnTo>
                    <a:pt x="55473" y="11016"/>
                  </a:lnTo>
                  <a:lnTo>
                    <a:pt x="52719" y="10229"/>
                  </a:lnTo>
                  <a:lnTo>
                    <a:pt x="49572" y="8655"/>
                  </a:lnTo>
                  <a:lnTo>
                    <a:pt x="47211" y="7869"/>
                  </a:lnTo>
                  <a:lnTo>
                    <a:pt x="45244" y="5901"/>
                  </a:lnTo>
                  <a:lnTo>
                    <a:pt x="42097" y="4328"/>
                  </a:lnTo>
                  <a:lnTo>
                    <a:pt x="39343" y="3934"/>
                  </a:lnTo>
                  <a:lnTo>
                    <a:pt x="36589" y="3147"/>
                  </a:lnTo>
                  <a:lnTo>
                    <a:pt x="33835" y="2360"/>
                  </a:lnTo>
                  <a:lnTo>
                    <a:pt x="30687" y="2360"/>
                  </a:lnTo>
                  <a:lnTo>
                    <a:pt x="27933" y="1967"/>
                  </a:lnTo>
                  <a:lnTo>
                    <a:pt x="25573" y="1180"/>
                  </a:lnTo>
                  <a:lnTo>
                    <a:pt x="23999" y="1180"/>
                  </a:lnTo>
                  <a:lnTo>
                    <a:pt x="20065" y="787"/>
                  </a:lnTo>
                  <a:lnTo>
                    <a:pt x="17704" y="0"/>
                  </a:lnTo>
                  <a:lnTo>
                    <a:pt x="14950" y="393"/>
                  </a:lnTo>
                  <a:lnTo>
                    <a:pt x="11803" y="2754"/>
                  </a:lnTo>
                  <a:lnTo>
                    <a:pt x="8655" y="2754"/>
                  </a:lnTo>
                  <a:lnTo>
                    <a:pt x="5901" y="2360"/>
                  </a:lnTo>
                  <a:lnTo>
                    <a:pt x="2754" y="4721"/>
                  </a:lnTo>
                  <a:lnTo>
                    <a:pt x="1180" y="7869"/>
                  </a:lnTo>
                  <a:lnTo>
                    <a:pt x="0" y="9049"/>
                  </a:lnTo>
                  <a:lnTo>
                    <a:pt x="787" y="10229"/>
                  </a:lnTo>
                  <a:lnTo>
                    <a:pt x="3541" y="11409"/>
                  </a:lnTo>
                  <a:lnTo>
                    <a:pt x="3934" y="11409"/>
                  </a:lnTo>
                  <a:lnTo>
                    <a:pt x="11409" y="16130"/>
                  </a:lnTo>
                  <a:lnTo>
                    <a:pt x="11409" y="16917"/>
                  </a:lnTo>
                  <a:lnTo>
                    <a:pt x="14557" y="19278"/>
                  </a:lnTo>
                  <a:lnTo>
                    <a:pt x="16524" y="22425"/>
                  </a:lnTo>
                  <a:lnTo>
                    <a:pt x="19278" y="22819"/>
                  </a:lnTo>
                  <a:lnTo>
                    <a:pt x="22425" y="22425"/>
                  </a:lnTo>
                  <a:lnTo>
                    <a:pt x="24392" y="23212"/>
                  </a:lnTo>
                  <a:lnTo>
                    <a:pt x="27147" y="22819"/>
                  </a:lnTo>
                  <a:lnTo>
                    <a:pt x="29114" y="24392"/>
                  </a:lnTo>
                  <a:lnTo>
                    <a:pt x="31474" y="27146"/>
                  </a:lnTo>
                  <a:lnTo>
                    <a:pt x="34228" y="27540"/>
                  </a:lnTo>
                  <a:lnTo>
                    <a:pt x="33441" y="24786"/>
                  </a:lnTo>
                  <a:lnTo>
                    <a:pt x="35015" y="22032"/>
                  </a:lnTo>
                  <a:lnTo>
                    <a:pt x="36589" y="21638"/>
                  </a:lnTo>
                  <a:lnTo>
                    <a:pt x="39736" y="23212"/>
                  </a:lnTo>
                  <a:lnTo>
                    <a:pt x="42490" y="21245"/>
                  </a:lnTo>
                  <a:lnTo>
                    <a:pt x="44064" y="18491"/>
                  </a:lnTo>
                  <a:lnTo>
                    <a:pt x="44851" y="18491"/>
                  </a:lnTo>
                  <a:lnTo>
                    <a:pt x="46031" y="19278"/>
                  </a:lnTo>
                  <a:lnTo>
                    <a:pt x="47605" y="19671"/>
                  </a:lnTo>
                  <a:lnTo>
                    <a:pt x="46031" y="2006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30" name="Freeform: Shape 3024">
              <a:extLst>
                <a:ext uri="{FF2B5EF4-FFF2-40B4-BE49-F238E27FC236}">
                  <a16:creationId xmlns:a16="http://schemas.microsoft.com/office/drawing/2014/main" id="{C64D0EA4-97F2-4CF2-A64B-B19AF64529A4}"/>
                </a:ext>
              </a:extLst>
            </p:cNvPr>
            <p:cNvSpPr/>
            <p:nvPr/>
          </p:nvSpPr>
          <p:spPr>
            <a:xfrm>
              <a:off x="3670919" y="3183937"/>
              <a:ext cx="3934" cy="3934"/>
            </a:xfrm>
            <a:custGeom>
              <a:avLst/>
              <a:gdLst>
                <a:gd name="connsiteX0" fmla="*/ 1180 w 3934"/>
                <a:gd name="connsiteY0" fmla="*/ 2360 h 0"/>
                <a:gd name="connsiteX1" fmla="*/ 3934 w 3934"/>
                <a:gd name="connsiteY1" fmla="*/ 0 h 0"/>
                <a:gd name="connsiteX2" fmla="*/ 0 w 3934"/>
                <a:gd name="connsiteY2" fmla="*/ 23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1180" y="2360"/>
                  </a:moveTo>
                  <a:lnTo>
                    <a:pt x="3934" y="0"/>
                  </a:lnTo>
                  <a:lnTo>
                    <a:pt x="0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31" name="Freeform: Shape 3025">
              <a:extLst>
                <a:ext uri="{FF2B5EF4-FFF2-40B4-BE49-F238E27FC236}">
                  <a16:creationId xmlns:a16="http://schemas.microsoft.com/office/drawing/2014/main" id="{F1EE0070-7DA3-42A3-9788-4639BDE7A937}"/>
                </a:ext>
              </a:extLst>
            </p:cNvPr>
            <p:cNvSpPr/>
            <p:nvPr/>
          </p:nvSpPr>
          <p:spPr>
            <a:xfrm>
              <a:off x="4209520" y="3169381"/>
              <a:ext cx="3934" cy="11803"/>
            </a:xfrm>
            <a:custGeom>
              <a:avLst/>
              <a:gdLst>
                <a:gd name="connsiteX0" fmla="*/ 5901 w 3934"/>
                <a:gd name="connsiteY0" fmla="*/ 1967 h 11802"/>
                <a:gd name="connsiteX1" fmla="*/ 3147 w 3934"/>
                <a:gd name="connsiteY1" fmla="*/ 0 h 11802"/>
                <a:gd name="connsiteX2" fmla="*/ 0 w 3934"/>
                <a:gd name="connsiteY2" fmla="*/ 1574 h 11802"/>
                <a:gd name="connsiteX3" fmla="*/ 393 w 3934"/>
                <a:gd name="connsiteY3" fmla="*/ 4328 h 11802"/>
                <a:gd name="connsiteX4" fmla="*/ 393 w 3934"/>
                <a:gd name="connsiteY4" fmla="*/ 7475 h 11802"/>
                <a:gd name="connsiteX5" fmla="*/ 393 w 3934"/>
                <a:gd name="connsiteY5" fmla="*/ 10229 h 11802"/>
                <a:gd name="connsiteX6" fmla="*/ 2360 w 3934"/>
                <a:gd name="connsiteY6" fmla="*/ 12983 h 11802"/>
                <a:gd name="connsiteX7" fmla="*/ 5508 w 3934"/>
                <a:gd name="connsiteY7" fmla="*/ 11016 h 11802"/>
                <a:gd name="connsiteX8" fmla="*/ 6295 w 3934"/>
                <a:gd name="connsiteY8" fmla="*/ 8262 h 11802"/>
                <a:gd name="connsiteX9" fmla="*/ 6295 w 3934"/>
                <a:gd name="connsiteY9" fmla="*/ 5508 h 11802"/>
                <a:gd name="connsiteX10" fmla="*/ 7475 w 3934"/>
                <a:gd name="connsiteY10" fmla="*/ 2754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4" h="11802">
                  <a:moveTo>
                    <a:pt x="5901" y="1967"/>
                  </a:moveTo>
                  <a:lnTo>
                    <a:pt x="3147" y="0"/>
                  </a:lnTo>
                  <a:lnTo>
                    <a:pt x="0" y="1574"/>
                  </a:lnTo>
                  <a:lnTo>
                    <a:pt x="393" y="4328"/>
                  </a:lnTo>
                  <a:lnTo>
                    <a:pt x="393" y="7475"/>
                  </a:lnTo>
                  <a:lnTo>
                    <a:pt x="393" y="10229"/>
                  </a:lnTo>
                  <a:lnTo>
                    <a:pt x="2360" y="12983"/>
                  </a:lnTo>
                  <a:lnTo>
                    <a:pt x="5508" y="11016"/>
                  </a:lnTo>
                  <a:lnTo>
                    <a:pt x="6295" y="8262"/>
                  </a:lnTo>
                  <a:lnTo>
                    <a:pt x="6295" y="5508"/>
                  </a:lnTo>
                  <a:lnTo>
                    <a:pt x="7475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32" name="Freeform: Shape 3026">
              <a:extLst>
                <a:ext uri="{FF2B5EF4-FFF2-40B4-BE49-F238E27FC236}">
                  <a16:creationId xmlns:a16="http://schemas.microsoft.com/office/drawing/2014/main" id="{9C3FE0FF-B9A5-47DB-91A8-81180D406EE4}"/>
                </a:ext>
              </a:extLst>
            </p:cNvPr>
            <p:cNvSpPr/>
            <p:nvPr/>
          </p:nvSpPr>
          <p:spPr>
            <a:xfrm>
              <a:off x="4216995" y="3163873"/>
              <a:ext cx="7869" cy="7869"/>
            </a:xfrm>
            <a:custGeom>
              <a:avLst/>
              <a:gdLst>
                <a:gd name="connsiteX0" fmla="*/ 1574 w 7868"/>
                <a:gd name="connsiteY0" fmla="*/ 10229 h 7868"/>
                <a:gd name="connsiteX1" fmla="*/ 4328 w 7868"/>
                <a:gd name="connsiteY1" fmla="*/ 9442 h 7868"/>
                <a:gd name="connsiteX2" fmla="*/ 7475 w 7868"/>
                <a:gd name="connsiteY2" fmla="*/ 9049 h 7868"/>
                <a:gd name="connsiteX3" fmla="*/ 10229 w 7868"/>
                <a:gd name="connsiteY3" fmla="*/ 8262 h 7868"/>
                <a:gd name="connsiteX4" fmla="*/ 7475 w 7868"/>
                <a:gd name="connsiteY4" fmla="*/ 5901 h 7868"/>
                <a:gd name="connsiteX5" fmla="*/ 4721 w 7868"/>
                <a:gd name="connsiteY5" fmla="*/ 3147 h 7868"/>
                <a:gd name="connsiteX6" fmla="*/ 3934 w 7868"/>
                <a:gd name="connsiteY6" fmla="*/ 0 h 7868"/>
                <a:gd name="connsiteX7" fmla="*/ 1180 w 7868"/>
                <a:gd name="connsiteY7" fmla="*/ 1574 h 7868"/>
                <a:gd name="connsiteX8" fmla="*/ 1967 w 7868"/>
                <a:gd name="connsiteY8" fmla="*/ 4328 h 7868"/>
                <a:gd name="connsiteX9" fmla="*/ 0 w 7868"/>
                <a:gd name="connsiteY9" fmla="*/ 747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7868">
                  <a:moveTo>
                    <a:pt x="1574" y="10229"/>
                  </a:moveTo>
                  <a:lnTo>
                    <a:pt x="4328" y="9442"/>
                  </a:lnTo>
                  <a:lnTo>
                    <a:pt x="7475" y="9049"/>
                  </a:lnTo>
                  <a:lnTo>
                    <a:pt x="10229" y="8262"/>
                  </a:lnTo>
                  <a:lnTo>
                    <a:pt x="7475" y="5901"/>
                  </a:lnTo>
                  <a:lnTo>
                    <a:pt x="4721" y="3147"/>
                  </a:lnTo>
                  <a:lnTo>
                    <a:pt x="3934" y="0"/>
                  </a:lnTo>
                  <a:lnTo>
                    <a:pt x="1180" y="1574"/>
                  </a:lnTo>
                  <a:lnTo>
                    <a:pt x="1967" y="4328"/>
                  </a:lnTo>
                  <a:lnTo>
                    <a:pt x="0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33" name="Freeform: Shape 3027">
              <a:extLst>
                <a:ext uri="{FF2B5EF4-FFF2-40B4-BE49-F238E27FC236}">
                  <a16:creationId xmlns:a16="http://schemas.microsoft.com/office/drawing/2014/main" id="{2510E6CE-65BC-4EAF-BD64-4269CB161C72}"/>
                </a:ext>
              </a:extLst>
            </p:cNvPr>
            <p:cNvSpPr/>
            <p:nvPr/>
          </p:nvSpPr>
          <p:spPr>
            <a:xfrm>
              <a:off x="4209914" y="3141447"/>
              <a:ext cx="3934" cy="3934"/>
            </a:xfrm>
            <a:custGeom>
              <a:avLst/>
              <a:gdLst>
                <a:gd name="connsiteX0" fmla="*/ 787 w 3934"/>
                <a:gd name="connsiteY0" fmla="*/ 5114 h 3934"/>
                <a:gd name="connsiteX1" fmla="*/ 3541 w 3934"/>
                <a:gd name="connsiteY1" fmla="*/ 5901 h 3934"/>
                <a:gd name="connsiteX2" fmla="*/ 3934 w 3934"/>
                <a:gd name="connsiteY2" fmla="*/ 5114 h 3934"/>
                <a:gd name="connsiteX3" fmla="*/ 5508 w 3934"/>
                <a:gd name="connsiteY3" fmla="*/ 2360 h 3934"/>
                <a:gd name="connsiteX4" fmla="*/ 2754 w 3934"/>
                <a:gd name="connsiteY4" fmla="*/ 0 h 3934"/>
                <a:gd name="connsiteX5" fmla="*/ 0 w 3934"/>
                <a:gd name="connsiteY5" fmla="*/ 236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787" y="5114"/>
                  </a:moveTo>
                  <a:lnTo>
                    <a:pt x="3541" y="5901"/>
                  </a:lnTo>
                  <a:lnTo>
                    <a:pt x="3934" y="5114"/>
                  </a:lnTo>
                  <a:lnTo>
                    <a:pt x="5508" y="2360"/>
                  </a:lnTo>
                  <a:lnTo>
                    <a:pt x="2754" y="0"/>
                  </a:lnTo>
                  <a:lnTo>
                    <a:pt x="0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34" name="Freeform: Shape 3028">
              <a:extLst>
                <a:ext uri="{FF2B5EF4-FFF2-40B4-BE49-F238E27FC236}">
                  <a16:creationId xmlns:a16="http://schemas.microsoft.com/office/drawing/2014/main" id="{920A17FB-161A-4E54-8A22-04D7014104B8}"/>
                </a:ext>
              </a:extLst>
            </p:cNvPr>
            <p:cNvSpPr/>
            <p:nvPr/>
          </p:nvSpPr>
          <p:spPr>
            <a:xfrm>
              <a:off x="4187882" y="3140660"/>
              <a:ext cx="3934" cy="3934"/>
            </a:xfrm>
            <a:custGeom>
              <a:avLst/>
              <a:gdLst>
                <a:gd name="connsiteX0" fmla="*/ 1967 w 0"/>
                <a:gd name="connsiteY0" fmla="*/ 3147 h 0"/>
                <a:gd name="connsiteX1" fmla="*/ 0 w 0"/>
                <a:gd name="connsiteY1" fmla="*/ 0 h 0"/>
                <a:gd name="connsiteX2" fmla="*/ 787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3147"/>
                  </a:moveTo>
                  <a:lnTo>
                    <a:pt x="0" y="0"/>
                  </a:lnTo>
                  <a:lnTo>
                    <a:pt x="78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35" name="Freeform: Shape 3029">
              <a:extLst>
                <a:ext uri="{FF2B5EF4-FFF2-40B4-BE49-F238E27FC236}">
                  <a16:creationId xmlns:a16="http://schemas.microsoft.com/office/drawing/2014/main" id="{B36E9C3D-42CF-446A-8FDF-F0810E59B009}"/>
                </a:ext>
              </a:extLst>
            </p:cNvPr>
            <p:cNvSpPr/>
            <p:nvPr/>
          </p:nvSpPr>
          <p:spPr>
            <a:xfrm>
              <a:off x="4181193" y="3133579"/>
              <a:ext cx="3934" cy="3934"/>
            </a:xfrm>
            <a:custGeom>
              <a:avLst/>
              <a:gdLst>
                <a:gd name="connsiteX0" fmla="*/ 2754 w 3934"/>
                <a:gd name="connsiteY0" fmla="*/ 3541 h 3934"/>
                <a:gd name="connsiteX1" fmla="*/ 5508 w 3934"/>
                <a:gd name="connsiteY1" fmla="*/ 5901 h 3934"/>
                <a:gd name="connsiteX2" fmla="*/ 5901 w 3934"/>
                <a:gd name="connsiteY2" fmla="*/ 5901 h 3934"/>
                <a:gd name="connsiteX3" fmla="*/ 5114 w 3934"/>
                <a:gd name="connsiteY3" fmla="*/ 3147 h 3934"/>
                <a:gd name="connsiteX4" fmla="*/ 2754 w 3934"/>
                <a:gd name="connsiteY4" fmla="*/ 0 h 3934"/>
                <a:gd name="connsiteX5" fmla="*/ 0 w 3934"/>
                <a:gd name="connsiteY5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2754" y="3541"/>
                  </a:moveTo>
                  <a:lnTo>
                    <a:pt x="5508" y="5901"/>
                  </a:lnTo>
                  <a:lnTo>
                    <a:pt x="5901" y="5901"/>
                  </a:lnTo>
                  <a:lnTo>
                    <a:pt x="5114" y="3147"/>
                  </a:lnTo>
                  <a:lnTo>
                    <a:pt x="2754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36" name="Freeform: Shape 3030">
              <a:extLst>
                <a:ext uri="{FF2B5EF4-FFF2-40B4-BE49-F238E27FC236}">
                  <a16:creationId xmlns:a16="http://schemas.microsoft.com/office/drawing/2014/main" id="{3C9A5EE8-540D-466C-8611-BD3393BFCAC9}"/>
                </a:ext>
              </a:extLst>
            </p:cNvPr>
            <p:cNvSpPr/>
            <p:nvPr/>
          </p:nvSpPr>
          <p:spPr>
            <a:xfrm>
              <a:off x="4211881" y="3123743"/>
              <a:ext cx="3934" cy="3934"/>
            </a:xfrm>
            <a:custGeom>
              <a:avLst/>
              <a:gdLst>
                <a:gd name="connsiteX0" fmla="*/ 3934 w 3934"/>
                <a:gd name="connsiteY0" fmla="*/ 2754 h 3934"/>
                <a:gd name="connsiteX1" fmla="*/ 2754 w 3934"/>
                <a:gd name="connsiteY1" fmla="*/ 0 h 3934"/>
                <a:gd name="connsiteX2" fmla="*/ 0 w 3934"/>
                <a:gd name="connsiteY2" fmla="*/ 393 h 3934"/>
                <a:gd name="connsiteX3" fmla="*/ 394 w 3934"/>
                <a:gd name="connsiteY3" fmla="*/ 3541 h 3934"/>
                <a:gd name="connsiteX4" fmla="*/ 3148 w 3934"/>
                <a:gd name="connsiteY4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934" y="2754"/>
                  </a:moveTo>
                  <a:lnTo>
                    <a:pt x="2754" y="0"/>
                  </a:lnTo>
                  <a:lnTo>
                    <a:pt x="0" y="393"/>
                  </a:lnTo>
                  <a:lnTo>
                    <a:pt x="394" y="3541"/>
                  </a:lnTo>
                  <a:lnTo>
                    <a:pt x="3148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37" name="Freeform: Shape 3031">
              <a:extLst>
                <a:ext uri="{FF2B5EF4-FFF2-40B4-BE49-F238E27FC236}">
                  <a16:creationId xmlns:a16="http://schemas.microsoft.com/office/drawing/2014/main" id="{832F3C1B-938E-4FF6-896A-706688FFF3E3}"/>
                </a:ext>
              </a:extLst>
            </p:cNvPr>
            <p:cNvSpPr/>
            <p:nvPr/>
          </p:nvSpPr>
          <p:spPr>
            <a:xfrm>
              <a:off x="4121786" y="3120202"/>
              <a:ext cx="7869" cy="3934"/>
            </a:xfrm>
            <a:custGeom>
              <a:avLst/>
              <a:gdLst>
                <a:gd name="connsiteX0" fmla="*/ 1180 w 7868"/>
                <a:gd name="connsiteY0" fmla="*/ 3147 h 0"/>
                <a:gd name="connsiteX1" fmla="*/ 3934 w 7868"/>
                <a:gd name="connsiteY1" fmla="*/ 3147 h 0"/>
                <a:gd name="connsiteX2" fmla="*/ 6688 w 7868"/>
                <a:gd name="connsiteY2" fmla="*/ 2361 h 0"/>
                <a:gd name="connsiteX3" fmla="*/ 9442 w 7868"/>
                <a:gd name="connsiteY3" fmla="*/ 787 h 0"/>
                <a:gd name="connsiteX4" fmla="*/ 6688 w 7868"/>
                <a:gd name="connsiteY4" fmla="*/ 1180 h 0"/>
                <a:gd name="connsiteX5" fmla="*/ 3934 w 7868"/>
                <a:gd name="connsiteY5" fmla="*/ 0 h 0"/>
                <a:gd name="connsiteX6" fmla="*/ 787 w 7868"/>
                <a:gd name="connsiteY6" fmla="*/ 787 h 0"/>
                <a:gd name="connsiteX7" fmla="*/ 0 w 7868"/>
                <a:gd name="connsiteY7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>
                  <a:moveTo>
                    <a:pt x="1180" y="3147"/>
                  </a:moveTo>
                  <a:lnTo>
                    <a:pt x="3934" y="3147"/>
                  </a:lnTo>
                  <a:lnTo>
                    <a:pt x="6688" y="2361"/>
                  </a:lnTo>
                  <a:lnTo>
                    <a:pt x="9442" y="787"/>
                  </a:lnTo>
                  <a:lnTo>
                    <a:pt x="6688" y="1180"/>
                  </a:lnTo>
                  <a:lnTo>
                    <a:pt x="3934" y="0"/>
                  </a:lnTo>
                  <a:lnTo>
                    <a:pt x="787" y="787"/>
                  </a:lnTo>
                  <a:lnTo>
                    <a:pt x="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38" name="Freeform: Shape 3032">
              <a:extLst>
                <a:ext uri="{FF2B5EF4-FFF2-40B4-BE49-F238E27FC236}">
                  <a16:creationId xmlns:a16="http://schemas.microsoft.com/office/drawing/2014/main" id="{713375F1-5DF8-4569-ACBC-DB053BBC7EE5}"/>
                </a:ext>
              </a:extLst>
            </p:cNvPr>
            <p:cNvSpPr/>
            <p:nvPr/>
          </p:nvSpPr>
          <p:spPr>
            <a:xfrm>
              <a:off x="4054510" y="3095023"/>
              <a:ext cx="47211" cy="19671"/>
            </a:xfrm>
            <a:custGeom>
              <a:avLst/>
              <a:gdLst>
                <a:gd name="connsiteX0" fmla="*/ 42097 w 47211"/>
                <a:gd name="connsiteY0" fmla="*/ 15343 h 19671"/>
                <a:gd name="connsiteX1" fmla="*/ 44064 w 47211"/>
                <a:gd name="connsiteY1" fmla="*/ 12196 h 19671"/>
                <a:gd name="connsiteX2" fmla="*/ 47211 w 47211"/>
                <a:gd name="connsiteY2" fmla="*/ 11016 h 19671"/>
                <a:gd name="connsiteX3" fmla="*/ 47998 w 47211"/>
                <a:gd name="connsiteY3" fmla="*/ 8262 h 19671"/>
                <a:gd name="connsiteX4" fmla="*/ 47211 w 47211"/>
                <a:gd name="connsiteY4" fmla="*/ 5114 h 19671"/>
                <a:gd name="connsiteX5" fmla="*/ 44457 w 47211"/>
                <a:gd name="connsiteY5" fmla="*/ 4328 h 19671"/>
                <a:gd name="connsiteX6" fmla="*/ 41703 w 47211"/>
                <a:gd name="connsiteY6" fmla="*/ 3147 h 19671"/>
                <a:gd name="connsiteX7" fmla="*/ 38949 w 47211"/>
                <a:gd name="connsiteY7" fmla="*/ 2360 h 19671"/>
                <a:gd name="connsiteX8" fmla="*/ 35802 w 47211"/>
                <a:gd name="connsiteY8" fmla="*/ 3147 h 19671"/>
                <a:gd name="connsiteX9" fmla="*/ 33048 w 47211"/>
                <a:gd name="connsiteY9" fmla="*/ 1967 h 19671"/>
                <a:gd name="connsiteX10" fmla="*/ 29901 w 47211"/>
                <a:gd name="connsiteY10" fmla="*/ 1574 h 19671"/>
                <a:gd name="connsiteX11" fmla="*/ 26753 w 47211"/>
                <a:gd name="connsiteY11" fmla="*/ 1180 h 19671"/>
                <a:gd name="connsiteX12" fmla="*/ 23999 w 47211"/>
                <a:gd name="connsiteY12" fmla="*/ 1574 h 19671"/>
                <a:gd name="connsiteX13" fmla="*/ 20852 w 47211"/>
                <a:gd name="connsiteY13" fmla="*/ 1180 h 19671"/>
                <a:gd name="connsiteX14" fmla="*/ 18098 w 47211"/>
                <a:gd name="connsiteY14" fmla="*/ 1180 h 19671"/>
                <a:gd name="connsiteX15" fmla="*/ 15344 w 47211"/>
                <a:gd name="connsiteY15" fmla="*/ 1180 h 19671"/>
                <a:gd name="connsiteX16" fmla="*/ 12196 w 47211"/>
                <a:gd name="connsiteY16" fmla="*/ 1180 h 19671"/>
                <a:gd name="connsiteX17" fmla="*/ 9442 w 47211"/>
                <a:gd name="connsiteY17" fmla="*/ 1180 h 19671"/>
                <a:gd name="connsiteX18" fmla="*/ 6688 w 47211"/>
                <a:gd name="connsiteY18" fmla="*/ 0 h 19671"/>
                <a:gd name="connsiteX19" fmla="*/ 3541 w 47211"/>
                <a:gd name="connsiteY19" fmla="*/ 1180 h 19671"/>
                <a:gd name="connsiteX20" fmla="*/ 2754 w 47211"/>
                <a:gd name="connsiteY20" fmla="*/ 3934 h 19671"/>
                <a:gd name="connsiteX21" fmla="*/ 0 w 47211"/>
                <a:gd name="connsiteY21" fmla="*/ 5114 h 19671"/>
                <a:gd name="connsiteX22" fmla="*/ 787 w 47211"/>
                <a:gd name="connsiteY22" fmla="*/ 8262 h 19671"/>
                <a:gd name="connsiteX23" fmla="*/ 2754 w 47211"/>
                <a:gd name="connsiteY23" fmla="*/ 11016 h 19671"/>
                <a:gd name="connsiteX24" fmla="*/ 1574 w 47211"/>
                <a:gd name="connsiteY24" fmla="*/ 13770 h 19671"/>
                <a:gd name="connsiteX25" fmla="*/ 1180 w 47211"/>
                <a:gd name="connsiteY25" fmla="*/ 16917 h 19671"/>
                <a:gd name="connsiteX26" fmla="*/ 2754 w 47211"/>
                <a:gd name="connsiteY26" fmla="*/ 19671 h 19671"/>
                <a:gd name="connsiteX27" fmla="*/ 5508 w 47211"/>
                <a:gd name="connsiteY27" fmla="*/ 18884 h 19671"/>
                <a:gd name="connsiteX28" fmla="*/ 8655 w 47211"/>
                <a:gd name="connsiteY28" fmla="*/ 19671 h 19671"/>
                <a:gd name="connsiteX29" fmla="*/ 11409 w 47211"/>
                <a:gd name="connsiteY29" fmla="*/ 19278 h 19671"/>
                <a:gd name="connsiteX30" fmla="*/ 14163 w 47211"/>
                <a:gd name="connsiteY30" fmla="*/ 18491 h 19671"/>
                <a:gd name="connsiteX31" fmla="*/ 17311 w 47211"/>
                <a:gd name="connsiteY31" fmla="*/ 18491 h 19671"/>
                <a:gd name="connsiteX32" fmla="*/ 20065 w 47211"/>
                <a:gd name="connsiteY32" fmla="*/ 18884 h 19671"/>
                <a:gd name="connsiteX33" fmla="*/ 22819 w 47211"/>
                <a:gd name="connsiteY33" fmla="*/ 19278 h 19671"/>
                <a:gd name="connsiteX34" fmla="*/ 25966 w 47211"/>
                <a:gd name="connsiteY34" fmla="*/ 18884 h 19671"/>
                <a:gd name="connsiteX35" fmla="*/ 28720 w 47211"/>
                <a:gd name="connsiteY35" fmla="*/ 20458 h 19671"/>
                <a:gd name="connsiteX36" fmla="*/ 31474 w 47211"/>
                <a:gd name="connsiteY36" fmla="*/ 20065 h 19671"/>
                <a:gd name="connsiteX37" fmla="*/ 34622 w 47211"/>
                <a:gd name="connsiteY37" fmla="*/ 19278 h 19671"/>
                <a:gd name="connsiteX38" fmla="*/ 37376 w 47211"/>
                <a:gd name="connsiteY38" fmla="*/ 19278 h 19671"/>
                <a:gd name="connsiteX39" fmla="*/ 39736 w 47211"/>
                <a:gd name="connsiteY39" fmla="*/ 18098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47211" h="19671">
                  <a:moveTo>
                    <a:pt x="42097" y="15343"/>
                  </a:moveTo>
                  <a:lnTo>
                    <a:pt x="44064" y="12196"/>
                  </a:lnTo>
                  <a:lnTo>
                    <a:pt x="47211" y="11016"/>
                  </a:lnTo>
                  <a:lnTo>
                    <a:pt x="47998" y="8262"/>
                  </a:lnTo>
                  <a:lnTo>
                    <a:pt x="47211" y="5114"/>
                  </a:lnTo>
                  <a:lnTo>
                    <a:pt x="44457" y="4328"/>
                  </a:lnTo>
                  <a:lnTo>
                    <a:pt x="41703" y="3147"/>
                  </a:lnTo>
                  <a:lnTo>
                    <a:pt x="38949" y="2360"/>
                  </a:lnTo>
                  <a:lnTo>
                    <a:pt x="35802" y="3147"/>
                  </a:lnTo>
                  <a:lnTo>
                    <a:pt x="33048" y="1967"/>
                  </a:lnTo>
                  <a:lnTo>
                    <a:pt x="29901" y="1574"/>
                  </a:lnTo>
                  <a:lnTo>
                    <a:pt x="26753" y="1180"/>
                  </a:lnTo>
                  <a:lnTo>
                    <a:pt x="23999" y="1574"/>
                  </a:lnTo>
                  <a:lnTo>
                    <a:pt x="20852" y="1180"/>
                  </a:lnTo>
                  <a:lnTo>
                    <a:pt x="18098" y="1180"/>
                  </a:lnTo>
                  <a:lnTo>
                    <a:pt x="15344" y="1180"/>
                  </a:lnTo>
                  <a:lnTo>
                    <a:pt x="12196" y="1180"/>
                  </a:lnTo>
                  <a:lnTo>
                    <a:pt x="9442" y="1180"/>
                  </a:lnTo>
                  <a:lnTo>
                    <a:pt x="6688" y="0"/>
                  </a:lnTo>
                  <a:lnTo>
                    <a:pt x="3541" y="1180"/>
                  </a:lnTo>
                  <a:lnTo>
                    <a:pt x="2754" y="3934"/>
                  </a:lnTo>
                  <a:lnTo>
                    <a:pt x="0" y="5114"/>
                  </a:lnTo>
                  <a:lnTo>
                    <a:pt x="787" y="8262"/>
                  </a:lnTo>
                  <a:lnTo>
                    <a:pt x="2754" y="11016"/>
                  </a:lnTo>
                  <a:lnTo>
                    <a:pt x="1574" y="13770"/>
                  </a:lnTo>
                  <a:lnTo>
                    <a:pt x="1180" y="16917"/>
                  </a:lnTo>
                  <a:lnTo>
                    <a:pt x="2754" y="19671"/>
                  </a:lnTo>
                  <a:lnTo>
                    <a:pt x="5508" y="18884"/>
                  </a:lnTo>
                  <a:lnTo>
                    <a:pt x="8655" y="19671"/>
                  </a:lnTo>
                  <a:lnTo>
                    <a:pt x="11409" y="19278"/>
                  </a:lnTo>
                  <a:lnTo>
                    <a:pt x="14163" y="18491"/>
                  </a:lnTo>
                  <a:lnTo>
                    <a:pt x="17311" y="18491"/>
                  </a:lnTo>
                  <a:lnTo>
                    <a:pt x="20065" y="18884"/>
                  </a:lnTo>
                  <a:lnTo>
                    <a:pt x="22819" y="19278"/>
                  </a:lnTo>
                  <a:lnTo>
                    <a:pt x="25966" y="18884"/>
                  </a:lnTo>
                  <a:lnTo>
                    <a:pt x="28720" y="20458"/>
                  </a:lnTo>
                  <a:lnTo>
                    <a:pt x="31474" y="20065"/>
                  </a:lnTo>
                  <a:lnTo>
                    <a:pt x="34622" y="19278"/>
                  </a:lnTo>
                  <a:lnTo>
                    <a:pt x="37376" y="19278"/>
                  </a:lnTo>
                  <a:lnTo>
                    <a:pt x="39736" y="1809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39" name="Freeform: Shape 3033">
              <a:extLst>
                <a:ext uri="{FF2B5EF4-FFF2-40B4-BE49-F238E27FC236}">
                  <a16:creationId xmlns:a16="http://schemas.microsoft.com/office/drawing/2014/main" id="{C17CC4BF-6ADB-41E3-8F67-E88064667789}"/>
                </a:ext>
              </a:extLst>
            </p:cNvPr>
            <p:cNvSpPr/>
            <p:nvPr/>
          </p:nvSpPr>
          <p:spPr>
            <a:xfrm>
              <a:off x="4104869" y="3107219"/>
              <a:ext cx="3934" cy="3934"/>
            </a:xfrm>
            <a:custGeom>
              <a:avLst/>
              <a:gdLst>
                <a:gd name="connsiteX0" fmla="*/ 2754 w 3934"/>
                <a:gd name="connsiteY0" fmla="*/ 2360 h 0"/>
                <a:gd name="connsiteX1" fmla="*/ 5901 w 3934"/>
                <a:gd name="connsiteY1" fmla="*/ 393 h 0"/>
                <a:gd name="connsiteX2" fmla="*/ 2754 w 3934"/>
                <a:gd name="connsiteY2" fmla="*/ 0 h 0"/>
                <a:gd name="connsiteX3" fmla="*/ 0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2754" y="2360"/>
                  </a:moveTo>
                  <a:lnTo>
                    <a:pt x="5901" y="393"/>
                  </a:lnTo>
                  <a:lnTo>
                    <a:pt x="275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40" name="Freeform: Shape 3034">
              <a:extLst>
                <a:ext uri="{FF2B5EF4-FFF2-40B4-BE49-F238E27FC236}">
                  <a16:creationId xmlns:a16="http://schemas.microsoft.com/office/drawing/2014/main" id="{8C66306D-68D4-4F33-96BF-D8402E7E07D3}"/>
                </a:ext>
              </a:extLst>
            </p:cNvPr>
            <p:cNvSpPr/>
            <p:nvPr/>
          </p:nvSpPr>
          <p:spPr>
            <a:xfrm>
              <a:off x="4008873" y="3107219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2754 w 3934"/>
                <a:gd name="connsiteY1" fmla="*/ 1574 h 0"/>
                <a:gd name="connsiteX2" fmla="*/ 5901 w 3934"/>
                <a:gd name="connsiteY2" fmla="*/ 1967 h 0"/>
                <a:gd name="connsiteX3" fmla="*/ 5901 w 3934"/>
                <a:gd name="connsiteY3" fmla="*/ 1180 h 0"/>
                <a:gd name="connsiteX4" fmla="*/ 2754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2754" y="1574"/>
                  </a:lnTo>
                  <a:lnTo>
                    <a:pt x="5901" y="1967"/>
                  </a:lnTo>
                  <a:lnTo>
                    <a:pt x="5901" y="118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41" name="Freeform: Shape 3035">
              <a:extLst>
                <a:ext uri="{FF2B5EF4-FFF2-40B4-BE49-F238E27FC236}">
                  <a16:creationId xmlns:a16="http://schemas.microsoft.com/office/drawing/2014/main" id="{9EC2458F-D3E2-4A59-829C-B6A2BA63E15C}"/>
                </a:ext>
              </a:extLst>
            </p:cNvPr>
            <p:cNvSpPr/>
            <p:nvPr/>
          </p:nvSpPr>
          <p:spPr>
            <a:xfrm>
              <a:off x="4121786" y="3100924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393 h 0"/>
                <a:gd name="connsiteX2" fmla="*/ 3147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393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42" name="Freeform: Shape 3036">
              <a:extLst>
                <a:ext uri="{FF2B5EF4-FFF2-40B4-BE49-F238E27FC236}">
                  <a16:creationId xmlns:a16="http://schemas.microsoft.com/office/drawing/2014/main" id="{03F96FFA-D16F-4E50-A474-28EE6A195584}"/>
                </a:ext>
              </a:extLst>
            </p:cNvPr>
            <p:cNvSpPr/>
            <p:nvPr/>
          </p:nvSpPr>
          <p:spPr>
            <a:xfrm>
              <a:off x="4131622" y="3096990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393 w 0"/>
                <a:gd name="connsiteY1" fmla="*/ 2754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393" y="275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43" name="Freeform: Shape 3037">
              <a:extLst>
                <a:ext uri="{FF2B5EF4-FFF2-40B4-BE49-F238E27FC236}">
                  <a16:creationId xmlns:a16="http://schemas.microsoft.com/office/drawing/2014/main" id="{FF5C900F-E21D-4719-9EF0-99E2B1629C8B}"/>
                </a:ext>
              </a:extLst>
            </p:cNvPr>
            <p:cNvSpPr/>
            <p:nvPr/>
          </p:nvSpPr>
          <p:spPr>
            <a:xfrm>
              <a:off x="4141064" y="3087941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0 h 0"/>
                <a:gd name="connsiteX2" fmla="*/ 3148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0"/>
                  </a:lnTo>
                  <a:lnTo>
                    <a:pt x="314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44" name="Freeform: Shape 3038">
              <a:extLst>
                <a:ext uri="{FF2B5EF4-FFF2-40B4-BE49-F238E27FC236}">
                  <a16:creationId xmlns:a16="http://schemas.microsoft.com/office/drawing/2014/main" id="{629180F1-1288-434A-9DDF-7ABC337D7FB4}"/>
                </a:ext>
              </a:extLst>
            </p:cNvPr>
            <p:cNvSpPr/>
            <p:nvPr/>
          </p:nvSpPr>
          <p:spPr>
            <a:xfrm>
              <a:off x="4264993" y="3272852"/>
              <a:ext cx="3934" cy="7869"/>
            </a:xfrm>
            <a:custGeom>
              <a:avLst/>
              <a:gdLst>
                <a:gd name="connsiteX0" fmla="*/ 0 w 3934"/>
                <a:gd name="connsiteY0" fmla="*/ 0 h 7868"/>
                <a:gd name="connsiteX1" fmla="*/ 0 w 3934"/>
                <a:gd name="connsiteY1" fmla="*/ 5901 h 7868"/>
                <a:gd name="connsiteX2" fmla="*/ 3148 w 3934"/>
                <a:gd name="connsiteY2" fmla="*/ 8262 h 7868"/>
                <a:gd name="connsiteX3" fmla="*/ 5508 w 3934"/>
                <a:gd name="connsiteY3" fmla="*/ 7082 h 7868"/>
                <a:gd name="connsiteX4" fmla="*/ 5508 w 3934"/>
                <a:gd name="connsiteY4" fmla="*/ 4328 h 7868"/>
                <a:gd name="connsiteX5" fmla="*/ 2754 w 3934"/>
                <a:gd name="connsiteY5" fmla="*/ 118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0" y="0"/>
                  </a:moveTo>
                  <a:lnTo>
                    <a:pt x="0" y="5901"/>
                  </a:lnTo>
                  <a:lnTo>
                    <a:pt x="3148" y="8262"/>
                  </a:lnTo>
                  <a:lnTo>
                    <a:pt x="5508" y="7082"/>
                  </a:lnTo>
                  <a:lnTo>
                    <a:pt x="5508" y="4328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45" name="Freeform: Shape 3039">
              <a:extLst>
                <a:ext uri="{FF2B5EF4-FFF2-40B4-BE49-F238E27FC236}">
                  <a16:creationId xmlns:a16="http://schemas.microsoft.com/office/drawing/2014/main" id="{8DD06A5D-1009-4A06-817D-C2AFBD7C5632}"/>
                </a:ext>
              </a:extLst>
            </p:cNvPr>
            <p:cNvSpPr/>
            <p:nvPr/>
          </p:nvSpPr>
          <p:spPr>
            <a:xfrm>
              <a:off x="4199291" y="3309047"/>
              <a:ext cx="3934" cy="7869"/>
            </a:xfrm>
            <a:custGeom>
              <a:avLst/>
              <a:gdLst>
                <a:gd name="connsiteX0" fmla="*/ 3934 w 3934"/>
                <a:gd name="connsiteY0" fmla="*/ 5901 h 7868"/>
                <a:gd name="connsiteX1" fmla="*/ 4721 w 3934"/>
                <a:gd name="connsiteY1" fmla="*/ 3147 h 7868"/>
                <a:gd name="connsiteX2" fmla="*/ 4328 w 3934"/>
                <a:gd name="connsiteY2" fmla="*/ 0 h 7868"/>
                <a:gd name="connsiteX3" fmla="*/ 1180 w 3934"/>
                <a:gd name="connsiteY3" fmla="*/ 2361 h 7868"/>
                <a:gd name="connsiteX4" fmla="*/ 0 w 3934"/>
                <a:gd name="connsiteY4" fmla="*/ 5114 h 7868"/>
                <a:gd name="connsiteX5" fmla="*/ 1574 w 3934"/>
                <a:gd name="connsiteY5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3934" y="5901"/>
                  </a:moveTo>
                  <a:lnTo>
                    <a:pt x="4721" y="3147"/>
                  </a:lnTo>
                  <a:lnTo>
                    <a:pt x="4328" y="0"/>
                  </a:lnTo>
                  <a:lnTo>
                    <a:pt x="1180" y="2361"/>
                  </a:lnTo>
                  <a:lnTo>
                    <a:pt x="0" y="5114"/>
                  </a:lnTo>
                  <a:lnTo>
                    <a:pt x="1574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46" name="Freeform: Shape 3040">
              <a:extLst>
                <a:ext uri="{FF2B5EF4-FFF2-40B4-BE49-F238E27FC236}">
                  <a16:creationId xmlns:a16="http://schemas.microsoft.com/office/drawing/2014/main" id="{7F85681C-767C-4C10-9347-A7D32F205CF1}"/>
                </a:ext>
              </a:extLst>
            </p:cNvPr>
            <p:cNvSpPr/>
            <p:nvPr/>
          </p:nvSpPr>
          <p:spPr>
            <a:xfrm>
              <a:off x="4001398" y="3306686"/>
              <a:ext cx="3934" cy="7869"/>
            </a:xfrm>
            <a:custGeom>
              <a:avLst/>
              <a:gdLst>
                <a:gd name="connsiteX0" fmla="*/ 3934 w 3934"/>
                <a:gd name="connsiteY0" fmla="*/ 9836 h 7868"/>
                <a:gd name="connsiteX1" fmla="*/ 4721 w 3934"/>
                <a:gd name="connsiteY1" fmla="*/ 9049 h 7868"/>
                <a:gd name="connsiteX2" fmla="*/ 5508 w 3934"/>
                <a:gd name="connsiteY2" fmla="*/ 5901 h 7868"/>
                <a:gd name="connsiteX3" fmla="*/ 6295 w 3934"/>
                <a:gd name="connsiteY3" fmla="*/ 3147 h 7868"/>
                <a:gd name="connsiteX4" fmla="*/ 3148 w 3934"/>
                <a:gd name="connsiteY4" fmla="*/ 1967 h 7868"/>
                <a:gd name="connsiteX5" fmla="*/ 0 w 3934"/>
                <a:gd name="connsiteY5" fmla="*/ 0 h 7868"/>
                <a:gd name="connsiteX6" fmla="*/ 0 w 3934"/>
                <a:gd name="connsiteY6" fmla="*/ 2754 h 7868"/>
                <a:gd name="connsiteX7" fmla="*/ 3148 w 3934"/>
                <a:gd name="connsiteY7" fmla="*/ 3934 h 7868"/>
                <a:gd name="connsiteX8" fmla="*/ 3148 w 3934"/>
                <a:gd name="connsiteY8" fmla="*/ 708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3934" y="9836"/>
                  </a:moveTo>
                  <a:lnTo>
                    <a:pt x="4721" y="9049"/>
                  </a:lnTo>
                  <a:lnTo>
                    <a:pt x="5508" y="5901"/>
                  </a:lnTo>
                  <a:lnTo>
                    <a:pt x="6295" y="3147"/>
                  </a:lnTo>
                  <a:lnTo>
                    <a:pt x="3148" y="1967"/>
                  </a:lnTo>
                  <a:lnTo>
                    <a:pt x="0" y="0"/>
                  </a:lnTo>
                  <a:lnTo>
                    <a:pt x="0" y="2754"/>
                  </a:lnTo>
                  <a:lnTo>
                    <a:pt x="3148" y="3934"/>
                  </a:lnTo>
                  <a:lnTo>
                    <a:pt x="3148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47" name="Freeform: Shape 3041">
              <a:extLst>
                <a:ext uri="{FF2B5EF4-FFF2-40B4-BE49-F238E27FC236}">
                  <a16:creationId xmlns:a16="http://schemas.microsoft.com/office/drawing/2014/main" id="{19B4C3D1-803D-4850-AF16-A9B994BF1706}"/>
                </a:ext>
              </a:extLst>
            </p:cNvPr>
            <p:cNvSpPr/>
            <p:nvPr/>
          </p:nvSpPr>
          <p:spPr>
            <a:xfrm>
              <a:off x="3978972" y="3304719"/>
              <a:ext cx="7869" cy="7869"/>
            </a:xfrm>
            <a:custGeom>
              <a:avLst/>
              <a:gdLst>
                <a:gd name="connsiteX0" fmla="*/ 6295 w 7868"/>
                <a:gd name="connsiteY0" fmla="*/ 5901 h 7868"/>
                <a:gd name="connsiteX1" fmla="*/ 3541 w 7868"/>
                <a:gd name="connsiteY1" fmla="*/ 3934 h 7868"/>
                <a:gd name="connsiteX2" fmla="*/ 2754 w 7868"/>
                <a:gd name="connsiteY2" fmla="*/ 1180 h 7868"/>
                <a:gd name="connsiteX3" fmla="*/ 0 w 7868"/>
                <a:gd name="connsiteY3" fmla="*/ 0 h 7868"/>
                <a:gd name="connsiteX4" fmla="*/ 393 w 7868"/>
                <a:gd name="connsiteY4" fmla="*/ 2754 h 7868"/>
                <a:gd name="connsiteX5" fmla="*/ 3147 w 7868"/>
                <a:gd name="connsiteY5" fmla="*/ 5901 h 7868"/>
                <a:gd name="connsiteX6" fmla="*/ 5508 w 7868"/>
                <a:gd name="connsiteY6" fmla="*/ 9049 h 7868"/>
                <a:gd name="connsiteX7" fmla="*/ 8655 w 7868"/>
                <a:gd name="connsiteY7" fmla="*/ 10229 h 7868"/>
                <a:gd name="connsiteX8" fmla="*/ 11409 w 7868"/>
                <a:gd name="connsiteY8" fmla="*/ 11016 h 7868"/>
                <a:gd name="connsiteX9" fmla="*/ 11016 w 7868"/>
                <a:gd name="connsiteY9" fmla="*/ 9836 h 7868"/>
                <a:gd name="connsiteX10" fmla="*/ 9442 w 7868"/>
                <a:gd name="connsiteY10" fmla="*/ 708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68" h="7868">
                  <a:moveTo>
                    <a:pt x="6295" y="5901"/>
                  </a:moveTo>
                  <a:lnTo>
                    <a:pt x="3541" y="3934"/>
                  </a:lnTo>
                  <a:lnTo>
                    <a:pt x="2754" y="1180"/>
                  </a:lnTo>
                  <a:lnTo>
                    <a:pt x="0" y="0"/>
                  </a:lnTo>
                  <a:lnTo>
                    <a:pt x="393" y="2754"/>
                  </a:lnTo>
                  <a:lnTo>
                    <a:pt x="3147" y="5901"/>
                  </a:lnTo>
                  <a:lnTo>
                    <a:pt x="5508" y="9049"/>
                  </a:lnTo>
                  <a:lnTo>
                    <a:pt x="8655" y="10229"/>
                  </a:lnTo>
                  <a:lnTo>
                    <a:pt x="11409" y="11016"/>
                  </a:lnTo>
                  <a:lnTo>
                    <a:pt x="11016" y="9836"/>
                  </a:lnTo>
                  <a:lnTo>
                    <a:pt x="9442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48" name="Freeform: Shape 3042">
              <a:extLst>
                <a:ext uri="{FF2B5EF4-FFF2-40B4-BE49-F238E27FC236}">
                  <a16:creationId xmlns:a16="http://schemas.microsoft.com/office/drawing/2014/main" id="{3E165B05-06B0-46A5-8942-335DEBFC1921}"/>
                </a:ext>
              </a:extLst>
            </p:cNvPr>
            <p:cNvSpPr/>
            <p:nvPr/>
          </p:nvSpPr>
          <p:spPr>
            <a:xfrm>
              <a:off x="3953006" y="3297244"/>
              <a:ext cx="3934" cy="3934"/>
            </a:xfrm>
            <a:custGeom>
              <a:avLst/>
              <a:gdLst>
                <a:gd name="connsiteX0" fmla="*/ 1574 w 3934"/>
                <a:gd name="connsiteY0" fmla="*/ 0 h 3934"/>
                <a:gd name="connsiteX1" fmla="*/ 0 w 3934"/>
                <a:gd name="connsiteY1" fmla="*/ 394 h 3934"/>
                <a:gd name="connsiteX2" fmla="*/ 1180 w 3934"/>
                <a:gd name="connsiteY2" fmla="*/ 3147 h 3934"/>
                <a:gd name="connsiteX3" fmla="*/ 1967 w 3934"/>
                <a:gd name="connsiteY3" fmla="*/ 3934 h 3934"/>
                <a:gd name="connsiteX4" fmla="*/ 4721 w 3934"/>
                <a:gd name="connsiteY4" fmla="*/ 5901 h 3934"/>
                <a:gd name="connsiteX5" fmla="*/ 3934 w 3934"/>
                <a:gd name="connsiteY5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1574" y="0"/>
                  </a:moveTo>
                  <a:lnTo>
                    <a:pt x="0" y="394"/>
                  </a:lnTo>
                  <a:lnTo>
                    <a:pt x="1180" y="3147"/>
                  </a:lnTo>
                  <a:lnTo>
                    <a:pt x="1967" y="3934"/>
                  </a:lnTo>
                  <a:lnTo>
                    <a:pt x="4721" y="5901"/>
                  </a:lnTo>
                  <a:lnTo>
                    <a:pt x="393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49" name="Freeform: Shape 3043">
              <a:extLst>
                <a:ext uri="{FF2B5EF4-FFF2-40B4-BE49-F238E27FC236}">
                  <a16:creationId xmlns:a16="http://schemas.microsoft.com/office/drawing/2014/main" id="{625A74D8-D95C-4B89-88A7-DA2D615894A2}"/>
                </a:ext>
              </a:extLst>
            </p:cNvPr>
            <p:cNvSpPr/>
            <p:nvPr/>
          </p:nvSpPr>
          <p:spPr>
            <a:xfrm>
              <a:off x="4216208" y="3270098"/>
              <a:ext cx="3934" cy="7869"/>
            </a:xfrm>
            <a:custGeom>
              <a:avLst/>
              <a:gdLst>
                <a:gd name="connsiteX0" fmla="*/ 4721 w 3934"/>
                <a:gd name="connsiteY0" fmla="*/ 3147 h 7868"/>
                <a:gd name="connsiteX1" fmla="*/ 3541 w 3934"/>
                <a:gd name="connsiteY1" fmla="*/ 0 h 7868"/>
                <a:gd name="connsiteX2" fmla="*/ 1574 w 3934"/>
                <a:gd name="connsiteY2" fmla="*/ 2754 h 7868"/>
                <a:gd name="connsiteX3" fmla="*/ 0 w 3934"/>
                <a:gd name="connsiteY3" fmla="*/ 5901 h 7868"/>
                <a:gd name="connsiteX4" fmla="*/ 2754 w 3934"/>
                <a:gd name="connsiteY4" fmla="*/ 8655 h 7868"/>
                <a:gd name="connsiteX5" fmla="*/ 4328 w 3934"/>
                <a:gd name="connsiteY5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4721" y="3147"/>
                  </a:moveTo>
                  <a:lnTo>
                    <a:pt x="3541" y="0"/>
                  </a:lnTo>
                  <a:lnTo>
                    <a:pt x="1574" y="2754"/>
                  </a:lnTo>
                  <a:lnTo>
                    <a:pt x="0" y="5901"/>
                  </a:lnTo>
                  <a:lnTo>
                    <a:pt x="2754" y="8655"/>
                  </a:lnTo>
                  <a:lnTo>
                    <a:pt x="4328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0" name="Freeform: Shape 3044">
              <a:extLst>
                <a:ext uri="{FF2B5EF4-FFF2-40B4-BE49-F238E27FC236}">
                  <a16:creationId xmlns:a16="http://schemas.microsoft.com/office/drawing/2014/main" id="{37BE4E23-ED69-4931-AB35-623679BD6A1E}"/>
                </a:ext>
              </a:extLst>
            </p:cNvPr>
            <p:cNvSpPr/>
            <p:nvPr/>
          </p:nvSpPr>
          <p:spPr>
            <a:xfrm>
              <a:off x="4224077" y="3248066"/>
              <a:ext cx="3934" cy="7869"/>
            </a:xfrm>
            <a:custGeom>
              <a:avLst/>
              <a:gdLst>
                <a:gd name="connsiteX0" fmla="*/ 5114 w 3934"/>
                <a:gd name="connsiteY0" fmla="*/ 8655 h 7868"/>
                <a:gd name="connsiteX1" fmla="*/ 5114 w 3934"/>
                <a:gd name="connsiteY1" fmla="*/ 5508 h 7868"/>
                <a:gd name="connsiteX2" fmla="*/ 5901 w 3934"/>
                <a:gd name="connsiteY2" fmla="*/ 2754 h 7868"/>
                <a:gd name="connsiteX3" fmla="*/ 3147 w 3934"/>
                <a:gd name="connsiteY3" fmla="*/ 0 h 7868"/>
                <a:gd name="connsiteX4" fmla="*/ 1180 w 3934"/>
                <a:gd name="connsiteY4" fmla="*/ 2754 h 7868"/>
                <a:gd name="connsiteX5" fmla="*/ 0 w 3934"/>
                <a:gd name="connsiteY5" fmla="*/ 5901 h 7868"/>
                <a:gd name="connsiteX6" fmla="*/ 0 w 3934"/>
                <a:gd name="connsiteY6" fmla="*/ 8655 h 7868"/>
                <a:gd name="connsiteX7" fmla="*/ 3147 w 3934"/>
                <a:gd name="connsiteY7" fmla="*/ 11016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5114" y="8655"/>
                  </a:moveTo>
                  <a:lnTo>
                    <a:pt x="5114" y="5508"/>
                  </a:lnTo>
                  <a:lnTo>
                    <a:pt x="5901" y="2754"/>
                  </a:lnTo>
                  <a:lnTo>
                    <a:pt x="3147" y="0"/>
                  </a:lnTo>
                  <a:lnTo>
                    <a:pt x="1180" y="2754"/>
                  </a:lnTo>
                  <a:lnTo>
                    <a:pt x="0" y="5901"/>
                  </a:lnTo>
                  <a:lnTo>
                    <a:pt x="0" y="8655"/>
                  </a:lnTo>
                  <a:lnTo>
                    <a:pt x="3147" y="1101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1" name="Freeform: Shape 3045">
              <a:extLst>
                <a:ext uri="{FF2B5EF4-FFF2-40B4-BE49-F238E27FC236}">
                  <a16:creationId xmlns:a16="http://schemas.microsoft.com/office/drawing/2014/main" id="{02BD278F-2B26-4169-AA50-CE8C13BEDE71}"/>
                </a:ext>
              </a:extLst>
            </p:cNvPr>
            <p:cNvSpPr/>
            <p:nvPr/>
          </p:nvSpPr>
          <p:spPr>
            <a:xfrm>
              <a:off x="4222110" y="3219346"/>
              <a:ext cx="7869" cy="15737"/>
            </a:xfrm>
            <a:custGeom>
              <a:avLst/>
              <a:gdLst>
                <a:gd name="connsiteX0" fmla="*/ 10623 w 7868"/>
                <a:gd name="connsiteY0" fmla="*/ 10229 h 15737"/>
                <a:gd name="connsiteX1" fmla="*/ 7869 w 7868"/>
                <a:gd name="connsiteY1" fmla="*/ 7475 h 15737"/>
                <a:gd name="connsiteX2" fmla="*/ 7869 w 7868"/>
                <a:gd name="connsiteY2" fmla="*/ 4328 h 15737"/>
                <a:gd name="connsiteX3" fmla="*/ 5901 w 7868"/>
                <a:gd name="connsiteY3" fmla="*/ 1180 h 15737"/>
                <a:gd name="connsiteX4" fmla="*/ 2754 w 7868"/>
                <a:gd name="connsiteY4" fmla="*/ 0 h 15737"/>
                <a:gd name="connsiteX5" fmla="*/ 0 w 7868"/>
                <a:gd name="connsiteY5" fmla="*/ 2360 h 15737"/>
                <a:gd name="connsiteX6" fmla="*/ 787 w 7868"/>
                <a:gd name="connsiteY6" fmla="*/ 5114 h 15737"/>
                <a:gd name="connsiteX7" fmla="*/ 2754 w 7868"/>
                <a:gd name="connsiteY7" fmla="*/ 8262 h 15737"/>
                <a:gd name="connsiteX8" fmla="*/ 3541 w 7868"/>
                <a:gd name="connsiteY8" fmla="*/ 11409 h 15737"/>
                <a:gd name="connsiteX9" fmla="*/ 3934 w 7868"/>
                <a:gd name="connsiteY9" fmla="*/ 14163 h 15737"/>
                <a:gd name="connsiteX10" fmla="*/ 7082 w 7868"/>
                <a:gd name="connsiteY10" fmla="*/ 13377 h 15737"/>
                <a:gd name="connsiteX11" fmla="*/ 9836 w 7868"/>
                <a:gd name="connsiteY11" fmla="*/ 16130 h 15737"/>
                <a:gd name="connsiteX12" fmla="*/ 10229 w 7868"/>
                <a:gd name="connsiteY12" fmla="*/ 15737 h 15737"/>
                <a:gd name="connsiteX13" fmla="*/ 11016 w 7868"/>
                <a:gd name="connsiteY13" fmla="*/ 12983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68" h="15737">
                  <a:moveTo>
                    <a:pt x="10623" y="10229"/>
                  </a:moveTo>
                  <a:lnTo>
                    <a:pt x="7869" y="7475"/>
                  </a:lnTo>
                  <a:lnTo>
                    <a:pt x="7869" y="4328"/>
                  </a:lnTo>
                  <a:lnTo>
                    <a:pt x="5901" y="1180"/>
                  </a:lnTo>
                  <a:lnTo>
                    <a:pt x="2754" y="0"/>
                  </a:lnTo>
                  <a:lnTo>
                    <a:pt x="0" y="2360"/>
                  </a:lnTo>
                  <a:lnTo>
                    <a:pt x="787" y="5114"/>
                  </a:lnTo>
                  <a:lnTo>
                    <a:pt x="2754" y="8262"/>
                  </a:lnTo>
                  <a:lnTo>
                    <a:pt x="3541" y="11409"/>
                  </a:lnTo>
                  <a:lnTo>
                    <a:pt x="3934" y="14163"/>
                  </a:lnTo>
                  <a:lnTo>
                    <a:pt x="7082" y="13377"/>
                  </a:lnTo>
                  <a:lnTo>
                    <a:pt x="9836" y="16130"/>
                  </a:lnTo>
                  <a:lnTo>
                    <a:pt x="10229" y="15737"/>
                  </a:lnTo>
                  <a:lnTo>
                    <a:pt x="11016" y="1298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2" name="Freeform: Shape 3046">
              <a:extLst>
                <a:ext uri="{FF2B5EF4-FFF2-40B4-BE49-F238E27FC236}">
                  <a16:creationId xmlns:a16="http://schemas.microsoft.com/office/drawing/2014/main" id="{669E7FB2-0A95-4A18-A483-1680233FEA5C}"/>
                </a:ext>
              </a:extLst>
            </p:cNvPr>
            <p:cNvSpPr/>
            <p:nvPr/>
          </p:nvSpPr>
          <p:spPr>
            <a:xfrm>
              <a:off x="4216208" y="3193773"/>
              <a:ext cx="3934" cy="11803"/>
            </a:xfrm>
            <a:custGeom>
              <a:avLst/>
              <a:gdLst>
                <a:gd name="connsiteX0" fmla="*/ 6688 w 3934"/>
                <a:gd name="connsiteY0" fmla="*/ 9836 h 11802"/>
                <a:gd name="connsiteX1" fmla="*/ 6688 w 3934"/>
                <a:gd name="connsiteY1" fmla="*/ 3934 h 11802"/>
                <a:gd name="connsiteX2" fmla="*/ 3934 w 3934"/>
                <a:gd name="connsiteY2" fmla="*/ 1180 h 11802"/>
                <a:gd name="connsiteX3" fmla="*/ 787 w 3934"/>
                <a:gd name="connsiteY3" fmla="*/ 0 h 11802"/>
                <a:gd name="connsiteX4" fmla="*/ 0 w 3934"/>
                <a:gd name="connsiteY4" fmla="*/ 3147 h 11802"/>
                <a:gd name="connsiteX5" fmla="*/ 787 w 3934"/>
                <a:gd name="connsiteY5" fmla="*/ 5901 h 11802"/>
                <a:gd name="connsiteX6" fmla="*/ 2360 w 3934"/>
                <a:gd name="connsiteY6" fmla="*/ 8655 h 11802"/>
                <a:gd name="connsiteX7" fmla="*/ 2754 w 3934"/>
                <a:gd name="connsiteY7" fmla="*/ 11803 h 11802"/>
                <a:gd name="connsiteX8" fmla="*/ 2754 w 3934"/>
                <a:gd name="connsiteY8" fmla="*/ 14557 h 11802"/>
                <a:gd name="connsiteX9" fmla="*/ 5901 w 3934"/>
                <a:gd name="connsiteY9" fmla="*/ 1259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11802">
                  <a:moveTo>
                    <a:pt x="6688" y="9836"/>
                  </a:moveTo>
                  <a:lnTo>
                    <a:pt x="6688" y="3934"/>
                  </a:lnTo>
                  <a:lnTo>
                    <a:pt x="3934" y="1180"/>
                  </a:lnTo>
                  <a:lnTo>
                    <a:pt x="787" y="0"/>
                  </a:lnTo>
                  <a:lnTo>
                    <a:pt x="0" y="3147"/>
                  </a:lnTo>
                  <a:lnTo>
                    <a:pt x="787" y="5901"/>
                  </a:lnTo>
                  <a:lnTo>
                    <a:pt x="2360" y="8655"/>
                  </a:lnTo>
                  <a:lnTo>
                    <a:pt x="2754" y="11803"/>
                  </a:lnTo>
                  <a:lnTo>
                    <a:pt x="2754" y="14557"/>
                  </a:lnTo>
                  <a:lnTo>
                    <a:pt x="5901" y="1259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3" name="Freeform: Shape 3047">
              <a:extLst>
                <a:ext uri="{FF2B5EF4-FFF2-40B4-BE49-F238E27FC236}">
                  <a16:creationId xmlns:a16="http://schemas.microsoft.com/office/drawing/2014/main" id="{8C0B8388-60D6-47DF-AB49-CE9F642B9EC5}"/>
                </a:ext>
              </a:extLst>
            </p:cNvPr>
            <p:cNvSpPr/>
            <p:nvPr/>
          </p:nvSpPr>
          <p:spPr>
            <a:xfrm>
              <a:off x="4222897" y="3181577"/>
              <a:ext cx="3934" cy="3934"/>
            </a:xfrm>
            <a:custGeom>
              <a:avLst/>
              <a:gdLst>
                <a:gd name="connsiteX0" fmla="*/ 1180 w 0"/>
                <a:gd name="connsiteY0" fmla="*/ 3541 h 0"/>
                <a:gd name="connsiteX1" fmla="*/ 2754 w 0"/>
                <a:gd name="connsiteY1" fmla="*/ 2754 h 0"/>
                <a:gd name="connsiteX2" fmla="*/ 2754 w 0"/>
                <a:gd name="connsiteY2" fmla="*/ 0 h 0"/>
                <a:gd name="connsiteX3" fmla="*/ 0 w 0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180" y="3541"/>
                  </a:moveTo>
                  <a:lnTo>
                    <a:pt x="2754" y="2754"/>
                  </a:lnTo>
                  <a:lnTo>
                    <a:pt x="2754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4" name="Freeform: Shape 3048">
              <a:extLst>
                <a:ext uri="{FF2B5EF4-FFF2-40B4-BE49-F238E27FC236}">
                  <a16:creationId xmlns:a16="http://schemas.microsoft.com/office/drawing/2014/main" id="{EA9D7FB4-7AED-49CE-8063-A01078212CF5}"/>
                </a:ext>
              </a:extLst>
            </p:cNvPr>
            <p:cNvSpPr/>
            <p:nvPr/>
          </p:nvSpPr>
          <p:spPr>
            <a:xfrm>
              <a:off x="4213061" y="3416846"/>
              <a:ext cx="3934" cy="3934"/>
            </a:xfrm>
            <a:custGeom>
              <a:avLst/>
              <a:gdLst>
                <a:gd name="connsiteX0" fmla="*/ 4721 w 3934"/>
                <a:gd name="connsiteY0" fmla="*/ 787 h 3934"/>
                <a:gd name="connsiteX1" fmla="*/ 1574 w 3934"/>
                <a:gd name="connsiteY1" fmla="*/ 3147 h 3934"/>
                <a:gd name="connsiteX2" fmla="*/ 0 w 3934"/>
                <a:gd name="connsiteY2" fmla="*/ 5901 h 3934"/>
                <a:gd name="connsiteX3" fmla="*/ 2754 w 3934"/>
                <a:gd name="connsiteY3" fmla="*/ 3541 h 3934"/>
                <a:gd name="connsiteX4" fmla="*/ 5901 w 3934"/>
                <a:gd name="connsiteY4" fmla="*/ 1180 h 3934"/>
                <a:gd name="connsiteX5" fmla="*/ 7475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4721" y="787"/>
                  </a:moveTo>
                  <a:lnTo>
                    <a:pt x="1574" y="3147"/>
                  </a:lnTo>
                  <a:lnTo>
                    <a:pt x="0" y="5901"/>
                  </a:lnTo>
                  <a:lnTo>
                    <a:pt x="2754" y="3541"/>
                  </a:lnTo>
                  <a:lnTo>
                    <a:pt x="5901" y="1180"/>
                  </a:lnTo>
                  <a:lnTo>
                    <a:pt x="747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5" name="Freeform: Shape 3049">
              <a:extLst>
                <a:ext uri="{FF2B5EF4-FFF2-40B4-BE49-F238E27FC236}">
                  <a16:creationId xmlns:a16="http://schemas.microsoft.com/office/drawing/2014/main" id="{8498DCB1-A514-4C6A-875B-09047BC61AC6}"/>
                </a:ext>
              </a:extLst>
            </p:cNvPr>
            <p:cNvSpPr/>
            <p:nvPr/>
          </p:nvSpPr>
          <p:spPr>
            <a:xfrm>
              <a:off x="4218176" y="3412912"/>
              <a:ext cx="3934" cy="3934"/>
            </a:xfrm>
            <a:custGeom>
              <a:avLst/>
              <a:gdLst>
                <a:gd name="connsiteX0" fmla="*/ 0 w 0"/>
                <a:gd name="connsiteY0" fmla="*/ 1574 h 0"/>
                <a:gd name="connsiteX1" fmla="*/ 1967 w 0"/>
                <a:gd name="connsiteY1" fmla="*/ 2754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574"/>
                  </a:moveTo>
                  <a:lnTo>
                    <a:pt x="1967" y="275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6" name="Freeform: Shape 3050">
              <a:extLst>
                <a:ext uri="{FF2B5EF4-FFF2-40B4-BE49-F238E27FC236}">
                  <a16:creationId xmlns:a16="http://schemas.microsoft.com/office/drawing/2014/main" id="{06FC5EB6-F180-4BAB-BFE1-A8B3A5962C7A}"/>
                </a:ext>
              </a:extLst>
            </p:cNvPr>
            <p:cNvSpPr/>
            <p:nvPr/>
          </p:nvSpPr>
          <p:spPr>
            <a:xfrm>
              <a:off x="4220930" y="3412912"/>
              <a:ext cx="3934" cy="3934"/>
            </a:xfrm>
            <a:custGeom>
              <a:avLst/>
              <a:gdLst>
                <a:gd name="connsiteX0" fmla="*/ 0 w 0"/>
                <a:gd name="connsiteY0" fmla="*/ 2360 h 0"/>
                <a:gd name="connsiteX1" fmla="*/ 3147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360"/>
                  </a:moveTo>
                  <a:lnTo>
                    <a:pt x="3147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7" name="Freeform: Shape 3051">
              <a:extLst>
                <a:ext uri="{FF2B5EF4-FFF2-40B4-BE49-F238E27FC236}">
                  <a16:creationId xmlns:a16="http://schemas.microsoft.com/office/drawing/2014/main" id="{E21C0E1F-88B0-404D-990A-1C8F92A40857}"/>
                </a:ext>
              </a:extLst>
            </p:cNvPr>
            <p:cNvSpPr/>
            <p:nvPr/>
          </p:nvSpPr>
          <p:spPr>
            <a:xfrm>
              <a:off x="3676821" y="3437697"/>
              <a:ext cx="3934" cy="3934"/>
            </a:xfrm>
            <a:custGeom>
              <a:avLst/>
              <a:gdLst>
                <a:gd name="connsiteX0" fmla="*/ 3148 w 0"/>
                <a:gd name="connsiteY0" fmla="*/ 5508 h 3934"/>
                <a:gd name="connsiteX1" fmla="*/ 3541 w 0"/>
                <a:gd name="connsiteY1" fmla="*/ 2754 h 3934"/>
                <a:gd name="connsiteX2" fmla="*/ 2754 w 0"/>
                <a:gd name="connsiteY2" fmla="*/ 0 h 3934"/>
                <a:gd name="connsiteX3" fmla="*/ 1574 w 0"/>
                <a:gd name="connsiteY3" fmla="*/ 0 h 3934"/>
                <a:gd name="connsiteX4" fmla="*/ 0 w 0"/>
                <a:gd name="connsiteY4" fmla="*/ 3147 h 3934"/>
                <a:gd name="connsiteX5" fmla="*/ 394 w 0"/>
                <a:gd name="connsiteY5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3934">
                  <a:moveTo>
                    <a:pt x="3148" y="5508"/>
                  </a:moveTo>
                  <a:lnTo>
                    <a:pt x="3541" y="2754"/>
                  </a:lnTo>
                  <a:lnTo>
                    <a:pt x="2754" y="0"/>
                  </a:lnTo>
                  <a:lnTo>
                    <a:pt x="1574" y="0"/>
                  </a:lnTo>
                  <a:lnTo>
                    <a:pt x="0" y="3147"/>
                  </a:lnTo>
                  <a:lnTo>
                    <a:pt x="394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8" name="Freeform: Shape 3052">
              <a:extLst>
                <a:ext uri="{FF2B5EF4-FFF2-40B4-BE49-F238E27FC236}">
                  <a16:creationId xmlns:a16="http://schemas.microsoft.com/office/drawing/2014/main" id="{B1C58503-0035-4FEC-8148-801B2CF3674F}"/>
                </a:ext>
              </a:extLst>
            </p:cNvPr>
            <p:cNvSpPr/>
            <p:nvPr/>
          </p:nvSpPr>
          <p:spPr>
            <a:xfrm>
              <a:off x="3587513" y="3465237"/>
              <a:ext cx="3934" cy="7869"/>
            </a:xfrm>
            <a:custGeom>
              <a:avLst/>
              <a:gdLst>
                <a:gd name="connsiteX0" fmla="*/ 5114 w 3934"/>
                <a:gd name="connsiteY0" fmla="*/ 3147 h 7868"/>
                <a:gd name="connsiteX1" fmla="*/ 4721 w 3934"/>
                <a:gd name="connsiteY1" fmla="*/ 0 h 7868"/>
                <a:gd name="connsiteX2" fmla="*/ 3147 w 3934"/>
                <a:gd name="connsiteY2" fmla="*/ 1967 h 7868"/>
                <a:gd name="connsiteX3" fmla="*/ 0 w 3934"/>
                <a:gd name="connsiteY3" fmla="*/ 4328 h 7868"/>
                <a:gd name="connsiteX4" fmla="*/ 1180 w 3934"/>
                <a:gd name="connsiteY4" fmla="*/ 7082 h 7868"/>
                <a:gd name="connsiteX5" fmla="*/ 3934 w 3934"/>
                <a:gd name="connsiteY5" fmla="*/ 10229 h 7868"/>
                <a:gd name="connsiteX6" fmla="*/ 6688 w 3934"/>
                <a:gd name="connsiteY6" fmla="*/ 9049 h 7868"/>
                <a:gd name="connsiteX7" fmla="*/ 5114 w 3934"/>
                <a:gd name="connsiteY7" fmla="*/ 629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5114" y="3147"/>
                  </a:moveTo>
                  <a:lnTo>
                    <a:pt x="4721" y="0"/>
                  </a:lnTo>
                  <a:lnTo>
                    <a:pt x="3147" y="1967"/>
                  </a:lnTo>
                  <a:lnTo>
                    <a:pt x="0" y="4328"/>
                  </a:lnTo>
                  <a:lnTo>
                    <a:pt x="1180" y="7082"/>
                  </a:lnTo>
                  <a:lnTo>
                    <a:pt x="3934" y="10229"/>
                  </a:lnTo>
                  <a:lnTo>
                    <a:pt x="6688" y="9049"/>
                  </a:lnTo>
                  <a:lnTo>
                    <a:pt x="5114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9" name="Freeform: Shape 3053">
              <a:extLst>
                <a:ext uri="{FF2B5EF4-FFF2-40B4-BE49-F238E27FC236}">
                  <a16:creationId xmlns:a16="http://schemas.microsoft.com/office/drawing/2014/main" id="{E09E3F70-3480-430A-A2D0-C9A20C7D203F}"/>
                </a:ext>
              </a:extLst>
            </p:cNvPr>
            <p:cNvSpPr/>
            <p:nvPr/>
          </p:nvSpPr>
          <p:spPr>
            <a:xfrm>
              <a:off x="3606791" y="3467598"/>
              <a:ext cx="3934" cy="3934"/>
            </a:xfrm>
            <a:custGeom>
              <a:avLst/>
              <a:gdLst>
                <a:gd name="connsiteX0" fmla="*/ 5508 w 3934"/>
                <a:gd name="connsiteY0" fmla="*/ 0 h 0"/>
                <a:gd name="connsiteX1" fmla="*/ 2754 w 3934"/>
                <a:gd name="connsiteY1" fmla="*/ 1180 h 0"/>
                <a:gd name="connsiteX2" fmla="*/ 0 w 3934"/>
                <a:gd name="connsiteY2" fmla="*/ 3541 h 0"/>
                <a:gd name="connsiteX3" fmla="*/ 2754 w 3934"/>
                <a:gd name="connsiteY3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508" y="0"/>
                  </a:moveTo>
                  <a:lnTo>
                    <a:pt x="2754" y="1180"/>
                  </a:lnTo>
                  <a:lnTo>
                    <a:pt x="0" y="3541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60" name="Freeform: Shape 3054">
              <a:extLst>
                <a:ext uri="{FF2B5EF4-FFF2-40B4-BE49-F238E27FC236}">
                  <a16:creationId xmlns:a16="http://schemas.microsoft.com/office/drawing/2014/main" id="{27C615CC-D0E8-46F5-B37D-61B193948986}"/>
                </a:ext>
              </a:extLst>
            </p:cNvPr>
            <p:cNvSpPr/>
            <p:nvPr/>
          </p:nvSpPr>
          <p:spPr>
            <a:xfrm>
              <a:off x="3582005" y="3407403"/>
              <a:ext cx="3934" cy="3934"/>
            </a:xfrm>
            <a:custGeom>
              <a:avLst/>
              <a:gdLst>
                <a:gd name="connsiteX0" fmla="*/ 0 w 0"/>
                <a:gd name="connsiteY0" fmla="*/ 394 h 0"/>
                <a:gd name="connsiteX1" fmla="*/ 2754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4"/>
                  </a:moveTo>
                  <a:lnTo>
                    <a:pt x="2754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61" name="Freeform: Shape 3055">
              <a:extLst>
                <a:ext uri="{FF2B5EF4-FFF2-40B4-BE49-F238E27FC236}">
                  <a16:creationId xmlns:a16="http://schemas.microsoft.com/office/drawing/2014/main" id="{BC8A8848-B2E9-43E8-B526-CEB475B17378}"/>
                </a:ext>
              </a:extLst>
            </p:cNvPr>
            <p:cNvSpPr/>
            <p:nvPr/>
          </p:nvSpPr>
          <p:spPr>
            <a:xfrm>
              <a:off x="3579251" y="3404649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787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78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62" name="Freeform: Shape 3056">
              <a:extLst>
                <a:ext uri="{FF2B5EF4-FFF2-40B4-BE49-F238E27FC236}">
                  <a16:creationId xmlns:a16="http://schemas.microsoft.com/office/drawing/2014/main" id="{027A33FE-936D-49FD-9713-5C88EFC3D5F1}"/>
                </a:ext>
              </a:extLst>
            </p:cNvPr>
            <p:cNvSpPr/>
            <p:nvPr/>
          </p:nvSpPr>
          <p:spPr>
            <a:xfrm>
              <a:off x="4527015" y="3714276"/>
              <a:ext cx="19671" cy="11803"/>
            </a:xfrm>
            <a:custGeom>
              <a:avLst/>
              <a:gdLst>
                <a:gd name="connsiteX0" fmla="*/ 3541 w 19671"/>
                <a:gd name="connsiteY0" fmla="*/ 11016 h 11802"/>
                <a:gd name="connsiteX1" fmla="*/ 6688 w 19671"/>
                <a:gd name="connsiteY1" fmla="*/ 11016 h 11802"/>
                <a:gd name="connsiteX2" fmla="*/ 9442 w 19671"/>
                <a:gd name="connsiteY2" fmla="*/ 11016 h 11802"/>
                <a:gd name="connsiteX3" fmla="*/ 11803 w 19671"/>
                <a:gd name="connsiteY3" fmla="*/ 13770 h 11802"/>
                <a:gd name="connsiteX4" fmla="*/ 11803 w 19671"/>
                <a:gd name="connsiteY4" fmla="*/ 13770 h 11802"/>
                <a:gd name="connsiteX5" fmla="*/ 14557 w 19671"/>
                <a:gd name="connsiteY5" fmla="*/ 11016 h 11802"/>
                <a:gd name="connsiteX6" fmla="*/ 14950 w 19671"/>
                <a:gd name="connsiteY6" fmla="*/ 11016 h 11802"/>
                <a:gd name="connsiteX7" fmla="*/ 16524 w 19671"/>
                <a:gd name="connsiteY7" fmla="*/ 8262 h 11802"/>
                <a:gd name="connsiteX8" fmla="*/ 19671 w 19671"/>
                <a:gd name="connsiteY8" fmla="*/ 5901 h 11802"/>
                <a:gd name="connsiteX9" fmla="*/ 22819 w 19671"/>
                <a:gd name="connsiteY9" fmla="*/ 3147 h 11802"/>
                <a:gd name="connsiteX10" fmla="*/ 20852 w 19671"/>
                <a:gd name="connsiteY10" fmla="*/ 0 h 11802"/>
                <a:gd name="connsiteX11" fmla="*/ 17704 w 19671"/>
                <a:gd name="connsiteY11" fmla="*/ 394 h 11802"/>
                <a:gd name="connsiteX12" fmla="*/ 14557 w 19671"/>
                <a:gd name="connsiteY12" fmla="*/ 787 h 11802"/>
                <a:gd name="connsiteX13" fmla="*/ 11803 w 19671"/>
                <a:gd name="connsiteY13" fmla="*/ 1180 h 11802"/>
                <a:gd name="connsiteX14" fmla="*/ 8655 w 19671"/>
                <a:gd name="connsiteY14" fmla="*/ 2361 h 11802"/>
                <a:gd name="connsiteX15" fmla="*/ 5901 w 19671"/>
                <a:gd name="connsiteY15" fmla="*/ 3934 h 11802"/>
                <a:gd name="connsiteX16" fmla="*/ 2754 w 19671"/>
                <a:gd name="connsiteY16" fmla="*/ 3934 h 11802"/>
                <a:gd name="connsiteX17" fmla="*/ 0 w 19671"/>
                <a:gd name="connsiteY17" fmla="*/ 6688 h 11802"/>
                <a:gd name="connsiteX18" fmla="*/ 393 w 19671"/>
                <a:gd name="connsiteY18" fmla="*/ 9442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71" h="11802">
                  <a:moveTo>
                    <a:pt x="3541" y="11016"/>
                  </a:moveTo>
                  <a:lnTo>
                    <a:pt x="6688" y="11016"/>
                  </a:lnTo>
                  <a:lnTo>
                    <a:pt x="9442" y="11016"/>
                  </a:lnTo>
                  <a:lnTo>
                    <a:pt x="11803" y="13770"/>
                  </a:lnTo>
                  <a:lnTo>
                    <a:pt x="11803" y="13770"/>
                  </a:lnTo>
                  <a:lnTo>
                    <a:pt x="14557" y="11016"/>
                  </a:lnTo>
                  <a:lnTo>
                    <a:pt x="14950" y="11016"/>
                  </a:lnTo>
                  <a:lnTo>
                    <a:pt x="16524" y="8262"/>
                  </a:lnTo>
                  <a:lnTo>
                    <a:pt x="19671" y="5901"/>
                  </a:lnTo>
                  <a:lnTo>
                    <a:pt x="22819" y="3147"/>
                  </a:lnTo>
                  <a:lnTo>
                    <a:pt x="20852" y="0"/>
                  </a:lnTo>
                  <a:lnTo>
                    <a:pt x="17704" y="394"/>
                  </a:lnTo>
                  <a:lnTo>
                    <a:pt x="14557" y="787"/>
                  </a:lnTo>
                  <a:lnTo>
                    <a:pt x="11803" y="1180"/>
                  </a:lnTo>
                  <a:lnTo>
                    <a:pt x="8655" y="2361"/>
                  </a:lnTo>
                  <a:lnTo>
                    <a:pt x="5901" y="3934"/>
                  </a:lnTo>
                  <a:lnTo>
                    <a:pt x="2754" y="3934"/>
                  </a:lnTo>
                  <a:lnTo>
                    <a:pt x="0" y="6688"/>
                  </a:lnTo>
                  <a:lnTo>
                    <a:pt x="393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63" name="Freeform: Shape 3057">
              <a:extLst>
                <a:ext uri="{FF2B5EF4-FFF2-40B4-BE49-F238E27FC236}">
                  <a16:creationId xmlns:a16="http://schemas.microsoft.com/office/drawing/2014/main" id="{4FBED03D-19D1-4DA6-BC85-6ACAF5D56AE5}"/>
                </a:ext>
              </a:extLst>
            </p:cNvPr>
            <p:cNvSpPr/>
            <p:nvPr/>
          </p:nvSpPr>
          <p:spPr>
            <a:xfrm>
              <a:off x="4522688" y="3706014"/>
              <a:ext cx="3934" cy="11803"/>
            </a:xfrm>
            <a:custGeom>
              <a:avLst/>
              <a:gdLst>
                <a:gd name="connsiteX0" fmla="*/ 6295 w 3934"/>
                <a:gd name="connsiteY0" fmla="*/ 8655 h 11802"/>
                <a:gd name="connsiteX1" fmla="*/ 5508 w 3934"/>
                <a:gd name="connsiteY1" fmla="*/ 5901 h 11802"/>
                <a:gd name="connsiteX2" fmla="*/ 5508 w 3934"/>
                <a:gd name="connsiteY2" fmla="*/ 3147 h 11802"/>
                <a:gd name="connsiteX3" fmla="*/ 3934 w 3934"/>
                <a:gd name="connsiteY3" fmla="*/ 0 h 11802"/>
                <a:gd name="connsiteX4" fmla="*/ 2754 w 3934"/>
                <a:gd name="connsiteY4" fmla="*/ 3147 h 11802"/>
                <a:gd name="connsiteX5" fmla="*/ 2361 w 3934"/>
                <a:gd name="connsiteY5" fmla="*/ 6295 h 11802"/>
                <a:gd name="connsiteX6" fmla="*/ 1967 w 3934"/>
                <a:gd name="connsiteY6" fmla="*/ 9049 h 11802"/>
                <a:gd name="connsiteX7" fmla="*/ 0 w 3934"/>
                <a:gd name="connsiteY7" fmla="*/ 12196 h 11802"/>
                <a:gd name="connsiteX8" fmla="*/ 2754 w 3934"/>
                <a:gd name="connsiteY8" fmla="*/ 13770 h 11802"/>
                <a:gd name="connsiteX9" fmla="*/ 3934 w 3934"/>
                <a:gd name="connsiteY9" fmla="*/ 11803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11802">
                  <a:moveTo>
                    <a:pt x="6295" y="8655"/>
                  </a:moveTo>
                  <a:lnTo>
                    <a:pt x="5508" y="5901"/>
                  </a:lnTo>
                  <a:lnTo>
                    <a:pt x="5508" y="3147"/>
                  </a:lnTo>
                  <a:lnTo>
                    <a:pt x="3934" y="0"/>
                  </a:lnTo>
                  <a:lnTo>
                    <a:pt x="2754" y="3147"/>
                  </a:lnTo>
                  <a:lnTo>
                    <a:pt x="2361" y="6295"/>
                  </a:lnTo>
                  <a:lnTo>
                    <a:pt x="1967" y="9049"/>
                  </a:lnTo>
                  <a:lnTo>
                    <a:pt x="0" y="12196"/>
                  </a:lnTo>
                  <a:lnTo>
                    <a:pt x="2754" y="13770"/>
                  </a:lnTo>
                  <a:lnTo>
                    <a:pt x="3934" y="1180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64" name="Freeform: Shape 3058">
              <a:extLst>
                <a:ext uri="{FF2B5EF4-FFF2-40B4-BE49-F238E27FC236}">
                  <a16:creationId xmlns:a16="http://schemas.microsoft.com/office/drawing/2014/main" id="{CBC3971B-FA4F-4827-B853-DCCCF15B3820}"/>
                </a:ext>
              </a:extLst>
            </p:cNvPr>
            <p:cNvSpPr/>
            <p:nvPr/>
          </p:nvSpPr>
          <p:spPr>
            <a:xfrm>
              <a:off x="4531343" y="3714276"/>
              <a:ext cx="3934" cy="3934"/>
            </a:xfrm>
            <a:custGeom>
              <a:avLst/>
              <a:gdLst>
                <a:gd name="connsiteX0" fmla="*/ 0 w 3934"/>
                <a:gd name="connsiteY0" fmla="*/ 3541 h 0"/>
                <a:gd name="connsiteX1" fmla="*/ 1180 w 3934"/>
                <a:gd name="connsiteY1" fmla="*/ 3147 h 0"/>
                <a:gd name="connsiteX2" fmla="*/ 4328 w 3934"/>
                <a:gd name="connsiteY2" fmla="*/ 0 h 0"/>
                <a:gd name="connsiteX3" fmla="*/ 1574 w 3934"/>
                <a:gd name="connsiteY3" fmla="*/ 3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3541"/>
                  </a:moveTo>
                  <a:lnTo>
                    <a:pt x="1180" y="3147"/>
                  </a:lnTo>
                  <a:lnTo>
                    <a:pt x="4328" y="0"/>
                  </a:lnTo>
                  <a:lnTo>
                    <a:pt x="1574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65" name="Freeform: Shape 3059">
              <a:extLst>
                <a:ext uri="{FF2B5EF4-FFF2-40B4-BE49-F238E27FC236}">
                  <a16:creationId xmlns:a16="http://schemas.microsoft.com/office/drawing/2014/main" id="{08936EFF-CD5A-4D90-BC6A-FBBB1B1A531A}"/>
                </a:ext>
              </a:extLst>
            </p:cNvPr>
            <p:cNvSpPr/>
            <p:nvPr/>
          </p:nvSpPr>
          <p:spPr>
            <a:xfrm>
              <a:off x="4529376" y="3703653"/>
              <a:ext cx="7869" cy="7869"/>
            </a:xfrm>
            <a:custGeom>
              <a:avLst/>
              <a:gdLst>
                <a:gd name="connsiteX0" fmla="*/ 3541 w 7868"/>
                <a:gd name="connsiteY0" fmla="*/ 1574 h 7868"/>
                <a:gd name="connsiteX1" fmla="*/ 394 w 7868"/>
                <a:gd name="connsiteY1" fmla="*/ 4328 h 7868"/>
                <a:gd name="connsiteX2" fmla="*/ 0 w 7868"/>
                <a:gd name="connsiteY2" fmla="*/ 7475 h 7868"/>
                <a:gd name="connsiteX3" fmla="*/ 1574 w 7868"/>
                <a:gd name="connsiteY3" fmla="*/ 10229 h 7868"/>
                <a:gd name="connsiteX4" fmla="*/ 3147 w 7868"/>
                <a:gd name="connsiteY4" fmla="*/ 8655 h 7868"/>
                <a:gd name="connsiteX5" fmla="*/ 6295 w 7868"/>
                <a:gd name="connsiteY5" fmla="*/ 6295 h 7868"/>
                <a:gd name="connsiteX6" fmla="*/ 8655 w 7868"/>
                <a:gd name="connsiteY6" fmla="*/ 2754 h 7868"/>
                <a:gd name="connsiteX7" fmla="*/ 6295 w 7868"/>
                <a:gd name="connsiteY7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7868">
                  <a:moveTo>
                    <a:pt x="3541" y="1574"/>
                  </a:moveTo>
                  <a:lnTo>
                    <a:pt x="394" y="4328"/>
                  </a:lnTo>
                  <a:lnTo>
                    <a:pt x="0" y="7475"/>
                  </a:lnTo>
                  <a:lnTo>
                    <a:pt x="1574" y="10229"/>
                  </a:lnTo>
                  <a:lnTo>
                    <a:pt x="3147" y="8655"/>
                  </a:lnTo>
                  <a:lnTo>
                    <a:pt x="6295" y="6295"/>
                  </a:lnTo>
                  <a:lnTo>
                    <a:pt x="8655" y="2754"/>
                  </a:lnTo>
                  <a:lnTo>
                    <a:pt x="629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66" name="Freeform: Shape 3060">
              <a:extLst>
                <a:ext uri="{FF2B5EF4-FFF2-40B4-BE49-F238E27FC236}">
                  <a16:creationId xmlns:a16="http://schemas.microsoft.com/office/drawing/2014/main" id="{59DB8B5C-993F-4390-9466-3CEEE54B9735}"/>
                </a:ext>
              </a:extLst>
            </p:cNvPr>
            <p:cNvSpPr/>
            <p:nvPr/>
          </p:nvSpPr>
          <p:spPr>
            <a:xfrm>
              <a:off x="4523474" y="3650541"/>
              <a:ext cx="3934" cy="3934"/>
            </a:xfrm>
            <a:custGeom>
              <a:avLst/>
              <a:gdLst>
                <a:gd name="connsiteX0" fmla="*/ 1180 w 0"/>
                <a:gd name="connsiteY0" fmla="*/ 3148 h 0"/>
                <a:gd name="connsiteX1" fmla="*/ 3147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3148"/>
                  </a:moveTo>
                  <a:lnTo>
                    <a:pt x="314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67" name="Freeform: Shape 3061">
              <a:extLst>
                <a:ext uri="{FF2B5EF4-FFF2-40B4-BE49-F238E27FC236}">
                  <a16:creationId xmlns:a16="http://schemas.microsoft.com/office/drawing/2014/main" id="{CF722880-5838-4803-AD20-037E602C510A}"/>
                </a:ext>
              </a:extLst>
            </p:cNvPr>
            <p:cNvSpPr/>
            <p:nvPr/>
          </p:nvSpPr>
          <p:spPr>
            <a:xfrm>
              <a:off x="4215815" y="3419993"/>
              <a:ext cx="3934" cy="3934"/>
            </a:xfrm>
            <a:custGeom>
              <a:avLst/>
              <a:gdLst>
                <a:gd name="connsiteX0" fmla="*/ 0 w 3934"/>
                <a:gd name="connsiteY0" fmla="*/ 2754 h 0"/>
                <a:gd name="connsiteX1" fmla="*/ 2754 w 3934"/>
                <a:gd name="connsiteY1" fmla="*/ 2754 h 0"/>
                <a:gd name="connsiteX2" fmla="*/ 4721 w 3934"/>
                <a:gd name="connsiteY2" fmla="*/ 0 h 0"/>
                <a:gd name="connsiteX3" fmla="*/ 196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754"/>
                  </a:moveTo>
                  <a:lnTo>
                    <a:pt x="2754" y="2754"/>
                  </a:lnTo>
                  <a:lnTo>
                    <a:pt x="4721" y="0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68" name="Freeform: Shape 3062">
              <a:extLst>
                <a:ext uri="{FF2B5EF4-FFF2-40B4-BE49-F238E27FC236}">
                  <a16:creationId xmlns:a16="http://schemas.microsoft.com/office/drawing/2014/main" id="{D08A47B9-26DF-4546-B635-5DC3A3AB0C15}"/>
                </a:ext>
              </a:extLst>
            </p:cNvPr>
            <p:cNvSpPr/>
            <p:nvPr/>
          </p:nvSpPr>
          <p:spPr>
            <a:xfrm>
              <a:off x="4585242" y="3762274"/>
              <a:ext cx="3934" cy="3934"/>
            </a:xfrm>
            <a:custGeom>
              <a:avLst/>
              <a:gdLst>
                <a:gd name="connsiteX0" fmla="*/ 0 w 3934"/>
                <a:gd name="connsiteY0" fmla="*/ 2754 h 3934"/>
                <a:gd name="connsiteX1" fmla="*/ 393 w 3934"/>
                <a:gd name="connsiteY1" fmla="*/ 3541 h 3934"/>
                <a:gd name="connsiteX2" fmla="*/ 3147 w 3934"/>
                <a:gd name="connsiteY2" fmla="*/ 4721 h 3934"/>
                <a:gd name="connsiteX3" fmla="*/ 3934 w 3934"/>
                <a:gd name="connsiteY3" fmla="*/ 3934 h 3934"/>
                <a:gd name="connsiteX4" fmla="*/ 3934 w 3934"/>
                <a:gd name="connsiteY4" fmla="*/ 1180 h 3934"/>
                <a:gd name="connsiteX5" fmla="*/ 1180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2754"/>
                  </a:moveTo>
                  <a:lnTo>
                    <a:pt x="393" y="3541"/>
                  </a:lnTo>
                  <a:lnTo>
                    <a:pt x="3147" y="4721"/>
                  </a:lnTo>
                  <a:lnTo>
                    <a:pt x="3934" y="3934"/>
                  </a:lnTo>
                  <a:lnTo>
                    <a:pt x="3934" y="1180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69" name="Freeform: Shape 3063">
              <a:extLst>
                <a:ext uri="{FF2B5EF4-FFF2-40B4-BE49-F238E27FC236}">
                  <a16:creationId xmlns:a16="http://schemas.microsoft.com/office/drawing/2014/main" id="{3B3C3E54-8928-4E65-93A9-BE95B41C6C95}"/>
                </a:ext>
              </a:extLst>
            </p:cNvPr>
            <p:cNvSpPr/>
            <p:nvPr/>
          </p:nvSpPr>
          <p:spPr>
            <a:xfrm>
              <a:off x="4600193" y="3747717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0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0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0" name="Freeform: Shape 3064">
              <a:extLst>
                <a:ext uri="{FF2B5EF4-FFF2-40B4-BE49-F238E27FC236}">
                  <a16:creationId xmlns:a16="http://schemas.microsoft.com/office/drawing/2014/main" id="{B67D86BD-4B68-4D24-8F28-BB9946BAC8D5}"/>
                </a:ext>
              </a:extLst>
            </p:cNvPr>
            <p:cNvSpPr/>
            <p:nvPr/>
          </p:nvSpPr>
          <p:spPr>
            <a:xfrm>
              <a:off x="4544720" y="3722931"/>
              <a:ext cx="11803" cy="7869"/>
            </a:xfrm>
            <a:custGeom>
              <a:avLst/>
              <a:gdLst>
                <a:gd name="connsiteX0" fmla="*/ 6295 w 11802"/>
                <a:gd name="connsiteY0" fmla="*/ 7475 h 7868"/>
                <a:gd name="connsiteX1" fmla="*/ 9049 w 11802"/>
                <a:gd name="connsiteY1" fmla="*/ 7082 h 7868"/>
                <a:gd name="connsiteX2" fmla="*/ 12196 w 11802"/>
                <a:gd name="connsiteY2" fmla="*/ 5508 h 7868"/>
                <a:gd name="connsiteX3" fmla="*/ 12196 w 11802"/>
                <a:gd name="connsiteY3" fmla="*/ 2360 h 7868"/>
                <a:gd name="connsiteX4" fmla="*/ 9836 w 11802"/>
                <a:gd name="connsiteY4" fmla="*/ 393 h 7868"/>
                <a:gd name="connsiteX5" fmla="*/ 7082 w 11802"/>
                <a:gd name="connsiteY5" fmla="*/ 0 h 7868"/>
                <a:gd name="connsiteX6" fmla="*/ 3934 w 11802"/>
                <a:gd name="connsiteY6" fmla="*/ 393 h 7868"/>
                <a:gd name="connsiteX7" fmla="*/ 787 w 11802"/>
                <a:gd name="connsiteY7" fmla="*/ 2360 h 7868"/>
                <a:gd name="connsiteX8" fmla="*/ 393 w 11802"/>
                <a:gd name="connsiteY8" fmla="*/ 3541 h 7868"/>
                <a:gd name="connsiteX9" fmla="*/ 0 w 11802"/>
                <a:gd name="connsiteY9" fmla="*/ 6688 h 7868"/>
                <a:gd name="connsiteX10" fmla="*/ 3147 w 11802"/>
                <a:gd name="connsiteY10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7868">
                  <a:moveTo>
                    <a:pt x="6295" y="7475"/>
                  </a:moveTo>
                  <a:lnTo>
                    <a:pt x="9049" y="7082"/>
                  </a:lnTo>
                  <a:lnTo>
                    <a:pt x="12196" y="5508"/>
                  </a:lnTo>
                  <a:lnTo>
                    <a:pt x="12196" y="2360"/>
                  </a:lnTo>
                  <a:lnTo>
                    <a:pt x="9836" y="393"/>
                  </a:lnTo>
                  <a:lnTo>
                    <a:pt x="7082" y="0"/>
                  </a:lnTo>
                  <a:lnTo>
                    <a:pt x="3934" y="393"/>
                  </a:lnTo>
                  <a:lnTo>
                    <a:pt x="787" y="2360"/>
                  </a:lnTo>
                  <a:lnTo>
                    <a:pt x="393" y="3541"/>
                  </a:lnTo>
                  <a:lnTo>
                    <a:pt x="0" y="6688"/>
                  </a:lnTo>
                  <a:lnTo>
                    <a:pt x="3147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1" name="Freeform: Shape 3065">
              <a:extLst>
                <a:ext uri="{FF2B5EF4-FFF2-40B4-BE49-F238E27FC236}">
                  <a16:creationId xmlns:a16="http://schemas.microsoft.com/office/drawing/2014/main" id="{0818A7C3-BB9C-426D-8BFB-C6953ADDF21D}"/>
                </a:ext>
              </a:extLst>
            </p:cNvPr>
            <p:cNvSpPr/>
            <p:nvPr/>
          </p:nvSpPr>
          <p:spPr>
            <a:xfrm>
              <a:off x="4504590" y="3745357"/>
              <a:ext cx="7869" cy="11803"/>
            </a:xfrm>
            <a:custGeom>
              <a:avLst/>
              <a:gdLst>
                <a:gd name="connsiteX0" fmla="*/ 7869 w 7868"/>
                <a:gd name="connsiteY0" fmla="*/ 0 h 11802"/>
                <a:gd name="connsiteX1" fmla="*/ 4721 w 7868"/>
                <a:gd name="connsiteY1" fmla="*/ 1574 h 11802"/>
                <a:gd name="connsiteX2" fmla="*/ 1574 w 7868"/>
                <a:gd name="connsiteY2" fmla="*/ 4328 h 11802"/>
                <a:gd name="connsiteX3" fmla="*/ 787 w 7868"/>
                <a:gd name="connsiteY3" fmla="*/ 7475 h 11802"/>
                <a:gd name="connsiteX4" fmla="*/ 0 w 7868"/>
                <a:gd name="connsiteY4" fmla="*/ 10229 h 11802"/>
                <a:gd name="connsiteX5" fmla="*/ 0 w 7868"/>
                <a:gd name="connsiteY5" fmla="*/ 12983 h 11802"/>
                <a:gd name="connsiteX6" fmla="*/ 2360 w 7868"/>
                <a:gd name="connsiteY6" fmla="*/ 10229 h 11802"/>
                <a:gd name="connsiteX7" fmla="*/ 4721 w 7868"/>
                <a:gd name="connsiteY7" fmla="*/ 7475 h 11802"/>
                <a:gd name="connsiteX8" fmla="*/ 6688 w 7868"/>
                <a:gd name="connsiteY8" fmla="*/ 4328 h 11802"/>
                <a:gd name="connsiteX9" fmla="*/ 9836 w 7868"/>
                <a:gd name="connsiteY9" fmla="*/ 2754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11802">
                  <a:moveTo>
                    <a:pt x="7869" y="0"/>
                  </a:moveTo>
                  <a:lnTo>
                    <a:pt x="4721" y="1574"/>
                  </a:lnTo>
                  <a:lnTo>
                    <a:pt x="1574" y="4328"/>
                  </a:lnTo>
                  <a:lnTo>
                    <a:pt x="787" y="7475"/>
                  </a:lnTo>
                  <a:lnTo>
                    <a:pt x="0" y="10229"/>
                  </a:lnTo>
                  <a:lnTo>
                    <a:pt x="0" y="12983"/>
                  </a:lnTo>
                  <a:lnTo>
                    <a:pt x="2360" y="10229"/>
                  </a:lnTo>
                  <a:lnTo>
                    <a:pt x="4721" y="7475"/>
                  </a:lnTo>
                  <a:lnTo>
                    <a:pt x="6688" y="4328"/>
                  </a:lnTo>
                  <a:lnTo>
                    <a:pt x="9836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2" name="Freeform: Shape 3066">
              <a:extLst>
                <a:ext uri="{FF2B5EF4-FFF2-40B4-BE49-F238E27FC236}">
                  <a16:creationId xmlns:a16="http://schemas.microsoft.com/office/drawing/2014/main" id="{7E135909-4A7D-4D16-A7BF-7F77403B5E62}"/>
                </a:ext>
              </a:extLst>
            </p:cNvPr>
            <p:cNvSpPr/>
            <p:nvPr/>
          </p:nvSpPr>
          <p:spPr>
            <a:xfrm>
              <a:off x="4497115" y="3730407"/>
              <a:ext cx="7869" cy="11803"/>
            </a:xfrm>
            <a:custGeom>
              <a:avLst/>
              <a:gdLst>
                <a:gd name="connsiteX0" fmla="*/ 3934 w 7868"/>
                <a:gd name="connsiteY0" fmla="*/ 2754 h 11802"/>
                <a:gd name="connsiteX1" fmla="*/ 2754 w 7868"/>
                <a:gd name="connsiteY1" fmla="*/ 5901 h 11802"/>
                <a:gd name="connsiteX2" fmla="*/ 1180 w 7868"/>
                <a:gd name="connsiteY2" fmla="*/ 9049 h 11802"/>
                <a:gd name="connsiteX3" fmla="*/ 0 w 7868"/>
                <a:gd name="connsiteY3" fmla="*/ 11803 h 11802"/>
                <a:gd name="connsiteX4" fmla="*/ 787 w 7868"/>
                <a:gd name="connsiteY4" fmla="*/ 11016 h 11802"/>
                <a:gd name="connsiteX5" fmla="*/ 3541 w 7868"/>
                <a:gd name="connsiteY5" fmla="*/ 9049 h 11802"/>
                <a:gd name="connsiteX6" fmla="*/ 6295 w 7868"/>
                <a:gd name="connsiteY6" fmla="*/ 5901 h 11802"/>
                <a:gd name="connsiteX7" fmla="*/ 8262 w 7868"/>
                <a:gd name="connsiteY7" fmla="*/ 3147 h 11802"/>
                <a:gd name="connsiteX8" fmla="*/ 7082 w 7868"/>
                <a:gd name="connsiteY8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11802">
                  <a:moveTo>
                    <a:pt x="3934" y="2754"/>
                  </a:moveTo>
                  <a:lnTo>
                    <a:pt x="2754" y="5901"/>
                  </a:lnTo>
                  <a:lnTo>
                    <a:pt x="1180" y="9049"/>
                  </a:lnTo>
                  <a:lnTo>
                    <a:pt x="0" y="11803"/>
                  </a:lnTo>
                  <a:lnTo>
                    <a:pt x="787" y="11016"/>
                  </a:lnTo>
                  <a:lnTo>
                    <a:pt x="3541" y="9049"/>
                  </a:lnTo>
                  <a:lnTo>
                    <a:pt x="6295" y="5901"/>
                  </a:lnTo>
                  <a:lnTo>
                    <a:pt x="8262" y="3147"/>
                  </a:lnTo>
                  <a:lnTo>
                    <a:pt x="7082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3" name="Freeform: Shape 3067">
              <a:extLst>
                <a:ext uri="{FF2B5EF4-FFF2-40B4-BE49-F238E27FC236}">
                  <a16:creationId xmlns:a16="http://schemas.microsoft.com/office/drawing/2014/main" id="{1340C993-34E8-4161-AF95-C502CFA506C6}"/>
                </a:ext>
              </a:extLst>
            </p:cNvPr>
            <p:cNvSpPr/>
            <p:nvPr/>
          </p:nvSpPr>
          <p:spPr>
            <a:xfrm>
              <a:off x="4508131" y="3725685"/>
              <a:ext cx="11803" cy="7869"/>
            </a:xfrm>
            <a:custGeom>
              <a:avLst/>
              <a:gdLst>
                <a:gd name="connsiteX0" fmla="*/ 12196 w 11802"/>
                <a:gd name="connsiteY0" fmla="*/ 2754 h 7868"/>
                <a:gd name="connsiteX1" fmla="*/ 11409 w 11802"/>
                <a:gd name="connsiteY1" fmla="*/ 0 h 7868"/>
                <a:gd name="connsiteX2" fmla="*/ 8655 w 11802"/>
                <a:gd name="connsiteY2" fmla="*/ 393 h 7868"/>
                <a:gd name="connsiteX3" fmla="*/ 5508 w 11802"/>
                <a:gd name="connsiteY3" fmla="*/ 1574 h 7868"/>
                <a:gd name="connsiteX4" fmla="*/ 2754 w 11802"/>
                <a:gd name="connsiteY4" fmla="*/ 2754 h 7868"/>
                <a:gd name="connsiteX5" fmla="*/ 0 w 11802"/>
                <a:gd name="connsiteY5" fmla="*/ 5901 h 7868"/>
                <a:gd name="connsiteX6" fmla="*/ 1967 w 11802"/>
                <a:gd name="connsiteY6" fmla="*/ 8655 h 7868"/>
                <a:gd name="connsiteX7" fmla="*/ 4721 w 11802"/>
                <a:gd name="connsiteY7" fmla="*/ 9836 h 7868"/>
                <a:gd name="connsiteX8" fmla="*/ 6295 w 11802"/>
                <a:gd name="connsiteY8" fmla="*/ 7869 h 7868"/>
                <a:gd name="connsiteX9" fmla="*/ 9442 w 11802"/>
                <a:gd name="connsiteY9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7868">
                  <a:moveTo>
                    <a:pt x="12196" y="2754"/>
                  </a:moveTo>
                  <a:lnTo>
                    <a:pt x="11409" y="0"/>
                  </a:lnTo>
                  <a:lnTo>
                    <a:pt x="8655" y="393"/>
                  </a:lnTo>
                  <a:lnTo>
                    <a:pt x="5508" y="1574"/>
                  </a:lnTo>
                  <a:lnTo>
                    <a:pt x="2754" y="2754"/>
                  </a:lnTo>
                  <a:lnTo>
                    <a:pt x="0" y="5901"/>
                  </a:lnTo>
                  <a:lnTo>
                    <a:pt x="1967" y="8655"/>
                  </a:lnTo>
                  <a:lnTo>
                    <a:pt x="4721" y="9836"/>
                  </a:lnTo>
                  <a:lnTo>
                    <a:pt x="6295" y="7869"/>
                  </a:lnTo>
                  <a:lnTo>
                    <a:pt x="9442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4" name="Freeform: Shape 3068">
              <a:extLst>
                <a:ext uri="{FF2B5EF4-FFF2-40B4-BE49-F238E27FC236}">
                  <a16:creationId xmlns:a16="http://schemas.microsoft.com/office/drawing/2014/main" id="{97135A59-4853-4788-89A2-2510CB65FB22}"/>
                </a:ext>
              </a:extLst>
            </p:cNvPr>
            <p:cNvSpPr/>
            <p:nvPr/>
          </p:nvSpPr>
          <p:spPr>
            <a:xfrm>
              <a:off x="3630003" y="3816567"/>
              <a:ext cx="7869" cy="11803"/>
            </a:xfrm>
            <a:custGeom>
              <a:avLst/>
              <a:gdLst>
                <a:gd name="connsiteX0" fmla="*/ 7869 w 7868"/>
                <a:gd name="connsiteY0" fmla="*/ 4721 h 11802"/>
                <a:gd name="connsiteX1" fmla="*/ 10623 w 7868"/>
                <a:gd name="connsiteY1" fmla="*/ 1574 h 11802"/>
                <a:gd name="connsiteX2" fmla="*/ 7475 w 7868"/>
                <a:gd name="connsiteY2" fmla="*/ 0 h 11802"/>
                <a:gd name="connsiteX3" fmla="*/ 6688 w 7868"/>
                <a:gd name="connsiteY3" fmla="*/ 0 h 11802"/>
                <a:gd name="connsiteX4" fmla="*/ 3934 w 7868"/>
                <a:gd name="connsiteY4" fmla="*/ 787 h 11802"/>
                <a:gd name="connsiteX5" fmla="*/ 787 w 7868"/>
                <a:gd name="connsiteY5" fmla="*/ 3541 h 11802"/>
                <a:gd name="connsiteX6" fmla="*/ 0 w 7868"/>
                <a:gd name="connsiteY6" fmla="*/ 6688 h 11802"/>
                <a:gd name="connsiteX7" fmla="*/ 0 w 7868"/>
                <a:gd name="connsiteY7" fmla="*/ 9442 h 11802"/>
                <a:gd name="connsiteX8" fmla="*/ 1574 w 7868"/>
                <a:gd name="connsiteY8" fmla="*/ 12196 h 11802"/>
                <a:gd name="connsiteX9" fmla="*/ 4721 w 7868"/>
                <a:gd name="connsiteY9" fmla="*/ 11016 h 11802"/>
                <a:gd name="connsiteX10" fmla="*/ 4328 w 7868"/>
                <a:gd name="connsiteY10" fmla="*/ 8262 h 11802"/>
                <a:gd name="connsiteX11" fmla="*/ 4721 w 7868"/>
                <a:gd name="connsiteY11" fmla="*/ 5508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868" h="11802">
                  <a:moveTo>
                    <a:pt x="7869" y="4721"/>
                  </a:moveTo>
                  <a:lnTo>
                    <a:pt x="10623" y="1574"/>
                  </a:lnTo>
                  <a:lnTo>
                    <a:pt x="7475" y="0"/>
                  </a:lnTo>
                  <a:lnTo>
                    <a:pt x="6688" y="0"/>
                  </a:lnTo>
                  <a:lnTo>
                    <a:pt x="3934" y="787"/>
                  </a:lnTo>
                  <a:lnTo>
                    <a:pt x="787" y="3541"/>
                  </a:lnTo>
                  <a:lnTo>
                    <a:pt x="0" y="6688"/>
                  </a:lnTo>
                  <a:lnTo>
                    <a:pt x="0" y="9442"/>
                  </a:lnTo>
                  <a:lnTo>
                    <a:pt x="1574" y="12196"/>
                  </a:lnTo>
                  <a:lnTo>
                    <a:pt x="4721" y="11016"/>
                  </a:lnTo>
                  <a:lnTo>
                    <a:pt x="4328" y="8262"/>
                  </a:lnTo>
                  <a:lnTo>
                    <a:pt x="4721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5" name="Freeform: Shape 3069">
              <a:extLst>
                <a:ext uri="{FF2B5EF4-FFF2-40B4-BE49-F238E27FC236}">
                  <a16:creationId xmlns:a16="http://schemas.microsoft.com/office/drawing/2014/main" id="{250C742A-97DB-41F9-922C-9C661EDA7C1A}"/>
                </a:ext>
              </a:extLst>
            </p:cNvPr>
            <p:cNvSpPr/>
            <p:nvPr/>
          </p:nvSpPr>
          <p:spPr>
            <a:xfrm>
              <a:off x="4775267" y="381656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2754 w 0"/>
                <a:gd name="connsiteY1" fmla="*/ 2754 h 0"/>
                <a:gd name="connsiteX2" fmla="*/ 314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2754" y="2754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6" name="Freeform: Shape 3070">
              <a:extLst>
                <a:ext uri="{FF2B5EF4-FFF2-40B4-BE49-F238E27FC236}">
                  <a16:creationId xmlns:a16="http://schemas.microsoft.com/office/drawing/2014/main" id="{A219FCA9-08A6-487F-A779-D9C26687C377}"/>
                </a:ext>
              </a:extLst>
            </p:cNvPr>
            <p:cNvSpPr/>
            <p:nvPr/>
          </p:nvSpPr>
          <p:spPr>
            <a:xfrm>
              <a:off x="4728056" y="3802797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3147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7" name="Freeform: Shape 3071">
              <a:extLst>
                <a:ext uri="{FF2B5EF4-FFF2-40B4-BE49-F238E27FC236}">
                  <a16:creationId xmlns:a16="http://schemas.microsoft.com/office/drawing/2014/main" id="{28B3C5CD-1E20-4AF1-9445-D0DF0D76BED8}"/>
                </a:ext>
              </a:extLst>
            </p:cNvPr>
            <p:cNvSpPr/>
            <p:nvPr/>
          </p:nvSpPr>
          <p:spPr>
            <a:xfrm>
              <a:off x="4689500" y="3768569"/>
              <a:ext cx="3934" cy="3934"/>
            </a:xfrm>
            <a:custGeom>
              <a:avLst/>
              <a:gdLst>
                <a:gd name="connsiteX0" fmla="*/ 0 w 0"/>
                <a:gd name="connsiteY0" fmla="*/ 1967 h 3934"/>
                <a:gd name="connsiteX1" fmla="*/ 0 w 0"/>
                <a:gd name="connsiteY1" fmla="*/ 4721 h 3934"/>
                <a:gd name="connsiteX2" fmla="*/ 2754 w 0"/>
                <a:gd name="connsiteY2" fmla="*/ 2754 h 3934"/>
                <a:gd name="connsiteX3" fmla="*/ 1967 w 0"/>
                <a:gd name="connsiteY3" fmla="*/ 0 h 3934"/>
                <a:gd name="connsiteX4" fmla="*/ 0 w 0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1967"/>
                  </a:moveTo>
                  <a:lnTo>
                    <a:pt x="0" y="4721"/>
                  </a:lnTo>
                  <a:lnTo>
                    <a:pt x="2754" y="2754"/>
                  </a:lnTo>
                  <a:lnTo>
                    <a:pt x="1967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8" name="Freeform: Shape 3072">
              <a:extLst>
                <a:ext uri="{FF2B5EF4-FFF2-40B4-BE49-F238E27FC236}">
                  <a16:creationId xmlns:a16="http://schemas.microsoft.com/office/drawing/2014/main" id="{D712A5F3-5E38-4A2D-BC88-ACA23348B4F3}"/>
                </a:ext>
              </a:extLst>
            </p:cNvPr>
            <p:cNvSpPr/>
            <p:nvPr/>
          </p:nvSpPr>
          <p:spPr>
            <a:xfrm>
              <a:off x="4640715" y="4658106"/>
              <a:ext cx="3934" cy="11803"/>
            </a:xfrm>
            <a:custGeom>
              <a:avLst/>
              <a:gdLst>
                <a:gd name="connsiteX0" fmla="*/ 0 w 3934"/>
                <a:gd name="connsiteY0" fmla="*/ 3147 h 11802"/>
                <a:gd name="connsiteX1" fmla="*/ 1180 w 3934"/>
                <a:gd name="connsiteY1" fmla="*/ 5901 h 11802"/>
                <a:gd name="connsiteX2" fmla="*/ 394 w 3934"/>
                <a:gd name="connsiteY2" fmla="*/ 9049 h 11802"/>
                <a:gd name="connsiteX3" fmla="*/ 1180 w 3934"/>
                <a:gd name="connsiteY3" fmla="*/ 14557 h 11802"/>
                <a:gd name="connsiteX4" fmla="*/ 2361 w 3934"/>
                <a:gd name="connsiteY4" fmla="*/ 12196 h 11802"/>
                <a:gd name="connsiteX5" fmla="*/ 3148 w 3934"/>
                <a:gd name="connsiteY5" fmla="*/ 9049 h 11802"/>
                <a:gd name="connsiteX6" fmla="*/ 4328 w 3934"/>
                <a:gd name="connsiteY6" fmla="*/ 6295 h 11802"/>
                <a:gd name="connsiteX7" fmla="*/ 4328 w 3934"/>
                <a:gd name="connsiteY7" fmla="*/ 3147 h 11802"/>
                <a:gd name="connsiteX8" fmla="*/ 2754 w 3934"/>
                <a:gd name="connsiteY8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11802">
                  <a:moveTo>
                    <a:pt x="0" y="3147"/>
                  </a:moveTo>
                  <a:lnTo>
                    <a:pt x="1180" y="5901"/>
                  </a:lnTo>
                  <a:lnTo>
                    <a:pt x="394" y="9049"/>
                  </a:lnTo>
                  <a:lnTo>
                    <a:pt x="1180" y="14557"/>
                  </a:lnTo>
                  <a:lnTo>
                    <a:pt x="2361" y="12196"/>
                  </a:lnTo>
                  <a:lnTo>
                    <a:pt x="3148" y="9049"/>
                  </a:lnTo>
                  <a:lnTo>
                    <a:pt x="4328" y="6295"/>
                  </a:lnTo>
                  <a:lnTo>
                    <a:pt x="4328" y="314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9" name="Freeform: Shape 3073">
              <a:extLst>
                <a:ext uri="{FF2B5EF4-FFF2-40B4-BE49-F238E27FC236}">
                  <a16:creationId xmlns:a16="http://schemas.microsoft.com/office/drawing/2014/main" id="{4EAEB337-B22C-4528-836F-26F052623410}"/>
                </a:ext>
              </a:extLst>
            </p:cNvPr>
            <p:cNvSpPr/>
            <p:nvPr/>
          </p:nvSpPr>
          <p:spPr>
            <a:xfrm>
              <a:off x="4632060" y="4616796"/>
              <a:ext cx="3934" cy="7869"/>
            </a:xfrm>
            <a:custGeom>
              <a:avLst/>
              <a:gdLst>
                <a:gd name="connsiteX0" fmla="*/ 393 w 3934"/>
                <a:gd name="connsiteY0" fmla="*/ 2754 h 7868"/>
                <a:gd name="connsiteX1" fmla="*/ 0 w 3934"/>
                <a:gd name="connsiteY1" fmla="*/ 5901 h 7868"/>
                <a:gd name="connsiteX2" fmla="*/ 787 w 3934"/>
                <a:gd name="connsiteY2" fmla="*/ 5901 h 7868"/>
                <a:gd name="connsiteX3" fmla="*/ 2754 w 3934"/>
                <a:gd name="connsiteY3" fmla="*/ 8262 h 7868"/>
                <a:gd name="connsiteX4" fmla="*/ 3541 w 3934"/>
                <a:gd name="connsiteY4" fmla="*/ 5901 h 7868"/>
                <a:gd name="connsiteX5" fmla="*/ 3934 w 3934"/>
                <a:gd name="connsiteY5" fmla="*/ 2754 h 7868"/>
                <a:gd name="connsiteX6" fmla="*/ 2360 w 3934"/>
                <a:gd name="connsiteY6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393" y="2754"/>
                  </a:moveTo>
                  <a:lnTo>
                    <a:pt x="0" y="5901"/>
                  </a:lnTo>
                  <a:lnTo>
                    <a:pt x="787" y="5901"/>
                  </a:lnTo>
                  <a:lnTo>
                    <a:pt x="2754" y="8262"/>
                  </a:lnTo>
                  <a:lnTo>
                    <a:pt x="3541" y="5901"/>
                  </a:lnTo>
                  <a:lnTo>
                    <a:pt x="3934" y="2754"/>
                  </a:lnTo>
                  <a:lnTo>
                    <a:pt x="236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0" name="Freeform: Shape 3074">
              <a:extLst>
                <a:ext uri="{FF2B5EF4-FFF2-40B4-BE49-F238E27FC236}">
                  <a16:creationId xmlns:a16="http://schemas.microsoft.com/office/drawing/2014/main" id="{D3E74F43-5A71-4061-B90C-3FAF23106C13}"/>
                </a:ext>
              </a:extLst>
            </p:cNvPr>
            <p:cNvSpPr/>
            <p:nvPr/>
          </p:nvSpPr>
          <p:spPr>
            <a:xfrm>
              <a:off x="4717434" y="4534570"/>
              <a:ext cx="3934" cy="3934"/>
            </a:xfrm>
            <a:custGeom>
              <a:avLst/>
              <a:gdLst>
                <a:gd name="connsiteX0" fmla="*/ 5115 w 3934"/>
                <a:gd name="connsiteY0" fmla="*/ 0 h 3934"/>
                <a:gd name="connsiteX1" fmla="*/ 2361 w 3934"/>
                <a:gd name="connsiteY1" fmla="*/ 0 h 3934"/>
                <a:gd name="connsiteX2" fmla="*/ 787 w 3934"/>
                <a:gd name="connsiteY2" fmla="*/ 2754 h 3934"/>
                <a:gd name="connsiteX3" fmla="*/ 0 w 3934"/>
                <a:gd name="connsiteY3" fmla="*/ 5508 h 3934"/>
                <a:gd name="connsiteX4" fmla="*/ 2754 w 3934"/>
                <a:gd name="connsiteY4" fmla="*/ 5508 h 3934"/>
                <a:gd name="connsiteX5" fmla="*/ 5901 w 3934"/>
                <a:gd name="connsiteY5" fmla="*/ 7082 h 3934"/>
                <a:gd name="connsiteX6" fmla="*/ 6295 w 3934"/>
                <a:gd name="connsiteY6" fmla="*/ 5901 h 3934"/>
                <a:gd name="connsiteX7" fmla="*/ 4721 w 3934"/>
                <a:gd name="connsiteY7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3934">
                  <a:moveTo>
                    <a:pt x="5115" y="0"/>
                  </a:moveTo>
                  <a:lnTo>
                    <a:pt x="2361" y="0"/>
                  </a:lnTo>
                  <a:lnTo>
                    <a:pt x="787" y="2754"/>
                  </a:lnTo>
                  <a:lnTo>
                    <a:pt x="0" y="5508"/>
                  </a:lnTo>
                  <a:lnTo>
                    <a:pt x="2754" y="5508"/>
                  </a:lnTo>
                  <a:lnTo>
                    <a:pt x="5901" y="7082"/>
                  </a:lnTo>
                  <a:lnTo>
                    <a:pt x="6295" y="5901"/>
                  </a:lnTo>
                  <a:lnTo>
                    <a:pt x="472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1" name="Freeform: Shape 3075">
              <a:extLst>
                <a:ext uri="{FF2B5EF4-FFF2-40B4-BE49-F238E27FC236}">
                  <a16:creationId xmlns:a16="http://schemas.microsoft.com/office/drawing/2014/main" id="{56F6B091-A9FD-4BD2-899A-043DD37BBA08}"/>
                </a:ext>
              </a:extLst>
            </p:cNvPr>
            <p:cNvSpPr/>
            <p:nvPr/>
          </p:nvSpPr>
          <p:spPr>
            <a:xfrm>
              <a:off x="4887001" y="4164356"/>
              <a:ext cx="3934" cy="7869"/>
            </a:xfrm>
            <a:custGeom>
              <a:avLst/>
              <a:gdLst>
                <a:gd name="connsiteX0" fmla="*/ 3541 w 3934"/>
                <a:gd name="connsiteY0" fmla="*/ 2754 h 7868"/>
                <a:gd name="connsiteX1" fmla="*/ 1574 w 3934"/>
                <a:gd name="connsiteY1" fmla="*/ 4721 h 7868"/>
                <a:gd name="connsiteX2" fmla="*/ 0 w 3934"/>
                <a:gd name="connsiteY2" fmla="*/ 7869 h 7868"/>
                <a:gd name="connsiteX3" fmla="*/ 393 w 3934"/>
                <a:gd name="connsiteY3" fmla="*/ 8262 h 7868"/>
                <a:gd name="connsiteX4" fmla="*/ 3147 w 3934"/>
                <a:gd name="connsiteY4" fmla="*/ 5508 h 7868"/>
                <a:gd name="connsiteX5" fmla="*/ 5901 w 3934"/>
                <a:gd name="connsiteY5" fmla="*/ 2754 h 7868"/>
                <a:gd name="connsiteX6" fmla="*/ 3541 w 3934"/>
                <a:gd name="connsiteY6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3541" y="2754"/>
                  </a:moveTo>
                  <a:lnTo>
                    <a:pt x="1574" y="4721"/>
                  </a:lnTo>
                  <a:lnTo>
                    <a:pt x="0" y="7869"/>
                  </a:lnTo>
                  <a:lnTo>
                    <a:pt x="393" y="8262"/>
                  </a:lnTo>
                  <a:lnTo>
                    <a:pt x="3147" y="5508"/>
                  </a:lnTo>
                  <a:lnTo>
                    <a:pt x="5901" y="2754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2" name="Freeform: Shape 3076">
              <a:extLst>
                <a:ext uri="{FF2B5EF4-FFF2-40B4-BE49-F238E27FC236}">
                  <a16:creationId xmlns:a16="http://schemas.microsoft.com/office/drawing/2014/main" id="{52791E04-3614-4775-B69B-73832D497526}"/>
                </a:ext>
              </a:extLst>
            </p:cNvPr>
            <p:cNvSpPr/>
            <p:nvPr/>
          </p:nvSpPr>
          <p:spPr>
            <a:xfrm>
              <a:off x="4068280" y="522463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3148 h 0"/>
                <a:gd name="connsiteX2" fmla="*/ 3541 w 0"/>
                <a:gd name="connsiteY2" fmla="*/ 3541 h 0"/>
                <a:gd name="connsiteX3" fmla="*/ 3148 w 0"/>
                <a:gd name="connsiteY3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3148"/>
                  </a:lnTo>
                  <a:lnTo>
                    <a:pt x="3541" y="3541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3" name="Freeform: Shape 3077">
              <a:extLst>
                <a:ext uri="{FF2B5EF4-FFF2-40B4-BE49-F238E27FC236}">
                  <a16:creationId xmlns:a16="http://schemas.microsoft.com/office/drawing/2014/main" id="{16BA0174-ADE2-4EA0-B133-E5D74F86F031}"/>
                </a:ext>
              </a:extLst>
            </p:cNvPr>
            <p:cNvSpPr/>
            <p:nvPr/>
          </p:nvSpPr>
          <p:spPr>
            <a:xfrm>
              <a:off x="4071821" y="5220312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1967 w 3934"/>
                <a:gd name="connsiteY1" fmla="*/ 2754 h 3934"/>
                <a:gd name="connsiteX2" fmla="*/ 4721 w 3934"/>
                <a:gd name="connsiteY2" fmla="*/ 5508 h 3934"/>
                <a:gd name="connsiteX3" fmla="*/ 5508 w 3934"/>
                <a:gd name="connsiteY3" fmla="*/ 3541 h 3934"/>
                <a:gd name="connsiteX4" fmla="*/ 2754 w 3934"/>
                <a:gd name="connsiteY4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1967" y="2754"/>
                  </a:lnTo>
                  <a:lnTo>
                    <a:pt x="4721" y="5508"/>
                  </a:lnTo>
                  <a:lnTo>
                    <a:pt x="5508" y="3541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4" name="Freeform: Shape 3078">
              <a:extLst>
                <a:ext uri="{FF2B5EF4-FFF2-40B4-BE49-F238E27FC236}">
                  <a16:creationId xmlns:a16="http://schemas.microsoft.com/office/drawing/2014/main" id="{C2FA6EE1-0D57-4132-829F-D4760CA855BF}"/>
                </a:ext>
              </a:extLst>
            </p:cNvPr>
            <p:cNvSpPr/>
            <p:nvPr/>
          </p:nvSpPr>
          <p:spPr>
            <a:xfrm>
              <a:off x="4084411" y="5217558"/>
              <a:ext cx="3934" cy="3934"/>
            </a:xfrm>
            <a:custGeom>
              <a:avLst/>
              <a:gdLst>
                <a:gd name="connsiteX0" fmla="*/ 3541 w 3934"/>
                <a:gd name="connsiteY0" fmla="*/ 3147 h 3934"/>
                <a:gd name="connsiteX1" fmla="*/ 3147 w 3934"/>
                <a:gd name="connsiteY1" fmla="*/ 0 h 3934"/>
                <a:gd name="connsiteX2" fmla="*/ 0 w 3934"/>
                <a:gd name="connsiteY2" fmla="*/ 1180 h 3934"/>
                <a:gd name="connsiteX3" fmla="*/ 1180 w 3934"/>
                <a:gd name="connsiteY3" fmla="*/ 3934 h 3934"/>
                <a:gd name="connsiteX4" fmla="*/ 3934 w 3934"/>
                <a:gd name="connsiteY4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541" y="3147"/>
                  </a:moveTo>
                  <a:lnTo>
                    <a:pt x="3147" y="0"/>
                  </a:lnTo>
                  <a:lnTo>
                    <a:pt x="0" y="1180"/>
                  </a:lnTo>
                  <a:lnTo>
                    <a:pt x="1180" y="3934"/>
                  </a:lnTo>
                  <a:lnTo>
                    <a:pt x="3934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5" name="Freeform: Shape 3079">
              <a:extLst>
                <a:ext uri="{FF2B5EF4-FFF2-40B4-BE49-F238E27FC236}">
                  <a16:creationId xmlns:a16="http://schemas.microsoft.com/office/drawing/2014/main" id="{83544A09-ADC7-4B0C-ADA6-A60C4C13D700}"/>
                </a:ext>
              </a:extLst>
            </p:cNvPr>
            <p:cNvSpPr/>
            <p:nvPr/>
          </p:nvSpPr>
          <p:spPr>
            <a:xfrm>
              <a:off x="4059231" y="5215198"/>
              <a:ext cx="7869" cy="3934"/>
            </a:xfrm>
            <a:custGeom>
              <a:avLst/>
              <a:gdLst>
                <a:gd name="connsiteX0" fmla="*/ 5901 w 7868"/>
                <a:gd name="connsiteY0" fmla="*/ 393 h 3934"/>
                <a:gd name="connsiteX1" fmla="*/ 2754 w 7868"/>
                <a:gd name="connsiteY1" fmla="*/ 0 h 3934"/>
                <a:gd name="connsiteX2" fmla="*/ 0 w 7868"/>
                <a:gd name="connsiteY2" fmla="*/ 2360 h 3934"/>
                <a:gd name="connsiteX3" fmla="*/ 2754 w 7868"/>
                <a:gd name="connsiteY3" fmla="*/ 2754 h 3934"/>
                <a:gd name="connsiteX4" fmla="*/ 5901 w 7868"/>
                <a:gd name="connsiteY4" fmla="*/ 4328 h 3934"/>
                <a:gd name="connsiteX5" fmla="*/ 6688 w 7868"/>
                <a:gd name="connsiteY5" fmla="*/ 3934 h 3934"/>
                <a:gd name="connsiteX6" fmla="*/ 5901 w 7868"/>
                <a:gd name="connsiteY6" fmla="*/ 1180 h 3934"/>
                <a:gd name="connsiteX7" fmla="*/ 9049 w 7868"/>
                <a:gd name="connsiteY7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901" y="393"/>
                  </a:moveTo>
                  <a:lnTo>
                    <a:pt x="2754" y="0"/>
                  </a:lnTo>
                  <a:lnTo>
                    <a:pt x="0" y="2360"/>
                  </a:lnTo>
                  <a:lnTo>
                    <a:pt x="2754" y="2754"/>
                  </a:lnTo>
                  <a:lnTo>
                    <a:pt x="5901" y="4328"/>
                  </a:lnTo>
                  <a:lnTo>
                    <a:pt x="6688" y="3934"/>
                  </a:lnTo>
                  <a:lnTo>
                    <a:pt x="5901" y="1180"/>
                  </a:lnTo>
                  <a:lnTo>
                    <a:pt x="9049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6" name="Freeform: Shape 3080">
              <a:extLst>
                <a:ext uri="{FF2B5EF4-FFF2-40B4-BE49-F238E27FC236}">
                  <a16:creationId xmlns:a16="http://schemas.microsoft.com/office/drawing/2014/main" id="{0B47EDDD-E767-4713-AFB2-34B6E40DF2F1}"/>
                </a:ext>
              </a:extLst>
            </p:cNvPr>
            <p:cNvSpPr/>
            <p:nvPr/>
          </p:nvSpPr>
          <p:spPr>
            <a:xfrm>
              <a:off x="4036806" y="5206149"/>
              <a:ext cx="3934" cy="3934"/>
            </a:xfrm>
            <a:custGeom>
              <a:avLst/>
              <a:gdLst>
                <a:gd name="connsiteX0" fmla="*/ 0 w 3934"/>
                <a:gd name="connsiteY0" fmla="*/ 1180 h 0"/>
                <a:gd name="connsiteX1" fmla="*/ 2754 w 3934"/>
                <a:gd name="connsiteY1" fmla="*/ 3541 h 0"/>
                <a:gd name="connsiteX2" fmla="*/ 5508 w 3934"/>
                <a:gd name="connsiteY2" fmla="*/ 1180 h 0"/>
                <a:gd name="connsiteX3" fmla="*/ 2754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180"/>
                  </a:moveTo>
                  <a:lnTo>
                    <a:pt x="2754" y="3541"/>
                  </a:lnTo>
                  <a:lnTo>
                    <a:pt x="5508" y="118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7" name="Freeform: Shape 3081">
              <a:extLst>
                <a:ext uri="{FF2B5EF4-FFF2-40B4-BE49-F238E27FC236}">
                  <a16:creationId xmlns:a16="http://schemas.microsoft.com/office/drawing/2014/main" id="{4F09594F-755E-437A-A06C-C8050F6FB7C9}"/>
                </a:ext>
              </a:extLst>
            </p:cNvPr>
            <p:cNvSpPr/>
            <p:nvPr/>
          </p:nvSpPr>
          <p:spPr>
            <a:xfrm>
              <a:off x="4035626" y="5147135"/>
              <a:ext cx="31474" cy="51145"/>
            </a:xfrm>
            <a:custGeom>
              <a:avLst/>
              <a:gdLst>
                <a:gd name="connsiteX0" fmla="*/ 25966 w 31474"/>
                <a:gd name="connsiteY0" fmla="*/ 54293 h 51145"/>
                <a:gd name="connsiteX1" fmla="*/ 28327 w 31474"/>
                <a:gd name="connsiteY1" fmla="*/ 51145 h 51145"/>
                <a:gd name="connsiteX2" fmla="*/ 26360 w 31474"/>
                <a:gd name="connsiteY2" fmla="*/ 48392 h 51145"/>
                <a:gd name="connsiteX3" fmla="*/ 25573 w 31474"/>
                <a:gd name="connsiteY3" fmla="*/ 45244 h 51145"/>
                <a:gd name="connsiteX4" fmla="*/ 28720 w 31474"/>
                <a:gd name="connsiteY4" fmla="*/ 44457 h 51145"/>
                <a:gd name="connsiteX5" fmla="*/ 30294 w 31474"/>
                <a:gd name="connsiteY5" fmla="*/ 42490 h 51145"/>
                <a:gd name="connsiteX6" fmla="*/ 29114 w 31474"/>
                <a:gd name="connsiteY6" fmla="*/ 39343 h 51145"/>
                <a:gd name="connsiteX7" fmla="*/ 30294 w 31474"/>
                <a:gd name="connsiteY7" fmla="*/ 39736 h 51145"/>
                <a:gd name="connsiteX8" fmla="*/ 33048 w 31474"/>
                <a:gd name="connsiteY8" fmla="*/ 40523 h 51145"/>
                <a:gd name="connsiteX9" fmla="*/ 33048 w 31474"/>
                <a:gd name="connsiteY9" fmla="*/ 40129 h 51145"/>
                <a:gd name="connsiteX10" fmla="*/ 30294 w 31474"/>
                <a:gd name="connsiteY10" fmla="*/ 38949 h 51145"/>
                <a:gd name="connsiteX11" fmla="*/ 28720 w 31474"/>
                <a:gd name="connsiteY11" fmla="*/ 38949 h 51145"/>
                <a:gd name="connsiteX12" fmla="*/ 27933 w 31474"/>
                <a:gd name="connsiteY12" fmla="*/ 36195 h 51145"/>
                <a:gd name="connsiteX13" fmla="*/ 28720 w 31474"/>
                <a:gd name="connsiteY13" fmla="*/ 36195 h 51145"/>
                <a:gd name="connsiteX14" fmla="*/ 26753 w 31474"/>
                <a:gd name="connsiteY14" fmla="*/ 33835 h 51145"/>
                <a:gd name="connsiteX15" fmla="*/ 22819 w 31474"/>
                <a:gd name="connsiteY15" fmla="*/ 23606 h 51145"/>
                <a:gd name="connsiteX16" fmla="*/ 23212 w 31474"/>
                <a:gd name="connsiteY16" fmla="*/ 23606 h 51145"/>
                <a:gd name="connsiteX17" fmla="*/ 26360 w 31474"/>
                <a:gd name="connsiteY17" fmla="*/ 25966 h 51145"/>
                <a:gd name="connsiteX18" fmla="*/ 25966 w 31474"/>
                <a:gd name="connsiteY18" fmla="*/ 24392 h 51145"/>
                <a:gd name="connsiteX19" fmla="*/ 23212 w 31474"/>
                <a:gd name="connsiteY19" fmla="*/ 22032 h 51145"/>
                <a:gd name="connsiteX20" fmla="*/ 22425 w 31474"/>
                <a:gd name="connsiteY20" fmla="*/ 22032 h 51145"/>
                <a:gd name="connsiteX21" fmla="*/ 20852 w 31474"/>
                <a:gd name="connsiteY21" fmla="*/ 18098 h 51145"/>
                <a:gd name="connsiteX22" fmla="*/ 21245 w 31474"/>
                <a:gd name="connsiteY22" fmla="*/ 17704 h 51145"/>
                <a:gd name="connsiteX23" fmla="*/ 24392 w 31474"/>
                <a:gd name="connsiteY23" fmla="*/ 15737 h 51145"/>
                <a:gd name="connsiteX24" fmla="*/ 21638 w 31474"/>
                <a:gd name="connsiteY24" fmla="*/ 12983 h 51145"/>
                <a:gd name="connsiteX25" fmla="*/ 19671 w 31474"/>
                <a:gd name="connsiteY25" fmla="*/ 10229 h 51145"/>
                <a:gd name="connsiteX26" fmla="*/ 17311 w 31474"/>
                <a:gd name="connsiteY26" fmla="*/ 7475 h 51145"/>
                <a:gd name="connsiteX27" fmla="*/ 15344 w 31474"/>
                <a:gd name="connsiteY27" fmla="*/ 4328 h 51145"/>
                <a:gd name="connsiteX28" fmla="*/ 14557 w 31474"/>
                <a:gd name="connsiteY28" fmla="*/ 1574 h 51145"/>
                <a:gd name="connsiteX29" fmla="*/ 12196 w 31474"/>
                <a:gd name="connsiteY29" fmla="*/ 393 h 51145"/>
                <a:gd name="connsiteX30" fmla="*/ 9442 w 31474"/>
                <a:gd name="connsiteY30" fmla="*/ 787 h 51145"/>
                <a:gd name="connsiteX31" fmla="*/ 8655 w 31474"/>
                <a:gd name="connsiteY31" fmla="*/ 3541 h 51145"/>
                <a:gd name="connsiteX32" fmla="*/ 5901 w 31474"/>
                <a:gd name="connsiteY32" fmla="*/ 3541 h 51145"/>
                <a:gd name="connsiteX33" fmla="*/ 3147 w 31474"/>
                <a:gd name="connsiteY33" fmla="*/ 787 h 51145"/>
                <a:gd name="connsiteX34" fmla="*/ 0 w 31474"/>
                <a:gd name="connsiteY34" fmla="*/ 0 h 51145"/>
                <a:gd name="connsiteX35" fmla="*/ 1967 w 31474"/>
                <a:gd name="connsiteY35" fmla="*/ 3148 h 51145"/>
                <a:gd name="connsiteX36" fmla="*/ 1574 w 31474"/>
                <a:gd name="connsiteY36" fmla="*/ 5901 h 51145"/>
                <a:gd name="connsiteX37" fmla="*/ 3147 w 31474"/>
                <a:gd name="connsiteY37" fmla="*/ 8655 h 51145"/>
                <a:gd name="connsiteX38" fmla="*/ 3147 w 31474"/>
                <a:gd name="connsiteY38" fmla="*/ 11803 h 51145"/>
                <a:gd name="connsiteX39" fmla="*/ 1967 w 31474"/>
                <a:gd name="connsiteY39" fmla="*/ 14950 h 51145"/>
                <a:gd name="connsiteX40" fmla="*/ 3541 w 31474"/>
                <a:gd name="connsiteY40" fmla="*/ 17704 h 51145"/>
                <a:gd name="connsiteX41" fmla="*/ 4328 w 31474"/>
                <a:gd name="connsiteY41" fmla="*/ 23606 h 51145"/>
                <a:gd name="connsiteX42" fmla="*/ 7082 w 31474"/>
                <a:gd name="connsiteY42" fmla="*/ 26753 h 51145"/>
                <a:gd name="connsiteX43" fmla="*/ 8262 w 31474"/>
                <a:gd name="connsiteY43" fmla="*/ 29507 h 51145"/>
                <a:gd name="connsiteX44" fmla="*/ 8262 w 31474"/>
                <a:gd name="connsiteY44" fmla="*/ 32655 h 51145"/>
                <a:gd name="connsiteX45" fmla="*/ 9442 w 31474"/>
                <a:gd name="connsiteY45" fmla="*/ 35408 h 51145"/>
                <a:gd name="connsiteX46" fmla="*/ 9442 w 31474"/>
                <a:gd name="connsiteY46" fmla="*/ 38556 h 51145"/>
                <a:gd name="connsiteX47" fmla="*/ 10229 w 31474"/>
                <a:gd name="connsiteY47" fmla="*/ 41310 h 51145"/>
                <a:gd name="connsiteX48" fmla="*/ 9049 w 31474"/>
                <a:gd name="connsiteY48" fmla="*/ 44064 h 51145"/>
                <a:gd name="connsiteX49" fmla="*/ 9049 w 31474"/>
                <a:gd name="connsiteY49" fmla="*/ 47211 h 51145"/>
                <a:gd name="connsiteX50" fmla="*/ 11409 w 31474"/>
                <a:gd name="connsiteY50" fmla="*/ 50359 h 51145"/>
                <a:gd name="connsiteX51" fmla="*/ 14163 w 31474"/>
                <a:gd name="connsiteY51" fmla="*/ 51145 h 51145"/>
                <a:gd name="connsiteX52" fmla="*/ 17311 w 31474"/>
                <a:gd name="connsiteY52" fmla="*/ 52326 h 51145"/>
                <a:gd name="connsiteX53" fmla="*/ 20065 w 31474"/>
                <a:gd name="connsiteY53" fmla="*/ 52326 h 51145"/>
                <a:gd name="connsiteX54" fmla="*/ 22819 w 31474"/>
                <a:gd name="connsiteY54" fmla="*/ 52719 h 5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31474" h="51145">
                  <a:moveTo>
                    <a:pt x="25966" y="54293"/>
                  </a:moveTo>
                  <a:lnTo>
                    <a:pt x="28327" y="51145"/>
                  </a:lnTo>
                  <a:lnTo>
                    <a:pt x="26360" y="48392"/>
                  </a:lnTo>
                  <a:lnTo>
                    <a:pt x="25573" y="45244"/>
                  </a:lnTo>
                  <a:lnTo>
                    <a:pt x="28720" y="44457"/>
                  </a:lnTo>
                  <a:lnTo>
                    <a:pt x="30294" y="42490"/>
                  </a:lnTo>
                  <a:lnTo>
                    <a:pt x="29114" y="39343"/>
                  </a:lnTo>
                  <a:lnTo>
                    <a:pt x="30294" y="39736"/>
                  </a:lnTo>
                  <a:lnTo>
                    <a:pt x="33048" y="40523"/>
                  </a:lnTo>
                  <a:lnTo>
                    <a:pt x="33048" y="40129"/>
                  </a:lnTo>
                  <a:lnTo>
                    <a:pt x="30294" y="38949"/>
                  </a:lnTo>
                  <a:lnTo>
                    <a:pt x="28720" y="38949"/>
                  </a:lnTo>
                  <a:lnTo>
                    <a:pt x="27933" y="36195"/>
                  </a:lnTo>
                  <a:lnTo>
                    <a:pt x="28720" y="36195"/>
                  </a:lnTo>
                  <a:lnTo>
                    <a:pt x="26753" y="33835"/>
                  </a:lnTo>
                  <a:lnTo>
                    <a:pt x="22819" y="23606"/>
                  </a:lnTo>
                  <a:lnTo>
                    <a:pt x="23212" y="23606"/>
                  </a:lnTo>
                  <a:lnTo>
                    <a:pt x="26360" y="25966"/>
                  </a:lnTo>
                  <a:lnTo>
                    <a:pt x="25966" y="24392"/>
                  </a:lnTo>
                  <a:lnTo>
                    <a:pt x="23212" y="22032"/>
                  </a:lnTo>
                  <a:lnTo>
                    <a:pt x="22425" y="22032"/>
                  </a:lnTo>
                  <a:lnTo>
                    <a:pt x="20852" y="18098"/>
                  </a:lnTo>
                  <a:lnTo>
                    <a:pt x="21245" y="17704"/>
                  </a:lnTo>
                  <a:lnTo>
                    <a:pt x="24392" y="15737"/>
                  </a:lnTo>
                  <a:lnTo>
                    <a:pt x="21638" y="12983"/>
                  </a:lnTo>
                  <a:lnTo>
                    <a:pt x="19671" y="10229"/>
                  </a:lnTo>
                  <a:lnTo>
                    <a:pt x="17311" y="7475"/>
                  </a:lnTo>
                  <a:lnTo>
                    <a:pt x="15344" y="4328"/>
                  </a:lnTo>
                  <a:lnTo>
                    <a:pt x="14557" y="1574"/>
                  </a:lnTo>
                  <a:lnTo>
                    <a:pt x="12196" y="393"/>
                  </a:lnTo>
                  <a:lnTo>
                    <a:pt x="9442" y="787"/>
                  </a:lnTo>
                  <a:lnTo>
                    <a:pt x="8655" y="3541"/>
                  </a:lnTo>
                  <a:lnTo>
                    <a:pt x="5901" y="3541"/>
                  </a:lnTo>
                  <a:lnTo>
                    <a:pt x="3147" y="787"/>
                  </a:lnTo>
                  <a:lnTo>
                    <a:pt x="0" y="0"/>
                  </a:lnTo>
                  <a:lnTo>
                    <a:pt x="1967" y="3148"/>
                  </a:lnTo>
                  <a:lnTo>
                    <a:pt x="1574" y="5901"/>
                  </a:lnTo>
                  <a:lnTo>
                    <a:pt x="3147" y="8655"/>
                  </a:lnTo>
                  <a:lnTo>
                    <a:pt x="3147" y="11803"/>
                  </a:lnTo>
                  <a:lnTo>
                    <a:pt x="1967" y="14950"/>
                  </a:lnTo>
                  <a:lnTo>
                    <a:pt x="3541" y="17704"/>
                  </a:lnTo>
                  <a:lnTo>
                    <a:pt x="4328" y="23606"/>
                  </a:lnTo>
                  <a:lnTo>
                    <a:pt x="7082" y="26753"/>
                  </a:lnTo>
                  <a:lnTo>
                    <a:pt x="8262" y="29507"/>
                  </a:lnTo>
                  <a:lnTo>
                    <a:pt x="8262" y="32655"/>
                  </a:lnTo>
                  <a:lnTo>
                    <a:pt x="9442" y="35408"/>
                  </a:lnTo>
                  <a:lnTo>
                    <a:pt x="9442" y="38556"/>
                  </a:lnTo>
                  <a:lnTo>
                    <a:pt x="10229" y="41310"/>
                  </a:lnTo>
                  <a:lnTo>
                    <a:pt x="9049" y="44064"/>
                  </a:lnTo>
                  <a:lnTo>
                    <a:pt x="9049" y="47211"/>
                  </a:lnTo>
                  <a:lnTo>
                    <a:pt x="11409" y="50359"/>
                  </a:lnTo>
                  <a:lnTo>
                    <a:pt x="14163" y="51145"/>
                  </a:lnTo>
                  <a:lnTo>
                    <a:pt x="17311" y="52326"/>
                  </a:lnTo>
                  <a:lnTo>
                    <a:pt x="20065" y="52326"/>
                  </a:lnTo>
                  <a:lnTo>
                    <a:pt x="22819" y="5271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8" name="Freeform: Shape 3082">
              <a:extLst>
                <a:ext uri="{FF2B5EF4-FFF2-40B4-BE49-F238E27FC236}">
                  <a16:creationId xmlns:a16="http://schemas.microsoft.com/office/drawing/2014/main" id="{09DF8E88-9E27-4F36-A630-74C03F10B8B8}"/>
                </a:ext>
              </a:extLst>
            </p:cNvPr>
            <p:cNvSpPr/>
            <p:nvPr/>
          </p:nvSpPr>
          <p:spPr>
            <a:xfrm>
              <a:off x="4078903" y="5157757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9" name="Freeform: Shape 3083">
              <a:extLst>
                <a:ext uri="{FF2B5EF4-FFF2-40B4-BE49-F238E27FC236}">
                  <a16:creationId xmlns:a16="http://schemas.microsoft.com/office/drawing/2014/main" id="{82AEC1ED-77CD-48B6-9C5E-9AF81F86E648}"/>
                </a:ext>
              </a:extLst>
            </p:cNvPr>
            <p:cNvSpPr/>
            <p:nvPr/>
          </p:nvSpPr>
          <p:spPr>
            <a:xfrm>
              <a:off x="4061985" y="514674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2360 w 0"/>
                <a:gd name="connsiteY1" fmla="*/ 3147 h 0"/>
                <a:gd name="connsiteX2" fmla="*/ 2754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2360" y="3147"/>
                  </a:lnTo>
                  <a:lnTo>
                    <a:pt x="275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0" name="Freeform: Shape 3084">
              <a:extLst>
                <a:ext uri="{FF2B5EF4-FFF2-40B4-BE49-F238E27FC236}">
                  <a16:creationId xmlns:a16="http://schemas.microsoft.com/office/drawing/2014/main" id="{65967810-4FD2-444F-B690-FE9A6F7B13F5}"/>
                </a:ext>
              </a:extLst>
            </p:cNvPr>
            <p:cNvSpPr/>
            <p:nvPr/>
          </p:nvSpPr>
          <p:spPr>
            <a:xfrm>
              <a:off x="4069460" y="5250999"/>
              <a:ext cx="7869" cy="3934"/>
            </a:xfrm>
            <a:custGeom>
              <a:avLst/>
              <a:gdLst>
                <a:gd name="connsiteX0" fmla="*/ 0 w 7868"/>
                <a:gd name="connsiteY0" fmla="*/ 3934 h 3934"/>
                <a:gd name="connsiteX1" fmla="*/ 1180 w 7868"/>
                <a:gd name="connsiteY1" fmla="*/ 4721 h 3934"/>
                <a:gd name="connsiteX2" fmla="*/ 3934 w 7868"/>
                <a:gd name="connsiteY2" fmla="*/ 3934 h 3934"/>
                <a:gd name="connsiteX3" fmla="*/ 5508 w 7868"/>
                <a:gd name="connsiteY3" fmla="*/ 3934 h 3934"/>
                <a:gd name="connsiteX4" fmla="*/ 8262 w 7868"/>
                <a:gd name="connsiteY4" fmla="*/ 3147 h 3934"/>
                <a:gd name="connsiteX5" fmla="*/ 11016 w 7868"/>
                <a:gd name="connsiteY5" fmla="*/ 1967 h 3934"/>
                <a:gd name="connsiteX6" fmla="*/ 8262 w 7868"/>
                <a:gd name="connsiteY6" fmla="*/ 393 h 3934"/>
                <a:gd name="connsiteX7" fmla="*/ 5114 w 7868"/>
                <a:gd name="connsiteY7" fmla="*/ 0 h 3934"/>
                <a:gd name="connsiteX8" fmla="*/ 2360 w 7868"/>
                <a:gd name="connsiteY8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0" y="3934"/>
                  </a:moveTo>
                  <a:lnTo>
                    <a:pt x="1180" y="4721"/>
                  </a:lnTo>
                  <a:lnTo>
                    <a:pt x="3934" y="3934"/>
                  </a:lnTo>
                  <a:lnTo>
                    <a:pt x="5508" y="3934"/>
                  </a:lnTo>
                  <a:lnTo>
                    <a:pt x="8262" y="3147"/>
                  </a:lnTo>
                  <a:lnTo>
                    <a:pt x="11016" y="1967"/>
                  </a:lnTo>
                  <a:lnTo>
                    <a:pt x="8262" y="393"/>
                  </a:lnTo>
                  <a:lnTo>
                    <a:pt x="5114" y="0"/>
                  </a:lnTo>
                  <a:lnTo>
                    <a:pt x="236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1" name="Freeform: Shape 3085">
              <a:extLst>
                <a:ext uri="{FF2B5EF4-FFF2-40B4-BE49-F238E27FC236}">
                  <a16:creationId xmlns:a16="http://schemas.microsoft.com/office/drawing/2014/main" id="{0CEC1B2C-80DD-4DBA-B151-4544FB06BA25}"/>
                </a:ext>
              </a:extLst>
            </p:cNvPr>
            <p:cNvSpPr/>
            <p:nvPr/>
          </p:nvSpPr>
          <p:spPr>
            <a:xfrm>
              <a:off x="4078509" y="5248245"/>
              <a:ext cx="3934" cy="3934"/>
            </a:xfrm>
            <a:custGeom>
              <a:avLst/>
              <a:gdLst>
                <a:gd name="connsiteX0" fmla="*/ 1574 w 3934"/>
                <a:gd name="connsiteY0" fmla="*/ 3148 h 3934"/>
                <a:gd name="connsiteX1" fmla="*/ 4328 w 3934"/>
                <a:gd name="connsiteY1" fmla="*/ 5115 h 3934"/>
                <a:gd name="connsiteX2" fmla="*/ 5114 w 3934"/>
                <a:gd name="connsiteY2" fmla="*/ 2754 h 3934"/>
                <a:gd name="connsiteX3" fmla="*/ 2754 w 3934"/>
                <a:gd name="connsiteY3" fmla="*/ 0 h 3934"/>
                <a:gd name="connsiteX4" fmla="*/ 0 w 3934"/>
                <a:gd name="connsiteY4" fmla="*/ 39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1574" y="3148"/>
                  </a:moveTo>
                  <a:lnTo>
                    <a:pt x="4328" y="5115"/>
                  </a:lnTo>
                  <a:lnTo>
                    <a:pt x="5114" y="2754"/>
                  </a:lnTo>
                  <a:lnTo>
                    <a:pt x="2754" y="0"/>
                  </a:lnTo>
                  <a:lnTo>
                    <a:pt x="0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2" name="Freeform: Shape 3086">
              <a:extLst>
                <a:ext uri="{FF2B5EF4-FFF2-40B4-BE49-F238E27FC236}">
                  <a16:creationId xmlns:a16="http://schemas.microsoft.com/office/drawing/2014/main" id="{7F4A64CD-E828-4225-83F1-958270A7B98D}"/>
                </a:ext>
              </a:extLst>
            </p:cNvPr>
            <p:cNvSpPr/>
            <p:nvPr/>
          </p:nvSpPr>
          <p:spPr>
            <a:xfrm>
              <a:off x="4045855" y="5249426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147 w 0"/>
                <a:gd name="connsiteY1" fmla="*/ 3148 h 0"/>
                <a:gd name="connsiteX2" fmla="*/ 3541 w 0"/>
                <a:gd name="connsiteY2" fmla="*/ 2754 h 0"/>
                <a:gd name="connsiteX3" fmla="*/ 3147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147" y="3148"/>
                  </a:lnTo>
                  <a:lnTo>
                    <a:pt x="3541" y="275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3" name="Freeform: Shape 3087">
              <a:extLst>
                <a:ext uri="{FF2B5EF4-FFF2-40B4-BE49-F238E27FC236}">
                  <a16:creationId xmlns:a16="http://schemas.microsoft.com/office/drawing/2014/main" id="{7714D32C-EFC1-4406-8A00-840BCA9CF543}"/>
                </a:ext>
              </a:extLst>
            </p:cNvPr>
            <p:cNvSpPr/>
            <p:nvPr/>
          </p:nvSpPr>
          <p:spPr>
            <a:xfrm>
              <a:off x="4061592" y="5245885"/>
              <a:ext cx="3934" cy="3934"/>
            </a:xfrm>
            <a:custGeom>
              <a:avLst/>
              <a:gdLst>
                <a:gd name="connsiteX0" fmla="*/ 5508 w 3934"/>
                <a:gd name="connsiteY0" fmla="*/ 4328 h 3934"/>
                <a:gd name="connsiteX1" fmla="*/ 5508 w 3934"/>
                <a:gd name="connsiteY1" fmla="*/ 2754 h 3934"/>
                <a:gd name="connsiteX2" fmla="*/ 2754 w 3934"/>
                <a:gd name="connsiteY2" fmla="*/ 393 h 3934"/>
                <a:gd name="connsiteX3" fmla="*/ 0 w 3934"/>
                <a:gd name="connsiteY3" fmla="*/ 0 h 3934"/>
                <a:gd name="connsiteX4" fmla="*/ 2754 w 3934"/>
                <a:gd name="connsiteY4" fmla="*/ 314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508" y="4328"/>
                  </a:moveTo>
                  <a:lnTo>
                    <a:pt x="5508" y="2754"/>
                  </a:lnTo>
                  <a:lnTo>
                    <a:pt x="2754" y="393"/>
                  </a:lnTo>
                  <a:lnTo>
                    <a:pt x="0" y="0"/>
                  </a:lnTo>
                  <a:lnTo>
                    <a:pt x="2754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4" name="Freeform: Shape 3088">
              <a:extLst>
                <a:ext uri="{FF2B5EF4-FFF2-40B4-BE49-F238E27FC236}">
                  <a16:creationId xmlns:a16="http://schemas.microsoft.com/office/drawing/2014/main" id="{53C907DF-1AA5-415D-9D3D-F73AC1390B32}"/>
                </a:ext>
              </a:extLst>
            </p:cNvPr>
            <p:cNvSpPr/>
            <p:nvPr/>
          </p:nvSpPr>
          <p:spPr>
            <a:xfrm>
              <a:off x="4073395" y="5247065"/>
              <a:ext cx="3934" cy="3934"/>
            </a:xfrm>
            <a:custGeom>
              <a:avLst/>
              <a:gdLst>
                <a:gd name="connsiteX0" fmla="*/ 3147 w 0"/>
                <a:gd name="connsiteY0" fmla="*/ 3147 h 0"/>
                <a:gd name="connsiteX1" fmla="*/ 2754 w 0"/>
                <a:gd name="connsiteY1" fmla="*/ 0 h 0"/>
                <a:gd name="connsiteX2" fmla="*/ 0 w 0"/>
                <a:gd name="connsiteY2" fmla="*/ 2360 h 0"/>
                <a:gd name="connsiteX3" fmla="*/ 2754 w 0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47" y="3147"/>
                  </a:moveTo>
                  <a:lnTo>
                    <a:pt x="2754" y="0"/>
                  </a:lnTo>
                  <a:lnTo>
                    <a:pt x="0" y="2360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5" name="Freeform: Shape 3089">
              <a:extLst>
                <a:ext uri="{FF2B5EF4-FFF2-40B4-BE49-F238E27FC236}">
                  <a16:creationId xmlns:a16="http://schemas.microsoft.com/office/drawing/2014/main" id="{03F39999-3B39-4BEC-9699-25767D317590}"/>
                </a:ext>
              </a:extLst>
            </p:cNvPr>
            <p:cNvSpPr/>
            <p:nvPr/>
          </p:nvSpPr>
          <p:spPr>
            <a:xfrm>
              <a:off x="4083230" y="5246278"/>
              <a:ext cx="3934" cy="3934"/>
            </a:xfrm>
            <a:custGeom>
              <a:avLst/>
              <a:gdLst>
                <a:gd name="connsiteX0" fmla="*/ 0 w 3934"/>
                <a:gd name="connsiteY0" fmla="*/ 394 h 0"/>
                <a:gd name="connsiteX1" fmla="*/ 1967 w 3934"/>
                <a:gd name="connsiteY1" fmla="*/ 3148 h 0"/>
                <a:gd name="connsiteX2" fmla="*/ 3934 w 3934"/>
                <a:gd name="connsiteY2" fmla="*/ 3148 h 0"/>
                <a:gd name="connsiteX3" fmla="*/ 314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394"/>
                  </a:moveTo>
                  <a:lnTo>
                    <a:pt x="1967" y="3148"/>
                  </a:lnTo>
                  <a:lnTo>
                    <a:pt x="3934" y="3148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6" name="Freeform: Shape 3090">
              <a:extLst>
                <a:ext uri="{FF2B5EF4-FFF2-40B4-BE49-F238E27FC236}">
                  <a16:creationId xmlns:a16="http://schemas.microsoft.com/office/drawing/2014/main" id="{EAA19F87-8CB1-4263-92DE-62D8EEF26791}"/>
                </a:ext>
              </a:extLst>
            </p:cNvPr>
            <p:cNvSpPr/>
            <p:nvPr/>
          </p:nvSpPr>
          <p:spPr>
            <a:xfrm>
              <a:off x="4063559" y="5241557"/>
              <a:ext cx="11803" cy="3934"/>
            </a:xfrm>
            <a:custGeom>
              <a:avLst/>
              <a:gdLst>
                <a:gd name="connsiteX0" fmla="*/ 9049 w 11802"/>
                <a:gd name="connsiteY0" fmla="*/ 393 h 3934"/>
                <a:gd name="connsiteX1" fmla="*/ 5901 w 11802"/>
                <a:gd name="connsiteY1" fmla="*/ 0 h 3934"/>
                <a:gd name="connsiteX2" fmla="*/ 3147 w 11802"/>
                <a:gd name="connsiteY2" fmla="*/ 0 h 3934"/>
                <a:gd name="connsiteX3" fmla="*/ 0 w 11802"/>
                <a:gd name="connsiteY3" fmla="*/ 2754 h 3934"/>
                <a:gd name="connsiteX4" fmla="*/ 3147 w 11802"/>
                <a:gd name="connsiteY4" fmla="*/ 5901 h 3934"/>
                <a:gd name="connsiteX5" fmla="*/ 5901 w 11802"/>
                <a:gd name="connsiteY5" fmla="*/ 7082 h 3934"/>
                <a:gd name="connsiteX6" fmla="*/ 8655 w 11802"/>
                <a:gd name="connsiteY6" fmla="*/ 5508 h 3934"/>
                <a:gd name="connsiteX7" fmla="*/ 11803 w 11802"/>
                <a:gd name="connsiteY7" fmla="*/ 3541 h 3934"/>
                <a:gd name="connsiteX8" fmla="*/ 14950 w 11802"/>
                <a:gd name="connsiteY8" fmla="*/ 2754 h 3934"/>
                <a:gd name="connsiteX9" fmla="*/ 11803 w 11802"/>
                <a:gd name="connsiteY9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9049" y="393"/>
                  </a:moveTo>
                  <a:lnTo>
                    <a:pt x="5901" y="0"/>
                  </a:lnTo>
                  <a:lnTo>
                    <a:pt x="3147" y="0"/>
                  </a:lnTo>
                  <a:lnTo>
                    <a:pt x="0" y="2754"/>
                  </a:lnTo>
                  <a:lnTo>
                    <a:pt x="3147" y="5901"/>
                  </a:lnTo>
                  <a:lnTo>
                    <a:pt x="5901" y="7082"/>
                  </a:lnTo>
                  <a:lnTo>
                    <a:pt x="8655" y="5508"/>
                  </a:lnTo>
                  <a:lnTo>
                    <a:pt x="11803" y="3541"/>
                  </a:lnTo>
                  <a:lnTo>
                    <a:pt x="14950" y="2754"/>
                  </a:lnTo>
                  <a:lnTo>
                    <a:pt x="11803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7" name="Freeform: Shape 3091">
              <a:extLst>
                <a:ext uri="{FF2B5EF4-FFF2-40B4-BE49-F238E27FC236}">
                  <a16:creationId xmlns:a16="http://schemas.microsoft.com/office/drawing/2014/main" id="{26E85D31-43CC-4555-839D-E1664A574A0F}"/>
                </a:ext>
              </a:extLst>
            </p:cNvPr>
            <p:cNvSpPr/>
            <p:nvPr/>
          </p:nvSpPr>
          <p:spPr>
            <a:xfrm>
              <a:off x="4078509" y="5239983"/>
              <a:ext cx="7869" cy="3934"/>
            </a:xfrm>
            <a:custGeom>
              <a:avLst/>
              <a:gdLst>
                <a:gd name="connsiteX0" fmla="*/ 2754 w 7868"/>
                <a:gd name="connsiteY0" fmla="*/ 0 h 3934"/>
                <a:gd name="connsiteX1" fmla="*/ 0 w 7868"/>
                <a:gd name="connsiteY1" fmla="*/ 1180 h 3934"/>
                <a:gd name="connsiteX2" fmla="*/ 787 w 7868"/>
                <a:gd name="connsiteY2" fmla="*/ 4328 h 3934"/>
                <a:gd name="connsiteX3" fmla="*/ 3934 w 7868"/>
                <a:gd name="connsiteY3" fmla="*/ 6295 h 3934"/>
                <a:gd name="connsiteX4" fmla="*/ 4721 w 7868"/>
                <a:gd name="connsiteY4" fmla="*/ 6295 h 3934"/>
                <a:gd name="connsiteX5" fmla="*/ 7869 w 7868"/>
                <a:gd name="connsiteY5" fmla="*/ 5508 h 3934"/>
                <a:gd name="connsiteX6" fmla="*/ 5901 w 7868"/>
                <a:gd name="connsiteY6" fmla="*/ 236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2754" y="0"/>
                  </a:moveTo>
                  <a:lnTo>
                    <a:pt x="0" y="1180"/>
                  </a:lnTo>
                  <a:lnTo>
                    <a:pt x="787" y="4328"/>
                  </a:lnTo>
                  <a:lnTo>
                    <a:pt x="3934" y="6295"/>
                  </a:lnTo>
                  <a:lnTo>
                    <a:pt x="4721" y="6295"/>
                  </a:lnTo>
                  <a:lnTo>
                    <a:pt x="7869" y="5508"/>
                  </a:lnTo>
                  <a:lnTo>
                    <a:pt x="5901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8" name="Freeform: Shape 3092">
              <a:extLst>
                <a:ext uri="{FF2B5EF4-FFF2-40B4-BE49-F238E27FC236}">
                  <a16:creationId xmlns:a16="http://schemas.microsoft.com/office/drawing/2014/main" id="{0E51003D-5F10-45DD-8538-867519A8547F}"/>
                </a:ext>
              </a:extLst>
            </p:cNvPr>
            <p:cNvSpPr/>
            <p:nvPr/>
          </p:nvSpPr>
          <p:spPr>
            <a:xfrm>
              <a:off x="4056477" y="5242344"/>
              <a:ext cx="3934" cy="3934"/>
            </a:xfrm>
            <a:custGeom>
              <a:avLst/>
              <a:gdLst>
                <a:gd name="connsiteX0" fmla="*/ 2754 w 3934"/>
                <a:gd name="connsiteY0" fmla="*/ 2361 h 0"/>
                <a:gd name="connsiteX1" fmla="*/ 5901 w 3934"/>
                <a:gd name="connsiteY1" fmla="*/ 2754 h 0"/>
                <a:gd name="connsiteX2" fmla="*/ 5901 w 3934"/>
                <a:gd name="connsiteY2" fmla="*/ 1574 h 0"/>
                <a:gd name="connsiteX3" fmla="*/ 3148 w 3934"/>
                <a:gd name="connsiteY3" fmla="*/ 0 h 0"/>
                <a:gd name="connsiteX4" fmla="*/ 0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2754" y="2361"/>
                  </a:moveTo>
                  <a:lnTo>
                    <a:pt x="5901" y="2754"/>
                  </a:lnTo>
                  <a:lnTo>
                    <a:pt x="5901" y="1574"/>
                  </a:lnTo>
                  <a:lnTo>
                    <a:pt x="3148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9" name="Freeform: Shape 3093">
              <a:extLst>
                <a:ext uri="{FF2B5EF4-FFF2-40B4-BE49-F238E27FC236}">
                  <a16:creationId xmlns:a16="http://schemas.microsoft.com/office/drawing/2014/main" id="{B43E800E-579B-4F06-83B2-3D49EE3355C1}"/>
                </a:ext>
              </a:extLst>
            </p:cNvPr>
            <p:cNvSpPr/>
            <p:nvPr/>
          </p:nvSpPr>
          <p:spPr>
            <a:xfrm>
              <a:off x="4051363" y="5241557"/>
              <a:ext cx="3934" cy="3934"/>
            </a:xfrm>
            <a:custGeom>
              <a:avLst/>
              <a:gdLst>
                <a:gd name="connsiteX0" fmla="*/ 2361 w 0"/>
                <a:gd name="connsiteY0" fmla="*/ 2754 h 0"/>
                <a:gd name="connsiteX1" fmla="*/ 2754 w 0"/>
                <a:gd name="connsiteY1" fmla="*/ 157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1" y="2754"/>
                  </a:moveTo>
                  <a:lnTo>
                    <a:pt x="2754" y="15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00" name="Freeform: Shape 3094">
              <a:extLst>
                <a:ext uri="{FF2B5EF4-FFF2-40B4-BE49-F238E27FC236}">
                  <a16:creationId xmlns:a16="http://schemas.microsoft.com/office/drawing/2014/main" id="{D027E09C-E47C-40F1-B902-BFEA8ECE57B2}"/>
                </a:ext>
              </a:extLst>
            </p:cNvPr>
            <p:cNvSpPr/>
            <p:nvPr/>
          </p:nvSpPr>
          <p:spPr>
            <a:xfrm>
              <a:off x="4067100" y="5236049"/>
              <a:ext cx="3934" cy="3934"/>
            </a:xfrm>
            <a:custGeom>
              <a:avLst/>
              <a:gdLst>
                <a:gd name="connsiteX0" fmla="*/ 4721 w 3934"/>
                <a:gd name="connsiteY0" fmla="*/ 3934 h 3934"/>
                <a:gd name="connsiteX1" fmla="*/ 5901 w 3934"/>
                <a:gd name="connsiteY1" fmla="*/ 1574 h 3934"/>
                <a:gd name="connsiteX2" fmla="*/ 3147 w 3934"/>
                <a:gd name="connsiteY2" fmla="*/ 787 h 3934"/>
                <a:gd name="connsiteX3" fmla="*/ 0 w 3934"/>
                <a:gd name="connsiteY3" fmla="*/ 0 h 3934"/>
                <a:gd name="connsiteX4" fmla="*/ 1967 w 3934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4721" y="3934"/>
                  </a:moveTo>
                  <a:lnTo>
                    <a:pt x="5901" y="1574"/>
                  </a:lnTo>
                  <a:lnTo>
                    <a:pt x="3147" y="787"/>
                  </a:lnTo>
                  <a:lnTo>
                    <a:pt x="0" y="0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01" name="Freeform: Shape 3095">
              <a:extLst>
                <a:ext uri="{FF2B5EF4-FFF2-40B4-BE49-F238E27FC236}">
                  <a16:creationId xmlns:a16="http://schemas.microsoft.com/office/drawing/2014/main" id="{C9D5D32A-5A61-4EF4-8414-953E75561605}"/>
                </a:ext>
              </a:extLst>
            </p:cNvPr>
            <p:cNvSpPr/>
            <p:nvPr/>
          </p:nvSpPr>
          <p:spPr>
            <a:xfrm>
              <a:off x="4057264" y="5234869"/>
              <a:ext cx="3934" cy="3934"/>
            </a:xfrm>
            <a:custGeom>
              <a:avLst/>
              <a:gdLst>
                <a:gd name="connsiteX0" fmla="*/ 1967 w 3934"/>
                <a:gd name="connsiteY0" fmla="*/ 4328 h 3934"/>
                <a:gd name="connsiteX1" fmla="*/ 4721 w 3934"/>
                <a:gd name="connsiteY1" fmla="*/ 5114 h 3934"/>
                <a:gd name="connsiteX2" fmla="*/ 6295 w 3934"/>
                <a:gd name="connsiteY2" fmla="*/ 3147 h 3934"/>
                <a:gd name="connsiteX3" fmla="*/ 5901 w 3934"/>
                <a:gd name="connsiteY3" fmla="*/ 0 h 3934"/>
                <a:gd name="connsiteX4" fmla="*/ 3147 w 3934"/>
                <a:gd name="connsiteY4" fmla="*/ 1967 h 3934"/>
                <a:gd name="connsiteX5" fmla="*/ 0 w 3934"/>
                <a:gd name="connsiteY5" fmla="*/ 157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1967" y="4328"/>
                  </a:moveTo>
                  <a:lnTo>
                    <a:pt x="4721" y="5114"/>
                  </a:lnTo>
                  <a:lnTo>
                    <a:pt x="6295" y="3147"/>
                  </a:lnTo>
                  <a:lnTo>
                    <a:pt x="5901" y="0"/>
                  </a:lnTo>
                  <a:lnTo>
                    <a:pt x="3147" y="1967"/>
                  </a:lnTo>
                  <a:lnTo>
                    <a:pt x="0" y="157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02" name="Freeform: Shape 3096">
              <a:extLst>
                <a:ext uri="{FF2B5EF4-FFF2-40B4-BE49-F238E27FC236}">
                  <a16:creationId xmlns:a16="http://schemas.microsoft.com/office/drawing/2014/main" id="{DBB05DCB-801C-4BB7-B43D-9F2DD6574AEA}"/>
                </a:ext>
              </a:extLst>
            </p:cNvPr>
            <p:cNvSpPr/>
            <p:nvPr/>
          </p:nvSpPr>
          <p:spPr>
            <a:xfrm>
              <a:off x="4073395" y="5234082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0 w 0"/>
                <a:gd name="connsiteY1" fmla="*/ 0 h 0"/>
                <a:gd name="connsiteX2" fmla="*/ 196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0" y="0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03" name="Freeform: Shape 3097">
              <a:extLst>
                <a:ext uri="{FF2B5EF4-FFF2-40B4-BE49-F238E27FC236}">
                  <a16:creationId xmlns:a16="http://schemas.microsoft.com/office/drawing/2014/main" id="{416BD256-E260-430F-966D-0566A85EBB99}"/>
                </a:ext>
              </a:extLst>
            </p:cNvPr>
            <p:cNvSpPr/>
            <p:nvPr/>
          </p:nvSpPr>
          <p:spPr>
            <a:xfrm>
              <a:off x="4069067" y="5233295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3147 w 3934"/>
                <a:gd name="connsiteY1" fmla="*/ 2754 h 0"/>
                <a:gd name="connsiteX2" fmla="*/ 4328 w 3934"/>
                <a:gd name="connsiteY2" fmla="*/ 2754 h 0"/>
                <a:gd name="connsiteX3" fmla="*/ 314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3147" y="2754"/>
                  </a:lnTo>
                  <a:lnTo>
                    <a:pt x="4328" y="275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04" name="Freeform: Shape 3098">
              <a:extLst>
                <a:ext uri="{FF2B5EF4-FFF2-40B4-BE49-F238E27FC236}">
                  <a16:creationId xmlns:a16="http://schemas.microsoft.com/office/drawing/2014/main" id="{3DD47EA1-E269-4199-8578-21104DE93D12}"/>
                </a:ext>
              </a:extLst>
            </p:cNvPr>
            <p:cNvSpPr/>
            <p:nvPr/>
          </p:nvSpPr>
          <p:spPr>
            <a:xfrm>
              <a:off x="4071034" y="5230541"/>
              <a:ext cx="3934" cy="3934"/>
            </a:xfrm>
            <a:custGeom>
              <a:avLst/>
              <a:gdLst>
                <a:gd name="connsiteX0" fmla="*/ 3147 w 0"/>
                <a:gd name="connsiteY0" fmla="*/ 2361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2361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05" name="Freeform: Shape 3099">
              <a:extLst>
                <a:ext uri="{FF2B5EF4-FFF2-40B4-BE49-F238E27FC236}">
                  <a16:creationId xmlns:a16="http://schemas.microsoft.com/office/drawing/2014/main" id="{46E80A97-A383-4D0F-9812-8F5C121CF001}"/>
                </a:ext>
              </a:extLst>
            </p:cNvPr>
            <p:cNvSpPr/>
            <p:nvPr/>
          </p:nvSpPr>
          <p:spPr>
            <a:xfrm>
              <a:off x="4064739" y="5227787"/>
              <a:ext cx="3934" cy="3934"/>
            </a:xfrm>
            <a:custGeom>
              <a:avLst/>
              <a:gdLst>
                <a:gd name="connsiteX0" fmla="*/ 3147 w 3934"/>
                <a:gd name="connsiteY0" fmla="*/ 0 h 3934"/>
                <a:gd name="connsiteX1" fmla="*/ 0 w 3934"/>
                <a:gd name="connsiteY1" fmla="*/ 393 h 3934"/>
                <a:gd name="connsiteX2" fmla="*/ 2360 w 3934"/>
                <a:gd name="connsiteY2" fmla="*/ 3148 h 3934"/>
                <a:gd name="connsiteX3" fmla="*/ 5114 w 3934"/>
                <a:gd name="connsiteY3" fmla="*/ 4721 h 3934"/>
                <a:gd name="connsiteX4" fmla="*/ 4721 w 3934"/>
                <a:gd name="connsiteY4" fmla="*/ 3934 h 3934"/>
                <a:gd name="connsiteX5" fmla="*/ 6295 w 3934"/>
                <a:gd name="connsiteY5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147" y="0"/>
                  </a:moveTo>
                  <a:lnTo>
                    <a:pt x="0" y="393"/>
                  </a:lnTo>
                  <a:lnTo>
                    <a:pt x="2360" y="3148"/>
                  </a:lnTo>
                  <a:lnTo>
                    <a:pt x="5114" y="4721"/>
                  </a:lnTo>
                  <a:lnTo>
                    <a:pt x="4721" y="3934"/>
                  </a:lnTo>
                  <a:lnTo>
                    <a:pt x="6295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06" name="Freeform: Shape 3100">
              <a:extLst>
                <a:ext uri="{FF2B5EF4-FFF2-40B4-BE49-F238E27FC236}">
                  <a16:creationId xmlns:a16="http://schemas.microsoft.com/office/drawing/2014/main" id="{9E5F30F9-B8C9-4786-B082-1E7F81AEC1F2}"/>
                </a:ext>
              </a:extLst>
            </p:cNvPr>
            <p:cNvSpPr/>
            <p:nvPr/>
          </p:nvSpPr>
          <p:spPr>
            <a:xfrm>
              <a:off x="4058838" y="5230935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07" name="Freeform: Shape 3101">
              <a:extLst>
                <a:ext uri="{FF2B5EF4-FFF2-40B4-BE49-F238E27FC236}">
                  <a16:creationId xmlns:a16="http://schemas.microsoft.com/office/drawing/2014/main" id="{AB0A4C34-3459-4925-857A-275CCE2E3CE0}"/>
                </a:ext>
              </a:extLst>
            </p:cNvPr>
            <p:cNvSpPr/>
            <p:nvPr/>
          </p:nvSpPr>
          <p:spPr>
            <a:xfrm>
              <a:off x="4084411" y="5345028"/>
              <a:ext cx="3934" cy="3934"/>
            </a:xfrm>
            <a:custGeom>
              <a:avLst/>
              <a:gdLst>
                <a:gd name="connsiteX0" fmla="*/ 3934 w 3934"/>
                <a:gd name="connsiteY0" fmla="*/ 2754 h 3934"/>
                <a:gd name="connsiteX1" fmla="*/ 1967 w 3934"/>
                <a:gd name="connsiteY1" fmla="*/ 0 h 3934"/>
                <a:gd name="connsiteX2" fmla="*/ 0 w 3934"/>
                <a:gd name="connsiteY2" fmla="*/ 2754 h 3934"/>
                <a:gd name="connsiteX3" fmla="*/ 3147 w 3934"/>
                <a:gd name="connsiteY3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3934" y="2754"/>
                  </a:moveTo>
                  <a:lnTo>
                    <a:pt x="1967" y="0"/>
                  </a:lnTo>
                  <a:lnTo>
                    <a:pt x="0" y="2754"/>
                  </a:lnTo>
                  <a:lnTo>
                    <a:pt x="3147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08" name="Freeform: Shape 3102">
              <a:extLst>
                <a:ext uri="{FF2B5EF4-FFF2-40B4-BE49-F238E27FC236}">
                  <a16:creationId xmlns:a16="http://schemas.microsoft.com/office/drawing/2014/main" id="{806127E9-3977-4DD5-8E08-FCDD36807CA0}"/>
                </a:ext>
              </a:extLst>
            </p:cNvPr>
            <p:cNvSpPr/>
            <p:nvPr/>
          </p:nvSpPr>
          <p:spPr>
            <a:xfrm>
              <a:off x="4088738" y="5345028"/>
              <a:ext cx="3934" cy="3934"/>
            </a:xfrm>
            <a:custGeom>
              <a:avLst/>
              <a:gdLst>
                <a:gd name="connsiteX0" fmla="*/ 2754 w 0"/>
                <a:gd name="connsiteY0" fmla="*/ 2754 h 0"/>
                <a:gd name="connsiteX1" fmla="*/ 3147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754"/>
                  </a:moveTo>
                  <a:lnTo>
                    <a:pt x="3147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09" name="Freeform: Shape 3103">
              <a:extLst>
                <a:ext uri="{FF2B5EF4-FFF2-40B4-BE49-F238E27FC236}">
                  <a16:creationId xmlns:a16="http://schemas.microsoft.com/office/drawing/2014/main" id="{F8634897-5BE4-4C75-AF97-463B0F2E4058}"/>
                </a:ext>
              </a:extLst>
            </p:cNvPr>
            <p:cNvSpPr/>
            <p:nvPr/>
          </p:nvSpPr>
          <p:spPr>
            <a:xfrm>
              <a:off x="4087951" y="5279719"/>
              <a:ext cx="3934" cy="3934"/>
            </a:xfrm>
            <a:custGeom>
              <a:avLst/>
              <a:gdLst>
                <a:gd name="connsiteX0" fmla="*/ 787 w 0"/>
                <a:gd name="connsiteY0" fmla="*/ 2754 h 3934"/>
                <a:gd name="connsiteX1" fmla="*/ 3148 w 0"/>
                <a:gd name="connsiteY1" fmla="*/ 5901 h 3934"/>
                <a:gd name="connsiteX2" fmla="*/ 3541 w 0"/>
                <a:gd name="connsiteY2" fmla="*/ 3148 h 3934"/>
                <a:gd name="connsiteX3" fmla="*/ 2754 w 0"/>
                <a:gd name="connsiteY3" fmla="*/ 394 h 3934"/>
                <a:gd name="connsiteX4" fmla="*/ 0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787" y="2754"/>
                  </a:moveTo>
                  <a:lnTo>
                    <a:pt x="3148" y="5901"/>
                  </a:lnTo>
                  <a:lnTo>
                    <a:pt x="3541" y="3148"/>
                  </a:lnTo>
                  <a:lnTo>
                    <a:pt x="2754" y="39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10" name="Freeform: Shape 3104">
              <a:extLst>
                <a:ext uri="{FF2B5EF4-FFF2-40B4-BE49-F238E27FC236}">
                  <a16:creationId xmlns:a16="http://schemas.microsoft.com/office/drawing/2014/main" id="{AD4700DF-E11A-44C1-A9CA-A484722ED7E4}"/>
                </a:ext>
              </a:extLst>
            </p:cNvPr>
            <p:cNvSpPr/>
            <p:nvPr/>
          </p:nvSpPr>
          <p:spPr>
            <a:xfrm>
              <a:off x="4073788" y="5270671"/>
              <a:ext cx="3934" cy="7869"/>
            </a:xfrm>
            <a:custGeom>
              <a:avLst/>
              <a:gdLst>
                <a:gd name="connsiteX0" fmla="*/ 2360 w 3934"/>
                <a:gd name="connsiteY0" fmla="*/ 7475 h 7868"/>
                <a:gd name="connsiteX1" fmla="*/ 3541 w 3934"/>
                <a:gd name="connsiteY1" fmla="*/ 10229 h 7868"/>
                <a:gd name="connsiteX2" fmla="*/ 6688 w 3934"/>
                <a:gd name="connsiteY2" fmla="*/ 7869 h 7868"/>
                <a:gd name="connsiteX3" fmla="*/ 7475 w 3934"/>
                <a:gd name="connsiteY3" fmla="*/ 4721 h 7868"/>
                <a:gd name="connsiteX4" fmla="*/ 5901 w 3934"/>
                <a:gd name="connsiteY4" fmla="*/ 1967 h 7868"/>
                <a:gd name="connsiteX5" fmla="*/ 3147 w 3934"/>
                <a:gd name="connsiteY5" fmla="*/ 0 h 7868"/>
                <a:gd name="connsiteX6" fmla="*/ 0 w 3934"/>
                <a:gd name="connsiteY6" fmla="*/ 1574 h 7868"/>
                <a:gd name="connsiteX7" fmla="*/ 787 w 3934"/>
                <a:gd name="connsiteY7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2360" y="7475"/>
                  </a:moveTo>
                  <a:lnTo>
                    <a:pt x="3541" y="10229"/>
                  </a:lnTo>
                  <a:lnTo>
                    <a:pt x="6688" y="7869"/>
                  </a:lnTo>
                  <a:lnTo>
                    <a:pt x="7475" y="4721"/>
                  </a:lnTo>
                  <a:lnTo>
                    <a:pt x="5901" y="1967"/>
                  </a:lnTo>
                  <a:lnTo>
                    <a:pt x="3147" y="0"/>
                  </a:lnTo>
                  <a:lnTo>
                    <a:pt x="0" y="1574"/>
                  </a:lnTo>
                  <a:lnTo>
                    <a:pt x="787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11" name="Freeform: Shape 3105">
              <a:extLst>
                <a:ext uri="{FF2B5EF4-FFF2-40B4-BE49-F238E27FC236}">
                  <a16:creationId xmlns:a16="http://schemas.microsoft.com/office/drawing/2014/main" id="{8E27AA4F-8857-4FE0-B820-3517236D6048}"/>
                </a:ext>
              </a:extLst>
            </p:cNvPr>
            <p:cNvSpPr/>
            <p:nvPr/>
          </p:nvSpPr>
          <p:spPr>
            <a:xfrm>
              <a:off x="4092672" y="5270277"/>
              <a:ext cx="3934" cy="7869"/>
            </a:xfrm>
            <a:custGeom>
              <a:avLst/>
              <a:gdLst>
                <a:gd name="connsiteX0" fmla="*/ 0 w 3934"/>
                <a:gd name="connsiteY0" fmla="*/ 3934 h 7868"/>
                <a:gd name="connsiteX1" fmla="*/ 394 w 3934"/>
                <a:gd name="connsiteY1" fmla="*/ 6688 h 7868"/>
                <a:gd name="connsiteX2" fmla="*/ 3541 w 3934"/>
                <a:gd name="connsiteY2" fmla="*/ 7869 h 7868"/>
                <a:gd name="connsiteX3" fmla="*/ 6295 w 3934"/>
                <a:gd name="connsiteY3" fmla="*/ 10229 h 7868"/>
                <a:gd name="connsiteX4" fmla="*/ 6688 w 3934"/>
                <a:gd name="connsiteY4" fmla="*/ 8655 h 7868"/>
                <a:gd name="connsiteX5" fmla="*/ 5508 w 3934"/>
                <a:gd name="connsiteY5" fmla="*/ 5901 h 7868"/>
                <a:gd name="connsiteX6" fmla="*/ 4721 w 3934"/>
                <a:gd name="connsiteY6" fmla="*/ 2754 h 7868"/>
                <a:gd name="connsiteX7" fmla="*/ 3147 w 3934"/>
                <a:gd name="connsiteY7" fmla="*/ 0 h 7868"/>
                <a:gd name="connsiteX8" fmla="*/ 0 w 3934"/>
                <a:gd name="connsiteY8" fmla="*/ 78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0" y="3934"/>
                  </a:moveTo>
                  <a:lnTo>
                    <a:pt x="394" y="6688"/>
                  </a:lnTo>
                  <a:lnTo>
                    <a:pt x="3541" y="7869"/>
                  </a:lnTo>
                  <a:lnTo>
                    <a:pt x="6295" y="10229"/>
                  </a:lnTo>
                  <a:lnTo>
                    <a:pt x="6688" y="8655"/>
                  </a:lnTo>
                  <a:lnTo>
                    <a:pt x="5508" y="5901"/>
                  </a:lnTo>
                  <a:lnTo>
                    <a:pt x="4721" y="2754"/>
                  </a:ln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12" name="Freeform: Shape 3106">
              <a:extLst>
                <a:ext uri="{FF2B5EF4-FFF2-40B4-BE49-F238E27FC236}">
                  <a16:creationId xmlns:a16="http://schemas.microsoft.com/office/drawing/2014/main" id="{BF7E15A0-2932-4F7A-820D-8C161BA8A790}"/>
                </a:ext>
              </a:extLst>
            </p:cNvPr>
            <p:cNvSpPr/>
            <p:nvPr/>
          </p:nvSpPr>
          <p:spPr>
            <a:xfrm>
              <a:off x="4069460" y="5274212"/>
              <a:ext cx="3934" cy="3934"/>
            </a:xfrm>
            <a:custGeom>
              <a:avLst/>
              <a:gdLst>
                <a:gd name="connsiteX0" fmla="*/ 787 w 3934"/>
                <a:gd name="connsiteY0" fmla="*/ 5114 h 3934"/>
                <a:gd name="connsiteX1" fmla="*/ 3934 w 3934"/>
                <a:gd name="connsiteY1" fmla="*/ 5901 h 3934"/>
                <a:gd name="connsiteX2" fmla="*/ 3934 w 3934"/>
                <a:gd name="connsiteY2" fmla="*/ 3147 h 3934"/>
                <a:gd name="connsiteX3" fmla="*/ 3147 w 3934"/>
                <a:gd name="connsiteY3" fmla="*/ 0 h 3934"/>
                <a:gd name="connsiteX4" fmla="*/ 0 w 3934"/>
                <a:gd name="connsiteY4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787" y="5114"/>
                  </a:moveTo>
                  <a:lnTo>
                    <a:pt x="3934" y="5901"/>
                  </a:lnTo>
                  <a:lnTo>
                    <a:pt x="3934" y="3147"/>
                  </a:lnTo>
                  <a:lnTo>
                    <a:pt x="3147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13" name="Freeform: Shape 3107">
              <a:extLst>
                <a:ext uri="{FF2B5EF4-FFF2-40B4-BE49-F238E27FC236}">
                  <a16:creationId xmlns:a16="http://schemas.microsoft.com/office/drawing/2014/main" id="{A3C92A42-36AD-4E98-B328-4D4ED6EEF166}"/>
                </a:ext>
              </a:extLst>
            </p:cNvPr>
            <p:cNvSpPr/>
            <p:nvPr/>
          </p:nvSpPr>
          <p:spPr>
            <a:xfrm>
              <a:off x="4084411" y="5273424"/>
              <a:ext cx="3934" cy="3934"/>
            </a:xfrm>
            <a:custGeom>
              <a:avLst/>
              <a:gdLst>
                <a:gd name="connsiteX0" fmla="*/ 3147 w 3934"/>
                <a:gd name="connsiteY0" fmla="*/ 0 h 3934"/>
                <a:gd name="connsiteX1" fmla="*/ 0 w 3934"/>
                <a:gd name="connsiteY1" fmla="*/ 1180 h 3934"/>
                <a:gd name="connsiteX2" fmla="*/ 1967 w 3934"/>
                <a:gd name="connsiteY2" fmla="*/ 4328 h 3934"/>
                <a:gd name="connsiteX3" fmla="*/ 5114 w 3934"/>
                <a:gd name="connsiteY3" fmla="*/ 5901 h 3934"/>
                <a:gd name="connsiteX4" fmla="*/ 6295 w 3934"/>
                <a:gd name="connsiteY4" fmla="*/ 4721 h 3934"/>
                <a:gd name="connsiteX5" fmla="*/ 5901 w 3934"/>
                <a:gd name="connsiteY5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147" y="0"/>
                  </a:moveTo>
                  <a:lnTo>
                    <a:pt x="0" y="1180"/>
                  </a:lnTo>
                  <a:lnTo>
                    <a:pt x="1967" y="4328"/>
                  </a:lnTo>
                  <a:lnTo>
                    <a:pt x="5114" y="5901"/>
                  </a:lnTo>
                  <a:lnTo>
                    <a:pt x="6295" y="4721"/>
                  </a:lnTo>
                  <a:lnTo>
                    <a:pt x="590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14" name="Freeform: Shape 3108">
              <a:extLst>
                <a:ext uri="{FF2B5EF4-FFF2-40B4-BE49-F238E27FC236}">
                  <a16:creationId xmlns:a16="http://schemas.microsoft.com/office/drawing/2014/main" id="{BC7ADE4B-1198-4DFB-AF28-C6F3BF565522}"/>
                </a:ext>
              </a:extLst>
            </p:cNvPr>
            <p:cNvSpPr/>
            <p:nvPr/>
          </p:nvSpPr>
          <p:spPr>
            <a:xfrm>
              <a:off x="4065526" y="5277359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0 w 0"/>
                <a:gd name="connsiteY1" fmla="*/ 0 h 0"/>
                <a:gd name="connsiteX2" fmla="*/ 3147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0" y="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15" name="Freeform: Shape 3109">
              <a:extLst>
                <a:ext uri="{FF2B5EF4-FFF2-40B4-BE49-F238E27FC236}">
                  <a16:creationId xmlns:a16="http://schemas.microsoft.com/office/drawing/2014/main" id="{A8C6B260-2A4D-4A5B-AFA2-049C1A1DBEA8}"/>
                </a:ext>
              </a:extLst>
            </p:cNvPr>
            <p:cNvSpPr/>
            <p:nvPr/>
          </p:nvSpPr>
          <p:spPr>
            <a:xfrm>
              <a:off x="4071428" y="5271851"/>
              <a:ext cx="3934" cy="3934"/>
            </a:xfrm>
            <a:custGeom>
              <a:avLst/>
              <a:gdLst>
                <a:gd name="connsiteX0" fmla="*/ 2360 w 0"/>
                <a:gd name="connsiteY0" fmla="*/ 2754 h 0"/>
                <a:gd name="connsiteX1" fmla="*/ 0 w 0"/>
                <a:gd name="connsiteY1" fmla="*/ 0 h 0"/>
                <a:gd name="connsiteX2" fmla="*/ 196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0" y="2754"/>
                  </a:moveTo>
                  <a:lnTo>
                    <a:pt x="0" y="0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16" name="Freeform: Shape 3110">
              <a:extLst>
                <a:ext uri="{FF2B5EF4-FFF2-40B4-BE49-F238E27FC236}">
                  <a16:creationId xmlns:a16="http://schemas.microsoft.com/office/drawing/2014/main" id="{5390D0BA-8857-47FD-9830-4A34C81571DD}"/>
                </a:ext>
              </a:extLst>
            </p:cNvPr>
            <p:cNvSpPr/>
            <p:nvPr/>
          </p:nvSpPr>
          <p:spPr>
            <a:xfrm>
              <a:off x="4082837" y="5269490"/>
              <a:ext cx="3934" cy="3934"/>
            </a:xfrm>
            <a:custGeom>
              <a:avLst/>
              <a:gdLst>
                <a:gd name="connsiteX0" fmla="*/ 3147 w 3934"/>
                <a:gd name="connsiteY0" fmla="*/ 0 h 3934"/>
                <a:gd name="connsiteX1" fmla="*/ 0 w 3934"/>
                <a:gd name="connsiteY1" fmla="*/ 1574 h 3934"/>
                <a:gd name="connsiteX2" fmla="*/ 394 w 3934"/>
                <a:gd name="connsiteY2" fmla="*/ 4721 h 3934"/>
                <a:gd name="connsiteX3" fmla="*/ 1574 w 3934"/>
                <a:gd name="connsiteY3" fmla="*/ 3148 h 3934"/>
                <a:gd name="connsiteX4" fmla="*/ 4721 w 3934"/>
                <a:gd name="connsiteY4" fmla="*/ 3148 h 3934"/>
                <a:gd name="connsiteX5" fmla="*/ 7475 w 3934"/>
                <a:gd name="connsiteY5" fmla="*/ 3934 h 3934"/>
                <a:gd name="connsiteX6" fmla="*/ 5901 w 3934"/>
                <a:gd name="connsiteY6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3147" y="0"/>
                  </a:moveTo>
                  <a:lnTo>
                    <a:pt x="0" y="1574"/>
                  </a:lnTo>
                  <a:lnTo>
                    <a:pt x="394" y="4721"/>
                  </a:lnTo>
                  <a:lnTo>
                    <a:pt x="1574" y="3148"/>
                  </a:lnTo>
                  <a:lnTo>
                    <a:pt x="4721" y="3148"/>
                  </a:lnTo>
                  <a:lnTo>
                    <a:pt x="7475" y="3934"/>
                  </a:lnTo>
                  <a:lnTo>
                    <a:pt x="590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17" name="Freeform: Shape 3111">
              <a:extLst>
                <a:ext uri="{FF2B5EF4-FFF2-40B4-BE49-F238E27FC236}">
                  <a16:creationId xmlns:a16="http://schemas.microsoft.com/office/drawing/2014/main" id="{FDD085F7-095F-415E-89DB-F6C0A1CDE110}"/>
                </a:ext>
              </a:extLst>
            </p:cNvPr>
            <p:cNvSpPr/>
            <p:nvPr/>
          </p:nvSpPr>
          <p:spPr>
            <a:xfrm>
              <a:off x="4084411" y="5267523"/>
              <a:ext cx="3934" cy="3934"/>
            </a:xfrm>
            <a:custGeom>
              <a:avLst/>
              <a:gdLst>
                <a:gd name="connsiteX0" fmla="*/ 3147 w 0"/>
                <a:gd name="connsiteY0" fmla="*/ 1967 h 0"/>
                <a:gd name="connsiteX1" fmla="*/ 2754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1967"/>
                  </a:moveTo>
                  <a:lnTo>
                    <a:pt x="2754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18" name="Freeform: Shape 3112">
              <a:extLst>
                <a:ext uri="{FF2B5EF4-FFF2-40B4-BE49-F238E27FC236}">
                  <a16:creationId xmlns:a16="http://schemas.microsoft.com/office/drawing/2014/main" id="{123578D7-43AE-4CDA-99E1-7C463D018DAF}"/>
                </a:ext>
              </a:extLst>
            </p:cNvPr>
            <p:cNvSpPr/>
            <p:nvPr/>
          </p:nvSpPr>
          <p:spPr>
            <a:xfrm>
              <a:off x="4071428" y="5265949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180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19" name="Freeform: Shape 3113">
              <a:extLst>
                <a:ext uri="{FF2B5EF4-FFF2-40B4-BE49-F238E27FC236}">
                  <a16:creationId xmlns:a16="http://schemas.microsoft.com/office/drawing/2014/main" id="{34D70B5C-0C62-4320-B941-3066402C856E}"/>
                </a:ext>
              </a:extLst>
            </p:cNvPr>
            <p:cNvSpPr/>
            <p:nvPr/>
          </p:nvSpPr>
          <p:spPr>
            <a:xfrm>
              <a:off x="4078116" y="5262409"/>
              <a:ext cx="7869" cy="3934"/>
            </a:xfrm>
            <a:custGeom>
              <a:avLst/>
              <a:gdLst>
                <a:gd name="connsiteX0" fmla="*/ 5901 w 7868"/>
                <a:gd name="connsiteY0" fmla="*/ 4721 h 3934"/>
                <a:gd name="connsiteX1" fmla="*/ 8262 w 7868"/>
                <a:gd name="connsiteY1" fmla="*/ 4328 h 3934"/>
                <a:gd name="connsiteX2" fmla="*/ 11409 w 7868"/>
                <a:gd name="connsiteY2" fmla="*/ 3934 h 3934"/>
                <a:gd name="connsiteX3" fmla="*/ 8655 w 7868"/>
                <a:gd name="connsiteY3" fmla="*/ 1180 h 3934"/>
                <a:gd name="connsiteX4" fmla="*/ 5901 w 7868"/>
                <a:gd name="connsiteY4" fmla="*/ 1573 h 3934"/>
                <a:gd name="connsiteX5" fmla="*/ 3148 w 7868"/>
                <a:gd name="connsiteY5" fmla="*/ 0 h 3934"/>
                <a:gd name="connsiteX6" fmla="*/ 0 w 7868"/>
                <a:gd name="connsiteY6" fmla="*/ 787 h 3934"/>
                <a:gd name="connsiteX7" fmla="*/ 3148 w 7868"/>
                <a:gd name="connsiteY7" fmla="*/ 354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901" y="4721"/>
                  </a:moveTo>
                  <a:lnTo>
                    <a:pt x="8262" y="4328"/>
                  </a:lnTo>
                  <a:lnTo>
                    <a:pt x="11409" y="3934"/>
                  </a:lnTo>
                  <a:lnTo>
                    <a:pt x="8655" y="1180"/>
                  </a:lnTo>
                  <a:lnTo>
                    <a:pt x="5901" y="1573"/>
                  </a:lnTo>
                  <a:lnTo>
                    <a:pt x="3148" y="0"/>
                  </a:lnTo>
                  <a:lnTo>
                    <a:pt x="0" y="787"/>
                  </a:lnTo>
                  <a:lnTo>
                    <a:pt x="3148" y="354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20" name="Freeform: Shape 3114">
              <a:extLst>
                <a:ext uri="{FF2B5EF4-FFF2-40B4-BE49-F238E27FC236}">
                  <a16:creationId xmlns:a16="http://schemas.microsoft.com/office/drawing/2014/main" id="{18F78B8E-AFC8-4308-A63B-313BD505F805}"/>
                </a:ext>
              </a:extLst>
            </p:cNvPr>
            <p:cNvSpPr/>
            <p:nvPr/>
          </p:nvSpPr>
          <p:spPr>
            <a:xfrm>
              <a:off x="4070641" y="5260048"/>
              <a:ext cx="3934" cy="3934"/>
            </a:xfrm>
            <a:custGeom>
              <a:avLst/>
              <a:gdLst>
                <a:gd name="connsiteX0" fmla="*/ 787 w 3934"/>
                <a:gd name="connsiteY0" fmla="*/ 3148 h 3934"/>
                <a:gd name="connsiteX1" fmla="*/ 3541 w 3934"/>
                <a:gd name="connsiteY1" fmla="*/ 5115 h 3934"/>
                <a:gd name="connsiteX2" fmla="*/ 4328 w 3934"/>
                <a:gd name="connsiteY2" fmla="*/ 4328 h 3934"/>
                <a:gd name="connsiteX3" fmla="*/ 2754 w 3934"/>
                <a:gd name="connsiteY3" fmla="*/ 1574 h 3934"/>
                <a:gd name="connsiteX4" fmla="*/ 0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787" y="3148"/>
                  </a:moveTo>
                  <a:lnTo>
                    <a:pt x="3541" y="5115"/>
                  </a:lnTo>
                  <a:lnTo>
                    <a:pt x="4328" y="4328"/>
                  </a:lnTo>
                  <a:lnTo>
                    <a:pt x="2754" y="15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21" name="Freeform: Shape 3115">
              <a:extLst>
                <a:ext uri="{FF2B5EF4-FFF2-40B4-BE49-F238E27FC236}">
                  <a16:creationId xmlns:a16="http://schemas.microsoft.com/office/drawing/2014/main" id="{C5E40170-E985-49FB-A161-37619FE78F47}"/>
                </a:ext>
              </a:extLst>
            </p:cNvPr>
            <p:cNvSpPr/>
            <p:nvPr/>
          </p:nvSpPr>
          <p:spPr>
            <a:xfrm>
              <a:off x="4073788" y="5254934"/>
              <a:ext cx="15737" cy="7869"/>
            </a:xfrm>
            <a:custGeom>
              <a:avLst/>
              <a:gdLst>
                <a:gd name="connsiteX0" fmla="*/ 12196 w 15737"/>
                <a:gd name="connsiteY0" fmla="*/ 1574 h 7868"/>
                <a:gd name="connsiteX1" fmla="*/ 9442 w 15737"/>
                <a:gd name="connsiteY1" fmla="*/ 0 h 7868"/>
                <a:gd name="connsiteX2" fmla="*/ 7475 w 15737"/>
                <a:gd name="connsiteY2" fmla="*/ 0 h 7868"/>
                <a:gd name="connsiteX3" fmla="*/ 6295 w 15737"/>
                <a:gd name="connsiteY3" fmla="*/ 787 h 7868"/>
                <a:gd name="connsiteX4" fmla="*/ 3147 w 15737"/>
                <a:gd name="connsiteY4" fmla="*/ 1180 h 7868"/>
                <a:gd name="connsiteX5" fmla="*/ 0 w 15737"/>
                <a:gd name="connsiteY5" fmla="*/ 2360 h 7868"/>
                <a:gd name="connsiteX6" fmla="*/ 1180 w 15737"/>
                <a:gd name="connsiteY6" fmla="*/ 5114 h 7868"/>
                <a:gd name="connsiteX7" fmla="*/ 3934 w 15737"/>
                <a:gd name="connsiteY7" fmla="*/ 5508 h 7868"/>
                <a:gd name="connsiteX8" fmla="*/ 7082 w 15737"/>
                <a:gd name="connsiteY8" fmla="*/ 6295 h 7868"/>
                <a:gd name="connsiteX9" fmla="*/ 9836 w 15737"/>
                <a:gd name="connsiteY9" fmla="*/ 8262 h 7868"/>
                <a:gd name="connsiteX10" fmla="*/ 12590 w 15737"/>
                <a:gd name="connsiteY10" fmla="*/ 7869 h 7868"/>
                <a:gd name="connsiteX11" fmla="*/ 15737 w 15737"/>
                <a:gd name="connsiteY11" fmla="*/ 7081 h 7868"/>
                <a:gd name="connsiteX12" fmla="*/ 14950 w 15737"/>
                <a:gd name="connsiteY12" fmla="*/ 432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7868">
                  <a:moveTo>
                    <a:pt x="12196" y="1574"/>
                  </a:moveTo>
                  <a:lnTo>
                    <a:pt x="9442" y="0"/>
                  </a:lnTo>
                  <a:lnTo>
                    <a:pt x="7475" y="0"/>
                  </a:lnTo>
                  <a:lnTo>
                    <a:pt x="6295" y="787"/>
                  </a:lnTo>
                  <a:lnTo>
                    <a:pt x="3147" y="1180"/>
                  </a:lnTo>
                  <a:lnTo>
                    <a:pt x="0" y="2360"/>
                  </a:lnTo>
                  <a:lnTo>
                    <a:pt x="1180" y="5114"/>
                  </a:lnTo>
                  <a:lnTo>
                    <a:pt x="3934" y="5508"/>
                  </a:lnTo>
                  <a:lnTo>
                    <a:pt x="7082" y="6295"/>
                  </a:lnTo>
                  <a:lnTo>
                    <a:pt x="9836" y="8262"/>
                  </a:lnTo>
                  <a:lnTo>
                    <a:pt x="12590" y="7869"/>
                  </a:lnTo>
                  <a:lnTo>
                    <a:pt x="15737" y="7081"/>
                  </a:lnTo>
                  <a:lnTo>
                    <a:pt x="14950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22" name="Freeform: Shape 3116">
              <a:extLst>
                <a:ext uri="{FF2B5EF4-FFF2-40B4-BE49-F238E27FC236}">
                  <a16:creationId xmlns:a16="http://schemas.microsoft.com/office/drawing/2014/main" id="{BDFD469A-0554-4933-9D81-AF396A4E2C8D}"/>
                </a:ext>
              </a:extLst>
            </p:cNvPr>
            <p:cNvSpPr/>
            <p:nvPr/>
          </p:nvSpPr>
          <p:spPr>
            <a:xfrm>
              <a:off x="4100541" y="5378470"/>
              <a:ext cx="3934" cy="3934"/>
            </a:xfrm>
            <a:custGeom>
              <a:avLst/>
              <a:gdLst>
                <a:gd name="connsiteX0" fmla="*/ 3541 w 0"/>
                <a:gd name="connsiteY0" fmla="*/ 2754 h 3934"/>
                <a:gd name="connsiteX1" fmla="*/ 787 w 0"/>
                <a:gd name="connsiteY1" fmla="*/ 0 h 3934"/>
                <a:gd name="connsiteX2" fmla="*/ 0 w 0"/>
                <a:gd name="connsiteY2" fmla="*/ 2754 h 3934"/>
                <a:gd name="connsiteX3" fmla="*/ 3147 w 0"/>
                <a:gd name="connsiteY3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541" y="2754"/>
                  </a:moveTo>
                  <a:lnTo>
                    <a:pt x="787" y="0"/>
                  </a:lnTo>
                  <a:lnTo>
                    <a:pt x="0" y="2754"/>
                  </a:lnTo>
                  <a:lnTo>
                    <a:pt x="3147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23" name="Freeform: Shape 3117">
              <a:extLst>
                <a:ext uri="{FF2B5EF4-FFF2-40B4-BE49-F238E27FC236}">
                  <a16:creationId xmlns:a16="http://schemas.microsoft.com/office/drawing/2014/main" id="{4BD6ABB4-425D-4CA8-BF73-A1351EF2978D}"/>
                </a:ext>
              </a:extLst>
            </p:cNvPr>
            <p:cNvSpPr/>
            <p:nvPr/>
          </p:nvSpPr>
          <p:spPr>
            <a:xfrm>
              <a:off x="4087951" y="5376896"/>
              <a:ext cx="7869" cy="3934"/>
            </a:xfrm>
            <a:custGeom>
              <a:avLst/>
              <a:gdLst>
                <a:gd name="connsiteX0" fmla="*/ 5901 w 7868"/>
                <a:gd name="connsiteY0" fmla="*/ 2754 h 3934"/>
                <a:gd name="connsiteX1" fmla="*/ 9049 w 7868"/>
                <a:gd name="connsiteY1" fmla="*/ 393 h 3934"/>
                <a:gd name="connsiteX2" fmla="*/ 5901 w 7868"/>
                <a:gd name="connsiteY2" fmla="*/ 0 h 3934"/>
                <a:gd name="connsiteX3" fmla="*/ 3148 w 7868"/>
                <a:gd name="connsiteY3" fmla="*/ 1967 h 3934"/>
                <a:gd name="connsiteX4" fmla="*/ 0 w 7868"/>
                <a:gd name="connsiteY4" fmla="*/ 1574 h 3934"/>
                <a:gd name="connsiteX5" fmla="*/ 2361 w 7868"/>
                <a:gd name="connsiteY5" fmla="*/ 4328 h 3934"/>
                <a:gd name="connsiteX6" fmla="*/ 3148 w 7868"/>
                <a:gd name="connsiteY6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5901" y="2754"/>
                  </a:moveTo>
                  <a:lnTo>
                    <a:pt x="9049" y="393"/>
                  </a:lnTo>
                  <a:lnTo>
                    <a:pt x="5901" y="0"/>
                  </a:lnTo>
                  <a:lnTo>
                    <a:pt x="3148" y="1967"/>
                  </a:lnTo>
                  <a:lnTo>
                    <a:pt x="0" y="1574"/>
                  </a:lnTo>
                  <a:lnTo>
                    <a:pt x="2361" y="4328"/>
                  </a:lnTo>
                  <a:lnTo>
                    <a:pt x="3148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24" name="Freeform: Shape 3118">
              <a:extLst>
                <a:ext uri="{FF2B5EF4-FFF2-40B4-BE49-F238E27FC236}">
                  <a16:creationId xmlns:a16="http://schemas.microsoft.com/office/drawing/2014/main" id="{4FF23092-D719-4788-A537-6B39DB0CAE54}"/>
                </a:ext>
              </a:extLst>
            </p:cNvPr>
            <p:cNvSpPr/>
            <p:nvPr/>
          </p:nvSpPr>
          <p:spPr>
            <a:xfrm>
              <a:off x="4104082" y="5376502"/>
              <a:ext cx="3934" cy="3934"/>
            </a:xfrm>
            <a:custGeom>
              <a:avLst/>
              <a:gdLst>
                <a:gd name="connsiteX0" fmla="*/ 2754 w 0"/>
                <a:gd name="connsiteY0" fmla="*/ 2754 h 0"/>
                <a:gd name="connsiteX1" fmla="*/ 2754 w 0"/>
                <a:gd name="connsiteY1" fmla="*/ 0 h 0"/>
                <a:gd name="connsiteX2" fmla="*/ 0 w 0"/>
                <a:gd name="connsiteY2" fmla="*/ 0 h 0"/>
                <a:gd name="connsiteX3" fmla="*/ 1574 w 0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754" y="2754"/>
                  </a:moveTo>
                  <a:lnTo>
                    <a:pt x="2754" y="0"/>
                  </a:lnTo>
                  <a:lnTo>
                    <a:pt x="0" y="0"/>
                  </a:lnTo>
                  <a:lnTo>
                    <a:pt x="157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25" name="Freeform: Shape 3119">
              <a:extLst>
                <a:ext uri="{FF2B5EF4-FFF2-40B4-BE49-F238E27FC236}">
                  <a16:creationId xmlns:a16="http://schemas.microsoft.com/office/drawing/2014/main" id="{89999161-F3FB-42CE-87F0-6B017CAB18BE}"/>
                </a:ext>
              </a:extLst>
            </p:cNvPr>
            <p:cNvSpPr/>
            <p:nvPr/>
          </p:nvSpPr>
          <p:spPr>
            <a:xfrm>
              <a:off x="4080476" y="5356831"/>
              <a:ext cx="19671" cy="19671"/>
            </a:xfrm>
            <a:custGeom>
              <a:avLst/>
              <a:gdLst>
                <a:gd name="connsiteX0" fmla="*/ 5508 w 19671"/>
                <a:gd name="connsiteY0" fmla="*/ 8655 h 19671"/>
                <a:gd name="connsiteX1" fmla="*/ 8262 w 19671"/>
                <a:gd name="connsiteY1" fmla="*/ 9442 h 19671"/>
                <a:gd name="connsiteX2" fmla="*/ 5508 w 19671"/>
                <a:gd name="connsiteY2" fmla="*/ 11409 h 19671"/>
                <a:gd name="connsiteX3" fmla="*/ 8262 w 19671"/>
                <a:gd name="connsiteY3" fmla="*/ 11803 h 19671"/>
                <a:gd name="connsiteX4" fmla="*/ 11409 w 19671"/>
                <a:gd name="connsiteY4" fmla="*/ 10622 h 19671"/>
                <a:gd name="connsiteX5" fmla="*/ 12983 w 19671"/>
                <a:gd name="connsiteY5" fmla="*/ 13376 h 19671"/>
                <a:gd name="connsiteX6" fmla="*/ 14557 w 19671"/>
                <a:gd name="connsiteY6" fmla="*/ 16524 h 19671"/>
                <a:gd name="connsiteX7" fmla="*/ 16524 w 19671"/>
                <a:gd name="connsiteY7" fmla="*/ 19278 h 19671"/>
                <a:gd name="connsiteX8" fmla="*/ 19278 w 19671"/>
                <a:gd name="connsiteY8" fmla="*/ 21245 h 19671"/>
                <a:gd name="connsiteX9" fmla="*/ 20852 w 19671"/>
                <a:gd name="connsiteY9" fmla="*/ 18884 h 19671"/>
                <a:gd name="connsiteX10" fmla="*/ 20065 w 19671"/>
                <a:gd name="connsiteY10" fmla="*/ 16130 h 19671"/>
                <a:gd name="connsiteX11" fmla="*/ 18098 w 19671"/>
                <a:gd name="connsiteY11" fmla="*/ 13376 h 19671"/>
                <a:gd name="connsiteX12" fmla="*/ 15343 w 19671"/>
                <a:gd name="connsiteY12" fmla="*/ 11409 h 19671"/>
                <a:gd name="connsiteX13" fmla="*/ 13770 w 19671"/>
                <a:gd name="connsiteY13" fmla="*/ 8655 h 19671"/>
                <a:gd name="connsiteX14" fmla="*/ 10623 w 19671"/>
                <a:gd name="connsiteY14" fmla="*/ 5508 h 19671"/>
                <a:gd name="connsiteX15" fmla="*/ 9049 w 19671"/>
                <a:gd name="connsiteY15" fmla="*/ 2754 h 19671"/>
                <a:gd name="connsiteX16" fmla="*/ 5901 w 19671"/>
                <a:gd name="connsiteY16" fmla="*/ 0 h 19671"/>
                <a:gd name="connsiteX17" fmla="*/ 2754 w 19671"/>
                <a:gd name="connsiteY17" fmla="*/ 0 h 19671"/>
                <a:gd name="connsiteX18" fmla="*/ 0 w 19671"/>
                <a:gd name="connsiteY18" fmla="*/ 1180 h 19671"/>
                <a:gd name="connsiteX19" fmla="*/ 2754 w 19671"/>
                <a:gd name="connsiteY19" fmla="*/ 4328 h 19671"/>
                <a:gd name="connsiteX20" fmla="*/ 5901 w 19671"/>
                <a:gd name="connsiteY20" fmla="*/ 5901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671" h="19671">
                  <a:moveTo>
                    <a:pt x="5508" y="8655"/>
                  </a:moveTo>
                  <a:lnTo>
                    <a:pt x="8262" y="9442"/>
                  </a:lnTo>
                  <a:lnTo>
                    <a:pt x="5508" y="11409"/>
                  </a:lnTo>
                  <a:lnTo>
                    <a:pt x="8262" y="11803"/>
                  </a:lnTo>
                  <a:lnTo>
                    <a:pt x="11409" y="10622"/>
                  </a:lnTo>
                  <a:lnTo>
                    <a:pt x="12983" y="13376"/>
                  </a:lnTo>
                  <a:lnTo>
                    <a:pt x="14557" y="16524"/>
                  </a:lnTo>
                  <a:lnTo>
                    <a:pt x="16524" y="19278"/>
                  </a:lnTo>
                  <a:lnTo>
                    <a:pt x="19278" y="21245"/>
                  </a:lnTo>
                  <a:lnTo>
                    <a:pt x="20852" y="18884"/>
                  </a:lnTo>
                  <a:lnTo>
                    <a:pt x="20065" y="16130"/>
                  </a:lnTo>
                  <a:lnTo>
                    <a:pt x="18098" y="13376"/>
                  </a:lnTo>
                  <a:lnTo>
                    <a:pt x="15343" y="11409"/>
                  </a:lnTo>
                  <a:lnTo>
                    <a:pt x="13770" y="8655"/>
                  </a:lnTo>
                  <a:lnTo>
                    <a:pt x="10623" y="5508"/>
                  </a:lnTo>
                  <a:lnTo>
                    <a:pt x="9049" y="2754"/>
                  </a:lnTo>
                  <a:lnTo>
                    <a:pt x="5901" y="0"/>
                  </a:lnTo>
                  <a:lnTo>
                    <a:pt x="2754" y="0"/>
                  </a:lnTo>
                  <a:lnTo>
                    <a:pt x="0" y="1180"/>
                  </a:lnTo>
                  <a:lnTo>
                    <a:pt x="2754" y="4328"/>
                  </a:lnTo>
                  <a:lnTo>
                    <a:pt x="5901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26" name="Freeform: Shape 3120">
              <a:extLst>
                <a:ext uri="{FF2B5EF4-FFF2-40B4-BE49-F238E27FC236}">
                  <a16:creationId xmlns:a16="http://schemas.microsoft.com/office/drawing/2014/main" id="{120D8EE9-6A47-407B-80C0-B010DDF1D274}"/>
                </a:ext>
              </a:extLst>
            </p:cNvPr>
            <p:cNvSpPr/>
            <p:nvPr/>
          </p:nvSpPr>
          <p:spPr>
            <a:xfrm>
              <a:off x="4084804" y="5369027"/>
              <a:ext cx="7869" cy="7869"/>
            </a:xfrm>
            <a:custGeom>
              <a:avLst/>
              <a:gdLst>
                <a:gd name="connsiteX0" fmla="*/ 7082 w 7868"/>
                <a:gd name="connsiteY0" fmla="*/ 7475 h 7868"/>
                <a:gd name="connsiteX1" fmla="*/ 4328 w 7868"/>
                <a:gd name="connsiteY1" fmla="*/ 8655 h 7868"/>
                <a:gd name="connsiteX2" fmla="*/ 7475 w 7868"/>
                <a:gd name="connsiteY2" fmla="*/ 8655 h 7868"/>
                <a:gd name="connsiteX3" fmla="*/ 10229 w 7868"/>
                <a:gd name="connsiteY3" fmla="*/ 5901 h 7868"/>
                <a:gd name="connsiteX4" fmla="*/ 8655 w 7868"/>
                <a:gd name="connsiteY4" fmla="*/ 3147 h 7868"/>
                <a:gd name="connsiteX5" fmla="*/ 5901 w 7868"/>
                <a:gd name="connsiteY5" fmla="*/ 0 h 7868"/>
                <a:gd name="connsiteX6" fmla="*/ 3147 w 7868"/>
                <a:gd name="connsiteY6" fmla="*/ 1574 h 7868"/>
                <a:gd name="connsiteX7" fmla="*/ 0 w 7868"/>
                <a:gd name="connsiteY7" fmla="*/ 2754 h 7868"/>
                <a:gd name="connsiteX8" fmla="*/ 1574 w 7868"/>
                <a:gd name="connsiteY8" fmla="*/ 5508 h 7868"/>
                <a:gd name="connsiteX9" fmla="*/ 4328 w 7868"/>
                <a:gd name="connsiteY9" fmla="*/ 629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7868">
                  <a:moveTo>
                    <a:pt x="7082" y="7475"/>
                  </a:moveTo>
                  <a:lnTo>
                    <a:pt x="4328" y="8655"/>
                  </a:lnTo>
                  <a:lnTo>
                    <a:pt x="7475" y="8655"/>
                  </a:lnTo>
                  <a:lnTo>
                    <a:pt x="10229" y="5901"/>
                  </a:lnTo>
                  <a:lnTo>
                    <a:pt x="8655" y="3147"/>
                  </a:lnTo>
                  <a:lnTo>
                    <a:pt x="5901" y="0"/>
                  </a:lnTo>
                  <a:lnTo>
                    <a:pt x="3147" y="1574"/>
                  </a:lnTo>
                  <a:lnTo>
                    <a:pt x="0" y="2754"/>
                  </a:lnTo>
                  <a:lnTo>
                    <a:pt x="1574" y="5508"/>
                  </a:lnTo>
                  <a:lnTo>
                    <a:pt x="4328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27" name="Freeform: Shape 3121">
              <a:extLst>
                <a:ext uri="{FF2B5EF4-FFF2-40B4-BE49-F238E27FC236}">
                  <a16:creationId xmlns:a16="http://schemas.microsoft.com/office/drawing/2014/main" id="{01886FF1-2BE2-47AB-A722-84224307C890}"/>
                </a:ext>
              </a:extLst>
            </p:cNvPr>
            <p:cNvSpPr/>
            <p:nvPr/>
          </p:nvSpPr>
          <p:spPr>
            <a:xfrm>
              <a:off x="4101721" y="5359585"/>
              <a:ext cx="11803" cy="15737"/>
            </a:xfrm>
            <a:custGeom>
              <a:avLst/>
              <a:gdLst>
                <a:gd name="connsiteX0" fmla="*/ 1574 w 11802"/>
                <a:gd name="connsiteY0" fmla="*/ 0 h 15737"/>
                <a:gd name="connsiteX1" fmla="*/ 2361 w 11802"/>
                <a:gd name="connsiteY1" fmla="*/ 2754 h 15737"/>
                <a:gd name="connsiteX2" fmla="*/ 2754 w 11802"/>
                <a:gd name="connsiteY2" fmla="*/ 5901 h 15737"/>
                <a:gd name="connsiteX3" fmla="*/ 5115 w 11802"/>
                <a:gd name="connsiteY3" fmla="*/ 8655 h 15737"/>
                <a:gd name="connsiteX4" fmla="*/ 6295 w 11802"/>
                <a:gd name="connsiteY4" fmla="*/ 11803 h 15737"/>
                <a:gd name="connsiteX5" fmla="*/ 3934 w 11802"/>
                <a:gd name="connsiteY5" fmla="*/ 8655 h 15737"/>
                <a:gd name="connsiteX6" fmla="*/ 787 w 11802"/>
                <a:gd name="connsiteY6" fmla="*/ 9049 h 15737"/>
                <a:gd name="connsiteX7" fmla="*/ 0 w 11802"/>
                <a:gd name="connsiteY7" fmla="*/ 12196 h 15737"/>
                <a:gd name="connsiteX8" fmla="*/ 1574 w 11802"/>
                <a:gd name="connsiteY8" fmla="*/ 14950 h 15737"/>
                <a:gd name="connsiteX9" fmla="*/ 4721 w 11802"/>
                <a:gd name="connsiteY9" fmla="*/ 16130 h 15737"/>
                <a:gd name="connsiteX10" fmla="*/ 7475 w 11802"/>
                <a:gd name="connsiteY10" fmla="*/ 16524 h 15737"/>
                <a:gd name="connsiteX11" fmla="*/ 10229 w 11802"/>
                <a:gd name="connsiteY11" fmla="*/ 16918 h 15737"/>
                <a:gd name="connsiteX12" fmla="*/ 12983 w 11802"/>
                <a:gd name="connsiteY12" fmla="*/ 18098 h 15737"/>
                <a:gd name="connsiteX13" fmla="*/ 15344 w 11802"/>
                <a:gd name="connsiteY13" fmla="*/ 17704 h 15737"/>
                <a:gd name="connsiteX14" fmla="*/ 14950 w 11802"/>
                <a:gd name="connsiteY14" fmla="*/ 14950 h 15737"/>
                <a:gd name="connsiteX15" fmla="*/ 11803 w 11802"/>
                <a:gd name="connsiteY15" fmla="*/ 14163 h 15737"/>
                <a:gd name="connsiteX16" fmla="*/ 10623 w 11802"/>
                <a:gd name="connsiteY16" fmla="*/ 11409 h 15737"/>
                <a:gd name="connsiteX17" fmla="*/ 9836 w 11802"/>
                <a:gd name="connsiteY17" fmla="*/ 8262 h 15737"/>
                <a:gd name="connsiteX18" fmla="*/ 7082 w 11802"/>
                <a:gd name="connsiteY18" fmla="*/ 5901 h 15737"/>
                <a:gd name="connsiteX19" fmla="*/ 3934 w 11802"/>
                <a:gd name="connsiteY19" fmla="*/ 2754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802" h="15737">
                  <a:moveTo>
                    <a:pt x="1574" y="0"/>
                  </a:moveTo>
                  <a:lnTo>
                    <a:pt x="2361" y="2754"/>
                  </a:lnTo>
                  <a:lnTo>
                    <a:pt x="2754" y="5901"/>
                  </a:lnTo>
                  <a:lnTo>
                    <a:pt x="5115" y="8655"/>
                  </a:lnTo>
                  <a:lnTo>
                    <a:pt x="6295" y="11803"/>
                  </a:lnTo>
                  <a:lnTo>
                    <a:pt x="3934" y="8655"/>
                  </a:lnTo>
                  <a:lnTo>
                    <a:pt x="787" y="9049"/>
                  </a:lnTo>
                  <a:lnTo>
                    <a:pt x="0" y="12196"/>
                  </a:lnTo>
                  <a:lnTo>
                    <a:pt x="1574" y="14950"/>
                  </a:lnTo>
                  <a:lnTo>
                    <a:pt x="4721" y="16130"/>
                  </a:lnTo>
                  <a:lnTo>
                    <a:pt x="7475" y="16524"/>
                  </a:lnTo>
                  <a:lnTo>
                    <a:pt x="10229" y="16918"/>
                  </a:lnTo>
                  <a:lnTo>
                    <a:pt x="12983" y="18098"/>
                  </a:lnTo>
                  <a:lnTo>
                    <a:pt x="15344" y="17704"/>
                  </a:lnTo>
                  <a:lnTo>
                    <a:pt x="14950" y="14950"/>
                  </a:lnTo>
                  <a:lnTo>
                    <a:pt x="11803" y="14163"/>
                  </a:lnTo>
                  <a:lnTo>
                    <a:pt x="10623" y="11409"/>
                  </a:lnTo>
                  <a:lnTo>
                    <a:pt x="9836" y="8262"/>
                  </a:lnTo>
                  <a:lnTo>
                    <a:pt x="7082" y="5901"/>
                  </a:lnTo>
                  <a:lnTo>
                    <a:pt x="393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28" name="Freeform: Shape 3122">
              <a:extLst>
                <a:ext uri="{FF2B5EF4-FFF2-40B4-BE49-F238E27FC236}">
                  <a16:creationId xmlns:a16="http://schemas.microsoft.com/office/drawing/2014/main" id="{B29AF066-52A8-43A4-8A0E-D77364E6DE68}"/>
                </a:ext>
              </a:extLst>
            </p:cNvPr>
            <p:cNvSpPr/>
            <p:nvPr/>
          </p:nvSpPr>
          <p:spPr>
            <a:xfrm>
              <a:off x="4120999" y="5368240"/>
              <a:ext cx="3934" cy="3934"/>
            </a:xfrm>
            <a:custGeom>
              <a:avLst/>
              <a:gdLst>
                <a:gd name="connsiteX0" fmla="*/ 5901 w 3934"/>
                <a:gd name="connsiteY0" fmla="*/ 3148 h 0"/>
                <a:gd name="connsiteX1" fmla="*/ 5508 w 3934"/>
                <a:gd name="connsiteY1" fmla="*/ 2361 h 0"/>
                <a:gd name="connsiteX2" fmla="*/ 2754 w 3934"/>
                <a:gd name="connsiteY2" fmla="*/ 0 h 0"/>
                <a:gd name="connsiteX3" fmla="*/ 0 w 3934"/>
                <a:gd name="connsiteY3" fmla="*/ 0 h 0"/>
                <a:gd name="connsiteX4" fmla="*/ 2754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3148"/>
                  </a:moveTo>
                  <a:lnTo>
                    <a:pt x="5508" y="2361"/>
                  </a:lnTo>
                  <a:lnTo>
                    <a:pt x="2754" y="0"/>
                  </a:lnTo>
                  <a:lnTo>
                    <a:pt x="0" y="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29" name="Freeform: Shape 3123">
              <a:extLst>
                <a:ext uri="{FF2B5EF4-FFF2-40B4-BE49-F238E27FC236}">
                  <a16:creationId xmlns:a16="http://schemas.microsoft.com/office/drawing/2014/main" id="{0D7C2192-DF58-474D-AE63-A41F10B66953}"/>
                </a:ext>
              </a:extLst>
            </p:cNvPr>
            <p:cNvSpPr/>
            <p:nvPr/>
          </p:nvSpPr>
          <p:spPr>
            <a:xfrm>
              <a:off x="4115098" y="5365093"/>
              <a:ext cx="3934" cy="3934"/>
            </a:xfrm>
            <a:custGeom>
              <a:avLst/>
              <a:gdLst>
                <a:gd name="connsiteX0" fmla="*/ 787 w 3934"/>
                <a:gd name="connsiteY0" fmla="*/ 0 h 3934"/>
                <a:gd name="connsiteX1" fmla="*/ 0 w 3934"/>
                <a:gd name="connsiteY1" fmla="*/ 2754 h 3934"/>
                <a:gd name="connsiteX2" fmla="*/ 2754 w 3934"/>
                <a:gd name="connsiteY2" fmla="*/ 3934 h 3934"/>
                <a:gd name="connsiteX3" fmla="*/ 5901 w 3934"/>
                <a:gd name="connsiteY3" fmla="*/ 5114 h 3934"/>
                <a:gd name="connsiteX4" fmla="*/ 6295 w 3934"/>
                <a:gd name="connsiteY4" fmla="*/ 3934 h 3934"/>
                <a:gd name="connsiteX5" fmla="*/ 3541 w 3934"/>
                <a:gd name="connsiteY5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787" y="0"/>
                  </a:moveTo>
                  <a:lnTo>
                    <a:pt x="0" y="2754"/>
                  </a:lnTo>
                  <a:lnTo>
                    <a:pt x="2754" y="3934"/>
                  </a:lnTo>
                  <a:lnTo>
                    <a:pt x="5901" y="5114"/>
                  </a:lnTo>
                  <a:lnTo>
                    <a:pt x="6295" y="3934"/>
                  </a:lnTo>
                  <a:lnTo>
                    <a:pt x="354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30" name="Freeform: Shape 3124">
              <a:extLst>
                <a:ext uri="{FF2B5EF4-FFF2-40B4-BE49-F238E27FC236}">
                  <a16:creationId xmlns:a16="http://schemas.microsoft.com/office/drawing/2014/main" id="{5CD41835-7720-4456-8C73-4D888FA4B12A}"/>
                </a:ext>
              </a:extLst>
            </p:cNvPr>
            <p:cNvSpPr/>
            <p:nvPr/>
          </p:nvSpPr>
          <p:spPr>
            <a:xfrm>
              <a:off x="4090312" y="5358404"/>
              <a:ext cx="11803" cy="7869"/>
            </a:xfrm>
            <a:custGeom>
              <a:avLst/>
              <a:gdLst>
                <a:gd name="connsiteX0" fmla="*/ 6295 w 11802"/>
                <a:gd name="connsiteY0" fmla="*/ 394 h 7868"/>
                <a:gd name="connsiteX1" fmla="*/ 3147 w 11802"/>
                <a:gd name="connsiteY1" fmla="*/ 0 h 7868"/>
                <a:gd name="connsiteX2" fmla="*/ 0 w 11802"/>
                <a:gd name="connsiteY2" fmla="*/ 394 h 7868"/>
                <a:gd name="connsiteX3" fmla="*/ 2360 w 11802"/>
                <a:gd name="connsiteY3" fmla="*/ 3148 h 7868"/>
                <a:gd name="connsiteX4" fmla="*/ 4721 w 11802"/>
                <a:gd name="connsiteY4" fmla="*/ 5901 h 7868"/>
                <a:gd name="connsiteX5" fmla="*/ 7475 w 11802"/>
                <a:gd name="connsiteY5" fmla="*/ 9049 h 7868"/>
                <a:gd name="connsiteX6" fmla="*/ 10229 w 11802"/>
                <a:gd name="connsiteY6" fmla="*/ 11016 h 7868"/>
                <a:gd name="connsiteX7" fmla="*/ 11016 w 11802"/>
                <a:gd name="connsiteY7" fmla="*/ 10229 h 7868"/>
                <a:gd name="connsiteX8" fmla="*/ 14163 w 11802"/>
                <a:gd name="connsiteY8" fmla="*/ 7869 h 7868"/>
                <a:gd name="connsiteX9" fmla="*/ 12590 w 11802"/>
                <a:gd name="connsiteY9" fmla="*/ 4721 h 7868"/>
                <a:gd name="connsiteX10" fmla="*/ 12196 w 11802"/>
                <a:gd name="connsiteY10" fmla="*/ 1967 h 7868"/>
                <a:gd name="connsiteX11" fmla="*/ 9049 w 11802"/>
                <a:gd name="connsiteY11" fmla="*/ 196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7868">
                  <a:moveTo>
                    <a:pt x="6295" y="394"/>
                  </a:moveTo>
                  <a:lnTo>
                    <a:pt x="3147" y="0"/>
                  </a:lnTo>
                  <a:lnTo>
                    <a:pt x="0" y="394"/>
                  </a:lnTo>
                  <a:lnTo>
                    <a:pt x="2360" y="3148"/>
                  </a:lnTo>
                  <a:lnTo>
                    <a:pt x="4721" y="5901"/>
                  </a:lnTo>
                  <a:lnTo>
                    <a:pt x="7475" y="9049"/>
                  </a:lnTo>
                  <a:lnTo>
                    <a:pt x="10229" y="11016"/>
                  </a:lnTo>
                  <a:lnTo>
                    <a:pt x="11016" y="10229"/>
                  </a:lnTo>
                  <a:lnTo>
                    <a:pt x="14163" y="7869"/>
                  </a:lnTo>
                  <a:lnTo>
                    <a:pt x="12590" y="4721"/>
                  </a:lnTo>
                  <a:lnTo>
                    <a:pt x="12196" y="1967"/>
                  </a:lnTo>
                  <a:lnTo>
                    <a:pt x="9049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31" name="Freeform: Shape 3125">
              <a:extLst>
                <a:ext uri="{FF2B5EF4-FFF2-40B4-BE49-F238E27FC236}">
                  <a16:creationId xmlns:a16="http://schemas.microsoft.com/office/drawing/2014/main" id="{92EF70D3-DB5D-417B-992A-EF4BD03DB141}"/>
                </a:ext>
              </a:extLst>
            </p:cNvPr>
            <p:cNvSpPr/>
            <p:nvPr/>
          </p:nvSpPr>
          <p:spPr>
            <a:xfrm>
              <a:off x="4108016" y="5360372"/>
              <a:ext cx="3934" cy="3934"/>
            </a:xfrm>
            <a:custGeom>
              <a:avLst/>
              <a:gdLst>
                <a:gd name="connsiteX0" fmla="*/ 4328 w 3934"/>
                <a:gd name="connsiteY0" fmla="*/ 5901 h 3934"/>
                <a:gd name="connsiteX1" fmla="*/ 5508 w 3934"/>
                <a:gd name="connsiteY1" fmla="*/ 4721 h 3934"/>
                <a:gd name="connsiteX2" fmla="*/ 5508 w 3934"/>
                <a:gd name="connsiteY2" fmla="*/ 1967 h 3934"/>
                <a:gd name="connsiteX3" fmla="*/ 2754 w 3934"/>
                <a:gd name="connsiteY3" fmla="*/ 0 h 3934"/>
                <a:gd name="connsiteX4" fmla="*/ 0 w 3934"/>
                <a:gd name="connsiteY4" fmla="*/ 0 h 3934"/>
                <a:gd name="connsiteX5" fmla="*/ 2360 w 3934"/>
                <a:gd name="connsiteY5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4328" y="5901"/>
                  </a:moveTo>
                  <a:lnTo>
                    <a:pt x="5508" y="4721"/>
                  </a:lnTo>
                  <a:lnTo>
                    <a:pt x="5508" y="1967"/>
                  </a:lnTo>
                  <a:lnTo>
                    <a:pt x="2754" y="0"/>
                  </a:lnTo>
                  <a:lnTo>
                    <a:pt x="0" y="0"/>
                  </a:lnTo>
                  <a:lnTo>
                    <a:pt x="236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32" name="Freeform: Shape 3126">
              <a:extLst>
                <a:ext uri="{FF2B5EF4-FFF2-40B4-BE49-F238E27FC236}">
                  <a16:creationId xmlns:a16="http://schemas.microsoft.com/office/drawing/2014/main" id="{676193FB-1705-4348-82CD-D88751B1C72D}"/>
                </a:ext>
              </a:extLst>
            </p:cNvPr>
            <p:cNvSpPr/>
            <p:nvPr/>
          </p:nvSpPr>
          <p:spPr>
            <a:xfrm>
              <a:off x="4089525" y="5348963"/>
              <a:ext cx="7869" cy="7869"/>
            </a:xfrm>
            <a:custGeom>
              <a:avLst/>
              <a:gdLst>
                <a:gd name="connsiteX0" fmla="*/ 0 w 7868"/>
                <a:gd name="connsiteY0" fmla="*/ 4328 h 7868"/>
                <a:gd name="connsiteX1" fmla="*/ 0 w 7868"/>
                <a:gd name="connsiteY1" fmla="*/ 7081 h 7868"/>
                <a:gd name="connsiteX2" fmla="*/ 3147 w 7868"/>
                <a:gd name="connsiteY2" fmla="*/ 5508 h 7868"/>
                <a:gd name="connsiteX3" fmla="*/ 5901 w 7868"/>
                <a:gd name="connsiteY3" fmla="*/ 7081 h 7868"/>
                <a:gd name="connsiteX4" fmla="*/ 9049 w 7868"/>
                <a:gd name="connsiteY4" fmla="*/ 8262 h 7868"/>
                <a:gd name="connsiteX5" fmla="*/ 9442 w 7868"/>
                <a:gd name="connsiteY5" fmla="*/ 8262 h 7868"/>
                <a:gd name="connsiteX6" fmla="*/ 9442 w 7868"/>
                <a:gd name="connsiteY6" fmla="*/ 5114 h 7868"/>
                <a:gd name="connsiteX7" fmla="*/ 9049 w 7868"/>
                <a:gd name="connsiteY7" fmla="*/ 2360 h 7868"/>
                <a:gd name="connsiteX8" fmla="*/ 5901 w 7868"/>
                <a:gd name="connsiteY8" fmla="*/ 0 h 7868"/>
                <a:gd name="connsiteX9" fmla="*/ 5114 w 7868"/>
                <a:gd name="connsiteY9" fmla="*/ 2754 h 7868"/>
                <a:gd name="connsiteX10" fmla="*/ 5901 w 7868"/>
                <a:gd name="connsiteY10" fmla="*/ 5508 h 7868"/>
                <a:gd name="connsiteX11" fmla="*/ 3147 w 7868"/>
                <a:gd name="connsiteY11" fmla="*/ 393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868" h="7868">
                  <a:moveTo>
                    <a:pt x="0" y="4328"/>
                  </a:moveTo>
                  <a:lnTo>
                    <a:pt x="0" y="7081"/>
                  </a:lnTo>
                  <a:lnTo>
                    <a:pt x="3147" y="5508"/>
                  </a:lnTo>
                  <a:lnTo>
                    <a:pt x="5901" y="7081"/>
                  </a:lnTo>
                  <a:lnTo>
                    <a:pt x="9049" y="8262"/>
                  </a:lnTo>
                  <a:lnTo>
                    <a:pt x="9442" y="8262"/>
                  </a:lnTo>
                  <a:lnTo>
                    <a:pt x="9442" y="5114"/>
                  </a:lnTo>
                  <a:lnTo>
                    <a:pt x="9049" y="2360"/>
                  </a:lnTo>
                  <a:lnTo>
                    <a:pt x="5901" y="0"/>
                  </a:lnTo>
                  <a:lnTo>
                    <a:pt x="5114" y="2754"/>
                  </a:lnTo>
                  <a:lnTo>
                    <a:pt x="5901" y="5508"/>
                  </a:lnTo>
                  <a:lnTo>
                    <a:pt x="3147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33" name="Freeform: Shape 3127">
              <a:extLst>
                <a:ext uri="{FF2B5EF4-FFF2-40B4-BE49-F238E27FC236}">
                  <a16:creationId xmlns:a16="http://schemas.microsoft.com/office/drawing/2014/main" id="{495A752E-7C5D-4A85-B54C-AA2179FD999A}"/>
                </a:ext>
              </a:extLst>
            </p:cNvPr>
            <p:cNvSpPr/>
            <p:nvPr/>
          </p:nvSpPr>
          <p:spPr>
            <a:xfrm>
              <a:off x="4108016" y="5348963"/>
              <a:ext cx="11803" cy="3934"/>
            </a:xfrm>
            <a:custGeom>
              <a:avLst/>
              <a:gdLst>
                <a:gd name="connsiteX0" fmla="*/ 4721 w 11802"/>
                <a:gd name="connsiteY0" fmla="*/ 5114 h 3934"/>
                <a:gd name="connsiteX1" fmla="*/ 5508 w 11802"/>
                <a:gd name="connsiteY1" fmla="*/ 5114 h 3934"/>
                <a:gd name="connsiteX2" fmla="*/ 8655 w 11802"/>
                <a:gd name="connsiteY2" fmla="*/ 4328 h 3934"/>
                <a:gd name="connsiteX3" fmla="*/ 11409 w 11802"/>
                <a:gd name="connsiteY3" fmla="*/ 4328 h 3934"/>
                <a:gd name="connsiteX4" fmla="*/ 14557 w 11802"/>
                <a:gd name="connsiteY4" fmla="*/ 2360 h 3934"/>
                <a:gd name="connsiteX5" fmla="*/ 11803 w 11802"/>
                <a:gd name="connsiteY5" fmla="*/ 1180 h 3934"/>
                <a:gd name="connsiteX6" fmla="*/ 8655 w 11802"/>
                <a:gd name="connsiteY6" fmla="*/ 787 h 3934"/>
                <a:gd name="connsiteX7" fmla="*/ 5508 w 11802"/>
                <a:gd name="connsiteY7" fmla="*/ 0 h 3934"/>
                <a:gd name="connsiteX8" fmla="*/ 2754 w 11802"/>
                <a:gd name="connsiteY8" fmla="*/ 1180 h 3934"/>
                <a:gd name="connsiteX9" fmla="*/ 0 w 11802"/>
                <a:gd name="connsiteY9" fmla="*/ 1180 h 3934"/>
                <a:gd name="connsiteX10" fmla="*/ 1574 w 11802"/>
                <a:gd name="connsiteY10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3934">
                  <a:moveTo>
                    <a:pt x="4721" y="5114"/>
                  </a:moveTo>
                  <a:lnTo>
                    <a:pt x="5508" y="5114"/>
                  </a:lnTo>
                  <a:lnTo>
                    <a:pt x="8655" y="4328"/>
                  </a:lnTo>
                  <a:lnTo>
                    <a:pt x="11409" y="4328"/>
                  </a:lnTo>
                  <a:lnTo>
                    <a:pt x="14557" y="2360"/>
                  </a:lnTo>
                  <a:lnTo>
                    <a:pt x="11803" y="1180"/>
                  </a:lnTo>
                  <a:lnTo>
                    <a:pt x="8655" y="787"/>
                  </a:lnTo>
                  <a:lnTo>
                    <a:pt x="5508" y="0"/>
                  </a:lnTo>
                  <a:lnTo>
                    <a:pt x="2754" y="1180"/>
                  </a:lnTo>
                  <a:lnTo>
                    <a:pt x="0" y="1180"/>
                  </a:lnTo>
                  <a:lnTo>
                    <a:pt x="1574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34" name="Freeform: Shape 3128">
              <a:extLst>
                <a:ext uri="{FF2B5EF4-FFF2-40B4-BE49-F238E27FC236}">
                  <a16:creationId xmlns:a16="http://schemas.microsoft.com/office/drawing/2014/main" id="{F5130816-7DB6-49C6-979E-46621991F381}"/>
                </a:ext>
              </a:extLst>
            </p:cNvPr>
            <p:cNvSpPr/>
            <p:nvPr/>
          </p:nvSpPr>
          <p:spPr>
            <a:xfrm>
              <a:off x="4104475" y="5408763"/>
              <a:ext cx="11803" cy="7869"/>
            </a:xfrm>
            <a:custGeom>
              <a:avLst/>
              <a:gdLst>
                <a:gd name="connsiteX0" fmla="*/ 14163 w 11802"/>
                <a:gd name="connsiteY0" fmla="*/ 9049 h 7868"/>
                <a:gd name="connsiteX1" fmla="*/ 14163 w 11802"/>
                <a:gd name="connsiteY1" fmla="*/ 8655 h 7868"/>
                <a:gd name="connsiteX2" fmla="*/ 11803 w 11802"/>
                <a:gd name="connsiteY2" fmla="*/ 5901 h 7868"/>
                <a:gd name="connsiteX3" fmla="*/ 8655 w 11802"/>
                <a:gd name="connsiteY3" fmla="*/ 3148 h 7868"/>
                <a:gd name="connsiteX4" fmla="*/ 5901 w 11802"/>
                <a:gd name="connsiteY4" fmla="*/ 393 h 7868"/>
                <a:gd name="connsiteX5" fmla="*/ 2754 w 11802"/>
                <a:gd name="connsiteY5" fmla="*/ 0 h 7868"/>
                <a:gd name="connsiteX6" fmla="*/ 0 w 11802"/>
                <a:gd name="connsiteY6" fmla="*/ 0 h 7868"/>
                <a:gd name="connsiteX7" fmla="*/ 1180 w 11802"/>
                <a:gd name="connsiteY7" fmla="*/ 2754 h 7868"/>
                <a:gd name="connsiteX8" fmla="*/ 3934 w 11802"/>
                <a:gd name="connsiteY8" fmla="*/ 5508 h 7868"/>
                <a:gd name="connsiteX9" fmla="*/ 7082 w 11802"/>
                <a:gd name="connsiteY9" fmla="*/ 3934 h 7868"/>
                <a:gd name="connsiteX10" fmla="*/ 8262 w 11802"/>
                <a:gd name="connsiteY10" fmla="*/ 7082 h 7868"/>
                <a:gd name="connsiteX11" fmla="*/ 11016 w 11802"/>
                <a:gd name="connsiteY11" fmla="*/ 708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7868">
                  <a:moveTo>
                    <a:pt x="14163" y="9049"/>
                  </a:moveTo>
                  <a:lnTo>
                    <a:pt x="14163" y="8655"/>
                  </a:lnTo>
                  <a:lnTo>
                    <a:pt x="11803" y="5901"/>
                  </a:lnTo>
                  <a:lnTo>
                    <a:pt x="8655" y="3148"/>
                  </a:lnTo>
                  <a:lnTo>
                    <a:pt x="5901" y="393"/>
                  </a:lnTo>
                  <a:lnTo>
                    <a:pt x="2754" y="0"/>
                  </a:lnTo>
                  <a:lnTo>
                    <a:pt x="0" y="0"/>
                  </a:lnTo>
                  <a:lnTo>
                    <a:pt x="1180" y="2754"/>
                  </a:lnTo>
                  <a:lnTo>
                    <a:pt x="3934" y="5508"/>
                  </a:lnTo>
                  <a:lnTo>
                    <a:pt x="7082" y="3934"/>
                  </a:lnTo>
                  <a:lnTo>
                    <a:pt x="8262" y="7082"/>
                  </a:lnTo>
                  <a:lnTo>
                    <a:pt x="11016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35" name="Freeform: Shape 3129">
              <a:extLst>
                <a:ext uri="{FF2B5EF4-FFF2-40B4-BE49-F238E27FC236}">
                  <a16:creationId xmlns:a16="http://schemas.microsoft.com/office/drawing/2014/main" id="{DD933A8A-D306-41DB-9A07-C5330E4FAA96}"/>
                </a:ext>
              </a:extLst>
            </p:cNvPr>
            <p:cNvSpPr/>
            <p:nvPr/>
          </p:nvSpPr>
          <p:spPr>
            <a:xfrm>
              <a:off x="4130835" y="5402468"/>
              <a:ext cx="3934" cy="3934"/>
            </a:xfrm>
            <a:custGeom>
              <a:avLst/>
              <a:gdLst>
                <a:gd name="connsiteX0" fmla="*/ 3147 w 3934"/>
                <a:gd name="connsiteY0" fmla="*/ 5901 h 3934"/>
                <a:gd name="connsiteX1" fmla="*/ 5508 w 3934"/>
                <a:gd name="connsiteY1" fmla="*/ 3934 h 3934"/>
                <a:gd name="connsiteX2" fmla="*/ 2754 w 3934"/>
                <a:gd name="connsiteY2" fmla="*/ 1180 h 3934"/>
                <a:gd name="connsiteX3" fmla="*/ 0 w 3934"/>
                <a:gd name="connsiteY3" fmla="*/ 0 h 3934"/>
                <a:gd name="connsiteX4" fmla="*/ 1180 w 3934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147" y="5901"/>
                  </a:moveTo>
                  <a:lnTo>
                    <a:pt x="5508" y="3934"/>
                  </a:lnTo>
                  <a:lnTo>
                    <a:pt x="2754" y="1180"/>
                  </a:lnTo>
                  <a:lnTo>
                    <a:pt x="0" y="0"/>
                  </a:lnTo>
                  <a:lnTo>
                    <a:pt x="118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36" name="Freeform: Shape 3130">
              <a:extLst>
                <a:ext uri="{FF2B5EF4-FFF2-40B4-BE49-F238E27FC236}">
                  <a16:creationId xmlns:a16="http://schemas.microsoft.com/office/drawing/2014/main" id="{9867AA6D-47EE-4703-99D5-C9F31B84E83B}"/>
                </a:ext>
              </a:extLst>
            </p:cNvPr>
            <p:cNvSpPr/>
            <p:nvPr/>
          </p:nvSpPr>
          <p:spPr>
            <a:xfrm>
              <a:off x="4102115" y="5404436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0 w 0"/>
                <a:gd name="connsiteY1" fmla="*/ 0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0" y="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37" name="Freeform: Shape 3131">
              <a:extLst>
                <a:ext uri="{FF2B5EF4-FFF2-40B4-BE49-F238E27FC236}">
                  <a16:creationId xmlns:a16="http://schemas.microsoft.com/office/drawing/2014/main" id="{2F940825-3D0D-43F0-A07D-CAD3EB53805B}"/>
                </a:ext>
              </a:extLst>
            </p:cNvPr>
            <p:cNvSpPr/>
            <p:nvPr/>
          </p:nvSpPr>
          <p:spPr>
            <a:xfrm>
              <a:off x="4106049" y="5389485"/>
              <a:ext cx="7869" cy="7869"/>
            </a:xfrm>
            <a:custGeom>
              <a:avLst/>
              <a:gdLst>
                <a:gd name="connsiteX0" fmla="*/ 8655 w 7868"/>
                <a:gd name="connsiteY0" fmla="*/ 7869 h 7868"/>
                <a:gd name="connsiteX1" fmla="*/ 9049 w 7868"/>
                <a:gd name="connsiteY1" fmla="*/ 6295 h 7868"/>
                <a:gd name="connsiteX2" fmla="*/ 8655 w 7868"/>
                <a:gd name="connsiteY2" fmla="*/ 3148 h 7868"/>
                <a:gd name="connsiteX3" fmla="*/ 5901 w 7868"/>
                <a:gd name="connsiteY3" fmla="*/ 0 h 7868"/>
                <a:gd name="connsiteX4" fmla="*/ 2754 w 7868"/>
                <a:gd name="connsiteY4" fmla="*/ 0 h 7868"/>
                <a:gd name="connsiteX5" fmla="*/ 0 w 7868"/>
                <a:gd name="connsiteY5" fmla="*/ 787 h 7868"/>
                <a:gd name="connsiteX6" fmla="*/ 0 w 7868"/>
                <a:gd name="connsiteY6" fmla="*/ 3541 h 7868"/>
                <a:gd name="connsiteX7" fmla="*/ 2754 w 7868"/>
                <a:gd name="connsiteY7" fmla="*/ 4328 h 7868"/>
                <a:gd name="connsiteX8" fmla="*/ 5901 w 7868"/>
                <a:gd name="connsiteY8" fmla="*/ 550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7868">
                  <a:moveTo>
                    <a:pt x="8655" y="7869"/>
                  </a:moveTo>
                  <a:lnTo>
                    <a:pt x="9049" y="6295"/>
                  </a:lnTo>
                  <a:lnTo>
                    <a:pt x="8655" y="3148"/>
                  </a:lnTo>
                  <a:lnTo>
                    <a:pt x="5901" y="0"/>
                  </a:lnTo>
                  <a:lnTo>
                    <a:pt x="2754" y="0"/>
                  </a:lnTo>
                  <a:lnTo>
                    <a:pt x="0" y="787"/>
                  </a:lnTo>
                  <a:lnTo>
                    <a:pt x="0" y="3541"/>
                  </a:lnTo>
                  <a:lnTo>
                    <a:pt x="2754" y="4328"/>
                  </a:lnTo>
                  <a:lnTo>
                    <a:pt x="5901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38" name="Freeform: Shape 3132">
              <a:extLst>
                <a:ext uri="{FF2B5EF4-FFF2-40B4-BE49-F238E27FC236}">
                  <a16:creationId xmlns:a16="http://schemas.microsoft.com/office/drawing/2014/main" id="{8A49ACC4-D516-4FA0-A7B8-E23D27D4C252}"/>
                </a:ext>
              </a:extLst>
            </p:cNvPr>
            <p:cNvSpPr/>
            <p:nvPr/>
          </p:nvSpPr>
          <p:spPr>
            <a:xfrm>
              <a:off x="4095820" y="5388305"/>
              <a:ext cx="3934" cy="7869"/>
            </a:xfrm>
            <a:custGeom>
              <a:avLst/>
              <a:gdLst>
                <a:gd name="connsiteX0" fmla="*/ 7082 w 3934"/>
                <a:gd name="connsiteY0" fmla="*/ 4328 h 7868"/>
                <a:gd name="connsiteX1" fmla="*/ 6295 w 3934"/>
                <a:gd name="connsiteY1" fmla="*/ 1573 h 7868"/>
                <a:gd name="connsiteX2" fmla="*/ 3541 w 3934"/>
                <a:gd name="connsiteY2" fmla="*/ 0 h 7868"/>
                <a:gd name="connsiteX3" fmla="*/ 3148 w 3934"/>
                <a:gd name="connsiteY3" fmla="*/ 2754 h 7868"/>
                <a:gd name="connsiteX4" fmla="*/ 0 w 3934"/>
                <a:gd name="connsiteY4" fmla="*/ 4721 h 7868"/>
                <a:gd name="connsiteX5" fmla="*/ 1574 w 3934"/>
                <a:gd name="connsiteY5" fmla="*/ 7475 h 7868"/>
                <a:gd name="connsiteX6" fmla="*/ 4328 w 3934"/>
                <a:gd name="connsiteY6" fmla="*/ 8655 h 7868"/>
                <a:gd name="connsiteX7" fmla="*/ 4721 w 3934"/>
                <a:gd name="connsiteY7" fmla="*/ 8262 h 7868"/>
                <a:gd name="connsiteX8" fmla="*/ 4328 w 3934"/>
                <a:gd name="connsiteY8" fmla="*/ 550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7082" y="4328"/>
                  </a:moveTo>
                  <a:lnTo>
                    <a:pt x="6295" y="1573"/>
                  </a:lnTo>
                  <a:lnTo>
                    <a:pt x="3541" y="0"/>
                  </a:lnTo>
                  <a:lnTo>
                    <a:pt x="3148" y="2754"/>
                  </a:lnTo>
                  <a:lnTo>
                    <a:pt x="0" y="4721"/>
                  </a:lnTo>
                  <a:lnTo>
                    <a:pt x="1574" y="7475"/>
                  </a:lnTo>
                  <a:lnTo>
                    <a:pt x="4328" y="8655"/>
                  </a:lnTo>
                  <a:lnTo>
                    <a:pt x="4721" y="8262"/>
                  </a:lnTo>
                  <a:lnTo>
                    <a:pt x="4328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39" name="Freeform: Shape 3133">
              <a:extLst>
                <a:ext uri="{FF2B5EF4-FFF2-40B4-BE49-F238E27FC236}">
                  <a16:creationId xmlns:a16="http://schemas.microsoft.com/office/drawing/2014/main" id="{D058A3C4-DD58-41A1-8C9B-A2F1A644925B}"/>
                </a:ext>
              </a:extLst>
            </p:cNvPr>
            <p:cNvSpPr/>
            <p:nvPr/>
          </p:nvSpPr>
          <p:spPr>
            <a:xfrm>
              <a:off x="4091099" y="5382404"/>
              <a:ext cx="11803" cy="7869"/>
            </a:xfrm>
            <a:custGeom>
              <a:avLst/>
              <a:gdLst>
                <a:gd name="connsiteX0" fmla="*/ 7475 w 11802"/>
                <a:gd name="connsiteY0" fmla="*/ 5114 h 7868"/>
                <a:gd name="connsiteX1" fmla="*/ 10229 w 11802"/>
                <a:gd name="connsiteY1" fmla="*/ 5114 h 7868"/>
                <a:gd name="connsiteX2" fmla="*/ 12983 w 11802"/>
                <a:gd name="connsiteY2" fmla="*/ 8262 h 7868"/>
                <a:gd name="connsiteX3" fmla="*/ 12589 w 11802"/>
                <a:gd name="connsiteY3" fmla="*/ 5901 h 7868"/>
                <a:gd name="connsiteX4" fmla="*/ 10229 w 11802"/>
                <a:gd name="connsiteY4" fmla="*/ 3147 h 7868"/>
                <a:gd name="connsiteX5" fmla="*/ 7475 w 11802"/>
                <a:gd name="connsiteY5" fmla="*/ 3147 h 7868"/>
                <a:gd name="connsiteX6" fmla="*/ 5508 w 11802"/>
                <a:gd name="connsiteY6" fmla="*/ 0 h 7868"/>
                <a:gd name="connsiteX7" fmla="*/ 2754 w 11802"/>
                <a:gd name="connsiteY7" fmla="*/ 393 h 7868"/>
                <a:gd name="connsiteX8" fmla="*/ 0 w 11802"/>
                <a:gd name="connsiteY8" fmla="*/ 1967 h 7868"/>
                <a:gd name="connsiteX9" fmla="*/ 1574 w 11802"/>
                <a:gd name="connsiteY9" fmla="*/ 4721 h 7868"/>
                <a:gd name="connsiteX10" fmla="*/ 4328 w 11802"/>
                <a:gd name="connsiteY10" fmla="*/ 511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7868">
                  <a:moveTo>
                    <a:pt x="7475" y="5114"/>
                  </a:moveTo>
                  <a:lnTo>
                    <a:pt x="10229" y="5114"/>
                  </a:lnTo>
                  <a:lnTo>
                    <a:pt x="12983" y="8262"/>
                  </a:lnTo>
                  <a:lnTo>
                    <a:pt x="12589" y="5901"/>
                  </a:lnTo>
                  <a:lnTo>
                    <a:pt x="10229" y="3147"/>
                  </a:lnTo>
                  <a:lnTo>
                    <a:pt x="7475" y="3147"/>
                  </a:lnTo>
                  <a:lnTo>
                    <a:pt x="5508" y="0"/>
                  </a:lnTo>
                  <a:lnTo>
                    <a:pt x="2754" y="393"/>
                  </a:lnTo>
                  <a:lnTo>
                    <a:pt x="0" y="1967"/>
                  </a:lnTo>
                  <a:lnTo>
                    <a:pt x="1574" y="4721"/>
                  </a:lnTo>
                  <a:lnTo>
                    <a:pt x="4328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40" name="Freeform: Shape 3134">
              <a:extLst>
                <a:ext uri="{FF2B5EF4-FFF2-40B4-BE49-F238E27FC236}">
                  <a16:creationId xmlns:a16="http://schemas.microsoft.com/office/drawing/2014/main" id="{064ABAE2-21D7-45E3-8B7A-B371C9EEFC36}"/>
                </a:ext>
              </a:extLst>
            </p:cNvPr>
            <p:cNvSpPr/>
            <p:nvPr/>
          </p:nvSpPr>
          <p:spPr>
            <a:xfrm>
              <a:off x="4098967" y="5382010"/>
              <a:ext cx="7869" cy="3934"/>
            </a:xfrm>
            <a:custGeom>
              <a:avLst/>
              <a:gdLst>
                <a:gd name="connsiteX0" fmla="*/ 3147 w 7868"/>
                <a:gd name="connsiteY0" fmla="*/ 394 h 3934"/>
                <a:gd name="connsiteX1" fmla="*/ 0 w 7868"/>
                <a:gd name="connsiteY1" fmla="*/ 0 h 3934"/>
                <a:gd name="connsiteX2" fmla="*/ 2754 w 7868"/>
                <a:gd name="connsiteY2" fmla="*/ 2754 h 3934"/>
                <a:gd name="connsiteX3" fmla="*/ 5114 w 7868"/>
                <a:gd name="connsiteY3" fmla="*/ 5901 h 3934"/>
                <a:gd name="connsiteX4" fmla="*/ 5508 w 7868"/>
                <a:gd name="connsiteY4" fmla="*/ 5901 h 3934"/>
                <a:gd name="connsiteX5" fmla="*/ 8262 w 7868"/>
                <a:gd name="connsiteY5" fmla="*/ 4721 h 3934"/>
                <a:gd name="connsiteX6" fmla="*/ 5901 w 7868"/>
                <a:gd name="connsiteY6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3147" y="394"/>
                  </a:moveTo>
                  <a:lnTo>
                    <a:pt x="0" y="0"/>
                  </a:lnTo>
                  <a:lnTo>
                    <a:pt x="2754" y="2754"/>
                  </a:lnTo>
                  <a:lnTo>
                    <a:pt x="5114" y="5901"/>
                  </a:lnTo>
                  <a:lnTo>
                    <a:pt x="5508" y="5901"/>
                  </a:lnTo>
                  <a:lnTo>
                    <a:pt x="8262" y="4721"/>
                  </a:lnTo>
                  <a:lnTo>
                    <a:pt x="5901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41" name="Freeform: Shape 3135">
              <a:extLst>
                <a:ext uri="{FF2B5EF4-FFF2-40B4-BE49-F238E27FC236}">
                  <a16:creationId xmlns:a16="http://schemas.microsoft.com/office/drawing/2014/main" id="{5952D28F-98B5-41CF-B2C6-8873D90B64C0}"/>
                </a:ext>
              </a:extLst>
            </p:cNvPr>
            <p:cNvSpPr/>
            <p:nvPr/>
          </p:nvSpPr>
          <p:spPr>
            <a:xfrm>
              <a:off x="4174505" y="5462269"/>
              <a:ext cx="3934" cy="3934"/>
            </a:xfrm>
            <a:custGeom>
              <a:avLst/>
              <a:gdLst>
                <a:gd name="connsiteX0" fmla="*/ 3148 w 0"/>
                <a:gd name="connsiteY0" fmla="*/ 3934 h 3934"/>
                <a:gd name="connsiteX1" fmla="*/ 2754 w 0"/>
                <a:gd name="connsiteY1" fmla="*/ 1180 h 3934"/>
                <a:gd name="connsiteX2" fmla="*/ 0 w 0"/>
                <a:gd name="connsiteY2" fmla="*/ 0 h 3934"/>
                <a:gd name="connsiteX3" fmla="*/ 394 w 0"/>
                <a:gd name="connsiteY3" fmla="*/ 314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148" y="3934"/>
                  </a:moveTo>
                  <a:lnTo>
                    <a:pt x="2754" y="1180"/>
                  </a:lnTo>
                  <a:lnTo>
                    <a:pt x="0" y="0"/>
                  </a:lnTo>
                  <a:lnTo>
                    <a:pt x="394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42" name="Freeform: Shape 3136">
              <a:extLst>
                <a:ext uri="{FF2B5EF4-FFF2-40B4-BE49-F238E27FC236}">
                  <a16:creationId xmlns:a16="http://schemas.microsoft.com/office/drawing/2014/main" id="{B8BABCBB-CFE2-4AD6-860B-D7B3CE5796F3}"/>
                </a:ext>
              </a:extLst>
            </p:cNvPr>
            <p:cNvSpPr/>
            <p:nvPr/>
          </p:nvSpPr>
          <p:spPr>
            <a:xfrm>
              <a:off x="4156801" y="5452433"/>
              <a:ext cx="3934" cy="7869"/>
            </a:xfrm>
            <a:custGeom>
              <a:avLst/>
              <a:gdLst>
                <a:gd name="connsiteX0" fmla="*/ 5508 w 3934"/>
                <a:gd name="connsiteY0" fmla="*/ 8656 h 7868"/>
                <a:gd name="connsiteX1" fmla="*/ 7475 w 3934"/>
                <a:gd name="connsiteY1" fmla="*/ 7869 h 7868"/>
                <a:gd name="connsiteX2" fmla="*/ 5508 w 3934"/>
                <a:gd name="connsiteY2" fmla="*/ 5115 h 7868"/>
                <a:gd name="connsiteX3" fmla="*/ 3148 w 3934"/>
                <a:gd name="connsiteY3" fmla="*/ 2360 h 7868"/>
                <a:gd name="connsiteX4" fmla="*/ 0 w 3934"/>
                <a:gd name="connsiteY4" fmla="*/ 0 h 7868"/>
                <a:gd name="connsiteX5" fmla="*/ 1574 w 3934"/>
                <a:gd name="connsiteY5" fmla="*/ 2754 h 7868"/>
                <a:gd name="connsiteX6" fmla="*/ 3541 w 3934"/>
                <a:gd name="connsiteY6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5508" y="8656"/>
                  </a:moveTo>
                  <a:lnTo>
                    <a:pt x="7475" y="7869"/>
                  </a:lnTo>
                  <a:lnTo>
                    <a:pt x="5508" y="5115"/>
                  </a:lnTo>
                  <a:lnTo>
                    <a:pt x="3148" y="2360"/>
                  </a:lnTo>
                  <a:lnTo>
                    <a:pt x="0" y="0"/>
                  </a:lnTo>
                  <a:lnTo>
                    <a:pt x="1574" y="2754"/>
                  </a:lnTo>
                  <a:lnTo>
                    <a:pt x="3541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43" name="Freeform: Shape 3137">
              <a:extLst>
                <a:ext uri="{FF2B5EF4-FFF2-40B4-BE49-F238E27FC236}">
                  <a16:creationId xmlns:a16="http://schemas.microsoft.com/office/drawing/2014/main" id="{6E75A9D5-ACF7-4063-B996-BF60776D8EB5}"/>
                </a:ext>
              </a:extLst>
            </p:cNvPr>
            <p:cNvSpPr/>
            <p:nvPr/>
          </p:nvSpPr>
          <p:spPr>
            <a:xfrm>
              <a:off x="4152867" y="5454794"/>
              <a:ext cx="3934" cy="3934"/>
            </a:xfrm>
            <a:custGeom>
              <a:avLst/>
              <a:gdLst>
                <a:gd name="connsiteX0" fmla="*/ 1180 w 3934"/>
                <a:gd name="connsiteY0" fmla="*/ 0 h 3934"/>
                <a:gd name="connsiteX1" fmla="*/ 0 w 3934"/>
                <a:gd name="connsiteY1" fmla="*/ 2754 h 3934"/>
                <a:gd name="connsiteX2" fmla="*/ 2754 w 3934"/>
                <a:gd name="connsiteY2" fmla="*/ 4721 h 3934"/>
                <a:gd name="connsiteX3" fmla="*/ 5508 w 3934"/>
                <a:gd name="connsiteY3" fmla="*/ 5901 h 3934"/>
                <a:gd name="connsiteX4" fmla="*/ 5901 w 3934"/>
                <a:gd name="connsiteY4" fmla="*/ 3541 h 3934"/>
                <a:gd name="connsiteX5" fmla="*/ 3148 w 3934"/>
                <a:gd name="connsiteY5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1180" y="0"/>
                  </a:moveTo>
                  <a:lnTo>
                    <a:pt x="0" y="2754"/>
                  </a:lnTo>
                  <a:lnTo>
                    <a:pt x="2754" y="4721"/>
                  </a:lnTo>
                  <a:lnTo>
                    <a:pt x="5508" y="5901"/>
                  </a:lnTo>
                  <a:lnTo>
                    <a:pt x="5901" y="3541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44" name="Freeform: Shape 3138">
              <a:extLst>
                <a:ext uri="{FF2B5EF4-FFF2-40B4-BE49-F238E27FC236}">
                  <a16:creationId xmlns:a16="http://schemas.microsoft.com/office/drawing/2014/main" id="{524D4FAA-B5D8-4571-A191-14EB8322D773}"/>
                </a:ext>
              </a:extLst>
            </p:cNvPr>
            <p:cNvSpPr/>
            <p:nvPr/>
          </p:nvSpPr>
          <p:spPr>
            <a:xfrm>
              <a:off x="4142638" y="5457548"/>
              <a:ext cx="3934" cy="3934"/>
            </a:xfrm>
            <a:custGeom>
              <a:avLst/>
              <a:gdLst>
                <a:gd name="connsiteX0" fmla="*/ 0 w 0"/>
                <a:gd name="connsiteY0" fmla="*/ 1967 h 0"/>
                <a:gd name="connsiteX1" fmla="*/ 2754 w 0"/>
                <a:gd name="connsiteY1" fmla="*/ 0 h 0"/>
                <a:gd name="connsiteX2" fmla="*/ 0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967"/>
                  </a:moveTo>
                  <a:lnTo>
                    <a:pt x="2754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45" name="Freeform: Shape 3139">
              <a:extLst>
                <a:ext uri="{FF2B5EF4-FFF2-40B4-BE49-F238E27FC236}">
                  <a16:creationId xmlns:a16="http://schemas.microsoft.com/office/drawing/2014/main" id="{0476490A-A361-4CBE-8EC0-5FEC44882FDB}"/>
                </a:ext>
              </a:extLst>
            </p:cNvPr>
            <p:cNvSpPr/>
            <p:nvPr/>
          </p:nvSpPr>
          <p:spPr>
            <a:xfrm>
              <a:off x="4140277" y="5445745"/>
              <a:ext cx="15737" cy="11803"/>
            </a:xfrm>
            <a:custGeom>
              <a:avLst/>
              <a:gdLst>
                <a:gd name="connsiteX0" fmla="*/ 9049 w 15737"/>
                <a:gd name="connsiteY0" fmla="*/ 11803 h 11802"/>
                <a:gd name="connsiteX1" fmla="*/ 11016 w 15737"/>
                <a:gd name="connsiteY1" fmla="*/ 9442 h 11802"/>
                <a:gd name="connsiteX2" fmla="*/ 14163 w 15737"/>
                <a:gd name="connsiteY2" fmla="*/ 8262 h 11802"/>
                <a:gd name="connsiteX3" fmla="*/ 16917 w 15737"/>
                <a:gd name="connsiteY3" fmla="*/ 9049 h 11802"/>
                <a:gd name="connsiteX4" fmla="*/ 14163 w 15737"/>
                <a:gd name="connsiteY4" fmla="*/ 6295 h 11802"/>
                <a:gd name="connsiteX5" fmla="*/ 13376 w 15737"/>
                <a:gd name="connsiteY5" fmla="*/ 3147 h 11802"/>
                <a:gd name="connsiteX6" fmla="*/ 10622 w 15737"/>
                <a:gd name="connsiteY6" fmla="*/ 1574 h 11802"/>
                <a:gd name="connsiteX7" fmla="*/ 7475 w 15737"/>
                <a:gd name="connsiteY7" fmla="*/ 0 h 11802"/>
                <a:gd name="connsiteX8" fmla="*/ 4721 w 15737"/>
                <a:gd name="connsiteY8" fmla="*/ 0 h 11802"/>
                <a:gd name="connsiteX9" fmla="*/ 7082 w 15737"/>
                <a:gd name="connsiteY9" fmla="*/ 3147 h 11802"/>
                <a:gd name="connsiteX10" fmla="*/ 9049 w 15737"/>
                <a:gd name="connsiteY10" fmla="*/ 5901 h 11802"/>
                <a:gd name="connsiteX11" fmla="*/ 5901 w 15737"/>
                <a:gd name="connsiteY11" fmla="*/ 5508 h 11802"/>
                <a:gd name="connsiteX12" fmla="*/ 3147 w 15737"/>
                <a:gd name="connsiteY12" fmla="*/ 4721 h 11802"/>
                <a:gd name="connsiteX13" fmla="*/ 0 w 15737"/>
                <a:gd name="connsiteY13" fmla="*/ 4721 h 11802"/>
                <a:gd name="connsiteX14" fmla="*/ 1180 w 15737"/>
                <a:gd name="connsiteY14" fmla="*/ 7475 h 11802"/>
                <a:gd name="connsiteX15" fmla="*/ 3934 w 15737"/>
                <a:gd name="connsiteY15" fmla="*/ 7475 h 11802"/>
                <a:gd name="connsiteX16" fmla="*/ 5901 w 15737"/>
                <a:gd name="connsiteY16" fmla="*/ 10622 h 11802"/>
                <a:gd name="connsiteX17" fmla="*/ 8655 w 15737"/>
                <a:gd name="connsiteY17" fmla="*/ 865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5737" h="11802">
                  <a:moveTo>
                    <a:pt x="9049" y="11803"/>
                  </a:moveTo>
                  <a:lnTo>
                    <a:pt x="11016" y="9442"/>
                  </a:lnTo>
                  <a:lnTo>
                    <a:pt x="14163" y="8262"/>
                  </a:lnTo>
                  <a:lnTo>
                    <a:pt x="16917" y="9049"/>
                  </a:lnTo>
                  <a:lnTo>
                    <a:pt x="14163" y="6295"/>
                  </a:lnTo>
                  <a:lnTo>
                    <a:pt x="13376" y="3147"/>
                  </a:lnTo>
                  <a:lnTo>
                    <a:pt x="10622" y="1574"/>
                  </a:lnTo>
                  <a:lnTo>
                    <a:pt x="7475" y="0"/>
                  </a:lnTo>
                  <a:lnTo>
                    <a:pt x="4721" y="0"/>
                  </a:lnTo>
                  <a:lnTo>
                    <a:pt x="7082" y="3147"/>
                  </a:lnTo>
                  <a:lnTo>
                    <a:pt x="9049" y="5901"/>
                  </a:lnTo>
                  <a:lnTo>
                    <a:pt x="5901" y="5508"/>
                  </a:lnTo>
                  <a:lnTo>
                    <a:pt x="3147" y="4721"/>
                  </a:lnTo>
                  <a:lnTo>
                    <a:pt x="0" y="4721"/>
                  </a:lnTo>
                  <a:lnTo>
                    <a:pt x="1180" y="7475"/>
                  </a:lnTo>
                  <a:lnTo>
                    <a:pt x="3934" y="7475"/>
                  </a:lnTo>
                  <a:lnTo>
                    <a:pt x="5901" y="10622"/>
                  </a:lnTo>
                  <a:lnTo>
                    <a:pt x="8655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46" name="Freeform: Shape 3140">
              <a:extLst>
                <a:ext uri="{FF2B5EF4-FFF2-40B4-BE49-F238E27FC236}">
                  <a16:creationId xmlns:a16="http://schemas.microsoft.com/office/drawing/2014/main" id="{55DBF648-5BE7-4B13-B01D-EFEA2E1E891C}"/>
                </a:ext>
              </a:extLst>
            </p:cNvPr>
            <p:cNvSpPr/>
            <p:nvPr/>
          </p:nvSpPr>
          <p:spPr>
            <a:xfrm>
              <a:off x="4137917" y="5443385"/>
              <a:ext cx="7869" cy="3934"/>
            </a:xfrm>
            <a:custGeom>
              <a:avLst/>
              <a:gdLst>
                <a:gd name="connsiteX0" fmla="*/ 2361 w 7868"/>
                <a:gd name="connsiteY0" fmla="*/ 5901 h 3934"/>
                <a:gd name="connsiteX1" fmla="*/ 5508 w 7868"/>
                <a:gd name="connsiteY1" fmla="*/ 6688 h 3934"/>
                <a:gd name="connsiteX2" fmla="*/ 8655 w 7868"/>
                <a:gd name="connsiteY2" fmla="*/ 7081 h 3934"/>
                <a:gd name="connsiteX3" fmla="*/ 8262 w 7868"/>
                <a:gd name="connsiteY3" fmla="*/ 4721 h 3934"/>
                <a:gd name="connsiteX4" fmla="*/ 5508 w 7868"/>
                <a:gd name="connsiteY4" fmla="*/ 3147 h 3934"/>
                <a:gd name="connsiteX5" fmla="*/ 3147 w 7868"/>
                <a:gd name="connsiteY5" fmla="*/ 0 h 3934"/>
                <a:gd name="connsiteX6" fmla="*/ 0 w 7868"/>
                <a:gd name="connsiteY6" fmla="*/ 0 h 3934"/>
                <a:gd name="connsiteX7" fmla="*/ 0 w 7868"/>
                <a:gd name="connsiteY7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2361" y="5901"/>
                  </a:moveTo>
                  <a:lnTo>
                    <a:pt x="5508" y="6688"/>
                  </a:lnTo>
                  <a:lnTo>
                    <a:pt x="8655" y="7081"/>
                  </a:lnTo>
                  <a:lnTo>
                    <a:pt x="8262" y="4721"/>
                  </a:lnTo>
                  <a:lnTo>
                    <a:pt x="5508" y="3147"/>
                  </a:lnTo>
                  <a:lnTo>
                    <a:pt x="3147" y="0"/>
                  </a:lnTo>
                  <a:lnTo>
                    <a:pt x="0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47" name="Freeform: Shape 3141">
              <a:extLst>
                <a:ext uri="{FF2B5EF4-FFF2-40B4-BE49-F238E27FC236}">
                  <a16:creationId xmlns:a16="http://schemas.microsoft.com/office/drawing/2014/main" id="{C57E1395-3F50-4512-916A-35D38C27AC60}"/>
                </a:ext>
              </a:extLst>
            </p:cNvPr>
            <p:cNvSpPr/>
            <p:nvPr/>
          </p:nvSpPr>
          <p:spPr>
            <a:xfrm>
              <a:off x="4143031" y="5436696"/>
              <a:ext cx="15737" cy="11803"/>
            </a:xfrm>
            <a:custGeom>
              <a:avLst/>
              <a:gdLst>
                <a:gd name="connsiteX0" fmla="*/ 8262 w 15737"/>
                <a:gd name="connsiteY0" fmla="*/ 3541 h 11802"/>
                <a:gd name="connsiteX1" fmla="*/ 5901 w 15737"/>
                <a:gd name="connsiteY1" fmla="*/ 393 h 11802"/>
                <a:gd name="connsiteX2" fmla="*/ 3148 w 15737"/>
                <a:gd name="connsiteY2" fmla="*/ 0 h 11802"/>
                <a:gd name="connsiteX3" fmla="*/ 0 w 15737"/>
                <a:gd name="connsiteY3" fmla="*/ 787 h 11802"/>
                <a:gd name="connsiteX4" fmla="*/ 3148 w 15737"/>
                <a:gd name="connsiteY4" fmla="*/ 3541 h 11802"/>
                <a:gd name="connsiteX5" fmla="*/ 3934 w 15737"/>
                <a:gd name="connsiteY5" fmla="*/ 6689 h 11802"/>
                <a:gd name="connsiteX6" fmla="*/ 7082 w 15737"/>
                <a:gd name="connsiteY6" fmla="*/ 8656 h 11802"/>
                <a:gd name="connsiteX7" fmla="*/ 9836 w 15737"/>
                <a:gd name="connsiteY7" fmla="*/ 10623 h 11802"/>
                <a:gd name="connsiteX8" fmla="*/ 12590 w 15737"/>
                <a:gd name="connsiteY8" fmla="*/ 10623 h 11802"/>
                <a:gd name="connsiteX9" fmla="*/ 15344 w 15737"/>
                <a:gd name="connsiteY9" fmla="*/ 12196 h 11802"/>
                <a:gd name="connsiteX10" fmla="*/ 16131 w 15737"/>
                <a:gd name="connsiteY10" fmla="*/ 11803 h 11802"/>
                <a:gd name="connsiteX11" fmla="*/ 14163 w 15737"/>
                <a:gd name="connsiteY11" fmla="*/ 9049 h 11802"/>
                <a:gd name="connsiteX12" fmla="*/ 11409 w 15737"/>
                <a:gd name="connsiteY12" fmla="*/ 7475 h 11802"/>
                <a:gd name="connsiteX13" fmla="*/ 8262 w 15737"/>
                <a:gd name="connsiteY13" fmla="*/ 5901 h 11802"/>
                <a:gd name="connsiteX14" fmla="*/ 11409 w 15737"/>
                <a:gd name="connsiteY14" fmla="*/ 5901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737" h="11802">
                  <a:moveTo>
                    <a:pt x="8262" y="3541"/>
                  </a:moveTo>
                  <a:lnTo>
                    <a:pt x="5901" y="393"/>
                  </a:lnTo>
                  <a:lnTo>
                    <a:pt x="3148" y="0"/>
                  </a:lnTo>
                  <a:lnTo>
                    <a:pt x="0" y="787"/>
                  </a:lnTo>
                  <a:lnTo>
                    <a:pt x="3148" y="3541"/>
                  </a:lnTo>
                  <a:lnTo>
                    <a:pt x="3934" y="6689"/>
                  </a:lnTo>
                  <a:lnTo>
                    <a:pt x="7082" y="8656"/>
                  </a:lnTo>
                  <a:lnTo>
                    <a:pt x="9836" y="10623"/>
                  </a:lnTo>
                  <a:lnTo>
                    <a:pt x="12590" y="10623"/>
                  </a:lnTo>
                  <a:lnTo>
                    <a:pt x="15344" y="12196"/>
                  </a:lnTo>
                  <a:lnTo>
                    <a:pt x="16131" y="11803"/>
                  </a:lnTo>
                  <a:lnTo>
                    <a:pt x="14163" y="9049"/>
                  </a:lnTo>
                  <a:lnTo>
                    <a:pt x="11409" y="7475"/>
                  </a:lnTo>
                  <a:lnTo>
                    <a:pt x="8262" y="5901"/>
                  </a:lnTo>
                  <a:lnTo>
                    <a:pt x="11409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48" name="Freeform: Shape 3142">
              <a:extLst>
                <a:ext uri="{FF2B5EF4-FFF2-40B4-BE49-F238E27FC236}">
                  <a16:creationId xmlns:a16="http://schemas.microsoft.com/office/drawing/2014/main" id="{F0A971F0-C1B7-4603-9857-8915A35653DF}"/>
                </a:ext>
              </a:extLst>
            </p:cNvPr>
            <p:cNvSpPr/>
            <p:nvPr/>
          </p:nvSpPr>
          <p:spPr>
            <a:xfrm>
              <a:off x="4132802" y="5442598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1180 w 3934"/>
                <a:gd name="connsiteY1" fmla="*/ 2754 h 3934"/>
                <a:gd name="connsiteX2" fmla="*/ 3934 w 3934"/>
                <a:gd name="connsiteY2" fmla="*/ 5115 h 3934"/>
                <a:gd name="connsiteX3" fmla="*/ 3934 w 3934"/>
                <a:gd name="connsiteY3" fmla="*/ 3541 h 3934"/>
                <a:gd name="connsiteX4" fmla="*/ 3147 w 3934"/>
                <a:gd name="connsiteY4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1180" y="2754"/>
                  </a:lnTo>
                  <a:lnTo>
                    <a:pt x="3934" y="5115"/>
                  </a:lnTo>
                  <a:lnTo>
                    <a:pt x="3934" y="3541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49" name="Freeform: Shape 3143">
              <a:extLst>
                <a:ext uri="{FF2B5EF4-FFF2-40B4-BE49-F238E27FC236}">
                  <a16:creationId xmlns:a16="http://schemas.microsoft.com/office/drawing/2014/main" id="{C13EEBAB-CD19-4826-ABB9-97E460379D4A}"/>
                </a:ext>
              </a:extLst>
            </p:cNvPr>
            <p:cNvSpPr/>
            <p:nvPr/>
          </p:nvSpPr>
          <p:spPr>
            <a:xfrm>
              <a:off x="4121393" y="5436696"/>
              <a:ext cx="7869" cy="7869"/>
            </a:xfrm>
            <a:custGeom>
              <a:avLst/>
              <a:gdLst>
                <a:gd name="connsiteX0" fmla="*/ 8655 w 7868"/>
                <a:gd name="connsiteY0" fmla="*/ 787 h 7868"/>
                <a:gd name="connsiteX1" fmla="*/ 5901 w 7868"/>
                <a:gd name="connsiteY1" fmla="*/ 1180 h 7868"/>
                <a:gd name="connsiteX2" fmla="*/ 3148 w 7868"/>
                <a:gd name="connsiteY2" fmla="*/ 0 h 7868"/>
                <a:gd name="connsiteX3" fmla="*/ 0 w 7868"/>
                <a:gd name="connsiteY3" fmla="*/ 1574 h 7868"/>
                <a:gd name="connsiteX4" fmla="*/ 2754 w 7868"/>
                <a:gd name="connsiteY4" fmla="*/ 3541 h 7868"/>
                <a:gd name="connsiteX5" fmla="*/ 787 w 7868"/>
                <a:gd name="connsiteY5" fmla="*/ 6295 h 7868"/>
                <a:gd name="connsiteX6" fmla="*/ 3541 w 7868"/>
                <a:gd name="connsiteY6" fmla="*/ 6689 h 7868"/>
                <a:gd name="connsiteX7" fmla="*/ 4328 w 7868"/>
                <a:gd name="connsiteY7" fmla="*/ 9442 h 7868"/>
                <a:gd name="connsiteX8" fmla="*/ 7475 w 7868"/>
                <a:gd name="connsiteY8" fmla="*/ 10623 h 7868"/>
                <a:gd name="connsiteX9" fmla="*/ 7869 w 7868"/>
                <a:gd name="connsiteY9" fmla="*/ 8656 h 7868"/>
                <a:gd name="connsiteX10" fmla="*/ 4721 w 7868"/>
                <a:gd name="connsiteY10" fmla="*/ 3148 h 7868"/>
                <a:gd name="connsiteX11" fmla="*/ 7475 w 7868"/>
                <a:gd name="connsiteY11" fmla="*/ 354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868" h="7868">
                  <a:moveTo>
                    <a:pt x="8655" y="787"/>
                  </a:moveTo>
                  <a:lnTo>
                    <a:pt x="5901" y="1180"/>
                  </a:lnTo>
                  <a:lnTo>
                    <a:pt x="3148" y="0"/>
                  </a:lnTo>
                  <a:lnTo>
                    <a:pt x="0" y="1574"/>
                  </a:lnTo>
                  <a:lnTo>
                    <a:pt x="2754" y="3541"/>
                  </a:lnTo>
                  <a:lnTo>
                    <a:pt x="787" y="6295"/>
                  </a:lnTo>
                  <a:lnTo>
                    <a:pt x="3541" y="6689"/>
                  </a:lnTo>
                  <a:lnTo>
                    <a:pt x="4328" y="9442"/>
                  </a:lnTo>
                  <a:lnTo>
                    <a:pt x="7475" y="10623"/>
                  </a:lnTo>
                  <a:lnTo>
                    <a:pt x="7869" y="8656"/>
                  </a:lnTo>
                  <a:lnTo>
                    <a:pt x="4721" y="3148"/>
                  </a:lnTo>
                  <a:lnTo>
                    <a:pt x="7475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50" name="Freeform: Shape 3144">
              <a:extLst>
                <a:ext uri="{FF2B5EF4-FFF2-40B4-BE49-F238E27FC236}">
                  <a16:creationId xmlns:a16="http://schemas.microsoft.com/office/drawing/2014/main" id="{AFC1ECEB-6EA7-4E5D-8B55-FE830AD59270}"/>
                </a:ext>
              </a:extLst>
            </p:cNvPr>
            <p:cNvSpPr/>
            <p:nvPr/>
          </p:nvSpPr>
          <p:spPr>
            <a:xfrm>
              <a:off x="4137917" y="5433155"/>
              <a:ext cx="3934" cy="3934"/>
            </a:xfrm>
            <a:custGeom>
              <a:avLst/>
              <a:gdLst>
                <a:gd name="connsiteX0" fmla="*/ 1967 w 0"/>
                <a:gd name="connsiteY0" fmla="*/ 3148 h 3934"/>
                <a:gd name="connsiteX1" fmla="*/ 3147 w 0"/>
                <a:gd name="connsiteY1" fmla="*/ 0 h 3934"/>
                <a:gd name="connsiteX2" fmla="*/ 0 w 0"/>
                <a:gd name="connsiteY2" fmla="*/ 1574 h 3934"/>
                <a:gd name="connsiteX3" fmla="*/ 787 w 0"/>
                <a:gd name="connsiteY3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967" y="3148"/>
                  </a:moveTo>
                  <a:lnTo>
                    <a:pt x="3147" y="0"/>
                  </a:lnTo>
                  <a:lnTo>
                    <a:pt x="0" y="1574"/>
                  </a:lnTo>
                  <a:lnTo>
                    <a:pt x="787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51" name="Freeform: Shape 3145">
              <a:extLst>
                <a:ext uri="{FF2B5EF4-FFF2-40B4-BE49-F238E27FC236}">
                  <a16:creationId xmlns:a16="http://schemas.microsoft.com/office/drawing/2014/main" id="{28B01E57-1719-434D-B38C-402753ADA3D8}"/>
                </a:ext>
              </a:extLst>
            </p:cNvPr>
            <p:cNvSpPr/>
            <p:nvPr/>
          </p:nvSpPr>
          <p:spPr>
            <a:xfrm>
              <a:off x="4115098" y="5422140"/>
              <a:ext cx="15737" cy="11803"/>
            </a:xfrm>
            <a:custGeom>
              <a:avLst/>
              <a:gdLst>
                <a:gd name="connsiteX0" fmla="*/ 11016 w 15737"/>
                <a:gd name="connsiteY0" fmla="*/ 3934 h 11802"/>
                <a:gd name="connsiteX1" fmla="*/ 11803 w 15737"/>
                <a:gd name="connsiteY1" fmla="*/ 1180 h 11802"/>
                <a:gd name="connsiteX2" fmla="*/ 8655 w 15737"/>
                <a:gd name="connsiteY2" fmla="*/ 1967 h 11802"/>
                <a:gd name="connsiteX3" fmla="*/ 5901 w 15737"/>
                <a:gd name="connsiteY3" fmla="*/ 0 h 11802"/>
                <a:gd name="connsiteX4" fmla="*/ 3147 w 15737"/>
                <a:gd name="connsiteY4" fmla="*/ 787 h 11802"/>
                <a:gd name="connsiteX5" fmla="*/ 0 w 15737"/>
                <a:gd name="connsiteY5" fmla="*/ 787 h 11802"/>
                <a:gd name="connsiteX6" fmla="*/ 2754 w 15737"/>
                <a:gd name="connsiteY6" fmla="*/ 2754 h 11802"/>
                <a:gd name="connsiteX7" fmla="*/ 5901 w 15737"/>
                <a:gd name="connsiteY7" fmla="*/ 3934 h 11802"/>
                <a:gd name="connsiteX8" fmla="*/ 8655 w 15737"/>
                <a:gd name="connsiteY8" fmla="*/ 4328 h 11802"/>
                <a:gd name="connsiteX9" fmla="*/ 9049 w 15737"/>
                <a:gd name="connsiteY9" fmla="*/ 7081 h 11802"/>
                <a:gd name="connsiteX10" fmla="*/ 6295 w 15737"/>
                <a:gd name="connsiteY10" fmla="*/ 7081 h 11802"/>
                <a:gd name="connsiteX11" fmla="*/ 5114 w 15737"/>
                <a:gd name="connsiteY11" fmla="*/ 3934 h 11802"/>
                <a:gd name="connsiteX12" fmla="*/ 1967 w 15737"/>
                <a:gd name="connsiteY12" fmla="*/ 3934 h 11802"/>
                <a:gd name="connsiteX13" fmla="*/ 2360 w 15737"/>
                <a:gd name="connsiteY13" fmla="*/ 6688 h 11802"/>
                <a:gd name="connsiteX14" fmla="*/ 2754 w 15737"/>
                <a:gd name="connsiteY14" fmla="*/ 9442 h 11802"/>
                <a:gd name="connsiteX15" fmla="*/ 5901 w 15737"/>
                <a:gd name="connsiteY15" fmla="*/ 9836 h 11802"/>
                <a:gd name="connsiteX16" fmla="*/ 8655 w 15737"/>
                <a:gd name="connsiteY16" fmla="*/ 10229 h 11802"/>
                <a:gd name="connsiteX17" fmla="*/ 7869 w 15737"/>
                <a:gd name="connsiteY17" fmla="*/ 12983 h 11802"/>
                <a:gd name="connsiteX18" fmla="*/ 11016 w 15737"/>
                <a:gd name="connsiteY18" fmla="*/ 11803 h 11802"/>
                <a:gd name="connsiteX19" fmla="*/ 12983 w 15737"/>
                <a:gd name="connsiteY19" fmla="*/ 9049 h 11802"/>
                <a:gd name="connsiteX20" fmla="*/ 14163 w 15737"/>
                <a:gd name="connsiteY20" fmla="*/ 6295 h 11802"/>
                <a:gd name="connsiteX21" fmla="*/ 16917 w 15737"/>
                <a:gd name="connsiteY21" fmla="*/ 3541 h 11802"/>
                <a:gd name="connsiteX22" fmla="*/ 14163 w 15737"/>
                <a:gd name="connsiteY22" fmla="*/ 4721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37" h="11802">
                  <a:moveTo>
                    <a:pt x="11016" y="3934"/>
                  </a:moveTo>
                  <a:lnTo>
                    <a:pt x="11803" y="1180"/>
                  </a:lnTo>
                  <a:lnTo>
                    <a:pt x="8655" y="1967"/>
                  </a:lnTo>
                  <a:lnTo>
                    <a:pt x="5901" y="0"/>
                  </a:lnTo>
                  <a:lnTo>
                    <a:pt x="3147" y="787"/>
                  </a:lnTo>
                  <a:lnTo>
                    <a:pt x="0" y="787"/>
                  </a:lnTo>
                  <a:lnTo>
                    <a:pt x="2754" y="2754"/>
                  </a:lnTo>
                  <a:lnTo>
                    <a:pt x="5901" y="3934"/>
                  </a:lnTo>
                  <a:lnTo>
                    <a:pt x="8655" y="4328"/>
                  </a:lnTo>
                  <a:lnTo>
                    <a:pt x="9049" y="7081"/>
                  </a:lnTo>
                  <a:lnTo>
                    <a:pt x="6295" y="7081"/>
                  </a:lnTo>
                  <a:lnTo>
                    <a:pt x="5114" y="3934"/>
                  </a:lnTo>
                  <a:lnTo>
                    <a:pt x="1967" y="3934"/>
                  </a:lnTo>
                  <a:lnTo>
                    <a:pt x="2360" y="6688"/>
                  </a:lnTo>
                  <a:lnTo>
                    <a:pt x="2754" y="9442"/>
                  </a:lnTo>
                  <a:lnTo>
                    <a:pt x="5901" y="9836"/>
                  </a:lnTo>
                  <a:lnTo>
                    <a:pt x="8655" y="10229"/>
                  </a:lnTo>
                  <a:lnTo>
                    <a:pt x="7869" y="12983"/>
                  </a:lnTo>
                  <a:lnTo>
                    <a:pt x="11016" y="11803"/>
                  </a:lnTo>
                  <a:lnTo>
                    <a:pt x="12983" y="9049"/>
                  </a:lnTo>
                  <a:lnTo>
                    <a:pt x="14163" y="6295"/>
                  </a:lnTo>
                  <a:lnTo>
                    <a:pt x="16917" y="3541"/>
                  </a:lnTo>
                  <a:lnTo>
                    <a:pt x="14163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52" name="Freeform: Shape 3146">
              <a:extLst>
                <a:ext uri="{FF2B5EF4-FFF2-40B4-BE49-F238E27FC236}">
                  <a16:creationId xmlns:a16="http://schemas.microsoft.com/office/drawing/2014/main" id="{F20120FA-A565-4551-B705-605063A6A07A}"/>
                </a:ext>
              </a:extLst>
            </p:cNvPr>
            <p:cNvSpPr/>
            <p:nvPr/>
          </p:nvSpPr>
          <p:spPr>
            <a:xfrm>
              <a:off x="4102508" y="5377289"/>
              <a:ext cx="31474" cy="43277"/>
            </a:xfrm>
            <a:custGeom>
              <a:avLst/>
              <a:gdLst>
                <a:gd name="connsiteX0" fmla="*/ 30687 w 31474"/>
                <a:gd name="connsiteY0" fmla="*/ 45244 h 43276"/>
                <a:gd name="connsiteX1" fmla="*/ 33835 w 31474"/>
                <a:gd name="connsiteY1" fmla="*/ 43670 h 43276"/>
                <a:gd name="connsiteX2" fmla="*/ 31474 w 31474"/>
                <a:gd name="connsiteY2" fmla="*/ 41310 h 43276"/>
                <a:gd name="connsiteX3" fmla="*/ 34621 w 31474"/>
                <a:gd name="connsiteY3" fmla="*/ 42490 h 43276"/>
                <a:gd name="connsiteX4" fmla="*/ 34621 w 31474"/>
                <a:gd name="connsiteY4" fmla="*/ 39736 h 43276"/>
                <a:gd name="connsiteX5" fmla="*/ 33441 w 31474"/>
                <a:gd name="connsiteY5" fmla="*/ 36589 h 43276"/>
                <a:gd name="connsiteX6" fmla="*/ 30294 w 31474"/>
                <a:gd name="connsiteY6" fmla="*/ 35408 h 43276"/>
                <a:gd name="connsiteX7" fmla="*/ 33441 w 31474"/>
                <a:gd name="connsiteY7" fmla="*/ 35408 h 43276"/>
                <a:gd name="connsiteX8" fmla="*/ 31474 w 31474"/>
                <a:gd name="connsiteY8" fmla="*/ 32655 h 43276"/>
                <a:gd name="connsiteX9" fmla="*/ 28720 w 31474"/>
                <a:gd name="connsiteY9" fmla="*/ 31474 h 43276"/>
                <a:gd name="connsiteX10" fmla="*/ 28327 w 31474"/>
                <a:gd name="connsiteY10" fmla="*/ 34622 h 43276"/>
                <a:gd name="connsiteX11" fmla="*/ 28327 w 31474"/>
                <a:gd name="connsiteY11" fmla="*/ 31867 h 43276"/>
                <a:gd name="connsiteX12" fmla="*/ 27933 w 31474"/>
                <a:gd name="connsiteY12" fmla="*/ 28720 h 43276"/>
                <a:gd name="connsiteX13" fmla="*/ 27540 w 31474"/>
                <a:gd name="connsiteY13" fmla="*/ 25966 h 43276"/>
                <a:gd name="connsiteX14" fmla="*/ 25573 w 31474"/>
                <a:gd name="connsiteY14" fmla="*/ 20458 h 43276"/>
                <a:gd name="connsiteX15" fmla="*/ 24392 w 31474"/>
                <a:gd name="connsiteY15" fmla="*/ 17311 h 43276"/>
                <a:gd name="connsiteX16" fmla="*/ 22819 w 31474"/>
                <a:gd name="connsiteY16" fmla="*/ 14163 h 43276"/>
                <a:gd name="connsiteX17" fmla="*/ 20065 w 31474"/>
                <a:gd name="connsiteY17" fmla="*/ 11803 h 43276"/>
                <a:gd name="connsiteX18" fmla="*/ 20065 w 31474"/>
                <a:gd name="connsiteY18" fmla="*/ 9049 h 43276"/>
                <a:gd name="connsiteX19" fmla="*/ 17311 w 31474"/>
                <a:gd name="connsiteY19" fmla="*/ 7475 h 43276"/>
                <a:gd name="connsiteX20" fmla="*/ 16524 w 31474"/>
                <a:gd name="connsiteY20" fmla="*/ 4328 h 43276"/>
                <a:gd name="connsiteX21" fmla="*/ 14163 w 31474"/>
                <a:gd name="connsiteY21" fmla="*/ 1574 h 43276"/>
                <a:gd name="connsiteX22" fmla="*/ 14163 w 31474"/>
                <a:gd name="connsiteY22" fmla="*/ 4328 h 43276"/>
                <a:gd name="connsiteX23" fmla="*/ 12590 w 31474"/>
                <a:gd name="connsiteY23" fmla="*/ 1574 h 43276"/>
                <a:gd name="connsiteX24" fmla="*/ 9442 w 31474"/>
                <a:gd name="connsiteY24" fmla="*/ 0 h 43276"/>
                <a:gd name="connsiteX25" fmla="*/ 6688 w 31474"/>
                <a:gd name="connsiteY25" fmla="*/ 787 h 43276"/>
                <a:gd name="connsiteX26" fmla="*/ 4721 w 31474"/>
                <a:gd name="connsiteY26" fmla="*/ 3541 h 43276"/>
                <a:gd name="connsiteX27" fmla="*/ 5114 w 31474"/>
                <a:gd name="connsiteY27" fmla="*/ 6295 h 43276"/>
                <a:gd name="connsiteX28" fmla="*/ 8262 w 31474"/>
                <a:gd name="connsiteY28" fmla="*/ 5901 h 43276"/>
                <a:gd name="connsiteX29" fmla="*/ 5114 w 31474"/>
                <a:gd name="connsiteY29" fmla="*/ 7475 h 43276"/>
                <a:gd name="connsiteX30" fmla="*/ 7475 w 31474"/>
                <a:gd name="connsiteY30" fmla="*/ 10229 h 43276"/>
                <a:gd name="connsiteX31" fmla="*/ 10623 w 31474"/>
                <a:gd name="connsiteY31" fmla="*/ 8655 h 43276"/>
                <a:gd name="connsiteX32" fmla="*/ 9442 w 31474"/>
                <a:gd name="connsiteY32" fmla="*/ 11409 h 43276"/>
                <a:gd name="connsiteX33" fmla="*/ 12196 w 31474"/>
                <a:gd name="connsiteY33" fmla="*/ 13377 h 43276"/>
                <a:gd name="connsiteX34" fmla="*/ 13377 w 31474"/>
                <a:gd name="connsiteY34" fmla="*/ 16524 h 43276"/>
                <a:gd name="connsiteX35" fmla="*/ 13770 w 31474"/>
                <a:gd name="connsiteY35" fmla="*/ 19278 h 43276"/>
                <a:gd name="connsiteX36" fmla="*/ 14163 w 31474"/>
                <a:gd name="connsiteY36" fmla="*/ 22425 h 43276"/>
                <a:gd name="connsiteX37" fmla="*/ 11409 w 31474"/>
                <a:gd name="connsiteY37" fmla="*/ 20065 h 43276"/>
                <a:gd name="connsiteX38" fmla="*/ 8655 w 31474"/>
                <a:gd name="connsiteY38" fmla="*/ 18491 h 43276"/>
                <a:gd name="connsiteX39" fmla="*/ 9442 w 31474"/>
                <a:gd name="connsiteY39" fmla="*/ 21245 h 43276"/>
                <a:gd name="connsiteX40" fmla="*/ 6688 w 31474"/>
                <a:gd name="connsiteY40" fmla="*/ 20458 h 43276"/>
                <a:gd name="connsiteX41" fmla="*/ 8655 w 31474"/>
                <a:gd name="connsiteY41" fmla="*/ 23606 h 43276"/>
                <a:gd name="connsiteX42" fmla="*/ 5901 w 31474"/>
                <a:gd name="connsiteY42" fmla="*/ 20852 h 43276"/>
                <a:gd name="connsiteX43" fmla="*/ 3147 w 31474"/>
                <a:gd name="connsiteY43" fmla="*/ 20852 h 43276"/>
                <a:gd name="connsiteX44" fmla="*/ 6295 w 31474"/>
                <a:gd name="connsiteY44" fmla="*/ 23606 h 43276"/>
                <a:gd name="connsiteX45" fmla="*/ 8655 w 31474"/>
                <a:gd name="connsiteY45" fmla="*/ 26359 h 43276"/>
                <a:gd name="connsiteX46" fmla="*/ 5901 w 31474"/>
                <a:gd name="connsiteY46" fmla="*/ 24392 h 43276"/>
                <a:gd name="connsiteX47" fmla="*/ 3147 w 31474"/>
                <a:gd name="connsiteY47" fmla="*/ 21638 h 43276"/>
                <a:gd name="connsiteX48" fmla="*/ 0 w 31474"/>
                <a:gd name="connsiteY48" fmla="*/ 20065 h 43276"/>
                <a:gd name="connsiteX49" fmla="*/ 394 w 31474"/>
                <a:gd name="connsiteY49" fmla="*/ 23212 h 43276"/>
                <a:gd name="connsiteX50" fmla="*/ 2361 w 31474"/>
                <a:gd name="connsiteY50" fmla="*/ 25966 h 43276"/>
                <a:gd name="connsiteX51" fmla="*/ 5508 w 31474"/>
                <a:gd name="connsiteY51" fmla="*/ 26359 h 43276"/>
                <a:gd name="connsiteX52" fmla="*/ 7082 w 31474"/>
                <a:gd name="connsiteY52" fmla="*/ 29114 h 43276"/>
                <a:gd name="connsiteX53" fmla="*/ 9049 w 31474"/>
                <a:gd name="connsiteY53" fmla="*/ 31867 h 43276"/>
                <a:gd name="connsiteX54" fmla="*/ 12196 w 31474"/>
                <a:gd name="connsiteY54" fmla="*/ 33835 h 43276"/>
                <a:gd name="connsiteX55" fmla="*/ 14163 w 31474"/>
                <a:gd name="connsiteY55" fmla="*/ 36982 h 43276"/>
                <a:gd name="connsiteX56" fmla="*/ 17311 w 31474"/>
                <a:gd name="connsiteY56" fmla="*/ 39343 h 43276"/>
                <a:gd name="connsiteX57" fmla="*/ 20065 w 31474"/>
                <a:gd name="connsiteY57" fmla="*/ 39736 h 43276"/>
                <a:gd name="connsiteX58" fmla="*/ 19671 w 31474"/>
                <a:gd name="connsiteY58" fmla="*/ 36589 h 43276"/>
                <a:gd name="connsiteX59" fmla="*/ 18098 w 31474"/>
                <a:gd name="connsiteY59" fmla="*/ 33835 h 43276"/>
                <a:gd name="connsiteX60" fmla="*/ 15737 w 31474"/>
                <a:gd name="connsiteY60" fmla="*/ 31081 h 43276"/>
                <a:gd name="connsiteX61" fmla="*/ 15737 w 31474"/>
                <a:gd name="connsiteY61" fmla="*/ 27933 h 43276"/>
                <a:gd name="connsiteX62" fmla="*/ 18491 w 31474"/>
                <a:gd name="connsiteY62" fmla="*/ 26753 h 43276"/>
                <a:gd name="connsiteX63" fmla="*/ 19278 w 31474"/>
                <a:gd name="connsiteY63" fmla="*/ 23999 h 43276"/>
                <a:gd name="connsiteX64" fmla="*/ 22425 w 31474"/>
                <a:gd name="connsiteY64" fmla="*/ 25179 h 43276"/>
                <a:gd name="connsiteX65" fmla="*/ 21638 w 31474"/>
                <a:gd name="connsiteY65" fmla="*/ 27933 h 43276"/>
                <a:gd name="connsiteX66" fmla="*/ 18884 w 31474"/>
                <a:gd name="connsiteY66" fmla="*/ 27540 h 43276"/>
                <a:gd name="connsiteX67" fmla="*/ 19278 w 31474"/>
                <a:gd name="connsiteY67" fmla="*/ 30294 h 43276"/>
                <a:gd name="connsiteX68" fmla="*/ 22425 w 31474"/>
                <a:gd name="connsiteY68" fmla="*/ 31867 h 43276"/>
                <a:gd name="connsiteX69" fmla="*/ 19278 w 31474"/>
                <a:gd name="connsiteY69" fmla="*/ 33441 h 43276"/>
                <a:gd name="connsiteX70" fmla="*/ 21638 w 31474"/>
                <a:gd name="connsiteY70" fmla="*/ 36589 h 43276"/>
                <a:gd name="connsiteX71" fmla="*/ 24392 w 31474"/>
                <a:gd name="connsiteY71" fmla="*/ 36195 h 43276"/>
                <a:gd name="connsiteX72" fmla="*/ 26360 w 31474"/>
                <a:gd name="connsiteY72" fmla="*/ 38949 h 43276"/>
                <a:gd name="connsiteX73" fmla="*/ 25573 w 31474"/>
                <a:gd name="connsiteY73" fmla="*/ 41703 h 43276"/>
                <a:gd name="connsiteX74" fmla="*/ 28327 w 31474"/>
                <a:gd name="connsiteY74" fmla="*/ 41310 h 43276"/>
                <a:gd name="connsiteX75" fmla="*/ 25573 w 31474"/>
                <a:gd name="connsiteY75" fmla="*/ 43670 h 43276"/>
                <a:gd name="connsiteX76" fmla="*/ 26360 w 31474"/>
                <a:gd name="connsiteY76" fmla="*/ 43670 h 43276"/>
                <a:gd name="connsiteX77" fmla="*/ 27147 w 31474"/>
                <a:gd name="connsiteY77" fmla="*/ 43670 h 43276"/>
                <a:gd name="connsiteX78" fmla="*/ 27540 w 31474"/>
                <a:gd name="connsiteY78" fmla="*/ 44851 h 43276"/>
                <a:gd name="connsiteX79" fmla="*/ 30294 w 31474"/>
                <a:gd name="connsiteY79" fmla="*/ 43670 h 43276"/>
                <a:gd name="connsiteX80" fmla="*/ 30294 w 31474"/>
                <a:gd name="connsiteY80" fmla="*/ 43670 h 43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31474" h="43276">
                  <a:moveTo>
                    <a:pt x="30687" y="45244"/>
                  </a:moveTo>
                  <a:lnTo>
                    <a:pt x="33835" y="43670"/>
                  </a:lnTo>
                  <a:lnTo>
                    <a:pt x="31474" y="41310"/>
                  </a:lnTo>
                  <a:lnTo>
                    <a:pt x="34621" y="42490"/>
                  </a:lnTo>
                  <a:lnTo>
                    <a:pt x="34621" y="39736"/>
                  </a:lnTo>
                  <a:lnTo>
                    <a:pt x="33441" y="36589"/>
                  </a:lnTo>
                  <a:lnTo>
                    <a:pt x="30294" y="35408"/>
                  </a:lnTo>
                  <a:lnTo>
                    <a:pt x="33441" y="35408"/>
                  </a:lnTo>
                  <a:lnTo>
                    <a:pt x="31474" y="32655"/>
                  </a:lnTo>
                  <a:lnTo>
                    <a:pt x="28720" y="31474"/>
                  </a:lnTo>
                  <a:lnTo>
                    <a:pt x="28327" y="34622"/>
                  </a:lnTo>
                  <a:lnTo>
                    <a:pt x="28327" y="31867"/>
                  </a:lnTo>
                  <a:lnTo>
                    <a:pt x="27933" y="28720"/>
                  </a:lnTo>
                  <a:lnTo>
                    <a:pt x="27540" y="25966"/>
                  </a:lnTo>
                  <a:lnTo>
                    <a:pt x="25573" y="20458"/>
                  </a:lnTo>
                  <a:lnTo>
                    <a:pt x="24392" y="17311"/>
                  </a:lnTo>
                  <a:lnTo>
                    <a:pt x="22819" y="14163"/>
                  </a:lnTo>
                  <a:lnTo>
                    <a:pt x="20065" y="11803"/>
                  </a:lnTo>
                  <a:lnTo>
                    <a:pt x="20065" y="9049"/>
                  </a:lnTo>
                  <a:lnTo>
                    <a:pt x="17311" y="7475"/>
                  </a:lnTo>
                  <a:lnTo>
                    <a:pt x="16524" y="4328"/>
                  </a:lnTo>
                  <a:lnTo>
                    <a:pt x="14163" y="1574"/>
                  </a:lnTo>
                  <a:lnTo>
                    <a:pt x="14163" y="4328"/>
                  </a:lnTo>
                  <a:lnTo>
                    <a:pt x="12590" y="1574"/>
                  </a:lnTo>
                  <a:lnTo>
                    <a:pt x="9442" y="0"/>
                  </a:lnTo>
                  <a:lnTo>
                    <a:pt x="6688" y="787"/>
                  </a:lnTo>
                  <a:lnTo>
                    <a:pt x="4721" y="3541"/>
                  </a:lnTo>
                  <a:lnTo>
                    <a:pt x="5114" y="6295"/>
                  </a:lnTo>
                  <a:lnTo>
                    <a:pt x="8262" y="5901"/>
                  </a:lnTo>
                  <a:lnTo>
                    <a:pt x="5114" y="7475"/>
                  </a:lnTo>
                  <a:lnTo>
                    <a:pt x="7475" y="10229"/>
                  </a:lnTo>
                  <a:lnTo>
                    <a:pt x="10623" y="8655"/>
                  </a:lnTo>
                  <a:lnTo>
                    <a:pt x="9442" y="11409"/>
                  </a:lnTo>
                  <a:lnTo>
                    <a:pt x="12196" y="13377"/>
                  </a:lnTo>
                  <a:lnTo>
                    <a:pt x="13377" y="16524"/>
                  </a:lnTo>
                  <a:lnTo>
                    <a:pt x="13770" y="19278"/>
                  </a:lnTo>
                  <a:lnTo>
                    <a:pt x="14163" y="22425"/>
                  </a:lnTo>
                  <a:lnTo>
                    <a:pt x="11409" y="20065"/>
                  </a:lnTo>
                  <a:lnTo>
                    <a:pt x="8655" y="18491"/>
                  </a:lnTo>
                  <a:lnTo>
                    <a:pt x="9442" y="21245"/>
                  </a:lnTo>
                  <a:lnTo>
                    <a:pt x="6688" y="20458"/>
                  </a:lnTo>
                  <a:lnTo>
                    <a:pt x="8655" y="23606"/>
                  </a:lnTo>
                  <a:lnTo>
                    <a:pt x="5901" y="20852"/>
                  </a:lnTo>
                  <a:lnTo>
                    <a:pt x="3147" y="20852"/>
                  </a:lnTo>
                  <a:lnTo>
                    <a:pt x="6295" y="23606"/>
                  </a:lnTo>
                  <a:lnTo>
                    <a:pt x="8655" y="26359"/>
                  </a:lnTo>
                  <a:lnTo>
                    <a:pt x="5901" y="24392"/>
                  </a:lnTo>
                  <a:lnTo>
                    <a:pt x="3147" y="21638"/>
                  </a:lnTo>
                  <a:lnTo>
                    <a:pt x="0" y="20065"/>
                  </a:lnTo>
                  <a:lnTo>
                    <a:pt x="394" y="23212"/>
                  </a:lnTo>
                  <a:lnTo>
                    <a:pt x="2361" y="25966"/>
                  </a:lnTo>
                  <a:lnTo>
                    <a:pt x="5508" y="26359"/>
                  </a:lnTo>
                  <a:lnTo>
                    <a:pt x="7082" y="29114"/>
                  </a:lnTo>
                  <a:lnTo>
                    <a:pt x="9049" y="31867"/>
                  </a:lnTo>
                  <a:lnTo>
                    <a:pt x="12196" y="33835"/>
                  </a:lnTo>
                  <a:lnTo>
                    <a:pt x="14163" y="36982"/>
                  </a:lnTo>
                  <a:lnTo>
                    <a:pt x="17311" y="39343"/>
                  </a:lnTo>
                  <a:lnTo>
                    <a:pt x="20065" y="39736"/>
                  </a:lnTo>
                  <a:lnTo>
                    <a:pt x="19671" y="36589"/>
                  </a:lnTo>
                  <a:lnTo>
                    <a:pt x="18098" y="33835"/>
                  </a:lnTo>
                  <a:lnTo>
                    <a:pt x="15737" y="31081"/>
                  </a:lnTo>
                  <a:lnTo>
                    <a:pt x="15737" y="27933"/>
                  </a:lnTo>
                  <a:lnTo>
                    <a:pt x="18491" y="26753"/>
                  </a:lnTo>
                  <a:lnTo>
                    <a:pt x="19278" y="23999"/>
                  </a:lnTo>
                  <a:lnTo>
                    <a:pt x="22425" y="25179"/>
                  </a:lnTo>
                  <a:lnTo>
                    <a:pt x="21638" y="27933"/>
                  </a:lnTo>
                  <a:lnTo>
                    <a:pt x="18884" y="27540"/>
                  </a:lnTo>
                  <a:lnTo>
                    <a:pt x="19278" y="30294"/>
                  </a:lnTo>
                  <a:lnTo>
                    <a:pt x="22425" y="31867"/>
                  </a:lnTo>
                  <a:lnTo>
                    <a:pt x="19278" y="33441"/>
                  </a:lnTo>
                  <a:lnTo>
                    <a:pt x="21638" y="36589"/>
                  </a:lnTo>
                  <a:lnTo>
                    <a:pt x="24392" y="36195"/>
                  </a:lnTo>
                  <a:lnTo>
                    <a:pt x="26360" y="38949"/>
                  </a:lnTo>
                  <a:lnTo>
                    <a:pt x="25573" y="41703"/>
                  </a:lnTo>
                  <a:lnTo>
                    <a:pt x="28327" y="41310"/>
                  </a:lnTo>
                  <a:lnTo>
                    <a:pt x="25573" y="43670"/>
                  </a:lnTo>
                  <a:lnTo>
                    <a:pt x="26360" y="43670"/>
                  </a:lnTo>
                  <a:lnTo>
                    <a:pt x="27147" y="43670"/>
                  </a:lnTo>
                  <a:lnTo>
                    <a:pt x="27540" y="44851"/>
                  </a:lnTo>
                  <a:lnTo>
                    <a:pt x="30294" y="43670"/>
                  </a:lnTo>
                  <a:lnTo>
                    <a:pt x="30294" y="4367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53" name="Freeform: Shape 3147">
              <a:extLst>
                <a:ext uri="{FF2B5EF4-FFF2-40B4-BE49-F238E27FC236}">
                  <a16:creationId xmlns:a16="http://schemas.microsoft.com/office/drawing/2014/main" id="{A19083DD-2003-40FC-8C5A-EE52DBE83DCB}"/>
                </a:ext>
              </a:extLst>
            </p:cNvPr>
            <p:cNvSpPr/>
            <p:nvPr/>
          </p:nvSpPr>
          <p:spPr>
            <a:xfrm>
              <a:off x="4174505" y="5489809"/>
              <a:ext cx="11803" cy="7869"/>
            </a:xfrm>
            <a:custGeom>
              <a:avLst/>
              <a:gdLst>
                <a:gd name="connsiteX0" fmla="*/ 7869 w 11802"/>
                <a:gd name="connsiteY0" fmla="*/ 7475 h 7868"/>
                <a:gd name="connsiteX1" fmla="*/ 11016 w 11802"/>
                <a:gd name="connsiteY1" fmla="*/ 9442 h 7868"/>
                <a:gd name="connsiteX2" fmla="*/ 11803 w 11802"/>
                <a:gd name="connsiteY2" fmla="*/ 9836 h 7868"/>
                <a:gd name="connsiteX3" fmla="*/ 14557 w 11802"/>
                <a:gd name="connsiteY3" fmla="*/ 7082 h 7868"/>
                <a:gd name="connsiteX4" fmla="*/ 11803 w 11802"/>
                <a:gd name="connsiteY4" fmla="*/ 5115 h 7868"/>
                <a:gd name="connsiteX5" fmla="*/ 9049 w 11802"/>
                <a:gd name="connsiteY5" fmla="*/ 3148 h 7868"/>
                <a:gd name="connsiteX6" fmla="*/ 5901 w 11802"/>
                <a:gd name="connsiteY6" fmla="*/ 1574 h 7868"/>
                <a:gd name="connsiteX7" fmla="*/ 2754 w 11802"/>
                <a:gd name="connsiteY7" fmla="*/ 0 h 7868"/>
                <a:gd name="connsiteX8" fmla="*/ 0 w 11802"/>
                <a:gd name="connsiteY8" fmla="*/ 1967 h 7868"/>
                <a:gd name="connsiteX9" fmla="*/ 3148 w 11802"/>
                <a:gd name="connsiteY9" fmla="*/ 1574 h 7868"/>
                <a:gd name="connsiteX10" fmla="*/ 5901 w 11802"/>
                <a:gd name="connsiteY10" fmla="*/ 3148 h 7868"/>
                <a:gd name="connsiteX11" fmla="*/ 9049 w 11802"/>
                <a:gd name="connsiteY11" fmla="*/ 5115 h 7868"/>
                <a:gd name="connsiteX12" fmla="*/ 5901 w 11802"/>
                <a:gd name="connsiteY12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7868">
                  <a:moveTo>
                    <a:pt x="7869" y="7475"/>
                  </a:moveTo>
                  <a:lnTo>
                    <a:pt x="11016" y="9442"/>
                  </a:lnTo>
                  <a:lnTo>
                    <a:pt x="11803" y="9836"/>
                  </a:lnTo>
                  <a:lnTo>
                    <a:pt x="14557" y="7082"/>
                  </a:lnTo>
                  <a:lnTo>
                    <a:pt x="11803" y="5115"/>
                  </a:lnTo>
                  <a:lnTo>
                    <a:pt x="9049" y="3148"/>
                  </a:lnTo>
                  <a:lnTo>
                    <a:pt x="5901" y="1574"/>
                  </a:lnTo>
                  <a:lnTo>
                    <a:pt x="2754" y="0"/>
                  </a:lnTo>
                  <a:lnTo>
                    <a:pt x="0" y="1967"/>
                  </a:lnTo>
                  <a:lnTo>
                    <a:pt x="3148" y="1574"/>
                  </a:lnTo>
                  <a:lnTo>
                    <a:pt x="5901" y="3148"/>
                  </a:lnTo>
                  <a:lnTo>
                    <a:pt x="9049" y="5115"/>
                  </a:lnTo>
                  <a:lnTo>
                    <a:pt x="5901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54" name="Freeform: Shape 3148">
              <a:extLst>
                <a:ext uri="{FF2B5EF4-FFF2-40B4-BE49-F238E27FC236}">
                  <a16:creationId xmlns:a16="http://schemas.microsoft.com/office/drawing/2014/main" id="{A9B93FD3-F2D9-4CA4-AD72-26C0CAC0192D}"/>
                </a:ext>
              </a:extLst>
            </p:cNvPr>
            <p:cNvSpPr/>
            <p:nvPr/>
          </p:nvSpPr>
          <p:spPr>
            <a:xfrm>
              <a:off x="4184341" y="5492957"/>
              <a:ext cx="7869" cy="3934"/>
            </a:xfrm>
            <a:custGeom>
              <a:avLst/>
              <a:gdLst>
                <a:gd name="connsiteX0" fmla="*/ 5901 w 7868"/>
                <a:gd name="connsiteY0" fmla="*/ 1180 h 3934"/>
                <a:gd name="connsiteX1" fmla="*/ 2754 w 7868"/>
                <a:gd name="connsiteY1" fmla="*/ 0 h 3934"/>
                <a:gd name="connsiteX2" fmla="*/ 0 w 7868"/>
                <a:gd name="connsiteY2" fmla="*/ 0 h 3934"/>
                <a:gd name="connsiteX3" fmla="*/ 2754 w 7868"/>
                <a:gd name="connsiteY3" fmla="*/ 1967 h 3934"/>
                <a:gd name="connsiteX4" fmla="*/ 5901 w 7868"/>
                <a:gd name="connsiteY4" fmla="*/ 3934 h 3934"/>
                <a:gd name="connsiteX5" fmla="*/ 8655 w 7868"/>
                <a:gd name="connsiteY5" fmla="*/ 6295 h 3934"/>
                <a:gd name="connsiteX6" fmla="*/ 10623 w 7868"/>
                <a:gd name="connsiteY6" fmla="*/ 5901 h 3934"/>
                <a:gd name="connsiteX7" fmla="*/ 8655 w 7868"/>
                <a:gd name="connsiteY7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901" y="1180"/>
                  </a:moveTo>
                  <a:lnTo>
                    <a:pt x="2754" y="0"/>
                  </a:lnTo>
                  <a:lnTo>
                    <a:pt x="0" y="0"/>
                  </a:lnTo>
                  <a:lnTo>
                    <a:pt x="2754" y="1967"/>
                  </a:lnTo>
                  <a:lnTo>
                    <a:pt x="5901" y="3934"/>
                  </a:lnTo>
                  <a:lnTo>
                    <a:pt x="8655" y="6295"/>
                  </a:lnTo>
                  <a:lnTo>
                    <a:pt x="10623" y="5901"/>
                  </a:lnTo>
                  <a:lnTo>
                    <a:pt x="8655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55" name="Freeform: Shape 3149">
              <a:extLst>
                <a:ext uri="{FF2B5EF4-FFF2-40B4-BE49-F238E27FC236}">
                  <a16:creationId xmlns:a16="http://schemas.microsoft.com/office/drawing/2014/main" id="{F5460073-6C42-497E-A0E8-A69C8CA56BAE}"/>
                </a:ext>
              </a:extLst>
            </p:cNvPr>
            <p:cNvSpPr/>
            <p:nvPr/>
          </p:nvSpPr>
          <p:spPr>
            <a:xfrm>
              <a:off x="4162702" y="5493743"/>
              <a:ext cx="3934" cy="3934"/>
            </a:xfrm>
            <a:custGeom>
              <a:avLst/>
              <a:gdLst>
                <a:gd name="connsiteX0" fmla="*/ 2754 w 3934"/>
                <a:gd name="connsiteY0" fmla="*/ 393 h 0"/>
                <a:gd name="connsiteX1" fmla="*/ 0 w 3934"/>
                <a:gd name="connsiteY1" fmla="*/ 0 h 0"/>
                <a:gd name="connsiteX2" fmla="*/ 2754 w 3934"/>
                <a:gd name="connsiteY2" fmla="*/ 1574 h 0"/>
                <a:gd name="connsiteX3" fmla="*/ 5901 w 3934"/>
                <a:gd name="connsiteY3" fmla="*/ 3148 h 0"/>
                <a:gd name="connsiteX4" fmla="*/ 7082 w 3934"/>
                <a:gd name="connsiteY4" fmla="*/ 2754 h 0"/>
                <a:gd name="connsiteX5" fmla="*/ 5508 w 3934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2754" y="393"/>
                  </a:moveTo>
                  <a:lnTo>
                    <a:pt x="0" y="0"/>
                  </a:lnTo>
                  <a:lnTo>
                    <a:pt x="2754" y="1574"/>
                  </a:lnTo>
                  <a:lnTo>
                    <a:pt x="5901" y="3148"/>
                  </a:lnTo>
                  <a:lnTo>
                    <a:pt x="7082" y="2754"/>
                  </a:lnTo>
                  <a:lnTo>
                    <a:pt x="550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56" name="Freeform: Shape 3150">
              <a:extLst>
                <a:ext uri="{FF2B5EF4-FFF2-40B4-BE49-F238E27FC236}">
                  <a16:creationId xmlns:a16="http://schemas.microsoft.com/office/drawing/2014/main" id="{B4920ABA-B41C-4E19-ADD3-F5D109EC2C63}"/>
                </a:ext>
              </a:extLst>
            </p:cNvPr>
            <p:cNvSpPr/>
            <p:nvPr/>
          </p:nvSpPr>
          <p:spPr>
            <a:xfrm>
              <a:off x="4178833" y="5484301"/>
              <a:ext cx="11803" cy="7869"/>
            </a:xfrm>
            <a:custGeom>
              <a:avLst/>
              <a:gdLst>
                <a:gd name="connsiteX0" fmla="*/ 3147 w 11802"/>
                <a:gd name="connsiteY0" fmla="*/ 394 h 7868"/>
                <a:gd name="connsiteX1" fmla="*/ 0 w 11802"/>
                <a:gd name="connsiteY1" fmla="*/ 0 h 7868"/>
                <a:gd name="connsiteX2" fmla="*/ 2754 w 11802"/>
                <a:gd name="connsiteY2" fmla="*/ 3148 h 7868"/>
                <a:gd name="connsiteX3" fmla="*/ 5508 w 11802"/>
                <a:gd name="connsiteY3" fmla="*/ 4328 h 7868"/>
                <a:gd name="connsiteX4" fmla="*/ 8655 w 11802"/>
                <a:gd name="connsiteY4" fmla="*/ 5508 h 7868"/>
                <a:gd name="connsiteX5" fmla="*/ 11803 w 11802"/>
                <a:gd name="connsiteY5" fmla="*/ 7475 h 7868"/>
                <a:gd name="connsiteX6" fmla="*/ 14557 w 11802"/>
                <a:gd name="connsiteY6" fmla="*/ 9442 h 7868"/>
                <a:gd name="connsiteX7" fmla="*/ 14557 w 11802"/>
                <a:gd name="connsiteY7" fmla="*/ 8656 h 7868"/>
                <a:gd name="connsiteX8" fmla="*/ 11803 w 11802"/>
                <a:gd name="connsiteY8" fmla="*/ 5508 h 7868"/>
                <a:gd name="connsiteX9" fmla="*/ 9049 w 11802"/>
                <a:gd name="connsiteY9" fmla="*/ 3541 h 7868"/>
                <a:gd name="connsiteX10" fmla="*/ 5901 w 11802"/>
                <a:gd name="connsiteY10" fmla="*/ 196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7868">
                  <a:moveTo>
                    <a:pt x="3147" y="394"/>
                  </a:moveTo>
                  <a:lnTo>
                    <a:pt x="0" y="0"/>
                  </a:lnTo>
                  <a:lnTo>
                    <a:pt x="2754" y="3148"/>
                  </a:lnTo>
                  <a:lnTo>
                    <a:pt x="5508" y="4328"/>
                  </a:lnTo>
                  <a:lnTo>
                    <a:pt x="8655" y="5508"/>
                  </a:lnTo>
                  <a:lnTo>
                    <a:pt x="11803" y="7475"/>
                  </a:lnTo>
                  <a:lnTo>
                    <a:pt x="14557" y="9442"/>
                  </a:lnTo>
                  <a:lnTo>
                    <a:pt x="14557" y="8656"/>
                  </a:lnTo>
                  <a:lnTo>
                    <a:pt x="11803" y="5508"/>
                  </a:lnTo>
                  <a:lnTo>
                    <a:pt x="9049" y="3541"/>
                  </a:lnTo>
                  <a:lnTo>
                    <a:pt x="590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57" name="Freeform: Shape 3151">
              <a:extLst>
                <a:ext uri="{FF2B5EF4-FFF2-40B4-BE49-F238E27FC236}">
                  <a16:creationId xmlns:a16="http://schemas.microsoft.com/office/drawing/2014/main" id="{82B8C2BF-63C9-4FC4-8B84-DFC4B19E2A2D}"/>
                </a:ext>
              </a:extLst>
            </p:cNvPr>
            <p:cNvSpPr/>
            <p:nvPr/>
          </p:nvSpPr>
          <p:spPr>
            <a:xfrm>
              <a:off x="4165850" y="5489809"/>
              <a:ext cx="3934" cy="3934"/>
            </a:xfrm>
            <a:custGeom>
              <a:avLst/>
              <a:gdLst>
                <a:gd name="connsiteX0" fmla="*/ 393 w 0"/>
                <a:gd name="connsiteY0" fmla="*/ 3148 h 0"/>
                <a:gd name="connsiteX1" fmla="*/ 0 w 0"/>
                <a:gd name="connsiteY1" fmla="*/ 0 h 0"/>
                <a:gd name="connsiteX2" fmla="*/ 0 w 0"/>
                <a:gd name="connsiteY2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3148"/>
                  </a:moveTo>
                  <a:lnTo>
                    <a:pt x="0" y="0"/>
                  </a:lnTo>
                  <a:lnTo>
                    <a:pt x="0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58" name="Freeform: Shape 3152">
              <a:extLst>
                <a:ext uri="{FF2B5EF4-FFF2-40B4-BE49-F238E27FC236}">
                  <a16:creationId xmlns:a16="http://schemas.microsoft.com/office/drawing/2014/main" id="{D24196F5-5760-45C4-BB1C-96F6D2D04216}"/>
                </a:ext>
              </a:extLst>
            </p:cNvPr>
            <p:cNvSpPr/>
            <p:nvPr/>
          </p:nvSpPr>
          <p:spPr>
            <a:xfrm>
              <a:off x="4160342" y="5482334"/>
              <a:ext cx="3934" cy="7869"/>
            </a:xfrm>
            <a:custGeom>
              <a:avLst/>
              <a:gdLst>
                <a:gd name="connsiteX0" fmla="*/ 3541 w 0"/>
                <a:gd name="connsiteY0" fmla="*/ 5901 h 7868"/>
                <a:gd name="connsiteX1" fmla="*/ 3147 w 0"/>
                <a:gd name="connsiteY1" fmla="*/ 3148 h 7868"/>
                <a:gd name="connsiteX2" fmla="*/ 3147 w 0"/>
                <a:gd name="connsiteY2" fmla="*/ 0 h 7868"/>
                <a:gd name="connsiteX3" fmla="*/ 0 w 0"/>
                <a:gd name="connsiteY3" fmla="*/ 0 h 7868"/>
                <a:gd name="connsiteX4" fmla="*/ 393 w 0"/>
                <a:gd name="connsiteY4" fmla="*/ 3148 h 7868"/>
                <a:gd name="connsiteX5" fmla="*/ 1574 w 0"/>
                <a:gd name="connsiteY5" fmla="*/ 5901 h 7868"/>
                <a:gd name="connsiteX6" fmla="*/ 1967 w 0"/>
                <a:gd name="connsiteY6" fmla="*/ 8656 h 7868"/>
                <a:gd name="connsiteX7" fmla="*/ 2360 w 0"/>
                <a:gd name="connsiteY7" fmla="*/ 8656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7868">
                  <a:moveTo>
                    <a:pt x="3541" y="5901"/>
                  </a:moveTo>
                  <a:lnTo>
                    <a:pt x="3147" y="3148"/>
                  </a:lnTo>
                  <a:lnTo>
                    <a:pt x="3147" y="0"/>
                  </a:lnTo>
                  <a:lnTo>
                    <a:pt x="0" y="0"/>
                  </a:lnTo>
                  <a:lnTo>
                    <a:pt x="393" y="3148"/>
                  </a:lnTo>
                  <a:lnTo>
                    <a:pt x="1574" y="5901"/>
                  </a:lnTo>
                  <a:lnTo>
                    <a:pt x="1967" y="8656"/>
                  </a:lnTo>
                  <a:lnTo>
                    <a:pt x="2360" y="865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59" name="Freeform: Shape 3153">
              <a:extLst>
                <a:ext uri="{FF2B5EF4-FFF2-40B4-BE49-F238E27FC236}">
                  <a16:creationId xmlns:a16="http://schemas.microsoft.com/office/drawing/2014/main" id="{B304C759-6E76-4E8A-8909-E10F9ED7D0F7}"/>
                </a:ext>
              </a:extLst>
            </p:cNvPr>
            <p:cNvSpPr/>
            <p:nvPr/>
          </p:nvSpPr>
          <p:spPr>
            <a:xfrm>
              <a:off x="4154440" y="5476432"/>
              <a:ext cx="3934" cy="11803"/>
            </a:xfrm>
            <a:custGeom>
              <a:avLst/>
              <a:gdLst>
                <a:gd name="connsiteX0" fmla="*/ 5114 w 3934"/>
                <a:gd name="connsiteY0" fmla="*/ 6295 h 11802"/>
                <a:gd name="connsiteX1" fmla="*/ 4721 w 3934"/>
                <a:gd name="connsiteY1" fmla="*/ 3148 h 11802"/>
                <a:gd name="connsiteX2" fmla="*/ 2754 w 3934"/>
                <a:gd name="connsiteY2" fmla="*/ 0 h 11802"/>
                <a:gd name="connsiteX3" fmla="*/ 0 w 3934"/>
                <a:gd name="connsiteY3" fmla="*/ 0 h 11802"/>
                <a:gd name="connsiteX4" fmla="*/ 1574 w 3934"/>
                <a:gd name="connsiteY4" fmla="*/ 2754 h 11802"/>
                <a:gd name="connsiteX5" fmla="*/ 3147 w 3934"/>
                <a:gd name="connsiteY5" fmla="*/ 5508 h 11802"/>
                <a:gd name="connsiteX6" fmla="*/ 393 w 3934"/>
                <a:gd name="connsiteY6" fmla="*/ 5115 h 11802"/>
                <a:gd name="connsiteX7" fmla="*/ 1967 w 3934"/>
                <a:gd name="connsiteY7" fmla="*/ 8262 h 11802"/>
                <a:gd name="connsiteX8" fmla="*/ 2360 w 3934"/>
                <a:gd name="connsiteY8" fmla="*/ 11016 h 11802"/>
                <a:gd name="connsiteX9" fmla="*/ 5114 w 3934"/>
                <a:gd name="connsiteY9" fmla="*/ 14164 h 11802"/>
                <a:gd name="connsiteX10" fmla="*/ 5901 w 3934"/>
                <a:gd name="connsiteY10" fmla="*/ 11803 h 11802"/>
                <a:gd name="connsiteX11" fmla="*/ 5901 w 3934"/>
                <a:gd name="connsiteY11" fmla="*/ 904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934" h="11802">
                  <a:moveTo>
                    <a:pt x="5114" y="6295"/>
                  </a:moveTo>
                  <a:lnTo>
                    <a:pt x="4721" y="3148"/>
                  </a:lnTo>
                  <a:lnTo>
                    <a:pt x="2754" y="0"/>
                  </a:lnTo>
                  <a:lnTo>
                    <a:pt x="0" y="0"/>
                  </a:lnTo>
                  <a:lnTo>
                    <a:pt x="1574" y="2754"/>
                  </a:lnTo>
                  <a:lnTo>
                    <a:pt x="3147" y="5508"/>
                  </a:lnTo>
                  <a:lnTo>
                    <a:pt x="393" y="5115"/>
                  </a:lnTo>
                  <a:lnTo>
                    <a:pt x="1967" y="8262"/>
                  </a:lnTo>
                  <a:lnTo>
                    <a:pt x="2360" y="11016"/>
                  </a:lnTo>
                  <a:lnTo>
                    <a:pt x="5114" y="14164"/>
                  </a:lnTo>
                  <a:lnTo>
                    <a:pt x="5901" y="11803"/>
                  </a:lnTo>
                  <a:lnTo>
                    <a:pt x="5901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60" name="Freeform: Shape 3154">
              <a:extLst>
                <a:ext uri="{FF2B5EF4-FFF2-40B4-BE49-F238E27FC236}">
                  <a16:creationId xmlns:a16="http://schemas.microsoft.com/office/drawing/2014/main" id="{FDF94683-4996-46DA-8140-4B05A649DF02}"/>
                </a:ext>
              </a:extLst>
            </p:cNvPr>
            <p:cNvSpPr/>
            <p:nvPr/>
          </p:nvSpPr>
          <p:spPr>
            <a:xfrm>
              <a:off x="4165063" y="5485875"/>
              <a:ext cx="3934" cy="3934"/>
            </a:xfrm>
            <a:custGeom>
              <a:avLst/>
              <a:gdLst>
                <a:gd name="connsiteX0" fmla="*/ 4328 w 3934"/>
                <a:gd name="connsiteY0" fmla="*/ 0 h 0"/>
                <a:gd name="connsiteX1" fmla="*/ 1180 w 3934"/>
                <a:gd name="connsiteY1" fmla="*/ 0 h 0"/>
                <a:gd name="connsiteX2" fmla="*/ 0 w 3934"/>
                <a:gd name="connsiteY2" fmla="*/ 2754 h 0"/>
                <a:gd name="connsiteX3" fmla="*/ 1574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4328" y="0"/>
                  </a:moveTo>
                  <a:lnTo>
                    <a:pt x="1180" y="0"/>
                  </a:lnTo>
                  <a:lnTo>
                    <a:pt x="0" y="2754"/>
                  </a:lnTo>
                  <a:lnTo>
                    <a:pt x="157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61" name="Freeform: Shape 3155">
              <a:extLst>
                <a:ext uri="{FF2B5EF4-FFF2-40B4-BE49-F238E27FC236}">
                  <a16:creationId xmlns:a16="http://schemas.microsoft.com/office/drawing/2014/main" id="{6FA06DB6-633F-4A91-A107-09AC4DA9A3E9}"/>
                </a:ext>
              </a:extLst>
            </p:cNvPr>
            <p:cNvSpPr/>
            <p:nvPr/>
          </p:nvSpPr>
          <p:spPr>
            <a:xfrm>
              <a:off x="4165456" y="5477613"/>
              <a:ext cx="11803" cy="3934"/>
            </a:xfrm>
            <a:custGeom>
              <a:avLst/>
              <a:gdLst>
                <a:gd name="connsiteX0" fmla="*/ 11803 w 11802"/>
                <a:gd name="connsiteY0" fmla="*/ 7475 h 3934"/>
                <a:gd name="connsiteX1" fmla="*/ 11803 w 11802"/>
                <a:gd name="connsiteY1" fmla="*/ 5115 h 3934"/>
                <a:gd name="connsiteX2" fmla="*/ 8655 w 11802"/>
                <a:gd name="connsiteY2" fmla="*/ 3541 h 3934"/>
                <a:gd name="connsiteX3" fmla="*/ 5901 w 11802"/>
                <a:gd name="connsiteY3" fmla="*/ 2754 h 3934"/>
                <a:gd name="connsiteX4" fmla="*/ 2754 w 11802"/>
                <a:gd name="connsiteY4" fmla="*/ 393 h 3934"/>
                <a:gd name="connsiteX5" fmla="*/ 0 w 11802"/>
                <a:gd name="connsiteY5" fmla="*/ 0 h 3934"/>
                <a:gd name="connsiteX6" fmla="*/ 2754 w 11802"/>
                <a:gd name="connsiteY6" fmla="*/ 2754 h 3934"/>
                <a:gd name="connsiteX7" fmla="*/ 5901 w 11802"/>
                <a:gd name="connsiteY7" fmla="*/ 5508 h 3934"/>
                <a:gd name="connsiteX8" fmla="*/ 9049 w 11802"/>
                <a:gd name="connsiteY8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 h="3934">
                  <a:moveTo>
                    <a:pt x="11803" y="7475"/>
                  </a:moveTo>
                  <a:lnTo>
                    <a:pt x="11803" y="5115"/>
                  </a:lnTo>
                  <a:lnTo>
                    <a:pt x="8655" y="3541"/>
                  </a:lnTo>
                  <a:lnTo>
                    <a:pt x="5901" y="2754"/>
                  </a:lnTo>
                  <a:lnTo>
                    <a:pt x="2754" y="393"/>
                  </a:lnTo>
                  <a:lnTo>
                    <a:pt x="0" y="0"/>
                  </a:lnTo>
                  <a:lnTo>
                    <a:pt x="2754" y="2754"/>
                  </a:lnTo>
                  <a:lnTo>
                    <a:pt x="5901" y="5508"/>
                  </a:lnTo>
                  <a:lnTo>
                    <a:pt x="9049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62" name="Freeform: Shape 3156">
              <a:extLst>
                <a:ext uri="{FF2B5EF4-FFF2-40B4-BE49-F238E27FC236}">
                  <a16:creationId xmlns:a16="http://schemas.microsoft.com/office/drawing/2014/main" id="{6AAF8A1D-C215-4383-B06B-06BF07BD3A79}"/>
                </a:ext>
              </a:extLst>
            </p:cNvPr>
            <p:cNvSpPr/>
            <p:nvPr/>
          </p:nvSpPr>
          <p:spPr>
            <a:xfrm>
              <a:off x="4150900" y="5477613"/>
              <a:ext cx="3934" cy="3934"/>
            </a:xfrm>
            <a:custGeom>
              <a:avLst/>
              <a:gdLst>
                <a:gd name="connsiteX0" fmla="*/ 0 w 0"/>
                <a:gd name="connsiteY0" fmla="*/ 2754 h 3934"/>
                <a:gd name="connsiteX1" fmla="*/ 1180 w 0"/>
                <a:gd name="connsiteY1" fmla="*/ 5508 h 3934"/>
                <a:gd name="connsiteX2" fmla="*/ 2361 w 0"/>
                <a:gd name="connsiteY2" fmla="*/ 5508 h 3934"/>
                <a:gd name="connsiteX3" fmla="*/ 3148 w 0"/>
                <a:gd name="connsiteY3" fmla="*/ 2360 h 3934"/>
                <a:gd name="connsiteX4" fmla="*/ 394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2754"/>
                  </a:moveTo>
                  <a:lnTo>
                    <a:pt x="1180" y="5508"/>
                  </a:lnTo>
                  <a:lnTo>
                    <a:pt x="2361" y="5508"/>
                  </a:lnTo>
                  <a:lnTo>
                    <a:pt x="3148" y="2360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63" name="Freeform: Shape 3157">
              <a:extLst>
                <a:ext uri="{FF2B5EF4-FFF2-40B4-BE49-F238E27FC236}">
                  <a16:creationId xmlns:a16="http://schemas.microsoft.com/office/drawing/2014/main" id="{E77F3C31-1F86-4A07-B58B-B184AEE81A90}"/>
                </a:ext>
              </a:extLst>
            </p:cNvPr>
            <p:cNvSpPr/>
            <p:nvPr/>
          </p:nvSpPr>
          <p:spPr>
            <a:xfrm>
              <a:off x="4178833" y="5476432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3147 w 3934"/>
                <a:gd name="connsiteY1" fmla="*/ 2361 h 3934"/>
                <a:gd name="connsiteX2" fmla="*/ 5901 w 3934"/>
                <a:gd name="connsiteY2" fmla="*/ 4328 h 3934"/>
                <a:gd name="connsiteX3" fmla="*/ 5901 w 3934"/>
                <a:gd name="connsiteY3" fmla="*/ 2754 h 3934"/>
                <a:gd name="connsiteX4" fmla="*/ 3147 w 3934"/>
                <a:gd name="connsiteY4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3147" y="2361"/>
                  </a:lnTo>
                  <a:lnTo>
                    <a:pt x="5901" y="4328"/>
                  </a:lnTo>
                  <a:lnTo>
                    <a:pt x="5901" y="2754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64" name="Freeform: Shape 3158">
              <a:extLst>
                <a:ext uri="{FF2B5EF4-FFF2-40B4-BE49-F238E27FC236}">
                  <a16:creationId xmlns:a16="http://schemas.microsoft.com/office/drawing/2014/main" id="{1D4FE76B-11E8-4CF0-9A18-079F5256708B}"/>
                </a:ext>
              </a:extLst>
            </p:cNvPr>
            <p:cNvSpPr/>
            <p:nvPr/>
          </p:nvSpPr>
          <p:spPr>
            <a:xfrm>
              <a:off x="4172538" y="5471711"/>
              <a:ext cx="7869" cy="7869"/>
            </a:xfrm>
            <a:custGeom>
              <a:avLst/>
              <a:gdLst>
                <a:gd name="connsiteX0" fmla="*/ 2754 w 7868"/>
                <a:gd name="connsiteY0" fmla="*/ 1967 h 7868"/>
                <a:gd name="connsiteX1" fmla="*/ 0 w 7868"/>
                <a:gd name="connsiteY1" fmla="*/ 0 h 7868"/>
                <a:gd name="connsiteX2" fmla="*/ 787 w 7868"/>
                <a:gd name="connsiteY2" fmla="*/ 3148 h 7868"/>
                <a:gd name="connsiteX3" fmla="*/ 394 w 7868"/>
                <a:gd name="connsiteY3" fmla="*/ 5901 h 7868"/>
                <a:gd name="connsiteX4" fmla="*/ 5901 w 7868"/>
                <a:gd name="connsiteY4" fmla="*/ 8262 h 7868"/>
                <a:gd name="connsiteX5" fmla="*/ 7869 w 7868"/>
                <a:gd name="connsiteY5" fmla="*/ 7082 h 7868"/>
                <a:gd name="connsiteX6" fmla="*/ 5115 w 7868"/>
                <a:gd name="connsiteY6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7868">
                  <a:moveTo>
                    <a:pt x="2754" y="1967"/>
                  </a:moveTo>
                  <a:lnTo>
                    <a:pt x="0" y="0"/>
                  </a:lnTo>
                  <a:lnTo>
                    <a:pt x="787" y="3148"/>
                  </a:lnTo>
                  <a:lnTo>
                    <a:pt x="394" y="5901"/>
                  </a:lnTo>
                  <a:lnTo>
                    <a:pt x="5901" y="8262"/>
                  </a:lnTo>
                  <a:lnTo>
                    <a:pt x="7869" y="7082"/>
                  </a:lnTo>
                  <a:lnTo>
                    <a:pt x="5115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65" name="Freeform: Shape 3159">
              <a:extLst>
                <a:ext uri="{FF2B5EF4-FFF2-40B4-BE49-F238E27FC236}">
                  <a16:creationId xmlns:a16="http://schemas.microsoft.com/office/drawing/2014/main" id="{5A8CC63C-5A85-47E6-8AE1-C62512A2BEAD}"/>
                </a:ext>
              </a:extLst>
            </p:cNvPr>
            <p:cNvSpPr/>
            <p:nvPr/>
          </p:nvSpPr>
          <p:spPr>
            <a:xfrm>
              <a:off x="4140671" y="5463056"/>
              <a:ext cx="3934" cy="7869"/>
            </a:xfrm>
            <a:custGeom>
              <a:avLst/>
              <a:gdLst>
                <a:gd name="connsiteX0" fmla="*/ 1967 w 3934"/>
                <a:gd name="connsiteY0" fmla="*/ 2754 h 7868"/>
                <a:gd name="connsiteX1" fmla="*/ 0 w 3934"/>
                <a:gd name="connsiteY1" fmla="*/ 0 h 7868"/>
                <a:gd name="connsiteX2" fmla="*/ 393 w 3934"/>
                <a:gd name="connsiteY2" fmla="*/ 2754 h 7868"/>
                <a:gd name="connsiteX3" fmla="*/ 1180 w 3934"/>
                <a:gd name="connsiteY3" fmla="*/ 5508 h 7868"/>
                <a:gd name="connsiteX4" fmla="*/ 393 w 3934"/>
                <a:gd name="connsiteY4" fmla="*/ 8655 h 7868"/>
                <a:gd name="connsiteX5" fmla="*/ 2360 w 3934"/>
                <a:gd name="connsiteY5" fmla="*/ 11409 h 7868"/>
                <a:gd name="connsiteX6" fmla="*/ 4328 w 3934"/>
                <a:gd name="connsiteY6" fmla="*/ 10622 h 7868"/>
                <a:gd name="connsiteX7" fmla="*/ 4721 w 3934"/>
                <a:gd name="connsiteY7" fmla="*/ 7475 h 7868"/>
                <a:gd name="connsiteX8" fmla="*/ 4328 w 3934"/>
                <a:gd name="connsiteY8" fmla="*/ 4328 h 7868"/>
                <a:gd name="connsiteX9" fmla="*/ 4721 w 3934"/>
                <a:gd name="connsiteY9" fmla="*/ 1573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7868">
                  <a:moveTo>
                    <a:pt x="1967" y="2754"/>
                  </a:moveTo>
                  <a:lnTo>
                    <a:pt x="0" y="0"/>
                  </a:lnTo>
                  <a:lnTo>
                    <a:pt x="393" y="2754"/>
                  </a:lnTo>
                  <a:lnTo>
                    <a:pt x="1180" y="5508"/>
                  </a:lnTo>
                  <a:lnTo>
                    <a:pt x="393" y="8655"/>
                  </a:lnTo>
                  <a:lnTo>
                    <a:pt x="2360" y="11409"/>
                  </a:lnTo>
                  <a:lnTo>
                    <a:pt x="4328" y="10622"/>
                  </a:lnTo>
                  <a:lnTo>
                    <a:pt x="4721" y="7475"/>
                  </a:lnTo>
                  <a:lnTo>
                    <a:pt x="4328" y="4328"/>
                  </a:lnTo>
                  <a:lnTo>
                    <a:pt x="4721" y="157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66" name="Freeform: Shape 3160">
              <a:extLst>
                <a:ext uri="{FF2B5EF4-FFF2-40B4-BE49-F238E27FC236}">
                  <a16:creationId xmlns:a16="http://schemas.microsoft.com/office/drawing/2014/main" id="{4DEFCDF5-C02C-457E-BEE2-3F97147D3CAE}"/>
                </a:ext>
              </a:extLst>
            </p:cNvPr>
            <p:cNvSpPr/>
            <p:nvPr/>
          </p:nvSpPr>
          <p:spPr>
            <a:xfrm>
              <a:off x="4164669" y="5464630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2754 w 3934"/>
                <a:gd name="connsiteY1" fmla="*/ 2754 h 3934"/>
                <a:gd name="connsiteX2" fmla="*/ 5508 w 3934"/>
                <a:gd name="connsiteY2" fmla="*/ 3934 h 3934"/>
                <a:gd name="connsiteX3" fmla="*/ 5508 w 3934"/>
                <a:gd name="connsiteY3" fmla="*/ 2754 h 3934"/>
                <a:gd name="connsiteX4" fmla="*/ 2754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2754" y="2754"/>
                  </a:lnTo>
                  <a:lnTo>
                    <a:pt x="5508" y="3934"/>
                  </a:lnTo>
                  <a:lnTo>
                    <a:pt x="5508" y="275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67" name="Freeform: Shape 3161">
              <a:extLst>
                <a:ext uri="{FF2B5EF4-FFF2-40B4-BE49-F238E27FC236}">
                  <a16:creationId xmlns:a16="http://schemas.microsoft.com/office/drawing/2014/main" id="{01E401FC-AB73-438E-9FCB-35799D8DD79A}"/>
                </a:ext>
              </a:extLst>
            </p:cNvPr>
            <p:cNvSpPr/>
            <p:nvPr/>
          </p:nvSpPr>
          <p:spPr>
            <a:xfrm>
              <a:off x="4167817" y="5461482"/>
              <a:ext cx="3934" cy="3934"/>
            </a:xfrm>
            <a:custGeom>
              <a:avLst/>
              <a:gdLst>
                <a:gd name="connsiteX0" fmla="*/ 0 w 3934"/>
                <a:gd name="connsiteY0" fmla="*/ 1967 h 3934"/>
                <a:gd name="connsiteX1" fmla="*/ 2360 w 3934"/>
                <a:gd name="connsiteY1" fmla="*/ 4721 h 3934"/>
                <a:gd name="connsiteX2" fmla="*/ 5114 w 3934"/>
                <a:gd name="connsiteY2" fmla="*/ 3147 h 3934"/>
                <a:gd name="connsiteX3" fmla="*/ 2754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0" y="1967"/>
                  </a:moveTo>
                  <a:lnTo>
                    <a:pt x="2360" y="4721"/>
                  </a:lnTo>
                  <a:lnTo>
                    <a:pt x="5114" y="314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68" name="Freeform: Shape 3162">
              <a:extLst>
                <a:ext uri="{FF2B5EF4-FFF2-40B4-BE49-F238E27FC236}">
                  <a16:creationId xmlns:a16="http://schemas.microsoft.com/office/drawing/2014/main" id="{6EC10576-98EF-4DF2-84BF-63A196549BA2}"/>
                </a:ext>
              </a:extLst>
            </p:cNvPr>
            <p:cNvSpPr/>
            <p:nvPr/>
          </p:nvSpPr>
          <p:spPr>
            <a:xfrm>
              <a:off x="4220143" y="5531512"/>
              <a:ext cx="35408" cy="23606"/>
            </a:xfrm>
            <a:custGeom>
              <a:avLst/>
              <a:gdLst>
                <a:gd name="connsiteX0" fmla="*/ 35408 w 35408"/>
                <a:gd name="connsiteY0" fmla="*/ 18098 h 23605"/>
                <a:gd name="connsiteX1" fmla="*/ 36195 w 35408"/>
                <a:gd name="connsiteY1" fmla="*/ 14950 h 23605"/>
                <a:gd name="connsiteX2" fmla="*/ 38949 w 35408"/>
                <a:gd name="connsiteY2" fmla="*/ 15737 h 23605"/>
                <a:gd name="connsiteX3" fmla="*/ 37769 w 35408"/>
                <a:gd name="connsiteY3" fmla="*/ 12983 h 23605"/>
                <a:gd name="connsiteX4" fmla="*/ 35015 w 35408"/>
                <a:gd name="connsiteY4" fmla="*/ 11016 h 23605"/>
                <a:gd name="connsiteX5" fmla="*/ 32261 w 35408"/>
                <a:gd name="connsiteY5" fmla="*/ 10229 h 23605"/>
                <a:gd name="connsiteX6" fmla="*/ 29113 w 35408"/>
                <a:gd name="connsiteY6" fmla="*/ 9836 h 23605"/>
                <a:gd name="connsiteX7" fmla="*/ 29113 w 35408"/>
                <a:gd name="connsiteY7" fmla="*/ 6689 h 23605"/>
                <a:gd name="connsiteX8" fmla="*/ 25966 w 35408"/>
                <a:gd name="connsiteY8" fmla="*/ 6689 h 23605"/>
                <a:gd name="connsiteX9" fmla="*/ 23212 w 35408"/>
                <a:gd name="connsiteY9" fmla="*/ 5901 h 23605"/>
                <a:gd name="connsiteX10" fmla="*/ 23212 w 35408"/>
                <a:gd name="connsiteY10" fmla="*/ 8656 h 23605"/>
                <a:gd name="connsiteX11" fmla="*/ 21245 w 35408"/>
                <a:gd name="connsiteY11" fmla="*/ 5901 h 23605"/>
                <a:gd name="connsiteX12" fmla="*/ 18098 w 35408"/>
                <a:gd name="connsiteY12" fmla="*/ 4721 h 23605"/>
                <a:gd name="connsiteX13" fmla="*/ 17311 w 35408"/>
                <a:gd name="connsiteY13" fmla="*/ 7869 h 23605"/>
                <a:gd name="connsiteX14" fmla="*/ 14950 w 35408"/>
                <a:gd name="connsiteY14" fmla="*/ 4721 h 23605"/>
                <a:gd name="connsiteX15" fmla="*/ 12196 w 35408"/>
                <a:gd name="connsiteY15" fmla="*/ 2754 h 23605"/>
                <a:gd name="connsiteX16" fmla="*/ 9836 w 35408"/>
                <a:gd name="connsiteY16" fmla="*/ 0 h 23605"/>
                <a:gd name="connsiteX17" fmla="*/ 7082 w 35408"/>
                <a:gd name="connsiteY17" fmla="*/ 1180 h 23605"/>
                <a:gd name="connsiteX18" fmla="*/ 9049 w 35408"/>
                <a:gd name="connsiteY18" fmla="*/ 3934 h 23605"/>
                <a:gd name="connsiteX19" fmla="*/ 5901 w 35408"/>
                <a:gd name="connsiteY19" fmla="*/ 3934 h 23605"/>
                <a:gd name="connsiteX20" fmla="*/ 2754 w 35408"/>
                <a:gd name="connsiteY20" fmla="*/ 3934 h 23605"/>
                <a:gd name="connsiteX21" fmla="*/ 5901 w 35408"/>
                <a:gd name="connsiteY21" fmla="*/ 5901 h 23605"/>
                <a:gd name="connsiteX22" fmla="*/ 8655 w 35408"/>
                <a:gd name="connsiteY22" fmla="*/ 8262 h 23605"/>
                <a:gd name="connsiteX23" fmla="*/ 11803 w 35408"/>
                <a:gd name="connsiteY23" fmla="*/ 8656 h 23605"/>
                <a:gd name="connsiteX24" fmla="*/ 14557 w 35408"/>
                <a:gd name="connsiteY24" fmla="*/ 9442 h 23605"/>
                <a:gd name="connsiteX25" fmla="*/ 11409 w 35408"/>
                <a:gd name="connsiteY25" fmla="*/ 9442 h 23605"/>
                <a:gd name="connsiteX26" fmla="*/ 8655 w 35408"/>
                <a:gd name="connsiteY26" fmla="*/ 8656 h 23605"/>
                <a:gd name="connsiteX27" fmla="*/ 5508 w 35408"/>
                <a:gd name="connsiteY27" fmla="*/ 6689 h 23605"/>
                <a:gd name="connsiteX28" fmla="*/ 2754 w 35408"/>
                <a:gd name="connsiteY28" fmla="*/ 6295 h 23605"/>
                <a:gd name="connsiteX29" fmla="*/ 0 w 35408"/>
                <a:gd name="connsiteY29" fmla="*/ 9049 h 23605"/>
                <a:gd name="connsiteX30" fmla="*/ 3147 w 35408"/>
                <a:gd name="connsiteY30" fmla="*/ 9049 h 23605"/>
                <a:gd name="connsiteX31" fmla="*/ 3934 w 35408"/>
                <a:gd name="connsiteY31" fmla="*/ 11803 h 23605"/>
                <a:gd name="connsiteX32" fmla="*/ 6688 w 35408"/>
                <a:gd name="connsiteY32" fmla="*/ 11016 h 23605"/>
                <a:gd name="connsiteX33" fmla="*/ 9836 w 35408"/>
                <a:gd name="connsiteY33" fmla="*/ 10623 h 23605"/>
                <a:gd name="connsiteX34" fmla="*/ 11409 w 35408"/>
                <a:gd name="connsiteY34" fmla="*/ 13377 h 23605"/>
                <a:gd name="connsiteX35" fmla="*/ 12983 w 35408"/>
                <a:gd name="connsiteY35" fmla="*/ 18885 h 23605"/>
                <a:gd name="connsiteX36" fmla="*/ 16130 w 35408"/>
                <a:gd name="connsiteY36" fmla="*/ 19671 h 23605"/>
                <a:gd name="connsiteX37" fmla="*/ 18884 w 35408"/>
                <a:gd name="connsiteY37" fmla="*/ 18885 h 23605"/>
                <a:gd name="connsiteX38" fmla="*/ 19278 w 35408"/>
                <a:gd name="connsiteY38" fmla="*/ 15737 h 23605"/>
                <a:gd name="connsiteX39" fmla="*/ 22032 w 35408"/>
                <a:gd name="connsiteY39" fmla="*/ 15344 h 23605"/>
                <a:gd name="connsiteX40" fmla="*/ 25179 w 35408"/>
                <a:gd name="connsiteY40" fmla="*/ 14950 h 23605"/>
                <a:gd name="connsiteX41" fmla="*/ 27933 w 35408"/>
                <a:gd name="connsiteY41" fmla="*/ 15737 h 23605"/>
                <a:gd name="connsiteX42" fmla="*/ 25179 w 35408"/>
                <a:gd name="connsiteY42" fmla="*/ 18885 h 23605"/>
                <a:gd name="connsiteX43" fmla="*/ 27933 w 35408"/>
                <a:gd name="connsiteY43" fmla="*/ 20852 h 23605"/>
                <a:gd name="connsiteX44" fmla="*/ 25179 w 35408"/>
                <a:gd name="connsiteY44" fmla="*/ 22032 h 23605"/>
                <a:gd name="connsiteX45" fmla="*/ 22032 w 35408"/>
                <a:gd name="connsiteY45" fmla="*/ 22819 h 23605"/>
                <a:gd name="connsiteX46" fmla="*/ 25179 w 35408"/>
                <a:gd name="connsiteY46" fmla="*/ 23212 h 23605"/>
                <a:gd name="connsiteX47" fmla="*/ 27933 w 35408"/>
                <a:gd name="connsiteY47" fmla="*/ 24393 h 23605"/>
                <a:gd name="connsiteX48" fmla="*/ 29507 w 35408"/>
                <a:gd name="connsiteY48" fmla="*/ 23212 h 23605"/>
                <a:gd name="connsiteX49" fmla="*/ 32654 w 35408"/>
                <a:gd name="connsiteY49" fmla="*/ 22426 h 23605"/>
                <a:gd name="connsiteX50" fmla="*/ 35408 w 35408"/>
                <a:gd name="connsiteY50" fmla="*/ 20852 h 23605"/>
                <a:gd name="connsiteX51" fmla="*/ 38162 w 35408"/>
                <a:gd name="connsiteY51" fmla="*/ 20065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35408" h="23605">
                  <a:moveTo>
                    <a:pt x="35408" y="18098"/>
                  </a:moveTo>
                  <a:lnTo>
                    <a:pt x="36195" y="14950"/>
                  </a:lnTo>
                  <a:lnTo>
                    <a:pt x="38949" y="15737"/>
                  </a:lnTo>
                  <a:lnTo>
                    <a:pt x="37769" y="12983"/>
                  </a:lnTo>
                  <a:lnTo>
                    <a:pt x="35015" y="11016"/>
                  </a:lnTo>
                  <a:lnTo>
                    <a:pt x="32261" y="10229"/>
                  </a:lnTo>
                  <a:lnTo>
                    <a:pt x="29113" y="9836"/>
                  </a:lnTo>
                  <a:lnTo>
                    <a:pt x="29113" y="6689"/>
                  </a:lnTo>
                  <a:lnTo>
                    <a:pt x="25966" y="6689"/>
                  </a:lnTo>
                  <a:lnTo>
                    <a:pt x="23212" y="5901"/>
                  </a:lnTo>
                  <a:lnTo>
                    <a:pt x="23212" y="8656"/>
                  </a:lnTo>
                  <a:lnTo>
                    <a:pt x="21245" y="5901"/>
                  </a:lnTo>
                  <a:lnTo>
                    <a:pt x="18098" y="4721"/>
                  </a:lnTo>
                  <a:lnTo>
                    <a:pt x="17311" y="7869"/>
                  </a:lnTo>
                  <a:lnTo>
                    <a:pt x="14950" y="4721"/>
                  </a:lnTo>
                  <a:lnTo>
                    <a:pt x="12196" y="2754"/>
                  </a:lnTo>
                  <a:lnTo>
                    <a:pt x="9836" y="0"/>
                  </a:lnTo>
                  <a:lnTo>
                    <a:pt x="7082" y="1180"/>
                  </a:lnTo>
                  <a:lnTo>
                    <a:pt x="9049" y="3934"/>
                  </a:lnTo>
                  <a:lnTo>
                    <a:pt x="5901" y="3934"/>
                  </a:lnTo>
                  <a:lnTo>
                    <a:pt x="2754" y="3934"/>
                  </a:lnTo>
                  <a:lnTo>
                    <a:pt x="5901" y="5901"/>
                  </a:lnTo>
                  <a:lnTo>
                    <a:pt x="8655" y="8262"/>
                  </a:lnTo>
                  <a:lnTo>
                    <a:pt x="11803" y="8656"/>
                  </a:lnTo>
                  <a:lnTo>
                    <a:pt x="14557" y="9442"/>
                  </a:lnTo>
                  <a:lnTo>
                    <a:pt x="11409" y="9442"/>
                  </a:lnTo>
                  <a:lnTo>
                    <a:pt x="8655" y="8656"/>
                  </a:lnTo>
                  <a:lnTo>
                    <a:pt x="5508" y="6689"/>
                  </a:lnTo>
                  <a:lnTo>
                    <a:pt x="2754" y="6295"/>
                  </a:lnTo>
                  <a:lnTo>
                    <a:pt x="0" y="9049"/>
                  </a:lnTo>
                  <a:lnTo>
                    <a:pt x="3147" y="9049"/>
                  </a:lnTo>
                  <a:lnTo>
                    <a:pt x="3934" y="11803"/>
                  </a:lnTo>
                  <a:lnTo>
                    <a:pt x="6688" y="11016"/>
                  </a:lnTo>
                  <a:lnTo>
                    <a:pt x="9836" y="10623"/>
                  </a:lnTo>
                  <a:lnTo>
                    <a:pt x="11409" y="13377"/>
                  </a:lnTo>
                  <a:lnTo>
                    <a:pt x="12983" y="18885"/>
                  </a:lnTo>
                  <a:lnTo>
                    <a:pt x="16130" y="19671"/>
                  </a:lnTo>
                  <a:lnTo>
                    <a:pt x="18884" y="18885"/>
                  </a:lnTo>
                  <a:lnTo>
                    <a:pt x="19278" y="15737"/>
                  </a:lnTo>
                  <a:lnTo>
                    <a:pt x="22032" y="15344"/>
                  </a:lnTo>
                  <a:lnTo>
                    <a:pt x="25179" y="14950"/>
                  </a:lnTo>
                  <a:lnTo>
                    <a:pt x="27933" y="15737"/>
                  </a:lnTo>
                  <a:lnTo>
                    <a:pt x="25179" y="18885"/>
                  </a:lnTo>
                  <a:lnTo>
                    <a:pt x="27933" y="20852"/>
                  </a:lnTo>
                  <a:lnTo>
                    <a:pt x="25179" y="22032"/>
                  </a:lnTo>
                  <a:lnTo>
                    <a:pt x="22032" y="22819"/>
                  </a:lnTo>
                  <a:lnTo>
                    <a:pt x="25179" y="23212"/>
                  </a:lnTo>
                  <a:lnTo>
                    <a:pt x="27933" y="24393"/>
                  </a:lnTo>
                  <a:lnTo>
                    <a:pt x="29507" y="23212"/>
                  </a:lnTo>
                  <a:lnTo>
                    <a:pt x="32654" y="22426"/>
                  </a:lnTo>
                  <a:lnTo>
                    <a:pt x="35408" y="20852"/>
                  </a:lnTo>
                  <a:lnTo>
                    <a:pt x="38162" y="2006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69" name="Freeform: Shape 3163">
              <a:extLst>
                <a:ext uri="{FF2B5EF4-FFF2-40B4-BE49-F238E27FC236}">
                  <a16:creationId xmlns:a16="http://schemas.microsoft.com/office/drawing/2014/main" id="{2B709310-C692-482D-A0BE-983880E2872D}"/>
                </a:ext>
              </a:extLst>
            </p:cNvPr>
            <p:cNvSpPr/>
            <p:nvPr/>
          </p:nvSpPr>
          <p:spPr>
            <a:xfrm>
              <a:off x="4211881" y="5535446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3148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314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70" name="Freeform: Shape 3164">
              <a:extLst>
                <a:ext uri="{FF2B5EF4-FFF2-40B4-BE49-F238E27FC236}">
                  <a16:creationId xmlns:a16="http://schemas.microsoft.com/office/drawing/2014/main" id="{46B27CBC-74A5-4F8D-B860-AA798D53AB9E}"/>
                </a:ext>
              </a:extLst>
            </p:cNvPr>
            <p:cNvSpPr/>
            <p:nvPr/>
          </p:nvSpPr>
          <p:spPr>
            <a:xfrm>
              <a:off x="4212668" y="5531906"/>
              <a:ext cx="7869" cy="3934"/>
            </a:xfrm>
            <a:custGeom>
              <a:avLst/>
              <a:gdLst>
                <a:gd name="connsiteX0" fmla="*/ 7869 w 7868"/>
                <a:gd name="connsiteY0" fmla="*/ 0 h 3934"/>
                <a:gd name="connsiteX1" fmla="*/ 6295 w 7868"/>
                <a:gd name="connsiteY1" fmla="*/ 393 h 3934"/>
                <a:gd name="connsiteX2" fmla="*/ 3541 w 7868"/>
                <a:gd name="connsiteY2" fmla="*/ 393 h 3934"/>
                <a:gd name="connsiteX3" fmla="*/ 5901 w 7868"/>
                <a:gd name="connsiteY3" fmla="*/ 3540 h 3934"/>
                <a:gd name="connsiteX4" fmla="*/ 2754 w 7868"/>
                <a:gd name="connsiteY4" fmla="*/ 2360 h 3934"/>
                <a:gd name="connsiteX5" fmla="*/ 0 w 7868"/>
                <a:gd name="connsiteY5" fmla="*/ 1967 h 3934"/>
                <a:gd name="connsiteX6" fmla="*/ 2754 w 7868"/>
                <a:gd name="connsiteY6" fmla="*/ 3147 h 3934"/>
                <a:gd name="connsiteX7" fmla="*/ 5901 w 7868"/>
                <a:gd name="connsiteY7" fmla="*/ 4328 h 3934"/>
                <a:gd name="connsiteX8" fmla="*/ 8655 w 7868"/>
                <a:gd name="connsiteY8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7869" y="0"/>
                  </a:moveTo>
                  <a:lnTo>
                    <a:pt x="6295" y="393"/>
                  </a:lnTo>
                  <a:lnTo>
                    <a:pt x="3541" y="393"/>
                  </a:lnTo>
                  <a:lnTo>
                    <a:pt x="5901" y="3540"/>
                  </a:lnTo>
                  <a:lnTo>
                    <a:pt x="2754" y="2360"/>
                  </a:lnTo>
                  <a:lnTo>
                    <a:pt x="0" y="1967"/>
                  </a:lnTo>
                  <a:lnTo>
                    <a:pt x="2754" y="3147"/>
                  </a:lnTo>
                  <a:lnTo>
                    <a:pt x="5901" y="4328"/>
                  </a:lnTo>
                  <a:lnTo>
                    <a:pt x="8655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71" name="Freeform: Shape 3165">
              <a:extLst>
                <a:ext uri="{FF2B5EF4-FFF2-40B4-BE49-F238E27FC236}">
                  <a16:creationId xmlns:a16="http://schemas.microsoft.com/office/drawing/2014/main" id="{D952B269-52F0-4D63-ABC0-F17A5C9094BA}"/>
                </a:ext>
              </a:extLst>
            </p:cNvPr>
            <p:cNvSpPr/>
            <p:nvPr/>
          </p:nvSpPr>
          <p:spPr>
            <a:xfrm>
              <a:off x="4176079" y="5511054"/>
              <a:ext cx="47211" cy="15737"/>
            </a:xfrm>
            <a:custGeom>
              <a:avLst/>
              <a:gdLst>
                <a:gd name="connsiteX0" fmla="*/ 39343 w 47211"/>
                <a:gd name="connsiteY0" fmla="*/ 18491 h 15737"/>
                <a:gd name="connsiteX1" fmla="*/ 42490 w 47211"/>
                <a:gd name="connsiteY1" fmla="*/ 18098 h 15737"/>
                <a:gd name="connsiteX2" fmla="*/ 44064 w 47211"/>
                <a:gd name="connsiteY2" fmla="*/ 18098 h 15737"/>
                <a:gd name="connsiteX3" fmla="*/ 46818 w 47211"/>
                <a:gd name="connsiteY3" fmla="*/ 19278 h 15737"/>
                <a:gd name="connsiteX4" fmla="*/ 49965 w 47211"/>
                <a:gd name="connsiteY4" fmla="*/ 18491 h 15737"/>
                <a:gd name="connsiteX5" fmla="*/ 46818 w 47211"/>
                <a:gd name="connsiteY5" fmla="*/ 17311 h 15737"/>
                <a:gd name="connsiteX6" fmla="*/ 44064 w 47211"/>
                <a:gd name="connsiteY6" fmla="*/ 15344 h 15737"/>
                <a:gd name="connsiteX7" fmla="*/ 41310 w 47211"/>
                <a:gd name="connsiteY7" fmla="*/ 13770 h 15737"/>
                <a:gd name="connsiteX8" fmla="*/ 38162 w 47211"/>
                <a:gd name="connsiteY8" fmla="*/ 12589 h 15737"/>
                <a:gd name="connsiteX9" fmla="*/ 40523 w 47211"/>
                <a:gd name="connsiteY9" fmla="*/ 15344 h 15737"/>
                <a:gd name="connsiteX10" fmla="*/ 37769 w 47211"/>
                <a:gd name="connsiteY10" fmla="*/ 14557 h 15737"/>
                <a:gd name="connsiteX11" fmla="*/ 35802 w 47211"/>
                <a:gd name="connsiteY11" fmla="*/ 11803 h 15737"/>
                <a:gd name="connsiteX12" fmla="*/ 32654 w 47211"/>
                <a:gd name="connsiteY12" fmla="*/ 10229 h 15737"/>
                <a:gd name="connsiteX13" fmla="*/ 35408 w 47211"/>
                <a:gd name="connsiteY13" fmla="*/ 12983 h 15737"/>
                <a:gd name="connsiteX14" fmla="*/ 32654 w 47211"/>
                <a:gd name="connsiteY14" fmla="*/ 11016 h 15737"/>
                <a:gd name="connsiteX15" fmla="*/ 29507 w 47211"/>
                <a:gd name="connsiteY15" fmla="*/ 10229 h 15737"/>
                <a:gd name="connsiteX16" fmla="*/ 26753 w 47211"/>
                <a:gd name="connsiteY16" fmla="*/ 8262 h 15737"/>
                <a:gd name="connsiteX17" fmla="*/ 23606 w 47211"/>
                <a:gd name="connsiteY17" fmla="*/ 7869 h 15737"/>
                <a:gd name="connsiteX18" fmla="*/ 20852 w 47211"/>
                <a:gd name="connsiteY18" fmla="*/ 6688 h 15737"/>
                <a:gd name="connsiteX19" fmla="*/ 17704 w 47211"/>
                <a:gd name="connsiteY19" fmla="*/ 6688 h 15737"/>
                <a:gd name="connsiteX20" fmla="*/ 14950 w 47211"/>
                <a:gd name="connsiteY20" fmla="*/ 6295 h 15737"/>
                <a:gd name="connsiteX21" fmla="*/ 12196 w 47211"/>
                <a:gd name="connsiteY21" fmla="*/ 5901 h 15737"/>
                <a:gd name="connsiteX22" fmla="*/ 9049 w 47211"/>
                <a:gd name="connsiteY22" fmla="*/ 3148 h 15737"/>
                <a:gd name="connsiteX23" fmla="*/ 6295 w 47211"/>
                <a:gd name="connsiteY23" fmla="*/ 1180 h 15737"/>
                <a:gd name="connsiteX24" fmla="*/ 3147 w 47211"/>
                <a:gd name="connsiteY24" fmla="*/ 0 h 15737"/>
                <a:gd name="connsiteX25" fmla="*/ 0 w 47211"/>
                <a:gd name="connsiteY25" fmla="*/ 393 h 15737"/>
                <a:gd name="connsiteX26" fmla="*/ 3147 w 47211"/>
                <a:gd name="connsiteY26" fmla="*/ 1967 h 15737"/>
                <a:gd name="connsiteX27" fmla="*/ 6295 w 47211"/>
                <a:gd name="connsiteY27" fmla="*/ 3148 h 15737"/>
                <a:gd name="connsiteX28" fmla="*/ 7475 w 47211"/>
                <a:gd name="connsiteY28" fmla="*/ 5901 h 15737"/>
                <a:gd name="connsiteX29" fmla="*/ 10623 w 47211"/>
                <a:gd name="connsiteY29" fmla="*/ 7082 h 15737"/>
                <a:gd name="connsiteX30" fmla="*/ 13770 w 47211"/>
                <a:gd name="connsiteY30" fmla="*/ 9049 h 15737"/>
                <a:gd name="connsiteX31" fmla="*/ 16524 w 47211"/>
                <a:gd name="connsiteY31" fmla="*/ 11016 h 15737"/>
                <a:gd name="connsiteX32" fmla="*/ 19671 w 47211"/>
                <a:gd name="connsiteY32" fmla="*/ 10622 h 15737"/>
                <a:gd name="connsiteX33" fmla="*/ 22425 w 47211"/>
                <a:gd name="connsiteY33" fmla="*/ 11409 h 15737"/>
                <a:gd name="connsiteX34" fmla="*/ 25573 w 47211"/>
                <a:gd name="connsiteY34" fmla="*/ 10622 h 15737"/>
                <a:gd name="connsiteX35" fmla="*/ 28327 w 47211"/>
                <a:gd name="connsiteY35" fmla="*/ 11016 h 15737"/>
                <a:gd name="connsiteX36" fmla="*/ 31474 w 47211"/>
                <a:gd name="connsiteY36" fmla="*/ 12589 h 15737"/>
                <a:gd name="connsiteX37" fmla="*/ 34228 w 47211"/>
                <a:gd name="connsiteY37" fmla="*/ 13770 h 15737"/>
                <a:gd name="connsiteX38" fmla="*/ 36982 w 47211"/>
                <a:gd name="connsiteY38" fmla="*/ 1573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7211" h="15737">
                  <a:moveTo>
                    <a:pt x="39343" y="18491"/>
                  </a:moveTo>
                  <a:lnTo>
                    <a:pt x="42490" y="18098"/>
                  </a:lnTo>
                  <a:lnTo>
                    <a:pt x="44064" y="18098"/>
                  </a:lnTo>
                  <a:lnTo>
                    <a:pt x="46818" y="19278"/>
                  </a:lnTo>
                  <a:lnTo>
                    <a:pt x="49965" y="18491"/>
                  </a:lnTo>
                  <a:lnTo>
                    <a:pt x="46818" y="17311"/>
                  </a:lnTo>
                  <a:lnTo>
                    <a:pt x="44064" y="15344"/>
                  </a:lnTo>
                  <a:lnTo>
                    <a:pt x="41310" y="13770"/>
                  </a:lnTo>
                  <a:lnTo>
                    <a:pt x="38162" y="12589"/>
                  </a:lnTo>
                  <a:lnTo>
                    <a:pt x="40523" y="15344"/>
                  </a:lnTo>
                  <a:lnTo>
                    <a:pt x="37769" y="14557"/>
                  </a:lnTo>
                  <a:lnTo>
                    <a:pt x="35802" y="11803"/>
                  </a:lnTo>
                  <a:lnTo>
                    <a:pt x="32654" y="10229"/>
                  </a:lnTo>
                  <a:lnTo>
                    <a:pt x="35408" y="12983"/>
                  </a:lnTo>
                  <a:lnTo>
                    <a:pt x="32654" y="11016"/>
                  </a:lnTo>
                  <a:lnTo>
                    <a:pt x="29507" y="10229"/>
                  </a:lnTo>
                  <a:lnTo>
                    <a:pt x="26753" y="8262"/>
                  </a:lnTo>
                  <a:lnTo>
                    <a:pt x="23606" y="7869"/>
                  </a:lnTo>
                  <a:lnTo>
                    <a:pt x="20852" y="6688"/>
                  </a:lnTo>
                  <a:lnTo>
                    <a:pt x="17704" y="6688"/>
                  </a:lnTo>
                  <a:lnTo>
                    <a:pt x="14950" y="6295"/>
                  </a:lnTo>
                  <a:lnTo>
                    <a:pt x="12196" y="5901"/>
                  </a:lnTo>
                  <a:lnTo>
                    <a:pt x="9049" y="3148"/>
                  </a:lnTo>
                  <a:lnTo>
                    <a:pt x="6295" y="1180"/>
                  </a:lnTo>
                  <a:lnTo>
                    <a:pt x="3147" y="0"/>
                  </a:lnTo>
                  <a:lnTo>
                    <a:pt x="0" y="393"/>
                  </a:lnTo>
                  <a:lnTo>
                    <a:pt x="3147" y="1967"/>
                  </a:lnTo>
                  <a:lnTo>
                    <a:pt x="6295" y="3148"/>
                  </a:lnTo>
                  <a:lnTo>
                    <a:pt x="7475" y="5901"/>
                  </a:lnTo>
                  <a:lnTo>
                    <a:pt x="10623" y="7082"/>
                  </a:lnTo>
                  <a:lnTo>
                    <a:pt x="13770" y="9049"/>
                  </a:lnTo>
                  <a:lnTo>
                    <a:pt x="16524" y="11016"/>
                  </a:lnTo>
                  <a:lnTo>
                    <a:pt x="19671" y="10622"/>
                  </a:lnTo>
                  <a:lnTo>
                    <a:pt x="22425" y="11409"/>
                  </a:lnTo>
                  <a:lnTo>
                    <a:pt x="25573" y="10622"/>
                  </a:lnTo>
                  <a:lnTo>
                    <a:pt x="28327" y="11016"/>
                  </a:lnTo>
                  <a:lnTo>
                    <a:pt x="31474" y="12589"/>
                  </a:lnTo>
                  <a:lnTo>
                    <a:pt x="34228" y="13770"/>
                  </a:lnTo>
                  <a:lnTo>
                    <a:pt x="36982" y="1573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72" name="Freeform: Shape 3166">
              <a:extLst>
                <a:ext uri="{FF2B5EF4-FFF2-40B4-BE49-F238E27FC236}">
                  <a16:creationId xmlns:a16="http://schemas.microsoft.com/office/drawing/2014/main" id="{FE80D549-B6BE-44FE-ABA2-F7C84171640F}"/>
                </a:ext>
              </a:extLst>
            </p:cNvPr>
            <p:cNvSpPr/>
            <p:nvPr/>
          </p:nvSpPr>
          <p:spPr>
            <a:xfrm>
              <a:off x="4198898" y="5526791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3147 w 0"/>
                <a:gd name="connsiteY1" fmla="*/ 393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3147" y="393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73" name="Freeform: Shape 3167">
              <a:extLst>
                <a:ext uri="{FF2B5EF4-FFF2-40B4-BE49-F238E27FC236}">
                  <a16:creationId xmlns:a16="http://schemas.microsoft.com/office/drawing/2014/main" id="{D3B1D405-7104-4E76-9F28-BE7D5D2C469E}"/>
                </a:ext>
              </a:extLst>
            </p:cNvPr>
            <p:cNvSpPr/>
            <p:nvPr/>
          </p:nvSpPr>
          <p:spPr>
            <a:xfrm>
              <a:off x="4204799" y="5514595"/>
              <a:ext cx="7869" cy="3934"/>
            </a:xfrm>
            <a:custGeom>
              <a:avLst/>
              <a:gdLst>
                <a:gd name="connsiteX0" fmla="*/ 5508 w 7868"/>
                <a:gd name="connsiteY0" fmla="*/ 1180 h 0"/>
                <a:gd name="connsiteX1" fmla="*/ 8655 w 7868"/>
                <a:gd name="connsiteY1" fmla="*/ 3147 h 0"/>
                <a:gd name="connsiteX2" fmla="*/ 8262 w 7868"/>
                <a:gd name="connsiteY2" fmla="*/ 1574 h 0"/>
                <a:gd name="connsiteX3" fmla="*/ 5508 w 7868"/>
                <a:gd name="connsiteY3" fmla="*/ 393 h 0"/>
                <a:gd name="connsiteX4" fmla="*/ 2754 w 7868"/>
                <a:gd name="connsiteY4" fmla="*/ 0 h 0"/>
                <a:gd name="connsiteX5" fmla="*/ 0 w 7868"/>
                <a:gd name="connsiteY5" fmla="*/ 1180 h 0"/>
                <a:gd name="connsiteX6" fmla="*/ 2754 w 7868"/>
                <a:gd name="connsiteY6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5508" y="1180"/>
                  </a:moveTo>
                  <a:lnTo>
                    <a:pt x="8655" y="3147"/>
                  </a:lnTo>
                  <a:lnTo>
                    <a:pt x="8262" y="1574"/>
                  </a:lnTo>
                  <a:lnTo>
                    <a:pt x="5508" y="393"/>
                  </a:lnTo>
                  <a:lnTo>
                    <a:pt x="2754" y="0"/>
                  </a:lnTo>
                  <a:lnTo>
                    <a:pt x="0" y="118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74" name="Freeform: Shape 3168">
              <a:extLst>
                <a:ext uri="{FF2B5EF4-FFF2-40B4-BE49-F238E27FC236}">
                  <a16:creationId xmlns:a16="http://schemas.microsoft.com/office/drawing/2014/main" id="{01A276FA-E51D-4827-ACB8-61721F453CCC}"/>
                </a:ext>
              </a:extLst>
            </p:cNvPr>
            <p:cNvSpPr/>
            <p:nvPr/>
          </p:nvSpPr>
          <p:spPr>
            <a:xfrm>
              <a:off x="4192603" y="5500432"/>
              <a:ext cx="3934" cy="7869"/>
            </a:xfrm>
            <a:custGeom>
              <a:avLst/>
              <a:gdLst>
                <a:gd name="connsiteX0" fmla="*/ 393 w 3934"/>
                <a:gd name="connsiteY0" fmla="*/ 5508 h 7868"/>
                <a:gd name="connsiteX1" fmla="*/ 3147 w 3934"/>
                <a:gd name="connsiteY1" fmla="*/ 6688 h 7868"/>
                <a:gd name="connsiteX2" fmla="*/ 4328 w 3934"/>
                <a:gd name="connsiteY2" fmla="*/ 9836 h 7868"/>
                <a:gd name="connsiteX3" fmla="*/ 5114 w 3934"/>
                <a:gd name="connsiteY3" fmla="*/ 9442 h 7868"/>
                <a:gd name="connsiteX4" fmla="*/ 6688 w 3934"/>
                <a:gd name="connsiteY4" fmla="*/ 6688 h 7868"/>
                <a:gd name="connsiteX5" fmla="*/ 5508 w 3934"/>
                <a:gd name="connsiteY5" fmla="*/ 3540 h 7868"/>
                <a:gd name="connsiteX6" fmla="*/ 4721 w 3934"/>
                <a:gd name="connsiteY6" fmla="*/ 393 h 7868"/>
                <a:gd name="connsiteX7" fmla="*/ 1967 w 3934"/>
                <a:gd name="connsiteY7" fmla="*/ 0 h 7868"/>
                <a:gd name="connsiteX8" fmla="*/ 0 w 3934"/>
                <a:gd name="connsiteY8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393" y="5508"/>
                  </a:moveTo>
                  <a:lnTo>
                    <a:pt x="3147" y="6688"/>
                  </a:lnTo>
                  <a:lnTo>
                    <a:pt x="4328" y="9836"/>
                  </a:lnTo>
                  <a:lnTo>
                    <a:pt x="5114" y="9442"/>
                  </a:lnTo>
                  <a:lnTo>
                    <a:pt x="6688" y="6688"/>
                  </a:lnTo>
                  <a:lnTo>
                    <a:pt x="5508" y="3540"/>
                  </a:lnTo>
                  <a:lnTo>
                    <a:pt x="4721" y="393"/>
                  </a:lnTo>
                  <a:lnTo>
                    <a:pt x="1967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75" name="Freeform: Shape 3169">
              <a:extLst>
                <a:ext uri="{FF2B5EF4-FFF2-40B4-BE49-F238E27FC236}">
                  <a16:creationId xmlns:a16="http://schemas.microsoft.com/office/drawing/2014/main" id="{95A00032-4D04-48CA-8E1D-2AB6E36D953E}"/>
                </a:ext>
              </a:extLst>
            </p:cNvPr>
            <p:cNvSpPr/>
            <p:nvPr/>
          </p:nvSpPr>
          <p:spPr>
            <a:xfrm>
              <a:off x="4259485" y="5561806"/>
              <a:ext cx="3934" cy="3934"/>
            </a:xfrm>
            <a:custGeom>
              <a:avLst/>
              <a:gdLst>
                <a:gd name="connsiteX0" fmla="*/ 0 w 3934"/>
                <a:gd name="connsiteY0" fmla="*/ 1574 h 3934"/>
                <a:gd name="connsiteX1" fmla="*/ 2754 w 3934"/>
                <a:gd name="connsiteY1" fmla="*/ 3934 h 3934"/>
                <a:gd name="connsiteX2" fmla="*/ 3147 w 3934"/>
                <a:gd name="connsiteY2" fmla="*/ 1967 h 3934"/>
                <a:gd name="connsiteX3" fmla="*/ 5901 w 3934"/>
                <a:gd name="connsiteY3" fmla="*/ 1574 h 3934"/>
                <a:gd name="connsiteX4" fmla="*/ 3147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1574"/>
                  </a:moveTo>
                  <a:lnTo>
                    <a:pt x="2754" y="3934"/>
                  </a:lnTo>
                  <a:lnTo>
                    <a:pt x="3147" y="1967"/>
                  </a:lnTo>
                  <a:lnTo>
                    <a:pt x="5901" y="157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76" name="Freeform: Shape 3170">
              <a:extLst>
                <a:ext uri="{FF2B5EF4-FFF2-40B4-BE49-F238E27FC236}">
                  <a16:creationId xmlns:a16="http://schemas.microsoft.com/office/drawing/2014/main" id="{BDEE4A8B-B662-41DC-A481-D2B5D404681A}"/>
                </a:ext>
              </a:extLst>
            </p:cNvPr>
            <p:cNvSpPr/>
            <p:nvPr/>
          </p:nvSpPr>
          <p:spPr>
            <a:xfrm>
              <a:off x="4275222" y="5550397"/>
              <a:ext cx="19671" cy="11803"/>
            </a:xfrm>
            <a:custGeom>
              <a:avLst/>
              <a:gdLst>
                <a:gd name="connsiteX0" fmla="*/ 10229 w 19671"/>
                <a:gd name="connsiteY0" fmla="*/ 1574 h 11802"/>
                <a:gd name="connsiteX1" fmla="*/ 8655 w 19671"/>
                <a:gd name="connsiteY1" fmla="*/ 787 h 11802"/>
                <a:gd name="connsiteX2" fmla="*/ 5508 w 19671"/>
                <a:gd name="connsiteY2" fmla="*/ 1180 h 11802"/>
                <a:gd name="connsiteX3" fmla="*/ 2754 w 19671"/>
                <a:gd name="connsiteY3" fmla="*/ 0 h 11802"/>
                <a:gd name="connsiteX4" fmla="*/ 0 w 19671"/>
                <a:gd name="connsiteY4" fmla="*/ 393 h 11802"/>
                <a:gd name="connsiteX5" fmla="*/ 2360 w 19671"/>
                <a:gd name="connsiteY5" fmla="*/ 3148 h 11802"/>
                <a:gd name="connsiteX6" fmla="*/ 1967 w 19671"/>
                <a:gd name="connsiteY6" fmla="*/ 6295 h 11802"/>
                <a:gd name="connsiteX7" fmla="*/ 4721 w 19671"/>
                <a:gd name="connsiteY7" fmla="*/ 9049 h 11802"/>
                <a:gd name="connsiteX8" fmla="*/ 7869 w 19671"/>
                <a:gd name="connsiteY8" fmla="*/ 8262 h 11802"/>
                <a:gd name="connsiteX9" fmla="*/ 8655 w 19671"/>
                <a:gd name="connsiteY9" fmla="*/ 5115 h 11802"/>
                <a:gd name="connsiteX10" fmla="*/ 9442 w 19671"/>
                <a:gd name="connsiteY10" fmla="*/ 8262 h 11802"/>
                <a:gd name="connsiteX11" fmla="*/ 12590 w 19671"/>
                <a:gd name="connsiteY11" fmla="*/ 8655 h 11802"/>
                <a:gd name="connsiteX12" fmla="*/ 15737 w 19671"/>
                <a:gd name="connsiteY12" fmla="*/ 9049 h 11802"/>
                <a:gd name="connsiteX13" fmla="*/ 14950 w 19671"/>
                <a:gd name="connsiteY13" fmla="*/ 11803 h 11802"/>
                <a:gd name="connsiteX14" fmla="*/ 18098 w 19671"/>
                <a:gd name="connsiteY14" fmla="*/ 11016 h 11802"/>
                <a:gd name="connsiteX15" fmla="*/ 21245 w 19671"/>
                <a:gd name="connsiteY15" fmla="*/ 9442 h 11802"/>
                <a:gd name="connsiteX16" fmla="*/ 18884 w 19671"/>
                <a:gd name="connsiteY16" fmla="*/ 6295 h 11802"/>
                <a:gd name="connsiteX17" fmla="*/ 16524 w 19671"/>
                <a:gd name="connsiteY17" fmla="*/ 3541 h 11802"/>
                <a:gd name="connsiteX18" fmla="*/ 13770 w 19671"/>
                <a:gd name="connsiteY18" fmla="*/ 3934 h 11802"/>
                <a:gd name="connsiteX19" fmla="*/ 14557 w 19671"/>
                <a:gd name="connsiteY19" fmla="*/ 7082 h 11802"/>
                <a:gd name="connsiteX20" fmla="*/ 11409 w 19671"/>
                <a:gd name="connsiteY20" fmla="*/ 4721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671" h="11802">
                  <a:moveTo>
                    <a:pt x="10229" y="1574"/>
                  </a:moveTo>
                  <a:lnTo>
                    <a:pt x="8655" y="787"/>
                  </a:lnTo>
                  <a:lnTo>
                    <a:pt x="5508" y="1180"/>
                  </a:lnTo>
                  <a:lnTo>
                    <a:pt x="2754" y="0"/>
                  </a:lnTo>
                  <a:lnTo>
                    <a:pt x="0" y="393"/>
                  </a:lnTo>
                  <a:lnTo>
                    <a:pt x="2360" y="3148"/>
                  </a:lnTo>
                  <a:lnTo>
                    <a:pt x="1967" y="6295"/>
                  </a:lnTo>
                  <a:lnTo>
                    <a:pt x="4721" y="9049"/>
                  </a:lnTo>
                  <a:lnTo>
                    <a:pt x="7869" y="8262"/>
                  </a:lnTo>
                  <a:lnTo>
                    <a:pt x="8655" y="5115"/>
                  </a:lnTo>
                  <a:lnTo>
                    <a:pt x="9442" y="8262"/>
                  </a:lnTo>
                  <a:lnTo>
                    <a:pt x="12590" y="8655"/>
                  </a:lnTo>
                  <a:lnTo>
                    <a:pt x="15737" y="9049"/>
                  </a:lnTo>
                  <a:lnTo>
                    <a:pt x="14950" y="11803"/>
                  </a:lnTo>
                  <a:lnTo>
                    <a:pt x="18098" y="11016"/>
                  </a:lnTo>
                  <a:lnTo>
                    <a:pt x="21245" y="9442"/>
                  </a:lnTo>
                  <a:lnTo>
                    <a:pt x="18884" y="6295"/>
                  </a:lnTo>
                  <a:lnTo>
                    <a:pt x="16524" y="3541"/>
                  </a:lnTo>
                  <a:lnTo>
                    <a:pt x="13770" y="3934"/>
                  </a:lnTo>
                  <a:lnTo>
                    <a:pt x="14557" y="7082"/>
                  </a:lnTo>
                  <a:lnTo>
                    <a:pt x="11409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77" name="Freeform: Shape 3171">
              <a:extLst>
                <a:ext uri="{FF2B5EF4-FFF2-40B4-BE49-F238E27FC236}">
                  <a16:creationId xmlns:a16="http://schemas.microsoft.com/office/drawing/2014/main" id="{C7B907AE-7D1C-439C-808E-65D73F85D72D}"/>
                </a:ext>
              </a:extLst>
            </p:cNvPr>
            <p:cNvSpPr/>
            <p:nvPr/>
          </p:nvSpPr>
          <p:spPr>
            <a:xfrm>
              <a:off x="4260666" y="5547249"/>
              <a:ext cx="15737" cy="11803"/>
            </a:xfrm>
            <a:custGeom>
              <a:avLst/>
              <a:gdLst>
                <a:gd name="connsiteX0" fmla="*/ 14950 w 15737"/>
                <a:gd name="connsiteY0" fmla="*/ 14164 h 11802"/>
                <a:gd name="connsiteX1" fmla="*/ 16130 w 15737"/>
                <a:gd name="connsiteY1" fmla="*/ 11409 h 11802"/>
                <a:gd name="connsiteX2" fmla="*/ 13377 w 15737"/>
                <a:gd name="connsiteY2" fmla="*/ 9836 h 11802"/>
                <a:gd name="connsiteX3" fmla="*/ 10623 w 15737"/>
                <a:gd name="connsiteY3" fmla="*/ 7082 h 11802"/>
                <a:gd name="connsiteX4" fmla="*/ 13377 w 15737"/>
                <a:gd name="connsiteY4" fmla="*/ 9049 h 11802"/>
                <a:gd name="connsiteX5" fmla="*/ 16130 w 15737"/>
                <a:gd name="connsiteY5" fmla="*/ 8262 h 11802"/>
                <a:gd name="connsiteX6" fmla="*/ 14163 w 15737"/>
                <a:gd name="connsiteY6" fmla="*/ 5115 h 11802"/>
                <a:gd name="connsiteX7" fmla="*/ 13770 w 15737"/>
                <a:gd name="connsiteY7" fmla="*/ 2361 h 11802"/>
                <a:gd name="connsiteX8" fmla="*/ 12196 w 15737"/>
                <a:gd name="connsiteY8" fmla="*/ 1180 h 11802"/>
                <a:gd name="connsiteX9" fmla="*/ 9442 w 15737"/>
                <a:gd name="connsiteY9" fmla="*/ 3148 h 11802"/>
                <a:gd name="connsiteX10" fmla="*/ 7082 w 15737"/>
                <a:gd name="connsiteY10" fmla="*/ 394 h 11802"/>
                <a:gd name="connsiteX11" fmla="*/ 4328 w 15737"/>
                <a:gd name="connsiteY11" fmla="*/ 0 h 11802"/>
                <a:gd name="connsiteX12" fmla="*/ 2754 w 15737"/>
                <a:gd name="connsiteY12" fmla="*/ 3148 h 11802"/>
                <a:gd name="connsiteX13" fmla="*/ 0 w 15737"/>
                <a:gd name="connsiteY13" fmla="*/ 3934 h 11802"/>
                <a:gd name="connsiteX14" fmla="*/ 1967 w 15737"/>
                <a:gd name="connsiteY14" fmla="*/ 7082 h 11802"/>
                <a:gd name="connsiteX15" fmla="*/ 4721 w 15737"/>
                <a:gd name="connsiteY15" fmla="*/ 6689 h 11802"/>
                <a:gd name="connsiteX16" fmla="*/ 6688 w 15737"/>
                <a:gd name="connsiteY16" fmla="*/ 9442 h 11802"/>
                <a:gd name="connsiteX17" fmla="*/ 9442 w 15737"/>
                <a:gd name="connsiteY17" fmla="*/ 10623 h 11802"/>
                <a:gd name="connsiteX18" fmla="*/ 12196 w 15737"/>
                <a:gd name="connsiteY18" fmla="*/ 11803 h 11802"/>
                <a:gd name="connsiteX19" fmla="*/ 12196 w 15737"/>
                <a:gd name="connsiteY19" fmla="*/ 1495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737" h="11802">
                  <a:moveTo>
                    <a:pt x="14950" y="14164"/>
                  </a:moveTo>
                  <a:lnTo>
                    <a:pt x="16130" y="11409"/>
                  </a:lnTo>
                  <a:lnTo>
                    <a:pt x="13377" y="9836"/>
                  </a:lnTo>
                  <a:lnTo>
                    <a:pt x="10623" y="7082"/>
                  </a:lnTo>
                  <a:lnTo>
                    <a:pt x="13377" y="9049"/>
                  </a:lnTo>
                  <a:lnTo>
                    <a:pt x="16130" y="8262"/>
                  </a:lnTo>
                  <a:lnTo>
                    <a:pt x="14163" y="5115"/>
                  </a:lnTo>
                  <a:lnTo>
                    <a:pt x="13770" y="2361"/>
                  </a:lnTo>
                  <a:lnTo>
                    <a:pt x="12196" y="1180"/>
                  </a:lnTo>
                  <a:lnTo>
                    <a:pt x="9442" y="3148"/>
                  </a:lnTo>
                  <a:lnTo>
                    <a:pt x="7082" y="394"/>
                  </a:lnTo>
                  <a:lnTo>
                    <a:pt x="4328" y="0"/>
                  </a:lnTo>
                  <a:lnTo>
                    <a:pt x="2754" y="3148"/>
                  </a:lnTo>
                  <a:lnTo>
                    <a:pt x="0" y="3934"/>
                  </a:lnTo>
                  <a:lnTo>
                    <a:pt x="1967" y="7082"/>
                  </a:lnTo>
                  <a:lnTo>
                    <a:pt x="4721" y="6689"/>
                  </a:lnTo>
                  <a:lnTo>
                    <a:pt x="6688" y="9442"/>
                  </a:lnTo>
                  <a:lnTo>
                    <a:pt x="9442" y="10623"/>
                  </a:lnTo>
                  <a:lnTo>
                    <a:pt x="12196" y="11803"/>
                  </a:lnTo>
                  <a:lnTo>
                    <a:pt x="12196" y="1495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78" name="Freeform: Shape 3172">
              <a:extLst>
                <a:ext uri="{FF2B5EF4-FFF2-40B4-BE49-F238E27FC236}">
                  <a16:creationId xmlns:a16="http://schemas.microsoft.com/office/drawing/2014/main" id="{713ED605-3709-4AEA-BBD9-7FC50887F766}"/>
                </a:ext>
              </a:extLst>
            </p:cNvPr>
            <p:cNvSpPr/>
            <p:nvPr/>
          </p:nvSpPr>
          <p:spPr>
            <a:xfrm>
              <a:off x="4309057" y="5557479"/>
              <a:ext cx="3934" cy="3934"/>
            </a:xfrm>
            <a:custGeom>
              <a:avLst/>
              <a:gdLst>
                <a:gd name="connsiteX0" fmla="*/ 3147 w 3934"/>
                <a:gd name="connsiteY0" fmla="*/ 1967 h 0"/>
                <a:gd name="connsiteX1" fmla="*/ 5901 w 3934"/>
                <a:gd name="connsiteY1" fmla="*/ 3147 h 0"/>
                <a:gd name="connsiteX2" fmla="*/ 5901 w 3934"/>
                <a:gd name="connsiteY2" fmla="*/ 1180 h 0"/>
                <a:gd name="connsiteX3" fmla="*/ 3147 w 3934"/>
                <a:gd name="connsiteY3" fmla="*/ 0 h 0"/>
                <a:gd name="connsiteX4" fmla="*/ 0 w 3934"/>
                <a:gd name="connsiteY4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147" y="1967"/>
                  </a:moveTo>
                  <a:lnTo>
                    <a:pt x="5901" y="3147"/>
                  </a:lnTo>
                  <a:lnTo>
                    <a:pt x="5901" y="1180"/>
                  </a:lnTo>
                  <a:lnTo>
                    <a:pt x="3147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79" name="Freeform: Shape 3173">
              <a:extLst>
                <a:ext uri="{FF2B5EF4-FFF2-40B4-BE49-F238E27FC236}">
                  <a16:creationId xmlns:a16="http://schemas.microsoft.com/office/drawing/2014/main" id="{94D7FB07-41CD-415E-AA8F-5D6B511CB7DA}"/>
                </a:ext>
              </a:extLst>
            </p:cNvPr>
            <p:cNvSpPr/>
            <p:nvPr/>
          </p:nvSpPr>
          <p:spPr>
            <a:xfrm>
              <a:off x="4257518" y="5553938"/>
              <a:ext cx="3934" cy="3934"/>
            </a:xfrm>
            <a:custGeom>
              <a:avLst/>
              <a:gdLst>
                <a:gd name="connsiteX0" fmla="*/ 5901 w 3934"/>
                <a:gd name="connsiteY0" fmla="*/ 4721 h 3934"/>
                <a:gd name="connsiteX1" fmla="*/ 6295 w 3934"/>
                <a:gd name="connsiteY1" fmla="*/ 1967 h 3934"/>
                <a:gd name="connsiteX2" fmla="*/ 3147 w 3934"/>
                <a:gd name="connsiteY2" fmla="*/ 0 h 3934"/>
                <a:gd name="connsiteX3" fmla="*/ 1574 w 3934"/>
                <a:gd name="connsiteY3" fmla="*/ 393 h 3934"/>
                <a:gd name="connsiteX4" fmla="*/ 2754 w 3934"/>
                <a:gd name="connsiteY4" fmla="*/ 3147 h 3934"/>
                <a:gd name="connsiteX5" fmla="*/ 0 w 3934"/>
                <a:gd name="connsiteY5" fmla="*/ 4328 h 3934"/>
                <a:gd name="connsiteX6" fmla="*/ 2754 w 3934"/>
                <a:gd name="connsiteY6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5901" y="4721"/>
                  </a:moveTo>
                  <a:lnTo>
                    <a:pt x="6295" y="1967"/>
                  </a:lnTo>
                  <a:lnTo>
                    <a:pt x="3147" y="0"/>
                  </a:lnTo>
                  <a:lnTo>
                    <a:pt x="1574" y="393"/>
                  </a:lnTo>
                  <a:lnTo>
                    <a:pt x="2754" y="3147"/>
                  </a:lnTo>
                  <a:lnTo>
                    <a:pt x="0" y="4328"/>
                  </a:lnTo>
                  <a:lnTo>
                    <a:pt x="2754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80" name="Freeform: Shape 3174">
              <a:extLst>
                <a:ext uri="{FF2B5EF4-FFF2-40B4-BE49-F238E27FC236}">
                  <a16:creationId xmlns:a16="http://schemas.microsoft.com/office/drawing/2014/main" id="{94684A6F-68BD-4B95-B052-288B332CDF94}"/>
                </a:ext>
              </a:extLst>
            </p:cNvPr>
            <p:cNvSpPr/>
            <p:nvPr/>
          </p:nvSpPr>
          <p:spPr>
            <a:xfrm>
              <a:off x="4292927" y="5538594"/>
              <a:ext cx="11803" cy="19671"/>
            </a:xfrm>
            <a:custGeom>
              <a:avLst/>
              <a:gdLst>
                <a:gd name="connsiteX0" fmla="*/ 0 w 11802"/>
                <a:gd name="connsiteY0" fmla="*/ 8655 h 19671"/>
                <a:gd name="connsiteX1" fmla="*/ 1574 w 11802"/>
                <a:gd name="connsiteY1" fmla="*/ 11803 h 19671"/>
                <a:gd name="connsiteX2" fmla="*/ 3147 w 11802"/>
                <a:gd name="connsiteY2" fmla="*/ 14950 h 19671"/>
                <a:gd name="connsiteX3" fmla="*/ 6295 w 11802"/>
                <a:gd name="connsiteY3" fmla="*/ 16918 h 19671"/>
                <a:gd name="connsiteX4" fmla="*/ 9049 w 11802"/>
                <a:gd name="connsiteY4" fmla="*/ 18491 h 19671"/>
                <a:gd name="connsiteX5" fmla="*/ 12196 w 11802"/>
                <a:gd name="connsiteY5" fmla="*/ 19671 h 19671"/>
                <a:gd name="connsiteX6" fmla="*/ 14950 w 11802"/>
                <a:gd name="connsiteY6" fmla="*/ 20458 h 19671"/>
                <a:gd name="connsiteX7" fmla="*/ 15343 w 11802"/>
                <a:gd name="connsiteY7" fmla="*/ 20065 h 19671"/>
                <a:gd name="connsiteX8" fmla="*/ 13376 w 11802"/>
                <a:gd name="connsiteY8" fmla="*/ 17311 h 19671"/>
                <a:gd name="connsiteX9" fmla="*/ 10623 w 11802"/>
                <a:gd name="connsiteY9" fmla="*/ 14557 h 19671"/>
                <a:gd name="connsiteX10" fmla="*/ 9049 w 11802"/>
                <a:gd name="connsiteY10" fmla="*/ 11803 h 19671"/>
                <a:gd name="connsiteX11" fmla="*/ 11803 w 11802"/>
                <a:gd name="connsiteY11" fmla="*/ 13377 h 19671"/>
                <a:gd name="connsiteX12" fmla="*/ 14557 w 11802"/>
                <a:gd name="connsiteY12" fmla="*/ 11803 h 19671"/>
                <a:gd name="connsiteX13" fmla="*/ 11803 w 11802"/>
                <a:gd name="connsiteY13" fmla="*/ 9836 h 19671"/>
                <a:gd name="connsiteX14" fmla="*/ 10229 w 11802"/>
                <a:gd name="connsiteY14" fmla="*/ 6688 h 19671"/>
                <a:gd name="connsiteX15" fmla="*/ 7869 w 11802"/>
                <a:gd name="connsiteY15" fmla="*/ 3934 h 19671"/>
                <a:gd name="connsiteX16" fmla="*/ 6295 w 11802"/>
                <a:gd name="connsiteY16" fmla="*/ 1180 h 19671"/>
                <a:gd name="connsiteX17" fmla="*/ 3541 w 11802"/>
                <a:gd name="connsiteY17" fmla="*/ 0 h 19671"/>
                <a:gd name="connsiteX18" fmla="*/ 1967 w 11802"/>
                <a:gd name="connsiteY18" fmla="*/ 2754 h 19671"/>
                <a:gd name="connsiteX19" fmla="*/ 2754 w 11802"/>
                <a:gd name="connsiteY19" fmla="*/ 5901 h 19671"/>
                <a:gd name="connsiteX20" fmla="*/ 5901 w 11802"/>
                <a:gd name="connsiteY20" fmla="*/ 8655 h 19671"/>
                <a:gd name="connsiteX21" fmla="*/ 2754 w 11802"/>
                <a:gd name="connsiteY21" fmla="*/ 7869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802" h="19671">
                  <a:moveTo>
                    <a:pt x="0" y="8655"/>
                  </a:moveTo>
                  <a:lnTo>
                    <a:pt x="1574" y="11803"/>
                  </a:lnTo>
                  <a:lnTo>
                    <a:pt x="3147" y="14950"/>
                  </a:lnTo>
                  <a:lnTo>
                    <a:pt x="6295" y="16918"/>
                  </a:lnTo>
                  <a:lnTo>
                    <a:pt x="9049" y="18491"/>
                  </a:lnTo>
                  <a:lnTo>
                    <a:pt x="12196" y="19671"/>
                  </a:lnTo>
                  <a:lnTo>
                    <a:pt x="14950" y="20458"/>
                  </a:lnTo>
                  <a:lnTo>
                    <a:pt x="15343" y="20065"/>
                  </a:lnTo>
                  <a:lnTo>
                    <a:pt x="13376" y="17311"/>
                  </a:lnTo>
                  <a:lnTo>
                    <a:pt x="10623" y="14557"/>
                  </a:lnTo>
                  <a:lnTo>
                    <a:pt x="9049" y="11803"/>
                  </a:lnTo>
                  <a:lnTo>
                    <a:pt x="11803" y="13377"/>
                  </a:lnTo>
                  <a:lnTo>
                    <a:pt x="14557" y="11803"/>
                  </a:lnTo>
                  <a:lnTo>
                    <a:pt x="11803" y="9836"/>
                  </a:lnTo>
                  <a:lnTo>
                    <a:pt x="10229" y="6688"/>
                  </a:lnTo>
                  <a:lnTo>
                    <a:pt x="7869" y="3934"/>
                  </a:lnTo>
                  <a:lnTo>
                    <a:pt x="6295" y="1180"/>
                  </a:lnTo>
                  <a:lnTo>
                    <a:pt x="3541" y="0"/>
                  </a:lnTo>
                  <a:lnTo>
                    <a:pt x="1967" y="2754"/>
                  </a:lnTo>
                  <a:lnTo>
                    <a:pt x="2754" y="5901"/>
                  </a:lnTo>
                  <a:lnTo>
                    <a:pt x="5901" y="8655"/>
                  </a:lnTo>
                  <a:lnTo>
                    <a:pt x="2754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81" name="Freeform: Shape 3175">
              <a:extLst>
                <a:ext uri="{FF2B5EF4-FFF2-40B4-BE49-F238E27FC236}">
                  <a16:creationId xmlns:a16="http://schemas.microsoft.com/office/drawing/2014/main" id="{4EF12FAF-0F01-4BC3-9237-DA9DD6B48565}"/>
                </a:ext>
              </a:extLst>
            </p:cNvPr>
            <p:cNvSpPr/>
            <p:nvPr/>
          </p:nvSpPr>
          <p:spPr>
            <a:xfrm>
              <a:off x="4231159" y="5552364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2754 w 3934"/>
                <a:gd name="connsiteY1" fmla="*/ 1180 h 0"/>
                <a:gd name="connsiteX2" fmla="*/ 5901 w 3934"/>
                <a:gd name="connsiteY2" fmla="*/ 3541 h 0"/>
                <a:gd name="connsiteX3" fmla="*/ 5901 w 3934"/>
                <a:gd name="connsiteY3" fmla="*/ 1574 h 0"/>
                <a:gd name="connsiteX4" fmla="*/ 3147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2754" y="1180"/>
                  </a:lnTo>
                  <a:lnTo>
                    <a:pt x="5901" y="3541"/>
                  </a:lnTo>
                  <a:lnTo>
                    <a:pt x="5901" y="157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82" name="Freeform: Shape 3176">
              <a:extLst>
                <a:ext uri="{FF2B5EF4-FFF2-40B4-BE49-F238E27FC236}">
                  <a16:creationId xmlns:a16="http://schemas.microsoft.com/office/drawing/2014/main" id="{4FE3525B-3AD5-4197-8E52-29D12E9491A6}"/>
                </a:ext>
              </a:extLst>
            </p:cNvPr>
            <p:cNvSpPr/>
            <p:nvPr/>
          </p:nvSpPr>
          <p:spPr>
            <a:xfrm>
              <a:off x="4296467" y="5578723"/>
              <a:ext cx="7869" cy="3934"/>
            </a:xfrm>
            <a:custGeom>
              <a:avLst/>
              <a:gdLst>
                <a:gd name="connsiteX0" fmla="*/ 5508 w 7868"/>
                <a:gd name="connsiteY0" fmla="*/ 0 h 0"/>
                <a:gd name="connsiteX1" fmla="*/ 2754 w 7868"/>
                <a:gd name="connsiteY1" fmla="*/ 0 h 0"/>
                <a:gd name="connsiteX2" fmla="*/ 0 w 7868"/>
                <a:gd name="connsiteY2" fmla="*/ 394 h 0"/>
                <a:gd name="connsiteX3" fmla="*/ 1574 w 7868"/>
                <a:gd name="connsiteY3" fmla="*/ 3148 h 0"/>
                <a:gd name="connsiteX4" fmla="*/ 4328 w 7868"/>
                <a:gd name="connsiteY4" fmla="*/ 1180 h 0"/>
                <a:gd name="connsiteX5" fmla="*/ 7475 w 7868"/>
                <a:gd name="connsiteY5" fmla="*/ 1574 h 0"/>
                <a:gd name="connsiteX6" fmla="*/ 10623 w 7868"/>
                <a:gd name="connsiteY6" fmla="*/ 3541 h 0"/>
                <a:gd name="connsiteX7" fmla="*/ 11409 w 7868"/>
                <a:gd name="connsiteY7" fmla="*/ 1180 h 0"/>
                <a:gd name="connsiteX8" fmla="*/ 8655 w 7868"/>
                <a:gd name="connsiteY8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>
                  <a:moveTo>
                    <a:pt x="5508" y="0"/>
                  </a:moveTo>
                  <a:lnTo>
                    <a:pt x="2754" y="0"/>
                  </a:lnTo>
                  <a:lnTo>
                    <a:pt x="0" y="394"/>
                  </a:lnTo>
                  <a:lnTo>
                    <a:pt x="1574" y="3148"/>
                  </a:lnTo>
                  <a:lnTo>
                    <a:pt x="4328" y="1180"/>
                  </a:lnTo>
                  <a:lnTo>
                    <a:pt x="7475" y="1574"/>
                  </a:lnTo>
                  <a:lnTo>
                    <a:pt x="10623" y="3541"/>
                  </a:lnTo>
                  <a:lnTo>
                    <a:pt x="11409" y="1180"/>
                  </a:lnTo>
                  <a:lnTo>
                    <a:pt x="8655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83" name="Freeform: Shape 3177">
              <a:extLst>
                <a:ext uri="{FF2B5EF4-FFF2-40B4-BE49-F238E27FC236}">
                  <a16:creationId xmlns:a16="http://schemas.microsoft.com/office/drawing/2014/main" id="{560A78AF-246E-48E8-8CBB-A09A4EC45E04}"/>
                </a:ext>
              </a:extLst>
            </p:cNvPr>
            <p:cNvSpPr/>
            <p:nvPr/>
          </p:nvSpPr>
          <p:spPr>
            <a:xfrm>
              <a:off x="4308270" y="5580690"/>
              <a:ext cx="19671" cy="7869"/>
            </a:xfrm>
            <a:custGeom>
              <a:avLst/>
              <a:gdLst>
                <a:gd name="connsiteX0" fmla="*/ 16131 w 19671"/>
                <a:gd name="connsiteY0" fmla="*/ 4328 h 7868"/>
                <a:gd name="connsiteX1" fmla="*/ 12983 w 19671"/>
                <a:gd name="connsiteY1" fmla="*/ 3934 h 7868"/>
                <a:gd name="connsiteX2" fmla="*/ 9836 w 19671"/>
                <a:gd name="connsiteY2" fmla="*/ 3148 h 7868"/>
                <a:gd name="connsiteX3" fmla="*/ 12983 w 19671"/>
                <a:gd name="connsiteY3" fmla="*/ 2754 h 7868"/>
                <a:gd name="connsiteX4" fmla="*/ 14950 w 19671"/>
                <a:gd name="connsiteY4" fmla="*/ 0 h 7868"/>
                <a:gd name="connsiteX5" fmla="*/ 11803 w 19671"/>
                <a:gd name="connsiteY5" fmla="*/ 0 h 7868"/>
                <a:gd name="connsiteX6" fmla="*/ 9049 w 19671"/>
                <a:gd name="connsiteY6" fmla="*/ 1967 h 7868"/>
                <a:gd name="connsiteX7" fmla="*/ 5901 w 19671"/>
                <a:gd name="connsiteY7" fmla="*/ 1574 h 7868"/>
                <a:gd name="connsiteX8" fmla="*/ 2754 w 19671"/>
                <a:gd name="connsiteY8" fmla="*/ 1180 h 7868"/>
                <a:gd name="connsiteX9" fmla="*/ 0 w 19671"/>
                <a:gd name="connsiteY9" fmla="*/ 1574 h 7868"/>
                <a:gd name="connsiteX10" fmla="*/ 2361 w 19671"/>
                <a:gd name="connsiteY10" fmla="*/ 4721 h 7868"/>
                <a:gd name="connsiteX11" fmla="*/ 5115 w 19671"/>
                <a:gd name="connsiteY11" fmla="*/ 5115 h 7868"/>
                <a:gd name="connsiteX12" fmla="*/ 8262 w 19671"/>
                <a:gd name="connsiteY12" fmla="*/ 4721 h 7868"/>
                <a:gd name="connsiteX13" fmla="*/ 11016 w 19671"/>
                <a:gd name="connsiteY13" fmla="*/ 5508 h 7868"/>
                <a:gd name="connsiteX14" fmla="*/ 14163 w 19671"/>
                <a:gd name="connsiteY14" fmla="*/ 7082 h 7868"/>
                <a:gd name="connsiteX15" fmla="*/ 16131 w 19671"/>
                <a:gd name="connsiteY15" fmla="*/ 9836 h 7868"/>
                <a:gd name="connsiteX16" fmla="*/ 17311 w 19671"/>
                <a:gd name="connsiteY16" fmla="*/ 9049 h 7868"/>
                <a:gd name="connsiteX17" fmla="*/ 18098 w 19671"/>
                <a:gd name="connsiteY17" fmla="*/ 6295 h 7868"/>
                <a:gd name="connsiteX18" fmla="*/ 20852 w 19671"/>
                <a:gd name="connsiteY18" fmla="*/ 7082 h 7868"/>
                <a:gd name="connsiteX19" fmla="*/ 18885 w 19671"/>
                <a:gd name="connsiteY19" fmla="*/ 432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671" h="7868">
                  <a:moveTo>
                    <a:pt x="16131" y="4328"/>
                  </a:moveTo>
                  <a:lnTo>
                    <a:pt x="12983" y="3934"/>
                  </a:lnTo>
                  <a:lnTo>
                    <a:pt x="9836" y="3148"/>
                  </a:lnTo>
                  <a:lnTo>
                    <a:pt x="12983" y="2754"/>
                  </a:lnTo>
                  <a:lnTo>
                    <a:pt x="14950" y="0"/>
                  </a:lnTo>
                  <a:lnTo>
                    <a:pt x="11803" y="0"/>
                  </a:lnTo>
                  <a:lnTo>
                    <a:pt x="9049" y="1967"/>
                  </a:lnTo>
                  <a:lnTo>
                    <a:pt x="5901" y="1574"/>
                  </a:lnTo>
                  <a:lnTo>
                    <a:pt x="2754" y="1180"/>
                  </a:lnTo>
                  <a:lnTo>
                    <a:pt x="0" y="1574"/>
                  </a:lnTo>
                  <a:lnTo>
                    <a:pt x="2361" y="4721"/>
                  </a:lnTo>
                  <a:lnTo>
                    <a:pt x="5115" y="5115"/>
                  </a:lnTo>
                  <a:lnTo>
                    <a:pt x="8262" y="4721"/>
                  </a:lnTo>
                  <a:lnTo>
                    <a:pt x="11016" y="5508"/>
                  </a:lnTo>
                  <a:lnTo>
                    <a:pt x="14163" y="7082"/>
                  </a:lnTo>
                  <a:lnTo>
                    <a:pt x="16131" y="9836"/>
                  </a:lnTo>
                  <a:lnTo>
                    <a:pt x="17311" y="9049"/>
                  </a:lnTo>
                  <a:lnTo>
                    <a:pt x="18098" y="6295"/>
                  </a:lnTo>
                  <a:lnTo>
                    <a:pt x="20852" y="7082"/>
                  </a:lnTo>
                  <a:lnTo>
                    <a:pt x="18885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84" name="Freeform: Shape 3178">
              <a:extLst>
                <a:ext uri="{FF2B5EF4-FFF2-40B4-BE49-F238E27FC236}">
                  <a16:creationId xmlns:a16="http://schemas.microsoft.com/office/drawing/2014/main" id="{3F3203BE-9471-4DDA-8BCE-A6292714D341}"/>
                </a:ext>
              </a:extLst>
            </p:cNvPr>
            <p:cNvSpPr/>
            <p:nvPr/>
          </p:nvSpPr>
          <p:spPr>
            <a:xfrm>
              <a:off x="4314172" y="5578723"/>
              <a:ext cx="3934" cy="3934"/>
            </a:xfrm>
            <a:custGeom>
              <a:avLst/>
              <a:gdLst>
                <a:gd name="connsiteX0" fmla="*/ 5901 w 3934"/>
                <a:gd name="connsiteY0" fmla="*/ 0 h 0"/>
                <a:gd name="connsiteX1" fmla="*/ 2754 w 3934"/>
                <a:gd name="connsiteY1" fmla="*/ 0 h 0"/>
                <a:gd name="connsiteX2" fmla="*/ 0 w 3934"/>
                <a:gd name="connsiteY2" fmla="*/ 1574 h 0"/>
                <a:gd name="connsiteX3" fmla="*/ 2754 w 3934"/>
                <a:gd name="connsiteY3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0"/>
                  </a:moveTo>
                  <a:lnTo>
                    <a:pt x="2754" y="0"/>
                  </a:lnTo>
                  <a:lnTo>
                    <a:pt x="0" y="1574"/>
                  </a:lnTo>
                  <a:lnTo>
                    <a:pt x="275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85" name="Freeform: Shape 3179">
              <a:extLst>
                <a:ext uri="{FF2B5EF4-FFF2-40B4-BE49-F238E27FC236}">
                  <a16:creationId xmlns:a16="http://schemas.microsoft.com/office/drawing/2014/main" id="{8DA84D0F-DA6D-412F-A8C0-4E83A757B1B2}"/>
                </a:ext>
              </a:extLst>
            </p:cNvPr>
            <p:cNvSpPr/>
            <p:nvPr/>
          </p:nvSpPr>
          <p:spPr>
            <a:xfrm>
              <a:off x="4277583" y="5573216"/>
              <a:ext cx="3934" cy="3934"/>
            </a:xfrm>
            <a:custGeom>
              <a:avLst/>
              <a:gdLst>
                <a:gd name="connsiteX0" fmla="*/ 2754 w 0"/>
                <a:gd name="connsiteY0" fmla="*/ 2754 h 0"/>
                <a:gd name="connsiteX1" fmla="*/ 3147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754"/>
                  </a:moveTo>
                  <a:lnTo>
                    <a:pt x="3147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86" name="Freeform: Shape 3180">
              <a:extLst>
                <a:ext uri="{FF2B5EF4-FFF2-40B4-BE49-F238E27FC236}">
                  <a16:creationId xmlns:a16="http://schemas.microsoft.com/office/drawing/2014/main" id="{55D0E3C6-8CBB-4E0C-8734-276BCEE6388E}"/>
                </a:ext>
              </a:extLst>
            </p:cNvPr>
            <p:cNvSpPr/>
            <p:nvPr/>
          </p:nvSpPr>
          <p:spPr>
            <a:xfrm>
              <a:off x="4337777" y="5593674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2754 w 0"/>
                <a:gd name="connsiteY1" fmla="*/ 2360 h 0"/>
                <a:gd name="connsiteX2" fmla="*/ 157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2754" y="2360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87" name="Freeform: Shape 3181">
              <a:extLst>
                <a:ext uri="{FF2B5EF4-FFF2-40B4-BE49-F238E27FC236}">
                  <a16:creationId xmlns:a16="http://schemas.microsoft.com/office/drawing/2014/main" id="{F7D7359C-FE82-46BB-8EB6-385BB773D563}"/>
                </a:ext>
              </a:extLst>
            </p:cNvPr>
            <p:cNvSpPr/>
            <p:nvPr/>
          </p:nvSpPr>
          <p:spPr>
            <a:xfrm>
              <a:off x="4463674" y="5574789"/>
              <a:ext cx="19671" cy="3934"/>
            </a:xfrm>
            <a:custGeom>
              <a:avLst/>
              <a:gdLst>
                <a:gd name="connsiteX0" fmla="*/ 14163 w 19671"/>
                <a:gd name="connsiteY0" fmla="*/ 0 h 3934"/>
                <a:gd name="connsiteX1" fmla="*/ 11409 w 19671"/>
                <a:gd name="connsiteY1" fmla="*/ 394 h 3934"/>
                <a:gd name="connsiteX2" fmla="*/ 8655 w 19671"/>
                <a:gd name="connsiteY2" fmla="*/ 0 h 3934"/>
                <a:gd name="connsiteX3" fmla="*/ 5901 w 19671"/>
                <a:gd name="connsiteY3" fmla="*/ 1180 h 3934"/>
                <a:gd name="connsiteX4" fmla="*/ 2754 w 19671"/>
                <a:gd name="connsiteY4" fmla="*/ 2754 h 3934"/>
                <a:gd name="connsiteX5" fmla="*/ 0 w 19671"/>
                <a:gd name="connsiteY5" fmla="*/ 3934 h 3934"/>
                <a:gd name="connsiteX6" fmla="*/ 2754 w 19671"/>
                <a:gd name="connsiteY6" fmla="*/ 5901 h 3934"/>
                <a:gd name="connsiteX7" fmla="*/ 5901 w 19671"/>
                <a:gd name="connsiteY7" fmla="*/ 3541 h 3934"/>
                <a:gd name="connsiteX8" fmla="*/ 8655 w 19671"/>
                <a:gd name="connsiteY8" fmla="*/ 3148 h 3934"/>
                <a:gd name="connsiteX9" fmla="*/ 14557 w 19671"/>
                <a:gd name="connsiteY9" fmla="*/ 3148 h 3934"/>
                <a:gd name="connsiteX10" fmla="*/ 17311 w 19671"/>
                <a:gd name="connsiteY10" fmla="*/ 1967 h 3934"/>
                <a:gd name="connsiteX11" fmla="*/ 20458 w 19671"/>
                <a:gd name="connsiteY11" fmla="*/ 787 h 3934"/>
                <a:gd name="connsiteX12" fmla="*/ 17311 w 19671"/>
                <a:gd name="connsiteY1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671" h="3934">
                  <a:moveTo>
                    <a:pt x="14163" y="0"/>
                  </a:moveTo>
                  <a:lnTo>
                    <a:pt x="11409" y="394"/>
                  </a:lnTo>
                  <a:lnTo>
                    <a:pt x="8655" y="0"/>
                  </a:lnTo>
                  <a:lnTo>
                    <a:pt x="5901" y="1180"/>
                  </a:lnTo>
                  <a:lnTo>
                    <a:pt x="2754" y="2754"/>
                  </a:lnTo>
                  <a:lnTo>
                    <a:pt x="0" y="3934"/>
                  </a:lnTo>
                  <a:lnTo>
                    <a:pt x="2754" y="5901"/>
                  </a:lnTo>
                  <a:lnTo>
                    <a:pt x="5901" y="3541"/>
                  </a:lnTo>
                  <a:lnTo>
                    <a:pt x="8655" y="3148"/>
                  </a:lnTo>
                  <a:lnTo>
                    <a:pt x="14557" y="3148"/>
                  </a:lnTo>
                  <a:lnTo>
                    <a:pt x="17311" y="1967"/>
                  </a:lnTo>
                  <a:lnTo>
                    <a:pt x="20458" y="787"/>
                  </a:lnTo>
                  <a:lnTo>
                    <a:pt x="1731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88" name="Freeform: Shape 3182">
              <a:extLst>
                <a:ext uri="{FF2B5EF4-FFF2-40B4-BE49-F238E27FC236}">
                  <a16:creationId xmlns:a16="http://schemas.microsoft.com/office/drawing/2014/main" id="{A7DDD89E-D9EC-4CDB-90F4-F34F9BF07206}"/>
                </a:ext>
              </a:extLst>
            </p:cNvPr>
            <p:cNvSpPr/>
            <p:nvPr/>
          </p:nvSpPr>
          <p:spPr>
            <a:xfrm>
              <a:off x="4274829" y="5502005"/>
              <a:ext cx="173108" cy="82620"/>
            </a:xfrm>
            <a:custGeom>
              <a:avLst/>
              <a:gdLst>
                <a:gd name="connsiteX0" fmla="*/ 173108 w 173107"/>
                <a:gd name="connsiteY0" fmla="*/ 70030 h 82619"/>
                <a:gd name="connsiteX1" fmla="*/ 169960 w 173107"/>
                <a:gd name="connsiteY1" fmla="*/ 70423 h 82619"/>
                <a:gd name="connsiteX2" fmla="*/ 166813 w 173107"/>
                <a:gd name="connsiteY2" fmla="*/ 70817 h 82619"/>
                <a:gd name="connsiteX3" fmla="*/ 164059 w 173107"/>
                <a:gd name="connsiteY3" fmla="*/ 70817 h 82619"/>
                <a:gd name="connsiteX4" fmla="*/ 161305 w 173107"/>
                <a:gd name="connsiteY4" fmla="*/ 70817 h 82619"/>
                <a:gd name="connsiteX5" fmla="*/ 158551 w 173107"/>
                <a:gd name="connsiteY5" fmla="*/ 70817 h 82619"/>
                <a:gd name="connsiteX6" fmla="*/ 155797 w 173107"/>
                <a:gd name="connsiteY6" fmla="*/ 69637 h 82619"/>
                <a:gd name="connsiteX7" fmla="*/ 152650 w 173107"/>
                <a:gd name="connsiteY7" fmla="*/ 68850 h 82619"/>
                <a:gd name="connsiteX8" fmla="*/ 149502 w 173107"/>
                <a:gd name="connsiteY8" fmla="*/ 67670 h 82619"/>
                <a:gd name="connsiteX9" fmla="*/ 146355 w 173107"/>
                <a:gd name="connsiteY9" fmla="*/ 66882 h 82619"/>
                <a:gd name="connsiteX10" fmla="*/ 143601 w 173107"/>
                <a:gd name="connsiteY10" fmla="*/ 65702 h 82619"/>
                <a:gd name="connsiteX11" fmla="*/ 140453 w 173107"/>
                <a:gd name="connsiteY11" fmla="*/ 64522 h 82619"/>
                <a:gd name="connsiteX12" fmla="*/ 137699 w 173107"/>
                <a:gd name="connsiteY12" fmla="*/ 63342 h 82619"/>
                <a:gd name="connsiteX13" fmla="*/ 134552 w 173107"/>
                <a:gd name="connsiteY13" fmla="*/ 61768 h 82619"/>
                <a:gd name="connsiteX14" fmla="*/ 131798 w 173107"/>
                <a:gd name="connsiteY14" fmla="*/ 59408 h 82619"/>
                <a:gd name="connsiteX15" fmla="*/ 129044 w 173107"/>
                <a:gd name="connsiteY15" fmla="*/ 58227 h 82619"/>
                <a:gd name="connsiteX16" fmla="*/ 126290 w 173107"/>
                <a:gd name="connsiteY16" fmla="*/ 57047 h 82619"/>
                <a:gd name="connsiteX17" fmla="*/ 123143 w 173107"/>
                <a:gd name="connsiteY17" fmla="*/ 56260 h 82619"/>
                <a:gd name="connsiteX18" fmla="*/ 120389 w 173107"/>
                <a:gd name="connsiteY18" fmla="*/ 54686 h 82619"/>
                <a:gd name="connsiteX19" fmla="*/ 117241 w 173107"/>
                <a:gd name="connsiteY19" fmla="*/ 53506 h 82619"/>
                <a:gd name="connsiteX20" fmla="*/ 114094 w 173107"/>
                <a:gd name="connsiteY20" fmla="*/ 52326 h 82619"/>
                <a:gd name="connsiteX21" fmla="*/ 111340 w 173107"/>
                <a:gd name="connsiteY21" fmla="*/ 51145 h 82619"/>
                <a:gd name="connsiteX22" fmla="*/ 108586 w 173107"/>
                <a:gd name="connsiteY22" fmla="*/ 49572 h 82619"/>
                <a:gd name="connsiteX23" fmla="*/ 108192 w 173107"/>
                <a:gd name="connsiteY23" fmla="*/ 49178 h 82619"/>
                <a:gd name="connsiteX24" fmla="*/ 71997 w 173107"/>
                <a:gd name="connsiteY24" fmla="*/ 18885 h 82619"/>
                <a:gd name="connsiteX25" fmla="*/ 71210 w 173107"/>
                <a:gd name="connsiteY25" fmla="*/ 17704 h 82619"/>
                <a:gd name="connsiteX26" fmla="*/ 68456 w 173107"/>
                <a:gd name="connsiteY26" fmla="*/ 14950 h 82619"/>
                <a:gd name="connsiteX27" fmla="*/ 65702 w 173107"/>
                <a:gd name="connsiteY27" fmla="*/ 12590 h 82619"/>
                <a:gd name="connsiteX28" fmla="*/ 62948 w 173107"/>
                <a:gd name="connsiteY28" fmla="*/ 11016 h 82619"/>
                <a:gd name="connsiteX29" fmla="*/ 60194 w 173107"/>
                <a:gd name="connsiteY29" fmla="*/ 8656 h 82619"/>
                <a:gd name="connsiteX30" fmla="*/ 56260 w 173107"/>
                <a:gd name="connsiteY30" fmla="*/ 5508 h 82619"/>
                <a:gd name="connsiteX31" fmla="*/ 55473 w 173107"/>
                <a:gd name="connsiteY31" fmla="*/ 5115 h 82619"/>
                <a:gd name="connsiteX32" fmla="*/ 55080 w 173107"/>
                <a:gd name="connsiteY32" fmla="*/ 5115 h 82619"/>
                <a:gd name="connsiteX33" fmla="*/ 52326 w 173107"/>
                <a:gd name="connsiteY33" fmla="*/ 3148 h 82619"/>
                <a:gd name="connsiteX34" fmla="*/ 49572 w 173107"/>
                <a:gd name="connsiteY34" fmla="*/ 3934 h 82619"/>
                <a:gd name="connsiteX35" fmla="*/ 31868 w 173107"/>
                <a:gd name="connsiteY35" fmla="*/ 0 h 82619"/>
                <a:gd name="connsiteX36" fmla="*/ 31081 w 173107"/>
                <a:gd name="connsiteY36" fmla="*/ 394 h 82619"/>
                <a:gd name="connsiteX37" fmla="*/ 29114 w 173107"/>
                <a:gd name="connsiteY37" fmla="*/ 3148 h 82619"/>
                <a:gd name="connsiteX38" fmla="*/ 30294 w 173107"/>
                <a:gd name="connsiteY38" fmla="*/ 5901 h 82619"/>
                <a:gd name="connsiteX39" fmla="*/ 29507 w 173107"/>
                <a:gd name="connsiteY39" fmla="*/ 9049 h 82619"/>
                <a:gd name="connsiteX40" fmla="*/ 29507 w 173107"/>
                <a:gd name="connsiteY40" fmla="*/ 9049 h 82619"/>
                <a:gd name="connsiteX41" fmla="*/ 26360 w 173107"/>
                <a:gd name="connsiteY41" fmla="*/ 10229 h 82619"/>
                <a:gd name="connsiteX42" fmla="*/ 23606 w 173107"/>
                <a:gd name="connsiteY42" fmla="*/ 11409 h 82619"/>
                <a:gd name="connsiteX43" fmla="*/ 22425 w 173107"/>
                <a:gd name="connsiteY43" fmla="*/ 11016 h 82619"/>
                <a:gd name="connsiteX44" fmla="*/ 19278 w 173107"/>
                <a:gd name="connsiteY44" fmla="*/ 8656 h 82619"/>
                <a:gd name="connsiteX45" fmla="*/ 16524 w 173107"/>
                <a:gd name="connsiteY45" fmla="*/ 7869 h 82619"/>
                <a:gd name="connsiteX46" fmla="*/ 13770 w 173107"/>
                <a:gd name="connsiteY46" fmla="*/ 9836 h 82619"/>
                <a:gd name="connsiteX47" fmla="*/ 16918 w 173107"/>
                <a:gd name="connsiteY47" fmla="*/ 11016 h 82619"/>
                <a:gd name="connsiteX48" fmla="*/ 19671 w 173107"/>
                <a:gd name="connsiteY48" fmla="*/ 12983 h 82619"/>
                <a:gd name="connsiteX49" fmla="*/ 22425 w 173107"/>
                <a:gd name="connsiteY49" fmla="*/ 14950 h 82619"/>
                <a:gd name="connsiteX50" fmla="*/ 21245 w 173107"/>
                <a:gd name="connsiteY50" fmla="*/ 17704 h 82619"/>
                <a:gd name="connsiteX51" fmla="*/ 18098 w 173107"/>
                <a:gd name="connsiteY51" fmla="*/ 18491 h 82619"/>
                <a:gd name="connsiteX52" fmla="*/ 16524 w 173107"/>
                <a:gd name="connsiteY52" fmla="*/ 15344 h 82619"/>
                <a:gd name="connsiteX53" fmla="*/ 15344 w 173107"/>
                <a:gd name="connsiteY53" fmla="*/ 18491 h 82619"/>
                <a:gd name="connsiteX54" fmla="*/ 16918 w 173107"/>
                <a:gd name="connsiteY54" fmla="*/ 21245 h 82619"/>
                <a:gd name="connsiteX55" fmla="*/ 17704 w 173107"/>
                <a:gd name="connsiteY55" fmla="*/ 23999 h 82619"/>
                <a:gd name="connsiteX56" fmla="*/ 19278 w 173107"/>
                <a:gd name="connsiteY56" fmla="*/ 27147 h 82619"/>
                <a:gd name="connsiteX57" fmla="*/ 20852 w 173107"/>
                <a:gd name="connsiteY57" fmla="*/ 29114 h 82619"/>
                <a:gd name="connsiteX58" fmla="*/ 23999 w 173107"/>
                <a:gd name="connsiteY58" fmla="*/ 29901 h 82619"/>
                <a:gd name="connsiteX59" fmla="*/ 27147 w 173107"/>
                <a:gd name="connsiteY59" fmla="*/ 31868 h 82619"/>
                <a:gd name="connsiteX60" fmla="*/ 29901 w 173107"/>
                <a:gd name="connsiteY60" fmla="*/ 31868 h 82619"/>
                <a:gd name="connsiteX61" fmla="*/ 32655 w 173107"/>
                <a:gd name="connsiteY61" fmla="*/ 29507 h 82619"/>
                <a:gd name="connsiteX62" fmla="*/ 37769 w 173107"/>
                <a:gd name="connsiteY62" fmla="*/ 39343 h 82619"/>
                <a:gd name="connsiteX63" fmla="*/ 37376 w 173107"/>
                <a:gd name="connsiteY63" fmla="*/ 40130 h 82619"/>
                <a:gd name="connsiteX64" fmla="*/ 34228 w 173107"/>
                <a:gd name="connsiteY64" fmla="*/ 42490 h 82619"/>
                <a:gd name="connsiteX65" fmla="*/ 36982 w 173107"/>
                <a:gd name="connsiteY65" fmla="*/ 45244 h 82619"/>
                <a:gd name="connsiteX66" fmla="*/ 39343 w 173107"/>
                <a:gd name="connsiteY66" fmla="*/ 48392 h 82619"/>
                <a:gd name="connsiteX67" fmla="*/ 41703 w 173107"/>
                <a:gd name="connsiteY67" fmla="*/ 51539 h 82619"/>
                <a:gd name="connsiteX68" fmla="*/ 44457 w 173107"/>
                <a:gd name="connsiteY68" fmla="*/ 53506 h 82619"/>
                <a:gd name="connsiteX69" fmla="*/ 48785 w 173107"/>
                <a:gd name="connsiteY69" fmla="*/ 54686 h 82619"/>
                <a:gd name="connsiteX70" fmla="*/ 49178 w 173107"/>
                <a:gd name="connsiteY70" fmla="*/ 55080 h 82619"/>
                <a:gd name="connsiteX71" fmla="*/ 49965 w 173107"/>
                <a:gd name="connsiteY71" fmla="*/ 55473 h 82619"/>
                <a:gd name="connsiteX72" fmla="*/ 75538 w 173107"/>
                <a:gd name="connsiteY72" fmla="*/ 64522 h 82619"/>
                <a:gd name="connsiteX73" fmla="*/ 64129 w 173107"/>
                <a:gd name="connsiteY73" fmla="*/ 61768 h 82619"/>
                <a:gd name="connsiteX74" fmla="*/ 62555 w 173107"/>
                <a:gd name="connsiteY74" fmla="*/ 61375 h 82619"/>
                <a:gd name="connsiteX75" fmla="*/ 62162 w 173107"/>
                <a:gd name="connsiteY75" fmla="*/ 61375 h 82619"/>
                <a:gd name="connsiteX76" fmla="*/ 56654 w 173107"/>
                <a:gd name="connsiteY76" fmla="*/ 60194 h 82619"/>
                <a:gd name="connsiteX77" fmla="*/ 53899 w 173107"/>
                <a:gd name="connsiteY77" fmla="*/ 59408 h 82619"/>
                <a:gd name="connsiteX78" fmla="*/ 52719 w 173107"/>
                <a:gd name="connsiteY78" fmla="*/ 59408 h 82619"/>
                <a:gd name="connsiteX79" fmla="*/ 47211 w 173107"/>
                <a:gd name="connsiteY79" fmla="*/ 58621 h 82619"/>
                <a:gd name="connsiteX80" fmla="*/ 46031 w 173107"/>
                <a:gd name="connsiteY80" fmla="*/ 57834 h 82619"/>
                <a:gd name="connsiteX81" fmla="*/ 43277 w 173107"/>
                <a:gd name="connsiteY81" fmla="*/ 60194 h 82619"/>
                <a:gd name="connsiteX82" fmla="*/ 45638 w 173107"/>
                <a:gd name="connsiteY82" fmla="*/ 62948 h 82619"/>
                <a:gd name="connsiteX83" fmla="*/ 42884 w 173107"/>
                <a:gd name="connsiteY83" fmla="*/ 61375 h 82619"/>
                <a:gd name="connsiteX84" fmla="*/ 39736 w 173107"/>
                <a:gd name="connsiteY84" fmla="*/ 60194 h 82619"/>
                <a:gd name="connsiteX85" fmla="*/ 36589 w 173107"/>
                <a:gd name="connsiteY85" fmla="*/ 59014 h 82619"/>
                <a:gd name="connsiteX86" fmla="*/ 33835 w 173107"/>
                <a:gd name="connsiteY86" fmla="*/ 58227 h 82619"/>
                <a:gd name="connsiteX87" fmla="*/ 30687 w 173107"/>
                <a:gd name="connsiteY87" fmla="*/ 57047 h 82619"/>
                <a:gd name="connsiteX88" fmla="*/ 27933 w 173107"/>
                <a:gd name="connsiteY88" fmla="*/ 55867 h 82619"/>
                <a:gd name="connsiteX89" fmla="*/ 25179 w 173107"/>
                <a:gd name="connsiteY89" fmla="*/ 55080 h 82619"/>
                <a:gd name="connsiteX90" fmla="*/ 22032 w 173107"/>
                <a:gd name="connsiteY90" fmla="*/ 54686 h 82619"/>
                <a:gd name="connsiteX91" fmla="*/ 24786 w 173107"/>
                <a:gd name="connsiteY91" fmla="*/ 57441 h 82619"/>
                <a:gd name="connsiteX92" fmla="*/ 27540 w 173107"/>
                <a:gd name="connsiteY92" fmla="*/ 58227 h 82619"/>
                <a:gd name="connsiteX93" fmla="*/ 30294 w 173107"/>
                <a:gd name="connsiteY93" fmla="*/ 58227 h 82619"/>
                <a:gd name="connsiteX94" fmla="*/ 33048 w 173107"/>
                <a:gd name="connsiteY94" fmla="*/ 58621 h 82619"/>
                <a:gd name="connsiteX95" fmla="*/ 36195 w 173107"/>
                <a:gd name="connsiteY95" fmla="*/ 61768 h 82619"/>
                <a:gd name="connsiteX96" fmla="*/ 39343 w 173107"/>
                <a:gd name="connsiteY96" fmla="*/ 63735 h 82619"/>
                <a:gd name="connsiteX97" fmla="*/ 42097 w 173107"/>
                <a:gd name="connsiteY97" fmla="*/ 64522 h 82619"/>
                <a:gd name="connsiteX98" fmla="*/ 45244 w 173107"/>
                <a:gd name="connsiteY98" fmla="*/ 65702 h 82619"/>
                <a:gd name="connsiteX99" fmla="*/ 48392 w 173107"/>
                <a:gd name="connsiteY99" fmla="*/ 67276 h 82619"/>
                <a:gd name="connsiteX100" fmla="*/ 45244 w 173107"/>
                <a:gd name="connsiteY100" fmla="*/ 67670 h 82619"/>
                <a:gd name="connsiteX101" fmla="*/ 42490 w 173107"/>
                <a:gd name="connsiteY101" fmla="*/ 66096 h 82619"/>
                <a:gd name="connsiteX102" fmla="*/ 39343 w 173107"/>
                <a:gd name="connsiteY102" fmla="*/ 64915 h 82619"/>
                <a:gd name="connsiteX103" fmla="*/ 36195 w 173107"/>
                <a:gd name="connsiteY103" fmla="*/ 63735 h 82619"/>
                <a:gd name="connsiteX104" fmla="*/ 33441 w 173107"/>
                <a:gd name="connsiteY104" fmla="*/ 63342 h 82619"/>
                <a:gd name="connsiteX105" fmla="*/ 33441 w 173107"/>
                <a:gd name="connsiteY105" fmla="*/ 66096 h 82619"/>
                <a:gd name="connsiteX106" fmla="*/ 36195 w 173107"/>
                <a:gd name="connsiteY106" fmla="*/ 68850 h 82619"/>
                <a:gd name="connsiteX107" fmla="*/ 33048 w 173107"/>
                <a:gd name="connsiteY107" fmla="*/ 68850 h 82619"/>
                <a:gd name="connsiteX108" fmla="*/ 32655 w 173107"/>
                <a:gd name="connsiteY108" fmla="*/ 66096 h 82619"/>
                <a:gd name="connsiteX109" fmla="*/ 32261 w 173107"/>
                <a:gd name="connsiteY109" fmla="*/ 62948 h 82619"/>
                <a:gd name="connsiteX110" fmla="*/ 31081 w 173107"/>
                <a:gd name="connsiteY110" fmla="*/ 60194 h 82619"/>
                <a:gd name="connsiteX111" fmla="*/ 28327 w 173107"/>
                <a:gd name="connsiteY111" fmla="*/ 59801 h 82619"/>
                <a:gd name="connsiteX112" fmla="*/ 25573 w 173107"/>
                <a:gd name="connsiteY112" fmla="*/ 60588 h 82619"/>
                <a:gd name="connsiteX113" fmla="*/ 25966 w 173107"/>
                <a:gd name="connsiteY113" fmla="*/ 63342 h 82619"/>
                <a:gd name="connsiteX114" fmla="*/ 23999 w 173107"/>
                <a:gd name="connsiteY114" fmla="*/ 66096 h 82619"/>
                <a:gd name="connsiteX115" fmla="*/ 20852 w 173107"/>
                <a:gd name="connsiteY115" fmla="*/ 64129 h 82619"/>
                <a:gd name="connsiteX116" fmla="*/ 18098 w 173107"/>
                <a:gd name="connsiteY116" fmla="*/ 62948 h 82619"/>
                <a:gd name="connsiteX117" fmla="*/ 14950 w 173107"/>
                <a:gd name="connsiteY117" fmla="*/ 64129 h 82619"/>
                <a:gd name="connsiteX118" fmla="*/ 11803 w 173107"/>
                <a:gd name="connsiteY118" fmla="*/ 64129 h 82619"/>
                <a:gd name="connsiteX119" fmla="*/ 8655 w 173107"/>
                <a:gd name="connsiteY119" fmla="*/ 63342 h 82619"/>
                <a:gd name="connsiteX120" fmla="*/ 11016 w 173107"/>
                <a:gd name="connsiteY120" fmla="*/ 66096 h 82619"/>
                <a:gd name="connsiteX121" fmla="*/ 7869 w 173107"/>
                <a:gd name="connsiteY121" fmla="*/ 64129 h 82619"/>
                <a:gd name="connsiteX122" fmla="*/ 5115 w 173107"/>
                <a:gd name="connsiteY122" fmla="*/ 64522 h 82619"/>
                <a:gd name="connsiteX123" fmla="*/ 7869 w 173107"/>
                <a:gd name="connsiteY123" fmla="*/ 64915 h 82619"/>
                <a:gd name="connsiteX124" fmla="*/ 9049 w 173107"/>
                <a:gd name="connsiteY124" fmla="*/ 68063 h 82619"/>
                <a:gd name="connsiteX125" fmla="*/ 6295 w 173107"/>
                <a:gd name="connsiteY125" fmla="*/ 67276 h 82619"/>
                <a:gd name="connsiteX126" fmla="*/ 3148 w 173107"/>
                <a:gd name="connsiteY126" fmla="*/ 65309 h 82619"/>
                <a:gd name="connsiteX127" fmla="*/ 0 w 173107"/>
                <a:gd name="connsiteY127" fmla="*/ 64915 h 82619"/>
                <a:gd name="connsiteX128" fmla="*/ 3148 w 173107"/>
                <a:gd name="connsiteY128" fmla="*/ 67670 h 82619"/>
                <a:gd name="connsiteX129" fmla="*/ 4721 w 173107"/>
                <a:gd name="connsiteY129" fmla="*/ 70817 h 82619"/>
                <a:gd name="connsiteX130" fmla="*/ 7475 w 173107"/>
                <a:gd name="connsiteY130" fmla="*/ 69637 h 82619"/>
                <a:gd name="connsiteX131" fmla="*/ 10229 w 173107"/>
                <a:gd name="connsiteY131" fmla="*/ 69243 h 82619"/>
                <a:gd name="connsiteX132" fmla="*/ 13377 w 173107"/>
                <a:gd name="connsiteY132" fmla="*/ 70423 h 82619"/>
                <a:gd name="connsiteX133" fmla="*/ 16131 w 173107"/>
                <a:gd name="connsiteY133" fmla="*/ 70817 h 82619"/>
                <a:gd name="connsiteX134" fmla="*/ 18885 w 173107"/>
                <a:gd name="connsiteY134" fmla="*/ 69637 h 82619"/>
                <a:gd name="connsiteX135" fmla="*/ 18098 w 173107"/>
                <a:gd name="connsiteY135" fmla="*/ 66489 h 82619"/>
                <a:gd name="connsiteX136" fmla="*/ 20852 w 173107"/>
                <a:gd name="connsiteY136" fmla="*/ 68850 h 82619"/>
                <a:gd name="connsiteX137" fmla="*/ 22032 w 173107"/>
                <a:gd name="connsiteY137" fmla="*/ 71604 h 82619"/>
                <a:gd name="connsiteX138" fmla="*/ 25179 w 173107"/>
                <a:gd name="connsiteY138" fmla="*/ 71604 h 82619"/>
                <a:gd name="connsiteX139" fmla="*/ 26753 w 173107"/>
                <a:gd name="connsiteY139" fmla="*/ 68850 h 82619"/>
                <a:gd name="connsiteX140" fmla="*/ 29114 w 173107"/>
                <a:gd name="connsiteY140" fmla="*/ 71604 h 82619"/>
                <a:gd name="connsiteX141" fmla="*/ 29507 w 173107"/>
                <a:gd name="connsiteY141" fmla="*/ 74751 h 82619"/>
                <a:gd name="connsiteX142" fmla="*/ 32261 w 173107"/>
                <a:gd name="connsiteY142" fmla="*/ 73964 h 82619"/>
                <a:gd name="connsiteX143" fmla="*/ 35408 w 173107"/>
                <a:gd name="connsiteY143" fmla="*/ 73571 h 82619"/>
                <a:gd name="connsiteX144" fmla="*/ 38162 w 173107"/>
                <a:gd name="connsiteY144" fmla="*/ 70817 h 82619"/>
                <a:gd name="connsiteX145" fmla="*/ 41310 w 173107"/>
                <a:gd name="connsiteY145" fmla="*/ 71604 h 82619"/>
                <a:gd name="connsiteX146" fmla="*/ 38162 w 173107"/>
                <a:gd name="connsiteY146" fmla="*/ 73571 h 82619"/>
                <a:gd name="connsiteX147" fmla="*/ 35408 w 173107"/>
                <a:gd name="connsiteY147" fmla="*/ 75931 h 82619"/>
                <a:gd name="connsiteX148" fmla="*/ 38162 w 173107"/>
                <a:gd name="connsiteY148" fmla="*/ 76718 h 82619"/>
                <a:gd name="connsiteX149" fmla="*/ 41310 w 173107"/>
                <a:gd name="connsiteY149" fmla="*/ 74751 h 82619"/>
                <a:gd name="connsiteX150" fmla="*/ 44064 w 173107"/>
                <a:gd name="connsiteY150" fmla="*/ 75538 h 82619"/>
                <a:gd name="connsiteX151" fmla="*/ 47211 w 173107"/>
                <a:gd name="connsiteY151" fmla="*/ 75538 h 82619"/>
                <a:gd name="connsiteX152" fmla="*/ 48392 w 173107"/>
                <a:gd name="connsiteY152" fmla="*/ 72784 h 82619"/>
                <a:gd name="connsiteX153" fmla="*/ 47998 w 173107"/>
                <a:gd name="connsiteY153" fmla="*/ 75538 h 82619"/>
                <a:gd name="connsiteX154" fmla="*/ 50752 w 173107"/>
                <a:gd name="connsiteY154" fmla="*/ 77112 h 82619"/>
                <a:gd name="connsiteX155" fmla="*/ 53899 w 173107"/>
                <a:gd name="connsiteY155" fmla="*/ 74751 h 82619"/>
                <a:gd name="connsiteX156" fmla="*/ 56654 w 173107"/>
                <a:gd name="connsiteY156" fmla="*/ 76718 h 82619"/>
                <a:gd name="connsiteX157" fmla="*/ 54686 w 173107"/>
                <a:gd name="connsiteY157" fmla="*/ 72784 h 82619"/>
                <a:gd name="connsiteX158" fmla="*/ 55473 w 173107"/>
                <a:gd name="connsiteY158" fmla="*/ 73178 h 82619"/>
                <a:gd name="connsiteX159" fmla="*/ 58227 w 173107"/>
                <a:gd name="connsiteY159" fmla="*/ 75931 h 82619"/>
                <a:gd name="connsiteX160" fmla="*/ 61375 w 173107"/>
                <a:gd name="connsiteY160" fmla="*/ 73964 h 82619"/>
                <a:gd name="connsiteX161" fmla="*/ 61768 w 173107"/>
                <a:gd name="connsiteY161" fmla="*/ 73964 h 82619"/>
                <a:gd name="connsiteX162" fmla="*/ 64522 w 173107"/>
                <a:gd name="connsiteY162" fmla="*/ 74358 h 82619"/>
                <a:gd name="connsiteX163" fmla="*/ 65309 w 173107"/>
                <a:gd name="connsiteY163" fmla="*/ 75931 h 82619"/>
                <a:gd name="connsiteX164" fmla="*/ 68063 w 173107"/>
                <a:gd name="connsiteY164" fmla="*/ 77112 h 82619"/>
                <a:gd name="connsiteX165" fmla="*/ 71210 w 173107"/>
                <a:gd name="connsiteY165" fmla="*/ 77899 h 82619"/>
                <a:gd name="connsiteX166" fmla="*/ 73964 w 173107"/>
                <a:gd name="connsiteY166" fmla="*/ 78292 h 82619"/>
                <a:gd name="connsiteX167" fmla="*/ 76718 w 173107"/>
                <a:gd name="connsiteY167" fmla="*/ 78685 h 82619"/>
                <a:gd name="connsiteX168" fmla="*/ 79866 w 173107"/>
                <a:gd name="connsiteY168" fmla="*/ 79866 h 82619"/>
                <a:gd name="connsiteX169" fmla="*/ 85767 w 173107"/>
                <a:gd name="connsiteY169" fmla="*/ 79866 h 82619"/>
                <a:gd name="connsiteX170" fmla="*/ 88521 w 173107"/>
                <a:gd name="connsiteY170" fmla="*/ 77899 h 82619"/>
                <a:gd name="connsiteX171" fmla="*/ 87734 w 173107"/>
                <a:gd name="connsiteY171" fmla="*/ 77505 h 82619"/>
                <a:gd name="connsiteX172" fmla="*/ 91669 w 173107"/>
                <a:gd name="connsiteY172" fmla="*/ 78292 h 82619"/>
                <a:gd name="connsiteX173" fmla="*/ 94816 w 173107"/>
                <a:gd name="connsiteY173" fmla="*/ 78685 h 82619"/>
                <a:gd name="connsiteX174" fmla="*/ 97570 w 173107"/>
                <a:gd name="connsiteY174" fmla="*/ 78292 h 82619"/>
                <a:gd name="connsiteX175" fmla="*/ 100717 w 173107"/>
                <a:gd name="connsiteY175" fmla="*/ 77899 h 82619"/>
                <a:gd name="connsiteX176" fmla="*/ 103471 w 173107"/>
                <a:gd name="connsiteY176" fmla="*/ 77899 h 82619"/>
                <a:gd name="connsiteX177" fmla="*/ 106619 w 173107"/>
                <a:gd name="connsiteY177" fmla="*/ 77899 h 82619"/>
                <a:gd name="connsiteX178" fmla="*/ 109766 w 173107"/>
                <a:gd name="connsiteY178" fmla="*/ 77899 h 82619"/>
                <a:gd name="connsiteX179" fmla="*/ 112913 w 173107"/>
                <a:gd name="connsiteY179" fmla="*/ 78292 h 82619"/>
                <a:gd name="connsiteX180" fmla="*/ 115667 w 173107"/>
                <a:gd name="connsiteY180" fmla="*/ 78685 h 82619"/>
                <a:gd name="connsiteX181" fmla="*/ 118422 w 173107"/>
                <a:gd name="connsiteY181" fmla="*/ 78685 h 82619"/>
                <a:gd name="connsiteX182" fmla="*/ 121569 w 173107"/>
                <a:gd name="connsiteY182" fmla="*/ 78685 h 82619"/>
                <a:gd name="connsiteX183" fmla="*/ 124323 w 173107"/>
                <a:gd name="connsiteY183" fmla="*/ 78685 h 82619"/>
                <a:gd name="connsiteX184" fmla="*/ 127470 w 173107"/>
                <a:gd name="connsiteY184" fmla="*/ 78685 h 82619"/>
                <a:gd name="connsiteX185" fmla="*/ 128257 w 173107"/>
                <a:gd name="connsiteY185" fmla="*/ 79079 h 82619"/>
                <a:gd name="connsiteX186" fmla="*/ 131405 w 173107"/>
                <a:gd name="connsiteY186" fmla="*/ 79866 h 82619"/>
                <a:gd name="connsiteX187" fmla="*/ 134552 w 173107"/>
                <a:gd name="connsiteY187" fmla="*/ 80652 h 82619"/>
                <a:gd name="connsiteX188" fmla="*/ 137306 w 173107"/>
                <a:gd name="connsiteY188" fmla="*/ 81440 h 82619"/>
                <a:gd name="connsiteX189" fmla="*/ 140060 w 173107"/>
                <a:gd name="connsiteY189" fmla="*/ 82620 h 82619"/>
                <a:gd name="connsiteX190" fmla="*/ 142814 w 173107"/>
                <a:gd name="connsiteY190" fmla="*/ 83800 h 82619"/>
                <a:gd name="connsiteX191" fmla="*/ 146355 w 173107"/>
                <a:gd name="connsiteY191" fmla="*/ 84980 h 82619"/>
                <a:gd name="connsiteX192" fmla="*/ 150289 w 173107"/>
                <a:gd name="connsiteY192" fmla="*/ 85767 h 82619"/>
                <a:gd name="connsiteX193" fmla="*/ 151469 w 173107"/>
                <a:gd name="connsiteY193" fmla="*/ 85767 h 82619"/>
                <a:gd name="connsiteX194" fmla="*/ 148322 w 173107"/>
                <a:gd name="connsiteY194" fmla="*/ 83407 h 82619"/>
                <a:gd name="connsiteX195" fmla="*/ 151469 w 173107"/>
                <a:gd name="connsiteY195" fmla="*/ 81440 h 82619"/>
                <a:gd name="connsiteX196" fmla="*/ 154617 w 173107"/>
                <a:gd name="connsiteY196" fmla="*/ 81440 h 82619"/>
                <a:gd name="connsiteX197" fmla="*/ 157371 w 173107"/>
                <a:gd name="connsiteY197" fmla="*/ 80652 h 82619"/>
                <a:gd name="connsiteX198" fmla="*/ 160518 w 173107"/>
                <a:gd name="connsiteY198" fmla="*/ 78685 h 82619"/>
                <a:gd name="connsiteX199" fmla="*/ 163272 w 173107"/>
                <a:gd name="connsiteY199" fmla="*/ 78685 h 82619"/>
                <a:gd name="connsiteX200" fmla="*/ 166420 w 173107"/>
                <a:gd name="connsiteY200" fmla="*/ 80259 h 82619"/>
                <a:gd name="connsiteX201" fmla="*/ 169173 w 173107"/>
                <a:gd name="connsiteY201" fmla="*/ 79472 h 82619"/>
                <a:gd name="connsiteX202" fmla="*/ 172321 w 173107"/>
                <a:gd name="connsiteY202" fmla="*/ 78292 h 82619"/>
                <a:gd name="connsiteX203" fmla="*/ 175075 w 173107"/>
                <a:gd name="connsiteY203" fmla="*/ 79079 h 82619"/>
                <a:gd name="connsiteX204" fmla="*/ 175862 w 173107"/>
                <a:gd name="connsiteY204" fmla="*/ 76325 h 82619"/>
                <a:gd name="connsiteX205" fmla="*/ 175468 w 173107"/>
                <a:gd name="connsiteY205" fmla="*/ 73571 h 82619"/>
                <a:gd name="connsiteX206" fmla="*/ 175862 w 173107"/>
                <a:gd name="connsiteY206" fmla="*/ 70817 h 82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</a:cxnLst>
              <a:rect l="l" t="t" r="r" b="b"/>
              <a:pathLst>
                <a:path w="173107" h="82619">
                  <a:moveTo>
                    <a:pt x="173108" y="70030"/>
                  </a:moveTo>
                  <a:lnTo>
                    <a:pt x="169960" y="70423"/>
                  </a:lnTo>
                  <a:lnTo>
                    <a:pt x="166813" y="70817"/>
                  </a:lnTo>
                  <a:lnTo>
                    <a:pt x="164059" y="70817"/>
                  </a:lnTo>
                  <a:lnTo>
                    <a:pt x="161305" y="70817"/>
                  </a:lnTo>
                  <a:lnTo>
                    <a:pt x="158551" y="70817"/>
                  </a:lnTo>
                  <a:lnTo>
                    <a:pt x="155797" y="69637"/>
                  </a:lnTo>
                  <a:lnTo>
                    <a:pt x="152650" y="68850"/>
                  </a:lnTo>
                  <a:lnTo>
                    <a:pt x="149502" y="67670"/>
                  </a:lnTo>
                  <a:lnTo>
                    <a:pt x="146355" y="66882"/>
                  </a:lnTo>
                  <a:lnTo>
                    <a:pt x="143601" y="65702"/>
                  </a:lnTo>
                  <a:lnTo>
                    <a:pt x="140453" y="64522"/>
                  </a:lnTo>
                  <a:lnTo>
                    <a:pt x="137699" y="63342"/>
                  </a:lnTo>
                  <a:lnTo>
                    <a:pt x="134552" y="61768"/>
                  </a:lnTo>
                  <a:lnTo>
                    <a:pt x="131798" y="59408"/>
                  </a:lnTo>
                  <a:lnTo>
                    <a:pt x="129044" y="58227"/>
                  </a:lnTo>
                  <a:lnTo>
                    <a:pt x="126290" y="57047"/>
                  </a:lnTo>
                  <a:lnTo>
                    <a:pt x="123143" y="56260"/>
                  </a:lnTo>
                  <a:lnTo>
                    <a:pt x="120389" y="54686"/>
                  </a:lnTo>
                  <a:lnTo>
                    <a:pt x="117241" y="53506"/>
                  </a:lnTo>
                  <a:lnTo>
                    <a:pt x="114094" y="52326"/>
                  </a:lnTo>
                  <a:lnTo>
                    <a:pt x="111340" y="51145"/>
                  </a:lnTo>
                  <a:lnTo>
                    <a:pt x="108586" y="49572"/>
                  </a:lnTo>
                  <a:lnTo>
                    <a:pt x="108192" y="49178"/>
                  </a:lnTo>
                  <a:lnTo>
                    <a:pt x="71997" y="18885"/>
                  </a:lnTo>
                  <a:lnTo>
                    <a:pt x="71210" y="17704"/>
                  </a:lnTo>
                  <a:lnTo>
                    <a:pt x="68456" y="14950"/>
                  </a:lnTo>
                  <a:lnTo>
                    <a:pt x="65702" y="12590"/>
                  </a:lnTo>
                  <a:lnTo>
                    <a:pt x="62948" y="11016"/>
                  </a:lnTo>
                  <a:lnTo>
                    <a:pt x="60194" y="8656"/>
                  </a:lnTo>
                  <a:lnTo>
                    <a:pt x="56260" y="5508"/>
                  </a:lnTo>
                  <a:lnTo>
                    <a:pt x="55473" y="5115"/>
                  </a:lnTo>
                  <a:lnTo>
                    <a:pt x="55080" y="5115"/>
                  </a:lnTo>
                  <a:lnTo>
                    <a:pt x="52326" y="3148"/>
                  </a:lnTo>
                  <a:lnTo>
                    <a:pt x="49572" y="3934"/>
                  </a:lnTo>
                  <a:lnTo>
                    <a:pt x="31868" y="0"/>
                  </a:lnTo>
                  <a:lnTo>
                    <a:pt x="31081" y="394"/>
                  </a:lnTo>
                  <a:lnTo>
                    <a:pt x="29114" y="3148"/>
                  </a:lnTo>
                  <a:lnTo>
                    <a:pt x="30294" y="5901"/>
                  </a:lnTo>
                  <a:lnTo>
                    <a:pt x="29507" y="9049"/>
                  </a:lnTo>
                  <a:lnTo>
                    <a:pt x="29507" y="9049"/>
                  </a:lnTo>
                  <a:lnTo>
                    <a:pt x="26360" y="10229"/>
                  </a:lnTo>
                  <a:lnTo>
                    <a:pt x="23606" y="11409"/>
                  </a:lnTo>
                  <a:lnTo>
                    <a:pt x="22425" y="11016"/>
                  </a:lnTo>
                  <a:lnTo>
                    <a:pt x="19278" y="8656"/>
                  </a:lnTo>
                  <a:lnTo>
                    <a:pt x="16524" y="7869"/>
                  </a:lnTo>
                  <a:lnTo>
                    <a:pt x="13770" y="9836"/>
                  </a:lnTo>
                  <a:lnTo>
                    <a:pt x="16918" y="11016"/>
                  </a:lnTo>
                  <a:lnTo>
                    <a:pt x="19671" y="12983"/>
                  </a:lnTo>
                  <a:lnTo>
                    <a:pt x="22425" y="14950"/>
                  </a:lnTo>
                  <a:lnTo>
                    <a:pt x="21245" y="17704"/>
                  </a:lnTo>
                  <a:lnTo>
                    <a:pt x="18098" y="18491"/>
                  </a:lnTo>
                  <a:lnTo>
                    <a:pt x="16524" y="15344"/>
                  </a:lnTo>
                  <a:lnTo>
                    <a:pt x="15344" y="18491"/>
                  </a:lnTo>
                  <a:lnTo>
                    <a:pt x="16918" y="21245"/>
                  </a:lnTo>
                  <a:lnTo>
                    <a:pt x="17704" y="23999"/>
                  </a:lnTo>
                  <a:lnTo>
                    <a:pt x="19278" y="27147"/>
                  </a:lnTo>
                  <a:lnTo>
                    <a:pt x="20852" y="29114"/>
                  </a:lnTo>
                  <a:lnTo>
                    <a:pt x="23999" y="29901"/>
                  </a:lnTo>
                  <a:lnTo>
                    <a:pt x="27147" y="31868"/>
                  </a:lnTo>
                  <a:lnTo>
                    <a:pt x="29901" y="31868"/>
                  </a:lnTo>
                  <a:lnTo>
                    <a:pt x="32655" y="29507"/>
                  </a:lnTo>
                  <a:lnTo>
                    <a:pt x="37769" y="39343"/>
                  </a:lnTo>
                  <a:lnTo>
                    <a:pt x="37376" y="40130"/>
                  </a:lnTo>
                  <a:lnTo>
                    <a:pt x="34228" y="42490"/>
                  </a:lnTo>
                  <a:lnTo>
                    <a:pt x="36982" y="45244"/>
                  </a:lnTo>
                  <a:lnTo>
                    <a:pt x="39343" y="48392"/>
                  </a:lnTo>
                  <a:lnTo>
                    <a:pt x="41703" y="51539"/>
                  </a:lnTo>
                  <a:lnTo>
                    <a:pt x="44457" y="53506"/>
                  </a:lnTo>
                  <a:lnTo>
                    <a:pt x="48785" y="54686"/>
                  </a:lnTo>
                  <a:lnTo>
                    <a:pt x="49178" y="55080"/>
                  </a:lnTo>
                  <a:lnTo>
                    <a:pt x="49965" y="55473"/>
                  </a:lnTo>
                  <a:lnTo>
                    <a:pt x="75538" y="64522"/>
                  </a:lnTo>
                  <a:lnTo>
                    <a:pt x="64129" y="61768"/>
                  </a:lnTo>
                  <a:lnTo>
                    <a:pt x="62555" y="61375"/>
                  </a:lnTo>
                  <a:lnTo>
                    <a:pt x="62162" y="61375"/>
                  </a:lnTo>
                  <a:lnTo>
                    <a:pt x="56654" y="60194"/>
                  </a:lnTo>
                  <a:lnTo>
                    <a:pt x="53899" y="59408"/>
                  </a:lnTo>
                  <a:lnTo>
                    <a:pt x="52719" y="59408"/>
                  </a:lnTo>
                  <a:lnTo>
                    <a:pt x="47211" y="58621"/>
                  </a:lnTo>
                  <a:lnTo>
                    <a:pt x="46031" y="57834"/>
                  </a:lnTo>
                  <a:lnTo>
                    <a:pt x="43277" y="60194"/>
                  </a:lnTo>
                  <a:lnTo>
                    <a:pt x="45638" y="62948"/>
                  </a:lnTo>
                  <a:lnTo>
                    <a:pt x="42884" y="61375"/>
                  </a:lnTo>
                  <a:lnTo>
                    <a:pt x="39736" y="60194"/>
                  </a:lnTo>
                  <a:lnTo>
                    <a:pt x="36589" y="59014"/>
                  </a:lnTo>
                  <a:lnTo>
                    <a:pt x="33835" y="58227"/>
                  </a:lnTo>
                  <a:lnTo>
                    <a:pt x="30687" y="57047"/>
                  </a:lnTo>
                  <a:lnTo>
                    <a:pt x="27933" y="55867"/>
                  </a:lnTo>
                  <a:lnTo>
                    <a:pt x="25179" y="55080"/>
                  </a:lnTo>
                  <a:lnTo>
                    <a:pt x="22032" y="54686"/>
                  </a:lnTo>
                  <a:lnTo>
                    <a:pt x="24786" y="57441"/>
                  </a:lnTo>
                  <a:lnTo>
                    <a:pt x="27540" y="58227"/>
                  </a:lnTo>
                  <a:lnTo>
                    <a:pt x="30294" y="58227"/>
                  </a:lnTo>
                  <a:lnTo>
                    <a:pt x="33048" y="58621"/>
                  </a:lnTo>
                  <a:lnTo>
                    <a:pt x="36195" y="61768"/>
                  </a:lnTo>
                  <a:lnTo>
                    <a:pt x="39343" y="63735"/>
                  </a:lnTo>
                  <a:lnTo>
                    <a:pt x="42097" y="64522"/>
                  </a:lnTo>
                  <a:lnTo>
                    <a:pt x="45244" y="65702"/>
                  </a:lnTo>
                  <a:lnTo>
                    <a:pt x="48392" y="67276"/>
                  </a:lnTo>
                  <a:lnTo>
                    <a:pt x="45244" y="67670"/>
                  </a:lnTo>
                  <a:lnTo>
                    <a:pt x="42490" y="66096"/>
                  </a:lnTo>
                  <a:lnTo>
                    <a:pt x="39343" y="64915"/>
                  </a:lnTo>
                  <a:lnTo>
                    <a:pt x="36195" y="63735"/>
                  </a:lnTo>
                  <a:lnTo>
                    <a:pt x="33441" y="63342"/>
                  </a:lnTo>
                  <a:lnTo>
                    <a:pt x="33441" y="66096"/>
                  </a:lnTo>
                  <a:lnTo>
                    <a:pt x="36195" y="68850"/>
                  </a:lnTo>
                  <a:lnTo>
                    <a:pt x="33048" y="68850"/>
                  </a:lnTo>
                  <a:lnTo>
                    <a:pt x="32655" y="66096"/>
                  </a:lnTo>
                  <a:lnTo>
                    <a:pt x="32261" y="62948"/>
                  </a:lnTo>
                  <a:lnTo>
                    <a:pt x="31081" y="60194"/>
                  </a:lnTo>
                  <a:lnTo>
                    <a:pt x="28327" y="59801"/>
                  </a:lnTo>
                  <a:lnTo>
                    <a:pt x="25573" y="60588"/>
                  </a:lnTo>
                  <a:lnTo>
                    <a:pt x="25966" y="63342"/>
                  </a:lnTo>
                  <a:lnTo>
                    <a:pt x="23999" y="66096"/>
                  </a:lnTo>
                  <a:lnTo>
                    <a:pt x="20852" y="64129"/>
                  </a:lnTo>
                  <a:lnTo>
                    <a:pt x="18098" y="62948"/>
                  </a:lnTo>
                  <a:lnTo>
                    <a:pt x="14950" y="64129"/>
                  </a:lnTo>
                  <a:lnTo>
                    <a:pt x="11803" y="64129"/>
                  </a:lnTo>
                  <a:lnTo>
                    <a:pt x="8655" y="63342"/>
                  </a:lnTo>
                  <a:lnTo>
                    <a:pt x="11016" y="66096"/>
                  </a:lnTo>
                  <a:lnTo>
                    <a:pt x="7869" y="64129"/>
                  </a:lnTo>
                  <a:lnTo>
                    <a:pt x="5115" y="64522"/>
                  </a:lnTo>
                  <a:lnTo>
                    <a:pt x="7869" y="64915"/>
                  </a:lnTo>
                  <a:lnTo>
                    <a:pt x="9049" y="68063"/>
                  </a:lnTo>
                  <a:lnTo>
                    <a:pt x="6295" y="67276"/>
                  </a:lnTo>
                  <a:lnTo>
                    <a:pt x="3148" y="65309"/>
                  </a:lnTo>
                  <a:lnTo>
                    <a:pt x="0" y="64915"/>
                  </a:lnTo>
                  <a:lnTo>
                    <a:pt x="3148" y="67670"/>
                  </a:lnTo>
                  <a:lnTo>
                    <a:pt x="4721" y="70817"/>
                  </a:lnTo>
                  <a:lnTo>
                    <a:pt x="7475" y="69637"/>
                  </a:lnTo>
                  <a:lnTo>
                    <a:pt x="10229" y="69243"/>
                  </a:lnTo>
                  <a:lnTo>
                    <a:pt x="13377" y="70423"/>
                  </a:lnTo>
                  <a:lnTo>
                    <a:pt x="16131" y="70817"/>
                  </a:lnTo>
                  <a:lnTo>
                    <a:pt x="18885" y="69637"/>
                  </a:lnTo>
                  <a:lnTo>
                    <a:pt x="18098" y="66489"/>
                  </a:lnTo>
                  <a:lnTo>
                    <a:pt x="20852" y="68850"/>
                  </a:lnTo>
                  <a:lnTo>
                    <a:pt x="22032" y="71604"/>
                  </a:lnTo>
                  <a:lnTo>
                    <a:pt x="25179" y="71604"/>
                  </a:lnTo>
                  <a:lnTo>
                    <a:pt x="26753" y="68850"/>
                  </a:lnTo>
                  <a:lnTo>
                    <a:pt x="29114" y="71604"/>
                  </a:lnTo>
                  <a:lnTo>
                    <a:pt x="29507" y="74751"/>
                  </a:lnTo>
                  <a:lnTo>
                    <a:pt x="32261" y="73964"/>
                  </a:lnTo>
                  <a:lnTo>
                    <a:pt x="35408" y="73571"/>
                  </a:lnTo>
                  <a:lnTo>
                    <a:pt x="38162" y="70817"/>
                  </a:lnTo>
                  <a:lnTo>
                    <a:pt x="41310" y="71604"/>
                  </a:lnTo>
                  <a:lnTo>
                    <a:pt x="38162" y="73571"/>
                  </a:lnTo>
                  <a:lnTo>
                    <a:pt x="35408" y="75931"/>
                  </a:lnTo>
                  <a:lnTo>
                    <a:pt x="38162" y="76718"/>
                  </a:lnTo>
                  <a:lnTo>
                    <a:pt x="41310" y="74751"/>
                  </a:lnTo>
                  <a:lnTo>
                    <a:pt x="44064" y="75538"/>
                  </a:lnTo>
                  <a:lnTo>
                    <a:pt x="47211" y="75538"/>
                  </a:lnTo>
                  <a:lnTo>
                    <a:pt x="48392" y="72784"/>
                  </a:lnTo>
                  <a:lnTo>
                    <a:pt x="47998" y="75538"/>
                  </a:lnTo>
                  <a:lnTo>
                    <a:pt x="50752" y="77112"/>
                  </a:lnTo>
                  <a:lnTo>
                    <a:pt x="53899" y="74751"/>
                  </a:lnTo>
                  <a:lnTo>
                    <a:pt x="56654" y="76718"/>
                  </a:lnTo>
                  <a:lnTo>
                    <a:pt x="54686" y="72784"/>
                  </a:lnTo>
                  <a:lnTo>
                    <a:pt x="55473" y="73178"/>
                  </a:lnTo>
                  <a:lnTo>
                    <a:pt x="58227" y="75931"/>
                  </a:lnTo>
                  <a:lnTo>
                    <a:pt x="61375" y="73964"/>
                  </a:lnTo>
                  <a:lnTo>
                    <a:pt x="61768" y="73964"/>
                  </a:lnTo>
                  <a:lnTo>
                    <a:pt x="64522" y="74358"/>
                  </a:lnTo>
                  <a:lnTo>
                    <a:pt x="65309" y="75931"/>
                  </a:lnTo>
                  <a:lnTo>
                    <a:pt x="68063" y="77112"/>
                  </a:lnTo>
                  <a:lnTo>
                    <a:pt x="71210" y="77899"/>
                  </a:lnTo>
                  <a:lnTo>
                    <a:pt x="73964" y="78292"/>
                  </a:lnTo>
                  <a:lnTo>
                    <a:pt x="76718" y="78685"/>
                  </a:lnTo>
                  <a:lnTo>
                    <a:pt x="79866" y="79866"/>
                  </a:lnTo>
                  <a:lnTo>
                    <a:pt x="85767" y="79866"/>
                  </a:lnTo>
                  <a:lnTo>
                    <a:pt x="88521" y="77899"/>
                  </a:lnTo>
                  <a:lnTo>
                    <a:pt x="87734" y="77505"/>
                  </a:lnTo>
                  <a:lnTo>
                    <a:pt x="91669" y="78292"/>
                  </a:lnTo>
                  <a:lnTo>
                    <a:pt x="94816" y="78685"/>
                  </a:lnTo>
                  <a:lnTo>
                    <a:pt x="97570" y="78292"/>
                  </a:lnTo>
                  <a:lnTo>
                    <a:pt x="100717" y="77899"/>
                  </a:lnTo>
                  <a:lnTo>
                    <a:pt x="103471" y="77899"/>
                  </a:lnTo>
                  <a:lnTo>
                    <a:pt x="106619" y="77899"/>
                  </a:lnTo>
                  <a:lnTo>
                    <a:pt x="109766" y="77899"/>
                  </a:lnTo>
                  <a:lnTo>
                    <a:pt x="112913" y="78292"/>
                  </a:lnTo>
                  <a:lnTo>
                    <a:pt x="115667" y="78685"/>
                  </a:lnTo>
                  <a:lnTo>
                    <a:pt x="118422" y="78685"/>
                  </a:lnTo>
                  <a:lnTo>
                    <a:pt x="121569" y="78685"/>
                  </a:lnTo>
                  <a:lnTo>
                    <a:pt x="124323" y="78685"/>
                  </a:lnTo>
                  <a:lnTo>
                    <a:pt x="127470" y="78685"/>
                  </a:lnTo>
                  <a:lnTo>
                    <a:pt x="128257" y="79079"/>
                  </a:lnTo>
                  <a:lnTo>
                    <a:pt x="131405" y="79866"/>
                  </a:lnTo>
                  <a:lnTo>
                    <a:pt x="134552" y="80652"/>
                  </a:lnTo>
                  <a:lnTo>
                    <a:pt x="137306" y="81440"/>
                  </a:lnTo>
                  <a:lnTo>
                    <a:pt x="140060" y="82620"/>
                  </a:lnTo>
                  <a:lnTo>
                    <a:pt x="142814" y="83800"/>
                  </a:lnTo>
                  <a:lnTo>
                    <a:pt x="146355" y="84980"/>
                  </a:lnTo>
                  <a:lnTo>
                    <a:pt x="150289" y="85767"/>
                  </a:lnTo>
                  <a:lnTo>
                    <a:pt x="151469" y="85767"/>
                  </a:lnTo>
                  <a:lnTo>
                    <a:pt x="148322" y="83407"/>
                  </a:lnTo>
                  <a:lnTo>
                    <a:pt x="151469" y="81440"/>
                  </a:lnTo>
                  <a:lnTo>
                    <a:pt x="154617" y="81440"/>
                  </a:lnTo>
                  <a:lnTo>
                    <a:pt x="157371" y="80652"/>
                  </a:lnTo>
                  <a:lnTo>
                    <a:pt x="160518" y="78685"/>
                  </a:lnTo>
                  <a:lnTo>
                    <a:pt x="163272" y="78685"/>
                  </a:lnTo>
                  <a:lnTo>
                    <a:pt x="166420" y="80259"/>
                  </a:lnTo>
                  <a:lnTo>
                    <a:pt x="169173" y="79472"/>
                  </a:lnTo>
                  <a:lnTo>
                    <a:pt x="172321" y="78292"/>
                  </a:lnTo>
                  <a:lnTo>
                    <a:pt x="175075" y="79079"/>
                  </a:lnTo>
                  <a:lnTo>
                    <a:pt x="175862" y="76325"/>
                  </a:lnTo>
                  <a:lnTo>
                    <a:pt x="175468" y="73571"/>
                  </a:lnTo>
                  <a:lnTo>
                    <a:pt x="175862" y="7081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89" name="Freeform: Shape 3183">
              <a:extLst>
                <a:ext uri="{FF2B5EF4-FFF2-40B4-BE49-F238E27FC236}">
                  <a16:creationId xmlns:a16="http://schemas.microsoft.com/office/drawing/2014/main" id="{5D5601D0-15B0-4627-90FB-31E83ED9DB78}"/>
                </a:ext>
              </a:extLst>
            </p:cNvPr>
            <p:cNvSpPr/>
            <p:nvPr/>
          </p:nvSpPr>
          <p:spPr>
            <a:xfrm>
              <a:off x="4376333" y="5580690"/>
              <a:ext cx="31474" cy="11803"/>
            </a:xfrm>
            <a:custGeom>
              <a:avLst/>
              <a:gdLst>
                <a:gd name="connsiteX0" fmla="*/ 26753 w 31474"/>
                <a:gd name="connsiteY0" fmla="*/ 12197 h 11802"/>
                <a:gd name="connsiteX1" fmla="*/ 29507 w 31474"/>
                <a:gd name="connsiteY1" fmla="*/ 12983 h 11802"/>
                <a:gd name="connsiteX2" fmla="*/ 32654 w 31474"/>
                <a:gd name="connsiteY2" fmla="*/ 12197 h 11802"/>
                <a:gd name="connsiteX3" fmla="*/ 33835 w 31474"/>
                <a:gd name="connsiteY3" fmla="*/ 9049 h 11802"/>
                <a:gd name="connsiteX4" fmla="*/ 33441 w 31474"/>
                <a:gd name="connsiteY4" fmla="*/ 6295 h 11802"/>
                <a:gd name="connsiteX5" fmla="*/ 32654 w 31474"/>
                <a:gd name="connsiteY5" fmla="*/ 5115 h 11802"/>
                <a:gd name="connsiteX6" fmla="*/ 29900 w 31474"/>
                <a:gd name="connsiteY6" fmla="*/ 3148 h 11802"/>
                <a:gd name="connsiteX7" fmla="*/ 26753 w 31474"/>
                <a:gd name="connsiteY7" fmla="*/ 1574 h 11802"/>
                <a:gd name="connsiteX8" fmla="*/ 23606 w 31474"/>
                <a:gd name="connsiteY8" fmla="*/ 787 h 11802"/>
                <a:gd name="connsiteX9" fmla="*/ 20852 w 31474"/>
                <a:gd name="connsiteY9" fmla="*/ 394 h 11802"/>
                <a:gd name="connsiteX10" fmla="*/ 17704 w 31474"/>
                <a:gd name="connsiteY10" fmla="*/ 394 h 11802"/>
                <a:gd name="connsiteX11" fmla="*/ 14950 w 31474"/>
                <a:gd name="connsiteY11" fmla="*/ 787 h 11802"/>
                <a:gd name="connsiteX12" fmla="*/ 12196 w 31474"/>
                <a:gd name="connsiteY12" fmla="*/ 394 h 11802"/>
                <a:gd name="connsiteX13" fmla="*/ 9049 w 31474"/>
                <a:gd name="connsiteY13" fmla="*/ 394 h 11802"/>
                <a:gd name="connsiteX14" fmla="*/ 6295 w 31474"/>
                <a:gd name="connsiteY14" fmla="*/ 0 h 11802"/>
                <a:gd name="connsiteX15" fmla="*/ 3147 w 31474"/>
                <a:gd name="connsiteY15" fmla="*/ 0 h 11802"/>
                <a:gd name="connsiteX16" fmla="*/ 0 w 31474"/>
                <a:gd name="connsiteY16" fmla="*/ 3148 h 11802"/>
                <a:gd name="connsiteX17" fmla="*/ 3147 w 31474"/>
                <a:gd name="connsiteY17" fmla="*/ 2361 h 11802"/>
                <a:gd name="connsiteX18" fmla="*/ 5114 w 31474"/>
                <a:gd name="connsiteY18" fmla="*/ 5115 h 11802"/>
                <a:gd name="connsiteX19" fmla="*/ 6688 w 31474"/>
                <a:gd name="connsiteY19" fmla="*/ 8262 h 11802"/>
                <a:gd name="connsiteX20" fmla="*/ 9442 w 31474"/>
                <a:gd name="connsiteY20" fmla="*/ 10623 h 11802"/>
                <a:gd name="connsiteX21" fmla="*/ 12589 w 31474"/>
                <a:gd name="connsiteY21" fmla="*/ 10229 h 11802"/>
                <a:gd name="connsiteX22" fmla="*/ 15737 w 31474"/>
                <a:gd name="connsiteY22" fmla="*/ 10229 h 11802"/>
                <a:gd name="connsiteX23" fmla="*/ 18491 w 31474"/>
                <a:gd name="connsiteY23" fmla="*/ 11016 h 11802"/>
                <a:gd name="connsiteX24" fmla="*/ 15737 w 31474"/>
                <a:gd name="connsiteY24" fmla="*/ 11409 h 11802"/>
                <a:gd name="connsiteX25" fmla="*/ 18491 w 31474"/>
                <a:gd name="connsiteY25" fmla="*/ 11409 h 11802"/>
                <a:gd name="connsiteX26" fmla="*/ 21638 w 31474"/>
                <a:gd name="connsiteY26" fmla="*/ 11409 h 11802"/>
                <a:gd name="connsiteX27" fmla="*/ 22032 w 31474"/>
                <a:gd name="connsiteY27" fmla="*/ 8656 h 11802"/>
                <a:gd name="connsiteX28" fmla="*/ 24786 w 31474"/>
                <a:gd name="connsiteY28" fmla="*/ 904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1474" h="11802">
                  <a:moveTo>
                    <a:pt x="26753" y="12197"/>
                  </a:moveTo>
                  <a:lnTo>
                    <a:pt x="29507" y="12983"/>
                  </a:lnTo>
                  <a:lnTo>
                    <a:pt x="32654" y="12197"/>
                  </a:lnTo>
                  <a:lnTo>
                    <a:pt x="33835" y="9049"/>
                  </a:lnTo>
                  <a:lnTo>
                    <a:pt x="33441" y="6295"/>
                  </a:lnTo>
                  <a:lnTo>
                    <a:pt x="32654" y="5115"/>
                  </a:lnTo>
                  <a:lnTo>
                    <a:pt x="29900" y="3148"/>
                  </a:lnTo>
                  <a:lnTo>
                    <a:pt x="26753" y="1574"/>
                  </a:lnTo>
                  <a:lnTo>
                    <a:pt x="23606" y="787"/>
                  </a:lnTo>
                  <a:lnTo>
                    <a:pt x="20852" y="394"/>
                  </a:lnTo>
                  <a:lnTo>
                    <a:pt x="17704" y="394"/>
                  </a:lnTo>
                  <a:lnTo>
                    <a:pt x="14950" y="787"/>
                  </a:lnTo>
                  <a:lnTo>
                    <a:pt x="12196" y="394"/>
                  </a:lnTo>
                  <a:lnTo>
                    <a:pt x="9049" y="394"/>
                  </a:lnTo>
                  <a:lnTo>
                    <a:pt x="6295" y="0"/>
                  </a:lnTo>
                  <a:lnTo>
                    <a:pt x="3147" y="0"/>
                  </a:lnTo>
                  <a:lnTo>
                    <a:pt x="0" y="3148"/>
                  </a:lnTo>
                  <a:lnTo>
                    <a:pt x="3147" y="2361"/>
                  </a:lnTo>
                  <a:lnTo>
                    <a:pt x="5114" y="5115"/>
                  </a:lnTo>
                  <a:lnTo>
                    <a:pt x="6688" y="8262"/>
                  </a:lnTo>
                  <a:lnTo>
                    <a:pt x="9442" y="10623"/>
                  </a:lnTo>
                  <a:lnTo>
                    <a:pt x="12589" y="10229"/>
                  </a:lnTo>
                  <a:lnTo>
                    <a:pt x="15737" y="10229"/>
                  </a:lnTo>
                  <a:lnTo>
                    <a:pt x="18491" y="11016"/>
                  </a:lnTo>
                  <a:lnTo>
                    <a:pt x="15737" y="11409"/>
                  </a:lnTo>
                  <a:lnTo>
                    <a:pt x="18491" y="11409"/>
                  </a:lnTo>
                  <a:lnTo>
                    <a:pt x="21638" y="11409"/>
                  </a:lnTo>
                  <a:lnTo>
                    <a:pt x="22032" y="8656"/>
                  </a:lnTo>
                  <a:lnTo>
                    <a:pt x="24786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90" name="Freeform: Shape 3184">
              <a:extLst>
                <a:ext uri="{FF2B5EF4-FFF2-40B4-BE49-F238E27FC236}">
                  <a16:creationId xmlns:a16="http://schemas.microsoft.com/office/drawing/2014/main" id="{A0A7EECE-8634-4B86-88A0-4CD81BB52414}"/>
                </a:ext>
              </a:extLst>
            </p:cNvPr>
            <p:cNvSpPr/>
            <p:nvPr/>
          </p:nvSpPr>
          <p:spPr>
            <a:xfrm>
              <a:off x="4422364" y="5589739"/>
              <a:ext cx="3934" cy="3934"/>
            </a:xfrm>
            <a:custGeom>
              <a:avLst/>
              <a:gdLst>
                <a:gd name="connsiteX0" fmla="*/ 0 w 3934"/>
                <a:gd name="connsiteY0" fmla="*/ 393 h 0"/>
                <a:gd name="connsiteX1" fmla="*/ 2361 w 3934"/>
                <a:gd name="connsiteY1" fmla="*/ 3148 h 0"/>
                <a:gd name="connsiteX2" fmla="*/ 3934 w 3934"/>
                <a:gd name="connsiteY2" fmla="*/ 2754 h 0"/>
                <a:gd name="connsiteX3" fmla="*/ 3148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393"/>
                  </a:moveTo>
                  <a:lnTo>
                    <a:pt x="2361" y="3148"/>
                  </a:lnTo>
                  <a:lnTo>
                    <a:pt x="3934" y="2754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91" name="Freeform: Shape 3185">
              <a:extLst>
                <a:ext uri="{FF2B5EF4-FFF2-40B4-BE49-F238E27FC236}">
                  <a16:creationId xmlns:a16="http://schemas.microsoft.com/office/drawing/2014/main" id="{1E038D82-D7D8-47A1-AC3D-852DF3A64EA8}"/>
                </a:ext>
              </a:extLst>
            </p:cNvPr>
            <p:cNvSpPr/>
            <p:nvPr/>
          </p:nvSpPr>
          <p:spPr>
            <a:xfrm>
              <a:off x="4336204" y="5581871"/>
              <a:ext cx="55080" cy="19671"/>
            </a:xfrm>
            <a:custGeom>
              <a:avLst/>
              <a:gdLst>
                <a:gd name="connsiteX0" fmla="*/ 53899 w 55079"/>
                <a:gd name="connsiteY0" fmla="*/ 16918 h 19671"/>
                <a:gd name="connsiteX1" fmla="*/ 50752 w 55079"/>
                <a:gd name="connsiteY1" fmla="*/ 14950 h 19671"/>
                <a:gd name="connsiteX2" fmla="*/ 47605 w 55079"/>
                <a:gd name="connsiteY2" fmla="*/ 14163 h 19671"/>
                <a:gd name="connsiteX3" fmla="*/ 44850 w 55079"/>
                <a:gd name="connsiteY3" fmla="*/ 12983 h 19671"/>
                <a:gd name="connsiteX4" fmla="*/ 41703 w 55079"/>
                <a:gd name="connsiteY4" fmla="*/ 12196 h 19671"/>
                <a:gd name="connsiteX5" fmla="*/ 38556 w 55079"/>
                <a:gd name="connsiteY5" fmla="*/ 12589 h 19671"/>
                <a:gd name="connsiteX6" fmla="*/ 35802 w 55079"/>
                <a:gd name="connsiteY6" fmla="*/ 10229 h 19671"/>
                <a:gd name="connsiteX7" fmla="*/ 38949 w 55079"/>
                <a:gd name="connsiteY7" fmla="*/ 12196 h 19671"/>
                <a:gd name="connsiteX8" fmla="*/ 41703 w 55079"/>
                <a:gd name="connsiteY8" fmla="*/ 11409 h 19671"/>
                <a:gd name="connsiteX9" fmla="*/ 44850 w 55079"/>
                <a:gd name="connsiteY9" fmla="*/ 11409 h 19671"/>
                <a:gd name="connsiteX10" fmla="*/ 47605 w 55079"/>
                <a:gd name="connsiteY10" fmla="*/ 11016 h 19671"/>
                <a:gd name="connsiteX11" fmla="*/ 44850 w 55079"/>
                <a:gd name="connsiteY11" fmla="*/ 9049 h 19671"/>
                <a:gd name="connsiteX12" fmla="*/ 41703 w 55079"/>
                <a:gd name="connsiteY12" fmla="*/ 7869 h 19671"/>
                <a:gd name="connsiteX13" fmla="*/ 38949 w 55079"/>
                <a:gd name="connsiteY13" fmla="*/ 7869 h 19671"/>
                <a:gd name="connsiteX14" fmla="*/ 35802 w 55079"/>
                <a:gd name="connsiteY14" fmla="*/ 7869 h 19671"/>
                <a:gd name="connsiteX15" fmla="*/ 33048 w 55079"/>
                <a:gd name="connsiteY15" fmla="*/ 7475 h 19671"/>
                <a:gd name="connsiteX16" fmla="*/ 29900 w 55079"/>
                <a:gd name="connsiteY16" fmla="*/ 6688 h 19671"/>
                <a:gd name="connsiteX17" fmla="*/ 26753 w 55079"/>
                <a:gd name="connsiteY17" fmla="*/ 5901 h 19671"/>
                <a:gd name="connsiteX18" fmla="*/ 23606 w 55079"/>
                <a:gd name="connsiteY18" fmla="*/ 3148 h 19671"/>
                <a:gd name="connsiteX19" fmla="*/ 26360 w 55079"/>
                <a:gd name="connsiteY19" fmla="*/ 4328 h 19671"/>
                <a:gd name="connsiteX20" fmla="*/ 29507 w 55079"/>
                <a:gd name="connsiteY20" fmla="*/ 5901 h 19671"/>
                <a:gd name="connsiteX21" fmla="*/ 32261 w 55079"/>
                <a:gd name="connsiteY21" fmla="*/ 6295 h 19671"/>
                <a:gd name="connsiteX22" fmla="*/ 35408 w 55079"/>
                <a:gd name="connsiteY22" fmla="*/ 4721 h 19671"/>
                <a:gd name="connsiteX23" fmla="*/ 38556 w 55079"/>
                <a:gd name="connsiteY23" fmla="*/ 4721 h 19671"/>
                <a:gd name="connsiteX24" fmla="*/ 39343 w 55079"/>
                <a:gd name="connsiteY24" fmla="*/ 1967 h 19671"/>
                <a:gd name="connsiteX25" fmla="*/ 36589 w 55079"/>
                <a:gd name="connsiteY25" fmla="*/ 0 h 19671"/>
                <a:gd name="connsiteX26" fmla="*/ 33441 w 55079"/>
                <a:gd name="connsiteY26" fmla="*/ 0 h 19671"/>
                <a:gd name="connsiteX27" fmla="*/ 30294 w 55079"/>
                <a:gd name="connsiteY27" fmla="*/ 0 h 19671"/>
                <a:gd name="connsiteX28" fmla="*/ 27540 w 55079"/>
                <a:gd name="connsiteY28" fmla="*/ 1180 h 19671"/>
                <a:gd name="connsiteX29" fmla="*/ 24392 w 55079"/>
                <a:gd name="connsiteY29" fmla="*/ 1180 h 19671"/>
                <a:gd name="connsiteX30" fmla="*/ 21638 w 55079"/>
                <a:gd name="connsiteY30" fmla="*/ 1967 h 19671"/>
                <a:gd name="connsiteX31" fmla="*/ 18884 w 55079"/>
                <a:gd name="connsiteY31" fmla="*/ 1574 h 19671"/>
                <a:gd name="connsiteX32" fmla="*/ 16130 w 55079"/>
                <a:gd name="connsiteY32" fmla="*/ 1574 h 19671"/>
                <a:gd name="connsiteX33" fmla="*/ 13376 w 55079"/>
                <a:gd name="connsiteY33" fmla="*/ 3148 h 19671"/>
                <a:gd name="connsiteX34" fmla="*/ 10229 w 55079"/>
                <a:gd name="connsiteY34" fmla="*/ 3541 h 19671"/>
                <a:gd name="connsiteX35" fmla="*/ 11409 w 55079"/>
                <a:gd name="connsiteY35" fmla="*/ 6295 h 19671"/>
                <a:gd name="connsiteX36" fmla="*/ 9049 w 55079"/>
                <a:gd name="connsiteY36" fmla="*/ 3148 h 19671"/>
                <a:gd name="connsiteX37" fmla="*/ 6295 w 55079"/>
                <a:gd name="connsiteY37" fmla="*/ 3541 h 19671"/>
                <a:gd name="connsiteX38" fmla="*/ 3147 w 55079"/>
                <a:gd name="connsiteY38" fmla="*/ 3934 h 19671"/>
                <a:gd name="connsiteX39" fmla="*/ 0 w 55079"/>
                <a:gd name="connsiteY39" fmla="*/ 5901 h 19671"/>
                <a:gd name="connsiteX40" fmla="*/ 787 w 55079"/>
                <a:gd name="connsiteY40" fmla="*/ 7475 h 19671"/>
                <a:gd name="connsiteX41" fmla="*/ 1967 w 55079"/>
                <a:gd name="connsiteY41" fmla="*/ 7082 h 19671"/>
                <a:gd name="connsiteX42" fmla="*/ 4721 w 55079"/>
                <a:gd name="connsiteY42" fmla="*/ 7082 h 19671"/>
                <a:gd name="connsiteX43" fmla="*/ 5508 w 55079"/>
                <a:gd name="connsiteY43" fmla="*/ 10229 h 19671"/>
                <a:gd name="connsiteX44" fmla="*/ 8655 w 55079"/>
                <a:gd name="connsiteY44" fmla="*/ 9836 h 19671"/>
                <a:gd name="connsiteX45" fmla="*/ 11409 w 55079"/>
                <a:gd name="connsiteY45" fmla="*/ 9049 h 19671"/>
                <a:gd name="connsiteX46" fmla="*/ 11016 w 55079"/>
                <a:gd name="connsiteY46" fmla="*/ 12196 h 19671"/>
                <a:gd name="connsiteX47" fmla="*/ 13770 w 55079"/>
                <a:gd name="connsiteY47" fmla="*/ 13770 h 19671"/>
                <a:gd name="connsiteX48" fmla="*/ 16524 w 55079"/>
                <a:gd name="connsiteY48" fmla="*/ 14557 h 19671"/>
                <a:gd name="connsiteX49" fmla="*/ 19278 w 55079"/>
                <a:gd name="connsiteY49" fmla="*/ 16524 h 19671"/>
                <a:gd name="connsiteX50" fmla="*/ 22425 w 55079"/>
                <a:gd name="connsiteY50" fmla="*/ 17311 h 19671"/>
                <a:gd name="connsiteX51" fmla="*/ 25573 w 55079"/>
                <a:gd name="connsiteY51" fmla="*/ 16130 h 19671"/>
                <a:gd name="connsiteX52" fmla="*/ 22425 w 55079"/>
                <a:gd name="connsiteY52" fmla="*/ 13770 h 19671"/>
                <a:gd name="connsiteX53" fmla="*/ 19278 w 55079"/>
                <a:gd name="connsiteY53" fmla="*/ 11803 h 19671"/>
                <a:gd name="connsiteX54" fmla="*/ 16130 w 55079"/>
                <a:gd name="connsiteY54" fmla="*/ 9836 h 19671"/>
                <a:gd name="connsiteX55" fmla="*/ 19278 w 55079"/>
                <a:gd name="connsiteY55" fmla="*/ 8262 h 19671"/>
                <a:gd name="connsiteX56" fmla="*/ 16130 w 55079"/>
                <a:gd name="connsiteY56" fmla="*/ 6688 h 19671"/>
                <a:gd name="connsiteX57" fmla="*/ 19278 w 55079"/>
                <a:gd name="connsiteY57" fmla="*/ 6295 h 19671"/>
                <a:gd name="connsiteX58" fmla="*/ 22032 w 55079"/>
                <a:gd name="connsiteY58" fmla="*/ 9049 h 19671"/>
                <a:gd name="connsiteX59" fmla="*/ 24786 w 55079"/>
                <a:gd name="connsiteY59" fmla="*/ 9049 h 19671"/>
                <a:gd name="connsiteX60" fmla="*/ 27540 w 55079"/>
                <a:gd name="connsiteY60" fmla="*/ 10622 h 19671"/>
                <a:gd name="connsiteX61" fmla="*/ 30687 w 55079"/>
                <a:gd name="connsiteY61" fmla="*/ 10622 h 19671"/>
                <a:gd name="connsiteX62" fmla="*/ 31474 w 55079"/>
                <a:gd name="connsiteY62" fmla="*/ 13770 h 19671"/>
                <a:gd name="connsiteX63" fmla="*/ 34621 w 55079"/>
                <a:gd name="connsiteY63" fmla="*/ 13770 h 19671"/>
                <a:gd name="connsiteX64" fmla="*/ 33048 w 55079"/>
                <a:gd name="connsiteY64" fmla="*/ 16918 h 19671"/>
                <a:gd name="connsiteX65" fmla="*/ 36195 w 55079"/>
                <a:gd name="connsiteY65" fmla="*/ 15737 h 19671"/>
                <a:gd name="connsiteX66" fmla="*/ 38949 w 55079"/>
                <a:gd name="connsiteY66" fmla="*/ 16918 h 19671"/>
                <a:gd name="connsiteX67" fmla="*/ 41703 w 55079"/>
                <a:gd name="connsiteY67" fmla="*/ 16524 h 19671"/>
                <a:gd name="connsiteX68" fmla="*/ 44850 w 55079"/>
                <a:gd name="connsiteY68" fmla="*/ 18098 h 19671"/>
                <a:gd name="connsiteX69" fmla="*/ 47605 w 55079"/>
                <a:gd name="connsiteY69" fmla="*/ 17704 h 19671"/>
                <a:gd name="connsiteX70" fmla="*/ 50752 w 55079"/>
                <a:gd name="connsiteY70" fmla="*/ 18885 h 19671"/>
                <a:gd name="connsiteX71" fmla="*/ 52326 w 55079"/>
                <a:gd name="connsiteY71" fmla="*/ 22032 h 19671"/>
                <a:gd name="connsiteX72" fmla="*/ 55473 w 55079"/>
                <a:gd name="connsiteY72" fmla="*/ 23212 h 19671"/>
                <a:gd name="connsiteX73" fmla="*/ 58227 w 55079"/>
                <a:gd name="connsiteY73" fmla="*/ 22819 h 19671"/>
                <a:gd name="connsiteX74" fmla="*/ 55867 w 55079"/>
                <a:gd name="connsiteY74" fmla="*/ 20065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55079" h="19671">
                  <a:moveTo>
                    <a:pt x="53899" y="16918"/>
                  </a:moveTo>
                  <a:lnTo>
                    <a:pt x="50752" y="14950"/>
                  </a:lnTo>
                  <a:lnTo>
                    <a:pt x="47605" y="14163"/>
                  </a:lnTo>
                  <a:lnTo>
                    <a:pt x="44850" y="12983"/>
                  </a:lnTo>
                  <a:lnTo>
                    <a:pt x="41703" y="12196"/>
                  </a:lnTo>
                  <a:lnTo>
                    <a:pt x="38556" y="12589"/>
                  </a:lnTo>
                  <a:lnTo>
                    <a:pt x="35802" y="10229"/>
                  </a:lnTo>
                  <a:lnTo>
                    <a:pt x="38949" y="12196"/>
                  </a:lnTo>
                  <a:lnTo>
                    <a:pt x="41703" y="11409"/>
                  </a:lnTo>
                  <a:lnTo>
                    <a:pt x="44850" y="11409"/>
                  </a:lnTo>
                  <a:lnTo>
                    <a:pt x="47605" y="11016"/>
                  </a:lnTo>
                  <a:lnTo>
                    <a:pt x="44850" y="9049"/>
                  </a:lnTo>
                  <a:lnTo>
                    <a:pt x="41703" y="7869"/>
                  </a:lnTo>
                  <a:lnTo>
                    <a:pt x="38949" y="7869"/>
                  </a:lnTo>
                  <a:lnTo>
                    <a:pt x="35802" y="7869"/>
                  </a:lnTo>
                  <a:lnTo>
                    <a:pt x="33048" y="7475"/>
                  </a:lnTo>
                  <a:lnTo>
                    <a:pt x="29900" y="6688"/>
                  </a:lnTo>
                  <a:lnTo>
                    <a:pt x="26753" y="5901"/>
                  </a:lnTo>
                  <a:lnTo>
                    <a:pt x="23606" y="3148"/>
                  </a:lnTo>
                  <a:lnTo>
                    <a:pt x="26360" y="4328"/>
                  </a:lnTo>
                  <a:lnTo>
                    <a:pt x="29507" y="5901"/>
                  </a:lnTo>
                  <a:lnTo>
                    <a:pt x="32261" y="6295"/>
                  </a:lnTo>
                  <a:lnTo>
                    <a:pt x="35408" y="4721"/>
                  </a:lnTo>
                  <a:lnTo>
                    <a:pt x="38556" y="4721"/>
                  </a:lnTo>
                  <a:lnTo>
                    <a:pt x="39343" y="1967"/>
                  </a:lnTo>
                  <a:lnTo>
                    <a:pt x="36589" y="0"/>
                  </a:lnTo>
                  <a:lnTo>
                    <a:pt x="33441" y="0"/>
                  </a:lnTo>
                  <a:lnTo>
                    <a:pt x="30294" y="0"/>
                  </a:lnTo>
                  <a:lnTo>
                    <a:pt x="27540" y="1180"/>
                  </a:lnTo>
                  <a:lnTo>
                    <a:pt x="24392" y="1180"/>
                  </a:lnTo>
                  <a:lnTo>
                    <a:pt x="21638" y="1967"/>
                  </a:lnTo>
                  <a:lnTo>
                    <a:pt x="18884" y="1574"/>
                  </a:lnTo>
                  <a:lnTo>
                    <a:pt x="16130" y="1574"/>
                  </a:lnTo>
                  <a:lnTo>
                    <a:pt x="13376" y="3148"/>
                  </a:lnTo>
                  <a:lnTo>
                    <a:pt x="10229" y="3541"/>
                  </a:lnTo>
                  <a:lnTo>
                    <a:pt x="11409" y="6295"/>
                  </a:lnTo>
                  <a:lnTo>
                    <a:pt x="9049" y="3148"/>
                  </a:lnTo>
                  <a:lnTo>
                    <a:pt x="6295" y="3541"/>
                  </a:lnTo>
                  <a:lnTo>
                    <a:pt x="3147" y="3934"/>
                  </a:lnTo>
                  <a:lnTo>
                    <a:pt x="0" y="5901"/>
                  </a:lnTo>
                  <a:lnTo>
                    <a:pt x="787" y="7475"/>
                  </a:lnTo>
                  <a:lnTo>
                    <a:pt x="1967" y="7082"/>
                  </a:lnTo>
                  <a:lnTo>
                    <a:pt x="4721" y="7082"/>
                  </a:lnTo>
                  <a:lnTo>
                    <a:pt x="5508" y="10229"/>
                  </a:lnTo>
                  <a:lnTo>
                    <a:pt x="8655" y="9836"/>
                  </a:lnTo>
                  <a:lnTo>
                    <a:pt x="11409" y="9049"/>
                  </a:lnTo>
                  <a:lnTo>
                    <a:pt x="11016" y="12196"/>
                  </a:lnTo>
                  <a:lnTo>
                    <a:pt x="13770" y="13770"/>
                  </a:lnTo>
                  <a:lnTo>
                    <a:pt x="16524" y="14557"/>
                  </a:lnTo>
                  <a:lnTo>
                    <a:pt x="19278" y="16524"/>
                  </a:lnTo>
                  <a:lnTo>
                    <a:pt x="22425" y="17311"/>
                  </a:lnTo>
                  <a:lnTo>
                    <a:pt x="25573" y="16130"/>
                  </a:lnTo>
                  <a:lnTo>
                    <a:pt x="22425" y="13770"/>
                  </a:lnTo>
                  <a:lnTo>
                    <a:pt x="19278" y="11803"/>
                  </a:lnTo>
                  <a:lnTo>
                    <a:pt x="16130" y="9836"/>
                  </a:lnTo>
                  <a:lnTo>
                    <a:pt x="19278" y="8262"/>
                  </a:lnTo>
                  <a:lnTo>
                    <a:pt x="16130" y="6688"/>
                  </a:lnTo>
                  <a:lnTo>
                    <a:pt x="19278" y="6295"/>
                  </a:lnTo>
                  <a:lnTo>
                    <a:pt x="22032" y="9049"/>
                  </a:lnTo>
                  <a:lnTo>
                    <a:pt x="24786" y="9049"/>
                  </a:lnTo>
                  <a:lnTo>
                    <a:pt x="27540" y="10622"/>
                  </a:lnTo>
                  <a:lnTo>
                    <a:pt x="30687" y="10622"/>
                  </a:lnTo>
                  <a:lnTo>
                    <a:pt x="31474" y="13770"/>
                  </a:lnTo>
                  <a:lnTo>
                    <a:pt x="34621" y="13770"/>
                  </a:lnTo>
                  <a:lnTo>
                    <a:pt x="33048" y="16918"/>
                  </a:lnTo>
                  <a:lnTo>
                    <a:pt x="36195" y="15737"/>
                  </a:lnTo>
                  <a:lnTo>
                    <a:pt x="38949" y="16918"/>
                  </a:lnTo>
                  <a:lnTo>
                    <a:pt x="41703" y="16524"/>
                  </a:lnTo>
                  <a:lnTo>
                    <a:pt x="44850" y="18098"/>
                  </a:lnTo>
                  <a:lnTo>
                    <a:pt x="47605" y="17704"/>
                  </a:lnTo>
                  <a:lnTo>
                    <a:pt x="50752" y="18885"/>
                  </a:lnTo>
                  <a:lnTo>
                    <a:pt x="52326" y="22032"/>
                  </a:lnTo>
                  <a:lnTo>
                    <a:pt x="55473" y="23212"/>
                  </a:lnTo>
                  <a:lnTo>
                    <a:pt x="58227" y="22819"/>
                  </a:lnTo>
                  <a:lnTo>
                    <a:pt x="55867" y="2006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92" name="Freeform: Shape 3186">
              <a:extLst>
                <a:ext uri="{FF2B5EF4-FFF2-40B4-BE49-F238E27FC236}">
                  <a16:creationId xmlns:a16="http://schemas.microsoft.com/office/drawing/2014/main" id="{F365B9DA-8A1C-48BE-9BBF-CCCB6B7480E7}"/>
                </a:ext>
              </a:extLst>
            </p:cNvPr>
            <p:cNvSpPr/>
            <p:nvPr/>
          </p:nvSpPr>
          <p:spPr>
            <a:xfrm>
              <a:off x="4408987" y="5583838"/>
              <a:ext cx="3934" cy="3934"/>
            </a:xfrm>
            <a:custGeom>
              <a:avLst/>
              <a:gdLst>
                <a:gd name="connsiteX0" fmla="*/ 5901 w 3934"/>
                <a:gd name="connsiteY0" fmla="*/ 1967 h 0"/>
                <a:gd name="connsiteX1" fmla="*/ 3147 w 3934"/>
                <a:gd name="connsiteY1" fmla="*/ 787 h 0"/>
                <a:gd name="connsiteX2" fmla="*/ 393 w 3934"/>
                <a:gd name="connsiteY2" fmla="*/ 0 h 0"/>
                <a:gd name="connsiteX3" fmla="*/ 0 w 3934"/>
                <a:gd name="connsiteY3" fmla="*/ 1180 h 0"/>
                <a:gd name="connsiteX4" fmla="*/ 3147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1967"/>
                  </a:moveTo>
                  <a:lnTo>
                    <a:pt x="3147" y="787"/>
                  </a:lnTo>
                  <a:lnTo>
                    <a:pt x="393" y="0"/>
                  </a:lnTo>
                  <a:lnTo>
                    <a:pt x="0" y="1180"/>
                  </a:lnTo>
                  <a:lnTo>
                    <a:pt x="314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93" name="Freeform: Shape 3187">
              <a:extLst>
                <a:ext uri="{FF2B5EF4-FFF2-40B4-BE49-F238E27FC236}">
                  <a16:creationId xmlns:a16="http://schemas.microsoft.com/office/drawing/2014/main" id="{6726A6D4-4405-4899-B6FC-7AAA65294FC8}"/>
                </a:ext>
              </a:extLst>
            </p:cNvPr>
            <p:cNvSpPr/>
            <p:nvPr/>
          </p:nvSpPr>
          <p:spPr>
            <a:xfrm>
              <a:off x="4334630" y="5580297"/>
              <a:ext cx="15737" cy="3934"/>
            </a:xfrm>
            <a:custGeom>
              <a:avLst/>
              <a:gdLst>
                <a:gd name="connsiteX0" fmla="*/ 5508 w 15737"/>
                <a:gd name="connsiteY0" fmla="*/ 4721 h 3934"/>
                <a:gd name="connsiteX1" fmla="*/ 8655 w 15737"/>
                <a:gd name="connsiteY1" fmla="*/ 4721 h 3934"/>
                <a:gd name="connsiteX2" fmla="*/ 11409 w 15737"/>
                <a:gd name="connsiteY2" fmla="*/ 3934 h 3934"/>
                <a:gd name="connsiteX3" fmla="*/ 14557 w 15737"/>
                <a:gd name="connsiteY3" fmla="*/ 3541 h 3934"/>
                <a:gd name="connsiteX4" fmla="*/ 17704 w 15737"/>
                <a:gd name="connsiteY4" fmla="*/ 1574 h 3934"/>
                <a:gd name="connsiteX5" fmla="*/ 14950 w 15737"/>
                <a:gd name="connsiteY5" fmla="*/ 787 h 3934"/>
                <a:gd name="connsiteX6" fmla="*/ 11803 w 15737"/>
                <a:gd name="connsiteY6" fmla="*/ 393 h 3934"/>
                <a:gd name="connsiteX7" fmla="*/ 8655 w 15737"/>
                <a:gd name="connsiteY7" fmla="*/ 0 h 3934"/>
                <a:gd name="connsiteX8" fmla="*/ 5901 w 15737"/>
                <a:gd name="connsiteY8" fmla="*/ 1967 h 3934"/>
                <a:gd name="connsiteX9" fmla="*/ 2754 w 15737"/>
                <a:gd name="connsiteY9" fmla="*/ 393 h 3934"/>
                <a:gd name="connsiteX10" fmla="*/ 0 w 15737"/>
                <a:gd name="connsiteY10" fmla="*/ 1967 h 3934"/>
                <a:gd name="connsiteX11" fmla="*/ 2754 w 15737"/>
                <a:gd name="connsiteY11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737" h="3934">
                  <a:moveTo>
                    <a:pt x="5508" y="4721"/>
                  </a:moveTo>
                  <a:lnTo>
                    <a:pt x="8655" y="4721"/>
                  </a:lnTo>
                  <a:lnTo>
                    <a:pt x="11409" y="3934"/>
                  </a:lnTo>
                  <a:lnTo>
                    <a:pt x="14557" y="3541"/>
                  </a:lnTo>
                  <a:lnTo>
                    <a:pt x="17704" y="1574"/>
                  </a:lnTo>
                  <a:lnTo>
                    <a:pt x="14950" y="787"/>
                  </a:lnTo>
                  <a:lnTo>
                    <a:pt x="11803" y="393"/>
                  </a:lnTo>
                  <a:lnTo>
                    <a:pt x="8655" y="0"/>
                  </a:lnTo>
                  <a:lnTo>
                    <a:pt x="5901" y="1967"/>
                  </a:lnTo>
                  <a:lnTo>
                    <a:pt x="2754" y="393"/>
                  </a:lnTo>
                  <a:lnTo>
                    <a:pt x="0" y="1967"/>
                  </a:lnTo>
                  <a:lnTo>
                    <a:pt x="2754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94" name="Freeform: Shape 3188">
              <a:extLst>
                <a:ext uri="{FF2B5EF4-FFF2-40B4-BE49-F238E27FC236}">
                  <a16:creationId xmlns:a16="http://schemas.microsoft.com/office/drawing/2014/main" id="{12FAFB6A-AAF4-43A5-B3E4-7D9446D579B8}"/>
                </a:ext>
              </a:extLst>
            </p:cNvPr>
            <p:cNvSpPr/>
            <p:nvPr/>
          </p:nvSpPr>
          <p:spPr>
            <a:xfrm>
              <a:off x="4419216" y="5610197"/>
              <a:ext cx="3934" cy="3934"/>
            </a:xfrm>
            <a:custGeom>
              <a:avLst/>
              <a:gdLst>
                <a:gd name="connsiteX0" fmla="*/ 2754 w 0"/>
                <a:gd name="connsiteY0" fmla="*/ 3148 h 0"/>
                <a:gd name="connsiteX1" fmla="*/ 3147 w 0"/>
                <a:gd name="connsiteY1" fmla="*/ 2361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148"/>
                  </a:moveTo>
                  <a:lnTo>
                    <a:pt x="3147" y="236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95" name="Freeform: Shape 3189">
              <a:extLst>
                <a:ext uri="{FF2B5EF4-FFF2-40B4-BE49-F238E27FC236}">
                  <a16:creationId xmlns:a16="http://schemas.microsoft.com/office/drawing/2014/main" id="{04D526CA-D047-4D9C-9FBA-BEEFA2129C8A}"/>
                </a:ext>
              </a:extLst>
            </p:cNvPr>
            <p:cNvSpPr/>
            <p:nvPr/>
          </p:nvSpPr>
          <p:spPr>
            <a:xfrm>
              <a:off x="4403086" y="5610197"/>
              <a:ext cx="3934" cy="3934"/>
            </a:xfrm>
            <a:custGeom>
              <a:avLst/>
              <a:gdLst>
                <a:gd name="connsiteX0" fmla="*/ 0 w 3934"/>
                <a:gd name="connsiteY0" fmla="*/ 1180 h 0"/>
                <a:gd name="connsiteX1" fmla="*/ 3147 w 3934"/>
                <a:gd name="connsiteY1" fmla="*/ 1180 h 0"/>
                <a:gd name="connsiteX2" fmla="*/ 5901 w 3934"/>
                <a:gd name="connsiteY2" fmla="*/ 2754 h 0"/>
                <a:gd name="connsiteX3" fmla="*/ 6295 w 3934"/>
                <a:gd name="connsiteY3" fmla="*/ 394 h 0"/>
                <a:gd name="connsiteX4" fmla="*/ 3147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180"/>
                  </a:moveTo>
                  <a:lnTo>
                    <a:pt x="3147" y="1180"/>
                  </a:lnTo>
                  <a:lnTo>
                    <a:pt x="5901" y="2754"/>
                  </a:lnTo>
                  <a:lnTo>
                    <a:pt x="6295" y="39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96" name="Freeform: Shape 3190">
              <a:extLst>
                <a:ext uri="{FF2B5EF4-FFF2-40B4-BE49-F238E27FC236}">
                  <a16:creationId xmlns:a16="http://schemas.microsoft.com/office/drawing/2014/main" id="{23CF3F41-EBAC-4645-8F5F-DABF8BDAD098}"/>
                </a:ext>
              </a:extLst>
            </p:cNvPr>
            <p:cNvSpPr/>
            <p:nvPr/>
          </p:nvSpPr>
          <p:spPr>
            <a:xfrm>
              <a:off x="4415282" y="5610984"/>
              <a:ext cx="3934" cy="3934"/>
            </a:xfrm>
            <a:custGeom>
              <a:avLst/>
              <a:gdLst>
                <a:gd name="connsiteX0" fmla="*/ 2754 w 0"/>
                <a:gd name="connsiteY0" fmla="*/ 1574 h 0"/>
                <a:gd name="connsiteX1" fmla="*/ 2754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574"/>
                  </a:move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97" name="Freeform: Shape 3191">
              <a:extLst>
                <a:ext uri="{FF2B5EF4-FFF2-40B4-BE49-F238E27FC236}">
                  <a16:creationId xmlns:a16="http://schemas.microsoft.com/office/drawing/2014/main" id="{147099B4-CB3C-4A76-BA5B-FF52D5C9825F}"/>
                </a:ext>
              </a:extLst>
            </p:cNvPr>
            <p:cNvSpPr/>
            <p:nvPr/>
          </p:nvSpPr>
          <p:spPr>
            <a:xfrm>
              <a:off x="4408201" y="5604296"/>
              <a:ext cx="3934" cy="3934"/>
            </a:xfrm>
            <a:custGeom>
              <a:avLst/>
              <a:gdLst>
                <a:gd name="connsiteX0" fmla="*/ 1967 w 3934"/>
                <a:gd name="connsiteY0" fmla="*/ 0 h 3934"/>
                <a:gd name="connsiteX1" fmla="*/ 0 w 3934"/>
                <a:gd name="connsiteY1" fmla="*/ 3148 h 3934"/>
                <a:gd name="connsiteX2" fmla="*/ 2754 w 3934"/>
                <a:gd name="connsiteY2" fmla="*/ 3934 h 3934"/>
                <a:gd name="connsiteX3" fmla="*/ 5901 w 3934"/>
                <a:gd name="connsiteY3" fmla="*/ 4721 h 3934"/>
                <a:gd name="connsiteX4" fmla="*/ 4721 w 3934"/>
                <a:gd name="connsiteY4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1967" y="0"/>
                  </a:moveTo>
                  <a:lnTo>
                    <a:pt x="0" y="3148"/>
                  </a:lnTo>
                  <a:lnTo>
                    <a:pt x="2754" y="3934"/>
                  </a:lnTo>
                  <a:lnTo>
                    <a:pt x="5901" y="4721"/>
                  </a:lnTo>
                  <a:lnTo>
                    <a:pt x="4721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98" name="Freeform: Shape 3192">
              <a:extLst>
                <a:ext uri="{FF2B5EF4-FFF2-40B4-BE49-F238E27FC236}">
                  <a16:creationId xmlns:a16="http://schemas.microsoft.com/office/drawing/2014/main" id="{95E80440-8C00-4893-8320-FAA1081D0DB2}"/>
                </a:ext>
              </a:extLst>
            </p:cNvPr>
            <p:cNvSpPr/>
            <p:nvPr/>
          </p:nvSpPr>
          <p:spPr>
            <a:xfrm>
              <a:off x="4400725" y="560114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2754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275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99" name="Freeform: Shape 3193">
              <a:extLst>
                <a:ext uri="{FF2B5EF4-FFF2-40B4-BE49-F238E27FC236}">
                  <a16:creationId xmlns:a16="http://schemas.microsoft.com/office/drawing/2014/main" id="{88D2F085-B7C5-453B-9FFF-3ABB75E5F1B0}"/>
                </a:ext>
              </a:extLst>
            </p:cNvPr>
            <p:cNvSpPr/>
            <p:nvPr/>
          </p:nvSpPr>
          <p:spPr>
            <a:xfrm>
              <a:off x="4345646" y="5594854"/>
              <a:ext cx="3934" cy="3934"/>
            </a:xfrm>
            <a:custGeom>
              <a:avLst/>
              <a:gdLst>
                <a:gd name="connsiteX0" fmla="*/ 2754 w 0"/>
                <a:gd name="connsiteY0" fmla="*/ 1967 h 0"/>
                <a:gd name="connsiteX1" fmla="*/ 2754 w 0"/>
                <a:gd name="connsiteY1" fmla="*/ 393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967"/>
                  </a:moveTo>
                  <a:lnTo>
                    <a:pt x="2754" y="39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00" name="Freeform: Shape 3194">
              <a:extLst>
                <a:ext uri="{FF2B5EF4-FFF2-40B4-BE49-F238E27FC236}">
                  <a16:creationId xmlns:a16="http://schemas.microsoft.com/office/drawing/2014/main" id="{5AC6DE25-7898-4AA6-AA36-A4D80440DBC6}"/>
                </a:ext>
              </a:extLst>
            </p:cNvPr>
            <p:cNvSpPr/>
            <p:nvPr/>
          </p:nvSpPr>
          <p:spPr>
            <a:xfrm>
              <a:off x="4412922" y="5590920"/>
              <a:ext cx="3934" cy="3934"/>
            </a:xfrm>
            <a:custGeom>
              <a:avLst/>
              <a:gdLst>
                <a:gd name="connsiteX0" fmla="*/ 2754 w 3934"/>
                <a:gd name="connsiteY0" fmla="*/ 0 h 0"/>
                <a:gd name="connsiteX1" fmla="*/ 0 w 3934"/>
                <a:gd name="connsiteY1" fmla="*/ 2360 h 0"/>
                <a:gd name="connsiteX2" fmla="*/ 2754 w 3934"/>
                <a:gd name="connsiteY2" fmla="*/ 3540 h 0"/>
                <a:gd name="connsiteX3" fmla="*/ 5508 w 3934"/>
                <a:gd name="connsiteY3" fmla="*/ 3147 h 0"/>
                <a:gd name="connsiteX4" fmla="*/ 3541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2754" y="0"/>
                  </a:moveTo>
                  <a:lnTo>
                    <a:pt x="0" y="2360"/>
                  </a:lnTo>
                  <a:lnTo>
                    <a:pt x="2754" y="3540"/>
                  </a:lnTo>
                  <a:lnTo>
                    <a:pt x="5508" y="3147"/>
                  </a:lnTo>
                  <a:lnTo>
                    <a:pt x="354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01" name="Freeform: Shape 3195">
              <a:extLst>
                <a:ext uri="{FF2B5EF4-FFF2-40B4-BE49-F238E27FC236}">
                  <a16:creationId xmlns:a16="http://schemas.microsoft.com/office/drawing/2014/main" id="{E7BA7655-A05E-4B48-A2EB-9DDF92B74DD3}"/>
                </a:ext>
              </a:extLst>
            </p:cNvPr>
            <p:cNvSpPr/>
            <p:nvPr/>
          </p:nvSpPr>
          <p:spPr>
            <a:xfrm>
              <a:off x="6605094" y="1137334"/>
              <a:ext cx="3934" cy="3934"/>
            </a:xfrm>
            <a:custGeom>
              <a:avLst/>
              <a:gdLst>
                <a:gd name="connsiteX0" fmla="*/ 3541 w 0"/>
                <a:gd name="connsiteY0" fmla="*/ 787 h 0"/>
                <a:gd name="connsiteX1" fmla="*/ 3147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541" y="787"/>
                  </a:move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02" name="Freeform: Shape 3196">
              <a:extLst>
                <a:ext uri="{FF2B5EF4-FFF2-40B4-BE49-F238E27FC236}">
                  <a16:creationId xmlns:a16="http://schemas.microsoft.com/office/drawing/2014/main" id="{AA8A5219-C982-4967-AF9D-2418991B41C2}"/>
                </a:ext>
              </a:extLst>
            </p:cNvPr>
            <p:cNvSpPr/>
            <p:nvPr/>
          </p:nvSpPr>
          <p:spPr>
            <a:xfrm>
              <a:off x="6602733" y="1135366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0 h 0"/>
                <a:gd name="connsiteX2" fmla="*/ 393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0"/>
                  </a:lnTo>
                  <a:lnTo>
                    <a:pt x="393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03" name="Freeform: Shape 3197">
              <a:extLst>
                <a:ext uri="{FF2B5EF4-FFF2-40B4-BE49-F238E27FC236}">
                  <a16:creationId xmlns:a16="http://schemas.microsoft.com/office/drawing/2014/main" id="{48D10AC8-903B-49E7-BF12-74EB2F5B9DE4}"/>
                </a:ext>
              </a:extLst>
            </p:cNvPr>
            <p:cNvSpPr/>
            <p:nvPr/>
          </p:nvSpPr>
          <p:spPr>
            <a:xfrm>
              <a:off x="6537818" y="1132219"/>
              <a:ext cx="3934" cy="3934"/>
            </a:xfrm>
            <a:custGeom>
              <a:avLst/>
              <a:gdLst>
                <a:gd name="connsiteX0" fmla="*/ 3147 w 0"/>
                <a:gd name="connsiteY0" fmla="*/ 787 h 0"/>
                <a:gd name="connsiteX1" fmla="*/ 3147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787"/>
                  </a:moveTo>
                  <a:lnTo>
                    <a:pt x="3147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04" name="Freeform: Shape 3198">
              <a:extLst>
                <a:ext uri="{FF2B5EF4-FFF2-40B4-BE49-F238E27FC236}">
                  <a16:creationId xmlns:a16="http://schemas.microsoft.com/office/drawing/2014/main" id="{082FD4FB-4D50-436D-B8D8-7C96B9417B14}"/>
                </a:ext>
              </a:extLst>
            </p:cNvPr>
            <p:cNvSpPr/>
            <p:nvPr/>
          </p:nvSpPr>
          <p:spPr>
            <a:xfrm>
              <a:off x="6536638" y="1130252"/>
              <a:ext cx="7869" cy="3934"/>
            </a:xfrm>
            <a:custGeom>
              <a:avLst/>
              <a:gdLst>
                <a:gd name="connsiteX0" fmla="*/ 6295 w 7868"/>
                <a:gd name="connsiteY0" fmla="*/ 1574 h 0"/>
                <a:gd name="connsiteX1" fmla="*/ 9049 w 7868"/>
                <a:gd name="connsiteY1" fmla="*/ 787 h 0"/>
                <a:gd name="connsiteX2" fmla="*/ 5901 w 7868"/>
                <a:gd name="connsiteY2" fmla="*/ 393 h 0"/>
                <a:gd name="connsiteX3" fmla="*/ 0 w 7868"/>
                <a:gd name="connsiteY3" fmla="*/ 0 h 0"/>
                <a:gd name="connsiteX4" fmla="*/ 3148 w 7868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>
                  <a:moveTo>
                    <a:pt x="6295" y="1574"/>
                  </a:moveTo>
                  <a:lnTo>
                    <a:pt x="9049" y="787"/>
                  </a:lnTo>
                  <a:lnTo>
                    <a:pt x="5901" y="393"/>
                  </a:lnTo>
                  <a:lnTo>
                    <a:pt x="0" y="0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05" name="Freeform: Shape 3199">
              <a:extLst>
                <a:ext uri="{FF2B5EF4-FFF2-40B4-BE49-F238E27FC236}">
                  <a16:creationId xmlns:a16="http://schemas.microsoft.com/office/drawing/2014/main" id="{17CF862F-FB69-4254-97A9-3B53B8F40E66}"/>
                </a:ext>
              </a:extLst>
            </p:cNvPr>
            <p:cNvSpPr/>
            <p:nvPr/>
          </p:nvSpPr>
          <p:spPr>
            <a:xfrm>
              <a:off x="6488640" y="1135366"/>
              <a:ext cx="173108" cy="31474"/>
            </a:xfrm>
            <a:custGeom>
              <a:avLst/>
              <a:gdLst>
                <a:gd name="connsiteX0" fmla="*/ 6688 w 173107"/>
                <a:gd name="connsiteY0" fmla="*/ 9049 h 31474"/>
                <a:gd name="connsiteX1" fmla="*/ 9442 w 173107"/>
                <a:gd name="connsiteY1" fmla="*/ 9836 h 31474"/>
                <a:gd name="connsiteX2" fmla="*/ 6295 w 173107"/>
                <a:gd name="connsiteY2" fmla="*/ 9836 h 31474"/>
                <a:gd name="connsiteX3" fmla="*/ 9049 w 173107"/>
                <a:gd name="connsiteY3" fmla="*/ 10229 h 31474"/>
                <a:gd name="connsiteX4" fmla="*/ 12196 w 173107"/>
                <a:gd name="connsiteY4" fmla="*/ 10623 h 31474"/>
                <a:gd name="connsiteX5" fmla="*/ 15343 w 173107"/>
                <a:gd name="connsiteY5" fmla="*/ 11016 h 31474"/>
                <a:gd name="connsiteX6" fmla="*/ 18491 w 173107"/>
                <a:gd name="connsiteY6" fmla="*/ 10623 h 31474"/>
                <a:gd name="connsiteX7" fmla="*/ 17704 w 173107"/>
                <a:gd name="connsiteY7" fmla="*/ 11409 h 31474"/>
                <a:gd name="connsiteX8" fmla="*/ 15737 w 173107"/>
                <a:gd name="connsiteY8" fmla="*/ 11409 h 31474"/>
                <a:gd name="connsiteX9" fmla="*/ 14557 w 173107"/>
                <a:gd name="connsiteY9" fmla="*/ 11409 h 31474"/>
                <a:gd name="connsiteX10" fmla="*/ 11409 w 173107"/>
                <a:gd name="connsiteY10" fmla="*/ 12590 h 31474"/>
                <a:gd name="connsiteX11" fmla="*/ 8655 w 173107"/>
                <a:gd name="connsiteY11" fmla="*/ 12983 h 31474"/>
                <a:gd name="connsiteX12" fmla="*/ 5508 w 173107"/>
                <a:gd name="connsiteY12" fmla="*/ 13770 h 31474"/>
                <a:gd name="connsiteX13" fmla="*/ 8262 w 173107"/>
                <a:gd name="connsiteY13" fmla="*/ 14557 h 31474"/>
                <a:gd name="connsiteX14" fmla="*/ 11016 w 173107"/>
                <a:gd name="connsiteY14" fmla="*/ 16130 h 31474"/>
                <a:gd name="connsiteX15" fmla="*/ 14163 w 173107"/>
                <a:gd name="connsiteY15" fmla="*/ 16524 h 31474"/>
                <a:gd name="connsiteX16" fmla="*/ 16917 w 173107"/>
                <a:gd name="connsiteY16" fmla="*/ 17311 h 31474"/>
                <a:gd name="connsiteX17" fmla="*/ 20065 w 173107"/>
                <a:gd name="connsiteY17" fmla="*/ 18098 h 31474"/>
                <a:gd name="connsiteX18" fmla="*/ 26359 w 173107"/>
                <a:gd name="connsiteY18" fmla="*/ 18098 h 31474"/>
                <a:gd name="connsiteX19" fmla="*/ 29507 w 173107"/>
                <a:gd name="connsiteY19" fmla="*/ 17704 h 31474"/>
                <a:gd name="connsiteX20" fmla="*/ 33047 w 173107"/>
                <a:gd name="connsiteY20" fmla="*/ 18491 h 31474"/>
                <a:gd name="connsiteX21" fmla="*/ 35802 w 173107"/>
                <a:gd name="connsiteY21" fmla="*/ 18098 h 31474"/>
                <a:gd name="connsiteX22" fmla="*/ 38949 w 173107"/>
                <a:gd name="connsiteY22" fmla="*/ 17704 h 31474"/>
                <a:gd name="connsiteX23" fmla="*/ 41310 w 173107"/>
                <a:gd name="connsiteY23" fmla="*/ 17311 h 31474"/>
                <a:gd name="connsiteX24" fmla="*/ 41703 w 173107"/>
                <a:gd name="connsiteY24" fmla="*/ 20458 h 31474"/>
                <a:gd name="connsiteX25" fmla="*/ 38556 w 173107"/>
                <a:gd name="connsiteY25" fmla="*/ 20458 h 31474"/>
                <a:gd name="connsiteX26" fmla="*/ 35802 w 173107"/>
                <a:gd name="connsiteY26" fmla="*/ 20458 h 31474"/>
                <a:gd name="connsiteX27" fmla="*/ 38556 w 173107"/>
                <a:gd name="connsiteY27" fmla="*/ 22425 h 31474"/>
                <a:gd name="connsiteX28" fmla="*/ 41703 w 173107"/>
                <a:gd name="connsiteY28" fmla="*/ 23212 h 31474"/>
                <a:gd name="connsiteX29" fmla="*/ 42096 w 173107"/>
                <a:gd name="connsiteY29" fmla="*/ 23212 h 31474"/>
                <a:gd name="connsiteX30" fmla="*/ 45244 w 173107"/>
                <a:gd name="connsiteY30" fmla="*/ 23999 h 31474"/>
                <a:gd name="connsiteX31" fmla="*/ 47998 w 173107"/>
                <a:gd name="connsiteY31" fmla="*/ 24392 h 31474"/>
                <a:gd name="connsiteX32" fmla="*/ 54686 w 173107"/>
                <a:gd name="connsiteY32" fmla="*/ 24392 h 31474"/>
                <a:gd name="connsiteX33" fmla="*/ 57833 w 173107"/>
                <a:gd name="connsiteY33" fmla="*/ 25573 h 31474"/>
                <a:gd name="connsiteX34" fmla="*/ 60981 w 173107"/>
                <a:gd name="connsiteY34" fmla="*/ 26753 h 31474"/>
                <a:gd name="connsiteX35" fmla="*/ 64128 w 173107"/>
                <a:gd name="connsiteY35" fmla="*/ 26360 h 31474"/>
                <a:gd name="connsiteX36" fmla="*/ 67276 w 173107"/>
                <a:gd name="connsiteY36" fmla="*/ 26360 h 31474"/>
                <a:gd name="connsiteX37" fmla="*/ 70423 w 173107"/>
                <a:gd name="connsiteY37" fmla="*/ 25966 h 31474"/>
                <a:gd name="connsiteX38" fmla="*/ 73177 w 173107"/>
                <a:gd name="connsiteY38" fmla="*/ 26360 h 31474"/>
                <a:gd name="connsiteX39" fmla="*/ 76324 w 173107"/>
                <a:gd name="connsiteY39" fmla="*/ 26753 h 31474"/>
                <a:gd name="connsiteX40" fmla="*/ 79472 w 173107"/>
                <a:gd name="connsiteY40" fmla="*/ 26360 h 31474"/>
                <a:gd name="connsiteX41" fmla="*/ 82620 w 173107"/>
                <a:gd name="connsiteY41" fmla="*/ 25573 h 31474"/>
                <a:gd name="connsiteX42" fmla="*/ 85767 w 173107"/>
                <a:gd name="connsiteY42" fmla="*/ 25573 h 31474"/>
                <a:gd name="connsiteX43" fmla="*/ 89701 w 173107"/>
                <a:gd name="connsiteY43" fmla="*/ 25966 h 31474"/>
                <a:gd name="connsiteX44" fmla="*/ 92455 w 173107"/>
                <a:gd name="connsiteY44" fmla="*/ 25966 h 31474"/>
                <a:gd name="connsiteX45" fmla="*/ 95996 w 173107"/>
                <a:gd name="connsiteY45" fmla="*/ 25573 h 31474"/>
                <a:gd name="connsiteX46" fmla="*/ 92849 w 173107"/>
                <a:gd name="connsiteY46" fmla="*/ 27540 h 31474"/>
                <a:gd name="connsiteX47" fmla="*/ 95996 w 173107"/>
                <a:gd name="connsiteY47" fmla="*/ 29507 h 31474"/>
                <a:gd name="connsiteX48" fmla="*/ 98750 w 173107"/>
                <a:gd name="connsiteY48" fmla="*/ 30294 h 31474"/>
                <a:gd name="connsiteX49" fmla="*/ 101897 w 173107"/>
                <a:gd name="connsiteY49" fmla="*/ 30294 h 31474"/>
                <a:gd name="connsiteX50" fmla="*/ 105045 w 173107"/>
                <a:gd name="connsiteY50" fmla="*/ 31081 h 31474"/>
                <a:gd name="connsiteX51" fmla="*/ 108192 w 173107"/>
                <a:gd name="connsiteY51" fmla="*/ 31081 h 31474"/>
                <a:gd name="connsiteX52" fmla="*/ 111339 w 173107"/>
                <a:gd name="connsiteY52" fmla="*/ 31474 h 31474"/>
                <a:gd name="connsiteX53" fmla="*/ 118028 w 173107"/>
                <a:gd name="connsiteY53" fmla="*/ 31474 h 31474"/>
                <a:gd name="connsiteX54" fmla="*/ 120782 w 173107"/>
                <a:gd name="connsiteY54" fmla="*/ 31081 h 31474"/>
                <a:gd name="connsiteX55" fmla="*/ 123929 w 173107"/>
                <a:gd name="connsiteY55" fmla="*/ 29900 h 31474"/>
                <a:gd name="connsiteX56" fmla="*/ 126683 w 173107"/>
                <a:gd name="connsiteY56" fmla="*/ 27933 h 31474"/>
                <a:gd name="connsiteX57" fmla="*/ 129831 w 173107"/>
                <a:gd name="connsiteY57" fmla="*/ 27540 h 31474"/>
                <a:gd name="connsiteX58" fmla="*/ 132978 w 173107"/>
                <a:gd name="connsiteY58" fmla="*/ 26753 h 31474"/>
                <a:gd name="connsiteX59" fmla="*/ 135732 w 173107"/>
                <a:gd name="connsiteY59" fmla="*/ 26360 h 31474"/>
                <a:gd name="connsiteX60" fmla="*/ 138486 w 173107"/>
                <a:gd name="connsiteY60" fmla="*/ 27540 h 31474"/>
                <a:gd name="connsiteX61" fmla="*/ 141634 w 173107"/>
                <a:gd name="connsiteY61" fmla="*/ 27540 h 31474"/>
                <a:gd name="connsiteX62" fmla="*/ 144781 w 173107"/>
                <a:gd name="connsiteY62" fmla="*/ 26753 h 31474"/>
                <a:gd name="connsiteX63" fmla="*/ 147928 w 173107"/>
                <a:gd name="connsiteY63" fmla="*/ 26360 h 31474"/>
                <a:gd name="connsiteX64" fmla="*/ 150682 w 173107"/>
                <a:gd name="connsiteY64" fmla="*/ 25573 h 31474"/>
                <a:gd name="connsiteX65" fmla="*/ 154223 w 173107"/>
                <a:gd name="connsiteY65" fmla="*/ 23606 h 31474"/>
                <a:gd name="connsiteX66" fmla="*/ 151469 w 173107"/>
                <a:gd name="connsiteY66" fmla="*/ 20852 h 31474"/>
                <a:gd name="connsiteX67" fmla="*/ 154223 w 173107"/>
                <a:gd name="connsiteY67" fmla="*/ 20065 h 31474"/>
                <a:gd name="connsiteX68" fmla="*/ 157371 w 173107"/>
                <a:gd name="connsiteY68" fmla="*/ 19278 h 31474"/>
                <a:gd name="connsiteX69" fmla="*/ 160518 w 173107"/>
                <a:gd name="connsiteY69" fmla="*/ 18884 h 31474"/>
                <a:gd name="connsiteX70" fmla="*/ 163665 w 173107"/>
                <a:gd name="connsiteY70" fmla="*/ 18491 h 31474"/>
                <a:gd name="connsiteX71" fmla="*/ 166812 w 173107"/>
                <a:gd name="connsiteY71" fmla="*/ 16524 h 31474"/>
                <a:gd name="connsiteX72" fmla="*/ 169567 w 173107"/>
                <a:gd name="connsiteY72" fmla="*/ 15737 h 31474"/>
                <a:gd name="connsiteX73" fmla="*/ 175861 w 173107"/>
                <a:gd name="connsiteY73" fmla="*/ 14557 h 31474"/>
                <a:gd name="connsiteX74" fmla="*/ 174681 w 173107"/>
                <a:gd name="connsiteY74" fmla="*/ 11803 h 31474"/>
                <a:gd name="connsiteX75" fmla="*/ 174681 w 173107"/>
                <a:gd name="connsiteY75" fmla="*/ 11409 h 31474"/>
                <a:gd name="connsiteX76" fmla="*/ 171534 w 173107"/>
                <a:gd name="connsiteY76" fmla="*/ 9049 h 31474"/>
                <a:gd name="connsiteX77" fmla="*/ 168780 w 173107"/>
                <a:gd name="connsiteY77" fmla="*/ 7869 h 31474"/>
                <a:gd name="connsiteX78" fmla="*/ 166026 w 173107"/>
                <a:gd name="connsiteY78" fmla="*/ 7475 h 31474"/>
                <a:gd name="connsiteX79" fmla="*/ 162878 w 173107"/>
                <a:gd name="connsiteY79" fmla="*/ 7082 h 31474"/>
                <a:gd name="connsiteX80" fmla="*/ 151075 w 173107"/>
                <a:gd name="connsiteY80" fmla="*/ 7082 h 31474"/>
                <a:gd name="connsiteX81" fmla="*/ 147928 w 173107"/>
                <a:gd name="connsiteY81" fmla="*/ 7475 h 31474"/>
                <a:gd name="connsiteX82" fmla="*/ 145174 w 173107"/>
                <a:gd name="connsiteY82" fmla="*/ 7082 h 31474"/>
                <a:gd name="connsiteX83" fmla="*/ 142027 w 173107"/>
                <a:gd name="connsiteY83" fmla="*/ 6295 h 31474"/>
                <a:gd name="connsiteX84" fmla="*/ 138486 w 173107"/>
                <a:gd name="connsiteY84" fmla="*/ 6295 h 31474"/>
                <a:gd name="connsiteX85" fmla="*/ 135732 w 173107"/>
                <a:gd name="connsiteY85" fmla="*/ 5508 h 31474"/>
                <a:gd name="connsiteX86" fmla="*/ 132191 w 173107"/>
                <a:gd name="connsiteY86" fmla="*/ 5508 h 31474"/>
                <a:gd name="connsiteX87" fmla="*/ 129044 w 173107"/>
                <a:gd name="connsiteY87" fmla="*/ 5901 h 31474"/>
                <a:gd name="connsiteX88" fmla="*/ 125896 w 173107"/>
                <a:gd name="connsiteY88" fmla="*/ 5115 h 31474"/>
                <a:gd name="connsiteX89" fmla="*/ 123142 w 173107"/>
                <a:gd name="connsiteY89" fmla="*/ 5508 h 31474"/>
                <a:gd name="connsiteX90" fmla="*/ 119995 w 173107"/>
                <a:gd name="connsiteY90" fmla="*/ 3147 h 31474"/>
                <a:gd name="connsiteX91" fmla="*/ 116847 w 173107"/>
                <a:gd name="connsiteY91" fmla="*/ 3147 h 31474"/>
                <a:gd name="connsiteX92" fmla="*/ 120388 w 173107"/>
                <a:gd name="connsiteY92" fmla="*/ 4328 h 31474"/>
                <a:gd name="connsiteX93" fmla="*/ 117634 w 173107"/>
                <a:gd name="connsiteY93" fmla="*/ 5115 h 31474"/>
                <a:gd name="connsiteX94" fmla="*/ 114487 w 173107"/>
                <a:gd name="connsiteY94" fmla="*/ 4328 h 31474"/>
                <a:gd name="connsiteX95" fmla="*/ 111733 w 173107"/>
                <a:gd name="connsiteY95" fmla="*/ 5115 h 31474"/>
                <a:gd name="connsiteX96" fmla="*/ 108586 w 173107"/>
                <a:gd name="connsiteY96" fmla="*/ 7475 h 31474"/>
                <a:gd name="connsiteX97" fmla="*/ 105831 w 173107"/>
                <a:gd name="connsiteY97" fmla="*/ 8262 h 31474"/>
                <a:gd name="connsiteX98" fmla="*/ 102684 w 173107"/>
                <a:gd name="connsiteY98" fmla="*/ 8262 h 31474"/>
                <a:gd name="connsiteX99" fmla="*/ 99537 w 173107"/>
                <a:gd name="connsiteY99" fmla="*/ 7869 h 31474"/>
                <a:gd name="connsiteX100" fmla="*/ 96389 w 173107"/>
                <a:gd name="connsiteY100" fmla="*/ 8262 h 31474"/>
                <a:gd name="connsiteX101" fmla="*/ 99537 w 173107"/>
                <a:gd name="connsiteY101" fmla="*/ 5508 h 31474"/>
                <a:gd name="connsiteX102" fmla="*/ 97963 w 173107"/>
                <a:gd name="connsiteY102" fmla="*/ 2754 h 31474"/>
                <a:gd name="connsiteX103" fmla="*/ 100717 w 173107"/>
                <a:gd name="connsiteY103" fmla="*/ 2361 h 31474"/>
                <a:gd name="connsiteX104" fmla="*/ 97963 w 173107"/>
                <a:gd name="connsiteY104" fmla="*/ 1180 h 31474"/>
                <a:gd name="connsiteX105" fmla="*/ 94816 w 173107"/>
                <a:gd name="connsiteY105" fmla="*/ 787 h 31474"/>
                <a:gd name="connsiteX106" fmla="*/ 91668 w 173107"/>
                <a:gd name="connsiteY106" fmla="*/ 0 h 31474"/>
                <a:gd name="connsiteX107" fmla="*/ 91668 w 173107"/>
                <a:gd name="connsiteY107" fmla="*/ 2754 h 31474"/>
                <a:gd name="connsiteX108" fmla="*/ 88521 w 173107"/>
                <a:gd name="connsiteY108" fmla="*/ 3934 h 31474"/>
                <a:gd name="connsiteX109" fmla="*/ 85373 w 173107"/>
                <a:gd name="connsiteY109" fmla="*/ 1967 h 31474"/>
                <a:gd name="connsiteX110" fmla="*/ 87734 w 173107"/>
                <a:gd name="connsiteY110" fmla="*/ 4721 h 31474"/>
                <a:gd name="connsiteX111" fmla="*/ 85373 w 173107"/>
                <a:gd name="connsiteY111" fmla="*/ 7475 h 31474"/>
                <a:gd name="connsiteX112" fmla="*/ 86160 w 173107"/>
                <a:gd name="connsiteY112" fmla="*/ 10229 h 31474"/>
                <a:gd name="connsiteX113" fmla="*/ 84980 w 173107"/>
                <a:gd name="connsiteY113" fmla="*/ 11409 h 31474"/>
                <a:gd name="connsiteX114" fmla="*/ 82226 w 173107"/>
                <a:gd name="connsiteY114" fmla="*/ 11409 h 31474"/>
                <a:gd name="connsiteX115" fmla="*/ 79079 w 173107"/>
                <a:gd name="connsiteY115" fmla="*/ 9049 h 31474"/>
                <a:gd name="connsiteX116" fmla="*/ 76324 w 173107"/>
                <a:gd name="connsiteY116" fmla="*/ 8655 h 31474"/>
                <a:gd name="connsiteX117" fmla="*/ 73177 w 173107"/>
                <a:gd name="connsiteY117" fmla="*/ 8262 h 31474"/>
                <a:gd name="connsiteX118" fmla="*/ 70423 w 173107"/>
                <a:gd name="connsiteY118" fmla="*/ 9049 h 31474"/>
                <a:gd name="connsiteX119" fmla="*/ 73177 w 173107"/>
                <a:gd name="connsiteY119" fmla="*/ 7082 h 31474"/>
                <a:gd name="connsiteX120" fmla="*/ 70423 w 173107"/>
                <a:gd name="connsiteY120" fmla="*/ 6295 h 31474"/>
                <a:gd name="connsiteX121" fmla="*/ 67276 w 173107"/>
                <a:gd name="connsiteY121" fmla="*/ 5115 h 31474"/>
                <a:gd name="connsiteX122" fmla="*/ 64522 w 173107"/>
                <a:gd name="connsiteY122" fmla="*/ 6688 h 31474"/>
                <a:gd name="connsiteX123" fmla="*/ 61374 w 173107"/>
                <a:gd name="connsiteY123" fmla="*/ 6295 h 31474"/>
                <a:gd name="connsiteX124" fmla="*/ 58620 w 173107"/>
                <a:gd name="connsiteY124" fmla="*/ 6295 h 31474"/>
                <a:gd name="connsiteX125" fmla="*/ 55080 w 173107"/>
                <a:gd name="connsiteY125" fmla="*/ 6688 h 31474"/>
                <a:gd name="connsiteX126" fmla="*/ 52325 w 173107"/>
                <a:gd name="connsiteY126" fmla="*/ 4721 h 31474"/>
                <a:gd name="connsiteX127" fmla="*/ 49178 w 173107"/>
                <a:gd name="connsiteY127" fmla="*/ 4328 h 31474"/>
                <a:gd name="connsiteX128" fmla="*/ 46031 w 173107"/>
                <a:gd name="connsiteY128" fmla="*/ 1967 h 31474"/>
                <a:gd name="connsiteX129" fmla="*/ 42883 w 173107"/>
                <a:gd name="connsiteY129" fmla="*/ 1967 h 31474"/>
                <a:gd name="connsiteX130" fmla="*/ 40129 w 173107"/>
                <a:gd name="connsiteY130" fmla="*/ 1967 h 31474"/>
                <a:gd name="connsiteX131" fmla="*/ 37376 w 173107"/>
                <a:gd name="connsiteY131" fmla="*/ 1180 h 31474"/>
                <a:gd name="connsiteX132" fmla="*/ 34621 w 173107"/>
                <a:gd name="connsiteY132" fmla="*/ 393 h 31474"/>
                <a:gd name="connsiteX133" fmla="*/ 31474 w 173107"/>
                <a:gd name="connsiteY133" fmla="*/ 1180 h 31474"/>
                <a:gd name="connsiteX134" fmla="*/ 34621 w 173107"/>
                <a:gd name="connsiteY134" fmla="*/ 2361 h 31474"/>
                <a:gd name="connsiteX135" fmla="*/ 37769 w 173107"/>
                <a:gd name="connsiteY135" fmla="*/ 3147 h 31474"/>
                <a:gd name="connsiteX136" fmla="*/ 34621 w 173107"/>
                <a:gd name="connsiteY136" fmla="*/ 5508 h 31474"/>
                <a:gd name="connsiteX137" fmla="*/ 31474 w 173107"/>
                <a:gd name="connsiteY137" fmla="*/ 6295 h 31474"/>
                <a:gd name="connsiteX138" fmla="*/ 28720 w 173107"/>
                <a:gd name="connsiteY138" fmla="*/ 4721 h 31474"/>
                <a:gd name="connsiteX139" fmla="*/ 25573 w 173107"/>
                <a:gd name="connsiteY139" fmla="*/ 3934 h 31474"/>
                <a:gd name="connsiteX140" fmla="*/ 22425 w 173107"/>
                <a:gd name="connsiteY140" fmla="*/ 3541 h 31474"/>
                <a:gd name="connsiteX141" fmla="*/ 24786 w 173107"/>
                <a:gd name="connsiteY141" fmla="*/ 6295 h 31474"/>
                <a:gd name="connsiteX142" fmla="*/ 27540 w 173107"/>
                <a:gd name="connsiteY142" fmla="*/ 7475 h 31474"/>
                <a:gd name="connsiteX143" fmla="*/ 31080 w 173107"/>
                <a:gd name="connsiteY143" fmla="*/ 7475 h 31474"/>
                <a:gd name="connsiteX144" fmla="*/ 27933 w 173107"/>
                <a:gd name="connsiteY144" fmla="*/ 9442 h 31474"/>
                <a:gd name="connsiteX145" fmla="*/ 24786 w 173107"/>
                <a:gd name="connsiteY145" fmla="*/ 8655 h 31474"/>
                <a:gd name="connsiteX146" fmla="*/ 21638 w 173107"/>
                <a:gd name="connsiteY146" fmla="*/ 8262 h 31474"/>
                <a:gd name="connsiteX147" fmla="*/ 18491 w 173107"/>
                <a:gd name="connsiteY147" fmla="*/ 7082 h 31474"/>
                <a:gd name="connsiteX148" fmla="*/ 15737 w 173107"/>
                <a:gd name="connsiteY148" fmla="*/ 6688 h 31474"/>
                <a:gd name="connsiteX149" fmla="*/ 12196 w 173107"/>
                <a:gd name="connsiteY149" fmla="*/ 7082 h 31474"/>
                <a:gd name="connsiteX150" fmla="*/ 9442 w 173107"/>
                <a:gd name="connsiteY150" fmla="*/ 7475 h 31474"/>
                <a:gd name="connsiteX151" fmla="*/ 6295 w 173107"/>
                <a:gd name="connsiteY151" fmla="*/ 7082 h 31474"/>
                <a:gd name="connsiteX152" fmla="*/ 3540 w 173107"/>
                <a:gd name="connsiteY152" fmla="*/ 7475 h 31474"/>
                <a:gd name="connsiteX153" fmla="*/ 0 w 173107"/>
                <a:gd name="connsiteY153" fmla="*/ 7869 h 31474"/>
                <a:gd name="connsiteX154" fmla="*/ 3147 w 173107"/>
                <a:gd name="connsiteY154" fmla="*/ 8262 h 3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173107" h="31474">
                  <a:moveTo>
                    <a:pt x="6688" y="9049"/>
                  </a:moveTo>
                  <a:lnTo>
                    <a:pt x="9442" y="9836"/>
                  </a:lnTo>
                  <a:lnTo>
                    <a:pt x="6295" y="9836"/>
                  </a:lnTo>
                  <a:lnTo>
                    <a:pt x="9049" y="10229"/>
                  </a:lnTo>
                  <a:lnTo>
                    <a:pt x="12196" y="10623"/>
                  </a:lnTo>
                  <a:lnTo>
                    <a:pt x="15343" y="11016"/>
                  </a:lnTo>
                  <a:lnTo>
                    <a:pt x="18491" y="10623"/>
                  </a:lnTo>
                  <a:lnTo>
                    <a:pt x="17704" y="11409"/>
                  </a:lnTo>
                  <a:lnTo>
                    <a:pt x="15737" y="11409"/>
                  </a:lnTo>
                  <a:lnTo>
                    <a:pt x="14557" y="11409"/>
                  </a:lnTo>
                  <a:lnTo>
                    <a:pt x="11409" y="12590"/>
                  </a:lnTo>
                  <a:lnTo>
                    <a:pt x="8655" y="12983"/>
                  </a:lnTo>
                  <a:lnTo>
                    <a:pt x="5508" y="13770"/>
                  </a:lnTo>
                  <a:lnTo>
                    <a:pt x="8262" y="14557"/>
                  </a:lnTo>
                  <a:lnTo>
                    <a:pt x="11016" y="16130"/>
                  </a:lnTo>
                  <a:lnTo>
                    <a:pt x="14163" y="16524"/>
                  </a:lnTo>
                  <a:lnTo>
                    <a:pt x="16917" y="17311"/>
                  </a:lnTo>
                  <a:lnTo>
                    <a:pt x="20065" y="18098"/>
                  </a:lnTo>
                  <a:lnTo>
                    <a:pt x="26359" y="18098"/>
                  </a:lnTo>
                  <a:lnTo>
                    <a:pt x="29507" y="17704"/>
                  </a:lnTo>
                  <a:lnTo>
                    <a:pt x="33047" y="18491"/>
                  </a:lnTo>
                  <a:lnTo>
                    <a:pt x="35802" y="18098"/>
                  </a:lnTo>
                  <a:lnTo>
                    <a:pt x="38949" y="17704"/>
                  </a:lnTo>
                  <a:lnTo>
                    <a:pt x="41310" y="17311"/>
                  </a:lnTo>
                  <a:lnTo>
                    <a:pt x="41703" y="20458"/>
                  </a:lnTo>
                  <a:lnTo>
                    <a:pt x="38556" y="20458"/>
                  </a:lnTo>
                  <a:lnTo>
                    <a:pt x="35802" y="20458"/>
                  </a:lnTo>
                  <a:lnTo>
                    <a:pt x="38556" y="22425"/>
                  </a:lnTo>
                  <a:lnTo>
                    <a:pt x="41703" y="23212"/>
                  </a:lnTo>
                  <a:lnTo>
                    <a:pt x="42096" y="23212"/>
                  </a:lnTo>
                  <a:lnTo>
                    <a:pt x="45244" y="23999"/>
                  </a:lnTo>
                  <a:lnTo>
                    <a:pt x="47998" y="24392"/>
                  </a:lnTo>
                  <a:lnTo>
                    <a:pt x="54686" y="24392"/>
                  </a:lnTo>
                  <a:lnTo>
                    <a:pt x="57833" y="25573"/>
                  </a:lnTo>
                  <a:lnTo>
                    <a:pt x="60981" y="26753"/>
                  </a:lnTo>
                  <a:lnTo>
                    <a:pt x="64128" y="26360"/>
                  </a:lnTo>
                  <a:lnTo>
                    <a:pt x="67276" y="26360"/>
                  </a:lnTo>
                  <a:lnTo>
                    <a:pt x="70423" y="25966"/>
                  </a:lnTo>
                  <a:lnTo>
                    <a:pt x="73177" y="26360"/>
                  </a:lnTo>
                  <a:lnTo>
                    <a:pt x="76324" y="26753"/>
                  </a:lnTo>
                  <a:lnTo>
                    <a:pt x="79472" y="26360"/>
                  </a:lnTo>
                  <a:lnTo>
                    <a:pt x="82620" y="25573"/>
                  </a:lnTo>
                  <a:lnTo>
                    <a:pt x="85767" y="25573"/>
                  </a:lnTo>
                  <a:lnTo>
                    <a:pt x="89701" y="25966"/>
                  </a:lnTo>
                  <a:lnTo>
                    <a:pt x="92455" y="25966"/>
                  </a:lnTo>
                  <a:lnTo>
                    <a:pt x="95996" y="25573"/>
                  </a:lnTo>
                  <a:lnTo>
                    <a:pt x="92849" y="27540"/>
                  </a:lnTo>
                  <a:lnTo>
                    <a:pt x="95996" y="29507"/>
                  </a:lnTo>
                  <a:lnTo>
                    <a:pt x="98750" y="30294"/>
                  </a:lnTo>
                  <a:lnTo>
                    <a:pt x="101897" y="30294"/>
                  </a:lnTo>
                  <a:lnTo>
                    <a:pt x="105045" y="31081"/>
                  </a:lnTo>
                  <a:lnTo>
                    <a:pt x="108192" y="31081"/>
                  </a:lnTo>
                  <a:lnTo>
                    <a:pt x="111339" y="31474"/>
                  </a:lnTo>
                  <a:lnTo>
                    <a:pt x="118028" y="31474"/>
                  </a:lnTo>
                  <a:lnTo>
                    <a:pt x="120782" y="31081"/>
                  </a:lnTo>
                  <a:lnTo>
                    <a:pt x="123929" y="29900"/>
                  </a:lnTo>
                  <a:lnTo>
                    <a:pt x="126683" y="27933"/>
                  </a:lnTo>
                  <a:lnTo>
                    <a:pt x="129831" y="27540"/>
                  </a:lnTo>
                  <a:lnTo>
                    <a:pt x="132978" y="26753"/>
                  </a:lnTo>
                  <a:lnTo>
                    <a:pt x="135732" y="26360"/>
                  </a:lnTo>
                  <a:lnTo>
                    <a:pt x="138486" y="27540"/>
                  </a:lnTo>
                  <a:lnTo>
                    <a:pt x="141634" y="27540"/>
                  </a:lnTo>
                  <a:lnTo>
                    <a:pt x="144781" y="26753"/>
                  </a:lnTo>
                  <a:lnTo>
                    <a:pt x="147928" y="26360"/>
                  </a:lnTo>
                  <a:lnTo>
                    <a:pt x="150682" y="25573"/>
                  </a:lnTo>
                  <a:lnTo>
                    <a:pt x="154223" y="23606"/>
                  </a:lnTo>
                  <a:lnTo>
                    <a:pt x="151469" y="20852"/>
                  </a:lnTo>
                  <a:lnTo>
                    <a:pt x="154223" y="20065"/>
                  </a:lnTo>
                  <a:lnTo>
                    <a:pt x="157371" y="19278"/>
                  </a:lnTo>
                  <a:lnTo>
                    <a:pt x="160518" y="18884"/>
                  </a:lnTo>
                  <a:lnTo>
                    <a:pt x="163665" y="18491"/>
                  </a:lnTo>
                  <a:lnTo>
                    <a:pt x="166812" y="16524"/>
                  </a:lnTo>
                  <a:lnTo>
                    <a:pt x="169567" y="15737"/>
                  </a:lnTo>
                  <a:lnTo>
                    <a:pt x="175861" y="14557"/>
                  </a:lnTo>
                  <a:lnTo>
                    <a:pt x="174681" y="11803"/>
                  </a:lnTo>
                  <a:lnTo>
                    <a:pt x="174681" y="11409"/>
                  </a:lnTo>
                  <a:lnTo>
                    <a:pt x="171534" y="9049"/>
                  </a:lnTo>
                  <a:lnTo>
                    <a:pt x="168780" y="7869"/>
                  </a:lnTo>
                  <a:lnTo>
                    <a:pt x="166026" y="7475"/>
                  </a:lnTo>
                  <a:lnTo>
                    <a:pt x="162878" y="7082"/>
                  </a:lnTo>
                  <a:lnTo>
                    <a:pt x="151075" y="7082"/>
                  </a:lnTo>
                  <a:lnTo>
                    <a:pt x="147928" y="7475"/>
                  </a:lnTo>
                  <a:lnTo>
                    <a:pt x="145174" y="7082"/>
                  </a:lnTo>
                  <a:lnTo>
                    <a:pt x="142027" y="6295"/>
                  </a:lnTo>
                  <a:lnTo>
                    <a:pt x="138486" y="6295"/>
                  </a:lnTo>
                  <a:lnTo>
                    <a:pt x="135732" y="5508"/>
                  </a:lnTo>
                  <a:lnTo>
                    <a:pt x="132191" y="5508"/>
                  </a:lnTo>
                  <a:lnTo>
                    <a:pt x="129044" y="5901"/>
                  </a:lnTo>
                  <a:lnTo>
                    <a:pt x="125896" y="5115"/>
                  </a:lnTo>
                  <a:lnTo>
                    <a:pt x="123142" y="5508"/>
                  </a:lnTo>
                  <a:lnTo>
                    <a:pt x="119995" y="3147"/>
                  </a:lnTo>
                  <a:lnTo>
                    <a:pt x="116847" y="3147"/>
                  </a:lnTo>
                  <a:lnTo>
                    <a:pt x="120388" y="4328"/>
                  </a:lnTo>
                  <a:lnTo>
                    <a:pt x="117634" y="5115"/>
                  </a:lnTo>
                  <a:lnTo>
                    <a:pt x="114487" y="4328"/>
                  </a:lnTo>
                  <a:lnTo>
                    <a:pt x="111733" y="5115"/>
                  </a:lnTo>
                  <a:lnTo>
                    <a:pt x="108586" y="7475"/>
                  </a:lnTo>
                  <a:lnTo>
                    <a:pt x="105831" y="8262"/>
                  </a:lnTo>
                  <a:lnTo>
                    <a:pt x="102684" y="8262"/>
                  </a:lnTo>
                  <a:lnTo>
                    <a:pt x="99537" y="7869"/>
                  </a:lnTo>
                  <a:lnTo>
                    <a:pt x="96389" y="8262"/>
                  </a:lnTo>
                  <a:lnTo>
                    <a:pt x="99537" y="5508"/>
                  </a:lnTo>
                  <a:lnTo>
                    <a:pt x="97963" y="2754"/>
                  </a:lnTo>
                  <a:lnTo>
                    <a:pt x="100717" y="2361"/>
                  </a:lnTo>
                  <a:lnTo>
                    <a:pt x="97963" y="1180"/>
                  </a:lnTo>
                  <a:lnTo>
                    <a:pt x="94816" y="787"/>
                  </a:lnTo>
                  <a:lnTo>
                    <a:pt x="91668" y="0"/>
                  </a:lnTo>
                  <a:lnTo>
                    <a:pt x="91668" y="2754"/>
                  </a:lnTo>
                  <a:lnTo>
                    <a:pt x="88521" y="3934"/>
                  </a:lnTo>
                  <a:lnTo>
                    <a:pt x="85373" y="1967"/>
                  </a:lnTo>
                  <a:lnTo>
                    <a:pt x="87734" y="4721"/>
                  </a:lnTo>
                  <a:lnTo>
                    <a:pt x="85373" y="7475"/>
                  </a:lnTo>
                  <a:lnTo>
                    <a:pt x="86160" y="10229"/>
                  </a:lnTo>
                  <a:lnTo>
                    <a:pt x="84980" y="11409"/>
                  </a:lnTo>
                  <a:lnTo>
                    <a:pt x="82226" y="11409"/>
                  </a:lnTo>
                  <a:lnTo>
                    <a:pt x="79079" y="9049"/>
                  </a:lnTo>
                  <a:lnTo>
                    <a:pt x="76324" y="8655"/>
                  </a:lnTo>
                  <a:lnTo>
                    <a:pt x="73177" y="8262"/>
                  </a:lnTo>
                  <a:lnTo>
                    <a:pt x="70423" y="9049"/>
                  </a:lnTo>
                  <a:lnTo>
                    <a:pt x="73177" y="7082"/>
                  </a:lnTo>
                  <a:lnTo>
                    <a:pt x="70423" y="6295"/>
                  </a:lnTo>
                  <a:lnTo>
                    <a:pt x="67276" y="5115"/>
                  </a:lnTo>
                  <a:lnTo>
                    <a:pt x="64522" y="6688"/>
                  </a:lnTo>
                  <a:lnTo>
                    <a:pt x="61374" y="6295"/>
                  </a:lnTo>
                  <a:lnTo>
                    <a:pt x="58620" y="6295"/>
                  </a:lnTo>
                  <a:lnTo>
                    <a:pt x="55080" y="6688"/>
                  </a:lnTo>
                  <a:lnTo>
                    <a:pt x="52325" y="4721"/>
                  </a:lnTo>
                  <a:lnTo>
                    <a:pt x="49178" y="4328"/>
                  </a:lnTo>
                  <a:lnTo>
                    <a:pt x="46031" y="1967"/>
                  </a:lnTo>
                  <a:lnTo>
                    <a:pt x="42883" y="1967"/>
                  </a:lnTo>
                  <a:lnTo>
                    <a:pt x="40129" y="1967"/>
                  </a:lnTo>
                  <a:lnTo>
                    <a:pt x="37376" y="1180"/>
                  </a:lnTo>
                  <a:lnTo>
                    <a:pt x="34621" y="393"/>
                  </a:lnTo>
                  <a:lnTo>
                    <a:pt x="31474" y="1180"/>
                  </a:lnTo>
                  <a:lnTo>
                    <a:pt x="34621" y="2361"/>
                  </a:lnTo>
                  <a:lnTo>
                    <a:pt x="37769" y="3147"/>
                  </a:lnTo>
                  <a:lnTo>
                    <a:pt x="34621" y="5508"/>
                  </a:lnTo>
                  <a:lnTo>
                    <a:pt x="31474" y="6295"/>
                  </a:lnTo>
                  <a:lnTo>
                    <a:pt x="28720" y="4721"/>
                  </a:lnTo>
                  <a:lnTo>
                    <a:pt x="25573" y="3934"/>
                  </a:lnTo>
                  <a:lnTo>
                    <a:pt x="22425" y="3541"/>
                  </a:lnTo>
                  <a:lnTo>
                    <a:pt x="24786" y="6295"/>
                  </a:lnTo>
                  <a:lnTo>
                    <a:pt x="27540" y="7475"/>
                  </a:lnTo>
                  <a:lnTo>
                    <a:pt x="31080" y="7475"/>
                  </a:lnTo>
                  <a:lnTo>
                    <a:pt x="27933" y="9442"/>
                  </a:lnTo>
                  <a:lnTo>
                    <a:pt x="24786" y="8655"/>
                  </a:lnTo>
                  <a:lnTo>
                    <a:pt x="21638" y="8262"/>
                  </a:lnTo>
                  <a:lnTo>
                    <a:pt x="18491" y="7082"/>
                  </a:lnTo>
                  <a:lnTo>
                    <a:pt x="15737" y="6688"/>
                  </a:lnTo>
                  <a:lnTo>
                    <a:pt x="12196" y="7082"/>
                  </a:lnTo>
                  <a:lnTo>
                    <a:pt x="9442" y="7475"/>
                  </a:lnTo>
                  <a:lnTo>
                    <a:pt x="6295" y="7082"/>
                  </a:lnTo>
                  <a:lnTo>
                    <a:pt x="3540" y="7475"/>
                  </a:lnTo>
                  <a:lnTo>
                    <a:pt x="0" y="7869"/>
                  </a:lnTo>
                  <a:lnTo>
                    <a:pt x="3147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06" name="Freeform: Shape 3200">
              <a:extLst>
                <a:ext uri="{FF2B5EF4-FFF2-40B4-BE49-F238E27FC236}">
                  <a16:creationId xmlns:a16="http://schemas.microsoft.com/office/drawing/2014/main" id="{BA7116CE-252F-4933-891F-ABCC52502DDA}"/>
                </a:ext>
              </a:extLst>
            </p:cNvPr>
            <p:cNvSpPr/>
            <p:nvPr/>
          </p:nvSpPr>
          <p:spPr>
            <a:xfrm>
              <a:off x="6492967" y="1138514"/>
              <a:ext cx="7869" cy="3934"/>
            </a:xfrm>
            <a:custGeom>
              <a:avLst/>
              <a:gdLst>
                <a:gd name="connsiteX0" fmla="*/ 6295 w 7868"/>
                <a:gd name="connsiteY0" fmla="*/ 3147 h 0"/>
                <a:gd name="connsiteX1" fmla="*/ 9049 w 7868"/>
                <a:gd name="connsiteY1" fmla="*/ 1180 h 0"/>
                <a:gd name="connsiteX2" fmla="*/ 6295 w 7868"/>
                <a:gd name="connsiteY2" fmla="*/ 393 h 0"/>
                <a:gd name="connsiteX3" fmla="*/ 3147 w 7868"/>
                <a:gd name="connsiteY3" fmla="*/ 0 h 0"/>
                <a:gd name="connsiteX4" fmla="*/ 0 w 7868"/>
                <a:gd name="connsiteY4" fmla="*/ 1967 h 0"/>
                <a:gd name="connsiteX5" fmla="*/ 3147 w 7868"/>
                <a:gd name="connsiteY5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6295" y="3147"/>
                  </a:moveTo>
                  <a:lnTo>
                    <a:pt x="9049" y="1180"/>
                  </a:lnTo>
                  <a:lnTo>
                    <a:pt x="6295" y="393"/>
                  </a:lnTo>
                  <a:lnTo>
                    <a:pt x="3147" y="0"/>
                  </a:lnTo>
                  <a:lnTo>
                    <a:pt x="0" y="1967"/>
                  </a:lnTo>
                  <a:lnTo>
                    <a:pt x="314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07" name="Freeform: Shape 3201">
              <a:extLst>
                <a:ext uri="{FF2B5EF4-FFF2-40B4-BE49-F238E27FC236}">
                  <a16:creationId xmlns:a16="http://schemas.microsoft.com/office/drawing/2014/main" id="{1DF98FB5-0EF2-4B8A-800C-AC63FBE5A352}"/>
                </a:ext>
              </a:extLst>
            </p:cNvPr>
            <p:cNvSpPr/>
            <p:nvPr/>
          </p:nvSpPr>
          <p:spPr>
            <a:xfrm>
              <a:off x="6745547" y="1141268"/>
              <a:ext cx="35408" cy="3934"/>
            </a:xfrm>
            <a:custGeom>
              <a:avLst/>
              <a:gdLst>
                <a:gd name="connsiteX0" fmla="*/ 3541 w 35408"/>
                <a:gd name="connsiteY0" fmla="*/ 3541 h 3934"/>
                <a:gd name="connsiteX1" fmla="*/ 6689 w 35408"/>
                <a:gd name="connsiteY1" fmla="*/ 3541 h 3934"/>
                <a:gd name="connsiteX2" fmla="*/ 9442 w 35408"/>
                <a:gd name="connsiteY2" fmla="*/ 3147 h 3934"/>
                <a:gd name="connsiteX3" fmla="*/ 12590 w 35408"/>
                <a:gd name="connsiteY3" fmla="*/ 3147 h 3934"/>
                <a:gd name="connsiteX4" fmla="*/ 15737 w 35408"/>
                <a:gd name="connsiteY4" fmla="*/ 3147 h 3934"/>
                <a:gd name="connsiteX5" fmla="*/ 18885 w 35408"/>
                <a:gd name="connsiteY5" fmla="*/ 2754 h 3934"/>
                <a:gd name="connsiteX6" fmla="*/ 22032 w 35408"/>
                <a:gd name="connsiteY6" fmla="*/ 2361 h 3934"/>
                <a:gd name="connsiteX7" fmla="*/ 25179 w 35408"/>
                <a:gd name="connsiteY7" fmla="*/ 1967 h 3934"/>
                <a:gd name="connsiteX8" fmla="*/ 27933 w 35408"/>
                <a:gd name="connsiteY8" fmla="*/ 1967 h 3934"/>
                <a:gd name="connsiteX9" fmla="*/ 30687 w 35408"/>
                <a:gd name="connsiteY9" fmla="*/ 1574 h 3934"/>
                <a:gd name="connsiteX10" fmla="*/ 33835 w 35408"/>
                <a:gd name="connsiteY10" fmla="*/ 1180 h 3934"/>
                <a:gd name="connsiteX11" fmla="*/ 36982 w 35408"/>
                <a:gd name="connsiteY11" fmla="*/ 393 h 3934"/>
                <a:gd name="connsiteX12" fmla="*/ 33835 w 35408"/>
                <a:gd name="connsiteY12" fmla="*/ 393 h 3934"/>
                <a:gd name="connsiteX13" fmla="*/ 30687 w 35408"/>
                <a:gd name="connsiteY13" fmla="*/ 0 h 3934"/>
                <a:gd name="connsiteX14" fmla="*/ 27933 w 35408"/>
                <a:gd name="connsiteY14" fmla="*/ 393 h 3934"/>
                <a:gd name="connsiteX15" fmla="*/ 24786 w 35408"/>
                <a:gd name="connsiteY15" fmla="*/ 787 h 3934"/>
                <a:gd name="connsiteX16" fmla="*/ 22032 w 35408"/>
                <a:gd name="connsiteY16" fmla="*/ 1180 h 3934"/>
                <a:gd name="connsiteX17" fmla="*/ 18885 w 35408"/>
                <a:gd name="connsiteY17" fmla="*/ 1180 h 3934"/>
                <a:gd name="connsiteX18" fmla="*/ 15344 w 35408"/>
                <a:gd name="connsiteY18" fmla="*/ 1574 h 3934"/>
                <a:gd name="connsiteX19" fmla="*/ 12590 w 35408"/>
                <a:gd name="connsiteY19" fmla="*/ 1967 h 3934"/>
                <a:gd name="connsiteX20" fmla="*/ 9049 w 35408"/>
                <a:gd name="connsiteY20" fmla="*/ 2361 h 3934"/>
                <a:gd name="connsiteX21" fmla="*/ 6295 w 35408"/>
                <a:gd name="connsiteY21" fmla="*/ 2361 h 3934"/>
                <a:gd name="connsiteX22" fmla="*/ 3148 w 35408"/>
                <a:gd name="connsiteY22" fmla="*/ 2754 h 3934"/>
                <a:gd name="connsiteX23" fmla="*/ 0 w 35408"/>
                <a:gd name="connsiteY23" fmla="*/ 3934 h 3934"/>
                <a:gd name="connsiteX24" fmla="*/ 787 w 35408"/>
                <a:gd name="connsiteY24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5408" h="3934">
                  <a:moveTo>
                    <a:pt x="3541" y="3541"/>
                  </a:moveTo>
                  <a:lnTo>
                    <a:pt x="6689" y="3541"/>
                  </a:lnTo>
                  <a:lnTo>
                    <a:pt x="9442" y="3147"/>
                  </a:lnTo>
                  <a:lnTo>
                    <a:pt x="12590" y="3147"/>
                  </a:lnTo>
                  <a:lnTo>
                    <a:pt x="15737" y="3147"/>
                  </a:lnTo>
                  <a:lnTo>
                    <a:pt x="18885" y="2754"/>
                  </a:lnTo>
                  <a:lnTo>
                    <a:pt x="22032" y="2361"/>
                  </a:lnTo>
                  <a:lnTo>
                    <a:pt x="25179" y="1967"/>
                  </a:lnTo>
                  <a:lnTo>
                    <a:pt x="27933" y="1967"/>
                  </a:lnTo>
                  <a:lnTo>
                    <a:pt x="30687" y="1574"/>
                  </a:lnTo>
                  <a:lnTo>
                    <a:pt x="33835" y="1180"/>
                  </a:lnTo>
                  <a:lnTo>
                    <a:pt x="36982" y="393"/>
                  </a:lnTo>
                  <a:lnTo>
                    <a:pt x="33835" y="393"/>
                  </a:lnTo>
                  <a:lnTo>
                    <a:pt x="30687" y="0"/>
                  </a:lnTo>
                  <a:lnTo>
                    <a:pt x="27933" y="393"/>
                  </a:lnTo>
                  <a:lnTo>
                    <a:pt x="24786" y="787"/>
                  </a:lnTo>
                  <a:lnTo>
                    <a:pt x="22032" y="1180"/>
                  </a:lnTo>
                  <a:lnTo>
                    <a:pt x="18885" y="1180"/>
                  </a:lnTo>
                  <a:lnTo>
                    <a:pt x="15344" y="1574"/>
                  </a:lnTo>
                  <a:lnTo>
                    <a:pt x="12590" y="1967"/>
                  </a:lnTo>
                  <a:lnTo>
                    <a:pt x="9049" y="2361"/>
                  </a:lnTo>
                  <a:lnTo>
                    <a:pt x="6295" y="2361"/>
                  </a:lnTo>
                  <a:lnTo>
                    <a:pt x="3148" y="2754"/>
                  </a:lnTo>
                  <a:lnTo>
                    <a:pt x="0" y="3934"/>
                  </a:lnTo>
                  <a:lnTo>
                    <a:pt x="787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08" name="Freeform: Shape 3202">
              <a:extLst>
                <a:ext uri="{FF2B5EF4-FFF2-40B4-BE49-F238E27FC236}">
                  <a16:creationId xmlns:a16="http://schemas.microsoft.com/office/drawing/2014/main" id="{9AF5F1C1-EE03-41E1-9FE7-AC595C8BE7B4}"/>
                </a:ext>
              </a:extLst>
            </p:cNvPr>
            <p:cNvSpPr/>
            <p:nvPr/>
          </p:nvSpPr>
          <p:spPr>
            <a:xfrm>
              <a:off x="7084681" y="1121203"/>
              <a:ext cx="7869" cy="3934"/>
            </a:xfrm>
            <a:custGeom>
              <a:avLst/>
              <a:gdLst>
                <a:gd name="connsiteX0" fmla="*/ 6295 w 7868"/>
                <a:gd name="connsiteY0" fmla="*/ 1574 h 0"/>
                <a:gd name="connsiteX1" fmla="*/ 9442 w 7868"/>
                <a:gd name="connsiteY1" fmla="*/ 787 h 0"/>
                <a:gd name="connsiteX2" fmla="*/ 6295 w 7868"/>
                <a:gd name="connsiteY2" fmla="*/ 0 h 0"/>
                <a:gd name="connsiteX3" fmla="*/ 3540 w 7868"/>
                <a:gd name="connsiteY3" fmla="*/ 0 h 0"/>
                <a:gd name="connsiteX4" fmla="*/ 393 w 7868"/>
                <a:gd name="connsiteY4" fmla="*/ 2361 h 0"/>
                <a:gd name="connsiteX5" fmla="*/ 0 w 7868"/>
                <a:gd name="connsiteY5" fmla="*/ 3147 h 0"/>
                <a:gd name="connsiteX6" fmla="*/ 3147 w 7868"/>
                <a:gd name="connsiteY6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6295" y="1574"/>
                  </a:moveTo>
                  <a:lnTo>
                    <a:pt x="9442" y="787"/>
                  </a:lnTo>
                  <a:lnTo>
                    <a:pt x="6295" y="0"/>
                  </a:lnTo>
                  <a:lnTo>
                    <a:pt x="3540" y="0"/>
                  </a:lnTo>
                  <a:lnTo>
                    <a:pt x="393" y="2361"/>
                  </a:lnTo>
                  <a:lnTo>
                    <a:pt x="0" y="3147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09" name="Freeform: Shape 3203">
              <a:extLst>
                <a:ext uri="{FF2B5EF4-FFF2-40B4-BE49-F238E27FC236}">
                  <a16:creationId xmlns:a16="http://schemas.microsoft.com/office/drawing/2014/main" id="{4B749DD4-881B-431C-902C-2688CDEE341F}"/>
                </a:ext>
              </a:extLst>
            </p:cNvPr>
            <p:cNvSpPr/>
            <p:nvPr/>
          </p:nvSpPr>
          <p:spPr>
            <a:xfrm>
              <a:off x="7173988" y="1116089"/>
              <a:ext cx="43277" cy="3934"/>
            </a:xfrm>
            <a:custGeom>
              <a:avLst/>
              <a:gdLst>
                <a:gd name="connsiteX0" fmla="*/ 4721 w 43276"/>
                <a:gd name="connsiteY0" fmla="*/ 4328 h 3934"/>
                <a:gd name="connsiteX1" fmla="*/ 11016 w 43276"/>
                <a:gd name="connsiteY1" fmla="*/ 4328 h 3934"/>
                <a:gd name="connsiteX2" fmla="*/ 14163 w 43276"/>
                <a:gd name="connsiteY2" fmla="*/ 3934 h 3934"/>
                <a:gd name="connsiteX3" fmla="*/ 17311 w 43276"/>
                <a:gd name="connsiteY3" fmla="*/ 3934 h 3934"/>
                <a:gd name="connsiteX4" fmla="*/ 20458 w 43276"/>
                <a:gd name="connsiteY4" fmla="*/ 5115 h 3934"/>
                <a:gd name="connsiteX5" fmla="*/ 23606 w 43276"/>
                <a:gd name="connsiteY5" fmla="*/ 4328 h 3934"/>
                <a:gd name="connsiteX6" fmla="*/ 26753 w 43276"/>
                <a:gd name="connsiteY6" fmla="*/ 3934 h 3934"/>
                <a:gd name="connsiteX7" fmla="*/ 29507 w 43276"/>
                <a:gd name="connsiteY7" fmla="*/ 3147 h 3934"/>
                <a:gd name="connsiteX8" fmla="*/ 33048 w 43276"/>
                <a:gd name="connsiteY8" fmla="*/ 3147 h 3934"/>
                <a:gd name="connsiteX9" fmla="*/ 35802 w 43276"/>
                <a:gd name="connsiteY9" fmla="*/ 2754 h 3934"/>
                <a:gd name="connsiteX10" fmla="*/ 38949 w 43276"/>
                <a:gd name="connsiteY10" fmla="*/ 2361 h 3934"/>
                <a:gd name="connsiteX11" fmla="*/ 42096 w 43276"/>
                <a:gd name="connsiteY11" fmla="*/ 2754 h 3934"/>
                <a:gd name="connsiteX12" fmla="*/ 44851 w 43276"/>
                <a:gd name="connsiteY12" fmla="*/ 2361 h 3934"/>
                <a:gd name="connsiteX13" fmla="*/ 41703 w 43276"/>
                <a:gd name="connsiteY13" fmla="*/ 1574 h 3934"/>
                <a:gd name="connsiteX14" fmla="*/ 38162 w 43276"/>
                <a:gd name="connsiteY14" fmla="*/ 1967 h 3934"/>
                <a:gd name="connsiteX15" fmla="*/ 35408 w 43276"/>
                <a:gd name="connsiteY15" fmla="*/ 1180 h 3934"/>
                <a:gd name="connsiteX16" fmla="*/ 32261 w 43276"/>
                <a:gd name="connsiteY16" fmla="*/ 1180 h 3934"/>
                <a:gd name="connsiteX17" fmla="*/ 28720 w 43276"/>
                <a:gd name="connsiteY17" fmla="*/ 393 h 3934"/>
                <a:gd name="connsiteX18" fmla="*/ 25179 w 43276"/>
                <a:gd name="connsiteY18" fmla="*/ 393 h 3934"/>
                <a:gd name="connsiteX19" fmla="*/ 22032 w 43276"/>
                <a:gd name="connsiteY19" fmla="*/ 0 h 3934"/>
                <a:gd name="connsiteX20" fmla="*/ 18491 w 43276"/>
                <a:gd name="connsiteY20" fmla="*/ 0 h 3934"/>
                <a:gd name="connsiteX21" fmla="*/ 15344 w 43276"/>
                <a:gd name="connsiteY21" fmla="*/ 393 h 3934"/>
                <a:gd name="connsiteX22" fmla="*/ 18491 w 43276"/>
                <a:gd name="connsiteY22" fmla="*/ 2361 h 3934"/>
                <a:gd name="connsiteX23" fmla="*/ 21245 w 43276"/>
                <a:gd name="connsiteY23" fmla="*/ 3147 h 3934"/>
                <a:gd name="connsiteX24" fmla="*/ 18491 w 43276"/>
                <a:gd name="connsiteY24" fmla="*/ 3147 h 3934"/>
                <a:gd name="connsiteX25" fmla="*/ 15344 w 43276"/>
                <a:gd name="connsiteY25" fmla="*/ 2754 h 3934"/>
                <a:gd name="connsiteX26" fmla="*/ 12589 w 43276"/>
                <a:gd name="connsiteY26" fmla="*/ 2361 h 3934"/>
                <a:gd name="connsiteX27" fmla="*/ 9049 w 43276"/>
                <a:gd name="connsiteY27" fmla="*/ 2361 h 3934"/>
                <a:gd name="connsiteX28" fmla="*/ 6295 w 43276"/>
                <a:gd name="connsiteY28" fmla="*/ 1967 h 3934"/>
                <a:gd name="connsiteX29" fmla="*/ 3148 w 43276"/>
                <a:gd name="connsiteY29" fmla="*/ 1967 h 3934"/>
                <a:gd name="connsiteX30" fmla="*/ 0 w 43276"/>
                <a:gd name="connsiteY30" fmla="*/ 2754 h 3934"/>
                <a:gd name="connsiteX31" fmla="*/ 3148 w 43276"/>
                <a:gd name="connsiteY31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3276" h="3934">
                  <a:moveTo>
                    <a:pt x="4721" y="4328"/>
                  </a:moveTo>
                  <a:lnTo>
                    <a:pt x="11016" y="4328"/>
                  </a:lnTo>
                  <a:lnTo>
                    <a:pt x="14163" y="3934"/>
                  </a:lnTo>
                  <a:lnTo>
                    <a:pt x="17311" y="3934"/>
                  </a:lnTo>
                  <a:lnTo>
                    <a:pt x="20458" y="5115"/>
                  </a:lnTo>
                  <a:lnTo>
                    <a:pt x="23606" y="4328"/>
                  </a:lnTo>
                  <a:lnTo>
                    <a:pt x="26753" y="3934"/>
                  </a:lnTo>
                  <a:lnTo>
                    <a:pt x="29507" y="3147"/>
                  </a:lnTo>
                  <a:lnTo>
                    <a:pt x="33048" y="3147"/>
                  </a:lnTo>
                  <a:lnTo>
                    <a:pt x="35802" y="2754"/>
                  </a:lnTo>
                  <a:lnTo>
                    <a:pt x="38949" y="2361"/>
                  </a:lnTo>
                  <a:lnTo>
                    <a:pt x="42096" y="2754"/>
                  </a:lnTo>
                  <a:lnTo>
                    <a:pt x="44851" y="2361"/>
                  </a:lnTo>
                  <a:lnTo>
                    <a:pt x="41703" y="1574"/>
                  </a:lnTo>
                  <a:lnTo>
                    <a:pt x="38162" y="1967"/>
                  </a:lnTo>
                  <a:lnTo>
                    <a:pt x="35408" y="1180"/>
                  </a:lnTo>
                  <a:lnTo>
                    <a:pt x="32261" y="1180"/>
                  </a:lnTo>
                  <a:lnTo>
                    <a:pt x="28720" y="393"/>
                  </a:lnTo>
                  <a:lnTo>
                    <a:pt x="25179" y="393"/>
                  </a:lnTo>
                  <a:lnTo>
                    <a:pt x="22032" y="0"/>
                  </a:lnTo>
                  <a:lnTo>
                    <a:pt x="18491" y="0"/>
                  </a:lnTo>
                  <a:lnTo>
                    <a:pt x="15344" y="393"/>
                  </a:lnTo>
                  <a:lnTo>
                    <a:pt x="18491" y="2361"/>
                  </a:lnTo>
                  <a:lnTo>
                    <a:pt x="21245" y="3147"/>
                  </a:lnTo>
                  <a:lnTo>
                    <a:pt x="18491" y="3147"/>
                  </a:lnTo>
                  <a:lnTo>
                    <a:pt x="15344" y="2754"/>
                  </a:lnTo>
                  <a:lnTo>
                    <a:pt x="12589" y="2361"/>
                  </a:lnTo>
                  <a:lnTo>
                    <a:pt x="9049" y="2361"/>
                  </a:lnTo>
                  <a:lnTo>
                    <a:pt x="6295" y="1967"/>
                  </a:lnTo>
                  <a:lnTo>
                    <a:pt x="3148" y="1967"/>
                  </a:lnTo>
                  <a:lnTo>
                    <a:pt x="0" y="2754"/>
                  </a:lnTo>
                  <a:lnTo>
                    <a:pt x="3148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10" name="Freeform: Shape 3204">
              <a:extLst>
                <a:ext uri="{FF2B5EF4-FFF2-40B4-BE49-F238E27FC236}">
                  <a16:creationId xmlns:a16="http://schemas.microsoft.com/office/drawing/2014/main" id="{F8C3720A-4150-4986-B4CB-C7BE0D89A174}"/>
                </a:ext>
              </a:extLst>
            </p:cNvPr>
            <p:cNvSpPr/>
            <p:nvPr/>
          </p:nvSpPr>
          <p:spPr>
            <a:xfrm>
              <a:off x="7196414" y="1112548"/>
              <a:ext cx="27540" cy="3934"/>
            </a:xfrm>
            <a:custGeom>
              <a:avLst/>
              <a:gdLst>
                <a:gd name="connsiteX0" fmla="*/ 6295 w 27539"/>
                <a:gd name="connsiteY0" fmla="*/ 2754 h 3934"/>
                <a:gd name="connsiteX1" fmla="*/ 12197 w 27539"/>
                <a:gd name="connsiteY1" fmla="*/ 2754 h 3934"/>
                <a:gd name="connsiteX2" fmla="*/ 14950 w 27539"/>
                <a:gd name="connsiteY2" fmla="*/ 3541 h 3934"/>
                <a:gd name="connsiteX3" fmla="*/ 18098 w 27539"/>
                <a:gd name="connsiteY3" fmla="*/ 3541 h 3934"/>
                <a:gd name="connsiteX4" fmla="*/ 25179 w 27539"/>
                <a:gd name="connsiteY4" fmla="*/ 4328 h 3934"/>
                <a:gd name="connsiteX5" fmla="*/ 27540 w 27539"/>
                <a:gd name="connsiteY5" fmla="*/ 3934 h 3934"/>
                <a:gd name="connsiteX6" fmla="*/ 31081 w 27539"/>
                <a:gd name="connsiteY6" fmla="*/ 2754 h 3934"/>
                <a:gd name="connsiteX7" fmla="*/ 27934 w 27539"/>
                <a:gd name="connsiteY7" fmla="*/ 1967 h 3934"/>
                <a:gd name="connsiteX8" fmla="*/ 24786 w 27539"/>
                <a:gd name="connsiteY8" fmla="*/ 1574 h 3934"/>
                <a:gd name="connsiteX9" fmla="*/ 21638 w 27539"/>
                <a:gd name="connsiteY9" fmla="*/ 1574 h 3934"/>
                <a:gd name="connsiteX10" fmla="*/ 18885 w 27539"/>
                <a:gd name="connsiteY10" fmla="*/ 787 h 3934"/>
                <a:gd name="connsiteX11" fmla="*/ 15344 w 27539"/>
                <a:gd name="connsiteY11" fmla="*/ 0 h 3934"/>
                <a:gd name="connsiteX12" fmla="*/ 12197 w 27539"/>
                <a:gd name="connsiteY12" fmla="*/ 787 h 3934"/>
                <a:gd name="connsiteX13" fmla="*/ 9049 w 27539"/>
                <a:gd name="connsiteY13" fmla="*/ 787 h 3934"/>
                <a:gd name="connsiteX14" fmla="*/ 5901 w 27539"/>
                <a:gd name="connsiteY14" fmla="*/ 787 h 3934"/>
                <a:gd name="connsiteX15" fmla="*/ 3148 w 27539"/>
                <a:gd name="connsiteY15" fmla="*/ 1574 h 3934"/>
                <a:gd name="connsiteX16" fmla="*/ 0 w 27539"/>
                <a:gd name="connsiteY16" fmla="*/ 2754 h 3934"/>
                <a:gd name="connsiteX17" fmla="*/ 2754 w 27539"/>
                <a:gd name="connsiteY17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539" h="3934">
                  <a:moveTo>
                    <a:pt x="6295" y="2754"/>
                  </a:moveTo>
                  <a:lnTo>
                    <a:pt x="12197" y="2754"/>
                  </a:lnTo>
                  <a:lnTo>
                    <a:pt x="14950" y="3541"/>
                  </a:lnTo>
                  <a:lnTo>
                    <a:pt x="18098" y="3541"/>
                  </a:lnTo>
                  <a:lnTo>
                    <a:pt x="25179" y="4328"/>
                  </a:lnTo>
                  <a:lnTo>
                    <a:pt x="27540" y="3934"/>
                  </a:lnTo>
                  <a:lnTo>
                    <a:pt x="31081" y="2754"/>
                  </a:lnTo>
                  <a:lnTo>
                    <a:pt x="27934" y="1967"/>
                  </a:lnTo>
                  <a:lnTo>
                    <a:pt x="24786" y="1574"/>
                  </a:lnTo>
                  <a:lnTo>
                    <a:pt x="21638" y="1574"/>
                  </a:lnTo>
                  <a:lnTo>
                    <a:pt x="18885" y="787"/>
                  </a:lnTo>
                  <a:lnTo>
                    <a:pt x="15344" y="0"/>
                  </a:lnTo>
                  <a:lnTo>
                    <a:pt x="12197" y="787"/>
                  </a:lnTo>
                  <a:lnTo>
                    <a:pt x="9049" y="787"/>
                  </a:lnTo>
                  <a:lnTo>
                    <a:pt x="5901" y="787"/>
                  </a:lnTo>
                  <a:lnTo>
                    <a:pt x="3148" y="1574"/>
                  </a:lnTo>
                  <a:lnTo>
                    <a:pt x="0" y="2754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11" name="Freeform: Shape 3205">
              <a:extLst>
                <a:ext uri="{FF2B5EF4-FFF2-40B4-BE49-F238E27FC236}">
                  <a16:creationId xmlns:a16="http://schemas.microsoft.com/office/drawing/2014/main" id="{DC0715DC-AA33-4693-85D4-17EE7A45EDB9}"/>
                </a:ext>
              </a:extLst>
            </p:cNvPr>
            <p:cNvSpPr/>
            <p:nvPr/>
          </p:nvSpPr>
          <p:spPr>
            <a:xfrm>
              <a:off x="7205463" y="1119629"/>
              <a:ext cx="15737" cy="3934"/>
            </a:xfrm>
            <a:custGeom>
              <a:avLst/>
              <a:gdLst>
                <a:gd name="connsiteX0" fmla="*/ 6295 w 15737"/>
                <a:gd name="connsiteY0" fmla="*/ 2361 h 0"/>
                <a:gd name="connsiteX1" fmla="*/ 10229 w 15737"/>
                <a:gd name="connsiteY1" fmla="*/ 2361 h 0"/>
                <a:gd name="connsiteX2" fmla="*/ 12983 w 15737"/>
                <a:gd name="connsiteY2" fmla="*/ 1574 h 0"/>
                <a:gd name="connsiteX3" fmla="*/ 16130 w 15737"/>
                <a:gd name="connsiteY3" fmla="*/ 0 h 0"/>
                <a:gd name="connsiteX4" fmla="*/ 9836 w 15737"/>
                <a:gd name="connsiteY4" fmla="*/ 0 h 0"/>
                <a:gd name="connsiteX5" fmla="*/ 6688 w 15737"/>
                <a:gd name="connsiteY5" fmla="*/ 393 h 0"/>
                <a:gd name="connsiteX6" fmla="*/ 3148 w 15737"/>
                <a:gd name="connsiteY6" fmla="*/ 787 h 0"/>
                <a:gd name="connsiteX7" fmla="*/ 393 w 15737"/>
                <a:gd name="connsiteY7" fmla="*/ 1180 h 0"/>
                <a:gd name="connsiteX8" fmla="*/ 0 w 15737"/>
                <a:gd name="connsiteY8" fmla="*/ 1574 h 0"/>
                <a:gd name="connsiteX9" fmla="*/ 3148 w 15737"/>
                <a:gd name="connsiteY9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37">
                  <a:moveTo>
                    <a:pt x="6295" y="2361"/>
                  </a:moveTo>
                  <a:lnTo>
                    <a:pt x="10229" y="2361"/>
                  </a:lnTo>
                  <a:lnTo>
                    <a:pt x="12983" y="1574"/>
                  </a:lnTo>
                  <a:lnTo>
                    <a:pt x="16130" y="0"/>
                  </a:lnTo>
                  <a:lnTo>
                    <a:pt x="9836" y="0"/>
                  </a:lnTo>
                  <a:lnTo>
                    <a:pt x="6688" y="393"/>
                  </a:lnTo>
                  <a:lnTo>
                    <a:pt x="3148" y="787"/>
                  </a:lnTo>
                  <a:lnTo>
                    <a:pt x="393" y="1180"/>
                  </a:lnTo>
                  <a:lnTo>
                    <a:pt x="0" y="1574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12" name="Freeform: Shape 3206">
              <a:extLst>
                <a:ext uri="{FF2B5EF4-FFF2-40B4-BE49-F238E27FC236}">
                  <a16:creationId xmlns:a16="http://schemas.microsoft.com/office/drawing/2014/main" id="{1FAC5DB1-0BD6-472F-B72E-EFE0E2E12C23}"/>
                </a:ext>
              </a:extLst>
            </p:cNvPr>
            <p:cNvSpPr/>
            <p:nvPr/>
          </p:nvSpPr>
          <p:spPr>
            <a:xfrm>
              <a:off x="7212938" y="1106646"/>
              <a:ext cx="23606" cy="3934"/>
            </a:xfrm>
            <a:custGeom>
              <a:avLst/>
              <a:gdLst>
                <a:gd name="connsiteX0" fmla="*/ 393 w 23605"/>
                <a:gd name="connsiteY0" fmla="*/ 3147 h 0"/>
                <a:gd name="connsiteX1" fmla="*/ 3541 w 23605"/>
                <a:gd name="connsiteY1" fmla="*/ 3541 h 0"/>
                <a:gd name="connsiteX2" fmla="*/ 4721 w 23605"/>
                <a:gd name="connsiteY2" fmla="*/ 3541 h 0"/>
                <a:gd name="connsiteX3" fmla="*/ 7869 w 23605"/>
                <a:gd name="connsiteY3" fmla="*/ 2754 h 0"/>
                <a:gd name="connsiteX4" fmla="*/ 10622 w 23605"/>
                <a:gd name="connsiteY4" fmla="*/ 2361 h 0"/>
                <a:gd name="connsiteX5" fmla="*/ 13770 w 23605"/>
                <a:gd name="connsiteY5" fmla="*/ 2361 h 0"/>
                <a:gd name="connsiteX6" fmla="*/ 16524 w 23605"/>
                <a:gd name="connsiteY6" fmla="*/ 2361 h 0"/>
                <a:gd name="connsiteX7" fmla="*/ 19671 w 23605"/>
                <a:gd name="connsiteY7" fmla="*/ 2361 h 0"/>
                <a:gd name="connsiteX8" fmla="*/ 22818 w 23605"/>
                <a:gd name="connsiteY8" fmla="*/ 2361 h 0"/>
                <a:gd name="connsiteX9" fmla="*/ 25966 w 23605"/>
                <a:gd name="connsiteY9" fmla="*/ 393 h 0"/>
                <a:gd name="connsiteX10" fmla="*/ 22818 w 23605"/>
                <a:gd name="connsiteY10" fmla="*/ 0 h 0"/>
                <a:gd name="connsiteX11" fmla="*/ 12589 w 23605"/>
                <a:gd name="connsiteY11" fmla="*/ 0 h 0"/>
                <a:gd name="connsiteX12" fmla="*/ 9442 w 23605"/>
                <a:gd name="connsiteY12" fmla="*/ 393 h 0"/>
                <a:gd name="connsiteX13" fmla="*/ 6688 w 23605"/>
                <a:gd name="connsiteY13" fmla="*/ 393 h 0"/>
                <a:gd name="connsiteX14" fmla="*/ 3147 w 23605"/>
                <a:gd name="connsiteY14" fmla="*/ 393 h 0"/>
                <a:gd name="connsiteX15" fmla="*/ 0 w 23605"/>
                <a:gd name="connsiteY15" fmla="*/ 1180 h 0"/>
                <a:gd name="connsiteX16" fmla="*/ 3147 w 23605"/>
                <a:gd name="connsiteY16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605">
                  <a:moveTo>
                    <a:pt x="393" y="3147"/>
                  </a:moveTo>
                  <a:lnTo>
                    <a:pt x="3541" y="3541"/>
                  </a:lnTo>
                  <a:lnTo>
                    <a:pt x="4721" y="3541"/>
                  </a:lnTo>
                  <a:lnTo>
                    <a:pt x="7869" y="2754"/>
                  </a:lnTo>
                  <a:lnTo>
                    <a:pt x="10622" y="2361"/>
                  </a:lnTo>
                  <a:lnTo>
                    <a:pt x="13770" y="2361"/>
                  </a:lnTo>
                  <a:lnTo>
                    <a:pt x="16524" y="2361"/>
                  </a:lnTo>
                  <a:lnTo>
                    <a:pt x="19671" y="2361"/>
                  </a:lnTo>
                  <a:lnTo>
                    <a:pt x="22818" y="2361"/>
                  </a:lnTo>
                  <a:lnTo>
                    <a:pt x="25966" y="393"/>
                  </a:lnTo>
                  <a:lnTo>
                    <a:pt x="22818" y="0"/>
                  </a:lnTo>
                  <a:lnTo>
                    <a:pt x="12589" y="0"/>
                  </a:lnTo>
                  <a:lnTo>
                    <a:pt x="9442" y="393"/>
                  </a:lnTo>
                  <a:lnTo>
                    <a:pt x="6688" y="393"/>
                  </a:lnTo>
                  <a:lnTo>
                    <a:pt x="3147" y="393"/>
                  </a:lnTo>
                  <a:lnTo>
                    <a:pt x="0" y="118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13" name="Freeform: Shape 3207">
              <a:extLst>
                <a:ext uri="{FF2B5EF4-FFF2-40B4-BE49-F238E27FC236}">
                  <a16:creationId xmlns:a16="http://schemas.microsoft.com/office/drawing/2014/main" id="{AFBFFD12-F7DC-428B-BF0C-4F02A2530ACA}"/>
                </a:ext>
              </a:extLst>
            </p:cNvPr>
            <p:cNvSpPr/>
            <p:nvPr/>
          </p:nvSpPr>
          <p:spPr>
            <a:xfrm>
              <a:off x="7221593" y="1122383"/>
              <a:ext cx="15737" cy="3934"/>
            </a:xfrm>
            <a:custGeom>
              <a:avLst/>
              <a:gdLst>
                <a:gd name="connsiteX0" fmla="*/ 0 w 15737"/>
                <a:gd name="connsiteY0" fmla="*/ 1180 h 0"/>
                <a:gd name="connsiteX1" fmla="*/ 787 w 15737"/>
                <a:gd name="connsiteY1" fmla="*/ 1574 h 0"/>
                <a:gd name="connsiteX2" fmla="*/ 3541 w 15737"/>
                <a:gd name="connsiteY2" fmla="*/ 1967 h 0"/>
                <a:gd name="connsiteX3" fmla="*/ 6295 w 15737"/>
                <a:gd name="connsiteY3" fmla="*/ 2754 h 0"/>
                <a:gd name="connsiteX4" fmla="*/ 9442 w 15737"/>
                <a:gd name="connsiteY4" fmla="*/ 3147 h 0"/>
                <a:gd name="connsiteX5" fmla="*/ 12983 w 15737"/>
                <a:gd name="connsiteY5" fmla="*/ 3147 h 0"/>
                <a:gd name="connsiteX6" fmla="*/ 16130 w 15737"/>
                <a:gd name="connsiteY6" fmla="*/ 1574 h 0"/>
                <a:gd name="connsiteX7" fmla="*/ 12983 w 15737"/>
                <a:gd name="connsiteY7" fmla="*/ 787 h 0"/>
                <a:gd name="connsiteX8" fmla="*/ 9836 w 15737"/>
                <a:gd name="connsiteY8" fmla="*/ 393 h 0"/>
                <a:gd name="connsiteX9" fmla="*/ 7082 w 15737"/>
                <a:gd name="connsiteY9" fmla="*/ 0 h 0"/>
                <a:gd name="connsiteX10" fmla="*/ 3541 w 15737"/>
                <a:gd name="connsiteY10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737">
                  <a:moveTo>
                    <a:pt x="0" y="1180"/>
                  </a:moveTo>
                  <a:lnTo>
                    <a:pt x="787" y="1574"/>
                  </a:lnTo>
                  <a:lnTo>
                    <a:pt x="3541" y="1967"/>
                  </a:lnTo>
                  <a:lnTo>
                    <a:pt x="6295" y="2754"/>
                  </a:lnTo>
                  <a:lnTo>
                    <a:pt x="9442" y="3147"/>
                  </a:lnTo>
                  <a:lnTo>
                    <a:pt x="12983" y="3147"/>
                  </a:lnTo>
                  <a:lnTo>
                    <a:pt x="16130" y="1574"/>
                  </a:lnTo>
                  <a:lnTo>
                    <a:pt x="12983" y="787"/>
                  </a:lnTo>
                  <a:lnTo>
                    <a:pt x="9836" y="393"/>
                  </a:lnTo>
                  <a:lnTo>
                    <a:pt x="7082" y="0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14" name="Freeform: Shape 3208">
              <a:extLst>
                <a:ext uri="{FF2B5EF4-FFF2-40B4-BE49-F238E27FC236}">
                  <a16:creationId xmlns:a16="http://schemas.microsoft.com/office/drawing/2014/main" id="{C2042D7C-41C7-46FE-8377-3C2AD4D30A01}"/>
                </a:ext>
              </a:extLst>
            </p:cNvPr>
            <p:cNvSpPr/>
            <p:nvPr/>
          </p:nvSpPr>
          <p:spPr>
            <a:xfrm>
              <a:off x="7228675" y="1116089"/>
              <a:ext cx="15737" cy="3934"/>
            </a:xfrm>
            <a:custGeom>
              <a:avLst/>
              <a:gdLst>
                <a:gd name="connsiteX0" fmla="*/ 6295 w 15737"/>
                <a:gd name="connsiteY0" fmla="*/ 0 h 0"/>
                <a:gd name="connsiteX1" fmla="*/ 3147 w 15737"/>
                <a:gd name="connsiteY1" fmla="*/ 393 h 0"/>
                <a:gd name="connsiteX2" fmla="*/ 0 w 15737"/>
                <a:gd name="connsiteY2" fmla="*/ 1180 h 0"/>
                <a:gd name="connsiteX3" fmla="*/ 3147 w 15737"/>
                <a:gd name="connsiteY3" fmla="*/ 1967 h 0"/>
                <a:gd name="connsiteX4" fmla="*/ 5901 w 15737"/>
                <a:gd name="connsiteY4" fmla="*/ 1967 h 0"/>
                <a:gd name="connsiteX5" fmla="*/ 9442 w 15737"/>
                <a:gd name="connsiteY5" fmla="*/ 2361 h 0"/>
                <a:gd name="connsiteX6" fmla="*/ 12983 w 15737"/>
                <a:gd name="connsiteY6" fmla="*/ 2361 h 0"/>
                <a:gd name="connsiteX7" fmla="*/ 16130 w 15737"/>
                <a:gd name="connsiteY7" fmla="*/ 1180 h 0"/>
                <a:gd name="connsiteX8" fmla="*/ 12983 w 15737"/>
                <a:gd name="connsiteY8" fmla="*/ 393 h 0"/>
                <a:gd name="connsiteX9" fmla="*/ 9836 w 15737"/>
                <a:gd name="connsiteY9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37">
                  <a:moveTo>
                    <a:pt x="6295" y="0"/>
                  </a:moveTo>
                  <a:lnTo>
                    <a:pt x="3147" y="393"/>
                  </a:lnTo>
                  <a:lnTo>
                    <a:pt x="0" y="1180"/>
                  </a:lnTo>
                  <a:lnTo>
                    <a:pt x="3147" y="1967"/>
                  </a:lnTo>
                  <a:lnTo>
                    <a:pt x="5901" y="1967"/>
                  </a:lnTo>
                  <a:lnTo>
                    <a:pt x="9442" y="2361"/>
                  </a:lnTo>
                  <a:lnTo>
                    <a:pt x="12983" y="2361"/>
                  </a:lnTo>
                  <a:lnTo>
                    <a:pt x="16130" y="1180"/>
                  </a:lnTo>
                  <a:lnTo>
                    <a:pt x="12983" y="393"/>
                  </a:lnTo>
                  <a:lnTo>
                    <a:pt x="9836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15" name="Freeform: Shape 3209">
              <a:extLst>
                <a:ext uri="{FF2B5EF4-FFF2-40B4-BE49-F238E27FC236}">
                  <a16:creationId xmlns:a16="http://schemas.microsoft.com/office/drawing/2014/main" id="{26214A07-FD19-4E4F-9A18-D4D4551A58DB}"/>
                </a:ext>
              </a:extLst>
            </p:cNvPr>
            <p:cNvSpPr/>
            <p:nvPr/>
          </p:nvSpPr>
          <p:spPr>
            <a:xfrm>
              <a:off x="7285328" y="1111761"/>
              <a:ext cx="3934" cy="3934"/>
            </a:xfrm>
            <a:custGeom>
              <a:avLst/>
              <a:gdLst>
                <a:gd name="connsiteX0" fmla="*/ 3540 w 3934"/>
                <a:gd name="connsiteY0" fmla="*/ 1180 h 0"/>
                <a:gd name="connsiteX1" fmla="*/ 6295 w 3934"/>
                <a:gd name="connsiteY1" fmla="*/ 393 h 0"/>
                <a:gd name="connsiteX2" fmla="*/ 3147 w 3934"/>
                <a:gd name="connsiteY2" fmla="*/ 0 h 0"/>
                <a:gd name="connsiteX3" fmla="*/ 0 w 3934"/>
                <a:gd name="connsiteY3" fmla="*/ 0 h 0"/>
                <a:gd name="connsiteX4" fmla="*/ 393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540" y="1180"/>
                  </a:moveTo>
                  <a:lnTo>
                    <a:pt x="6295" y="393"/>
                  </a:lnTo>
                  <a:lnTo>
                    <a:pt x="3147" y="0"/>
                  </a:lnTo>
                  <a:lnTo>
                    <a:pt x="0" y="0"/>
                  </a:lnTo>
                  <a:lnTo>
                    <a:pt x="393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16" name="Freeform: Shape 3210">
              <a:extLst>
                <a:ext uri="{FF2B5EF4-FFF2-40B4-BE49-F238E27FC236}">
                  <a16:creationId xmlns:a16="http://schemas.microsoft.com/office/drawing/2014/main" id="{FE36C8A5-5734-46FA-837C-247B047E4309}"/>
                </a:ext>
              </a:extLst>
            </p:cNvPr>
            <p:cNvSpPr/>
            <p:nvPr/>
          </p:nvSpPr>
          <p:spPr>
            <a:xfrm>
              <a:off x="7290836" y="1109007"/>
              <a:ext cx="27540" cy="3934"/>
            </a:xfrm>
            <a:custGeom>
              <a:avLst/>
              <a:gdLst>
                <a:gd name="connsiteX0" fmla="*/ 5115 w 27539"/>
                <a:gd name="connsiteY0" fmla="*/ 1574 h 0"/>
                <a:gd name="connsiteX1" fmla="*/ 8262 w 27539"/>
                <a:gd name="connsiteY1" fmla="*/ 2361 h 0"/>
                <a:gd name="connsiteX2" fmla="*/ 11803 w 27539"/>
                <a:gd name="connsiteY2" fmla="*/ 2361 h 0"/>
                <a:gd name="connsiteX3" fmla="*/ 14557 w 27539"/>
                <a:gd name="connsiteY3" fmla="*/ 2754 h 0"/>
                <a:gd name="connsiteX4" fmla="*/ 18098 w 27539"/>
                <a:gd name="connsiteY4" fmla="*/ 3147 h 0"/>
                <a:gd name="connsiteX5" fmla="*/ 24786 w 27539"/>
                <a:gd name="connsiteY5" fmla="*/ 3147 h 0"/>
                <a:gd name="connsiteX6" fmla="*/ 27934 w 27539"/>
                <a:gd name="connsiteY6" fmla="*/ 1180 h 0"/>
                <a:gd name="connsiteX7" fmla="*/ 25179 w 27539"/>
                <a:gd name="connsiteY7" fmla="*/ 393 h 0"/>
                <a:gd name="connsiteX8" fmla="*/ 22032 w 27539"/>
                <a:gd name="connsiteY8" fmla="*/ 0 h 0"/>
                <a:gd name="connsiteX9" fmla="*/ 18885 w 27539"/>
                <a:gd name="connsiteY9" fmla="*/ 0 h 0"/>
                <a:gd name="connsiteX10" fmla="*/ 15737 w 27539"/>
                <a:gd name="connsiteY10" fmla="*/ 393 h 0"/>
                <a:gd name="connsiteX11" fmla="*/ 12590 w 27539"/>
                <a:gd name="connsiteY11" fmla="*/ 787 h 0"/>
                <a:gd name="connsiteX12" fmla="*/ 9836 w 27539"/>
                <a:gd name="connsiteY12" fmla="*/ 0 h 0"/>
                <a:gd name="connsiteX13" fmla="*/ 6689 w 27539"/>
                <a:gd name="connsiteY13" fmla="*/ 393 h 0"/>
                <a:gd name="connsiteX14" fmla="*/ 3541 w 27539"/>
                <a:gd name="connsiteY14" fmla="*/ 393 h 0"/>
                <a:gd name="connsiteX15" fmla="*/ 0 w 27539"/>
                <a:gd name="connsiteY15" fmla="*/ 1180 h 0"/>
                <a:gd name="connsiteX16" fmla="*/ 1574 w 27539"/>
                <a:gd name="connsiteY16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539">
                  <a:moveTo>
                    <a:pt x="5115" y="1574"/>
                  </a:moveTo>
                  <a:lnTo>
                    <a:pt x="8262" y="2361"/>
                  </a:lnTo>
                  <a:lnTo>
                    <a:pt x="11803" y="2361"/>
                  </a:lnTo>
                  <a:lnTo>
                    <a:pt x="14557" y="2754"/>
                  </a:lnTo>
                  <a:lnTo>
                    <a:pt x="18098" y="3147"/>
                  </a:lnTo>
                  <a:lnTo>
                    <a:pt x="24786" y="3147"/>
                  </a:lnTo>
                  <a:lnTo>
                    <a:pt x="27934" y="1180"/>
                  </a:lnTo>
                  <a:lnTo>
                    <a:pt x="25179" y="393"/>
                  </a:lnTo>
                  <a:lnTo>
                    <a:pt x="22032" y="0"/>
                  </a:lnTo>
                  <a:lnTo>
                    <a:pt x="18885" y="0"/>
                  </a:lnTo>
                  <a:lnTo>
                    <a:pt x="15737" y="393"/>
                  </a:lnTo>
                  <a:lnTo>
                    <a:pt x="12590" y="787"/>
                  </a:lnTo>
                  <a:lnTo>
                    <a:pt x="9836" y="0"/>
                  </a:lnTo>
                  <a:lnTo>
                    <a:pt x="6689" y="393"/>
                  </a:lnTo>
                  <a:lnTo>
                    <a:pt x="3541" y="393"/>
                  </a:lnTo>
                  <a:lnTo>
                    <a:pt x="0" y="1180"/>
                  </a:lnTo>
                  <a:lnTo>
                    <a:pt x="157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17" name="Freeform: Shape 3211">
              <a:extLst>
                <a:ext uri="{FF2B5EF4-FFF2-40B4-BE49-F238E27FC236}">
                  <a16:creationId xmlns:a16="http://schemas.microsoft.com/office/drawing/2014/main" id="{358B233C-B376-49BF-B317-BC84B0009283}"/>
                </a:ext>
              </a:extLst>
            </p:cNvPr>
            <p:cNvSpPr/>
            <p:nvPr/>
          </p:nvSpPr>
          <p:spPr>
            <a:xfrm>
              <a:off x="7153530" y="1127105"/>
              <a:ext cx="35408" cy="3934"/>
            </a:xfrm>
            <a:custGeom>
              <a:avLst/>
              <a:gdLst>
                <a:gd name="connsiteX0" fmla="*/ 0 w 35408"/>
                <a:gd name="connsiteY0" fmla="*/ 1180 h 0"/>
                <a:gd name="connsiteX1" fmla="*/ 3147 w 35408"/>
                <a:gd name="connsiteY1" fmla="*/ 2361 h 0"/>
                <a:gd name="connsiteX2" fmla="*/ 9049 w 35408"/>
                <a:gd name="connsiteY2" fmla="*/ 2361 h 0"/>
                <a:gd name="connsiteX3" fmla="*/ 12196 w 35408"/>
                <a:gd name="connsiteY3" fmla="*/ 2361 h 0"/>
                <a:gd name="connsiteX4" fmla="*/ 15343 w 35408"/>
                <a:gd name="connsiteY4" fmla="*/ 3147 h 0"/>
                <a:gd name="connsiteX5" fmla="*/ 18491 w 35408"/>
                <a:gd name="connsiteY5" fmla="*/ 3541 h 0"/>
                <a:gd name="connsiteX6" fmla="*/ 21638 w 35408"/>
                <a:gd name="connsiteY6" fmla="*/ 3147 h 0"/>
                <a:gd name="connsiteX7" fmla="*/ 24786 w 35408"/>
                <a:gd name="connsiteY7" fmla="*/ 2754 h 0"/>
                <a:gd name="connsiteX8" fmla="*/ 27933 w 35408"/>
                <a:gd name="connsiteY8" fmla="*/ 2754 h 0"/>
                <a:gd name="connsiteX9" fmla="*/ 31080 w 35408"/>
                <a:gd name="connsiteY9" fmla="*/ 2361 h 0"/>
                <a:gd name="connsiteX10" fmla="*/ 33835 w 35408"/>
                <a:gd name="connsiteY10" fmla="*/ 2361 h 0"/>
                <a:gd name="connsiteX11" fmla="*/ 37376 w 35408"/>
                <a:gd name="connsiteY11" fmla="*/ 1967 h 0"/>
                <a:gd name="connsiteX12" fmla="*/ 33835 w 35408"/>
                <a:gd name="connsiteY12" fmla="*/ 1574 h 0"/>
                <a:gd name="connsiteX13" fmla="*/ 30687 w 35408"/>
                <a:gd name="connsiteY13" fmla="*/ 1180 h 0"/>
                <a:gd name="connsiteX14" fmla="*/ 27540 w 35408"/>
                <a:gd name="connsiteY14" fmla="*/ 787 h 0"/>
                <a:gd name="connsiteX15" fmla="*/ 24786 w 35408"/>
                <a:gd name="connsiteY15" fmla="*/ 393 h 0"/>
                <a:gd name="connsiteX16" fmla="*/ 21638 w 35408"/>
                <a:gd name="connsiteY16" fmla="*/ 0 h 0"/>
                <a:gd name="connsiteX17" fmla="*/ 18884 w 35408"/>
                <a:gd name="connsiteY17" fmla="*/ 0 h 0"/>
                <a:gd name="connsiteX18" fmla="*/ 16130 w 35408"/>
                <a:gd name="connsiteY18" fmla="*/ 1180 h 0"/>
                <a:gd name="connsiteX19" fmla="*/ 12983 w 35408"/>
                <a:gd name="connsiteY19" fmla="*/ 393 h 0"/>
                <a:gd name="connsiteX20" fmla="*/ 9836 w 35408"/>
                <a:gd name="connsiteY20" fmla="*/ 787 h 0"/>
                <a:gd name="connsiteX21" fmla="*/ 3540 w 35408"/>
                <a:gd name="connsiteY21" fmla="*/ 787 h 0"/>
                <a:gd name="connsiteX22" fmla="*/ 393 w 35408"/>
                <a:gd name="connsiteY2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5408">
                  <a:moveTo>
                    <a:pt x="0" y="1180"/>
                  </a:moveTo>
                  <a:lnTo>
                    <a:pt x="3147" y="2361"/>
                  </a:lnTo>
                  <a:lnTo>
                    <a:pt x="9049" y="2361"/>
                  </a:lnTo>
                  <a:lnTo>
                    <a:pt x="12196" y="2361"/>
                  </a:lnTo>
                  <a:lnTo>
                    <a:pt x="15343" y="3147"/>
                  </a:lnTo>
                  <a:lnTo>
                    <a:pt x="18491" y="3541"/>
                  </a:lnTo>
                  <a:lnTo>
                    <a:pt x="21638" y="3147"/>
                  </a:lnTo>
                  <a:lnTo>
                    <a:pt x="24786" y="2754"/>
                  </a:lnTo>
                  <a:lnTo>
                    <a:pt x="27933" y="2754"/>
                  </a:lnTo>
                  <a:lnTo>
                    <a:pt x="31080" y="2361"/>
                  </a:lnTo>
                  <a:lnTo>
                    <a:pt x="33835" y="2361"/>
                  </a:lnTo>
                  <a:lnTo>
                    <a:pt x="37376" y="1967"/>
                  </a:lnTo>
                  <a:lnTo>
                    <a:pt x="33835" y="1574"/>
                  </a:lnTo>
                  <a:lnTo>
                    <a:pt x="30687" y="1180"/>
                  </a:lnTo>
                  <a:lnTo>
                    <a:pt x="27540" y="787"/>
                  </a:lnTo>
                  <a:lnTo>
                    <a:pt x="24786" y="393"/>
                  </a:lnTo>
                  <a:lnTo>
                    <a:pt x="21638" y="0"/>
                  </a:lnTo>
                  <a:lnTo>
                    <a:pt x="18884" y="0"/>
                  </a:lnTo>
                  <a:lnTo>
                    <a:pt x="16130" y="1180"/>
                  </a:lnTo>
                  <a:lnTo>
                    <a:pt x="12983" y="393"/>
                  </a:lnTo>
                  <a:lnTo>
                    <a:pt x="9836" y="787"/>
                  </a:lnTo>
                  <a:lnTo>
                    <a:pt x="3540" y="787"/>
                  </a:lnTo>
                  <a:lnTo>
                    <a:pt x="393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18" name="Freeform: Shape 3212">
              <a:extLst>
                <a:ext uri="{FF2B5EF4-FFF2-40B4-BE49-F238E27FC236}">
                  <a16:creationId xmlns:a16="http://schemas.microsoft.com/office/drawing/2014/main" id="{3C90DF65-241E-49F7-803B-FAB38B838C18}"/>
                </a:ext>
              </a:extLst>
            </p:cNvPr>
            <p:cNvSpPr/>
            <p:nvPr/>
          </p:nvSpPr>
          <p:spPr>
            <a:xfrm>
              <a:off x="7159038" y="1121990"/>
              <a:ext cx="59014" cy="7869"/>
            </a:xfrm>
            <a:custGeom>
              <a:avLst/>
              <a:gdLst>
                <a:gd name="connsiteX0" fmla="*/ 5901 w 59013"/>
                <a:gd name="connsiteY0" fmla="*/ 2754 h 7868"/>
                <a:gd name="connsiteX1" fmla="*/ 9049 w 59013"/>
                <a:gd name="connsiteY1" fmla="*/ 3541 h 7868"/>
                <a:gd name="connsiteX2" fmla="*/ 12197 w 59013"/>
                <a:gd name="connsiteY2" fmla="*/ 3541 h 7868"/>
                <a:gd name="connsiteX3" fmla="*/ 15344 w 59013"/>
                <a:gd name="connsiteY3" fmla="*/ 3541 h 7868"/>
                <a:gd name="connsiteX4" fmla="*/ 18885 w 59013"/>
                <a:gd name="connsiteY4" fmla="*/ 3934 h 7868"/>
                <a:gd name="connsiteX5" fmla="*/ 21638 w 59013"/>
                <a:gd name="connsiteY5" fmla="*/ 4721 h 7868"/>
                <a:gd name="connsiteX6" fmla="*/ 24393 w 59013"/>
                <a:gd name="connsiteY6" fmla="*/ 5115 h 7868"/>
                <a:gd name="connsiteX7" fmla="*/ 27934 w 59013"/>
                <a:gd name="connsiteY7" fmla="*/ 5901 h 7868"/>
                <a:gd name="connsiteX8" fmla="*/ 31081 w 59013"/>
                <a:gd name="connsiteY8" fmla="*/ 6295 h 7868"/>
                <a:gd name="connsiteX9" fmla="*/ 34228 w 59013"/>
                <a:gd name="connsiteY9" fmla="*/ 6295 h 7868"/>
                <a:gd name="connsiteX10" fmla="*/ 37376 w 59013"/>
                <a:gd name="connsiteY10" fmla="*/ 6295 h 7868"/>
                <a:gd name="connsiteX11" fmla="*/ 40523 w 59013"/>
                <a:gd name="connsiteY11" fmla="*/ 6688 h 7868"/>
                <a:gd name="connsiteX12" fmla="*/ 43671 w 59013"/>
                <a:gd name="connsiteY12" fmla="*/ 6688 h 7868"/>
                <a:gd name="connsiteX13" fmla="*/ 46425 w 59013"/>
                <a:gd name="connsiteY13" fmla="*/ 7475 h 7868"/>
                <a:gd name="connsiteX14" fmla="*/ 50359 w 59013"/>
                <a:gd name="connsiteY14" fmla="*/ 8262 h 7868"/>
                <a:gd name="connsiteX15" fmla="*/ 53113 w 59013"/>
                <a:gd name="connsiteY15" fmla="*/ 9442 h 7868"/>
                <a:gd name="connsiteX16" fmla="*/ 56654 w 59013"/>
                <a:gd name="connsiteY16" fmla="*/ 9049 h 7868"/>
                <a:gd name="connsiteX17" fmla="*/ 59408 w 59013"/>
                <a:gd name="connsiteY17" fmla="*/ 8262 h 7868"/>
                <a:gd name="connsiteX18" fmla="*/ 62555 w 59013"/>
                <a:gd name="connsiteY18" fmla="*/ 6688 h 7868"/>
                <a:gd name="connsiteX19" fmla="*/ 59408 w 59013"/>
                <a:gd name="connsiteY19" fmla="*/ 6295 h 7868"/>
                <a:gd name="connsiteX20" fmla="*/ 55867 w 59013"/>
                <a:gd name="connsiteY20" fmla="*/ 5508 h 7868"/>
                <a:gd name="connsiteX21" fmla="*/ 52719 w 59013"/>
                <a:gd name="connsiteY21" fmla="*/ 5508 h 7868"/>
                <a:gd name="connsiteX22" fmla="*/ 49965 w 59013"/>
                <a:gd name="connsiteY22" fmla="*/ 5508 h 7868"/>
                <a:gd name="connsiteX23" fmla="*/ 46425 w 59013"/>
                <a:gd name="connsiteY23" fmla="*/ 5115 h 7868"/>
                <a:gd name="connsiteX24" fmla="*/ 43277 w 59013"/>
                <a:gd name="connsiteY24" fmla="*/ 4328 h 7868"/>
                <a:gd name="connsiteX25" fmla="*/ 40523 w 59013"/>
                <a:gd name="connsiteY25" fmla="*/ 3147 h 7868"/>
                <a:gd name="connsiteX26" fmla="*/ 34228 w 59013"/>
                <a:gd name="connsiteY26" fmla="*/ 2361 h 7868"/>
                <a:gd name="connsiteX27" fmla="*/ 31081 w 59013"/>
                <a:gd name="connsiteY27" fmla="*/ 1967 h 7868"/>
                <a:gd name="connsiteX28" fmla="*/ 27934 w 59013"/>
                <a:gd name="connsiteY28" fmla="*/ 1967 h 7868"/>
                <a:gd name="connsiteX29" fmla="*/ 25179 w 59013"/>
                <a:gd name="connsiteY29" fmla="*/ 2361 h 7868"/>
                <a:gd name="connsiteX30" fmla="*/ 22032 w 59013"/>
                <a:gd name="connsiteY30" fmla="*/ 2361 h 7868"/>
                <a:gd name="connsiteX31" fmla="*/ 18885 w 59013"/>
                <a:gd name="connsiteY31" fmla="*/ 2361 h 7868"/>
                <a:gd name="connsiteX32" fmla="*/ 12983 w 59013"/>
                <a:gd name="connsiteY32" fmla="*/ 1180 h 7868"/>
                <a:gd name="connsiteX33" fmla="*/ 9442 w 59013"/>
                <a:gd name="connsiteY33" fmla="*/ 787 h 7868"/>
                <a:gd name="connsiteX34" fmla="*/ 6295 w 59013"/>
                <a:gd name="connsiteY34" fmla="*/ 787 h 7868"/>
                <a:gd name="connsiteX35" fmla="*/ 3148 w 59013"/>
                <a:gd name="connsiteY35" fmla="*/ 0 h 7868"/>
                <a:gd name="connsiteX36" fmla="*/ 0 w 59013"/>
                <a:gd name="connsiteY36" fmla="*/ 2361 h 7868"/>
                <a:gd name="connsiteX37" fmla="*/ 2754 w 59013"/>
                <a:gd name="connsiteY37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9013" h="7868">
                  <a:moveTo>
                    <a:pt x="5901" y="2754"/>
                  </a:moveTo>
                  <a:lnTo>
                    <a:pt x="9049" y="3541"/>
                  </a:lnTo>
                  <a:lnTo>
                    <a:pt x="12197" y="3541"/>
                  </a:lnTo>
                  <a:lnTo>
                    <a:pt x="15344" y="3541"/>
                  </a:lnTo>
                  <a:lnTo>
                    <a:pt x="18885" y="3934"/>
                  </a:lnTo>
                  <a:lnTo>
                    <a:pt x="21638" y="4721"/>
                  </a:lnTo>
                  <a:lnTo>
                    <a:pt x="24393" y="5115"/>
                  </a:lnTo>
                  <a:lnTo>
                    <a:pt x="27934" y="5901"/>
                  </a:lnTo>
                  <a:lnTo>
                    <a:pt x="31081" y="6295"/>
                  </a:lnTo>
                  <a:lnTo>
                    <a:pt x="34228" y="6295"/>
                  </a:lnTo>
                  <a:lnTo>
                    <a:pt x="37376" y="6295"/>
                  </a:lnTo>
                  <a:lnTo>
                    <a:pt x="40523" y="6688"/>
                  </a:lnTo>
                  <a:lnTo>
                    <a:pt x="43671" y="6688"/>
                  </a:lnTo>
                  <a:lnTo>
                    <a:pt x="46425" y="7475"/>
                  </a:lnTo>
                  <a:lnTo>
                    <a:pt x="50359" y="8262"/>
                  </a:lnTo>
                  <a:lnTo>
                    <a:pt x="53113" y="9442"/>
                  </a:lnTo>
                  <a:lnTo>
                    <a:pt x="56654" y="9049"/>
                  </a:lnTo>
                  <a:lnTo>
                    <a:pt x="59408" y="8262"/>
                  </a:lnTo>
                  <a:lnTo>
                    <a:pt x="62555" y="6688"/>
                  </a:lnTo>
                  <a:lnTo>
                    <a:pt x="59408" y="6295"/>
                  </a:lnTo>
                  <a:lnTo>
                    <a:pt x="55867" y="5508"/>
                  </a:lnTo>
                  <a:lnTo>
                    <a:pt x="52719" y="5508"/>
                  </a:lnTo>
                  <a:lnTo>
                    <a:pt x="49965" y="5508"/>
                  </a:lnTo>
                  <a:lnTo>
                    <a:pt x="46425" y="5115"/>
                  </a:lnTo>
                  <a:lnTo>
                    <a:pt x="43277" y="4328"/>
                  </a:lnTo>
                  <a:lnTo>
                    <a:pt x="40523" y="3147"/>
                  </a:lnTo>
                  <a:lnTo>
                    <a:pt x="34228" y="2361"/>
                  </a:lnTo>
                  <a:lnTo>
                    <a:pt x="31081" y="1967"/>
                  </a:lnTo>
                  <a:lnTo>
                    <a:pt x="27934" y="1967"/>
                  </a:lnTo>
                  <a:lnTo>
                    <a:pt x="25179" y="2361"/>
                  </a:lnTo>
                  <a:lnTo>
                    <a:pt x="22032" y="2361"/>
                  </a:lnTo>
                  <a:lnTo>
                    <a:pt x="18885" y="2361"/>
                  </a:lnTo>
                  <a:lnTo>
                    <a:pt x="12983" y="1180"/>
                  </a:lnTo>
                  <a:lnTo>
                    <a:pt x="9442" y="787"/>
                  </a:lnTo>
                  <a:lnTo>
                    <a:pt x="6295" y="787"/>
                  </a:lnTo>
                  <a:lnTo>
                    <a:pt x="3148" y="0"/>
                  </a:lnTo>
                  <a:lnTo>
                    <a:pt x="0" y="2361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19" name="Freeform: Shape 3213">
              <a:extLst>
                <a:ext uri="{FF2B5EF4-FFF2-40B4-BE49-F238E27FC236}">
                  <a16:creationId xmlns:a16="http://schemas.microsoft.com/office/drawing/2014/main" id="{05A717EA-A1D7-4CCF-AE68-DB8547124FD2}"/>
                </a:ext>
              </a:extLst>
            </p:cNvPr>
            <p:cNvSpPr/>
            <p:nvPr/>
          </p:nvSpPr>
          <p:spPr>
            <a:xfrm>
              <a:off x="7188939" y="1122383"/>
              <a:ext cx="39343" cy="3934"/>
            </a:xfrm>
            <a:custGeom>
              <a:avLst/>
              <a:gdLst>
                <a:gd name="connsiteX0" fmla="*/ 12589 w 39342"/>
                <a:gd name="connsiteY0" fmla="*/ 0 h 3934"/>
                <a:gd name="connsiteX1" fmla="*/ 9442 w 39342"/>
                <a:gd name="connsiteY1" fmla="*/ 0 h 3934"/>
                <a:gd name="connsiteX2" fmla="*/ 6295 w 39342"/>
                <a:gd name="connsiteY2" fmla="*/ 0 h 3934"/>
                <a:gd name="connsiteX3" fmla="*/ 3540 w 39342"/>
                <a:gd name="connsiteY3" fmla="*/ 0 h 3934"/>
                <a:gd name="connsiteX4" fmla="*/ 0 w 39342"/>
                <a:gd name="connsiteY4" fmla="*/ 0 h 3934"/>
                <a:gd name="connsiteX5" fmla="*/ 0 w 39342"/>
                <a:gd name="connsiteY5" fmla="*/ 393 h 3934"/>
                <a:gd name="connsiteX6" fmla="*/ 2754 w 39342"/>
                <a:gd name="connsiteY6" fmla="*/ 393 h 3934"/>
                <a:gd name="connsiteX7" fmla="*/ 5901 w 39342"/>
                <a:gd name="connsiteY7" fmla="*/ 787 h 3934"/>
                <a:gd name="connsiteX8" fmla="*/ 9442 w 39342"/>
                <a:gd name="connsiteY8" fmla="*/ 1180 h 3934"/>
                <a:gd name="connsiteX9" fmla="*/ 12983 w 39342"/>
                <a:gd name="connsiteY9" fmla="*/ 1574 h 3934"/>
                <a:gd name="connsiteX10" fmla="*/ 15737 w 39342"/>
                <a:gd name="connsiteY10" fmla="*/ 2361 h 3934"/>
                <a:gd name="connsiteX11" fmla="*/ 18884 w 39342"/>
                <a:gd name="connsiteY11" fmla="*/ 3147 h 3934"/>
                <a:gd name="connsiteX12" fmla="*/ 21638 w 39342"/>
                <a:gd name="connsiteY12" fmla="*/ 3147 h 3934"/>
                <a:gd name="connsiteX13" fmla="*/ 24786 w 39342"/>
                <a:gd name="connsiteY13" fmla="*/ 4721 h 3934"/>
                <a:gd name="connsiteX14" fmla="*/ 28327 w 39342"/>
                <a:gd name="connsiteY14" fmla="*/ 5115 h 3934"/>
                <a:gd name="connsiteX15" fmla="*/ 31080 w 39342"/>
                <a:gd name="connsiteY15" fmla="*/ 5115 h 3934"/>
                <a:gd name="connsiteX16" fmla="*/ 34228 w 39342"/>
                <a:gd name="connsiteY16" fmla="*/ 5508 h 3934"/>
                <a:gd name="connsiteX17" fmla="*/ 37769 w 39342"/>
                <a:gd name="connsiteY17" fmla="*/ 4721 h 3934"/>
                <a:gd name="connsiteX18" fmla="*/ 40916 w 39342"/>
                <a:gd name="connsiteY18" fmla="*/ 3934 h 3934"/>
                <a:gd name="connsiteX19" fmla="*/ 37769 w 39342"/>
                <a:gd name="connsiteY19" fmla="*/ 3541 h 3934"/>
                <a:gd name="connsiteX20" fmla="*/ 34621 w 39342"/>
                <a:gd name="connsiteY20" fmla="*/ 3147 h 3934"/>
                <a:gd name="connsiteX21" fmla="*/ 31474 w 39342"/>
                <a:gd name="connsiteY21" fmla="*/ 2754 h 3934"/>
                <a:gd name="connsiteX22" fmla="*/ 28720 w 39342"/>
                <a:gd name="connsiteY22" fmla="*/ 1967 h 3934"/>
                <a:gd name="connsiteX23" fmla="*/ 25573 w 39342"/>
                <a:gd name="connsiteY23" fmla="*/ 1180 h 3934"/>
                <a:gd name="connsiteX24" fmla="*/ 22032 w 39342"/>
                <a:gd name="connsiteY24" fmla="*/ 787 h 3934"/>
                <a:gd name="connsiteX25" fmla="*/ 18884 w 39342"/>
                <a:gd name="connsiteY25" fmla="*/ 787 h 3934"/>
                <a:gd name="connsiteX26" fmla="*/ 16130 w 39342"/>
                <a:gd name="connsiteY26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9342" h="3934">
                  <a:moveTo>
                    <a:pt x="12589" y="0"/>
                  </a:moveTo>
                  <a:lnTo>
                    <a:pt x="9442" y="0"/>
                  </a:lnTo>
                  <a:lnTo>
                    <a:pt x="6295" y="0"/>
                  </a:lnTo>
                  <a:lnTo>
                    <a:pt x="3540" y="0"/>
                  </a:lnTo>
                  <a:lnTo>
                    <a:pt x="0" y="0"/>
                  </a:lnTo>
                  <a:lnTo>
                    <a:pt x="0" y="393"/>
                  </a:lnTo>
                  <a:lnTo>
                    <a:pt x="2754" y="393"/>
                  </a:lnTo>
                  <a:lnTo>
                    <a:pt x="5901" y="787"/>
                  </a:lnTo>
                  <a:lnTo>
                    <a:pt x="9442" y="1180"/>
                  </a:lnTo>
                  <a:lnTo>
                    <a:pt x="12983" y="1574"/>
                  </a:lnTo>
                  <a:lnTo>
                    <a:pt x="15737" y="2361"/>
                  </a:lnTo>
                  <a:lnTo>
                    <a:pt x="18884" y="3147"/>
                  </a:lnTo>
                  <a:lnTo>
                    <a:pt x="21638" y="3147"/>
                  </a:lnTo>
                  <a:lnTo>
                    <a:pt x="24786" y="4721"/>
                  </a:lnTo>
                  <a:lnTo>
                    <a:pt x="28327" y="5115"/>
                  </a:lnTo>
                  <a:lnTo>
                    <a:pt x="31080" y="5115"/>
                  </a:lnTo>
                  <a:lnTo>
                    <a:pt x="34228" y="5508"/>
                  </a:lnTo>
                  <a:lnTo>
                    <a:pt x="37769" y="4721"/>
                  </a:lnTo>
                  <a:lnTo>
                    <a:pt x="40916" y="3934"/>
                  </a:lnTo>
                  <a:lnTo>
                    <a:pt x="37769" y="3541"/>
                  </a:lnTo>
                  <a:lnTo>
                    <a:pt x="34621" y="3147"/>
                  </a:lnTo>
                  <a:lnTo>
                    <a:pt x="31474" y="2754"/>
                  </a:lnTo>
                  <a:lnTo>
                    <a:pt x="28720" y="1967"/>
                  </a:lnTo>
                  <a:lnTo>
                    <a:pt x="25573" y="1180"/>
                  </a:lnTo>
                  <a:lnTo>
                    <a:pt x="22032" y="787"/>
                  </a:lnTo>
                  <a:lnTo>
                    <a:pt x="18884" y="787"/>
                  </a:lnTo>
                  <a:lnTo>
                    <a:pt x="1613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20" name="Freeform: Shape 3214">
              <a:extLst>
                <a:ext uri="{FF2B5EF4-FFF2-40B4-BE49-F238E27FC236}">
                  <a16:creationId xmlns:a16="http://schemas.microsoft.com/office/drawing/2014/main" id="{6F947ECD-53EC-42A6-8030-BDE25BA64EC3}"/>
                </a:ext>
              </a:extLst>
            </p:cNvPr>
            <p:cNvSpPr/>
            <p:nvPr/>
          </p:nvSpPr>
          <p:spPr>
            <a:xfrm>
              <a:off x="7226314" y="1127105"/>
              <a:ext cx="15737" cy="3934"/>
            </a:xfrm>
            <a:custGeom>
              <a:avLst/>
              <a:gdLst>
                <a:gd name="connsiteX0" fmla="*/ 6295 w 15737"/>
                <a:gd name="connsiteY0" fmla="*/ 393 h 0"/>
                <a:gd name="connsiteX1" fmla="*/ 3147 w 15737"/>
                <a:gd name="connsiteY1" fmla="*/ 393 h 0"/>
                <a:gd name="connsiteX2" fmla="*/ 393 w 15737"/>
                <a:gd name="connsiteY2" fmla="*/ 1180 h 0"/>
                <a:gd name="connsiteX3" fmla="*/ 0 w 15737"/>
                <a:gd name="connsiteY3" fmla="*/ 2361 h 0"/>
                <a:gd name="connsiteX4" fmla="*/ 2754 w 15737"/>
                <a:gd name="connsiteY4" fmla="*/ 2361 h 0"/>
                <a:gd name="connsiteX5" fmla="*/ 5901 w 15737"/>
                <a:gd name="connsiteY5" fmla="*/ 2361 h 0"/>
                <a:gd name="connsiteX6" fmla="*/ 9049 w 15737"/>
                <a:gd name="connsiteY6" fmla="*/ 3147 h 0"/>
                <a:gd name="connsiteX7" fmla="*/ 12589 w 15737"/>
                <a:gd name="connsiteY7" fmla="*/ 3147 h 0"/>
                <a:gd name="connsiteX8" fmla="*/ 15737 w 15737"/>
                <a:gd name="connsiteY8" fmla="*/ 2361 h 0"/>
                <a:gd name="connsiteX9" fmla="*/ 18884 w 15737"/>
                <a:gd name="connsiteY9" fmla="*/ 393 h 0"/>
                <a:gd name="connsiteX10" fmla="*/ 15737 w 15737"/>
                <a:gd name="connsiteY10" fmla="*/ 0 h 0"/>
                <a:gd name="connsiteX11" fmla="*/ 9442 w 15737"/>
                <a:gd name="connsiteY1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737">
                  <a:moveTo>
                    <a:pt x="6295" y="393"/>
                  </a:moveTo>
                  <a:lnTo>
                    <a:pt x="3147" y="393"/>
                  </a:lnTo>
                  <a:lnTo>
                    <a:pt x="393" y="1180"/>
                  </a:lnTo>
                  <a:lnTo>
                    <a:pt x="0" y="2361"/>
                  </a:lnTo>
                  <a:lnTo>
                    <a:pt x="2754" y="2361"/>
                  </a:lnTo>
                  <a:lnTo>
                    <a:pt x="5901" y="2361"/>
                  </a:lnTo>
                  <a:lnTo>
                    <a:pt x="9049" y="3147"/>
                  </a:lnTo>
                  <a:lnTo>
                    <a:pt x="12589" y="3147"/>
                  </a:lnTo>
                  <a:lnTo>
                    <a:pt x="15737" y="2361"/>
                  </a:lnTo>
                  <a:lnTo>
                    <a:pt x="18884" y="393"/>
                  </a:lnTo>
                  <a:lnTo>
                    <a:pt x="15737" y="0"/>
                  </a:lnTo>
                  <a:lnTo>
                    <a:pt x="9442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21" name="Freeform: Shape 3215">
              <a:extLst>
                <a:ext uri="{FF2B5EF4-FFF2-40B4-BE49-F238E27FC236}">
                  <a16:creationId xmlns:a16="http://schemas.microsoft.com/office/drawing/2014/main" id="{AD0E495D-0170-4414-913A-452C3BC47D11}"/>
                </a:ext>
              </a:extLst>
            </p:cNvPr>
            <p:cNvSpPr/>
            <p:nvPr/>
          </p:nvSpPr>
          <p:spPr>
            <a:xfrm>
              <a:off x="7263690" y="1121990"/>
              <a:ext cx="27540" cy="3934"/>
            </a:xfrm>
            <a:custGeom>
              <a:avLst/>
              <a:gdLst>
                <a:gd name="connsiteX0" fmla="*/ 0 w 27539"/>
                <a:gd name="connsiteY0" fmla="*/ 2361 h 3934"/>
                <a:gd name="connsiteX1" fmla="*/ 393 w 27539"/>
                <a:gd name="connsiteY1" fmla="*/ 3147 h 3934"/>
                <a:gd name="connsiteX2" fmla="*/ 3540 w 27539"/>
                <a:gd name="connsiteY2" fmla="*/ 3541 h 3934"/>
                <a:gd name="connsiteX3" fmla="*/ 6295 w 27539"/>
                <a:gd name="connsiteY3" fmla="*/ 3934 h 3934"/>
                <a:gd name="connsiteX4" fmla="*/ 9442 w 27539"/>
                <a:gd name="connsiteY4" fmla="*/ 4328 h 3934"/>
                <a:gd name="connsiteX5" fmla="*/ 12589 w 27539"/>
                <a:gd name="connsiteY5" fmla="*/ 4328 h 3934"/>
                <a:gd name="connsiteX6" fmla="*/ 15737 w 27539"/>
                <a:gd name="connsiteY6" fmla="*/ 4328 h 3934"/>
                <a:gd name="connsiteX7" fmla="*/ 18491 w 27539"/>
                <a:gd name="connsiteY7" fmla="*/ 4328 h 3934"/>
                <a:gd name="connsiteX8" fmla="*/ 21638 w 27539"/>
                <a:gd name="connsiteY8" fmla="*/ 3934 h 3934"/>
                <a:gd name="connsiteX9" fmla="*/ 24786 w 27539"/>
                <a:gd name="connsiteY9" fmla="*/ 2754 h 3934"/>
                <a:gd name="connsiteX10" fmla="*/ 27540 w 27539"/>
                <a:gd name="connsiteY10" fmla="*/ 393 h 3934"/>
                <a:gd name="connsiteX11" fmla="*/ 24786 w 27539"/>
                <a:gd name="connsiteY11" fmla="*/ 0 h 3934"/>
                <a:gd name="connsiteX12" fmla="*/ 18491 w 27539"/>
                <a:gd name="connsiteY12" fmla="*/ 0 h 3934"/>
                <a:gd name="connsiteX13" fmla="*/ 15737 w 27539"/>
                <a:gd name="connsiteY13" fmla="*/ 393 h 3934"/>
                <a:gd name="connsiteX14" fmla="*/ 12589 w 27539"/>
                <a:gd name="connsiteY14" fmla="*/ 393 h 3934"/>
                <a:gd name="connsiteX15" fmla="*/ 9442 w 27539"/>
                <a:gd name="connsiteY15" fmla="*/ 393 h 3934"/>
                <a:gd name="connsiteX16" fmla="*/ 6295 w 27539"/>
                <a:gd name="connsiteY16" fmla="*/ 1180 h 3934"/>
                <a:gd name="connsiteX17" fmla="*/ 3147 w 27539"/>
                <a:gd name="connsiteY17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539" h="3934">
                  <a:moveTo>
                    <a:pt x="0" y="2361"/>
                  </a:moveTo>
                  <a:lnTo>
                    <a:pt x="393" y="3147"/>
                  </a:lnTo>
                  <a:lnTo>
                    <a:pt x="3540" y="3541"/>
                  </a:lnTo>
                  <a:lnTo>
                    <a:pt x="6295" y="3934"/>
                  </a:lnTo>
                  <a:lnTo>
                    <a:pt x="9442" y="4328"/>
                  </a:lnTo>
                  <a:lnTo>
                    <a:pt x="12589" y="4328"/>
                  </a:lnTo>
                  <a:lnTo>
                    <a:pt x="15737" y="4328"/>
                  </a:lnTo>
                  <a:lnTo>
                    <a:pt x="18491" y="4328"/>
                  </a:lnTo>
                  <a:lnTo>
                    <a:pt x="21638" y="3934"/>
                  </a:lnTo>
                  <a:lnTo>
                    <a:pt x="24786" y="2754"/>
                  </a:lnTo>
                  <a:lnTo>
                    <a:pt x="27540" y="393"/>
                  </a:lnTo>
                  <a:lnTo>
                    <a:pt x="24786" y="0"/>
                  </a:lnTo>
                  <a:lnTo>
                    <a:pt x="18491" y="0"/>
                  </a:lnTo>
                  <a:lnTo>
                    <a:pt x="15737" y="393"/>
                  </a:lnTo>
                  <a:lnTo>
                    <a:pt x="12589" y="393"/>
                  </a:lnTo>
                  <a:lnTo>
                    <a:pt x="9442" y="393"/>
                  </a:lnTo>
                  <a:lnTo>
                    <a:pt x="6295" y="118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22" name="Freeform: Shape 3216">
              <a:extLst>
                <a:ext uri="{FF2B5EF4-FFF2-40B4-BE49-F238E27FC236}">
                  <a16:creationId xmlns:a16="http://schemas.microsoft.com/office/drawing/2014/main" id="{AF7F2E40-214C-4C36-AABF-F31DBECD7BE9}"/>
                </a:ext>
              </a:extLst>
            </p:cNvPr>
            <p:cNvSpPr/>
            <p:nvPr/>
          </p:nvSpPr>
          <p:spPr>
            <a:xfrm>
              <a:off x="7614626" y="1125137"/>
              <a:ext cx="23606" cy="3934"/>
            </a:xfrm>
            <a:custGeom>
              <a:avLst/>
              <a:gdLst>
                <a:gd name="connsiteX0" fmla="*/ 15344 w 23605"/>
                <a:gd name="connsiteY0" fmla="*/ 3541 h 0"/>
                <a:gd name="connsiteX1" fmla="*/ 18491 w 23605"/>
                <a:gd name="connsiteY1" fmla="*/ 3147 h 0"/>
                <a:gd name="connsiteX2" fmla="*/ 21638 w 23605"/>
                <a:gd name="connsiteY2" fmla="*/ 3147 h 0"/>
                <a:gd name="connsiteX3" fmla="*/ 24392 w 23605"/>
                <a:gd name="connsiteY3" fmla="*/ 2361 h 0"/>
                <a:gd name="connsiteX4" fmla="*/ 21638 w 23605"/>
                <a:gd name="connsiteY4" fmla="*/ 787 h 0"/>
                <a:gd name="connsiteX5" fmla="*/ 18098 w 23605"/>
                <a:gd name="connsiteY5" fmla="*/ 787 h 0"/>
                <a:gd name="connsiteX6" fmla="*/ 14557 w 23605"/>
                <a:gd name="connsiteY6" fmla="*/ 393 h 0"/>
                <a:gd name="connsiteX7" fmla="*/ 11803 w 23605"/>
                <a:gd name="connsiteY7" fmla="*/ 393 h 0"/>
                <a:gd name="connsiteX8" fmla="*/ 8655 w 23605"/>
                <a:gd name="connsiteY8" fmla="*/ 0 h 0"/>
                <a:gd name="connsiteX9" fmla="*/ 5508 w 23605"/>
                <a:gd name="connsiteY9" fmla="*/ 393 h 0"/>
                <a:gd name="connsiteX10" fmla="*/ 1574 w 23605"/>
                <a:gd name="connsiteY10" fmla="*/ 393 h 0"/>
                <a:gd name="connsiteX11" fmla="*/ 0 w 23605"/>
                <a:gd name="connsiteY11" fmla="*/ 3147 h 0"/>
                <a:gd name="connsiteX12" fmla="*/ 2754 w 23605"/>
                <a:gd name="connsiteY12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605">
                  <a:moveTo>
                    <a:pt x="15344" y="3541"/>
                  </a:moveTo>
                  <a:lnTo>
                    <a:pt x="18491" y="3147"/>
                  </a:lnTo>
                  <a:lnTo>
                    <a:pt x="21638" y="3147"/>
                  </a:lnTo>
                  <a:lnTo>
                    <a:pt x="24392" y="2361"/>
                  </a:lnTo>
                  <a:lnTo>
                    <a:pt x="21638" y="787"/>
                  </a:lnTo>
                  <a:lnTo>
                    <a:pt x="18098" y="787"/>
                  </a:lnTo>
                  <a:lnTo>
                    <a:pt x="14557" y="393"/>
                  </a:lnTo>
                  <a:lnTo>
                    <a:pt x="11803" y="393"/>
                  </a:lnTo>
                  <a:lnTo>
                    <a:pt x="8655" y="0"/>
                  </a:lnTo>
                  <a:lnTo>
                    <a:pt x="5508" y="393"/>
                  </a:lnTo>
                  <a:lnTo>
                    <a:pt x="1574" y="393"/>
                  </a:lnTo>
                  <a:lnTo>
                    <a:pt x="0" y="3147"/>
                  </a:lnTo>
                  <a:lnTo>
                    <a:pt x="2754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23" name="Freeform: Shape 3217">
              <a:extLst>
                <a:ext uri="{FF2B5EF4-FFF2-40B4-BE49-F238E27FC236}">
                  <a16:creationId xmlns:a16="http://schemas.microsoft.com/office/drawing/2014/main" id="{AD435C1E-139F-4113-A591-D22EEA678705}"/>
                </a:ext>
              </a:extLst>
            </p:cNvPr>
            <p:cNvSpPr/>
            <p:nvPr/>
          </p:nvSpPr>
          <p:spPr>
            <a:xfrm>
              <a:off x="6988685" y="1127498"/>
              <a:ext cx="66882" cy="7869"/>
            </a:xfrm>
            <a:custGeom>
              <a:avLst/>
              <a:gdLst>
                <a:gd name="connsiteX0" fmla="*/ 6295 w 66882"/>
                <a:gd name="connsiteY0" fmla="*/ 5901 h 7868"/>
                <a:gd name="connsiteX1" fmla="*/ 9442 w 66882"/>
                <a:gd name="connsiteY1" fmla="*/ 6688 h 7868"/>
                <a:gd name="connsiteX2" fmla="*/ 12589 w 66882"/>
                <a:gd name="connsiteY2" fmla="*/ 7869 h 7868"/>
                <a:gd name="connsiteX3" fmla="*/ 15737 w 66882"/>
                <a:gd name="connsiteY3" fmla="*/ 7082 h 7868"/>
                <a:gd name="connsiteX4" fmla="*/ 18884 w 66882"/>
                <a:gd name="connsiteY4" fmla="*/ 7082 h 7868"/>
                <a:gd name="connsiteX5" fmla="*/ 22032 w 66882"/>
                <a:gd name="connsiteY5" fmla="*/ 8262 h 7868"/>
                <a:gd name="connsiteX6" fmla="*/ 24786 w 66882"/>
                <a:gd name="connsiteY6" fmla="*/ 9442 h 7868"/>
                <a:gd name="connsiteX7" fmla="*/ 27540 w 66882"/>
                <a:gd name="connsiteY7" fmla="*/ 9049 h 7868"/>
                <a:gd name="connsiteX8" fmla="*/ 30687 w 66882"/>
                <a:gd name="connsiteY8" fmla="*/ 7869 h 7868"/>
                <a:gd name="connsiteX9" fmla="*/ 33441 w 66882"/>
                <a:gd name="connsiteY9" fmla="*/ 7082 h 7868"/>
                <a:gd name="connsiteX10" fmla="*/ 36588 w 66882"/>
                <a:gd name="connsiteY10" fmla="*/ 7082 h 7868"/>
                <a:gd name="connsiteX11" fmla="*/ 39736 w 66882"/>
                <a:gd name="connsiteY11" fmla="*/ 6295 h 7868"/>
                <a:gd name="connsiteX12" fmla="*/ 42490 w 66882"/>
                <a:gd name="connsiteY12" fmla="*/ 5508 h 7868"/>
                <a:gd name="connsiteX13" fmla="*/ 45637 w 66882"/>
                <a:gd name="connsiteY13" fmla="*/ 3934 h 7868"/>
                <a:gd name="connsiteX14" fmla="*/ 48785 w 66882"/>
                <a:gd name="connsiteY14" fmla="*/ 2361 h 7868"/>
                <a:gd name="connsiteX15" fmla="*/ 51539 w 66882"/>
                <a:gd name="connsiteY15" fmla="*/ 2361 h 7868"/>
                <a:gd name="connsiteX16" fmla="*/ 54686 w 66882"/>
                <a:gd name="connsiteY16" fmla="*/ 3541 h 7868"/>
                <a:gd name="connsiteX17" fmla="*/ 57833 w 66882"/>
                <a:gd name="connsiteY17" fmla="*/ 4721 h 7868"/>
                <a:gd name="connsiteX18" fmla="*/ 60981 w 66882"/>
                <a:gd name="connsiteY18" fmla="*/ 4721 h 7868"/>
                <a:gd name="connsiteX19" fmla="*/ 64128 w 66882"/>
                <a:gd name="connsiteY19" fmla="*/ 5115 h 7868"/>
                <a:gd name="connsiteX20" fmla="*/ 67276 w 66882"/>
                <a:gd name="connsiteY20" fmla="*/ 5115 h 7868"/>
                <a:gd name="connsiteX21" fmla="*/ 70423 w 66882"/>
                <a:gd name="connsiteY21" fmla="*/ 4721 h 7868"/>
                <a:gd name="connsiteX22" fmla="*/ 67276 w 66882"/>
                <a:gd name="connsiteY22" fmla="*/ 3934 h 7868"/>
                <a:gd name="connsiteX23" fmla="*/ 64128 w 66882"/>
                <a:gd name="connsiteY23" fmla="*/ 3147 h 7868"/>
                <a:gd name="connsiteX24" fmla="*/ 66882 w 66882"/>
                <a:gd name="connsiteY24" fmla="*/ 2361 h 7868"/>
                <a:gd name="connsiteX25" fmla="*/ 64128 w 66882"/>
                <a:gd name="connsiteY25" fmla="*/ 1574 h 7868"/>
                <a:gd name="connsiteX26" fmla="*/ 60981 w 66882"/>
                <a:gd name="connsiteY26" fmla="*/ 787 h 7868"/>
                <a:gd name="connsiteX27" fmla="*/ 57833 w 66882"/>
                <a:gd name="connsiteY27" fmla="*/ 1180 h 7868"/>
                <a:gd name="connsiteX28" fmla="*/ 54686 w 66882"/>
                <a:gd name="connsiteY28" fmla="*/ 1574 h 7868"/>
                <a:gd name="connsiteX29" fmla="*/ 51145 w 66882"/>
                <a:gd name="connsiteY29" fmla="*/ 787 h 7868"/>
                <a:gd name="connsiteX30" fmla="*/ 47998 w 66882"/>
                <a:gd name="connsiteY30" fmla="*/ 393 h 7868"/>
                <a:gd name="connsiteX31" fmla="*/ 45244 w 66882"/>
                <a:gd name="connsiteY31" fmla="*/ 0 h 7868"/>
                <a:gd name="connsiteX32" fmla="*/ 41703 w 66882"/>
                <a:gd name="connsiteY32" fmla="*/ 787 h 7868"/>
                <a:gd name="connsiteX33" fmla="*/ 38556 w 66882"/>
                <a:gd name="connsiteY33" fmla="*/ 1967 h 7868"/>
                <a:gd name="connsiteX34" fmla="*/ 35408 w 66882"/>
                <a:gd name="connsiteY34" fmla="*/ 2754 h 7868"/>
                <a:gd name="connsiteX35" fmla="*/ 31867 w 66882"/>
                <a:gd name="connsiteY35" fmla="*/ 2754 h 7868"/>
                <a:gd name="connsiteX36" fmla="*/ 28720 w 66882"/>
                <a:gd name="connsiteY36" fmla="*/ 3147 h 7868"/>
                <a:gd name="connsiteX37" fmla="*/ 25573 w 66882"/>
                <a:gd name="connsiteY37" fmla="*/ 3934 h 7868"/>
                <a:gd name="connsiteX38" fmla="*/ 22425 w 66882"/>
                <a:gd name="connsiteY38" fmla="*/ 3934 h 7868"/>
                <a:gd name="connsiteX39" fmla="*/ 19278 w 66882"/>
                <a:gd name="connsiteY39" fmla="*/ 4328 h 7868"/>
                <a:gd name="connsiteX40" fmla="*/ 9442 w 66882"/>
                <a:gd name="connsiteY40" fmla="*/ 4328 h 7868"/>
                <a:gd name="connsiteX41" fmla="*/ 6688 w 66882"/>
                <a:gd name="connsiteY41" fmla="*/ 4721 h 7868"/>
                <a:gd name="connsiteX42" fmla="*/ 3541 w 66882"/>
                <a:gd name="connsiteY42" fmla="*/ 5115 h 7868"/>
                <a:gd name="connsiteX43" fmla="*/ 393 w 66882"/>
                <a:gd name="connsiteY43" fmla="*/ 5115 h 7868"/>
                <a:gd name="connsiteX44" fmla="*/ 0 w 66882"/>
                <a:gd name="connsiteY44" fmla="*/ 5901 h 7868"/>
                <a:gd name="connsiteX45" fmla="*/ 3147 w 66882"/>
                <a:gd name="connsiteY45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66882" h="7868">
                  <a:moveTo>
                    <a:pt x="6295" y="5901"/>
                  </a:moveTo>
                  <a:lnTo>
                    <a:pt x="9442" y="6688"/>
                  </a:lnTo>
                  <a:lnTo>
                    <a:pt x="12589" y="7869"/>
                  </a:lnTo>
                  <a:lnTo>
                    <a:pt x="15737" y="7082"/>
                  </a:lnTo>
                  <a:lnTo>
                    <a:pt x="18884" y="7082"/>
                  </a:lnTo>
                  <a:lnTo>
                    <a:pt x="22032" y="8262"/>
                  </a:lnTo>
                  <a:lnTo>
                    <a:pt x="24786" y="9442"/>
                  </a:lnTo>
                  <a:lnTo>
                    <a:pt x="27540" y="9049"/>
                  </a:lnTo>
                  <a:lnTo>
                    <a:pt x="30687" y="7869"/>
                  </a:lnTo>
                  <a:lnTo>
                    <a:pt x="33441" y="7082"/>
                  </a:lnTo>
                  <a:lnTo>
                    <a:pt x="36588" y="7082"/>
                  </a:lnTo>
                  <a:lnTo>
                    <a:pt x="39736" y="6295"/>
                  </a:lnTo>
                  <a:lnTo>
                    <a:pt x="42490" y="5508"/>
                  </a:lnTo>
                  <a:lnTo>
                    <a:pt x="45637" y="3934"/>
                  </a:lnTo>
                  <a:lnTo>
                    <a:pt x="48785" y="2361"/>
                  </a:lnTo>
                  <a:lnTo>
                    <a:pt x="51539" y="2361"/>
                  </a:lnTo>
                  <a:lnTo>
                    <a:pt x="54686" y="3541"/>
                  </a:lnTo>
                  <a:lnTo>
                    <a:pt x="57833" y="4721"/>
                  </a:lnTo>
                  <a:lnTo>
                    <a:pt x="60981" y="4721"/>
                  </a:lnTo>
                  <a:lnTo>
                    <a:pt x="64128" y="5115"/>
                  </a:lnTo>
                  <a:lnTo>
                    <a:pt x="67276" y="5115"/>
                  </a:lnTo>
                  <a:lnTo>
                    <a:pt x="70423" y="4721"/>
                  </a:lnTo>
                  <a:lnTo>
                    <a:pt x="67276" y="3934"/>
                  </a:lnTo>
                  <a:lnTo>
                    <a:pt x="64128" y="3147"/>
                  </a:lnTo>
                  <a:lnTo>
                    <a:pt x="66882" y="2361"/>
                  </a:lnTo>
                  <a:lnTo>
                    <a:pt x="64128" y="1574"/>
                  </a:lnTo>
                  <a:lnTo>
                    <a:pt x="60981" y="787"/>
                  </a:lnTo>
                  <a:lnTo>
                    <a:pt x="57833" y="1180"/>
                  </a:lnTo>
                  <a:lnTo>
                    <a:pt x="54686" y="1574"/>
                  </a:lnTo>
                  <a:lnTo>
                    <a:pt x="51145" y="787"/>
                  </a:lnTo>
                  <a:lnTo>
                    <a:pt x="47998" y="393"/>
                  </a:lnTo>
                  <a:lnTo>
                    <a:pt x="45244" y="0"/>
                  </a:lnTo>
                  <a:lnTo>
                    <a:pt x="41703" y="787"/>
                  </a:lnTo>
                  <a:lnTo>
                    <a:pt x="38556" y="1967"/>
                  </a:lnTo>
                  <a:lnTo>
                    <a:pt x="35408" y="2754"/>
                  </a:lnTo>
                  <a:lnTo>
                    <a:pt x="31867" y="2754"/>
                  </a:lnTo>
                  <a:lnTo>
                    <a:pt x="28720" y="3147"/>
                  </a:lnTo>
                  <a:lnTo>
                    <a:pt x="25573" y="3934"/>
                  </a:lnTo>
                  <a:lnTo>
                    <a:pt x="22425" y="3934"/>
                  </a:lnTo>
                  <a:lnTo>
                    <a:pt x="19278" y="4328"/>
                  </a:lnTo>
                  <a:lnTo>
                    <a:pt x="9442" y="4328"/>
                  </a:lnTo>
                  <a:lnTo>
                    <a:pt x="6688" y="4721"/>
                  </a:lnTo>
                  <a:lnTo>
                    <a:pt x="3541" y="5115"/>
                  </a:lnTo>
                  <a:lnTo>
                    <a:pt x="393" y="5115"/>
                  </a:lnTo>
                  <a:lnTo>
                    <a:pt x="0" y="5901"/>
                  </a:lnTo>
                  <a:lnTo>
                    <a:pt x="314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24" name="Freeform: Shape 3218">
              <a:extLst>
                <a:ext uri="{FF2B5EF4-FFF2-40B4-BE49-F238E27FC236}">
                  <a16:creationId xmlns:a16="http://schemas.microsoft.com/office/drawing/2014/main" id="{7FA7CD04-019F-4192-B732-49B9C25CE1EC}"/>
                </a:ext>
              </a:extLst>
            </p:cNvPr>
            <p:cNvSpPr/>
            <p:nvPr/>
          </p:nvSpPr>
          <p:spPr>
            <a:xfrm>
              <a:off x="7155104" y="1133399"/>
              <a:ext cx="7869" cy="3934"/>
            </a:xfrm>
            <a:custGeom>
              <a:avLst/>
              <a:gdLst>
                <a:gd name="connsiteX0" fmla="*/ 2754 w 7868"/>
                <a:gd name="connsiteY0" fmla="*/ 0 h 0"/>
                <a:gd name="connsiteX1" fmla="*/ 0 w 7868"/>
                <a:gd name="connsiteY1" fmla="*/ 1967 h 0"/>
                <a:gd name="connsiteX2" fmla="*/ 787 w 7868"/>
                <a:gd name="connsiteY2" fmla="*/ 3147 h 0"/>
                <a:gd name="connsiteX3" fmla="*/ 3934 w 7868"/>
                <a:gd name="connsiteY3" fmla="*/ 3147 h 0"/>
                <a:gd name="connsiteX4" fmla="*/ 6689 w 7868"/>
                <a:gd name="connsiteY4" fmla="*/ 3541 h 0"/>
                <a:gd name="connsiteX5" fmla="*/ 9836 w 7868"/>
                <a:gd name="connsiteY5" fmla="*/ 1180 h 0"/>
                <a:gd name="connsiteX6" fmla="*/ 6689 w 7868"/>
                <a:gd name="connsiteY6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2754" y="0"/>
                  </a:moveTo>
                  <a:lnTo>
                    <a:pt x="0" y="1967"/>
                  </a:lnTo>
                  <a:lnTo>
                    <a:pt x="787" y="3147"/>
                  </a:lnTo>
                  <a:lnTo>
                    <a:pt x="3934" y="3147"/>
                  </a:lnTo>
                  <a:lnTo>
                    <a:pt x="6689" y="3541"/>
                  </a:lnTo>
                  <a:lnTo>
                    <a:pt x="9836" y="1180"/>
                  </a:lnTo>
                  <a:lnTo>
                    <a:pt x="6689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25" name="Freeform: Shape 3219">
              <a:extLst>
                <a:ext uri="{FF2B5EF4-FFF2-40B4-BE49-F238E27FC236}">
                  <a16:creationId xmlns:a16="http://schemas.microsoft.com/office/drawing/2014/main" id="{70AA7253-A244-45B3-B02D-83F370D956EF}"/>
                </a:ext>
              </a:extLst>
            </p:cNvPr>
            <p:cNvSpPr/>
            <p:nvPr/>
          </p:nvSpPr>
          <p:spPr>
            <a:xfrm>
              <a:off x="7183037" y="1129465"/>
              <a:ext cx="23606" cy="3934"/>
            </a:xfrm>
            <a:custGeom>
              <a:avLst/>
              <a:gdLst>
                <a:gd name="connsiteX0" fmla="*/ 19278 w 23605"/>
                <a:gd name="connsiteY0" fmla="*/ 0 h 0"/>
                <a:gd name="connsiteX1" fmla="*/ 12983 w 23605"/>
                <a:gd name="connsiteY1" fmla="*/ 0 h 0"/>
                <a:gd name="connsiteX2" fmla="*/ 9836 w 23605"/>
                <a:gd name="connsiteY2" fmla="*/ 393 h 0"/>
                <a:gd name="connsiteX3" fmla="*/ 6688 w 23605"/>
                <a:gd name="connsiteY3" fmla="*/ 393 h 0"/>
                <a:gd name="connsiteX4" fmla="*/ 3540 w 23605"/>
                <a:gd name="connsiteY4" fmla="*/ 787 h 0"/>
                <a:gd name="connsiteX5" fmla="*/ 0 w 23605"/>
                <a:gd name="connsiteY5" fmla="*/ 1180 h 0"/>
                <a:gd name="connsiteX6" fmla="*/ 393 w 23605"/>
                <a:gd name="connsiteY6" fmla="*/ 1574 h 0"/>
                <a:gd name="connsiteX7" fmla="*/ 3540 w 23605"/>
                <a:gd name="connsiteY7" fmla="*/ 2754 h 0"/>
                <a:gd name="connsiteX8" fmla="*/ 6688 w 23605"/>
                <a:gd name="connsiteY8" fmla="*/ 3147 h 0"/>
                <a:gd name="connsiteX9" fmla="*/ 9836 w 23605"/>
                <a:gd name="connsiteY9" fmla="*/ 3147 h 0"/>
                <a:gd name="connsiteX10" fmla="*/ 12983 w 23605"/>
                <a:gd name="connsiteY10" fmla="*/ 3147 h 0"/>
                <a:gd name="connsiteX11" fmla="*/ 16130 w 23605"/>
                <a:gd name="connsiteY11" fmla="*/ 3147 h 0"/>
                <a:gd name="connsiteX12" fmla="*/ 19278 w 23605"/>
                <a:gd name="connsiteY12" fmla="*/ 3147 h 0"/>
                <a:gd name="connsiteX13" fmla="*/ 22032 w 23605"/>
                <a:gd name="connsiteY13" fmla="*/ 3147 h 0"/>
                <a:gd name="connsiteX14" fmla="*/ 25179 w 23605"/>
                <a:gd name="connsiteY14" fmla="*/ 1180 h 0"/>
                <a:gd name="connsiteX15" fmla="*/ 22032 w 23605"/>
                <a:gd name="connsiteY15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605">
                  <a:moveTo>
                    <a:pt x="19278" y="0"/>
                  </a:moveTo>
                  <a:lnTo>
                    <a:pt x="12983" y="0"/>
                  </a:lnTo>
                  <a:lnTo>
                    <a:pt x="9836" y="393"/>
                  </a:lnTo>
                  <a:lnTo>
                    <a:pt x="6688" y="393"/>
                  </a:lnTo>
                  <a:lnTo>
                    <a:pt x="3540" y="787"/>
                  </a:lnTo>
                  <a:lnTo>
                    <a:pt x="0" y="1180"/>
                  </a:lnTo>
                  <a:lnTo>
                    <a:pt x="393" y="1574"/>
                  </a:lnTo>
                  <a:lnTo>
                    <a:pt x="3540" y="2754"/>
                  </a:lnTo>
                  <a:lnTo>
                    <a:pt x="6688" y="3147"/>
                  </a:lnTo>
                  <a:lnTo>
                    <a:pt x="9836" y="3147"/>
                  </a:lnTo>
                  <a:lnTo>
                    <a:pt x="12983" y="3147"/>
                  </a:lnTo>
                  <a:lnTo>
                    <a:pt x="16130" y="3147"/>
                  </a:lnTo>
                  <a:lnTo>
                    <a:pt x="19278" y="3147"/>
                  </a:lnTo>
                  <a:lnTo>
                    <a:pt x="22032" y="3147"/>
                  </a:lnTo>
                  <a:lnTo>
                    <a:pt x="25179" y="1180"/>
                  </a:lnTo>
                  <a:lnTo>
                    <a:pt x="22032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26" name="Freeform: Shape 3220">
              <a:extLst>
                <a:ext uri="{FF2B5EF4-FFF2-40B4-BE49-F238E27FC236}">
                  <a16:creationId xmlns:a16="http://schemas.microsoft.com/office/drawing/2014/main" id="{53F0CE21-E642-47CD-8B25-12568A62E2E3}"/>
                </a:ext>
              </a:extLst>
            </p:cNvPr>
            <p:cNvSpPr/>
            <p:nvPr/>
          </p:nvSpPr>
          <p:spPr>
            <a:xfrm>
              <a:off x="7253067" y="1127105"/>
              <a:ext cx="51145" cy="7869"/>
            </a:xfrm>
            <a:custGeom>
              <a:avLst/>
              <a:gdLst>
                <a:gd name="connsiteX0" fmla="*/ 12590 w 51145"/>
                <a:gd name="connsiteY0" fmla="*/ 787 h 7868"/>
                <a:gd name="connsiteX1" fmla="*/ 9442 w 51145"/>
                <a:gd name="connsiteY1" fmla="*/ 787 h 7868"/>
                <a:gd name="connsiteX2" fmla="*/ 6295 w 51145"/>
                <a:gd name="connsiteY2" fmla="*/ 1180 h 7868"/>
                <a:gd name="connsiteX3" fmla="*/ 3148 w 51145"/>
                <a:gd name="connsiteY3" fmla="*/ 2754 h 7868"/>
                <a:gd name="connsiteX4" fmla="*/ 0 w 51145"/>
                <a:gd name="connsiteY4" fmla="*/ 5508 h 7868"/>
                <a:gd name="connsiteX5" fmla="*/ 2754 w 51145"/>
                <a:gd name="connsiteY5" fmla="*/ 7475 h 7868"/>
                <a:gd name="connsiteX6" fmla="*/ 3148 w 51145"/>
                <a:gd name="connsiteY6" fmla="*/ 8262 h 7868"/>
                <a:gd name="connsiteX7" fmla="*/ 6295 w 51145"/>
                <a:gd name="connsiteY7" fmla="*/ 8655 h 7868"/>
                <a:gd name="connsiteX8" fmla="*/ 9049 w 51145"/>
                <a:gd name="connsiteY8" fmla="*/ 9442 h 7868"/>
                <a:gd name="connsiteX9" fmla="*/ 12196 w 51145"/>
                <a:gd name="connsiteY9" fmla="*/ 10229 h 7868"/>
                <a:gd name="connsiteX10" fmla="*/ 15344 w 51145"/>
                <a:gd name="connsiteY10" fmla="*/ 9836 h 7868"/>
                <a:gd name="connsiteX11" fmla="*/ 18098 w 51145"/>
                <a:gd name="connsiteY11" fmla="*/ 9442 h 7868"/>
                <a:gd name="connsiteX12" fmla="*/ 21245 w 51145"/>
                <a:gd name="connsiteY12" fmla="*/ 8655 h 7868"/>
                <a:gd name="connsiteX13" fmla="*/ 23999 w 51145"/>
                <a:gd name="connsiteY13" fmla="*/ 9049 h 7868"/>
                <a:gd name="connsiteX14" fmla="*/ 26753 w 51145"/>
                <a:gd name="connsiteY14" fmla="*/ 9442 h 7868"/>
                <a:gd name="connsiteX15" fmla="*/ 30294 w 51145"/>
                <a:gd name="connsiteY15" fmla="*/ 9836 h 7868"/>
                <a:gd name="connsiteX16" fmla="*/ 33441 w 51145"/>
                <a:gd name="connsiteY16" fmla="*/ 10229 h 7868"/>
                <a:gd name="connsiteX17" fmla="*/ 36196 w 51145"/>
                <a:gd name="connsiteY17" fmla="*/ 10623 h 7868"/>
                <a:gd name="connsiteX18" fmla="*/ 39343 w 51145"/>
                <a:gd name="connsiteY18" fmla="*/ 9836 h 7868"/>
                <a:gd name="connsiteX19" fmla="*/ 42884 w 51145"/>
                <a:gd name="connsiteY19" fmla="*/ 8262 h 7868"/>
                <a:gd name="connsiteX20" fmla="*/ 46031 w 51145"/>
                <a:gd name="connsiteY20" fmla="*/ 7082 h 7868"/>
                <a:gd name="connsiteX21" fmla="*/ 48785 w 51145"/>
                <a:gd name="connsiteY21" fmla="*/ 6295 h 7868"/>
                <a:gd name="connsiteX22" fmla="*/ 51933 w 51145"/>
                <a:gd name="connsiteY22" fmla="*/ 5115 h 7868"/>
                <a:gd name="connsiteX23" fmla="*/ 53506 w 51145"/>
                <a:gd name="connsiteY23" fmla="*/ 2361 h 7868"/>
                <a:gd name="connsiteX24" fmla="*/ 50359 w 51145"/>
                <a:gd name="connsiteY24" fmla="*/ 787 h 7868"/>
                <a:gd name="connsiteX25" fmla="*/ 47605 w 51145"/>
                <a:gd name="connsiteY25" fmla="*/ 393 h 7868"/>
                <a:gd name="connsiteX26" fmla="*/ 44457 w 51145"/>
                <a:gd name="connsiteY26" fmla="*/ 0 h 7868"/>
                <a:gd name="connsiteX27" fmla="*/ 41310 w 51145"/>
                <a:gd name="connsiteY27" fmla="*/ 0 h 7868"/>
                <a:gd name="connsiteX28" fmla="*/ 38163 w 51145"/>
                <a:gd name="connsiteY28" fmla="*/ 393 h 7868"/>
                <a:gd name="connsiteX29" fmla="*/ 35015 w 51145"/>
                <a:gd name="connsiteY29" fmla="*/ 787 h 7868"/>
                <a:gd name="connsiteX30" fmla="*/ 31474 w 51145"/>
                <a:gd name="connsiteY30" fmla="*/ 1180 h 7868"/>
                <a:gd name="connsiteX31" fmla="*/ 28327 w 51145"/>
                <a:gd name="connsiteY31" fmla="*/ 1180 h 7868"/>
                <a:gd name="connsiteX32" fmla="*/ 25573 w 51145"/>
                <a:gd name="connsiteY32" fmla="*/ 1180 h 7868"/>
                <a:gd name="connsiteX33" fmla="*/ 22032 w 51145"/>
                <a:gd name="connsiteY33" fmla="*/ 1574 h 7868"/>
                <a:gd name="connsiteX34" fmla="*/ 18885 w 51145"/>
                <a:gd name="connsiteY34" fmla="*/ 2361 h 7868"/>
                <a:gd name="connsiteX35" fmla="*/ 15737 w 51145"/>
                <a:gd name="connsiteY35" fmla="*/ 1574 h 7868"/>
                <a:gd name="connsiteX36" fmla="*/ 12590 w 51145"/>
                <a:gd name="connsiteY36" fmla="*/ 1180 h 7868"/>
                <a:gd name="connsiteX37" fmla="*/ 15344 w 51145"/>
                <a:gd name="connsiteY37" fmla="*/ 118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1145" h="7868">
                  <a:moveTo>
                    <a:pt x="12590" y="787"/>
                  </a:moveTo>
                  <a:lnTo>
                    <a:pt x="9442" y="787"/>
                  </a:lnTo>
                  <a:lnTo>
                    <a:pt x="6295" y="1180"/>
                  </a:lnTo>
                  <a:lnTo>
                    <a:pt x="3148" y="2754"/>
                  </a:lnTo>
                  <a:lnTo>
                    <a:pt x="0" y="5508"/>
                  </a:lnTo>
                  <a:lnTo>
                    <a:pt x="2754" y="7475"/>
                  </a:lnTo>
                  <a:lnTo>
                    <a:pt x="3148" y="8262"/>
                  </a:lnTo>
                  <a:lnTo>
                    <a:pt x="6295" y="8655"/>
                  </a:lnTo>
                  <a:lnTo>
                    <a:pt x="9049" y="9442"/>
                  </a:lnTo>
                  <a:lnTo>
                    <a:pt x="12196" y="10229"/>
                  </a:lnTo>
                  <a:lnTo>
                    <a:pt x="15344" y="9836"/>
                  </a:lnTo>
                  <a:lnTo>
                    <a:pt x="18098" y="9442"/>
                  </a:lnTo>
                  <a:lnTo>
                    <a:pt x="21245" y="8655"/>
                  </a:lnTo>
                  <a:lnTo>
                    <a:pt x="23999" y="9049"/>
                  </a:lnTo>
                  <a:lnTo>
                    <a:pt x="26753" y="9442"/>
                  </a:lnTo>
                  <a:lnTo>
                    <a:pt x="30294" y="9836"/>
                  </a:lnTo>
                  <a:lnTo>
                    <a:pt x="33441" y="10229"/>
                  </a:lnTo>
                  <a:lnTo>
                    <a:pt x="36196" y="10623"/>
                  </a:lnTo>
                  <a:lnTo>
                    <a:pt x="39343" y="9836"/>
                  </a:lnTo>
                  <a:lnTo>
                    <a:pt x="42884" y="8262"/>
                  </a:lnTo>
                  <a:lnTo>
                    <a:pt x="46031" y="7082"/>
                  </a:lnTo>
                  <a:lnTo>
                    <a:pt x="48785" y="6295"/>
                  </a:lnTo>
                  <a:lnTo>
                    <a:pt x="51933" y="5115"/>
                  </a:lnTo>
                  <a:lnTo>
                    <a:pt x="53506" y="2361"/>
                  </a:lnTo>
                  <a:lnTo>
                    <a:pt x="50359" y="787"/>
                  </a:lnTo>
                  <a:lnTo>
                    <a:pt x="47605" y="393"/>
                  </a:lnTo>
                  <a:lnTo>
                    <a:pt x="44457" y="0"/>
                  </a:lnTo>
                  <a:lnTo>
                    <a:pt x="41310" y="0"/>
                  </a:lnTo>
                  <a:lnTo>
                    <a:pt x="38163" y="393"/>
                  </a:lnTo>
                  <a:lnTo>
                    <a:pt x="35015" y="787"/>
                  </a:lnTo>
                  <a:lnTo>
                    <a:pt x="31474" y="1180"/>
                  </a:lnTo>
                  <a:lnTo>
                    <a:pt x="28327" y="1180"/>
                  </a:lnTo>
                  <a:lnTo>
                    <a:pt x="25573" y="1180"/>
                  </a:lnTo>
                  <a:lnTo>
                    <a:pt x="22032" y="1574"/>
                  </a:lnTo>
                  <a:lnTo>
                    <a:pt x="18885" y="2361"/>
                  </a:lnTo>
                  <a:lnTo>
                    <a:pt x="15737" y="1574"/>
                  </a:lnTo>
                  <a:lnTo>
                    <a:pt x="12590" y="1180"/>
                  </a:lnTo>
                  <a:lnTo>
                    <a:pt x="1534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27" name="Freeform: Shape 3221">
              <a:extLst>
                <a:ext uri="{FF2B5EF4-FFF2-40B4-BE49-F238E27FC236}">
                  <a16:creationId xmlns:a16="http://schemas.microsoft.com/office/drawing/2014/main" id="{D29C0A4F-F655-402B-A78D-038685CDDD3C}"/>
                </a:ext>
              </a:extLst>
            </p:cNvPr>
            <p:cNvSpPr/>
            <p:nvPr/>
          </p:nvSpPr>
          <p:spPr>
            <a:xfrm>
              <a:off x="7311688" y="1120416"/>
              <a:ext cx="51145" cy="7869"/>
            </a:xfrm>
            <a:custGeom>
              <a:avLst/>
              <a:gdLst>
                <a:gd name="connsiteX0" fmla="*/ 3148 w 51145"/>
                <a:gd name="connsiteY0" fmla="*/ 6688 h 7868"/>
                <a:gd name="connsiteX1" fmla="*/ 0 w 51145"/>
                <a:gd name="connsiteY1" fmla="*/ 7475 h 7868"/>
                <a:gd name="connsiteX2" fmla="*/ 1967 w 51145"/>
                <a:gd name="connsiteY2" fmla="*/ 9049 h 7868"/>
                <a:gd name="connsiteX3" fmla="*/ 5115 w 51145"/>
                <a:gd name="connsiteY3" fmla="*/ 9442 h 7868"/>
                <a:gd name="connsiteX4" fmla="*/ 7869 w 51145"/>
                <a:gd name="connsiteY4" fmla="*/ 9836 h 7868"/>
                <a:gd name="connsiteX5" fmla="*/ 11016 w 51145"/>
                <a:gd name="connsiteY5" fmla="*/ 10623 h 7868"/>
                <a:gd name="connsiteX6" fmla="*/ 13770 w 51145"/>
                <a:gd name="connsiteY6" fmla="*/ 11016 h 7868"/>
                <a:gd name="connsiteX7" fmla="*/ 16524 w 51145"/>
                <a:gd name="connsiteY7" fmla="*/ 11016 h 7868"/>
                <a:gd name="connsiteX8" fmla="*/ 19671 w 51145"/>
                <a:gd name="connsiteY8" fmla="*/ 10623 h 7868"/>
                <a:gd name="connsiteX9" fmla="*/ 23212 w 51145"/>
                <a:gd name="connsiteY9" fmla="*/ 10229 h 7868"/>
                <a:gd name="connsiteX10" fmla="*/ 25966 w 51145"/>
                <a:gd name="connsiteY10" fmla="*/ 10229 h 7868"/>
                <a:gd name="connsiteX11" fmla="*/ 29114 w 51145"/>
                <a:gd name="connsiteY11" fmla="*/ 9836 h 7868"/>
                <a:gd name="connsiteX12" fmla="*/ 32261 w 51145"/>
                <a:gd name="connsiteY12" fmla="*/ 9836 h 7868"/>
                <a:gd name="connsiteX13" fmla="*/ 35408 w 51145"/>
                <a:gd name="connsiteY13" fmla="*/ 9836 h 7868"/>
                <a:gd name="connsiteX14" fmla="*/ 38162 w 51145"/>
                <a:gd name="connsiteY14" fmla="*/ 9836 h 7868"/>
                <a:gd name="connsiteX15" fmla="*/ 41310 w 51145"/>
                <a:gd name="connsiteY15" fmla="*/ 9049 h 7868"/>
                <a:gd name="connsiteX16" fmla="*/ 44457 w 51145"/>
                <a:gd name="connsiteY16" fmla="*/ 8655 h 7868"/>
                <a:gd name="connsiteX17" fmla="*/ 47605 w 51145"/>
                <a:gd name="connsiteY17" fmla="*/ 7475 h 7868"/>
                <a:gd name="connsiteX18" fmla="*/ 51145 w 51145"/>
                <a:gd name="connsiteY18" fmla="*/ 6295 h 7868"/>
                <a:gd name="connsiteX19" fmla="*/ 49572 w 51145"/>
                <a:gd name="connsiteY19" fmla="*/ 3541 h 7868"/>
                <a:gd name="connsiteX20" fmla="*/ 46425 w 51145"/>
                <a:gd name="connsiteY20" fmla="*/ 2361 h 7868"/>
                <a:gd name="connsiteX21" fmla="*/ 43670 w 51145"/>
                <a:gd name="connsiteY21" fmla="*/ 1180 h 7868"/>
                <a:gd name="connsiteX22" fmla="*/ 40129 w 51145"/>
                <a:gd name="connsiteY22" fmla="*/ 787 h 7868"/>
                <a:gd name="connsiteX23" fmla="*/ 37376 w 51145"/>
                <a:gd name="connsiteY23" fmla="*/ 393 h 7868"/>
                <a:gd name="connsiteX24" fmla="*/ 34228 w 51145"/>
                <a:gd name="connsiteY24" fmla="*/ 0 h 7868"/>
                <a:gd name="connsiteX25" fmla="*/ 31474 w 51145"/>
                <a:gd name="connsiteY25" fmla="*/ 0 h 7868"/>
                <a:gd name="connsiteX26" fmla="*/ 28327 w 51145"/>
                <a:gd name="connsiteY26" fmla="*/ 0 h 7868"/>
                <a:gd name="connsiteX27" fmla="*/ 25179 w 51145"/>
                <a:gd name="connsiteY27" fmla="*/ 1574 h 7868"/>
                <a:gd name="connsiteX28" fmla="*/ 25179 w 51145"/>
                <a:gd name="connsiteY28" fmla="*/ 4721 h 7868"/>
                <a:gd name="connsiteX29" fmla="*/ 12589 w 51145"/>
                <a:gd name="connsiteY29" fmla="*/ 4721 h 7868"/>
                <a:gd name="connsiteX30" fmla="*/ 9049 w 51145"/>
                <a:gd name="connsiteY30" fmla="*/ 5115 h 7868"/>
                <a:gd name="connsiteX31" fmla="*/ 5901 w 51145"/>
                <a:gd name="connsiteY31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1145" h="7868">
                  <a:moveTo>
                    <a:pt x="3148" y="6688"/>
                  </a:moveTo>
                  <a:lnTo>
                    <a:pt x="0" y="7475"/>
                  </a:lnTo>
                  <a:lnTo>
                    <a:pt x="1967" y="9049"/>
                  </a:lnTo>
                  <a:lnTo>
                    <a:pt x="5115" y="9442"/>
                  </a:lnTo>
                  <a:lnTo>
                    <a:pt x="7869" y="9836"/>
                  </a:lnTo>
                  <a:lnTo>
                    <a:pt x="11016" y="10623"/>
                  </a:lnTo>
                  <a:lnTo>
                    <a:pt x="13770" y="11016"/>
                  </a:lnTo>
                  <a:lnTo>
                    <a:pt x="16524" y="11016"/>
                  </a:lnTo>
                  <a:lnTo>
                    <a:pt x="19671" y="10623"/>
                  </a:lnTo>
                  <a:lnTo>
                    <a:pt x="23212" y="10229"/>
                  </a:lnTo>
                  <a:lnTo>
                    <a:pt x="25966" y="10229"/>
                  </a:lnTo>
                  <a:lnTo>
                    <a:pt x="29114" y="9836"/>
                  </a:lnTo>
                  <a:lnTo>
                    <a:pt x="32261" y="9836"/>
                  </a:lnTo>
                  <a:lnTo>
                    <a:pt x="35408" y="9836"/>
                  </a:lnTo>
                  <a:lnTo>
                    <a:pt x="38162" y="9836"/>
                  </a:lnTo>
                  <a:lnTo>
                    <a:pt x="41310" y="9049"/>
                  </a:lnTo>
                  <a:lnTo>
                    <a:pt x="44457" y="8655"/>
                  </a:lnTo>
                  <a:lnTo>
                    <a:pt x="47605" y="7475"/>
                  </a:lnTo>
                  <a:lnTo>
                    <a:pt x="51145" y="6295"/>
                  </a:lnTo>
                  <a:lnTo>
                    <a:pt x="49572" y="3541"/>
                  </a:lnTo>
                  <a:lnTo>
                    <a:pt x="46425" y="2361"/>
                  </a:lnTo>
                  <a:lnTo>
                    <a:pt x="43670" y="1180"/>
                  </a:lnTo>
                  <a:lnTo>
                    <a:pt x="40129" y="787"/>
                  </a:lnTo>
                  <a:lnTo>
                    <a:pt x="37376" y="393"/>
                  </a:lnTo>
                  <a:lnTo>
                    <a:pt x="34228" y="0"/>
                  </a:lnTo>
                  <a:lnTo>
                    <a:pt x="31474" y="0"/>
                  </a:lnTo>
                  <a:lnTo>
                    <a:pt x="28327" y="0"/>
                  </a:lnTo>
                  <a:lnTo>
                    <a:pt x="25179" y="1574"/>
                  </a:lnTo>
                  <a:lnTo>
                    <a:pt x="25179" y="4721"/>
                  </a:lnTo>
                  <a:lnTo>
                    <a:pt x="12589" y="4721"/>
                  </a:lnTo>
                  <a:lnTo>
                    <a:pt x="9049" y="5115"/>
                  </a:lnTo>
                  <a:lnTo>
                    <a:pt x="5901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28" name="Freeform: Shape 3222">
              <a:extLst>
                <a:ext uri="{FF2B5EF4-FFF2-40B4-BE49-F238E27FC236}">
                  <a16:creationId xmlns:a16="http://schemas.microsoft.com/office/drawing/2014/main" id="{ABFCCEA1-F975-492A-88A1-6CCCADE3C9D5}"/>
                </a:ext>
              </a:extLst>
            </p:cNvPr>
            <p:cNvSpPr/>
            <p:nvPr/>
          </p:nvSpPr>
          <p:spPr>
            <a:xfrm>
              <a:off x="7024880" y="1126318"/>
              <a:ext cx="86554" cy="15737"/>
            </a:xfrm>
            <a:custGeom>
              <a:avLst/>
              <a:gdLst>
                <a:gd name="connsiteX0" fmla="*/ 29900 w 86553"/>
                <a:gd name="connsiteY0" fmla="*/ 7869 h 15737"/>
                <a:gd name="connsiteX1" fmla="*/ 26753 w 86553"/>
                <a:gd name="connsiteY1" fmla="*/ 8262 h 15737"/>
                <a:gd name="connsiteX2" fmla="*/ 23606 w 86553"/>
                <a:gd name="connsiteY2" fmla="*/ 8262 h 15737"/>
                <a:gd name="connsiteX3" fmla="*/ 20458 w 86553"/>
                <a:gd name="connsiteY3" fmla="*/ 8655 h 15737"/>
                <a:gd name="connsiteX4" fmla="*/ 17311 w 86553"/>
                <a:gd name="connsiteY4" fmla="*/ 9049 h 15737"/>
                <a:gd name="connsiteX5" fmla="*/ 14163 w 86553"/>
                <a:gd name="connsiteY5" fmla="*/ 9836 h 15737"/>
                <a:gd name="connsiteX6" fmla="*/ 11409 w 86553"/>
                <a:gd name="connsiteY6" fmla="*/ 10229 h 15737"/>
                <a:gd name="connsiteX7" fmla="*/ 14557 w 86553"/>
                <a:gd name="connsiteY7" fmla="*/ 10229 h 15737"/>
                <a:gd name="connsiteX8" fmla="*/ 17704 w 86553"/>
                <a:gd name="connsiteY8" fmla="*/ 9836 h 15737"/>
                <a:gd name="connsiteX9" fmla="*/ 20852 w 86553"/>
                <a:gd name="connsiteY9" fmla="*/ 10229 h 15737"/>
                <a:gd name="connsiteX10" fmla="*/ 24393 w 86553"/>
                <a:gd name="connsiteY10" fmla="*/ 10229 h 15737"/>
                <a:gd name="connsiteX11" fmla="*/ 27540 w 86553"/>
                <a:gd name="connsiteY11" fmla="*/ 11016 h 15737"/>
                <a:gd name="connsiteX12" fmla="*/ 24786 w 86553"/>
                <a:gd name="connsiteY12" fmla="*/ 11016 h 15737"/>
                <a:gd name="connsiteX13" fmla="*/ 18491 w 86553"/>
                <a:gd name="connsiteY13" fmla="*/ 11016 h 15737"/>
                <a:gd name="connsiteX14" fmla="*/ 21638 w 86553"/>
                <a:gd name="connsiteY14" fmla="*/ 12196 h 15737"/>
                <a:gd name="connsiteX15" fmla="*/ 24786 w 86553"/>
                <a:gd name="connsiteY15" fmla="*/ 12590 h 15737"/>
                <a:gd name="connsiteX16" fmla="*/ 21638 w 86553"/>
                <a:gd name="connsiteY16" fmla="*/ 13770 h 15737"/>
                <a:gd name="connsiteX17" fmla="*/ 18491 w 86553"/>
                <a:gd name="connsiteY17" fmla="*/ 13376 h 15737"/>
                <a:gd name="connsiteX18" fmla="*/ 11803 w 86553"/>
                <a:gd name="connsiteY18" fmla="*/ 13376 h 15737"/>
                <a:gd name="connsiteX19" fmla="*/ 9049 w 86553"/>
                <a:gd name="connsiteY19" fmla="*/ 13376 h 15737"/>
                <a:gd name="connsiteX20" fmla="*/ 5901 w 86553"/>
                <a:gd name="connsiteY20" fmla="*/ 12196 h 15737"/>
                <a:gd name="connsiteX21" fmla="*/ 2754 w 86553"/>
                <a:gd name="connsiteY21" fmla="*/ 12590 h 15737"/>
                <a:gd name="connsiteX22" fmla="*/ 0 w 86553"/>
                <a:gd name="connsiteY22" fmla="*/ 13376 h 15737"/>
                <a:gd name="connsiteX23" fmla="*/ 2754 w 86553"/>
                <a:gd name="connsiteY23" fmla="*/ 14950 h 15737"/>
                <a:gd name="connsiteX24" fmla="*/ 5901 w 86553"/>
                <a:gd name="connsiteY24" fmla="*/ 16130 h 15737"/>
                <a:gd name="connsiteX25" fmla="*/ 8656 w 86553"/>
                <a:gd name="connsiteY25" fmla="*/ 16524 h 15737"/>
                <a:gd name="connsiteX26" fmla="*/ 11803 w 86553"/>
                <a:gd name="connsiteY26" fmla="*/ 16130 h 15737"/>
                <a:gd name="connsiteX27" fmla="*/ 14950 w 86553"/>
                <a:gd name="connsiteY27" fmla="*/ 15344 h 15737"/>
                <a:gd name="connsiteX28" fmla="*/ 18491 w 86553"/>
                <a:gd name="connsiteY28" fmla="*/ 15344 h 15737"/>
                <a:gd name="connsiteX29" fmla="*/ 21638 w 86553"/>
                <a:gd name="connsiteY29" fmla="*/ 14950 h 15737"/>
                <a:gd name="connsiteX30" fmla="*/ 24786 w 86553"/>
                <a:gd name="connsiteY30" fmla="*/ 15344 h 15737"/>
                <a:gd name="connsiteX31" fmla="*/ 21638 w 86553"/>
                <a:gd name="connsiteY31" fmla="*/ 16524 h 15737"/>
                <a:gd name="connsiteX32" fmla="*/ 20065 w 86553"/>
                <a:gd name="connsiteY32" fmla="*/ 18098 h 15737"/>
                <a:gd name="connsiteX33" fmla="*/ 22819 w 86553"/>
                <a:gd name="connsiteY33" fmla="*/ 18884 h 15737"/>
                <a:gd name="connsiteX34" fmla="*/ 26753 w 86553"/>
                <a:gd name="connsiteY34" fmla="*/ 18491 h 15737"/>
                <a:gd name="connsiteX35" fmla="*/ 29507 w 86553"/>
                <a:gd name="connsiteY35" fmla="*/ 17311 h 15737"/>
                <a:gd name="connsiteX36" fmla="*/ 32261 w 86553"/>
                <a:gd name="connsiteY36" fmla="*/ 18098 h 15737"/>
                <a:gd name="connsiteX37" fmla="*/ 35408 w 86553"/>
                <a:gd name="connsiteY37" fmla="*/ 18098 h 15737"/>
                <a:gd name="connsiteX38" fmla="*/ 38163 w 86553"/>
                <a:gd name="connsiteY38" fmla="*/ 16130 h 15737"/>
                <a:gd name="connsiteX39" fmla="*/ 40916 w 86553"/>
                <a:gd name="connsiteY39" fmla="*/ 17311 h 15737"/>
                <a:gd name="connsiteX40" fmla="*/ 44064 w 86553"/>
                <a:gd name="connsiteY40" fmla="*/ 17311 h 15737"/>
                <a:gd name="connsiteX41" fmla="*/ 42097 w 86553"/>
                <a:gd name="connsiteY41" fmla="*/ 14163 h 15737"/>
                <a:gd name="connsiteX42" fmla="*/ 39343 w 86553"/>
                <a:gd name="connsiteY42" fmla="*/ 14163 h 15737"/>
                <a:gd name="connsiteX43" fmla="*/ 36589 w 86553"/>
                <a:gd name="connsiteY43" fmla="*/ 14163 h 15737"/>
                <a:gd name="connsiteX44" fmla="*/ 39736 w 86553"/>
                <a:gd name="connsiteY44" fmla="*/ 11803 h 15737"/>
                <a:gd name="connsiteX45" fmla="*/ 42884 w 86553"/>
                <a:gd name="connsiteY45" fmla="*/ 12196 h 15737"/>
                <a:gd name="connsiteX46" fmla="*/ 46031 w 86553"/>
                <a:gd name="connsiteY46" fmla="*/ 11803 h 15737"/>
                <a:gd name="connsiteX47" fmla="*/ 48785 w 86553"/>
                <a:gd name="connsiteY47" fmla="*/ 12196 h 15737"/>
                <a:gd name="connsiteX48" fmla="*/ 51539 w 86553"/>
                <a:gd name="connsiteY48" fmla="*/ 12196 h 15737"/>
                <a:gd name="connsiteX49" fmla="*/ 54686 w 86553"/>
                <a:gd name="connsiteY49" fmla="*/ 12196 h 15737"/>
                <a:gd name="connsiteX50" fmla="*/ 57834 w 86553"/>
                <a:gd name="connsiteY50" fmla="*/ 9442 h 15737"/>
                <a:gd name="connsiteX51" fmla="*/ 60588 w 86553"/>
                <a:gd name="connsiteY51" fmla="*/ 9049 h 15737"/>
                <a:gd name="connsiteX52" fmla="*/ 64129 w 86553"/>
                <a:gd name="connsiteY52" fmla="*/ 8655 h 15737"/>
                <a:gd name="connsiteX53" fmla="*/ 73964 w 86553"/>
                <a:gd name="connsiteY53" fmla="*/ 8655 h 15737"/>
                <a:gd name="connsiteX54" fmla="*/ 76718 w 86553"/>
                <a:gd name="connsiteY54" fmla="*/ 8262 h 15737"/>
                <a:gd name="connsiteX55" fmla="*/ 80259 w 86553"/>
                <a:gd name="connsiteY55" fmla="*/ 6295 h 15737"/>
                <a:gd name="connsiteX56" fmla="*/ 83407 w 86553"/>
                <a:gd name="connsiteY56" fmla="*/ 6295 h 15737"/>
                <a:gd name="connsiteX57" fmla="*/ 86554 w 86553"/>
                <a:gd name="connsiteY57" fmla="*/ 5901 h 15737"/>
                <a:gd name="connsiteX58" fmla="*/ 83013 w 86553"/>
                <a:gd name="connsiteY58" fmla="*/ 3934 h 15737"/>
                <a:gd name="connsiteX59" fmla="*/ 80259 w 86553"/>
                <a:gd name="connsiteY59" fmla="*/ 3147 h 15737"/>
                <a:gd name="connsiteX60" fmla="*/ 73571 w 86553"/>
                <a:gd name="connsiteY60" fmla="*/ 3147 h 15737"/>
                <a:gd name="connsiteX61" fmla="*/ 70817 w 86553"/>
                <a:gd name="connsiteY61" fmla="*/ 3934 h 15737"/>
                <a:gd name="connsiteX62" fmla="*/ 68063 w 86553"/>
                <a:gd name="connsiteY62" fmla="*/ 3541 h 15737"/>
                <a:gd name="connsiteX63" fmla="*/ 64915 w 86553"/>
                <a:gd name="connsiteY63" fmla="*/ 4328 h 15737"/>
                <a:gd name="connsiteX64" fmla="*/ 62162 w 86553"/>
                <a:gd name="connsiteY64" fmla="*/ 3934 h 15737"/>
                <a:gd name="connsiteX65" fmla="*/ 64915 w 86553"/>
                <a:gd name="connsiteY65" fmla="*/ 3147 h 15737"/>
                <a:gd name="connsiteX66" fmla="*/ 68063 w 86553"/>
                <a:gd name="connsiteY66" fmla="*/ 2361 h 15737"/>
                <a:gd name="connsiteX67" fmla="*/ 71604 w 86553"/>
                <a:gd name="connsiteY67" fmla="*/ 1967 h 15737"/>
                <a:gd name="connsiteX68" fmla="*/ 68456 w 86553"/>
                <a:gd name="connsiteY68" fmla="*/ 393 h 15737"/>
                <a:gd name="connsiteX69" fmla="*/ 65309 w 86553"/>
                <a:gd name="connsiteY69" fmla="*/ 1180 h 15737"/>
                <a:gd name="connsiteX70" fmla="*/ 62162 w 86553"/>
                <a:gd name="connsiteY70" fmla="*/ 1180 h 15737"/>
                <a:gd name="connsiteX71" fmla="*/ 59014 w 86553"/>
                <a:gd name="connsiteY71" fmla="*/ 1574 h 15737"/>
                <a:gd name="connsiteX72" fmla="*/ 55867 w 86553"/>
                <a:gd name="connsiteY72" fmla="*/ 1180 h 15737"/>
                <a:gd name="connsiteX73" fmla="*/ 59014 w 86553"/>
                <a:gd name="connsiteY73" fmla="*/ 393 h 15737"/>
                <a:gd name="connsiteX74" fmla="*/ 61768 w 86553"/>
                <a:gd name="connsiteY74" fmla="*/ 393 h 15737"/>
                <a:gd name="connsiteX75" fmla="*/ 58621 w 86553"/>
                <a:gd name="connsiteY75" fmla="*/ 0 h 15737"/>
                <a:gd name="connsiteX76" fmla="*/ 55473 w 86553"/>
                <a:gd name="connsiteY76" fmla="*/ 0 h 15737"/>
                <a:gd name="connsiteX77" fmla="*/ 52326 w 86553"/>
                <a:gd name="connsiteY77" fmla="*/ 393 h 15737"/>
                <a:gd name="connsiteX78" fmla="*/ 49178 w 86553"/>
                <a:gd name="connsiteY78" fmla="*/ 1574 h 15737"/>
                <a:gd name="connsiteX79" fmla="*/ 46031 w 86553"/>
                <a:gd name="connsiteY79" fmla="*/ 1967 h 15737"/>
                <a:gd name="connsiteX80" fmla="*/ 42884 w 86553"/>
                <a:gd name="connsiteY80" fmla="*/ 2361 h 15737"/>
                <a:gd name="connsiteX81" fmla="*/ 39343 w 86553"/>
                <a:gd name="connsiteY81" fmla="*/ 3147 h 15737"/>
                <a:gd name="connsiteX82" fmla="*/ 42884 w 86553"/>
                <a:gd name="connsiteY82" fmla="*/ 3934 h 15737"/>
                <a:gd name="connsiteX83" fmla="*/ 45637 w 86553"/>
                <a:gd name="connsiteY83" fmla="*/ 5115 h 15737"/>
                <a:gd name="connsiteX84" fmla="*/ 48785 w 86553"/>
                <a:gd name="connsiteY84" fmla="*/ 4328 h 15737"/>
                <a:gd name="connsiteX85" fmla="*/ 45244 w 86553"/>
                <a:gd name="connsiteY85" fmla="*/ 6295 h 15737"/>
                <a:gd name="connsiteX86" fmla="*/ 42097 w 86553"/>
                <a:gd name="connsiteY86" fmla="*/ 8655 h 15737"/>
                <a:gd name="connsiteX87" fmla="*/ 38949 w 86553"/>
                <a:gd name="connsiteY87" fmla="*/ 8655 h 15737"/>
                <a:gd name="connsiteX88" fmla="*/ 35802 w 86553"/>
                <a:gd name="connsiteY88" fmla="*/ 9049 h 15737"/>
                <a:gd name="connsiteX89" fmla="*/ 32655 w 86553"/>
                <a:gd name="connsiteY89" fmla="*/ 9049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86553" h="15737">
                  <a:moveTo>
                    <a:pt x="29900" y="7869"/>
                  </a:moveTo>
                  <a:lnTo>
                    <a:pt x="26753" y="8262"/>
                  </a:lnTo>
                  <a:lnTo>
                    <a:pt x="23606" y="8262"/>
                  </a:lnTo>
                  <a:lnTo>
                    <a:pt x="20458" y="8655"/>
                  </a:lnTo>
                  <a:lnTo>
                    <a:pt x="17311" y="9049"/>
                  </a:lnTo>
                  <a:lnTo>
                    <a:pt x="14163" y="9836"/>
                  </a:lnTo>
                  <a:lnTo>
                    <a:pt x="11409" y="10229"/>
                  </a:lnTo>
                  <a:lnTo>
                    <a:pt x="14557" y="10229"/>
                  </a:lnTo>
                  <a:lnTo>
                    <a:pt x="17704" y="9836"/>
                  </a:lnTo>
                  <a:lnTo>
                    <a:pt x="20852" y="10229"/>
                  </a:lnTo>
                  <a:lnTo>
                    <a:pt x="24393" y="10229"/>
                  </a:lnTo>
                  <a:lnTo>
                    <a:pt x="27540" y="11016"/>
                  </a:lnTo>
                  <a:lnTo>
                    <a:pt x="24786" y="11016"/>
                  </a:lnTo>
                  <a:lnTo>
                    <a:pt x="18491" y="11016"/>
                  </a:lnTo>
                  <a:lnTo>
                    <a:pt x="21638" y="12196"/>
                  </a:lnTo>
                  <a:lnTo>
                    <a:pt x="24786" y="12590"/>
                  </a:lnTo>
                  <a:lnTo>
                    <a:pt x="21638" y="13770"/>
                  </a:lnTo>
                  <a:lnTo>
                    <a:pt x="18491" y="13376"/>
                  </a:lnTo>
                  <a:lnTo>
                    <a:pt x="11803" y="13376"/>
                  </a:lnTo>
                  <a:lnTo>
                    <a:pt x="9049" y="13376"/>
                  </a:lnTo>
                  <a:lnTo>
                    <a:pt x="5901" y="12196"/>
                  </a:lnTo>
                  <a:lnTo>
                    <a:pt x="2754" y="12590"/>
                  </a:lnTo>
                  <a:lnTo>
                    <a:pt x="0" y="13376"/>
                  </a:lnTo>
                  <a:lnTo>
                    <a:pt x="2754" y="14950"/>
                  </a:lnTo>
                  <a:lnTo>
                    <a:pt x="5901" y="16130"/>
                  </a:lnTo>
                  <a:lnTo>
                    <a:pt x="8656" y="16524"/>
                  </a:lnTo>
                  <a:lnTo>
                    <a:pt x="11803" y="16130"/>
                  </a:lnTo>
                  <a:lnTo>
                    <a:pt x="14950" y="15344"/>
                  </a:lnTo>
                  <a:lnTo>
                    <a:pt x="18491" y="15344"/>
                  </a:lnTo>
                  <a:lnTo>
                    <a:pt x="21638" y="14950"/>
                  </a:lnTo>
                  <a:lnTo>
                    <a:pt x="24786" y="15344"/>
                  </a:lnTo>
                  <a:lnTo>
                    <a:pt x="21638" y="16524"/>
                  </a:lnTo>
                  <a:lnTo>
                    <a:pt x="20065" y="18098"/>
                  </a:lnTo>
                  <a:lnTo>
                    <a:pt x="22819" y="18884"/>
                  </a:lnTo>
                  <a:lnTo>
                    <a:pt x="26753" y="18491"/>
                  </a:lnTo>
                  <a:lnTo>
                    <a:pt x="29507" y="17311"/>
                  </a:lnTo>
                  <a:lnTo>
                    <a:pt x="32261" y="18098"/>
                  </a:lnTo>
                  <a:lnTo>
                    <a:pt x="35408" y="18098"/>
                  </a:lnTo>
                  <a:lnTo>
                    <a:pt x="38163" y="16130"/>
                  </a:lnTo>
                  <a:lnTo>
                    <a:pt x="40916" y="17311"/>
                  </a:lnTo>
                  <a:lnTo>
                    <a:pt x="44064" y="17311"/>
                  </a:lnTo>
                  <a:lnTo>
                    <a:pt x="42097" y="14163"/>
                  </a:lnTo>
                  <a:lnTo>
                    <a:pt x="39343" y="14163"/>
                  </a:lnTo>
                  <a:lnTo>
                    <a:pt x="36589" y="14163"/>
                  </a:lnTo>
                  <a:lnTo>
                    <a:pt x="39736" y="11803"/>
                  </a:lnTo>
                  <a:lnTo>
                    <a:pt x="42884" y="12196"/>
                  </a:lnTo>
                  <a:lnTo>
                    <a:pt x="46031" y="11803"/>
                  </a:lnTo>
                  <a:lnTo>
                    <a:pt x="48785" y="12196"/>
                  </a:lnTo>
                  <a:lnTo>
                    <a:pt x="51539" y="12196"/>
                  </a:lnTo>
                  <a:lnTo>
                    <a:pt x="54686" y="12196"/>
                  </a:lnTo>
                  <a:lnTo>
                    <a:pt x="57834" y="9442"/>
                  </a:lnTo>
                  <a:lnTo>
                    <a:pt x="60588" y="9049"/>
                  </a:lnTo>
                  <a:lnTo>
                    <a:pt x="64129" y="8655"/>
                  </a:lnTo>
                  <a:lnTo>
                    <a:pt x="73964" y="8655"/>
                  </a:lnTo>
                  <a:lnTo>
                    <a:pt x="76718" y="8262"/>
                  </a:lnTo>
                  <a:lnTo>
                    <a:pt x="80259" y="6295"/>
                  </a:lnTo>
                  <a:lnTo>
                    <a:pt x="83407" y="6295"/>
                  </a:lnTo>
                  <a:lnTo>
                    <a:pt x="86554" y="5901"/>
                  </a:lnTo>
                  <a:lnTo>
                    <a:pt x="83013" y="3934"/>
                  </a:lnTo>
                  <a:lnTo>
                    <a:pt x="80259" y="3147"/>
                  </a:lnTo>
                  <a:lnTo>
                    <a:pt x="73571" y="3147"/>
                  </a:lnTo>
                  <a:lnTo>
                    <a:pt x="70817" y="3934"/>
                  </a:lnTo>
                  <a:lnTo>
                    <a:pt x="68063" y="3541"/>
                  </a:lnTo>
                  <a:lnTo>
                    <a:pt x="64915" y="4328"/>
                  </a:lnTo>
                  <a:lnTo>
                    <a:pt x="62162" y="3934"/>
                  </a:lnTo>
                  <a:lnTo>
                    <a:pt x="64915" y="3147"/>
                  </a:lnTo>
                  <a:lnTo>
                    <a:pt x="68063" y="2361"/>
                  </a:lnTo>
                  <a:lnTo>
                    <a:pt x="71604" y="1967"/>
                  </a:lnTo>
                  <a:lnTo>
                    <a:pt x="68456" y="393"/>
                  </a:lnTo>
                  <a:lnTo>
                    <a:pt x="65309" y="1180"/>
                  </a:lnTo>
                  <a:lnTo>
                    <a:pt x="62162" y="1180"/>
                  </a:lnTo>
                  <a:lnTo>
                    <a:pt x="59014" y="1574"/>
                  </a:lnTo>
                  <a:lnTo>
                    <a:pt x="55867" y="1180"/>
                  </a:lnTo>
                  <a:lnTo>
                    <a:pt x="59014" y="393"/>
                  </a:lnTo>
                  <a:lnTo>
                    <a:pt x="61768" y="393"/>
                  </a:lnTo>
                  <a:lnTo>
                    <a:pt x="58621" y="0"/>
                  </a:lnTo>
                  <a:lnTo>
                    <a:pt x="55473" y="0"/>
                  </a:lnTo>
                  <a:lnTo>
                    <a:pt x="52326" y="393"/>
                  </a:lnTo>
                  <a:lnTo>
                    <a:pt x="49178" y="1574"/>
                  </a:lnTo>
                  <a:lnTo>
                    <a:pt x="46031" y="1967"/>
                  </a:lnTo>
                  <a:lnTo>
                    <a:pt x="42884" y="2361"/>
                  </a:lnTo>
                  <a:lnTo>
                    <a:pt x="39343" y="3147"/>
                  </a:lnTo>
                  <a:lnTo>
                    <a:pt x="42884" y="3934"/>
                  </a:lnTo>
                  <a:lnTo>
                    <a:pt x="45637" y="5115"/>
                  </a:lnTo>
                  <a:lnTo>
                    <a:pt x="48785" y="4328"/>
                  </a:lnTo>
                  <a:lnTo>
                    <a:pt x="45244" y="6295"/>
                  </a:lnTo>
                  <a:lnTo>
                    <a:pt x="42097" y="8655"/>
                  </a:lnTo>
                  <a:lnTo>
                    <a:pt x="38949" y="8655"/>
                  </a:lnTo>
                  <a:lnTo>
                    <a:pt x="35802" y="9049"/>
                  </a:lnTo>
                  <a:lnTo>
                    <a:pt x="32655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29" name="Freeform: Shape 3223">
              <a:extLst>
                <a:ext uri="{FF2B5EF4-FFF2-40B4-BE49-F238E27FC236}">
                  <a16:creationId xmlns:a16="http://schemas.microsoft.com/office/drawing/2014/main" id="{70D2E2BB-74F2-417C-ACA3-9CDC6F3E68DC}"/>
                </a:ext>
              </a:extLst>
            </p:cNvPr>
            <p:cNvSpPr/>
            <p:nvPr/>
          </p:nvSpPr>
          <p:spPr>
            <a:xfrm>
              <a:off x="7080747" y="1141661"/>
              <a:ext cx="11803" cy="3934"/>
            </a:xfrm>
            <a:custGeom>
              <a:avLst/>
              <a:gdLst>
                <a:gd name="connsiteX0" fmla="*/ 6295 w 11802"/>
                <a:gd name="connsiteY0" fmla="*/ 3934 h 3934"/>
                <a:gd name="connsiteX1" fmla="*/ 9442 w 11802"/>
                <a:gd name="connsiteY1" fmla="*/ 3147 h 3934"/>
                <a:gd name="connsiteX2" fmla="*/ 12196 w 11802"/>
                <a:gd name="connsiteY2" fmla="*/ 393 h 3934"/>
                <a:gd name="connsiteX3" fmla="*/ 9442 w 11802"/>
                <a:gd name="connsiteY3" fmla="*/ 0 h 3934"/>
                <a:gd name="connsiteX4" fmla="*/ 6295 w 11802"/>
                <a:gd name="connsiteY4" fmla="*/ 0 h 3934"/>
                <a:gd name="connsiteX5" fmla="*/ 3147 w 11802"/>
                <a:gd name="connsiteY5" fmla="*/ 393 h 3934"/>
                <a:gd name="connsiteX6" fmla="*/ 0 w 11802"/>
                <a:gd name="connsiteY6" fmla="*/ 1967 h 3934"/>
                <a:gd name="connsiteX7" fmla="*/ 3147 w 11802"/>
                <a:gd name="connsiteY7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 h="3934">
                  <a:moveTo>
                    <a:pt x="6295" y="3934"/>
                  </a:moveTo>
                  <a:lnTo>
                    <a:pt x="9442" y="3147"/>
                  </a:lnTo>
                  <a:lnTo>
                    <a:pt x="12196" y="393"/>
                  </a:lnTo>
                  <a:lnTo>
                    <a:pt x="9442" y="0"/>
                  </a:lnTo>
                  <a:lnTo>
                    <a:pt x="6295" y="0"/>
                  </a:lnTo>
                  <a:lnTo>
                    <a:pt x="3147" y="393"/>
                  </a:lnTo>
                  <a:lnTo>
                    <a:pt x="0" y="1967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30" name="Freeform: Shape 3224">
              <a:extLst>
                <a:ext uri="{FF2B5EF4-FFF2-40B4-BE49-F238E27FC236}">
                  <a16:creationId xmlns:a16="http://schemas.microsoft.com/office/drawing/2014/main" id="{68CE5915-A922-4D5A-AA55-4384C8BA4CF2}"/>
                </a:ext>
              </a:extLst>
            </p:cNvPr>
            <p:cNvSpPr/>
            <p:nvPr/>
          </p:nvSpPr>
          <p:spPr>
            <a:xfrm>
              <a:off x="7091762" y="1144415"/>
              <a:ext cx="23606" cy="3934"/>
            </a:xfrm>
            <a:custGeom>
              <a:avLst/>
              <a:gdLst>
                <a:gd name="connsiteX0" fmla="*/ 16130 w 23605"/>
                <a:gd name="connsiteY0" fmla="*/ 0 h 3934"/>
                <a:gd name="connsiteX1" fmla="*/ 12983 w 23605"/>
                <a:gd name="connsiteY1" fmla="*/ 1180 h 3934"/>
                <a:gd name="connsiteX2" fmla="*/ 9442 w 23605"/>
                <a:gd name="connsiteY2" fmla="*/ 2361 h 3934"/>
                <a:gd name="connsiteX3" fmla="*/ 9049 w 23605"/>
                <a:gd name="connsiteY3" fmla="*/ 2754 h 3934"/>
                <a:gd name="connsiteX4" fmla="*/ 5901 w 23605"/>
                <a:gd name="connsiteY4" fmla="*/ 2754 h 3934"/>
                <a:gd name="connsiteX5" fmla="*/ 2754 w 23605"/>
                <a:gd name="connsiteY5" fmla="*/ 2361 h 3934"/>
                <a:gd name="connsiteX6" fmla="*/ 0 w 23605"/>
                <a:gd name="connsiteY6" fmla="*/ 3147 h 3934"/>
                <a:gd name="connsiteX7" fmla="*/ 2754 w 23605"/>
                <a:gd name="connsiteY7" fmla="*/ 3147 h 3934"/>
                <a:gd name="connsiteX8" fmla="*/ 5901 w 23605"/>
                <a:gd name="connsiteY8" fmla="*/ 3541 h 3934"/>
                <a:gd name="connsiteX9" fmla="*/ 8656 w 23605"/>
                <a:gd name="connsiteY9" fmla="*/ 3934 h 3934"/>
                <a:gd name="connsiteX10" fmla="*/ 14950 w 23605"/>
                <a:gd name="connsiteY10" fmla="*/ 3934 h 3934"/>
                <a:gd name="connsiteX11" fmla="*/ 18098 w 23605"/>
                <a:gd name="connsiteY11" fmla="*/ 4328 h 3934"/>
                <a:gd name="connsiteX12" fmla="*/ 20852 w 23605"/>
                <a:gd name="connsiteY12" fmla="*/ 4328 h 3934"/>
                <a:gd name="connsiteX13" fmla="*/ 23999 w 23605"/>
                <a:gd name="connsiteY13" fmla="*/ 4328 h 3934"/>
                <a:gd name="connsiteX14" fmla="*/ 27147 w 23605"/>
                <a:gd name="connsiteY14" fmla="*/ 3934 h 3934"/>
                <a:gd name="connsiteX15" fmla="*/ 23606 w 23605"/>
                <a:gd name="connsiteY15" fmla="*/ 3147 h 3934"/>
                <a:gd name="connsiteX16" fmla="*/ 20852 w 23605"/>
                <a:gd name="connsiteY16" fmla="*/ 2361 h 3934"/>
                <a:gd name="connsiteX17" fmla="*/ 19278 w 23605"/>
                <a:gd name="connsiteY17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3605" h="3934">
                  <a:moveTo>
                    <a:pt x="16130" y="0"/>
                  </a:moveTo>
                  <a:lnTo>
                    <a:pt x="12983" y="1180"/>
                  </a:lnTo>
                  <a:lnTo>
                    <a:pt x="9442" y="2361"/>
                  </a:lnTo>
                  <a:lnTo>
                    <a:pt x="9049" y="2754"/>
                  </a:lnTo>
                  <a:lnTo>
                    <a:pt x="5901" y="2754"/>
                  </a:lnTo>
                  <a:lnTo>
                    <a:pt x="2754" y="2361"/>
                  </a:lnTo>
                  <a:lnTo>
                    <a:pt x="0" y="3147"/>
                  </a:lnTo>
                  <a:lnTo>
                    <a:pt x="2754" y="3147"/>
                  </a:lnTo>
                  <a:lnTo>
                    <a:pt x="5901" y="3541"/>
                  </a:lnTo>
                  <a:lnTo>
                    <a:pt x="8656" y="3934"/>
                  </a:lnTo>
                  <a:lnTo>
                    <a:pt x="14950" y="3934"/>
                  </a:lnTo>
                  <a:lnTo>
                    <a:pt x="18098" y="4328"/>
                  </a:lnTo>
                  <a:lnTo>
                    <a:pt x="20852" y="4328"/>
                  </a:lnTo>
                  <a:lnTo>
                    <a:pt x="23999" y="4328"/>
                  </a:lnTo>
                  <a:lnTo>
                    <a:pt x="27147" y="3934"/>
                  </a:lnTo>
                  <a:lnTo>
                    <a:pt x="23606" y="3147"/>
                  </a:lnTo>
                  <a:lnTo>
                    <a:pt x="20852" y="2361"/>
                  </a:lnTo>
                  <a:lnTo>
                    <a:pt x="1927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31" name="Freeform: Shape 3225">
              <a:extLst>
                <a:ext uri="{FF2B5EF4-FFF2-40B4-BE49-F238E27FC236}">
                  <a16:creationId xmlns:a16="http://schemas.microsoft.com/office/drawing/2014/main" id="{A18D80AB-C316-4B7A-A966-C1D49262C130}"/>
                </a:ext>
              </a:extLst>
            </p:cNvPr>
            <p:cNvSpPr/>
            <p:nvPr/>
          </p:nvSpPr>
          <p:spPr>
            <a:xfrm>
              <a:off x="7127564" y="1137334"/>
              <a:ext cx="31474" cy="3934"/>
            </a:xfrm>
            <a:custGeom>
              <a:avLst/>
              <a:gdLst>
                <a:gd name="connsiteX0" fmla="*/ 0 w 31474"/>
                <a:gd name="connsiteY0" fmla="*/ 3147 h 3934"/>
                <a:gd name="connsiteX1" fmla="*/ 3148 w 31474"/>
                <a:gd name="connsiteY1" fmla="*/ 4328 h 3934"/>
                <a:gd name="connsiteX2" fmla="*/ 3148 w 31474"/>
                <a:gd name="connsiteY2" fmla="*/ 4721 h 3934"/>
                <a:gd name="connsiteX3" fmla="*/ 6295 w 31474"/>
                <a:gd name="connsiteY3" fmla="*/ 5115 h 3934"/>
                <a:gd name="connsiteX4" fmla="*/ 9049 w 31474"/>
                <a:gd name="connsiteY4" fmla="*/ 5115 h 3934"/>
                <a:gd name="connsiteX5" fmla="*/ 12197 w 31474"/>
                <a:gd name="connsiteY5" fmla="*/ 5508 h 3934"/>
                <a:gd name="connsiteX6" fmla="*/ 15344 w 31474"/>
                <a:gd name="connsiteY6" fmla="*/ 5508 h 3934"/>
                <a:gd name="connsiteX7" fmla="*/ 18491 w 31474"/>
                <a:gd name="connsiteY7" fmla="*/ 5115 h 3934"/>
                <a:gd name="connsiteX8" fmla="*/ 22032 w 31474"/>
                <a:gd name="connsiteY8" fmla="*/ 5115 h 3934"/>
                <a:gd name="connsiteX9" fmla="*/ 25179 w 31474"/>
                <a:gd name="connsiteY9" fmla="*/ 5508 h 3934"/>
                <a:gd name="connsiteX10" fmla="*/ 28327 w 31474"/>
                <a:gd name="connsiteY10" fmla="*/ 4328 h 3934"/>
                <a:gd name="connsiteX11" fmla="*/ 31474 w 31474"/>
                <a:gd name="connsiteY11" fmla="*/ 3147 h 3934"/>
                <a:gd name="connsiteX12" fmla="*/ 28327 w 31474"/>
                <a:gd name="connsiteY12" fmla="*/ 3147 h 3934"/>
                <a:gd name="connsiteX13" fmla="*/ 25179 w 31474"/>
                <a:gd name="connsiteY13" fmla="*/ 2361 h 3934"/>
                <a:gd name="connsiteX14" fmla="*/ 22032 w 31474"/>
                <a:gd name="connsiteY14" fmla="*/ 1967 h 3934"/>
                <a:gd name="connsiteX15" fmla="*/ 19278 w 31474"/>
                <a:gd name="connsiteY15" fmla="*/ 0 h 3934"/>
                <a:gd name="connsiteX16" fmla="*/ 12983 w 31474"/>
                <a:gd name="connsiteY16" fmla="*/ 0 h 3934"/>
                <a:gd name="connsiteX17" fmla="*/ 9442 w 31474"/>
                <a:gd name="connsiteY17" fmla="*/ 2361 h 3934"/>
                <a:gd name="connsiteX18" fmla="*/ 6689 w 31474"/>
                <a:gd name="connsiteY18" fmla="*/ 3147 h 3934"/>
                <a:gd name="connsiteX19" fmla="*/ 3148 w 31474"/>
                <a:gd name="connsiteY19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1474" h="3934">
                  <a:moveTo>
                    <a:pt x="0" y="3147"/>
                  </a:moveTo>
                  <a:lnTo>
                    <a:pt x="3148" y="4328"/>
                  </a:lnTo>
                  <a:lnTo>
                    <a:pt x="3148" y="4721"/>
                  </a:lnTo>
                  <a:lnTo>
                    <a:pt x="6295" y="5115"/>
                  </a:lnTo>
                  <a:lnTo>
                    <a:pt x="9049" y="5115"/>
                  </a:lnTo>
                  <a:lnTo>
                    <a:pt x="12197" y="5508"/>
                  </a:lnTo>
                  <a:lnTo>
                    <a:pt x="15344" y="5508"/>
                  </a:lnTo>
                  <a:lnTo>
                    <a:pt x="18491" y="5115"/>
                  </a:lnTo>
                  <a:lnTo>
                    <a:pt x="22032" y="5115"/>
                  </a:lnTo>
                  <a:lnTo>
                    <a:pt x="25179" y="5508"/>
                  </a:lnTo>
                  <a:lnTo>
                    <a:pt x="28327" y="4328"/>
                  </a:lnTo>
                  <a:lnTo>
                    <a:pt x="31474" y="3147"/>
                  </a:lnTo>
                  <a:lnTo>
                    <a:pt x="28327" y="3147"/>
                  </a:lnTo>
                  <a:lnTo>
                    <a:pt x="25179" y="2361"/>
                  </a:lnTo>
                  <a:lnTo>
                    <a:pt x="22032" y="1967"/>
                  </a:lnTo>
                  <a:lnTo>
                    <a:pt x="19278" y="0"/>
                  </a:lnTo>
                  <a:lnTo>
                    <a:pt x="12983" y="0"/>
                  </a:lnTo>
                  <a:lnTo>
                    <a:pt x="9442" y="2361"/>
                  </a:lnTo>
                  <a:lnTo>
                    <a:pt x="6689" y="3147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32" name="Freeform: Shape 3226">
              <a:extLst>
                <a:ext uri="{FF2B5EF4-FFF2-40B4-BE49-F238E27FC236}">
                  <a16:creationId xmlns:a16="http://schemas.microsoft.com/office/drawing/2014/main" id="{3BA5D615-68E6-4414-95C4-66D1BBB70260}"/>
                </a:ext>
              </a:extLst>
            </p:cNvPr>
            <p:cNvSpPr/>
            <p:nvPr/>
          </p:nvSpPr>
          <p:spPr>
            <a:xfrm>
              <a:off x="7196414" y="1138514"/>
              <a:ext cx="23606" cy="3934"/>
            </a:xfrm>
            <a:custGeom>
              <a:avLst/>
              <a:gdLst>
                <a:gd name="connsiteX0" fmla="*/ 14164 w 23605"/>
                <a:gd name="connsiteY0" fmla="*/ 787 h 3934"/>
                <a:gd name="connsiteX1" fmla="*/ 7475 w 23605"/>
                <a:gd name="connsiteY1" fmla="*/ 787 h 3934"/>
                <a:gd name="connsiteX2" fmla="*/ 4721 w 23605"/>
                <a:gd name="connsiteY2" fmla="*/ 393 h 3934"/>
                <a:gd name="connsiteX3" fmla="*/ 1180 w 23605"/>
                <a:gd name="connsiteY3" fmla="*/ 1180 h 3934"/>
                <a:gd name="connsiteX4" fmla="*/ 3541 w 23605"/>
                <a:gd name="connsiteY4" fmla="*/ 3934 h 3934"/>
                <a:gd name="connsiteX5" fmla="*/ 394 w 23605"/>
                <a:gd name="connsiteY5" fmla="*/ 5115 h 3934"/>
                <a:gd name="connsiteX6" fmla="*/ 0 w 23605"/>
                <a:gd name="connsiteY6" fmla="*/ 5901 h 3934"/>
                <a:gd name="connsiteX7" fmla="*/ 2754 w 23605"/>
                <a:gd name="connsiteY7" fmla="*/ 6295 h 3934"/>
                <a:gd name="connsiteX8" fmla="*/ 6295 w 23605"/>
                <a:gd name="connsiteY8" fmla="*/ 6688 h 3934"/>
                <a:gd name="connsiteX9" fmla="*/ 22032 w 23605"/>
                <a:gd name="connsiteY9" fmla="*/ 6688 h 3934"/>
                <a:gd name="connsiteX10" fmla="*/ 25179 w 23605"/>
                <a:gd name="connsiteY10" fmla="*/ 5901 h 3934"/>
                <a:gd name="connsiteX11" fmla="*/ 23212 w 23605"/>
                <a:gd name="connsiteY11" fmla="*/ 3147 h 3934"/>
                <a:gd name="connsiteX12" fmla="*/ 20458 w 23605"/>
                <a:gd name="connsiteY12" fmla="*/ 393 h 3934"/>
                <a:gd name="connsiteX13" fmla="*/ 16918 w 23605"/>
                <a:gd name="connsiteY1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3605" h="3934">
                  <a:moveTo>
                    <a:pt x="14164" y="787"/>
                  </a:moveTo>
                  <a:lnTo>
                    <a:pt x="7475" y="787"/>
                  </a:lnTo>
                  <a:lnTo>
                    <a:pt x="4721" y="393"/>
                  </a:lnTo>
                  <a:lnTo>
                    <a:pt x="1180" y="1180"/>
                  </a:lnTo>
                  <a:lnTo>
                    <a:pt x="3541" y="3934"/>
                  </a:lnTo>
                  <a:lnTo>
                    <a:pt x="394" y="5115"/>
                  </a:lnTo>
                  <a:lnTo>
                    <a:pt x="0" y="5901"/>
                  </a:lnTo>
                  <a:lnTo>
                    <a:pt x="2754" y="6295"/>
                  </a:lnTo>
                  <a:lnTo>
                    <a:pt x="6295" y="6688"/>
                  </a:lnTo>
                  <a:lnTo>
                    <a:pt x="22032" y="6688"/>
                  </a:lnTo>
                  <a:lnTo>
                    <a:pt x="25179" y="5901"/>
                  </a:lnTo>
                  <a:lnTo>
                    <a:pt x="23212" y="3147"/>
                  </a:lnTo>
                  <a:lnTo>
                    <a:pt x="20458" y="393"/>
                  </a:lnTo>
                  <a:lnTo>
                    <a:pt x="1691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33" name="Freeform: Shape 3227">
              <a:extLst>
                <a:ext uri="{FF2B5EF4-FFF2-40B4-BE49-F238E27FC236}">
                  <a16:creationId xmlns:a16="http://schemas.microsoft.com/office/drawing/2014/main" id="{8A3C5A56-6CBD-4A74-90A9-89AF3EF3BF41}"/>
                </a:ext>
              </a:extLst>
            </p:cNvPr>
            <p:cNvSpPr/>
            <p:nvPr/>
          </p:nvSpPr>
          <p:spPr>
            <a:xfrm>
              <a:off x="7213331" y="1135760"/>
              <a:ext cx="43277" cy="7869"/>
            </a:xfrm>
            <a:custGeom>
              <a:avLst/>
              <a:gdLst>
                <a:gd name="connsiteX0" fmla="*/ 0 w 43276"/>
                <a:gd name="connsiteY0" fmla="*/ 393 h 7868"/>
                <a:gd name="connsiteX1" fmla="*/ 3148 w 43276"/>
                <a:gd name="connsiteY1" fmla="*/ 787 h 7868"/>
                <a:gd name="connsiteX2" fmla="*/ 6295 w 43276"/>
                <a:gd name="connsiteY2" fmla="*/ 2754 h 7868"/>
                <a:gd name="connsiteX3" fmla="*/ 8262 w 43276"/>
                <a:gd name="connsiteY3" fmla="*/ 5901 h 7868"/>
                <a:gd name="connsiteX4" fmla="*/ 11409 w 43276"/>
                <a:gd name="connsiteY4" fmla="*/ 7475 h 7868"/>
                <a:gd name="connsiteX5" fmla="*/ 14557 w 43276"/>
                <a:gd name="connsiteY5" fmla="*/ 8262 h 7868"/>
                <a:gd name="connsiteX6" fmla="*/ 18098 w 43276"/>
                <a:gd name="connsiteY6" fmla="*/ 8655 h 7868"/>
                <a:gd name="connsiteX7" fmla="*/ 20458 w 43276"/>
                <a:gd name="connsiteY7" fmla="*/ 8655 h 7868"/>
                <a:gd name="connsiteX8" fmla="*/ 23212 w 43276"/>
                <a:gd name="connsiteY8" fmla="*/ 6688 h 7868"/>
                <a:gd name="connsiteX9" fmla="*/ 26359 w 43276"/>
                <a:gd name="connsiteY9" fmla="*/ 6688 h 7868"/>
                <a:gd name="connsiteX10" fmla="*/ 29507 w 43276"/>
                <a:gd name="connsiteY10" fmla="*/ 5901 h 7868"/>
                <a:gd name="connsiteX11" fmla="*/ 25966 w 43276"/>
                <a:gd name="connsiteY11" fmla="*/ 4721 h 7868"/>
                <a:gd name="connsiteX12" fmla="*/ 29114 w 43276"/>
                <a:gd name="connsiteY12" fmla="*/ 3934 h 7868"/>
                <a:gd name="connsiteX13" fmla="*/ 32655 w 43276"/>
                <a:gd name="connsiteY13" fmla="*/ 3541 h 7868"/>
                <a:gd name="connsiteX14" fmla="*/ 35408 w 43276"/>
                <a:gd name="connsiteY14" fmla="*/ 3541 h 7868"/>
                <a:gd name="connsiteX15" fmla="*/ 38556 w 43276"/>
                <a:gd name="connsiteY15" fmla="*/ 3934 h 7868"/>
                <a:gd name="connsiteX16" fmla="*/ 41310 w 43276"/>
                <a:gd name="connsiteY16" fmla="*/ 3541 h 7868"/>
                <a:gd name="connsiteX17" fmla="*/ 44457 w 43276"/>
                <a:gd name="connsiteY17" fmla="*/ 3147 h 7868"/>
                <a:gd name="connsiteX18" fmla="*/ 41703 w 43276"/>
                <a:gd name="connsiteY18" fmla="*/ 2361 h 7868"/>
                <a:gd name="connsiteX19" fmla="*/ 38162 w 43276"/>
                <a:gd name="connsiteY19" fmla="*/ 1574 h 7868"/>
                <a:gd name="connsiteX20" fmla="*/ 35015 w 43276"/>
                <a:gd name="connsiteY20" fmla="*/ 1574 h 7868"/>
                <a:gd name="connsiteX21" fmla="*/ 31867 w 43276"/>
                <a:gd name="connsiteY21" fmla="*/ 1180 h 7868"/>
                <a:gd name="connsiteX22" fmla="*/ 28720 w 43276"/>
                <a:gd name="connsiteY22" fmla="*/ 787 h 7868"/>
                <a:gd name="connsiteX23" fmla="*/ 25573 w 43276"/>
                <a:gd name="connsiteY23" fmla="*/ 393 h 7868"/>
                <a:gd name="connsiteX24" fmla="*/ 22425 w 43276"/>
                <a:gd name="connsiteY24" fmla="*/ 393 h 7868"/>
                <a:gd name="connsiteX25" fmla="*/ 19278 w 43276"/>
                <a:gd name="connsiteY25" fmla="*/ 0 h 7868"/>
                <a:gd name="connsiteX26" fmla="*/ 3148 w 43276"/>
                <a:gd name="connsiteY26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3276" h="7868">
                  <a:moveTo>
                    <a:pt x="0" y="393"/>
                  </a:moveTo>
                  <a:lnTo>
                    <a:pt x="3148" y="787"/>
                  </a:lnTo>
                  <a:lnTo>
                    <a:pt x="6295" y="2754"/>
                  </a:lnTo>
                  <a:lnTo>
                    <a:pt x="8262" y="5901"/>
                  </a:lnTo>
                  <a:lnTo>
                    <a:pt x="11409" y="7475"/>
                  </a:lnTo>
                  <a:lnTo>
                    <a:pt x="14557" y="8262"/>
                  </a:lnTo>
                  <a:lnTo>
                    <a:pt x="18098" y="8655"/>
                  </a:lnTo>
                  <a:lnTo>
                    <a:pt x="20458" y="8655"/>
                  </a:lnTo>
                  <a:lnTo>
                    <a:pt x="23212" y="6688"/>
                  </a:lnTo>
                  <a:lnTo>
                    <a:pt x="26359" y="6688"/>
                  </a:lnTo>
                  <a:lnTo>
                    <a:pt x="29507" y="5901"/>
                  </a:lnTo>
                  <a:lnTo>
                    <a:pt x="25966" y="4721"/>
                  </a:lnTo>
                  <a:lnTo>
                    <a:pt x="29114" y="3934"/>
                  </a:lnTo>
                  <a:lnTo>
                    <a:pt x="32655" y="3541"/>
                  </a:lnTo>
                  <a:lnTo>
                    <a:pt x="35408" y="3541"/>
                  </a:lnTo>
                  <a:lnTo>
                    <a:pt x="38556" y="3934"/>
                  </a:lnTo>
                  <a:lnTo>
                    <a:pt x="41310" y="3541"/>
                  </a:lnTo>
                  <a:lnTo>
                    <a:pt x="44457" y="3147"/>
                  </a:lnTo>
                  <a:lnTo>
                    <a:pt x="41703" y="2361"/>
                  </a:lnTo>
                  <a:lnTo>
                    <a:pt x="38162" y="1574"/>
                  </a:lnTo>
                  <a:lnTo>
                    <a:pt x="35015" y="1574"/>
                  </a:lnTo>
                  <a:lnTo>
                    <a:pt x="31867" y="1180"/>
                  </a:lnTo>
                  <a:lnTo>
                    <a:pt x="28720" y="787"/>
                  </a:lnTo>
                  <a:lnTo>
                    <a:pt x="25573" y="393"/>
                  </a:lnTo>
                  <a:lnTo>
                    <a:pt x="22425" y="393"/>
                  </a:lnTo>
                  <a:lnTo>
                    <a:pt x="19278" y="0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34" name="Freeform: Shape 3228">
              <a:extLst>
                <a:ext uri="{FF2B5EF4-FFF2-40B4-BE49-F238E27FC236}">
                  <a16:creationId xmlns:a16="http://schemas.microsoft.com/office/drawing/2014/main" id="{398A7199-4930-4B03-8BED-1BB653858238}"/>
                </a:ext>
              </a:extLst>
            </p:cNvPr>
            <p:cNvSpPr/>
            <p:nvPr/>
          </p:nvSpPr>
          <p:spPr>
            <a:xfrm>
              <a:off x="6356842" y="1146382"/>
              <a:ext cx="204582" cy="82620"/>
            </a:xfrm>
            <a:custGeom>
              <a:avLst/>
              <a:gdLst>
                <a:gd name="connsiteX0" fmla="*/ 6688 w 204581"/>
                <a:gd name="connsiteY0" fmla="*/ 11016 h 82619"/>
                <a:gd name="connsiteX1" fmla="*/ 3540 w 204581"/>
                <a:gd name="connsiteY1" fmla="*/ 11016 h 82619"/>
                <a:gd name="connsiteX2" fmla="*/ 0 w 204581"/>
                <a:gd name="connsiteY2" fmla="*/ 12196 h 82619"/>
                <a:gd name="connsiteX3" fmla="*/ 3147 w 204581"/>
                <a:gd name="connsiteY3" fmla="*/ 12983 h 82619"/>
                <a:gd name="connsiteX4" fmla="*/ 2754 w 204581"/>
                <a:gd name="connsiteY4" fmla="*/ 16130 h 82619"/>
                <a:gd name="connsiteX5" fmla="*/ 5508 w 204581"/>
                <a:gd name="connsiteY5" fmla="*/ 17311 h 82619"/>
                <a:gd name="connsiteX6" fmla="*/ 8655 w 204581"/>
                <a:gd name="connsiteY6" fmla="*/ 19671 h 82619"/>
                <a:gd name="connsiteX7" fmla="*/ 9836 w 204581"/>
                <a:gd name="connsiteY7" fmla="*/ 22032 h 82619"/>
                <a:gd name="connsiteX8" fmla="*/ 12589 w 204581"/>
                <a:gd name="connsiteY8" fmla="*/ 21638 h 82619"/>
                <a:gd name="connsiteX9" fmla="*/ 14163 w 204581"/>
                <a:gd name="connsiteY9" fmla="*/ 21245 h 82619"/>
                <a:gd name="connsiteX10" fmla="*/ 18884 w 204581"/>
                <a:gd name="connsiteY10" fmla="*/ 22819 h 82619"/>
                <a:gd name="connsiteX11" fmla="*/ 18491 w 204581"/>
                <a:gd name="connsiteY11" fmla="*/ 23212 h 82619"/>
                <a:gd name="connsiteX12" fmla="*/ 25966 w 204581"/>
                <a:gd name="connsiteY12" fmla="*/ 25573 h 82619"/>
                <a:gd name="connsiteX13" fmla="*/ 24392 w 204581"/>
                <a:gd name="connsiteY13" fmla="*/ 26753 h 82619"/>
                <a:gd name="connsiteX14" fmla="*/ 18884 w 204581"/>
                <a:gd name="connsiteY14" fmla="*/ 26360 h 82619"/>
                <a:gd name="connsiteX15" fmla="*/ 15343 w 204581"/>
                <a:gd name="connsiteY15" fmla="*/ 25573 h 82619"/>
                <a:gd name="connsiteX16" fmla="*/ 12196 w 204581"/>
                <a:gd name="connsiteY16" fmla="*/ 25179 h 82619"/>
                <a:gd name="connsiteX17" fmla="*/ 9442 w 204581"/>
                <a:gd name="connsiteY17" fmla="*/ 26753 h 82619"/>
                <a:gd name="connsiteX18" fmla="*/ 12589 w 204581"/>
                <a:gd name="connsiteY18" fmla="*/ 27540 h 82619"/>
                <a:gd name="connsiteX19" fmla="*/ 15737 w 204581"/>
                <a:gd name="connsiteY19" fmla="*/ 29114 h 82619"/>
                <a:gd name="connsiteX20" fmla="*/ 15737 w 204581"/>
                <a:gd name="connsiteY20" fmla="*/ 31868 h 82619"/>
                <a:gd name="connsiteX21" fmla="*/ 18491 w 204581"/>
                <a:gd name="connsiteY21" fmla="*/ 33835 h 82619"/>
                <a:gd name="connsiteX22" fmla="*/ 22032 w 204581"/>
                <a:gd name="connsiteY22" fmla="*/ 35408 h 82619"/>
                <a:gd name="connsiteX23" fmla="*/ 25179 w 204581"/>
                <a:gd name="connsiteY23" fmla="*/ 35408 h 82619"/>
                <a:gd name="connsiteX24" fmla="*/ 28327 w 204581"/>
                <a:gd name="connsiteY24" fmla="*/ 36589 h 82619"/>
                <a:gd name="connsiteX25" fmla="*/ 34621 w 204581"/>
                <a:gd name="connsiteY25" fmla="*/ 36982 h 82619"/>
                <a:gd name="connsiteX26" fmla="*/ 37769 w 204581"/>
                <a:gd name="connsiteY26" fmla="*/ 36589 h 82619"/>
                <a:gd name="connsiteX27" fmla="*/ 40916 w 204581"/>
                <a:gd name="connsiteY27" fmla="*/ 36982 h 82619"/>
                <a:gd name="connsiteX28" fmla="*/ 37376 w 204581"/>
                <a:gd name="connsiteY28" fmla="*/ 37376 h 82619"/>
                <a:gd name="connsiteX29" fmla="*/ 31474 w 204581"/>
                <a:gd name="connsiteY29" fmla="*/ 37376 h 82619"/>
                <a:gd name="connsiteX30" fmla="*/ 27933 w 204581"/>
                <a:gd name="connsiteY30" fmla="*/ 38556 h 82619"/>
                <a:gd name="connsiteX31" fmla="*/ 30687 w 204581"/>
                <a:gd name="connsiteY31" fmla="*/ 40129 h 82619"/>
                <a:gd name="connsiteX32" fmla="*/ 33835 w 204581"/>
                <a:gd name="connsiteY32" fmla="*/ 40916 h 82619"/>
                <a:gd name="connsiteX33" fmla="*/ 36982 w 204581"/>
                <a:gd name="connsiteY33" fmla="*/ 41310 h 82619"/>
                <a:gd name="connsiteX34" fmla="*/ 38162 w 204581"/>
                <a:gd name="connsiteY34" fmla="*/ 44064 h 82619"/>
                <a:gd name="connsiteX35" fmla="*/ 41310 w 204581"/>
                <a:gd name="connsiteY35" fmla="*/ 44457 h 82619"/>
                <a:gd name="connsiteX36" fmla="*/ 47605 w 204581"/>
                <a:gd name="connsiteY36" fmla="*/ 44457 h 82619"/>
                <a:gd name="connsiteX37" fmla="*/ 50752 w 204581"/>
                <a:gd name="connsiteY37" fmla="*/ 44851 h 82619"/>
                <a:gd name="connsiteX38" fmla="*/ 53899 w 204581"/>
                <a:gd name="connsiteY38" fmla="*/ 44851 h 82619"/>
                <a:gd name="connsiteX39" fmla="*/ 57047 w 204581"/>
                <a:gd name="connsiteY39" fmla="*/ 43277 h 82619"/>
                <a:gd name="connsiteX40" fmla="*/ 59801 w 204581"/>
                <a:gd name="connsiteY40" fmla="*/ 42883 h 82619"/>
                <a:gd name="connsiteX41" fmla="*/ 62554 w 204581"/>
                <a:gd name="connsiteY41" fmla="*/ 43277 h 82619"/>
                <a:gd name="connsiteX42" fmla="*/ 64915 w 204581"/>
                <a:gd name="connsiteY42" fmla="*/ 40523 h 82619"/>
                <a:gd name="connsiteX43" fmla="*/ 67669 w 204581"/>
                <a:gd name="connsiteY43" fmla="*/ 40916 h 82619"/>
                <a:gd name="connsiteX44" fmla="*/ 70817 w 204581"/>
                <a:gd name="connsiteY44" fmla="*/ 40916 h 82619"/>
                <a:gd name="connsiteX45" fmla="*/ 73964 w 204581"/>
                <a:gd name="connsiteY45" fmla="*/ 40129 h 82619"/>
                <a:gd name="connsiteX46" fmla="*/ 70817 w 204581"/>
                <a:gd name="connsiteY46" fmla="*/ 38556 h 82619"/>
                <a:gd name="connsiteX47" fmla="*/ 67669 w 204581"/>
                <a:gd name="connsiteY47" fmla="*/ 37376 h 82619"/>
                <a:gd name="connsiteX48" fmla="*/ 70423 w 204581"/>
                <a:gd name="connsiteY48" fmla="*/ 35802 h 82619"/>
                <a:gd name="connsiteX49" fmla="*/ 69636 w 204581"/>
                <a:gd name="connsiteY49" fmla="*/ 34622 h 82619"/>
                <a:gd name="connsiteX50" fmla="*/ 85767 w 204581"/>
                <a:gd name="connsiteY50" fmla="*/ 37376 h 82619"/>
                <a:gd name="connsiteX51" fmla="*/ 87340 w 204581"/>
                <a:gd name="connsiteY51" fmla="*/ 38556 h 82619"/>
                <a:gd name="connsiteX52" fmla="*/ 90488 w 204581"/>
                <a:gd name="connsiteY52" fmla="*/ 38949 h 82619"/>
                <a:gd name="connsiteX53" fmla="*/ 94029 w 204581"/>
                <a:gd name="connsiteY53" fmla="*/ 38556 h 82619"/>
                <a:gd name="connsiteX54" fmla="*/ 90094 w 204581"/>
                <a:gd name="connsiteY54" fmla="*/ 44457 h 82619"/>
                <a:gd name="connsiteX55" fmla="*/ 89308 w 204581"/>
                <a:gd name="connsiteY55" fmla="*/ 44457 h 82619"/>
                <a:gd name="connsiteX56" fmla="*/ 85767 w 204581"/>
                <a:gd name="connsiteY56" fmla="*/ 44851 h 82619"/>
                <a:gd name="connsiteX57" fmla="*/ 82620 w 204581"/>
                <a:gd name="connsiteY57" fmla="*/ 46424 h 82619"/>
                <a:gd name="connsiteX58" fmla="*/ 79865 w 204581"/>
                <a:gd name="connsiteY58" fmla="*/ 47998 h 82619"/>
                <a:gd name="connsiteX59" fmla="*/ 73964 w 204581"/>
                <a:gd name="connsiteY59" fmla="*/ 47998 h 82619"/>
                <a:gd name="connsiteX60" fmla="*/ 70817 w 204581"/>
                <a:gd name="connsiteY60" fmla="*/ 48391 h 82619"/>
                <a:gd name="connsiteX61" fmla="*/ 67276 w 204581"/>
                <a:gd name="connsiteY61" fmla="*/ 48391 h 82619"/>
                <a:gd name="connsiteX62" fmla="*/ 64522 w 204581"/>
                <a:gd name="connsiteY62" fmla="*/ 48785 h 82619"/>
                <a:gd name="connsiteX63" fmla="*/ 66882 w 204581"/>
                <a:gd name="connsiteY63" fmla="*/ 51539 h 82619"/>
                <a:gd name="connsiteX64" fmla="*/ 63735 w 204581"/>
                <a:gd name="connsiteY64" fmla="*/ 49965 h 82619"/>
                <a:gd name="connsiteX65" fmla="*/ 60981 w 204581"/>
                <a:gd name="connsiteY65" fmla="*/ 48391 h 82619"/>
                <a:gd name="connsiteX66" fmla="*/ 58227 w 204581"/>
                <a:gd name="connsiteY66" fmla="*/ 47998 h 82619"/>
                <a:gd name="connsiteX67" fmla="*/ 54686 w 204581"/>
                <a:gd name="connsiteY67" fmla="*/ 48391 h 82619"/>
                <a:gd name="connsiteX68" fmla="*/ 52325 w 204581"/>
                <a:gd name="connsiteY68" fmla="*/ 51145 h 82619"/>
                <a:gd name="connsiteX69" fmla="*/ 53113 w 204581"/>
                <a:gd name="connsiteY69" fmla="*/ 53899 h 82619"/>
                <a:gd name="connsiteX70" fmla="*/ 55473 w 204581"/>
                <a:gd name="connsiteY70" fmla="*/ 57047 h 82619"/>
                <a:gd name="connsiteX71" fmla="*/ 59014 w 204581"/>
                <a:gd name="connsiteY71" fmla="*/ 57047 h 82619"/>
                <a:gd name="connsiteX72" fmla="*/ 62161 w 204581"/>
                <a:gd name="connsiteY72" fmla="*/ 56260 h 82619"/>
                <a:gd name="connsiteX73" fmla="*/ 64915 w 204581"/>
                <a:gd name="connsiteY73" fmla="*/ 55867 h 82619"/>
                <a:gd name="connsiteX74" fmla="*/ 68062 w 204581"/>
                <a:gd name="connsiteY74" fmla="*/ 56260 h 82619"/>
                <a:gd name="connsiteX75" fmla="*/ 70817 w 204581"/>
                <a:gd name="connsiteY75" fmla="*/ 55867 h 82619"/>
                <a:gd name="connsiteX76" fmla="*/ 74357 w 204581"/>
                <a:gd name="connsiteY76" fmla="*/ 56260 h 82619"/>
                <a:gd name="connsiteX77" fmla="*/ 77505 w 204581"/>
                <a:gd name="connsiteY77" fmla="*/ 55867 h 82619"/>
                <a:gd name="connsiteX78" fmla="*/ 80259 w 204581"/>
                <a:gd name="connsiteY78" fmla="*/ 55473 h 82619"/>
                <a:gd name="connsiteX79" fmla="*/ 82620 w 204581"/>
                <a:gd name="connsiteY79" fmla="*/ 55080 h 82619"/>
                <a:gd name="connsiteX80" fmla="*/ 80652 w 204581"/>
                <a:gd name="connsiteY80" fmla="*/ 57834 h 82619"/>
                <a:gd name="connsiteX81" fmla="*/ 78291 w 204581"/>
                <a:gd name="connsiteY81" fmla="*/ 58227 h 82619"/>
                <a:gd name="connsiteX82" fmla="*/ 75538 w 204581"/>
                <a:gd name="connsiteY82" fmla="*/ 58621 h 82619"/>
                <a:gd name="connsiteX83" fmla="*/ 78685 w 204581"/>
                <a:gd name="connsiteY83" fmla="*/ 59407 h 82619"/>
                <a:gd name="connsiteX84" fmla="*/ 79865 w 204581"/>
                <a:gd name="connsiteY84" fmla="*/ 59407 h 82619"/>
                <a:gd name="connsiteX85" fmla="*/ 78685 w 204581"/>
                <a:gd name="connsiteY85" fmla="*/ 61375 h 82619"/>
                <a:gd name="connsiteX86" fmla="*/ 85767 w 204581"/>
                <a:gd name="connsiteY86" fmla="*/ 59407 h 82619"/>
                <a:gd name="connsiteX87" fmla="*/ 88127 w 204581"/>
                <a:gd name="connsiteY87" fmla="*/ 59801 h 82619"/>
                <a:gd name="connsiteX88" fmla="*/ 91668 w 204581"/>
                <a:gd name="connsiteY88" fmla="*/ 60194 h 82619"/>
                <a:gd name="connsiteX89" fmla="*/ 94422 w 204581"/>
                <a:gd name="connsiteY89" fmla="*/ 60588 h 82619"/>
                <a:gd name="connsiteX90" fmla="*/ 97569 w 204581"/>
                <a:gd name="connsiteY90" fmla="*/ 60588 h 82619"/>
                <a:gd name="connsiteX91" fmla="*/ 100324 w 204581"/>
                <a:gd name="connsiteY91" fmla="*/ 61375 h 82619"/>
                <a:gd name="connsiteX92" fmla="*/ 103078 w 204581"/>
                <a:gd name="connsiteY92" fmla="*/ 62555 h 82619"/>
                <a:gd name="connsiteX93" fmla="*/ 106225 w 204581"/>
                <a:gd name="connsiteY93" fmla="*/ 64128 h 82619"/>
                <a:gd name="connsiteX94" fmla="*/ 103078 w 204581"/>
                <a:gd name="connsiteY94" fmla="*/ 63735 h 82619"/>
                <a:gd name="connsiteX95" fmla="*/ 100324 w 204581"/>
                <a:gd name="connsiteY95" fmla="*/ 62555 h 82619"/>
                <a:gd name="connsiteX96" fmla="*/ 97176 w 204581"/>
                <a:gd name="connsiteY96" fmla="*/ 61768 h 82619"/>
                <a:gd name="connsiteX97" fmla="*/ 90881 w 204581"/>
                <a:gd name="connsiteY97" fmla="*/ 61768 h 82619"/>
                <a:gd name="connsiteX98" fmla="*/ 87734 w 204581"/>
                <a:gd name="connsiteY98" fmla="*/ 61375 h 82619"/>
                <a:gd name="connsiteX99" fmla="*/ 84980 w 204581"/>
                <a:gd name="connsiteY99" fmla="*/ 61375 h 82619"/>
                <a:gd name="connsiteX100" fmla="*/ 81832 w 204581"/>
                <a:gd name="connsiteY100" fmla="*/ 60981 h 82619"/>
                <a:gd name="connsiteX101" fmla="*/ 78685 w 204581"/>
                <a:gd name="connsiteY101" fmla="*/ 61375 h 82619"/>
                <a:gd name="connsiteX102" fmla="*/ 75931 w 204581"/>
                <a:gd name="connsiteY102" fmla="*/ 62948 h 82619"/>
                <a:gd name="connsiteX103" fmla="*/ 73177 w 204581"/>
                <a:gd name="connsiteY103" fmla="*/ 61768 h 82619"/>
                <a:gd name="connsiteX104" fmla="*/ 70423 w 204581"/>
                <a:gd name="connsiteY104" fmla="*/ 60588 h 82619"/>
                <a:gd name="connsiteX105" fmla="*/ 66882 w 204581"/>
                <a:gd name="connsiteY105" fmla="*/ 60588 h 82619"/>
                <a:gd name="connsiteX106" fmla="*/ 63735 w 204581"/>
                <a:gd name="connsiteY106" fmla="*/ 60981 h 82619"/>
                <a:gd name="connsiteX107" fmla="*/ 60981 w 204581"/>
                <a:gd name="connsiteY107" fmla="*/ 62948 h 82619"/>
                <a:gd name="connsiteX108" fmla="*/ 62948 w 204581"/>
                <a:gd name="connsiteY108" fmla="*/ 65702 h 82619"/>
                <a:gd name="connsiteX109" fmla="*/ 69243 w 204581"/>
                <a:gd name="connsiteY109" fmla="*/ 70423 h 82619"/>
                <a:gd name="connsiteX110" fmla="*/ 72390 w 204581"/>
                <a:gd name="connsiteY110" fmla="*/ 70817 h 82619"/>
                <a:gd name="connsiteX111" fmla="*/ 75144 w 204581"/>
                <a:gd name="connsiteY111" fmla="*/ 70423 h 82619"/>
                <a:gd name="connsiteX112" fmla="*/ 78685 w 204581"/>
                <a:gd name="connsiteY112" fmla="*/ 71210 h 82619"/>
                <a:gd name="connsiteX113" fmla="*/ 81832 w 204581"/>
                <a:gd name="connsiteY113" fmla="*/ 71604 h 82619"/>
                <a:gd name="connsiteX114" fmla="*/ 84980 w 204581"/>
                <a:gd name="connsiteY114" fmla="*/ 73571 h 82619"/>
                <a:gd name="connsiteX115" fmla="*/ 88127 w 204581"/>
                <a:gd name="connsiteY115" fmla="*/ 74751 h 82619"/>
                <a:gd name="connsiteX116" fmla="*/ 91275 w 204581"/>
                <a:gd name="connsiteY116" fmla="*/ 75144 h 82619"/>
                <a:gd name="connsiteX117" fmla="*/ 97176 w 204581"/>
                <a:gd name="connsiteY117" fmla="*/ 75144 h 82619"/>
                <a:gd name="connsiteX118" fmla="*/ 99930 w 204581"/>
                <a:gd name="connsiteY118" fmla="*/ 73571 h 82619"/>
                <a:gd name="connsiteX119" fmla="*/ 103471 w 204581"/>
                <a:gd name="connsiteY119" fmla="*/ 73177 h 82619"/>
                <a:gd name="connsiteX120" fmla="*/ 106225 w 204581"/>
                <a:gd name="connsiteY120" fmla="*/ 74751 h 82619"/>
                <a:gd name="connsiteX121" fmla="*/ 109372 w 204581"/>
                <a:gd name="connsiteY121" fmla="*/ 75144 h 82619"/>
                <a:gd name="connsiteX122" fmla="*/ 112913 w 204581"/>
                <a:gd name="connsiteY122" fmla="*/ 75538 h 82619"/>
                <a:gd name="connsiteX123" fmla="*/ 109372 w 204581"/>
                <a:gd name="connsiteY123" fmla="*/ 76325 h 82619"/>
                <a:gd name="connsiteX124" fmla="*/ 106618 w 204581"/>
                <a:gd name="connsiteY124" fmla="*/ 75931 h 82619"/>
                <a:gd name="connsiteX125" fmla="*/ 103471 w 204581"/>
                <a:gd name="connsiteY125" fmla="*/ 75538 h 82619"/>
                <a:gd name="connsiteX126" fmla="*/ 100324 w 204581"/>
                <a:gd name="connsiteY126" fmla="*/ 76325 h 82619"/>
                <a:gd name="connsiteX127" fmla="*/ 97176 w 204581"/>
                <a:gd name="connsiteY127" fmla="*/ 76718 h 82619"/>
                <a:gd name="connsiteX128" fmla="*/ 94029 w 204581"/>
                <a:gd name="connsiteY128" fmla="*/ 78292 h 82619"/>
                <a:gd name="connsiteX129" fmla="*/ 97176 w 204581"/>
                <a:gd name="connsiteY129" fmla="*/ 79079 h 82619"/>
                <a:gd name="connsiteX130" fmla="*/ 100324 w 204581"/>
                <a:gd name="connsiteY130" fmla="*/ 80259 h 82619"/>
                <a:gd name="connsiteX131" fmla="*/ 103078 w 204581"/>
                <a:gd name="connsiteY131" fmla="*/ 81439 h 82619"/>
                <a:gd name="connsiteX132" fmla="*/ 106225 w 204581"/>
                <a:gd name="connsiteY132" fmla="*/ 81833 h 82619"/>
                <a:gd name="connsiteX133" fmla="*/ 108979 w 204581"/>
                <a:gd name="connsiteY133" fmla="*/ 83013 h 82619"/>
                <a:gd name="connsiteX134" fmla="*/ 110553 w 204581"/>
                <a:gd name="connsiteY134" fmla="*/ 85767 h 82619"/>
                <a:gd name="connsiteX135" fmla="*/ 113700 w 204581"/>
                <a:gd name="connsiteY135" fmla="*/ 84587 h 82619"/>
                <a:gd name="connsiteX136" fmla="*/ 116454 w 204581"/>
                <a:gd name="connsiteY136" fmla="*/ 85767 h 82619"/>
                <a:gd name="connsiteX137" fmla="*/ 119995 w 204581"/>
                <a:gd name="connsiteY137" fmla="*/ 85767 h 82619"/>
                <a:gd name="connsiteX138" fmla="*/ 122749 w 204581"/>
                <a:gd name="connsiteY138" fmla="*/ 85374 h 82619"/>
                <a:gd name="connsiteX139" fmla="*/ 125896 w 204581"/>
                <a:gd name="connsiteY139" fmla="*/ 83800 h 82619"/>
                <a:gd name="connsiteX140" fmla="*/ 125109 w 204581"/>
                <a:gd name="connsiteY140" fmla="*/ 81046 h 82619"/>
                <a:gd name="connsiteX141" fmla="*/ 122356 w 204581"/>
                <a:gd name="connsiteY141" fmla="*/ 79472 h 82619"/>
                <a:gd name="connsiteX142" fmla="*/ 125503 w 204581"/>
                <a:gd name="connsiteY142" fmla="*/ 77898 h 82619"/>
                <a:gd name="connsiteX143" fmla="*/ 128257 w 204581"/>
                <a:gd name="connsiteY143" fmla="*/ 76325 h 82619"/>
                <a:gd name="connsiteX144" fmla="*/ 127076 w 204581"/>
                <a:gd name="connsiteY144" fmla="*/ 73571 h 82619"/>
                <a:gd name="connsiteX145" fmla="*/ 130224 w 204581"/>
                <a:gd name="connsiteY145" fmla="*/ 71997 h 82619"/>
                <a:gd name="connsiteX146" fmla="*/ 131404 w 204581"/>
                <a:gd name="connsiteY146" fmla="*/ 68850 h 82619"/>
                <a:gd name="connsiteX147" fmla="*/ 132978 w 204581"/>
                <a:gd name="connsiteY147" fmla="*/ 66096 h 82619"/>
                <a:gd name="connsiteX148" fmla="*/ 135732 w 204581"/>
                <a:gd name="connsiteY148" fmla="*/ 63342 h 82619"/>
                <a:gd name="connsiteX149" fmla="*/ 138879 w 204581"/>
                <a:gd name="connsiteY149" fmla="*/ 62161 h 82619"/>
                <a:gd name="connsiteX150" fmla="*/ 144781 w 204581"/>
                <a:gd name="connsiteY150" fmla="*/ 62161 h 82619"/>
                <a:gd name="connsiteX151" fmla="*/ 147535 w 204581"/>
                <a:gd name="connsiteY151" fmla="*/ 60588 h 82619"/>
                <a:gd name="connsiteX152" fmla="*/ 147928 w 204581"/>
                <a:gd name="connsiteY152" fmla="*/ 57834 h 82619"/>
                <a:gd name="connsiteX153" fmla="*/ 149502 w 204581"/>
                <a:gd name="connsiteY153" fmla="*/ 54686 h 82619"/>
                <a:gd name="connsiteX154" fmla="*/ 147535 w 204581"/>
                <a:gd name="connsiteY154" fmla="*/ 51932 h 82619"/>
                <a:gd name="connsiteX155" fmla="*/ 149108 w 204581"/>
                <a:gd name="connsiteY155" fmla="*/ 49178 h 82619"/>
                <a:gd name="connsiteX156" fmla="*/ 152256 w 204581"/>
                <a:gd name="connsiteY156" fmla="*/ 48785 h 82619"/>
                <a:gd name="connsiteX157" fmla="*/ 155010 w 204581"/>
                <a:gd name="connsiteY157" fmla="*/ 49178 h 82619"/>
                <a:gd name="connsiteX158" fmla="*/ 158157 w 204581"/>
                <a:gd name="connsiteY158" fmla="*/ 48785 h 82619"/>
                <a:gd name="connsiteX159" fmla="*/ 161305 w 204581"/>
                <a:gd name="connsiteY159" fmla="*/ 47211 h 82619"/>
                <a:gd name="connsiteX160" fmla="*/ 158157 w 204581"/>
                <a:gd name="connsiteY160" fmla="*/ 45637 h 82619"/>
                <a:gd name="connsiteX161" fmla="*/ 160911 w 204581"/>
                <a:gd name="connsiteY161" fmla="*/ 44851 h 82619"/>
                <a:gd name="connsiteX162" fmla="*/ 160124 w 204581"/>
                <a:gd name="connsiteY162" fmla="*/ 41703 h 82619"/>
                <a:gd name="connsiteX163" fmla="*/ 159731 w 204581"/>
                <a:gd name="connsiteY163" fmla="*/ 40129 h 82619"/>
                <a:gd name="connsiteX164" fmla="*/ 177829 w 204581"/>
                <a:gd name="connsiteY164" fmla="*/ 35408 h 82619"/>
                <a:gd name="connsiteX165" fmla="*/ 178222 w 204581"/>
                <a:gd name="connsiteY165" fmla="*/ 35015 h 82619"/>
                <a:gd name="connsiteX166" fmla="*/ 181370 w 204581"/>
                <a:gd name="connsiteY166" fmla="*/ 34622 h 82619"/>
                <a:gd name="connsiteX167" fmla="*/ 184517 w 204581"/>
                <a:gd name="connsiteY167" fmla="*/ 34622 h 82619"/>
                <a:gd name="connsiteX168" fmla="*/ 187271 w 204581"/>
                <a:gd name="connsiteY168" fmla="*/ 35015 h 82619"/>
                <a:gd name="connsiteX169" fmla="*/ 190025 w 204581"/>
                <a:gd name="connsiteY169" fmla="*/ 33835 h 82619"/>
                <a:gd name="connsiteX170" fmla="*/ 193172 w 204581"/>
                <a:gd name="connsiteY170" fmla="*/ 34228 h 82619"/>
                <a:gd name="connsiteX171" fmla="*/ 195926 w 204581"/>
                <a:gd name="connsiteY171" fmla="*/ 34622 h 82619"/>
                <a:gd name="connsiteX172" fmla="*/ 199074 w 204581"/>
                <a:gd name="connsiteY172" fmla="*/ 34622 h 82619"/>
                <a:gd name="connsiteX173" fmla="*/ 201827 w 204581"/>
                <a:gd name="connsiteY173" fmla="*/ 34228 h 82619"/>
                <a:gd name="connsiteX174" fmla="*/ 204582 w 204581"/>
                <a:gd name="connsiteY174" fmla="*/ 32654 h 82619"/>
                <a:gd name="connsiteX175" fmla="*/ 206155 w 204581"/>
                <a:gd name="connsiteY175" fmla="*/ 29900 h 82619"/>
                <a:gd name="connsiteX176" fmla="*/ 203008 w 204581"/>
                <a:gd name="connsiteY176" fmla="*/ 29507 h 82619"/>
                <a:gd name="connsiteX177" fmla="*/ 200254 w 204581"/>
                <a:gd name="connsiteY177" fmla="*/ 29114 h 82619"/>
                <a:gd name="connsiteX178" fmla="*/ 197107 w 204581"/>
                <a:gd name="connsiteY178" fmla="*/ 28720 h 82619"/>
                <a:gd name="connsiteX179" fmla="*/ 193959 w 204581"/>
                <a:gd name="connsiteY179" fmla="*/ 28327 h 82619"/>
                <a:gd name="connsiteX180" fmla="*/ 190812 w 204581"/>
                <a:gd name="connsiteY180" fmla="*/ 27933 h 82619"/>
                <a:gd name="connsiteX181" fmla="*/ 188058 w 204581"/>
                <a:gd name="connsiteY181" fmla="*/ 27540 h 82619"/>
                <a:gd name="connsiteX182" fmla="*/ 185304 w 204581"/>
                <a:gd name="connsiteY182" fmla="*/ 27146 h 82619"/>
                <a:gd name="connsiteX183" fmla="*/ 182156 w 204581"/>
                <a:gd name="connsiteY183" fmla="*/ 26360 h 82619"/>
                <a:gd name="connsiteX184" fmla="*/ 179009 w 204581"/>
                <a:gd name="connsiteY184" fmla="*/ 25966 h 82619"/>
                <a:gd name="connsiteX185" fmla="*/ 176255 w 204581"/>
                <a:gd name="connsiteY185" fmla="*/ 25573 h 82619"/>
                <a:gd name="connsiteX186" fmla="*/ 173894 w 204581"/>
                <a:gd name="connsiteY186" fmla="*/ 23999 h 82619"/>
                <a:gd name="connsiteX187" fmla="*/ 171141 w 204581"/>
                <a:gd name="connsiteY187" fmla="*/ 22032 h 82619"/>
                <a:gd name="connsiteX188" fmla="*/ 167993 w 204581"/>
                <a:gd name="connsiteY188" fmla="*/ 22032 h 82619"/>
                <a:gd name="connsiteX189" fmla="*/ 164845 w 204581"/>
                <a:gd name="connsiteY189" fmla="*/ 21638 h 82619"/>
                <a:gd name="connsiteX190" fmla="*/ 152649 w 204581"/>
                <a:gd name="connsiteY190" fmla="*/ 17311 h 82619"/>
                <a:gd name="connsiteX191" fmla="*/ 151863 w 204581"/>
                <a:gd name="connsiteY191" fmla="*/ 14557 h 82619"/>
                <a:gd name="connsiteX192" fmla="*/ 149108 w 204581"/>
                <a:gd name="connsiteY192" fmla="*/ 12196 h 82619"/>
                <a:gd name="connsiteX193" fmla="*/ 145961 w 204581"/>
                <a:gd name="connsiteY193" fmla="*/ 11803 h 82619"/>
                <a:gd name="connsiteX194" fmla="*/ 143207 w 204581"/>
                <a:gd name="connsiteY194" fmla="*/ 11016 h 82619"/>
                <a:gd name="connsiteX195" fmla="*/ 140060 w 204581"/>
                <a:gd name="connsiteY195" fmla="*/ 11016 h 82619"/>
                <a:gd name="connsiteX196" fmla="*/ 138093 w 204581"/>
                <a:gd name="connsiteY196" fmla="*/ 12196 h 82619"/>
                <a:gd name="connsiteX197" fmla="*/ 132978 w 204581"/>
                <a:gd name="connsiteY197" fmla="*/ 10229 h 82619"/>
                <a:gd name="connsiteX198" fmla="*/ 132978 w 204581"/>
                <a:gd name="connsiteY198" fmla="*/ 10229 h 82619"/>
                <a:gd name="connsiteX199" fmla="*/ 135732 w 204581"/>
                <a:gd name="connsiteY199" fmla="*/ 7475 h 82619"/>
                <a:gd name="connsiteX200" fmla="*/ 132191 w 204581"/>
                <a:gd name="connsiteY200" fmla="*/ 6295 h 82619"/>
                <a:gd name="connsiteX201" fmla="*/ 129437 w 204581"/>
                <a:gd name="connsiteY201" fmla="*/ 5115 h 82619"/>
                <a:gd name="connsiteX202" fmla="*/ 126290 w 204581"/>
                <a:gd name="connsiteY202" fmla="*/ 4328 h 82619"/>
                <a:gd name="connsiteX203" fmla="*/ 120782 w 204581"/>
                <a:gd name="connsiteY203" fmla="*/ 3147 h 82619"/>
                <a:gd name="connsiteX204" fmla="*/ 117634 w 204581"/>
                <a:gd name="connsiteY204" fmla="*/ 2754 h 82619"/>
                <a:gd name="connsiteX205" fmla="*/ 115667 w 204581"/>
                <a:gd name="connsiteY205" fmla="*/ 3934 h 82619"/>
                <a:gd name="connsiteX206" fmla="*/ 108586 w 204581"/>
                <a:gd name="connsiteY206" fmla="*/ 1574 h 82619"/>
                <a:gd name="connsiteX207" fmla="*/ 106225 w 204581"/>
                <a:gd name="connsiteY207" fmla="*/ 393 h 82619"/>
                <a:gd name="connsiteX208" fmla="*/ 103471 w 204581"/>
                <a:gd name="connsiteY208" fmla="*/ 0 h 82619"/>
                <a:gd name="connsiteX209" fmla="*/ 103078 w 204581"/>
                <a:gd name="connsiteY209" fmla="*/ 0 h 82619"/>
                <a:gd name="connsiteX210" fmla="*/ 103078 w 204581"/>
                <a:gd name="connsiteY210" fmla="*/ 0 h 82619"/>
                <a:gd name="connsiteX211" fmla="*/ 100717 w 204581"/>
                <a:gd name="connsiteY211" fmla="*/ 393 h 82619"/>
                <a:gd name="connsiteX212" fmla="*/ 97569 w 204581"/>
                <a:gd name="connsiteY212" fmla="*/ 1180 h 82619"/>
                <a:gd name="connsiteX213" fmla="*/ 101504 w 204581"/>
                <a:gd name="connsiteY213" fmla="*/ 1180 h 82619"/>
                <a:gd name="connsiteX214" fmla="*/ 78291 w 204581"/>
                <a:gd name="connsiteY214" fmla="*/ 5901 h 82619"/>
                <a:gd name="connsiteX215" fmla="*/ 77898 w 204581"/>
                <a:gd name="connsiteY215" fmla="*/ 5901 h 82619"/>
                <a:gd name="connsiteX216" fmla="*/ 74751 w 204581"/>
                <a:gd name="connsiteY216" fmla="*/ 5508 h 82619"/>
                <a:gd name="connsiteX217" fmla="*/ 72390 w 204581"/>
                <a:gd name="connsiteY217" fmla="*/ 7082 h 82619"/>
                <a:gd name="connsiteX218" fmla="*/ 50752 w 204581"/>
                <a:gd name="connsiteY218" fmla="*/ 11409 h 82619"/>
                <a:gd name="connsiteX219" fmla="*/ 51145 w 204581"/>
                <a:gd name="connsiteY219" fmla="*/ 10623 h 82619"/>
                <a:gd name="connsiteX220" fmla="*/ 47998 w 204581"/>
                <a:gd name="connsiteY220" fmla="*/ 10623 h 82619"/>
                <a:gd name="connsiteX221" fmla="*/ 44850 w 204581"/>
                <a:gd name="connsiteY221" fmla="*/ 11016 h 82619"/>
                <a:gd name="connsiteX222" fmla="*/ 41310 w 204581"/>
                <a:gd name="connsiteY222" fmla="*/ 11409 h 82619"/>
                <a:gd name="connsiteX223" fmla="*/ 38162 w 204581"/>
                <a:gd name="connsiteY223" fmla="*/ 11803 h 82619"/>
                <a:gd name="connsiteX224" fmla="*/ 35015 w 204581"/>
                <a:gd name="connsiteY224" fmla="*/ 11409 h 82619"/>
                <a:gd name="connsiteX225" fmla="*/ 38162 w 204581"/>
                <a:gd name="connsiteY225" fmla="*/ 11016 h 82619"/>
                <a:gd name="connsiteX226" fmla="*/ 40916 w 204581"/>
                <a:gd name="connsiteY226" fmla="*/ 9836 h 82619"/>
                <a:gd name="connsiteX227" fmla="*/ 43670 w 204581"/>
                <a:gd name="connsiteY227" fmla="*/ 9442 h 82619"/>
                <a:gd name="connsiteX228" fmla="*/ 46424 w 204581"/>
                <a:gd name="connsiteY228" fmla="*/ 9049 h 82619"/>
                <a:gd name="connsiteX229" fmla="*/ 49965 w 204581"/>
                <a:gd name="connsiteY229" fmla="*/ 9049 h 82619"/>
                <a:gd name="connsiteX230" fmla="*/ 53113 w 204581"/>
                <a:gd name="connsiteY230" fmla="*/ 8655 h 82619"/>
                <a:gd name="connsiteX231" fmla="*/ 56260 w 204581"/>
                <a:gd name="connsiteY231" fmla="*/ 8655 h 82619"/>
                <a:gd name="connsiteX232" fmla="*/ 59014 w 204581"/>
                <a:gd name="connsiteY232" fmla="*/ 8262 h 82619"/>
                <a:gd name="connsiteX233" fmla="*/ 62161 w 204581"/>
                <a:gd name="connsiteY233" fmla="*/ 7475 h 82619"/>
                <a:gd name="connsiteX234" fmla="*/ 60587 w 204581"/>
                <a:gd name="connsiteY234" fmla="*/ 4721 h 82619"/>
                <a:gd name="connsiteX235" fmla="*/ 57440 w 204581"/>
                <a:gd name="connsiteY235" fmla="*/ 4721 h 82619"/>
                <a:gd name="connsiteX236" fmla="*/ 54686 w 204581"/>
                <a:gd name="connsiteY236" fmla="*/ 5115 h 82619"/>
                <a:gd name="connsiteX237" fmla="*/ 51539 w 204581"/>
                <a:gd name="connsiteY237" fmla="*/ 5115 h 82619"/>
                <a:gd name="connsiteX238" fmla="*/ 48391 w 204581"/>
                <a:gd name="connsiteY238" fmla="*/ 5508 h 82619"/>
                <a:gd name="connsiteX239" fmla="*/ 45244 w 204581"/>
                <a:gd name="connsiteY239" fmla="*/ 5508 h 82619"/>
                <a:gd name="connsiteX240" fmla="*/ 42490 w 204581"/>
                <a:gd name="connsiteY240" fmla="*/ 5901 h 82619"/>
                <a:gd name="connsiteX241" fmla="*/ 39343 w 204581"/>
                <a:gd name="connsiteY241" fmla="*/ 6688 h 82619"/>
                <a:gd name="connsiteX242" fmla="*/ 36195 w 204581"/>
                <a:gd name="connsiteY242" fmla="*/ 7082 h 82619"/>
                <a:gd name="connsiteX243" fmla="*/ 33047 w 204581"/>
                <a:gd name="connsiteY243" fmla="*/ 5901 h 82619"/>
                <a:gd name="connsiteX244" fmla="*/ 30294 w 204581"/>
                <a:gd name="connsiteY244" fmla="*/ 5508 h 82619"/>
                <a:gd name="connsiteX245" fmla="*/ 27146 w 204581"/>
                <a:gd name="connsiteY245" fmla="*/ 5901 h 82619"/>
                <a:gd name="connsiteX246" fmla="*/ 27933 w 204581"/>
                <a:gd name="connsiteY246" fmla="*/ 8655 h 82619"/>
                <a:gd name="connsiteX247" fmla="*/ 25179 w 204581"/>
                <a:gd name="connsiteY247" fmla="*/ 9049 h 82619"/>
                <a:gd name="connsiteX248" fmla="*/ 22425 w 204581"/>
                <a:gd name="connsiteY248" fmla="*/ 6295 h 82619"/>
                <a:gd name="connsiteX249" fmla="*/ 19671 w 204581"/>
                <a:gd name="connsiteY249" fmla="*/ 5115 h 82619"/>
                <a:gd name="connsiteX250" fmla="*/ 16130 w 204581"/>
                <a:gd name="connsiteY250" fmla="*/ 5901 h 82619"/>
                <a:gd name="connsiteX251" fmla="*/ 13376 w 204581"/>
                <a:gd name="connsiteY251" fmla="*/ 6688 h 82619"/>
                <a:gd name="connsiteX252" fmla="*/ 10229 w 204581"/>
                <a:gd name="connsiteY252" fmla="*/ 8655 h 82619"/>
                <a:gd name="connsiteX253" fmla="*/ 12983 w 204581"/>
                <a:gd name="connsiteY253" fmla="*/ 10229 h 82619"/>
                <a:gd name="connsiteX254" fmla="*/ 10229 w 204581"/>
                <a:gd name="connsiteY254" fmla="*/ 10229 h 82619"/>
                <a:gd name="connsiteX255" fmla="*/ 6688 w 204581"/>
                <a:gd name="connsiteY255" fmla="*/ 9836 h 82619"/>
                <a:gd name="connsiteX256" fmla="*/ 3540 w 204581"/>
                <a:gd name="connsiteY256" fmla="*/ 11409 h 82619"/>
                <a:gd name="connsiteX257" fmla="*/ 6688 w 204581"/>
                <a:gd name="connsiteY257" fmla="*/ 11016 h 82619"/>
                <a:gd name="connsiteX258" fmla="*/ 107405 w 204581"/>
                <a:gd name="connsiteY258" fmla="*/ 53113 h 82619"/>
                <a:gd name="connsiteX259" fmla="*/ 110553 w 204581"/>
                <a:gd name="connsiteY259" fmla="*/ 52719 h 82619"/>
                <a:gd name="connsiteX260" fmla="*/ 114094 w 204581"/>
                <a:gd name="connsiteY260" fmla="*/ 52719 h 82619"/>
                <a:gd name="connsiteX261" fmla="*/ 117241 w 204581"/>
                <a:gd name="connsiteY261" fmla="*/ 51145 h 82619"/>
                <a:gd name="connsiteX262" fmla="*/ 119995 w 204581"/>
                <a:gd name="connsiteY262" fmla="*/ 51145 h 82619"/>
                <a:gd name="connsiteX263" fmla="*/ 118421 w 204581"/>
                <a:gd name="connsiteY263" fmla="*/ 53899 h 82619"/>
                <a:gd name="connsiteX264" fmla="*/ 121568 w 204581"/>
                <a:gd name="connsiteY264" fmla="*/ 54686 h 82619"/>
                <a:gd name="connsiteX265" fmla="*/ 118815 w 204581"/>
                <a:gd name="connsiteY265" fmla="*/ 54293 h 82619"/>
                <a:gd name="connsiteX266" fmla="*/ 115274 w 204581"/>
                <a:gd name="connsiteY266" fmla="*/ 54293 h 82619"/>
                <a:gd name="connsiteX267" fmla="*/ 112520 w 204581"/>
                <a:gd name="connsiteY267" fmla="*/ 54686 h 82619"/>
                <a:gd name="connsiteX268" fmla="*/ 109372 w 204581"/>
                <a:gd name="connsiteY268" fmla="*/ 54686 h 82619"/>
                <a:gd name="connsiteX269" fmla="*/ 105831 w 204581"/>
                <a:gd name="connsiteY269" fmla="*/ 55080 h 82619"/>
                <a:gd name="connsiteX270" fmla="*/ 103078 w 204581"/>
                <a:gd name="connsiteY270" fmla="*/ 55473 h 82619"/>
                <a:gd name="connsiteX271" fmla="*/ 99930 w 204581"/>
                <a:gd name="connsiteY271" fmla="*/ 55867 h 82619"/>
                <a:gd name="connsiteX272" fmla="*/ 98357 w 204581"/>
                <a:gd name="connsiteY272" fmla="*/ 55867 h 82619"/>
                <a:gd name="connsiteX273" fmla="*/ 107012 w 204581"/>
                <a:gd name="connsiteY273" fmla="*/ 53506 h 82619"/>
                <a:gd name="connsiteX274" fmla="*/ 107405 w 204581"/>
                <a:gd name="connsiteY274" fmla="*/ 53506 h 82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</a:cxnLst>
              <a:rect l="l" t="t" r="r" b="b"/>
              <a:pathLst>
                <a:path w="204581" h="82619">
                  <a:moveTo>
                    <a:pt x="6688" y="11016"/>
                  </a:moveTo>
                  <a:lnTo>
                    <a:pt x="3540" y="11016"/>
                  </a:lnTo>
                  <a:lnTo>
                    <a:pt x="0" y="12196"/>
                  </a:lnTo>
                  <a:lnTo>
                    <a:pt x="3147" y="12983"/>
                  </a:lnTo>
                  <a:lnTo>
                    <a:pt x="2754" y="16130"/>
                  </a:lnTo>
                  <a:lnTo>
                    <a:pt x="5508" y="17311"/>
                  </a:lnTo>
                  <a:lnTo>
                    <a:pt x="8655" y="19671"/>
                  </a:lnTo>
                  <a:lnTo>
                    <a:pt x="9836" y="22032"/>
                  </a:lnTo>
                  <a:lnTo>
                    <a:pt x="12589" y="21638"/>
                  </a:lnTo>
                  <a:lnTo>
                    <a:pt x="14163" y="21245"/>
                  </a:lnTo>
                  <a:lnTo>
                    <a:pt x="18884" y="22819"/>
                  </a:lnTo>
                  <a:lnTo>
                    <a:pt x="18491" y="23212"/>
                  </a:lnTo>
                  <a:lnTo>
                    <a:pt x="25966" y="25573"/>
                  </a:lnTo>
                  <a:lnTo>
                    <a:pt x="24392" y="26753"/>
                  </a:lnTo>
                  <a:lnTo>
                    <a:pt x="18884" y="26360"/>
                  </a:lnTo>
                  <a:lnTo>
                    <a:pt x="15343" y="25573"/>
                  </a:lnTo>
                  <a:lnTo>
                    <a:pt x="12196" y="25179"/>
                  </a:lnTo>
                  <a:lnTo>
                    <a:pt x="9442" y="26753"/>
                  </a:lnTo>
                  <a:lnTo>
                    <a:pt x="12589" y="27540"/>
                  </a:lnTo>
                  <a:lnTo>
                    <a:pt x="15737" y="29114"/>
                  </a:lnTo>
                  <a:lnTo>
                    <a:pt x="15737" y="31868"/>
                  </a:lnTo>
                  <a:lnTo>
                    <a:pt x="18491" y="33835"/>
                  </a:lnTo>
                  <a:lnTo>
                    <a:pt x="22032" y="35408"/>
                  </a:lnTo>
                  <a:lnTo>
                    <a:pt x="25179" y="35408"/>
                  </a:lnTo>
                  <a:lnTo>
                    <a:pt x="28327" y="36589"/>
                  </a:lnTo>
                  <a:lnTo>
                    <a:pt x="34621" y="36982"/>
                  </a:lnTo>
                  <a:lnTo>
                    <a:pt x="37769" y="36589"/>
                  </a:lnTo>
                  <a:lnTo>
                    <a:pt x="40916" y="36982"/>
                  </a:lnTo>
                  <a:lnTo>
                    <a:pt x="37376" y="37376"/>
                  </a:lnTo>
                  <a:lnTo>
                    <a:pt x="31474" y="37376"/>
                  </a:lnTo>
                  <a:lnTo>
                    <a:pt x="27933" y="38556"/>
                  </a:lnTo>
                  <a:lnTo>
                    <a:pt x="30687" y="40129"/>
                  </a:lnTo>
                  <a:lnTo>
                    <a:pt x="33835" y="40916"/>
                  </a:lnTo>
                  <a:lnTo>
                    <a:pt x="36982" y="41310"/>
                  </a:lnTo>
                  <a:lnTo>
                    <a:pt x="38162" y="44064"/>
                  </a:lnTo>
                  <a:lnTo>
                    <a:pt x="41310" y="44457"/>
                  </a:lnTo>
                  <a:lnTo>
                    <a:pt x="47605" y="44457"/>
                  </a:lnTo>
                  <a:lnTo>
                    <a:pt x="50752" y="44851"/>
                  </a:lnTo>
                  <a:lnTo>
                    <a:pt x="53899" y="44851"/>
                  </a:lnTo>
                  <a:lnTo>
                    <a:pt x="57047" y="43277"/>
                  </a:lnTo>
                  <a:lnTo>
                    <a:pt x="59801" y="42883"/>
                  </a:lnTo>
                  <a:lnTo>
                    <a:pt x="62554" y="43277"/>
                  </a:lnTo>
                  <a:lnTo>
                    <a:pt x="64915" y="40523"/>
                  </a:lnTo>
                  <a:lnTo>
                    <a:pt x="67669" y="40916"/>
                  </a:lnTo>
                  <a:lnTo>
                    <a:pt x="70817" y="40916"/>
                  </a:lnTo>
                  <a:lnTo>
                    <a:pt x="73964" y="40129"/>
                  </a:lnTo>
                  <a:lnTo>
                    <a:pt x="70817" y="38556"/>
                  </a:lnTo>
                  <a:lnTo>
                    <a:pt x="67669" y="37376"/>
                  </a:lnTo>
                  <a:lnTo>
                    <a:pt x="70423" y="35802"/>
                  </a:lnTo>
                  <a:lnTo>
                    <a:pt x="69636" y="34622"/>
                  </a:lnTo>
                  <a:lnTo>
                    <a:pt x="85767" y="37376"/>
                  </a:lnTo>
                  <a:lnTo>
                    <a:pt x="87340" y="38556"/>
                  </a:lnTo>
                  <a:lnTo>
                    <a:pt x="90488" y="38949"/>
                  </a:lnTo>
                  <a:lnTo>
                    <a:pt x="94029" y="38556"/>
                  </a:lnTo>
                  <a:lnTo>
                    <a:pt x="90094" y="44457"/>
                  </a:lnTo>
                  <a:lnTo>
                    <a:pt x="89308" y="44457"/>
                  </a:lnTo>
                  <a:lnTo>
                    <a:pt x="85767" y="44851"/>
                  </a:lnTo>
                  <a:lnTo>
                    <a:pt x="82620" y="46424"/>
                  </a:lnTo>
                  <a:lnTo>
                    <a:pt x="79865" y="47998"/>
                  </a:lnTo>
                  <a:lnTo>
                    <a:pt x="73964" y="47998"/>
                  </a:lnTo>
                  <a:lnTo>
                    <a:pt x="70817" y="48391"/>
                  </a:lnTo>
                  <a:lnTo>
                    <a:pt x="67276" y="48391"/>
                  </a:lnTo>
                  <a:lnTo>
                    <a:pt x="64522" y="48785"/>
                  </a:lnTo>
                  <a:lnTo>
                    <a:pt x="66882" y="51539"/>
                  </a:lnTo>
                  <a:lnTo>
                    <a:pt x="63735" y="49965"/>
                  </a:lnTo>
                  <a:lnTo>
                    <a:pt x="60981" y="48391"/>
                  </a:lnTo>
                  <a:lnTo>
                    <a:pt x="58227" y="47998"/>
                  </a:lnTo>
                  <a:lnTo>
                    <a:pt x="54686" y="48391"/>
                  </a:lnTo>
                  <a:lnTo>
                    <a:pt x="52325" y="51145"/>
                  </a:lnTo>
                  <a:lnTo>
                    <a:pt x="53113" y="53899"/>
                  </a:lnTo>
                  <a:lnTo>
                    <a:pt x="55473" y="57047"/>
                  </a:lnTo>
                  <a:lnTo>
                    <a:pt x="59014" y="57047"/>
                  </a:lnTo>
                  <a:lnTo>
                    <a:pt x="62161" y="56260"/>
                  </a:lnTo>
                  <a:lnTo>
                    <a:pt x="64915" y="55867"/>
                  </a:lnTo>
                  <a:lnTo>
                    <a:pt x="68062" y="56260"/>
                  </a:lnTo>
                  <a:lnTo>
                    <a:pt x="70817" y="55867"/>
                  </a:lnTo>
                  <a:lnTo>
                    <a:pt x="74357" y="56260"/>
                  </a:lnTo>
                  <a:lnTo>
                    <a:pt x="77505" y="55867"/>
                  </a:lnTo>
                  <a:lnTo>
                    <a:pt x="80259" y="55473"/>
                  </a:lnTo>
                  <a:lnTo>
                    <a:pt x="82620" y="55080"/>
                  </a:lnTo>
                  <a:lnTo>
                    <a:pt x="80652" y="57834"/>
                  </a:lnTo>
                  <a:lnTo>
                    <a:pt x="78291" y="58227"/>
                  </a:lnTo>
                  <a:lnTo>
                    <a:pt x="75538" y="58621"/>
                  </a:lnTo>
                  <a:lnTo>
                    <a:pt x="78685" y="59407"/>
                  </a:lnTo>
                  <a:lnTo>
                    <a:pt x="79865" y="59407"/>
                  </a:lnTo>
                  <a:lnTo>
                    <a:pt x="78685" y="61375"/>
                  </a:lnTo>
                  <a:lnTo>
                    <a:pt x="85767" y="59407"/>
                  </a:lnTo>
                  <a:lnTo>
                    <a:pt x="88127" y="59801"/>
                  </a:lnTo>
                  <a:lnTo>
                    <a:pt x="91668" y="60194"/>
                  </a:lnTo>
                  <a:lnTo>
                    <a:pt x="94422" y="60588"/>
                  </a:lnTo>
                  <a:lnTo>
                    <a:pt x="97569" y="60588"/>
                  </a:lnTo>
                  <a:lnTo>
                    <a:pt x="100324" y="61375"/>
                  </a:lnTo>
                  <a:lnTo>
                    <a:pt x="103078" y="62555"/>
                  </a:lnTo>
                  <a:lnTo>
                    <a:pt x="106225" y="64128"/>
                  </a:lnTo>
                  <a:lnTo>
                    <a:pt x="103078" y="63735"/>
                  </a:lnTo>
                  <a:lnTo>
                    <a:pt x="100324" y="62555"/>
                  </a:lnTo>
                  <a:lnTo>
                    <a:pt x="97176" y="61768"/>
                  </a:lnTo>
                  <a:lnTo>
                    <a:pt x="90881" y="61768"/>
                  </a:lnTo>
                  <a:lnTo>
                    <a:pt x="87734" y="61375"/>
                  </a:lnTo>
                  <a:lnTo>
                    <a:pt x="84980" y="61375"/>
                  </a:lnTo>
                  <a:lnTo>
                    <a:pt x="81832" y="60981"/>
                  </a:lnTo>
                  <a:lnTo>
                    <a:pt x="78685" y="61375"/>
                  </a:lnTo>
                  <a:lnTo>
                    <a:pt x="75931" y="62948"/>
                  </a:lnTo>
                  <a:lnTo>
                    <a:pt x="73177" y="61768"/>
                  </a:lnTo>
                  <a:lnTo>
                    <a:pt x="70423" y="60588"/>
                  </a:lnTo>
                  <a:lnTo>
                    <a:pt x="66882" y="60588"/>
                  </a:lnTo>
                  <a:lnTo>
                    <a:pt x="63735" y="60981"/>
                  </a:lnTo>
                  <a:lnTo>
                    <a:pt x="60981" y="62948"/>
                  </a:lnTo>
                  <a:lnTo>
                    <a:pt x="62948" y="65702"/>
                  </a:lnTo>
                  <a:lnTo>
                    <a:pt x="69243" y="70423"/>
                  </a:lnTo>
                  <a:lnTo>
                    <a:pt x="72390" y="70817"/>
                  </a:lnTo>
                  <a:lnTo>
                    <a:pt x="75144" y="70423"/>
                  </a:lnTo>
                  <a:lnTo>
                    <a:pt x="78685" y="71210"/>
                  </a:lnTo>
                  <a:lnTo>
                    <a:pt x="81832" y="71604"/>
                  </a:lnTo>
                  <a:lnTo>
                    <a:pt x="84980" y="73571"/>
                  </a:lnTo>
                  <a:lnTo>
                    <a:pt x="88127" y="74751"/>
                  </a:lnTo>
                  <a:lnTo>
                    <a:pt x="91275" y="75144"/>
                  </a:lnTo>
                  <a:lnTo>
                    <a:pt x="97176" y="75144"/>
                  </a:lnTo>
                  <a:lnTo>
                    <a:pt x="99930" y="73571"/>
                  </a:lnTo>
                  <a:lnTo>
                    <a:pt x="103471" y="73177"/>
                  </a:lnTo>
                  <a:lnTo>
                    <a:pt x="106225" y="74751"/>
                  </a:lnTo>
                  <a:lnTo>
                    <a:pt x="109372" y="75144"/>
                  </a:lnTo>
                  <a:lnTo>
                    <a:pt x="112913" y="75538"/>
                  </a:lnTo>
                  <a:lnTo>
                    <a:pt x="109372" y="76325"/>
                  </a:lnTo>
                  <a:lnTo>
                    <a:pt x="106618" y="75931"/>
                  </a:lnTo>
                  <a:lnTo>
                    <a:pt x="103471" y="75538"/>
                  </a:lnTo>
                  <a:lnTo>
                    <a:pt x="100324" y="76325"/>
                  </a:lnTo>
                  <a:lnTo>
                    <a:pt x="97176" y="76718"/>
                  </a:lnTo>
                  <a:lnTo>
                    <a:pt x="94029" y="78292"/>
                  </a:lnTo>
                  <a:lnTo>
                    <a:pt x="97176" y="79079"/>
                  </a:lnTo>
                  <a:lnTo>
                    <a:pt x="100324" y="80259"/>
                  </a:lnTo>
                  <a:lnTo>
                    <a:pt x="103078" y="81439"/>
                  </a:lnTo>
                  <a:lnTo>
                    <a:pt x="106225" y="81833"/>
                  </a:lnTo>
                  <a:lnTo>
                    <a:pt x="108979" y="83013"/>
                  </a:lnTo>
                  <a:lnTo>
                    <a:pt x="110553" y="85767"/>
                  </a:lnTo>
                  <a:lnTo>
                    <a:pt x="113700" y="84587"/>
                  </a:lnTo>
                  <a:lnTo>
                    <a:pt x="116454" y="85767"/>
                  </a:lnTo>
                  <a:lnTo>
                    <a:pt x="119995" y="85767"/>
                  </a:lnTo>
                  <a:lnTo>
                    <a:pt x="122749" y="85374"/>
                  </a:lnTo>
                  <a:lnTo>
                    <a:pt x="125896" y="83800"/>
                  </a:lnTo>
                  <a:lnTo>
                    <a:pt x="125109" y="81046"/>
                  </a:lnTo>
                  <a:lnTo>
                    <a:pt x="122356" y="79472"/>
                  </a:lnTo>
                  <a:lnTo>
                    <a:pt x="125503" y="77898"/>
                  </a:lnTo>
                  <a:lnTo>
                    <a:pt x="128257" y="76325"/>
                  </a:lnTo>
                  <a:lnTo>
                    <a:pt x="127076" y="73571"/>
                  </a:lnTo>
                  <a:lnTo>
                    <a:pt x="130224" y="71997"/>
                  </a:lnTo>
                  <a:lnTo>
                    <a:pt x="131404" y="68850"/>
                  </a:lnTo>
                  <a:lnTo>
                    <a:pt x="132978" y="66096"/>
                  </a:lnTo>
                  <a:lnTo>
                    <a:pt x="135732" y="63342"/>
                  </a:lnTo>
                  <a:lnTo>
                    <a:pt x="138879" y="62161"/>
                  </a:lnTo>
                  <a:lnTo>
                    <a:pt x="144781" y="62161"/>
                  </a:lnTo>
                  <a:lnTo>
                    <a:pt x="147535" y="60588"/>
                  </a:lnTo>
                  <a:lnTo>
                    <a:pt x="147928" y="57834"/>
                  </a:lnTo>
                  <a:lnTo>
                    <a:pt x="149502" y="54686"/>
                  </a:lnTo>
                  <a:lnTo>
                    <a:pt x="147535" y="51932"/>
                  </a:lnTo>
                  <a:lnTo>
                    <a:pt x="149108" y="49178"/>
                  </a:lnTo>
                  <a:lnTo>
                    <a:pt x="152256" y="48785"/>
                  </a:lnTo>
                  <a:lnTo>
                    <a:pt x="155010" y="49178"/>
                  </a:lnTo>
                  <a:lnTo>
                    <a:pt x="158157" y="48785"/>
                  </a:lnTo>
                  <a:lnTo>
                    <a:pt x="161305" y="47211"/>
                  </a:lnTo>
                  <a:lnTo>
                    <a:pt x="158157" y="45637"/>
                  </a:lnTo>
                  <a:lnTo>
                    <a:pt x="160911" y="44851"/>
                  </a:lnTo>
                  <a:lnTo>
                    <a:pt x="160124" y="41703"/>
                  </a:lnTo>
                  <a:lnTo>
                    <a:pt x="159731" y="40129"/>
                  </a:lnTo>
                  <a:lnTo>
                    <a:pt x="177829" y="35408"/>
                  </a:lnTo>
                  <a:lnTo>
                    <a:pt x="178222" y="35015"/>
                  </a:lnTo>
                  <a:lnTo>
                    <a:pt x="181370" y="34622"/>
                  </a:lnTo>
                  <a:lnTo>
                    <a:pt x="184517" y="34622"/>
                  </a:lnTo>
                  <a:lnTo>
                    <a:pt x="187271" y="35015"/>
                  </a:lnTo>
                  <a:lnTo>
                    <a:pt x="190025" y="33835"/>
                  </a:lnTo>
                  <a:lnTo>
                    <a:pt x="193172" y="34228"/>
                  </a:lnTo>
                  <a:lnTo>
                    <a:pt x="195926" y="34622"/>
                  </a:lnTo>
                  <a:lnTo>
                    <a:pt x="199074" y="34622"/>
                  </a:lnTo>
                  <a:lnTo>
                    <a:pt x="201827" y="34228"/>
                  </a:lnTo>
                  <a:lnTo>
                    <a:pt x="204582" y="32654"/>
                  </a:lnTo>
                  <a:lnTo>
                    <a:pt x="206155" y="29900"/>
                  </a:lnTo>
                  <a:lnTo>
                    <a:pt x="203008" y="29507"/>
                  </a:lnTo>
                  <a:lnTo>
                    <a:pt x="200254" y="29114"/>
                  </a:lnTo>
                  <a:lnTo>
                    <a:pt x="197107" y="28720"/>
                  </a:lnTo>
                  <a:lnTo>
                    <a:pt x="193959" y="28327"/>
                  </a:lnTo>
                  <a:lnTo>
                    <a:pt x="190812" y="27933"/>
                  </a:lnTo>
                  <a:lnTo>
                    <a:pt x="188058" y="27540"/>
                  </a:lnTo>
                  <a:lnTo>
                    <a:pt x="185304" y="27146"/>
                  </a:lnTo>
                  <a:lnTo>
                    <a:pt x="182156" y="26360"/>
                  </a:lnTo>
                  <a:lnTo>
                    <a:pt x="179009" y="25966"/>
                  </a:lnTo>
                  <a:lnTo>
                    <a:pt x="176255" y="25573"/>
                  </a:lnTo>
                  <a:lnTo>
                    <a:pt x="173894" y="23999"/>
                  </a:lnTo>
                  <a:lnTo>
                    <a:pt x="171141" y="22032"/>
                  </a:lnTo>
                  <a:lnTo>
                    <a:pt x="167993" y="22032"/>
                  </a:lnTo>
                  <a:lnTo>
                    <a:pt x="164845" y="21638"/>
                  </a:lnTo>
                  <a:lnTo>
                    <a:pt x="152649" y="17311"/>
                  </a:lnTo>
                  <a:lnTo>
                    <a:pt x="151863" y="14557"/>
                  </a:lnTo>
                  <a:lnTo>
                    <a:pt x="149108" y="12196"/>
                  </a:lnTo>
                  <a:lnTo>
                    <a:pt x="145961" y="11803"/>
                  </a:lnTo>
                  <a:lnTo>
                    <a:pt x="143207" y="11016"/>
                  </a:lnTo>
                  <a:lnTo>
                    <a:pt x="140060" y="11016"/>
                  </a:lnTo>
                  <a:lnTo>
                    <a:pt x="138093" y="12196"/>
                  </a:lnTo>
                  <a:lnTo>
                    <a:pt x="132978" y="10229"/>
                  </a:lnTo>
                  <a:lnTo>
                    <a:pt x="132978" y="10229"/>
                  </a:lnTo>
                  <a:lnTo>
                    <a:pt x="135732" y="7475"/>
                  </a:lnTo>
                  <a:lnTo>
                    <a:pt x="132191" y="6295"/>
                  </a:lnTo>
                  <a:lnTo>
                    <a:pt x="129437" y="5115"/>
                  </a:lnTo>
                  <a:lnTo>
                    <a:pt x="126290" y="4328"/>
                  </a:lnTo>
                  <a:lnTo>
                    <a:pt x="120782" y="3147"/>
                  </a:lnTo>
                  <a:lnTo>
                    <a:pt x="117634" y="2754"/>
                  </a:lnTo>
                  <a:lnTo>
                    <a:pt x="115667" y="3934"/>
                  </a:lnTo>
                  <a:lnTo>
                    <a:pt x="108586" y="1574"/>
                  </a:lnTo>
                  <a:lnTo>
                    <a:pt x="106225" y="393"/>
                  </a:lnTo>
                  <a:lnTo>
                    <a:pt x="103471" y="0"/>
                  </a:lnTo>
                  <a:lnTo>
                    <a:pt x="103078" y="0"/>
                  </a:lnTo>
                  <a:lnTo>
                    <a:pt x="103078" y="0"/>
                  </a:lnTo>
                  <a:lnTo>
                    <a:pt x="100717" y="393"/>
                  </a:lnTo>
                  <a:lnTo>
                    <a:pt x="97569" y="1180"/>
                  </a:lnTo>
                  <a:lnTo>
                    <a:pt x="101504" y="1180"/>
                  </a:lnTo>
                  <a:lnTo>
                    <a:pt x="78291" y="5901"/>
                  </a:lnTo>
                  <a:lnTo>
                    <a:pt x="77898" y="5901"/>
                  </a:lnTo>
                  <a:lnTo>
                    <a:pt x="74751" y="5508"/>
                  </a:lnTo>
                  <a:lnTo>
                    <a:pt x="72390" y="7082"/>
                  </a:lnTo>
                  <a:lnTo>
                    <a:pt x="50752" y="11409"/>
                  </a:lnTo>
                  <a:lnTo>
                    <a:pt x="51145" y="10623"/>
                  </a:lnTo>
                  <a:lnTo>
                    <a:pt x="47998" y="10623"/>
                  </a:lnTo>
                  <a:lnTo>
                    <a:pt x="44850" y="11016"/>
                  </a:lnTo>
                  <a:lnTo>
                    <a:pt x="41310" y="11409"/>
                  </a:lnTo>
                  <a:lnTo>
                    <a:pt x="38162" y="11803"/>
                  </a:lnTo>
                  <a:lnTo>
                    <a:pt x="35015" y="11409"/>
                  </a:lnTo>
                  <a:lnTo>
                    <a:pt x="38162" y="11016"/>
                  </a:lnTo>
                  <a:lnTo>
                    <a:pt x="40916" y="9836"/>
                  </a:lnTo>
                  <a:lnTo>
                    <a:pt x="43670" y="9442"/>
                  </a:lnTo>
                  <a:lnTo>
                    <a:pt x="46424" y="9049"/>
                  </a:lnTo>
                  <a:lnTo>
                    <a:pt x="49965" y="9049"/>
                  </a:lnTo>
                  <a:lnTo>
                    <a:pt x="53113" y="8655"/>
                  </a:lnTo>
                  <a:lnTo>
                    <a:pt x="56260" y="8655"/>
                  </a:lnTo>
                  <a:lnTo>
                    <a:pt x="59014" y="8262"/>
                  </a:lnTo>
                  <a:lnTo>
                    <a:pt x="62161" y="7475"/>
                  </a:lnTo>
                  <a:lnTo>
                    <a:pt x="60587" y="4721"/>
                  </a:lnTo>
                  <a:lnTo>
                    <a:pt x="57440" y="4721"/>
                  </a:lnTo>
                  <a:lnTo>
                    <a:pt x="54686" y="5115"/>
                  </a:lnTo>
                  <a:lnTo>
                    <a:pt x="51539" y="5115"/>
                  </a:lnTo>
                  <a:lnTo>
                    <a:pt x="48391" y="5508"/>
                  </a:lnTo>
                  <a:lnTo>
                    <a:pt x="45244" y="5508"/>
                  </a:lnTo>
                  <a:lnTo>
                    <a:pt x="42490" y="5901"/>
                  </a:lnTo>
                  <a:lnTo>
                    <a:pt x="39343" y="6688"/>
                  </a:lnTo>
                  <a:lnTo>
                    <a:pt x="36195" y="7082"/>
                  </a:lnTo>
                  <a:lnTo>
                    <a:pt x="33047" y="5901"/>
                  </a:lnTo>
                  <a:lnTo>
                    <a:pt x="30294" y="5508"/>
                  </a:lnTo>
                  <a:lnTo>
                    <a:pt x="27146" y="5901"/>
                  </a:lnTo>
                  <a:lnTo>
                    <a:pt x="27933" y="8655"/>
                  </a:lnTo>
                  <a:lnTo>
                    <a:pt x="25179" y="9049"/>
                  </a:lnTo>
                  <a:lnTo>
                    <a:pt x="22425" y="6295"/>
                  </a:lnTo>
                  <a:lnTo>
                    <a:pt x="19671" y="5115"/>
                  </a:lnTo>
                  <a:lnTo>
                    <a:pt x="16130" y="5901"/>
                  </a:lnTo>
                  <a:lnTo>
                    <a:pt x="13376" y="6688"/>
                  </a:lnTo>
                  <a:lnTo>
                    <a:pt x="10229" y="8655"/>
                  </a:lnTo>
                  <a:lnTo>
                    <a:pt x="12983" y="10229"/>
                  </a:lnTo>
                  <a:lnTo>
                    <a:pt x="10229" y="10229"/>
                  </a:lnTo>
                  <a:lnTo>
                    <a:pt x="6688" y="9836"/>
                  </a:lnTo>
                  <a:lnTo>
                    <a:pt x="3540" y="11409"/>
                  </a:lnTo>
                  <a:lnTo>
                    <a:pt x="6688" y="11016"/>
                  </a:lnTo>
                  <a:close/>
                  <a:moveTo>
                    <a:pt x="107405" y="53113"/>
                  </a:moveTo>
                  <a:lnTo>
                    <a:pt x="110553" y="52719"/>
                  </a:lnTo>
                  <a:lnTo>
                    <a:pt x="114094" y="52719"/>
                  </a:lnTo>
                  <a:lnTo>
                    <a:pt x="117241" y="51145"/>
                  </a:lnTo>
                  <a:lnTo>
                    <a:pt x="119995" y="51145"/>
                  </a:lnTo>
                  <a:lnTo>
                    <a:pt x="118421" y="53899"/>
                  </a:lnTo>
                  <a:lnTo>
                    <a:pt x="121568" y="54686"/>
                  </a:lnTo>
                  <a:lnTo>
                    <a:pt x="118815" y="54293"/>
                  </a:lnTo>
                  <a:lnTo>
                    <a:pt x="115274" y="54293"/>
                  </a:lnTo>
                  <a:lnTo>
                    <a:pt x="112520" y="54686"/>
                  </a:lnTo>
                  <a:lnTo>
                    <a:pt x="109372" y="54686"/>
                  </a:lnTo>
                  <a:lnTo>
                    <a:pt x="105831" y="55080"/>
                  </a:lnTo>
                  <a:lnTo>
                    <a:pt x="103078" y="55473"/>
                  </a:lnTo>
                  <a:lnTo>
                    <a:pt x="99930" y="55867"/>
                  </a:lnTo>
                  <a:lnTo>
                    <a:pt x="98357" y="55867"/>
                  </a:lnTo>
                  <a:lnTo>
                    <a:pt x="107012" y="53506"/>
                  </a:lnTo>
                  <a:lnTo>
                    <a:pt x="107405" y="5350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35" name="Freeform: Shape 3229">
              <a:extLst>
                <a:ext uri="{FF2B5EF4-FFF2-40B4-BE49-F238E27FC236}">
                  <a16:creationId xmlns:a16="http://schemas.microsoft.com/office/drawing/2014/main" id="{E37FAE8C-3706-4AB1-8D0C-7A5B4C45ECA2}"/>
                </a:ext>
              </a:extLst>
            </p:cNvPr>
            <p:cNvSpPr/>
            <p:nvPr/>
          </p:nvSpPr>
          <p:spPr>
            <a:xfrm>
              <a:off x="6521687" y="1285262"/>
              <a:ext cx="7869" cy="3934"/>
            </a:xfrm>
            <a:custGeom>
              <a:avLst/>
              <a:gdLst>
                <a:gd name="connsiteX0" fmla="*/ 5901 w 7868"/>
                <a:gd name="connsiteY0" fmla="*/ 5115 h 3934"/>
                <a:gd name="connsiteX1" fmla="*/ 7869 w 7868"/>
                <a:gd name="connsiteY1" fmla="*/ 3934 h 3934"/>
                <a:gd name="connsiteX2" fmla="*/ 9049 w 7868"/>
                <a:gd name="connsiteY2" fmla="*/ 787 h 3934"/>
                <a:gd name="connsiteX3" fmla="*/ 5901 w 7868"/>
                <a:gd name="connsiteY3" fmla="*/ 0 h 3934"/>
                <a:gd name="connsiteX4" fmla="*/ 2754 w 7868"/>
                <a:gd name="connsiteY4" fmla="*/ 393 h 3934"/>
                <a:gd name="connsiteX5" fmla="*/ 0 w 7868"/>
                <a:gd name="connsiteY5" fmla="*/ 1180 h 3934"/>
                <a:gd name="connsiteX6" fmla="*/ 2754 w 7868"/>
                <a:gd name="connsiteY6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5901" y="5115"/>
                  </a:moveTo>
                  <a:lnTo>
                    <a:pt x="7869" y="3934"/>
                  </a:lnTo>
                  <a:lnTo>
                    <a:pt x="9049" y="787"/>
                  </a:lnTo>
                  <a:lnTo>
                    <a:pt x="5901" y="0"/>
                  </a:lnTo>
                  <a:lnTo>
                    <a:pt x="2754" y="393"/>
                  </a:lnTo>
                  <a:lnTo>
                    <a:pt x="0" y="1180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36" name="Freeform: Shape 3230">
              <a:extLst>
                <a:ext uri="{FF2B5EF4-FFF2-40B4-BE49-F238E27FC236}">
                  <a16:creationId xmlns:a16="http://schemas.microsoft.com/office/drawing/2014/main" id="{5FF82337-34F0-4AAD-8EA6-1752CBDF6E38}"/>
                </a:ext>
              </a:extLst>
            </p:cNvPr>
            <p:cNvSpPr/>
            <p:nvPr/>
          </p:nvSpPr>
          <p:spPr>
            <a:xfrm>
              <a:off x="6353694" y="1173922"/>
              <a:ext cx="27540" cy="15737"/>
            </a:xfrm>
            <a:custGeom>
              <a:avLst/>
              <a:gdLst>
                <a:gd name="connsiteX0" fmla="*/ 4328 w 27539"/>
                <a:gd name="connsiteY0" fmla="*/ 5508 h 15737"/>
                <a:gd name="connsiteX1" fmla="*/ 7082 w 27539"/>
                <a:gd name="connsiteY1" fmla="*/ 7475 h 15737"/>
                <a:gd name="connsiteX2" fmla="*/ 9836 w 27539"/>
                <a:gd name="connsiteY2" fmla="*/ 10229 h 15737"/>
                <a:gd name="connsiteX3" fmla="*/ 12589 w 27539"/>
                <a:gd name="connsiteY3" fmla="*/ 10623 h 15737"/>
                <a:gd name="connsiteX4" fmla="*/ 15737 w 27539"/>
                <a:gd name="connsiteY4" fmla="*/ 11016 h 15737"/>
                <a:gd name="connsiteX5" fmla="*/ 18885 w 27539"/>
                <a:gd name="connsiteY5" fmla="*/ 11803 h 15737"/>
                <a:gd name="connsiteX6" fmla="*/ 22032 w 27539"/>
                <a:gd name="connsiteY6" fmla="*/ 13376 h 15737"/>
                <a:gd name="connsiteX7" fmla="*/ 24786 w 27539"/>
                <a:gd name="connsiteY7" fmla="*/ 15344 h 15737"/>
                <a:gd name="connsiteX8" fmla="*/ 27933 w 27539"/>
                <a:gd name="connsiteY8" fmla="*/ 16130 h 15737"/>
                <a:gd name="connsiteX9" fmla="*/ 31081 w 27539"/>
                <a:gd name="connsiteY9" fmla="*/ 16130 h 15737"/>
                <a:gd name="connsiteX10" fmla="*/ 28327 w 27539"/>
                <a:gd name="connsiteY10" fmla="*/ 13770 h 15737"/>
                <a:gd name="connsiteX11" fmla="*/ 26359 w 27539"/>
                <a:gd name="connsiteY11" fmla="*/ 12196 h 15737"/>
                <a:gd name="connsiteX12" fmla="*/ 23212 w 27539"/>
                <a:gd name="connsiteY12" fmla="*/ 10623 h 15737"/>
                <a:gd name="connsiteX13" fmla="*/ 20065 w 27539"/>
                <a:gd name="connsiteY13" fmla="*/ 10229 h 15737"/>
                <a:gd name="connsiteX14" fmla="*/ 16918 w 27539"/>
                <a:gd name="connsiteY14" fmla="*/ 8262 h 15737"/>
                <a:gd name="connsiteX15" fmla="*/ 14163 w 27539"/>
                <a:gd name="connsiteY15" fmla="*/ 7869 h 15737"/>
                <a:gd name="connsiteX16" fmla="*/ 11016 w 27539"/>
                <a:gd name="connsiteY16" fmla="*/ 5115 h 15737"/>
                <a:gd name="connsiteX17" fmla="*/ 9049 w 27539"/>
                <a:gd name="connsiteY17" fmla="*/ 2361 h 15737"/>
                <a:gd name="connsiteX18" fmla="*/ 6295 w 27539"/>
                <a:gd name="connsiteY18" fmla="*/ 393 h 15737"/>
                <a:gd name="connsiteX19" fmla="*/ 3148 w 27539"/>
                <a:gd name="connsiteY19" fmla="*/ 0 h 15737"/>
                <a:gd name="connsiteX20" fmla="*/ 0 w 27539"/>
                <a:gd name="connsiteY20" fmla="*/ 787 h 15737"/>
                <a:gd name="connsiteX21" fmla="*/ 1180 w 27539"/>
                <a:gd name="connsiteY21" fmla="*/ 3541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7539" h="15737">
                  <a:moveTo>
                    <a:pt x="4328" y="5508"/>
                  </a:moveTo>
                  <a:lnTo>
                    <a:pt x="7082" y="7475"/>
                  </a:lnTo>
                  <a:lnTo>
                    <a:pt x="9836" y="10229"/>
                  </a:lnTo>
                  <a:lnTo>
                    <a:pt x="12589" y="10623"/>
                  </a:lnTo>
                  <a:lnTo>
                    <a:pt x="15737" y="11016"/>
                  </a:lnTo>
                  <a:lnTo>
                    <a:pt x="18885" y="11803"/>
                  </a:lnTo>
                  <a:lnTo>
                    <a:pt x="22032" y="13376"/>
                  </a:lnTo>
                  <a:lnTo>
                    <a:pt x="24786" y="15344"/>
                  </a:lnTo>
                  <a:lnTo>
                    <a:pt x="27933" y="16130"/>
                  </a:lnTo>
                  <a:lnTo>
                    <a:pt x="31081" y="16130"/>
                  </a:lnTo>
                  <a:lnTo>
                    <a:pt x="28327" y="13770"/>
                  </a:lnTo>
                  <a:lnTo>
                    <a:pt x="26359" y="12196"/>
                  </a:lnTo>
                  <a:lnTo>
                    <a:pt x="23212" y="10623"/>
                  </a:lnTo>
                  <a:lnTo>
                    <a:pt x="20065" y="10229"/>
                  </a:lnTo>
                  <a:lnTo>
                    <a:pt x="16918" y="8262"/>
                  </a:lnTo>
                  <a:lnTo>
                    <a:pt x="14163" y="7869"/>
                  </a:lnTo>
                  <a:lnTo>
                    <a:pt x="11016" y="5115"/>
                  </a:lnTo>
                  <a:lnTo>
                    <a:pt x="9049" y="2361"/>
                  </a:lnTo>
                  <a:lnTo>
                    <a:pt x="6295" y="393"/>
                  </a:lnTo>
                  <a:lnTo>
                    <a:pt x="3148" y="0"/>
                  </a:lnTo>
                  <a:lnTo>
                    <a:pt x="0" y="787"/>
                  </a:lnTo>
                  <a:lnTo>
                    <a:pt x="118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37" name="Freeform: Shape 3231">
              <a:extLst>
                <a:ext uri="{FF2B5EF4-FFF2-40B4-BE49-F238E27FC236}">
                  <a16:creationId xmlns:a16="http://schemas.microsoft.com/office/drawing/2014/main" id="{A146D72A-815C-40DA-AC77-6BDBB5C66C10}"/>
                </a:ext>
              </a:extLst>
            </p:cNvPr>
            <p:cNvSpPr/>
            <p:nvPr/>
          </p:nvSpPr>
          <p:spPr>
            <a:xfrm>
              <a:off x="6525228" y="1161333"/>
              <a:ext cx="7869" cy="3934"/>
            </a:xfrm>
            <a:custGeom>
              <a:avLst/>
              <a:gdLst>
                <a:gd name="connsiteX0" fmla="*/ 2754 w 7868"/>
                <a:gd name="connsiteY0" fmla="*/ 0 h 0"/>
                <a:gd name="connsiteX1" fmla="*/ 0 w 7868"/>
                <a:gd name="connsiteY1" fmla="*/ 1574 h 0"/>
                <a:gd name="connsiteX2" fmla="*/ 3148 w 7868"/>
                <a:gd name="connsiteY2" fmla="*/ 1574 h 0"/>
                <a:gd name="connsiteX3" fmla="*/ 5901 w 7868"/>
                <a:gd name="connsiteY3" fmla="*/ 1180 h 0"/>
                <a:gd name="connsiteX4" fmla="*/ 9049 w 7868"/>
                <a:gd name="connsiteY4" fmla="*/ 1180 h 0"/>
                <a:gd name="connsiteX5" fmla="*/ 5901 w 7868"/>
                <a:gd name="connsiteY5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2754" y="0"/>
                  </a:moveTo>
                  <a:lnTo>
                    <a:pt x="0" y="1574"/>
                  </a:lnTo>
                  <a:lnTo>
                    <a:pt x="3148" y="1574"/>
                  </a:lnTo>
                  <a:lnTo>
                    <a:pt x="5901" y="1180"/>
                  </a:lnTo>
                  <a:lnTo>
                    <a:pt x="9049" y="1180"/>
                  </a:lnTo>
                  <a:lnTo>
                    <a:pt x="590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38" name="Freeform: Shape 3232">
              <a:extLst>
                <a:ext uri="{FF2B5EF4-FFF2-40B4-BE49-F238E27FC236}">
                  <a16:creationId xmlns:a16="http://schemas.microsoft.com/office/drawing/2014/main" id="{044E7BC8-DBB5-4E3A-AEA8-86FA8A403B9B}"/>
                </a:ext>
              </a:extLst>
            </p:cNvPr>
            <p:cNvSpPr/>
            <p:nvPr/>
          </p:nvSpPr>
          <p:spPr>
            <a:xfrm>
              <a:off x="6354875" y="1151890"/>
              <a:ext cx="3934" cy="3934"/>
            </a:xfrm>
            <a:custGeom>
              <a:avLst/>
              <a:gdLst>
                <a:gd name="connsiteX0" fmla="*/ 6295 w 3934"/>
                <a:gd name="connsiteY0" fmla="*/ 1574 h 0"/>
                <a:gd name="connsiteX1" fmla="*/ 5901 w 3934"/>
                <a:gd name="connsiteY1" fmla="*/ 787 h 0"/>
                <a:gd name="connsiteX2" fmla="*/ 3147 w 3934"/>
                <a:gd name="connsiteY2" fmla="*/ 0 h 0"/>
                <a:gd name="connsiteX3" fmla="*/ 0 w 3934"/>
                <a:gd name="connsiteY3" fmla="*/ 787 h 0"/>
                <a:gd name="connsiteX4" fmla="*/ 2754 w 3934"/>
                <a:gd name="connsiteY4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1574"/>
                  </a:moveTo>
                  <a:lnTo>
                    <a:pt x="5901" y="787"/>
                  </a:lnTo>
                  <a:lnTo>
                    <a:pt x="3147" y="0"/>
                  </a:lnTo>
                  <a:lnTo>
                    <a:pt x="0" y="787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39" name="Freeform: Shape 3233">
              <a:extLst>
                <a:ext uri="{FF2B5EF4-FFF2-40B4-BE49-F238E27FC236}">
                  <a16:creationId xmlns:a16="http://schemas.microsoft.com/office/drawing/2014/main" id="{78E8FC25-AC75-4ACC-A27B-4DE31A2668BB}"/>
                </a:ext>
              </a:extLst>
            </p:cNvPr>
            <p:cNvSpPr/>
            <p:nvPr/>
          </p:nvSpPr>
          <p:spPr>
            <a:xfrm>
              <a:off x="6640109" y="1228609"/>
              <a:ext cx="7869" cy="3934"/>
            </a:xfrm>
            <a:custGeom>
              <a:avLst/>
              <a:gdLst>
                <a:gd name="connsiteX0" fmla="*/ 4721 w 7868"/>
                <a:gd name="connsiteY0" fmla="*/ 2361 h 3934"/>
                <a:gd name="connsiteX1" fmla="*/ 1967 w 7868"/>
                <a:gd name="connsiteY1" fmla="*/ 3934 h 3934"/>
                <a:gd name="connsiteX2" fmla="*/ 0 w 7868"/>
                <a:gd name="connsiteY2" fmla="*/ 6688 h 3934"/>
                <a:gd name="connsiteX3" fmla="*/ 1967 w 7868"/>
                <a:gd name="connsiteY3" fmla="*/ 4721 h 3934"/>
                <a:gd name="connsiteX4" fmla="*/ 4721 w 7868"/>
                <a:gd name="connsiteY4" fmla="*/ 2754 h 3934"/>
                <a:gd name="connsiteX5" fmla="*/ 7869 w 7868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4721" y="2361"/>
                  </a:moveTo>
                  <a:lnTo>
                    <a:pt x="1967" y="3934"/>
                  </a:lnTo>
                  <a:lnTo>
                    <a:pt x="0" y="6688"/>
                  </a:lnTo>
                  <a:lnTo>
                    <a:pt x="1967" y="4721"/>
                  </a:lnTo>
                  <a:lnTo>
                    <a:pt x="4721" y="2754"/>
                  </a:lnTo>
                  <a:lnTo>
                    <a:pt x="7869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40" name="Freeform: Shape 3234">
              <a:extLst>
                <a:ext uri="{FF2B5EF4-FFF2-40B4-BE49-F238E27FC236}">
                  <a16:creationId xmlns:a16="http://schemas.microsoft.com/office/drawing/2014/main" id="{486A25ED-6DFC-430A-AF65-0E1B2DBE7918}"/>
                </a:ext>
              </a:extLst>
            </p:cNvPr>
            <p:cNvSpPr/>
            <p:nvPr/>
          </p:nvSpPr>
          <p:spPr>
            <a:xfrm>
              <a:off x="6531523" y="1407224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0 w 3934"/>
                <a:gd name="connsiteY1" fmla="*/ 2754 h 0"/>
                <a:gd name="connsiteX2" fmla="*/ 1180 w 3934"/>
                <a:gd name="connsiteY2" fmla="*/ 2754 h 0"/>
                <a:gd name="connsiteX3" fmla="*/ 2361 w 3934"/>
                <a:gd name="connsiteY3" fmla="*/ 1574 h 0"/>
                <a:gd name="connsiteX4" fmla="*/ 5901 w 3934"/>
                <a:gd name="connsiteY4" fmla="*/ 0 h 0"/>
                <a:gd name="connsiteX5" fmla="*/ 3148 w 3934"/>
                <a:gd name="connsiteY5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0" y="2754"/>
                  </a:lnTo>
                  <a:lnTo>
                    <a:pt x="1180" y="2754"/>
                  </a:lnTo>
                  <a:lnTo>
                    <a:pt x="2361" y="1574"/>
                  </a:lnTo>
                  <a:lnTo>
                    <a:pt x="5901" y="0"/>
                  </a:lnTo>
                  <a:lnTo>
                    <a:pt x="3148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41" name="Freeform: Shape 3235">
              <a:extLst>
                <a:ext uri="{FF2B5EF4-FFF2-40B4-BE49-F238E27FC236}">
                  <a16:creationId xmlns:a16="http://schemas.microsoft.com/office/drawing/2014/main" id="{97E3183B-0530-4CA5-BF90-606709FA46D2}"/>
                </a:ext>
              </a:extLst>
            </p:cNvPr>
            <p:cNvSpPr/>
            <p:nvPr/>
          </p:nvSpPr>
          <p:spPr>
            <a:xfrm>
              <a:off x="6535851" y="1168021"/>
              <a:ext cx="11803" cy="3934"/>
            </a:xfrm>
            <a:custGeom>
              <a:avLst/>
              <a:gdLst>
                <a:gd name="connsiteX0" fmla="*/ 5508 w 11802"/>
                <a:gd name="connsiteY0" fmla="*/ 0 h 0"/>
                <a:gd name="connsiteX1" fmla="*/ 2754 w 11802"/>
                <a:gd name="connsiteY1" fmla="*/ 393 h 0"/>
                <a:gd name="connsiteX2" fmla="*/ 0 w 11802"/>
                <a:gd name="connsiteY2" fmla="*/ 2361 h 0"/>
                <a:gd name="connsiteX3" fmla="*/ 3147 w 11802"/>
                <a:gd name="connsiteY3" fmla="*/ 3147 h 0"/>
                <a:gd name="connsiteX4" fmla="*/ 5114 w 11802"/>
                <a:gd name="connsiteY4" fmla="*/ 2754 h 0"/>
                <a:gd name="connsiteX5" fmla="*/ 8262 w 11802"/>
                <a:gd name="connsiteY5" fmla="*/ 2361 h 0"/>
                <a:gd name="connsiteX6" fmla="*/ 11803 w 11802"/>
                <a:gd name="connsiteY6" fmla="*/ 1180 h 0"/>
                <a:gd name="connsiteX7" fmla="*/ 9049 w 11802"/>
                <a:gd name="connsiteY7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>
                  <a:moveTo>
                    <a:pt x="5508" y="0"/>
                  </a:moveTo>
                  <a:lnTo>
                    <a:pt x="2754" y="393"/>
                  </a:lnTo>
                  <a:lnTo>
                    <a:pt x="0" y="2361"/>
                  </a:lnTo>
                  <a:lnTo>
                    <a:pt x="3147" y="3147"/>
                  </a:lnTo>
                  <a:lnTo>
                    <a:pt x="5114" y="2754"/>
                  </a:lnTo>
                  <a:lnTo>
                    <a:pt x="8262" y="2361"/>
                  </a:lnTo>
                  <a:lnTo>
                    <a:pt x="11803" y="1180"/>
                  </a:lnTo>
                  <a:lnTo>
                    <a:pt x="9049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42" name="Freeform: Shape 3236">
              <a:extLst>
                <a:ext uri="{FF2B5EF4-FFF2-40B4-BE49-F238E27FC236}">
                  <a16:creationId xmlns:a16="http://schemas.microsoft.com/office/drawing/2014/main" id="{42655E77-1873-40B4-A102-4B3545FF2177}"/>
                </a:ext>
              </a:extLst>
            </p:cNvPr>
            <p:cNvSpPr/>
            <p:nvPr/>
          </p:nvSpPr>
          <p:spPr>
            <a:xfrm>
              <a:off x="6538998" y="1402503"/>
              <a:ext cx="3934" cy="3934"/>
            </a:xfrm>
            <a:custGeom>
              <a:avLst/>
              <a:gdLst>
                <a:gd name="connsiteX0" fmla="*/ 0 w 0"/>
                <a:gd name="connsiteY0" fmla="*/ 1967 h 0"/>
                <a:gd name="connsiteX1" fmla="*/ 3148 w 0"/>
                <a:gd name="connsiteY1" fmla="*/ 3541 h 0"/>
                <a:gd name="connsiteX2" fmla="*/ 3148 w 0"/>
                <a:gd name="connsiteY2" fmla="*/ 787 h 0"/>
                <a:gd name="connsiteX3" fmla="*/ 393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1967"/>
                  </a:moveTo>
                  <a:lnTo>
                    <a:pt x="3148" y="3541"/>
                  </a:lnTo>
                  <a:lnTo>
                    <a:pt x="3148" y="787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43" name="Freeform: Shape 3237">
              <a:extLst>
                <a:ext uri="{FF2B5EF4-FFF2-40B4-BE49-F238E27FC236}">
                  <a16:creationId xmlns:a16="http://schemas.microsoft.com/office/drawing/2014/main" id="{FBD98221-C793-4E41-A99F-F5D9F3F611D8}"/>
                </a:ext>
              </a:extLst>
            </p:cNvPr>
            <p:cNvSpPr/>
            <p:nvPr/>
          </p:nvSpPr>
          <p:spPr>
            <a:xfrm>
              <a:off x="6544899" y="1405650"/>
              <a:ext cx="3934" cy="3934"/>
            </a:xfrm>
            <a:custGeom>
              <a:avLst/>
              <a:gdLst>
                <a:gd name="connsiteX0" fmla="*/ 393 w 0"/>
                <a:gd name="connsiteY0" fmla="*/ 787 h 0"/>
                <a:gd name="connsiteX1" fmla="*/ 3541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787"/>
                  </a:moveTo>
                  <a:lnTo>
                    <a:pt x="3541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44" name="Freeform: Shape 3238">
              <a:extLst>
                <a:ext uri="{FF2B5EF4-FFF2-40B4-BE49-F238E27FC236}">
                  <a16:creationId xmlns:a16="http://schemas.microsoft.com/office/drawing/2014/main" id="{765E397C-3F64-4809-B318-8CF1214F428D}"/>
                </a:ext>
              </a:extLst>
            </p:cNvPr>
            <p:cNvSpPr/>
            <p:nvPr/>
          </p:nvSpPr>
          <p:spPr>
            <a:xfrm>
              <a:off x="6657026" y="1175889"/>
              <a:ext cx="7869" cy="3934"/>
            </a:xfrm>
            <a:custGeom>
              <a:avLst/>
              <a:gdLst>
                <a:gd name="connsiteX0" fmla="*/ 6295 w 7868"/>
                <a:gd name="connsiteY0" fmla="*/ 4328 h 3934"/>
                <a:gd name="connsiteX1" fmla="*/ 9049 w 7868"/>
                <a:gd name="connsiteY1" fmla="*/ 2361 h 3934"/>
                <a:gd name="connsiteX2" fmla="*/ 5901 w 7868"/>
                <a:gd name="connsiteY2" fmla="*/ 1574 h 3934"/>
                <a:gd name="connsiteX3" fmla="*/ 3148 w 7868"/>
                <a:gd name="connsiteY3" fmla="*/ 0 h 3934"/>
                <a:gd name="connsiteX4" fmla="*/ 0 w 7868"/>
                <a:gd name="connsiteY4" fmla="*/ 1967 h 3934"/>
                <a:gd name="connsiteX5" fmla="*/ 3148 w 7868"/>
                <a:gd name="connsiteY5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6295" y="4328"/>
                  </a:moveTo>
                  <a:lnTo>
                    <a:pt x="9049" y="2361"/>
                  </a:lnTo>
                  <a:lnTo>
                    <a:pt x="5901" y="1574"/>
                  </a:lnTo>
                  <a:lnTo>
                    <a:pt x="3148" y="0"/>
                  </a:lnTo>
                  <a:lnTo>
                    <a:pt x="0" y="1967"/>
                  </a:lnTo>
                  <a:lnTo>
                    <a:pt x="314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45" name="Freeform: Shape 3239">
              <a:extLst>
                <a:ext uri="{FF2B5EF4-FFF2-40B4-BE49-F238E27FC236}">
                  <a16:creationId xmlns:a16="http://schemas.microsoft.com/office/drawing/2014/main" id="{9339B1DB-37D9-446D-A6C0-B3A27DD14031}"/>
                </a:ext>
              </a:extLst>
            </p:cNvPr>
            <p:cNvSpPr/>
            <p:nvPr/>
          </p:nvSpPr>
          <p:spPr>
            <a:xfrm>
              <a:off x="6684566" y="1171955"/>
              <a:ext cx="27540" cy="3934"/>
            </a:xfrm>
            <a:custGeom>
              <a:avLst/>
              <a:gdLst>
                <a:gd name="connsiteX0" fmla="*/ 3934 w 27539"/>
                <a:gd name="connsiteY0" fmla="*/ 3147 h 0"/>
                <a:gd name="connsiteX1" fmla="*/ 6689 w 27539"/>
                <a:gd name="connsiteY1" fmla="*/ 2754 h 0"/>
                <a:gd name="connsiteX2" fmla="*/ 9836 w 27539"/>
                <a:gd name="connsiteY2" fmla="*/ 1967 h 0"/>
                <a:gd name="connsiteX3" fmla="*/ 12983 w 27539"/>
                <a:gd name="connsiteY3" fmla="*/ 1967 h 0"/>
                <a:gd name="connsiteX4" fmla="*/ 16130 w 27539"/>
                <a:gd name="connsiteY4" fmla="*/ 1574 h 0"/>
                <a:gd name="connsiteX5" fmla="*/ 18885 w 27539"/>
                <a:gd name="connsiteY5" fmla="*/ 1574 h 0"/>
                <a:gd name="connsiteX6" fmla="*/ 22032 w 27539"/>
                <a:gd name="connsiteY6" fmla="*/ 2361 h 0"/>
                <a:gd name="connsiteX7" fmla="*/ 24786 w 27539"/>
                <a:gd name="connsiteY7" fmla="*/ 2754 h 0"/>
                <a:gd name="connsiteX8" fmla="*/ 28327 w 27539"/>
                <a:gd name="connsiteY8" fmla="*/ 2361 h 0"/>
                <a:gd name="connsiteX9" fmla="*/ 31081 w 27539"/>
                <a:gd name="connsiteY9" fmla="*/ 1180 h 0"/>
                <a:gd name="connsiteX10" fmla="*/ 28327 w 27539"/>
                <a:gd name="connsiteY10" fmla="*/ 1574 h 0"/>
                <a:gd name="connsiteX11" fmla="*/ 21638 w 27539"/>
                <a:gd name="connsiteY11" fmla="*/ 1574 h 0"/>
                <a:gd name="connsiteX12" fmla="*/ 18491 w 27539"/>
                <a:gd name="connsiteY12" fmla="*/ 393 h 0"/>
                <a:gd name="connsiteX13" fmla="*/ 15737 w 27539"/>
                <a:gd name="connsiteY13" fmla="*/ 0 h 0"/>
                <a:gd name="connsiteX14" fmla="*/ 12196 w 27539"/>
                <a:gd name="connsiteY14" fmla="*/ 0 h 0"/>
                <a:gd name="connsiteX15" fmla="*/ 9442 w 27539"/>
                <a:gd name="connsiteY15" fmla="*/ 0 h 0"/>
                <a:gd name="connsiteX16" fmla="*/ 6295 w 27539"/>
                <a:gd name="connsiteY16" fmla="*/ 1180 h 0"/>
                <a:gd name="connsiteX17" fmla="*/ 3148 w 27539"/>
                <a:gd name="connsiteY17" fmla="*/ 1574 h 0"/>
                <a:gd name="connsiteX18" fmla="*/ 0 w 27539"/>
                <a:gd name="connsiteY18" fmla="*/ 3147 h 0"/>
                <a:gd name="connsiteX19" fmla="*/ 3541 w 27539"/>
                <a:gd name="connsiteY19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7539">
                  <a:moveTo>
                    <a:pt x="3934" y="3147"/>
                  </a:moveTo>
                  <a:lnTo>
                    <a:pt x="6689" y="2754"/>
                  </a:lnTo>
                  <a:lnTo>
                    <a:pt x="9836" y="1967"/>
                  </a:lnTo>
                  <a:lnTo>
                    <a:pt x="12983" y="1967"/>
                  </a:lnTo>
                  <a:lnTo>
                    <a:pt x="16130" y="1574"/>
                  </a:lnTo>
                  <a:lnTo>
                    <a:pt x="18885" y="1574"/>
                  </a:lnTo>
                  <a:lnTo>
                    <a:pt x="22032" y="2361"/>
                  </a:lnTo>
                  <a:lnTo>
                    <a:pt x="24786" y="2754"/>
                  </a:lnTo>
                  <a:lnTo>
                    <a:pt x="28327" y="2361"/>
                  </a:lnTo>
                  <a:lnTo>
                    <a:pt x="31081" y="1180"/>
                  </a:lnTo>
                  <a:lnTo>
                    <a:pt x="28327" y="1574"/>
                  </a:lnTo>
                  <a:lnTo>
                    <a:pt x="21638" y="1574"/>
                  </a:lnTo>
                  <a:lnTo>
                    <a:pt x="18491" y="393"/>
                  </a:lnTo>
                  <a:lnTo>
                    <a:pt x="15737" y="0"/>
                  </a:lnTo>
                  <a:lnTo>
                    <a:pt x="12196" y="0"/>
                  </a:lnTo>
                  <a:lnTo>
                    <a:pt x="9442" y="0"/>
                  </a:lnTo>
                  <a:lnTo>
                    <a:pt x="6295" y="1180"/>
                  </a:lnTo>
                  <a:lnTo>
                    <a:pt x="3148" y="1574"/>
                  </a:lnTo>
                  <a:lnTo>
                    <a:pt x="0" y="3147"/>
                  </a:lnTo>
                  <a:lnTo>
                    <a:pt x="3541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46" name="Freeform: Shape 3240">
              <a:extLst>
                <a:ext uri="{FF2B5EF4-FFF2-40B4-BE49-F238E27FC236}">
                  <a16:creationId xmlns:a16="http://schemas.microsoft.com/office/drawing/2014/main" id="{04BC72BD-32FA-481A-BF55-351C91BE1CB9}"/>
                </a:ext>
              </a:extLst>
            </p:cNvPr>
            <p:cNvSpPr/>
            <p:nvPr/>
          </p:nvSpPr>
          <p:spPr>
            <a:xfrm>
              <a:off x="6536638" y="1180217"/>
              <a:ext cx="39343" cy="7869"/>
            </a:xfrm>
            <a:custGeom>
              <a:avLst/>
              <a:gdLst>
                <a:gd name="connsiteX0" fmla="*/ 15737 w 39342"/>
                <a:gd name="connsiteY0" fmla="*/ 9836 h 7868"/>
                <a:gd name="connsiteX1" fmla="*/ 18885 w 39342"/>
                <a:gd name="connsiteY1" fmla="*/ 10623 h 7868"/>
                <a:gd name="connsiteX2" fmla="*/ 21638 w 39342"/>
                <a:gd name="connsiteY2" fmla="*/ 9836 h 7868"/>
                <a:gd name="connsiteX3" fmla="*/ 24786 w 39342"/>
                <a:gd name="connsiteY3" fmla="*/ 9836 h 7868"/>
                <a:gd name="connsiteX4" fmla="*/ 27933 w 39342"/>
                <a:gd name="connsiteY4" fmla="*/ 9836 h 7868"/>
                <a:gd name="connsiteX5" fmla="*/ 30687 w 39342"/>
                <a:gd name="connsiteY5" fmla="*/ 9049 h 7868"/>
                <a:gd name="connsiteX6" fmla="*/ 33835 w 39342"/>
                <a:gd name="connsiteY6" fmla="*/ 9049 h 7868"/>
                <a:gd name="connsiteX7" fmla="*/ 36982 w 39342"/>
                <a:gd name="connsiteY7" fmla="*/ 9442 h 7868"/>
                <a:gd name="connsiteX8" fmla="*/ 40129 w 39342"/>
                <a:gd name="connsiteY8" fmla="*/ 9442 h 7868"/>
                <a:gd name="connsiteX9" fmla="*/ 41310 w 39342"/>
                <a:gd name="connsiteY9" fmla="*/ 6295 h 7868"/>
                <a:gd name="connsiteX10" fmla="*/ 40523 w 39342"/>
                <a:gd name="connsiteY10" fmla="*/ 3541 h 7868"/>
                <a:gd name="connsiteX11" fmla="*/ 37769 w 39342"/>
                <a:gd name="connsiteY11" fmla="*/ 1574 h 7868"/>
                <a:gd name="connsiteX12" fmla="*/ 34622 w 39342"/>
                <a:gd name="connsiteY12" fmla="*/ 1574 h 7868"/>
                <a:gd name="connsiteX13" fmla="*/ 31867 w 39342"/>
                <a:gd name="connsiteY13" fmla="*/ 787 h 7868"/>
                <a:gd name="connsiteX14" fmla="*/ 28720 w 39342"/>
                <a:gd name="connsiteY14" fmla="*/ 787 h 7868"/>
                <a:gd name="connsiteX15" fmla="*/ 25966 w 39342"/>
                <a:gd name="connsiteY15" fmla="*/ 1180 h 7868"/>
                <a:gd name="connsiteX16" fmla="*/ 23212 w 39342"/>
                <a:gd name="connsiteY16" fmla="*/ 0 h 7868"/>
                <a:gd name="connsiteX17" fmla="*/ 19671 w 39342"/>
                <a:gd name="connsiteY17" fmla="*/ 0 h 7868"/>
                <a:gd name="connsiteX18" fmla="*/ 16524 w 39342"/>
                <a:gd name="connsiteY18" fmla="*/ 1967 h 7868"/>
                <a:gd name="connsiteX19" fmla="*/ 13377 w 39342"/>
                <a:gd name="connsiteY19" fmla="*/ 1967 h 7868"/>
                <a:gd name="connsiteX20" fmla="*/ 10622 w 39342"/>
                <a:gd name="connsiteY20" fmla="*/ 2361 h 7868"/>
                <a:gd name="connsiteX21" fmla="*/ 7475 w 39342"/>
                <a:gd name="connsiteY21" fmla="*/ 2754 h 7868"/>
                <a:gd name="connsiteX22" fmla="*/ 1180 w 39342"/>
                <a:gd name="connsiteY22" fmla="*/ 3147 h 7868"/>
                <a:gd name="connsiteX23" fmla="*/ 0 w 39342"/>
                <a:gd name="connsiteY23" fmla="*/ 3934 h 7868"/>
                <a:gd name="connsiteX24" fmla="*/ 3541 w 39342"/>
                <a:gd name="connsiteY24" fmla="*/ 4328 h 7868"/>
                <a:gd name="connsiteX25" fmla="*/ 7082 w 39342"/>
                <a:gd name="connsiteY25" fmla="*/ 4721 h 7868"/>
                <a:gd name="connsiteX26" fmla="*/ 9836 w 39342"/>
                <a:gd name="connsiteY26" fmla="*/ 5901 h 7868"/>
                <a:gd name="connsiteX27" fmla="*/ 12589 w 39342"/>
                <a:gd name="connsiteY27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9342" h="7868">
                  <a:moveTo>
                    <a:pt x="15737" y="9836"/>
                  </a:moveTo>
                  <a:lnTo>
                    <a:pt x="18885" y="10623"/>
                  </a:lnTo>
                  <a:lnTo>
                    <a:pt x="21638" y="9836"/>
                  </a:lnTo>
                  <a:lnTo>
                    <a:pt x="24786" y="9836"/>
                  </a:lnTo>
                  <a:lnTo>
                    <a:pt x="27933" y="9836"/>
                  </a:lnTo>
                  <a:lnTo>
                    <a:pt x="30687" y="9049"/>
                  </a:lnTo>
                  <a:lnTo>
                    <a:pt x="33835" y="9049"/>
                  </a:lnTo>
                  <a:lnTo>
                    <a:pt x="36982" y="9442"/>
                  </a:lnTo>
                  <a:lnTo>
                    <a:pt x="40129" y="9442"/>
                  </a:lnTo>
                  <a:lnTo>
                    <a:pt x="41310" y="6295"/>
                  </a:lnTo>
                  <a:lnTo>
                    <a:pt x="40523" y="3541"/>
                  </a:lnTo>
                  <a:lnTo>
                    <a:pt x="37769" y="1574"/>
                  </a:lnTo>
                  <a:lnTo>
                    <a:pt x="34622" y="1574"/>
                  </a:lnTo>
                  <a:lnTo>
                    <a:pt x="31867" y="787"/>
                  </a:lnTo>
                  <a:lnTo>
                    <a:pt x="28720" y="787"/>
                  </a:lnTo>
                  <a:lnTo>
                    <a:pt x="25966" y="1180"/>
                  </a:lnTo>
                  <a:lnTo>
                    <a:pt x="23212" y="0"/>
                  </a:lnTo>
                  <a:lnTo>
                    <a:pt x="19671" y="0"/>
                  </a:lnTo>
                  <a:lnTo>
                    <a:pt x="16524" y="1967"/>
                  </a:lnTo>
                  <a:lnTo>
                    <a:pt x="13377" y="1967"/>
                  </a:lnTo>
                  <a:lnTo>
                    <a:pt x="10622" y="2361"/>
                  </a:lnTo>
                  <a:lnTo>
                    <a:pt x="7475" y="2754"/>
                  </a:lnTo>
                  <a:lnTo>
                    <a:pt x="1180" y="3147"/>
                  </a:lnTo>
                  <a:lnTo>
                    <a:pt x="0" y="3934"/>
                  </a:lnTo>
                  <a:lnTo>
                    <a:pt x="3541" y="4328"/>
                  </a:lnTo>
                  <a:lnTo>
                    <a:pt x="7082" y="4721"/>
                  </a:lnTo>
                  <a:lnTo>
                    <a:pt x="9836" y="5901"/>
                  </a:lnTo>
                  <a:lnTo>
                    <a:pt x="12589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47" name="Freeform: Shape 3241">
              <a:extLst>
                <a:ext uri="{FF2B5EF4-FFF2-40B4-BE49-F238E27FC236}">
                  <a16:creationId xmlns:a16="http://schemas.microsoft.com/office/drawing/2014/main" id="{BEE6B381-4946-4DB1-B0E2-63E3E5803BFD}"/>
                </a:ext>
              </a:extLst>
            </p:cNvPr>
            <p:cNvSpPr/>
            <p:nvPr/>
          </p:nvSpPr>
          <p:spPr>
            <a:xfrm>
              <a:off x="6655846" y="137929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147 w 0"/>
                <a:gd name="connsiteY1" fmla="*/ 1967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147" y="1967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48" name="Freeform: Shape 3242">
              <a:extLst>
                <a:ext uri="{FF2B5EF4-FFF2-40B4-BE49-F238E27FC236}">
                  <a16:creationId xmlns:a16="http://schemas.microsoft.com/office/drawing/2014/main" id="{B9A723BD-FB6A-45E0-9BDC-D546995F9BC8}"/>
                </a:ext>
              </a:extLst>
            </p:cNvPr>
            <p:cNvSpPr/>
            <p:nvPr/>
          </p:nvSpPr>
          <p:spPr>
            <a:xfrm>
              <a:off x="6553948" y="1189266"/>
              <a:ext cx="74751" cy="23606"/>
            </a:xfrm>
            <a:custGeom>
              <a:avLst/>
              <a:gdLst>
                <a:gd name="connsiteX0" fmla="*/ 45637 w 74751"/>
                <a:gd name="connsiteY0" fmla="*/ 21638 h 23605"/>
                <a:gd name="connsiteX1" fmla="*/ 48785 w 74751"/>
                <a:gd name="connsiteY1" fmla="*/ 22032 h 23605"/>
                <a:gd name="connsiteX2" fmla="*/ 51539 w 74751"/>
                <a:gd name="connsiteY2" fmla="*/ 21245 h 23605"/>
                <a:gd name="connsiteX3" fmla="*/ 55080 w 74751"/>
                <a:gd name="connsiteY3" fmla="*/ 20458 h 23605"/>
                <a:gd name="connsiteX4" fmla="*/ 57833 w 74751"/>
                <a:gd name="connsiteY4" fmla="*/ 19671 h 23605"/>
                <a:gd name="connsiteX5" fmla="*/ 60588 w 74751"/>
                <a:gd name="connsiteY5" fmla="*/ 16917 h 23605"/>
                <a:gd name="connsiteX6" fmla="*/ 63735 w 74751"/>
                <a:gd name="connsiteY6" fmla="*/ 14950 h 23605"/>
                <a:gd name="connsiteX7" fmla="*/ 66489 w 74751"/>
                <a:gd name="connsiteY7" fmla="*/ 14163 h 23605"/>
                <a:gd name="connsiteX8" fmla="*/ 69636 w 74751"/>
                <a:gd name="connsiteY8" fmla="*/ 13770 h 23605"/>
                <a:gd name="connsiteX9" fmla="*/ 72784 w 74751"/>
                <a:gd name="connsiteY9" fmla="*/ 13377 h 23605"/>
                <a:gd name="connsiteX10" fmla="*/ 75931 w 74751"/>
                <a:gd name="connsiteY10" fmla="*/ 12983 h 23605"/>
                <a:gd name="connsiteX11" fmla="*/ 72784 w 74751"/>
                <a:gd name="connsiteY11" fmla="*/ 11016 h 23605"/>
                <a:gd name="connsiteX12" fmla="*/ 69636 w 74751"/>
                <a:gd name="connsiteY12" fmla="*/ 9836 h 23605"/>
                <a:gd name="connsiteX13" fmla="*/ 66489 w 74751"/>
                <a:gd name="connsiteY13" fmla="*/ 9442 h 23605"/>
                <a:gd name="connsiteX14" fmla="*/ 63735 w 74751"/>
                <a:gd name="connsiteY14" fmla="*/ 9049 h 23605"/>
                <a:gd name="connsiteX15" fmla="*/ 60981 w 74751"/>
                <a:gd name="connsiteY15" fmla="*/ 9442 h 23605"/>
                <a:gd name="connsiteX16" fmla="*/ 57833 w 74751"/>
                <a:gd name="connsiteY16" fmla="*/ 10229 h 23605"/>
                <a:gd name="connsiteX17" fmla="*/ 54686 w 74751"/>
                <a:gd name="connsiteY17" fmla="*/ 9836 h 23605"/>
                <a:gd name="connsiteX18" fmla="*/ 51539 w 74751"/>
                <a:gd name="connsiteY18" fmla="*/ 9049 h 23605"/>
                <a:gd name="connsiteX19" fmla="*/ 48391 w 74751"/>
                <a:gd name="connsiteY19" fmla="*/ 7869 h 23605"/>
                <a:gd name="connsiteX20" fmla="*/ 45637 w 74751"/>
                <a:gd name="connsiteY20" fmla="*/ 7475 h 23605"/>
                <a:gd name="connsiteX21" fmla="*/ 42490 w 74751"/>
                <a:gd name="connsiteY21" fmla="*/ 6688 h 23605"/>
                <a:gd name="connsiteX22" fmla="*/ 45637 w 74751"/>
                <a:gd name="connsiteY22" fmla="*/ 3934 h 23605"/>
                <a:gd name="connsiteX23" fmla="*/ 48391 w 74751"/>
                <a:gd name="connsiteY23" fmla="*/ 2754 h 23605"/>
                <a:gd name="connsiteX24" fmla="*/ 45637 w 74751"/>
                <a:gd name="connsiteY24" fmla="*/ 1574 h 23605"/>
                <a:gd name="connsiteX25" fmla="*/ 42884 w 74751"/>
                <a:gd name="connsiteY25" fmla="*/ 787 h 23605"/>
                <a:gd name="connsiteX26" fmla="*/ 39736 w 74751"/>
                <a:gd name="connsiteY26" fmla="*/ 393 h 23605"/>
                <a:gd name="connsiteX27" fmla="*/ 36982 w 74751"/>
                <a:gd name="connsiteY27" fmla="*/ 0 h 23605"/>
                <a:gd name="connsiteX28" fmla="*/ 30687 w 74751"/>
                <a:gd name="connsiteY28" fmla="*/ 787 h 23605"/>
                <a:gd name="connsiteX29" fmla="*/ 27540 w 74751"/>
                <a:gd name="connsiteY29" fmla="*/ 1574 h 23605"/>
                <a:gd name="connsiteX30" fmla="*/ 21638 w 74751"/>
                <a:gd name="connsiteY30" fmla="*/ 1574 h 23605"/>
                <a:gd name="connsiteX31" fmla="*/ 18098 w 74751"/>
                <a:gd name="connsiteY31" fmla="*/ 1180 h 23605"/>
                <a:gd name="connsiteX32" fmla="*/ 15344 w 74751"/>
                <a:gd name="connsiteY32" fmla="*/ 1180 h 23605"/>
                <a:gd name="connsiteX33" fmla="*/ 12196 w 74751"/>
                <a:gd name="connsiteY33" fmla="*/ 1574 h 23605"/>
                <a:gd name="connsiteX34" fmla="*/ 9049 w 74751"/>
                <a:gd name="connsiteY34" fmla="*/ 1967 h 23605"/>
                <a:gd name="connsiteX35" fmla="*/ 5901 w 74751"/>
                <a:gd name="connsiteY35" fmla="*/ 2361 h 23605"/>
                <a:gd name="connsiteX36" fmla="*/ 3147 w 74751"/>
                <a:gd name="connsiteY36" fmla="*/ 2754 h 23605"/>
                <a:gd name="connsiteX37" fmla="*/ 0 w 74751"/>
                <a:gd name="connsiteY37" fmla="*/ 3147 h 23605"/>
                <a:gd name="connsiteX38" fmla="*/ 3147 w 74751"/>
                <a:gd name="connsiteY38" fmla="*/ 5901 h 23605"/>
                <a:gd name="connsiteX39" fmla="*/ 5901 w 74751"/>
                <a:gd name="connsiteY39" fmla="*/ 6688 h 23605"/>
                <a:gd name="connsiteX40" fmla="*/ 9049 w 74751"/>
                <a:gd name="connsiteY40" fmla="*/ 7475 h 23605"/>
                <a:gd name="connsiteX41" fmla="*/ 11803 w 74751"/>
                <a:gd name="connsiteY41" fmla="*/ 7869 h 23605"/>
                <a:gd name="connsiteX42" fmla="*/ 10622 w 74751"/>
                <a:gd name="connsiteY42" fmla="*/ 10623 h 23605"/>
                <a:gd name="connsiteX43" fmla="*/ 7869 w 74751"/>
                <a:gd name="connsiteY43" fmla="*/ 12983 h 23605"/>
                <a:gd name="connsiteX44" fmla="*/ 7081 w 74751"/>
                <a:gd name="connsiteY44" fmla="*/ 15737 h 23605"/>
                <a:gd name="connsiteX45" fmla="*/ 3934 w 74751"/>
                <a:gd name="connsiteY45" fmla="*/ 16524 h 23605"/>
                <a:gd name="connsiteX46" fmla="*/ 1180 w 74751"/>
                <a:gd name="connsiteY46" fmla="*/ 16917 h 23605"/>
                <a:gd name="connsiteX47" fmla="*/ 0 w 74751"/>
                <a:gd name="connsiteY47" fmla="*/ 20065 h 23605"/>
                <a:gd name="connsiteX48" fmla="*/ 3147 w 74751"/>
                <a:gd name="connsiteY48" fmla="*/ 20458 h 23605"/>
                <a:gd name="connsiteX49" fmla="*/ 5901 w 74751"/>
                <a:gd name="connsiteY49" fmla="*/ 20458 h 23605"/>
                <a:gd name="connsiteX50" fmla="*/ 9049 w 74751"/>
                <a:gd name="connsiteY50" fmla="*/ 20065 h 23605"/>
                <a:gd name="connsiteX51" fmla="*/ 12196 w 74751"/>
                <a:gd name="connsiteY51" fmla="*/ 19671 h 23605"/>
                <a:gd name="connsiteX52" fmla="*/ 15344 w 74751"/>
                <a:gd name="connsiteY52" fmla="*/ 19278 h 23605"/>
                <a:gd name="connsiteX53" fmla="*/ 18098 w 74751"/>
                <a:gd name="connsiteY53" fmla="*/ 19278 h 23605"/>
                <a:gd name="connsiteX54" fmla="*/ 21638 w 74751"/>
                <a:gd name="connsiteY54" fmla="*/ 18884 h 23605"/>
                <a:gd name="connsiteX55" fmla="*/ 24786 w 74751"/>
                <a:gd name="connsiteY55" fmla="*/ 18884 h 23605"/>
                <a:gd name="connsiteX56" fmla="*/ 27540 w 74751"/>
                <a:gd name="connsiteY56" fmla="*/ 18098 h 23605"/>
                <a:gd name="connsiteX57" fmla="*/ 30687 w 74751"/>
                <a:gd name="connsiteY57" fmla="*/ 16917 h 23605"/>
                <a:gd name="connsiteX58" fmla="*/ 33441 w 74751"/>
                <a:gd name="connsiteY58" fmla="*/ 17311 h 23605"/>
                <a:gd name="connsiteX59" fmla="*/ 36588 w 74751"/>
                <a:gd name="connsiteY59" fmla="*/ 17704 h 23605"/>
                <a:gd name="connsiteX60" fmla="*/ 33441 w 74751"/>
                <a:gd name="connsiteY60" fmla="*/ 20065 h 23605"/>
                <a:gd name="connsiteX61" fmla="*/ 30687 w 74751"/>
                <a:gd name="connsiteY61" fmla="*/ 20852 h 23605"/>
                <a:gd name="connsiteX62" fmla="*/ 30687 w 74751"/>
                <a:gd name="connsiteY62" fmla="*/ 23999 h 23605"/>
                <a:gd name="connsiteX63" fmla="*/ 33835 w 74751"/>
                <a:gd name="connsiteY63" fmla="*/ 24786 h 23605"/>
                <a:gd name="connsiteX64" fmla="*/ 36588 w 74751"/>
                <a:gd name="connsiteY64" fmla="*/ 25179 h 23605"/>
                <a:gd name="connsiteX65" fmla="*/ 39736 w 74751"/>
                <a:gd name="connsiteY65" fmla="*/ 24392 h 23605"/>
                <a:gd name="connsiteX66" fmla="*/ 42490 w 74751"/>
                <a:gd name="connsiteY66" fmla="*/ 22425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74751" h="23605">
                  <a:moveTo>
                    <a:pt x="45637" y="21638"/>
                  </a:moveTo>
                  <a:lnTo>
                    <a:pt x="48785" y="22032"/>
                  </a:lnTo>
                  <a:lnTo>
                    <a:pt x="51539" y="21245"/>
                  </a:lnTo>
                  <a:lnTo>
                    <a:pt x="55080" y="20458"/>
                  </a:lnTo>
                  <a:lnTo>
                    <a:pt x="57833" y="19671"/>
                  </a:lnTo>
                  <a:lnTo>
                    <a:pt x="60588" y="16917"/>
                  </a:lnTo>
                  <a:lnTo>
                    <a:pt x="63735" y="14950"/>
                  </a:lnTo>
                  <a:lnTo>
                    <a:pt x="66489" y="14163"/>
                  </a:lnTo>
                  <a:lnTo>
                    <a:pt x="69636" y="13770"/>
                  </a:lnTo>
                  <a:lnTo>
                    <a:pt x="72784" y="13377"/>
                  </a:lnTo>
                  <a:lnTo>
                    <a:pt x="75931" y="12983"/>
                  </a:lnTo>
                  <a:lnTo>
                    <a:pt x="72784" y="11016"/>
                  </a:lnTo>
                  <a:lnTo>
                    <a:pt x="69636" y="9836"/>
                  </a:lnTo>
                  <a:lnTo>
                    <a:pt x="66489" y="9442"/>
                  </a:lnTo>
                  <a:lnTo>
                    <a:pt x="63735" y="9049"/>
                  </a:lnTo>
                  <a:lnTo>
                    <a:pt x="60981" y="9442"/>
                  </a:lnTo>
                  <a:lnTo>
                    <a:pt x="57833" y="10229"/>
                  </a:lnTo>
                  <a:lnTo>
                    <a:pt x="54686" y="9836"/>
                  </a:lnTo>
                  <a:lnTo>
                    <a:pt x="51539" y="9049"/>
                  </a:lnTo>
                  <a:lnTo>
                    <a:pt x="48391" y="7869"/>
                  </a:lnTo>
                  <a:lnTo>
                    <a:pt x="45637" y="7475"/>
                  </a:lnTo>
                  <a:lnTo>
                    <a:pt x="42490" y="6688"/>
                  </a:lnTo>
                  <a:lnTo>
                    <a:pt x="45637" y="3934"/>
                  </a:lnTo>
                  <a:lnTo>
                    <a:pt x="48391" y="2754"/>
                  </a:lnTo>
                  <a:lnTo>
                    <a:pt x="45637" y="1574"/>
                  </a:lnTo>
                  <a:lnTo>
                    <a:pt x="42884" y="787"/>
                  </a:lnTo>
                  <a:lnTo>
                    <a:pt x="39736" y="393"/>
                  </a:lnTo>
                  <a:lnTo>
                    <a:pt x="36982" y="0"/>
                  </a:lnTo>
                  <a:lnTo>
                    <a:pt x="30687" y="787"/>
                  </a:lnTo>
                  <a:lnTo>
                    <a:pt x="27540" y="1574"/>
                  </a:lnTo>
                  <a:lnTo>
                    <a:pt x="21638" y="1574"/>
                  </a:lnTo>
                  <a:lnTo>
                    <a:pt x="18098" y="1180"/>
                  </a:lnTo>
                  <a:lnTo>
                    <a:pt x="15344" y="1180"/>
                  </a:lnTo>
                  <a:lnTo>
                    <a:pt x="12196" y="1574"/>
                  </a:lnTo>
                  <a:lnTo>
                    <a:pt x="9049" y="1967"/>
                  </a:lnTo>
                  <a:lnTo>
                    <a:pt x="5901" y="2361"/>
                  </a:lnTo>
                  <a:lnTo>
                    <a:pt x="3147" y="2754"/>
                  </a:lnTo>
                  <a:lnTo>
                    <a:pt x="0" y="3147"/>
                  </a:lnTo>
                  <a:lnTo>
                    <a:pt x="3147" y="5901"/>
                  </a:lnTo>
                  <a:lnTo>
                    <a:pt x="5901" y="6688"/>
                  </a:lnTo>
                  <a:lnTo>
                    <a:pt x="9049" y="7475"/>
                  </a:lnTo>
                  <a:lnTo>
                    <a:pt x="11803" y="7869"/>
                  </a:lnTo>
                  <a:lnTo>
                    <a:pt x="10622" y="10623"/>
                  </a:lnTo>
                  <a:lnTo>
                    <a:pt x="7869" y="12983"/>
                  </a:lnTo>
                  <a:lnTo>
                    <a:pt x="7081" y="15737"/>
                  </a:lnTo>
                  <a:lnTo>
                    <a:pt x="3934" y="16524"/>
                  </a:lnTo>
                  <a:lnTo>
                    <a:pt x="1180" y="16917"/>
                  </a:lnTo>
                  <a:lnTo>
                    <a:pt x="0" y="20065"/>
                  </a:lnTo>
                  <a:lnTo>
                    <a:pt x="3147" y="20458"/>
                  </a:lnTo>
                  <a:lnTo>
                    <a:pt x="5901" y="20458"/>
                  </a:lnTo>
                  <a:lnTo>
                    <a:pt x="9049" y="20065"/>
                  </a:lnTo>
                  <a:lnTo>
                    <a:pt x="12196" y="19671"/>
                  </a:lnTo>
                  <a:lnTo>
                    <a:pt x="15344" y="19278"/>
                  </a:lnTo>
                  <a:lnTo>
                    <a:pt x="18098" y="19278"/>
                  </a:lnTo>
                  <a:lnTo>
                    <a:pt x="21638" y="18884"/>
                  </a:lnTo>
                  <a:lnTo>
                    <a:pt x="24786" y="18884"/>
                  </a:lnTo>
                  <a:lnTo>
                    <a:pt x="27540" y="18098"/>
                  </a:lnTo>
                  <a:lnTo>
                    <a:pt x="30687" y="16917"/>
                  </a:lnTo>
                  <a:lnTo>
                    <a:pt x="33441" y="17311"/>
                  </a:lnTo>
                  <a:lnTo>
                    <a:pt x="36588" y="17704"/>
                  </a:lnTo>
                  <a:lnTo>
                    <a:pt x="33441" y="20065"/>
                  </a:lnTo>
                  <a:lnTo>
                    <a:pt x="30687" y="20852"/>
                  </a:lnTo>
                  <a:lnTo>
                    <a:pt x="30687" y="23999"/>
                  </a:lnTo>
                  <a:lnTo>
                    <a:pt x="33835" y="24786"/>
                  </a:lnTo>
                  <a:lnTo>
                    <a:pt x="36588" y="25179"/>
                  </a:lnTo>
                  <a:lnTo>
                    <a:pt x="39736" y="24392"/>
                  </a:lnTo>
                  <a:lnTo>
                    <a:pt x="42490" y="2242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49" name="Freeform: Shape 3243">
              <a:extLst>
                <a:ext uri="{FF2B5EF4-FFF2-40B4-BE49-F238E27FC236}">
                  <a16:creationId xmlns:a16="http://schemas.microsoft.com/office/drawing/2014/main" id="{A760E220-F878-4F9A-81E1-4D6E480DB9FD}"/>
                </a:ext>
              </a:extLst>
            </p:cNvPr>
            <p:cNvSpPr/>
            <p:nvPr/>
          </p:nvSpPr>
          <p:spPr>
            <a:xfrm>
              <a:off x="6600373" y="1387159"/>
              <a:ext cx="31474" cy="7869"/>
            </a:xfrm>
            <a:custGeom>
              <a:avLst/>
              <a:gdLst>
                <a:gd name="connsiteX0" fmla="*/ 6295 w 31474"/>
                <a:gd name="connsiteY0" fmla="*/ 7869 h 7868"/>
                <a:gd name="connsiteX1" fmla="*/ 9442 w 31474"/>
                <a:gd name="connsiteY1" fmla="*/ 8655 h 7868"/>
                <a:gd name="connsiteX2" fmla="*/ 12197 w 31474"/>
                <a:gd name="connsiteY2" fmla="*/ 8262 h 7868"/>
                <a:gd name="connsiteX3" fmla="*/ 15344 w 31474"/>
                <a:gd name="connsiteY3" fmla="*/ 8262 h 7868"/>
                <a:gd name="connsiteX4" fmla="*/ 18098 w 31474"/>
                <a:gd name="connsiteY4" fmla="*/ 8262 h 7868"/>
                <a:gd name="connsiteX5" fmla="*/ 21245 w 31474"/>
                <a:gd name="connsiteY5" fmla="*/ 6688 h 7868"/>
                <a:gd name="connsiteX6" fmla="*/ 24393 w 31474"/>
                <a:gd name="connsiteY6" fmla="*/ 5115 h 7868"/>
                <a:gd name="connsiteX7" fmla="*/ 27540 w 31474"/>
                <a:gd name="connsiteY7" fmla="*/ 3147 h 7868"/>
                <a:gd name="connsiteX8" fmla="*/ 30294 w 31474"/>
                <a:gd name="connsiteY8" fmla="*/ 1180 h 7868"/>
                <a:gd name="connsiteX9" fmla="*/ 31474 w 31474"/>
                <a:gd name="connsiteY9" fmla="*/ 393 h 7868"/>
                <a:gd name="connsiteX10" fmla="*/ 28720 w 31474"/>
                <a:gd name="connsiteY10" fmla="*/ 393 h 7868"/>
                <a:gd name="connsiteX11" fmla="*/ 25573 w 31474"/>
                <a:gd name="connsiteY11" fmla="*/ 787 h 7868"/>
                <a:gd name="connsiteX12" fmla="*/ 22819 w 31474"/>
                <a:gd name="connsiteY12" fmla="*/ 0 h 7868"/>
                <a:gd name="connsiteX13" fmla="*/ 24393 w 31474"/>
                <a:gd name="connsiteY13" fmla="*/ 2754 h 7868"/>
                <a:gd name="connsiteX14" fmla="*/ 21245 w 31474"/>
                <a:gd name="connsiteY14" fmla="*/ 3934 h 7868"/>
                <a:gd name="connsiteX15" fmla="*/ 18098 w 31474"/>
                <a:gd name="connsiteY15" fmla="*/ 1967 h 7868"/>
                <a:gd name="connsiteX16" fmla="*/ 15344 w 31474"/>
                <a:gd name="connsiteY16" fmla="*/ 2361 h 7868"/>
                <a:gd name="connsiteX17" fmla="*/ 18098 w 31474"/>
                <a:gd name="connsiteY17" fmla="*/ 4328 h 7868"/>
                <a:gd name="connsiteX18" fmla="*/ 15344 w 31474"/>
                <a:gd name="connsiteY18" fmla="*/ 4328 h 7868"/>
                <a:gd name="connsiteX19" fmla="*/ 12197 w 31474"/>
                <a:gd name="connsiteY19" fmla="*/ 2754 h 7868"/>
                <a:gd name="connsiteX20" fmla="*/ 9049 w 31474"/>
                <a:gd name="connsiteY20" fmla="*/ 4721 h 7868"/>
                <a:gd name="connsiteX21" fmla="*/ 5901 w 31474"/>
                <a:gd name="connsiteY21" fmla="*/ 3934 h 7868"/>
                <a:gd name="connsiteX22" fmla="*/ 3148 w 31474"/>
                <a:gd name="connsiteY22" fmla="*/ 4328 h 7868"/>
                <a:gd name="connsiteX23" fmla="*/ 0 w 31474"/>
                <a:gd name="connsiteY23" fmla="*/ 5115 h 7868"/>
                <a:gd name="connsiteX24" fmla="*/ 2754 w 31474"/>
                <a:gd name="connsiteY24" fmla="*/ 6295 h 7868"/>
                <a:gd name="connsiteX25" fmla="*/ 5901 w 31474"/>
                <a:gd name="connsiteY25" fmla="*/ 7082 h 7868"/>
                <a:gd name="connsiteX26" fmla="*/ 3148 w 31474"/>
                <a:gd name="connsiteY26" fmla="*/ 944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474" h="7868">
                  <a:moveTo>
                    <a:pt x="6295" y="7869"/>
                  </a:moveTo>
                  <a:lnTo>
                    <a:pt x="9442" y="8655"/>
                  </a:lnTo>
                  <a:lnTo>
                    <a:pt x="12197" y="8262"/>
                  </a:lnTo>
                  <a:lnTo>
                    <a:pt x="15344" y="8262"/>
                  </a:lnTo>
                  <a:lnTo>
                    <a:pt x="18098" y="8262"/>
                  </a:lnTo>
                  <a:lnTo>
                    <a:pt x="21245" y="6688"/>
                  </a:lnTo>
                  <a:lnTo>
                    <a:pt x="24393" y="5115"/>
                  </a:lnTo>
                  <a:lnTo>
                    <a:pt x="27540" y="3147"/>
                  </a:lnTo>
                  <a:lnTo>
                    <a:pt x="30294" y="1180"/>
                  </a:lnTo>
                  <a:lnTo>
                    <a:pt x="31474" y="393"/>
                  </a:lnTo>
                  <a:lnTo>
                    <a:pt x="28720" y="393"/>
                  </a:lnTo>
                  <a:lnTo>
                    <a:pt x="25573" y="787"/>
                  </a:lnTo>
                  <a:lnTo>
                    <a:pt x="22819" y="0"/>
                  </a:lnTo>
                  <a:lnTo>
                    <a:pt x="24393" y="2754"/>
                  </a:lnTo>
                  <a:lnTo>
                    <a:pt x="21245" y="3934"/>
                  </a:lnTo>
                  <a:lnTo>
                    <a:pt x="18098" y="1967"/>
                  </a:lnTo>
                  <a:lnTo>
                    <a:pt x="15344" y="2361"/>
                  </a:lnTo>
                  <a:lnTo>
                    <a:pt x="18098" y="4328"/>
                  </a:lnTo>
                  <a:lnTo>
                    <a:pt x="15344" y="4328"/>
                  </a:lnTo>
                  <a:lnTo>
                    <a:pt x="12197" y="2754"/>
                  </a:lnTo>
                  <a:lnTo>
                    <a:pt x="9049" y="4721"/>
                  </a:lnTo>
                  <a:lnTo>
                    <a:pt x="5901" y="3934"/>
                  </a:lnTo>
                  <a:lnTo>
                    <a:pt x="3148" y="4328"/>
                  </a:lnTo>
                  <a:lnTo>
                    <a:pt x="0" y="5115"/>
                  </a:lnTo>
                  <a:lnTo>
                    <a:pt x="2754" y="6295"/>
                  </a:lnTo>
                  <a:lnTo>
                    <a:pt x="5901" y="7082"/>
                  </a:lnTo>
                  <a:lnTo>
                    <a:pt x="3148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50" name="Freeform: Shape 3244">
              <a:extLst>
                <a:ext uri="{FF2B5EF4-FFF2-40B4-BE49-F238E27FC236}">
                  <a16:creationId xmlns:a16="http://schemas.microsoft.com/office/drawing/2014/main" id="{FF64C095-471C-448A-837A-1FA232894A39}"/>
                </a:ext>
              </a:extLst>
            </p:cNvPr>
            <p:cNvSpPr/>
            <p:nvPr/>
          </p:nvSpPr>
          <p:spPr>
            <a:xfrm>
              <a:off x="6635388" y="1389913"/>
              <a:ext cx="7869" cy="3934"/>
            </a:xfrm>
            <a:custGeom>
              <a:avLst/>
              <a:gdLst>
                <a:gd name="connsiteX0" fmla="*/ 6689 w 7868"/>
                <a:gd name="connsiteY0" fmla="*/ 5508 h 3934"/>
                <a:gd name="connsiteX1" fmla="*/ 8656 w 7868"/>
                <a:gd name="connsiteY1" fmla="*/ 5508 h 3934"/>
                <a:gd name="connsiteX2" fmla="*/ 9049 w 7868"/>
                <a:gd name="connsiteY2" fmla="*/ 4328 h 3934"/>
                <a:gd name="connsiteX3" fmla="*/ 9836 w 7868"/>
                <a:gd name="connsiteY3" fmla="*/ 1574 h 3934"/>
                <a:gd name="connsiteX4" fmla="*/ 6295 w 7868"/>
                <a:gd name="connsiteY4" fmla="*/ 0 h 3934"/>
                <a:gd name="connsiteX5" fmla="*/ 3541 w 7868"/>
                <a:gd name="connsiteY5" fmla="*/ 393 h 3934"/>
                <a:gd name="connsiteX6" fmla="*/ 393 w 7868"/>
                <a:gd name="connsiteY6" fmla="*/ 0 h 3934"/>
                <a:gd name="connsiteX7" fmla="*/ 0 w 7868"/>
                <a:gd name="connsiteY7" fmla="*/ 2754 h 3934"/>
                <a:gd name="connsiteX8" fmla="*/ 3148 w 7868"/>
                <a:gd name="connsiteY8" fmla="*/ 511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6689" y="5508"/>
                  </a:moveTo>
                  <a:lnTo>
                    <a:pt x="8656" y="5508"/>
                  </a:lnTo>
                  <a:lnTo>
                    <a:pt x="9049" y="4328"/>
                  </a:lnTo>
                  <a:lnTo>
                    <a:pt x="9836" y="1574"/>
                  </a:lnTo>
                  <a:lnTo>
                    <a:pt x="6295" y="0"/>
                  </a:lnTo>
                  <a:lnTo>
                    <a:pt x="3541" y="393"/>
                  </a:lnTo>
                  <a:lnTo>
                    <a:pt x="393" y="0"/>
                  </a:lnTo>
                  <a:lnTo>
                    <a:pt x="0" y="2754"/>
                  </a:lnTo>
                  <a:lnTo>
                    <a:pt x="3148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51" name="Freeform: Shape 3245">
              <a:extLst>
                <a:ext uri="{FF2B5EF4-FFF2-40B4-BE49-F238E27FC236}">
                  <a16:creationId xmlns:a16="http://schemas.microsoft.com/office/drawing/2014/main" id="{6A868D2E-E5FD-4758-B551-A7494D1E71B1}"/>
                </a:ext>
              </a:extLst>
            </p:cNvPr>
            <p:cNvSpPr/>
            <p:nvPr/>
          </p:nvSpPr>
          <p:spPr>
            <a:xfrm>
              <a:off x="6640502" y="1381258"/>
              <a:ext cx="3934" cy="3934"/>
            </a:xfrm>
            <a:custGeom>
              <a:avLst/>
              <a:gdLst>
                <a:gd name="connsiteX0" fmla="*/ 2754 w 3934"/>
                <a:gd name="connsiteY0" fmla="*/ 0 h 0"/>
                <a:gd name="connsiteX1" fmla="*/ 0 w 3934"/>
                <a:gd name="connsiteY1" fmla="*/ 0 h 0"/>
                <a:gd name="connsiteX2" fmla="*/ 0 w 3934"/>
                <a:gd name="connsiteY2" fmla="*/ 1180 h 0"/>
                <a:gd name="connsiteX3" fmla="*/ 3147 w 3934"/>
                <a:gd name="connsiteY3" fmla="*/ 3147 h 0"/>
                <a:gd name="connsiteX4" fmla="*/ 5901 w 3934"/>
                <a:gd name="connsiteY4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2754" y="0"/>
                  </a:moveTo>
                  <a:lnTo>
                    <a:pt x="0" y="0"/>
                  </a:lnTo>
                  <a:lnTo>
                    <a:pt x="0" y="1180"/>
                  </a:lnTo>
                  <a:lnTo>
                    <a:pt x="3147" y="3147"/>
                  </a:lnTo>
                  <a:lnTo>
                    <a:pt x="5901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52" name="Freeform: Shape 3246">
              <a:extLst>
                <a:ext uri="{FF2B5EF4-FFF2-40B4-BE49-F238E27FC236}">
                  <a16:creationId xmlns:a16="http://schemas.microsoft.com/office/drawing/2014/main" id="{846E478C-56A7-4C26-95D5-1AC651B5B3C2}"/>
                </a:ext>
              </a:extLst>
            </p:cNvPr>
            <p:cNvSpPr/>
            <p:nvPr/>
          </p:nvSpPr>
          <p:spPr>
            <a:xfrm>
              <a:off x="6642076" y="1379684"/>
              <a:ext cx="3934" cy="3934"/>
            </a:xfrm>
            <a:custGeom>
              <a:avLst/>
              <a:gdLst>
                <a:gd name="connsiteX0" fmla="*/ 393 w 0"/>
                <a:gd name="connsiteY0" fmla="*/ 393 h 0"/>
                <a:gd name="connsiteX1" fmla="*/ 0 w 0"/>
                <a:gd name="connsiteY1" fmla="*/ 1180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393"/>
                  </a:moveTo>
                  <a:lnTo>
                    <a:pt x="0" y="118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53" name="Freeform: Shape 3247">
              <a:extLst>
                <a:ext uri="{FF2B5EF4-FFF2-40B4-BE49-F238E27FC236}">
                  <a16:creationId xmlns:a16="http://schemas.microsoft.com/office/drawing/2014/main" id="{C767D67E-DE25-4698-A590-8B05CE2D9693}"/>
                </a:ext>
              </a:extLst>
            </p:cNvPr>
            <p:cNvSpPr/>
            <p:nvPr/>
          </p:nvSpPr>
          <p:spPr>
            <a:xfrm>
              <a:off x="6671189" y="1377324"/>
              <a:ext cx="15737" cy="3934"/>
            </a:xfrm>
            <a:custGeom>
              <a:avLst/>
              <a:gdLst>
                <a:gd name="connsiteX0" fmla="*/ 4721 w 15737"/>
                <a:gd name="connsiteY0" fmla="*/ 6295 h 3934"/>
                <a:gd name="connsiteX1" fmla="*/ 8262 w 15737"/>
                <a:gd name="connsiteY1" fmla="*/ 5901 h 3934"/>
                <a:gd name="connsiteX2" fmla="*/ 11016 w 15737"/>
                <a:gd name="connsiteY2" fmla="*/ 5115 h 3934"/>
                <a:gd name="connsiteX3" fmla="*/ 13377 w 15737"/>
                <a:gd name="connsiteY3" fmla="*/ 5115 h 3934"/>
                <a:gd name="connsiteX4" fmla="*/ 16131 w 15737"/>
                <a:gd name="connsiteY4" fmla="*/ 5115 h 3934"/>
                <a:gd name="connsiteX5" fmla="*/ 13377 w 15737"/>
                <a:gd name="connsiteY5" fmla="*/ 4328 h 3934"/>
                <a:gd name="connsiteX6" fmla="*/ 14950 w 15737"/>
                <a:gd name="connsiteY6" fmla="*/ 1574 h 3934"/>
                <a:gd name="connsiteX7" fmla="*/ 11803 w 15737"/>
                <a:gd name="connsiteY7" fmla="*/ 787 h 3934"/>
                <a:gd name="connsiteX8" fmla="*/ 9049 w 15737"/>
                <a:gd name="connsiteY8" fmla="*/ 0 h 3934"/>
                <a:gd name="connsiteX9" fmla="*/ 5901 w 15737"/>
                <a:gd name="connsiteY9" fmla="*/ 0 h 3934"/>
                <a:gd name="connsiteX10" fmla="*/ 3148 w 15737"/>
                <a:gd name="connsiteY10" fmla="*/ 1574 h 3934"/>
                <a:gd name="connsiteX11" fmla="*/ 0 w 15737"/>
                <a:gd name="connsiteY11" fmla="*/ 1967 h 3934"/>
                <a:gd name="connsiteX12" fmla="*/ 3148 w 15737"/>
                <a:gd name="connsiteY12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3934">
                  <a:moveTo>
                    <a:pt x="4721" y="6295"/>
                  </a:moveTo>
                  <a:lnTo>
                    <a:pt x="8262" y="5901"/>
                  </a:lnTo>
                  <a:lnTo>
                    <a:pt x="11016" y="5115"/>
                  </a:lnTo>
                  <a:lnTo>
                    <a:pt x="13377" y="5115"/>
                  </a:lnTo>
                  <a:lnTo>
                    <a:pt x="16131" y="5115"/>
                  </a:lnTo>
                  <a:lnTo>
                    <a:pt x="13377" y="4328"/>
                  </a:lnTo>
                  <a:lnTo>
                    <a:pt x="14950" y="1574"/>
                  </a:lnTo>
                  <a:lnTo>
                    <a:pt x="11803" y="787"/>
                  </a:lnTo>
                  <a:lnTo>
                    <a:pt x="9049" y="0"/>
                  </a:lnTo>
                  <a:lnTo>
                    <a:pt x="5901" y="0"/>
                  </a:lnTo>
                  <a:lnTo>
                    <a:pt x="3148" y="1574"/>
                  </a:lnTo>
                  <a:lnTo>
                    <a:pt x="0" y="1967"/>
                  </a:lnTo>
                  <a:lnTo>
                    <a:pt x="3148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54" name="Freeform: Shape 3248">
              <a:extLst>
                <a:ext uri="{FF2B5EF4-FFF2-40B4-BE49-F238E27FC236}">
                  <a16:creationId xmlns:a16="http://schemas.microsoft.com/office/drawing/2014/main" id="{A036588D-65B0-4A77-B480-5834317957B1}"/>
                </a:ext>
              </a:extLst>
            </p:cNvPr>
            <p:cNvSpPr/>
            <p:nvPr/>
          </p:nvSpPr>
          <p:spPr>
            <a:xfrm>
              <a:off x="7255428" y="1144022"/>
              <a:ext cx="19671" cy="3934"/>
            </a:xfrm>
            <a:custGeom>
              <a:avLst/>
              <a:gdLst>
                <a:gd name="connsiteX0" fmla="*/ 7475 w 19671"/>
                <a:gd name="connsiteY0" fmla="*/ 4328 h 3934"/>
                <a:gd name="connsiteX1" fmla="*/ 10623 w 19671"/>
                <a:gd name="connsiteY1" fmla="*/ 4721 h 3934"/>
                <a:gd name="connsiteX2" fmla="*/ 13377 w 19671"/>
                <a:gd name="connsiteY2" fmla="*/ 4328 h 3934"/>
                <a:gd name="connsiteX3" fmla="*/ 16524 w 19671"/>
                <a:gd name="connsiteY3" fmla="*/ 3934 h 3934"/>
                <a:gd name="connsiteX4" fmla="*/ 19671 w 19671"/>
                <a:gd name="connsiteY4" fmla="*/ 2754 h 3934"/>
                <a:gd name="connsiteX5" fmla="*/ 18885 w 19671"/>
                <a:gd name="connsiteY5" fmla="*/ 2754 h 3934"/>
                <a:gd name="connsiteX6" fmla="*/ 15737 w 19671"/>
                <a:gd name="connsiteY6" fmla="*/ 393 h 3934"/>
                <a:gd name="connsiteX7" fmla="*/ 12590 w 19671"/>
                <a:gd name="connsiteY7" fmla="*/ 393 h 3934"/>
                <a:gd name="connsiteX8" fmla="*/ 9049 w 19671"/>
                <a:gd name="connsiteY8" fmla="*/ 0 h 3934"/>
                <a:gd name="connsiteX9" fmla="*/ 5901 w 19671"/>
                <a:gd name="connsiteY9" fmla="*/ 393 h 3934"/>
                <a:gd name="connsiteX10" fmla="*/ 3148 w 19671"/>
                <a:gd name="connsiteY10" fmla="*/ 787 h 3934"/>
                <a:gd name="connsiteX11" fmla="*/ 0 w 19671"/>
                <a:gd name="connsiteY11" fmla="*/ 2754 h 3934"/>
                <a:gd name="connsiteX12" fmla="*/ 787 w 19671"/>
                <a:gd name="connsiteY12" fmla="*/ 3147 h 3934"/>
                <a:gd name="connsiteX13" fmla="*/ 4328 w 19671"/>
                <a:gd name="connsiteY13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671" h="3934">
                  <a:moveTo>
                    <a:pt x="7475" y="4328"/>
                  </a:moveTo>
                  <a:lnTo>
                    <a:pt x="10623" y="4721"/>
                  </a:lnTo>
                  <a:lnTo>
                    <a:pt x="13377" y="4328"/>
                  </a:lnTo>
                  <a:lnTo>
                    <a:pt x="16524" y="3934"/>
                  </a:lnTo>
                  <a:lnTo>
                    <a:pt x="19671" y="2754"/>
                  </a:lnTo>
                  <a:lnTo>
                    <a:pt x="18885" y="2754"/>
                  </a:lnTo>
                  <a:lnTo>
                    <a:pt x="15737" y="393"/>
                  </a:lnTo>
                  <a:lnTo>
                    <a:pt x="12590" y="393"/>
                  </a:lnTo>
                  <a:lnTo>
                    <a:pt x="9049" y="0"/>
                  </a:lnTo>
                  <a:lnTo>
                    <a:pt x="5901" y="393"/>
                  </a:lnTo>
                  <a:lnTo>
                    <a:pt x="3148" y="787"/>
                  </a:lnTo>
                  <a:lnTo>
                    <a:pt x="0" y="2754"/>
                  </a:lnTo>
                  <a:lnTo>
                    <a:pt x="787" y="3147"/>
                  </a:lnTo>
                  <a:lnTo>
                    <a:pt x="4328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55" name="Freeform: Shape 3249">
              <a:extLst>
                <a:ext uri="{FF2B5EF4-FFF2-40B4-BE49-F238E27FC236}">
                  <a16:creationId xmlns:a16="http://schemas.microsoft.com/office/drawing/2014/main" id="{75CA0E93-61DD-4F25-9A5F-A661E5BE3885}"/>
                </a:ext>
              </a:extLst>
            </p:cNvPr>
            <p:cNvSpPr/>
            <p:nvPr/>
          </p:nvSpPr>
          <p:spPr>
            <a:xfrm>
              <a:off x="7317196" y="1247100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0 w 3934"/>
                <a:gd name="connsiteY1" fmla="*/ 1967 h 0"/>
                <a:gd name="connsiteX2" fmla="*/ 3541 w 3934"/>
                <a:gd name="connsiteY2" fmla="*/ 1574 h 0"/>
                <a:gd name="connsiteX3" fmla="*/ 6688 w 3934"/>
                <a:gd name="connsiteY3" fmla="*/ 0 h 0"/>
                <a:gd name="connsiteX4" fmla="*/ 3541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0" y="1967"/>
                  </a:lnTo>
                  <a:lnTo>
                    <a:pt x="3541" y="1574"/>
                  </a:lnTo>
                  <a:lnTo>
                    <a:pt x="6688" y="0"/>
                  </a:lnTo>
                  <a:lnTo>
                    <a:pt x="3541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56" name="Freeform: Shape 3250">
              <a:extLst>
                <a:ext uri="{FF2B5EF4-FFF2-40B4-BE49-F238E27FC236}">
                  <a16:creationId xmlns:a16="http://schemas.microsoft.com/office/drawing/2014/main" id="{C6B696FD-9289-44E4-B6CD-4D80D574584D}"/>
                </a:ext>
              </a:extLst>
            </p:cNvPr>
            <p:cNvSpPr/>
            <p:nvPr/>
          </p:nvSpPr>
          <p:spPr>
            <a:xfrm>
              <a:off x="6549227" y="1402896"/>
              <a:ext cx="11803" cy="3934"/>
            </a:xfrm>
            <a:custGeom>
              <a:avLst/>
              <a:gdLst>
                <a:gd name="connsiteX0" fmla="*/ 11803 w 11802"/>
                <a:gd name="connsiteY0" fmla="*/ 4328 h 3934"/>
                <a:gd name="connsiteX1" fmla="*/ 8656 w 11802"/>
                <a:gd name="connsiteY1" fmla="*/ 2754 h 3934"/>
                <a:gd name="connsiteX2" fmla="*/ 5901 w 11802"/>
                <a:gd name="connsiteY2" fmla="*/ 787 h 3934"/>
                <a:gd name="connsiteX3" fmla="*/ 2754 w 11802"/>
                <a:gd name="connsiteY3" fmla="*/ 393 h 3934"/>
                <a:gd name="connsiteX4" fmla="*/ 0 w 11802"/>
                <a:gd name="connsiteY4" fmla="*/ 0 h 3934"/>
                <a:gd name="connsiteX5" fmla="*/ 2754 w 11802"/>
                <a:gd name="connsiteY5" fmla="*/ 2361 h 3934"/>
                <a:gd name="connsiteX6" fmla="*/ 3934 w 11802"/>
                <a:gd name="connsiteY6" fmla="*/ 5115 h 3934"/>
                <a:gd name="connsiteX7" fmla="*/ 7082 w 11802"/>
                <a:gd name="connsiteY7" fmla="*/ 5508 h 3934"/>
                <a:gd name="connsiteX8" fmla="*/ 9049 w 11802"/>
                <a:gd name="connsiteY8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 h="3934">
                  <a:moveTo>
                    <a:pt x="11803" y="4328"/>
                  </a:moveTo>
                  <a:lnTo>
                    <a:pt x="8656" y="2754"/>
                  </a:lnTo>
                  <a:lnTo>
                    <a:pt x="5901" y="787"/>
                  </a:lnTo>
                  <a:lnTo>
                    <a:pt x="2754" y="393"/>
                  </a:lnTo>
                  <a:lnTo>
                    <a:pt x="0" y="0"/>
                  </a:lnTo>
                  <a:lnTo>
                    <a:pt x="2754" y="2361"/>
                  </a:lnTo>
                  <a:lnTo>
                    <a:pt x="3934" y="5115"/>
                  </a:lnTo>
                  <a:lnTo>
                    <a:pt x="7082" y="5508"/>
                  </a:lnTo>
                  <a:lnTo>
                    <a:pt x="9049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57" name="Freeform: Shape 3251">
              <a:extLst>
                <a:ext uri="{FF2B5EF4-FFF2-40B4-BE49-F238E27FC236}">
                  <a16:creationId xmlns:a16="http://schemas.microsoft.com/office/drawing/2014/main" id="{0E43CE64-ACE4-460E-A43C-68EF05782B48}"/>
                </a:ext>
              </a:extLst>
            </p:cNvPr>
            <p:cNvSpPr/>
            <p:nvPr/>
          </p:nvSpPr>
          <p:spPr>
            <a:xfrm>
              <a:off x="6567325" y="1403290"/>
              <a:ext cx="7869" cy="3934"/>
            </a:xfrm>
            <a:custGeom>
              <a:avLst/>
              <a:gdLst>
                <a:gd name="connsiteX0" fmla="*/ 5901 w 7868"/>
                <a:gd name="connsiteY0" fmla="*/ 0 h 3934"/>
                <a:gd name="connsiteX1" fmla="*/ 2754 w 7868"/>
                <a:gd name="connsiteY1" fmla="*/ 787 h 3934"/>
                <a:gd name="connsiteX2" fmla="*/ 0 w 7868"/>
                <a:gd name="connsiteY2" fmla="*/ 2361 h 3934"/>
                <a:gd name="connsiteX3" fmla="*/ 1967 w 7868"/>
                <a:gd name="connsiteY3" fmla="*/ 5508 h 3934"/>
                <a:gd name="connsiteX4" fmla="*/ 5114 w 7868"/>
                <a:gd name="connsiteY4" fmla="*/ 5508 h 3934"/>
                <a:gd name="connsiteX5" fmla="*/ 8262 w 7868"/>
                <a:gd name="connsiteY5" fmla="*/ 3147 h 3934"/>
                <a:gd name="connsiteX6" fmla="*/ 9049 w 7868"/>
                <a:gd name="connsiteY6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5901" y="0"/>
                  </a:moveTo>
                  <a:lnTo>
                    <a:pt x="2754" y="787"/>
                  </a:lnTo>
                  <a:lnTo>
                    <a:pt x="0" y="2361"/>
                  </a:lnTo>
                  <a:lnTo>
                    <a:pt x="1967" y="5508"/>
                  </a:lnTo>
                  <a:lnTo>
                    <a:pt x="5114" y="5508"/>
                  </a:lnTo>
                  <a:lnTo>
                    <a:pt x="8262" y="3147"/>
                  </a:lnTo>
                  <a:lnTo>
                    <a:pt x="9049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58" name="Freeform: Shape 3252">
              <a:extLst>
                <a:ext uri="{FF2B5EF4-FFF2-40B4-BE49-F238E27FC236}">
                  <a16:creationId xmlns:a16="http://schemas.microsoft.com/office/drawing/2014/main" id="{CBAF92CB-2BB2-4FB9-85F3-30EF6FE4565B}"/>
                </a:ext>
              </a:extLst>
            </p:cNvPr>
            <p:cNvSpPr/>
            <p:nvPr/>
          </p:nvSpPr>
          <p:spPr>
            <a:xfrm>
              <a:off x="6610995" y="1399356"/>
              <a:ext cx="7869" cy="3934"/>
            </a:xfrm>
            <a:custGeom>
              <a:avLst/>
              <a:gdLst>
                <a:gd name="connsiteX0" fmla="*/ 5508 w 7868"/>
                <a:gd name="connsiteY0" fmla="*/ 3147 h 0"/>
                <a:gd name="connsiteX1" fmla="*/ 8262 w 7868"/>
                <a:gd name="connsiteY1" fmla="*/ 3541 h 0"/>
                <a:gd name="connsiteX2" fmla="*/ 11409 w 7868"/>
                <a:gd name="connsiteY2" fmla="*/ 3541 h 0"/>
                <a:gd name="connsiteX3" fmla="*/ 8655 w 7868"/>
                <a:gd name="connsiteY3" fmla="*/ 787 h 0"/>
                <a:gd name="connsiteX4" fmla="*/ 5901 w 7868"/>
                <a:gd name="connsiteY4" fmla="*/ 1180 h 0"/>
                <a:gd name="connsiteX5" fmla="*/ 3147 w 7868"/>
                <a:gd name="connsiteY5" fmla="*/ 0 h 0"/>
                <a:gd name="connsiteX6" fmla="*/ 0 w 7868"/>
                <a:gd name="connsiteY6" fmla="*/ 393 h 0"/>
                <a:gd name="connsiteX7" fmla="*/ 2754 w 7868"/>
                <a:gd name="connsiteY7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>
                  <a:moveTo>
                    <a:pt x="5508" y="3147"/>
                  </a:moveTo>
                  <a:lnTo>
                    <a:pt x="8262" y="3541"/>
                  </a:lnTo>
                  <a:lnTo>
                    <a:pt x="11409" y="3541"/>
                  </a:lnTo>
                  <a:lnTo>
                    <a:pt x="8655" y="787"/>
                  </a:lnTo>
                  <a:lnTo>
                    <a:pt x="5901" y="1180"/>
                  </a:lnTo>
                  <a:lnTo>
                    <a:pt x="3147" y="0"/>
                  </a:lnTo>
                  <a:lnTo>
                    <a:pt x="0" y="393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59" name="Freeform: Shape 3253">
              <a:extLst>
                <a:ext uri="{FF2B5EF4-FFF2-40B4-BE49-F238E27FC236}">
                  <a16:creationId xmlns:a16="http://schemas.microsoft.com/office/drawing/2014/main" id="{7FA4EC42-765B-49BC-9330-95E6D454BF1F}"/>
                </a:ext>
              </a:extLst>
            </p:cNvPr>
            <p:cNvSpPr/>
            <p:nvPr/>
          </p:nvSpPr>
          <p:spPr>
            <a:xfrm>
              <a:off x="6619651" y="1392274"/>
              <a:ext cx="15737" cy="7869"/>
            </a:xfrm>
            <a:custGeom>
              <a:avLst/>
              <a:gdLst>
                <a:gd name="connsiteX0" fmla="*/ 6295 w 15737"/>
                <a:gd name="connsiteY0" fmla="*/ 6688 h 7868"/>
                <a:gd name="connsiteX1" fmla="*/ 7082 w 15737"/>
                <a:gd name="connsiteY1" fmla="*/ 9836 h 7868"/>
                <a:gd name="connsiteX2" fmla="*/ 10229 w 15737"/>
                <a:gd name="connsiteY2" fmla="*/ 7869 h 7868"/>
                <a:gd name="connsiteX3" fmla="*/ 14163 w 15737"/>
                <a:gd name="connsiteY3" fmla="*/ 6295 h 7868"/>
                <a:gd name="connsiteX4" fmla="*/ 17311 w 15737"/>
                <a:gd name="connsiteY4" fmla="*/ 4328 h 7868"/>
                <a:gd name="connsiteX5" fmla="*/ 15344 w 15737"/>
                <a:gd name="connsiteY5" fmla="*/ 1574 h 7868"/>
                <a:gd name="connsiteX6" fmla="*/ 14950 w 15737"/>
                <a:gd name="connsiteY6" fmla="*/ 0 h 7868"/>
                <a:gd name="connsiteX7" fmla="*/ 12196 w 15737"/>
                <a:gd name="connsiteY7" fmla="*/ 2754 h 7868"/>
                <a:gd name="connsiteX8" fmla="*/ 9049 w 15737"/>
                <a:gd name="connsiteY8" fmla="*/ 4328 h 7868"/>
                <a:gd name="connsiteX9" fmla="*/ 6295 w 15737"/>
                <a:gd name="connsiteY9" fmla="*/ 3147 h 7868"/>
                <a:gd name="connsiteX10" fmla="*/ 3148 w 15737"/>
                <a:gd name="connsiteY10" fmla="*/ 4328 h 7868"/>
                <a:gd name="connsiteX11" fmla="*/ 0 w 15737"/>
                <a:gd name="connsiteY11" fmla="*/ 6295 h 7868"/>
                <a:gd name="connsiteX12" fmla="*/ 3148 w 15737"/>
                <a:gd name="connsiteY12" fmla="*/ 747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7868">
                  <a:moveTo>
                    <a:pt x="6295" y="6688"/>
                  </a:moveTo>
                  <a:lnTo>
                    <a:pt x="7082" y="9836"/>
                  </a:lnTo>
                  <a:lnTo>
                    <a:pt x="10229" y="7869"/>
                  </a:lnTo>
                  <a:lnTo>
                    <a:pt x="14163" y="6295"/>
                  </a:lnTo>
                  <a:lnTo>
                    <a:pt x="17311" y="4328"/>
                  </a:lnTo>
                  <a:lnTo>
                    <a:pt x="15344" y="1574"/>
                  </a:lnTo>
                  <a:lnTo>
                    <a:pt x="14950" y="0"/>
                  </a:lnTo>
                  <a:lnTo>
                    <a:pt x="12196" y="2754"/>
                  </a:lnTo>
                  <a:lnTo>
                    <a:pt x="9049" y="4328"/>
                  </a:lnTo>
                  <a:lnTo>
                    <a:pt x="6295" y="3147"/>
                  </a:lnTo>
                  <a:lnTo>
                    <a:pt x="3148" y="4328"/>
                  </a:lnTo>
                  <a:lnTo>
                    <a:pt x="0" y="6295"/>
                  </a:lnTo>
                  <a:lnTo>
                    <a:pt x="3148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60" name="Freeform: Shape 3254">
              <a:extLst>
                <a:ext uri="{FF2B5EF4-FFF2-40B4-BE49-F238E27FC236}">
                  <a16:creationId xmlns:a16="http://schemas.microsoft.com/office/drawing/2014/main" id="{CBE7DE63-FA3A-4506-8268-612B6776F9C4}"/>
                </a:ext>
              </a:extLst>
            </p:cNvPr>
            <p:cNvSpPr/>
            <p:nvPr/>
          </p:nvSpPr>
          <p:spPr>
            <a:xfrm>
              <a:off x="7217265" y="1314769"/>
              <a:ext cx="141634" cy="78685"/>
            </a:xfrm>
            <a:custGeom>
              <a:avLst/>
              <a:gdLst>
                <a:gd name="connsiteX0" fmla="*/ 135339 w 141633"/>
                <a:gd name="connsiteY0" fmla="*/ 76718 h 78685"/>
                <a:gd name="connsiteX1" fmla="*/ 138486 w 141633"/>
                <a:gd name="connsiteY1" fmla="*/ 77505 h 78685"/>
                <a:gd name="connsiteX2" fmla="*/ 141240 w 141633"/>
                <a:gd name="connsiteY2" fmla="*/ 77898 h 78685"/>
                <a:gd name="connsiteX3" fmla="*/ 144387 w 141633"/>
                <a:gd name="connsiteY3" fmla="*/ 75538 h 78685"/>
                <a:gd name="connsiteX4" fmla="*/ 141240 w 141633"/>
                <a:gd name="connsiteY4" fmla="*/ 74358 h 78685"/>
                <a:gd name="connsiteX5" fmla="*/ 143994 w 141633"/>
                <a:gd name="connsiteY5" fmla="*/ 73964 h 78685"/>
                <a:gd name="connsiteX6" fmla="*/ 140847 w 141633"/>
                <a:gd name="connsiteY6" fmla="*/ 72390 h 78685"/>
                <a:gd name="connsiteX7" fmla="*/ 138093 w 141633"/>
                <a:gd name="connsiteY7" fmla="*/ 72390 h 78685"/>
                <a:gd name="connsiteX8" fmla="*/ 134945 w 141633"/>
                <a:gd name="connsiteY8" fmla="*/ 71604 h 78685"/>
                <a:gd name="connsiteX9" fmla="*/ 131798 w 141633"/>
                <a:gd name="connsiteY9" fmla="*/ 70817 h 78685"/>
                <a:gd name="connsiteX10" fmla="*/ 128650 w 141633"/>
                <a:gd name="connsiteY10" fmla="*/ 69636 h 78685"/>
                <a:gd name="connsiteX11" fmla="*/ 125896 w 141633"/>
                <a:gd name="connsiteY11" fmla="*/ 68456 h 78685"/>
                <a:gd name="connsiteX12" fmla="*/ 122749 w 141633"/>
                <a:gd name="connsiteY12" fmla="*/ 67669 h 78685"/>
                <a:gd name="connsiteX13" fmla="*/ 119995 w 141633"/>
                <a:gd name="connsiteY13" fmla="*/ 66096 h 78685"/>
                <a:gd name="connsiteX14" fmla="*/ 117241 w 141633"/>
                <a:gd name="connsiteY14" fmla="*/ 64522 h 78685"/>
                <a:gd name="connsiteX15" fmla="*/ 114094 w 141633"/>
                <a:gd name="connsiteY15" fmla="*/ 63342 h 78685"/>
                <a:gd name="connsiteX16" fmla="*/ 110946 w 141633"/>
                <a:gd name="connsiteY16" fmla="*/ 62161 h 78685"/>
                <a:gd name="connsiteX17" fmla="*/ 108192 w 141633"/>
                <a:gd name="connsiteY17" fmla="*/ 60588 h 78685"/>
                <a:gd name="connsiteX18" fmla="*/ 105045 w 141633"/>
                <a:gd name="connsiteY18" fmla="*/ 59014 h 78685"/>
                <a:gd name="connsiteX19" fmla="*/ 102291 w 141633"/>
                <a:gd name="connsiteY19" fmla="*/ 55867 h 78685"/>
                <a:gd name="connsiteX20" fmla="*/ 99537 w 141633"/>
                <a:gd name="connsiteY20" fmla="*/ 54293 h 78685"/>
                <a:gd name="connsiteX21" fmla="*/ 96389 w 141633"/>
                <a:gd name="connsiteY21" fmla="*/ 51932 h 78685"/>
                <a:gd name="connsiteX22" fmla="*/ 93242 w 141633"/>
                <a:gd name="connsiteY22" fmla="*/ 50359 h 78685"/>
                <a:gd name="connsiteX23" fmla="*/ 90488 w 141633"/>
                <a:gd name="connsiteY23" fmla="*/ 47605 h 78685"/>
                <a:gd name="connsiteX24" fmla="*/ 87340 w 141633"/>
                <a:gd name="connsiteY24" fmla="*/ 44851 h 78685"/>
                <a:gd name="connsiteX25" fmla="*/ 85373 w 141633"/>
                <a:gd name="connsiteY25" fmla="*/ 42097 h 78685"/>
                <a:gd name="connsiteX26" fmla="*/ 82226 w 141633"/>
                <a:gd name="connsiteY26" fmla="*/ 39343 h 78685"/>
                <a:gd name="connsiteX27" fmla="*/ 81439 w 141633"/>
                <a:gd name="connsiteY27" fmla="*/ 36195 h 78685"/>
                <a:gd name="connsiteX28" fmla="*/ 83013 w 141633"/>
                <a:gd name="connsiteY28" fmla="*/ 33048 h 78685"/>
                <a:gd name="connsiteX29" fmla="*/ 79866 w 141633"/>
                <a:gd name="connsiteY29" fmla="*/ 31474 h 78685"/>
                <a:gd name="connsiteX30" fmla="*/ 79472 w 141633"/>
                <a:gd name="connsiteY30" fmla="*/ 28720 h 78685"/>
                <a:gd name="connsiteX31" fmla="*/ 76718 w 141633"/>
                <a:gd name="connsiteY31" fmla="*/ 27146 h 78685"/>
                <a:gd name="connsiteX32" fmla="*/ 73964 w 141633"/>
                <a:gd name="connsiteY32" fmla="*/ 26360 h 78685"/>
                <a:gd name="connsiteX33" fmla="*/ 76718 w 141633"/>
                <a:gd name="connsiteY33" fmla="*/ 26753 h 78685"/>
                <a:gd name="connsiteX34" fmla="*/ 79472 w 141633"/>
                <a:gd name="connsiteY34" fmla="*/ 25966 h 78685"/>
                <a:gd name="connsiteX35" fmla="*/ 76718 w 141633"/>
                <a:gd name="connsiteY35" fmla="*/ 23606 h 78685"/>
                <a:gd name="connsiteX36" fmla="*/ 73964 w 141633"/>
                <a:gd name="connsiteY36" fmla="*/ 23212 h 78685"/>
                <a:gd name="connsiteX37" fmla="*/ 77111 w 141633"/>
                <a:gd name="connsiteY37" fmla="*/ 23212 h 78685"/>
                <a:gd name="connsiteX38" fmla="*/ 80259 w 141633"/>
                <a:gd name="connsiteY38" fmla="*/ 24392 h 78685"/>
                <a:gd name="connsiteX39" fmla="*/ 81439 w 141633"/>
                <a:gd name="connsiteY39" fmla="*/ 21638 h 78685"/>
                <a:gd name="connsiteX40" fmla="*/ 78292 w 141633"/>
                <a:gd name="connsiteY40" fmla="*/ 20065 h 78685"/>
                <a:gd name="connsiteX41" fmla="*/ 81439 w 141633"/>
                <a:gd name="connsiteY41" fmla="*/ 20458 h 78685"/>
                <a:gd name="connsiteX42" fmla="*/ 84587 w 141633"/>
                <a:gd name="connsiteY42" fmla="*/ 20065 h 78685"/>
                <a:gd name="connsiteX43" fmla="*/ 81833 w 141633"/>
                <a:gd name="connsiteY43" fmla="*/ 18491 h 78685"/>
                <a:gd name="connsiteX44" fmla="*/ 78685 w 141633"/>
                <a:gd name="connsiteY44" fmla="*/ 18098 h 78685"/>
                <a:gd name="connsiteX45" fmla="*/ 75931 w 141633"/>
                <a:gd name="connsiteY45" fmla="*/ 16917 h 78685"/>
                <a:gd name="connsiteX46" fmla="*/ 79079 w 141633"/>
                <a:gd name="connsiteY46" fmla="*/ 18098 h 78685"/>
                <a:gd name="connsiteX47" fmla="*/ 82226 w 141633"/>
                <a:gd name="connsiteY47" fmla="*/ 16917 h 78685"/>
                <a:gd name="connsiteX48" fmla="*/ 85373 w 141633"/>
                <a:gd name="connsiteY48" fmla="*/ 18098 h 78685"/>
                <a:gd name="connsiteX49" fmla="*/ 88128 w 141633"/>
                <a:gd name="connsiteY49" fmla="*/ 17704 h 78685"/>
                <a:gd name="connsiteX50" fmla="*/ 89308 w 141633"/>
                <a:gd name="connsiteY50" fmla="*/ 14950 h 78685"/>
                <a:gd name="connsiteX51" fmla="*/ 86160 w 141633"/>
                <a:gd name="connsiteY51" fmla="*/ 12590 h 78685"/>
                <a:gd name="connsiteX52" fmla="*/ 83013 w 141633"/>
                <a:gd name="connsiteY52" fmla="*/ 13377 h 78685"/>
                <a:gd name="connsiteX53" fmla="*/ 79866 w 141633"/>
                <a:gd name="connsiteY53" fmla="*/ 12983 h 78685"/>
                <a:gd name="connsiteX54" fmla="*/ 76718 w 141633"/>
                <a:gd name="connsiteY54" fmla="*/ 12590 h 78685"/>
                <a:gd name="connsiteX55" fmla="*/ 79866 w 141633"/>
                <a:gd name="connsiteY55" fmla="*/ 12590 h 78685"/>
                <a:gd name="connsiteX56" fmla="*/ 83013 w 141633"/>
                <a:gd name="connsiteY56" fmla="*/ 11803 h 78685"/>
                <a:gd name="connsiteX57" fmla="*/ 86160 w 141633"/>
                <a:gd name="connsiteY57" fmla="*/ 11803 h 78685"/>
                <a:gd name="connsiteX58" fmla="*/ 88914 w 141633"/>
                <a:gd name="connsiteY58" fmla="*/ 9836 h 78685"/>
                <a:gd name="connsiteX59" fmla="*/ 79472 w 141633"/>
                <a:gd name="connsiteY59" fmla="*/ 9836 h 78685"/>
                <a:gd name="connsiteX60" fmla="*/ 82620 w 141633"/>
                <a:gd name="connsiteY60" fmla="*/ 9442 h 78685"/>
                <a:gd name="connsiteX61" fmla="*/ 85373 w 141633"/>
                <a:gd name="connsiteY61" fmla="*/ 9049 h 78685"/>
                <a:gd name="connsiteX62" fmla="*/ 88914 w 141633"/>
                <a:gd name="connsiteY62" fmla="*/ 9049 h 78685"/>
                <a:gd name="connsiteX63" fmla="*/ 92062 w 141633"/>
                <a:gd name="connsiteY63" fmla="*/ 7082 h 78685"/>
                <a:gd name="connsiteX64" fmla="*/ 88914 w 141633"/>
                <a:gd name="connsiteY64" fmla="*/ 5508 h 78685"/>
                <a:gd name="connsiteX65" fmla="*/ 86160 w 141633"/>
                <a:gd name="connsiteY65" fmla="*/ 5115 h 78685"/>
                <a:gd name="connsiteX66" fmla="*/ 82620 w 141633"/>
                <a:gd name="connsiteY66" fmla="*/ 4721 h 78685"/>
                <a:gd name="connsiteX67" fmla="*/ 79866 w 141633"/>
                <a:gd name="connsiteY67" fmla="*/ 4721 h 78685"/>
                <a:gd name="connsiteX68" fmla="*/ 76718 w 141633"/>
                <a:gd name="connsiteY68" fmla="*/ 3934 h 78685"/>
                <a:gd name="connsiteX69" fmla="*/ 73571 w 141633"/>
                <a:gd name="connsiteY69" fmla="*/ 2754 h 78685"/>
                <a:gd name="connsiteX70" fmla="*/ 70423 w 141633"/>
                <a:gd name="connsiteY70" fmla="*/ 2754 h 78685"/>
                <a:gd name="connsiteX71" fmla="*/ 67276 w 141633"/>
                <a:gd name="connsiteY71" fmla="*/ 3147 h 78685"/>
                <a:gd name="connsiteX72" fmla="*/ 64129 w 141633"/>
                <a:gd name="connsiteY72" fmla="*/ 2754 h 78685"/>
                <a:gd name="connsiteX73" fmla="*/ 60981 w 141633"/>
                <a:gd name="connsiteY73" fmla="*/ 1574 h 78685"/>
                <a:gd name="connsiteX74" fmla="*/ 58227 w 141633"/>
                <a:gd name="connsiteY74" fmla="*/ 787 h 78685"/>
                <a:gd name="connsiteX75" fmla="*/ 55080 w 141633"/>
                <a:gd name="connsiteY75" fmla="*/ 0 h 78685"/>
                <a:gd name="connsiteX76" fmla="*/ 52326 w 141633"/>
                <a:gd name="connsiteY76" fmla="*/ 393 h 78685"/>
                <a:gd name="connsiteX77" fmla="*/ 49178 w 141633"/>
                <a:gd name="connsiteY77" fmla="*/ 1180 h 78685"/>
                <a:gd name="connsiteX78" fmla="*/ 46031 w 141633"/>
                <a:gd name="connsiteY78" fmla="*/ 3147 h 78685"/>
                <a:gd name="connsiteX79" fmla="*/ 42884 w 141633"/>
                <a:gd name="connsiteY79" fmla="*/ 3934 h 78685"/>
                <a:gd name="connsiteX80" fmla="*/ 39736 w 141633"/>
                <a:gd name="connsiteY80" fmla="*/ 4328 h 78685"/>
                <a:gd name="connsiteX81" fmla="*/ 36982 w 141633"/>
                <a:gd name="connsiteY81" fmla="*/ 3934 h 78685"/>
                <a:gd name="connsiteX82" fmla="*/ 33835 w 141633"/>
                <a:gd name="connsiteY82" fmla="*/ 3541 h 78685"/>
                <a:gd name="connsiteX83" fmla="*/ 30687 w 141633"/>
                <a:gd name="connsiteY83" fmla="*/ 4328 h 78685"/>
                <a:gd name="connsiteX84" fmla="*/ 27540 w 141633"/>
                <a:gd name="connsiteY84" fmla="*/ 5115 h 78685"/>
                <a:gd name="connsiteX85" fmla="*/ 24392 w 141633"/>
                <a:gd name="connsiteY85" fmla="*/ 5901 h 78685"/>
                <a:gd name="connsiteX86" fmla="*/ 23212 w 141633"/>
                <a:gd name="connsiteY86" fmla="*/ 6688 h 78685"/>
                <a:gd name="connsiteX87" fmla="*/ 22819 w 141633"/>
                <a:gd name="connsiteY87" fmla="*/ 9049 h 78685"/>
                <a:gd name="connsiteX88" fmla="*/ 20065 w 141633"/>
                <a:gd name="connsiteY88" fmla="*/ 14163 h 78685"/>
                <a:gd name="connsiteX89" fmla="*/ 19278 w 141633"/>
                <a:gd name="connsiteY89" fmla="*/ 14163 h 78685"/>
                <a:gd name="connsiteX90" fmla="*/ 16524 w 141633"/>
                <a:gd name="connsiteY90" fmla="*/ 14950 h 78685"/>
                <a:gd name="connsiteX91" fmla="*/ 13377 w 141633"/>
                <a:gd name="connsiteY91" fmla="*/ 16524 h 78685"/>
                <a:gd name="connsiteX92" fmla="*/ 10622 w 141633"/>
                <a:gd name="connsiteY92" fmla="*/ 19278 h 78685"/>
                <a:gd name="connsiteX93" fmla="*/ 13377 w 141633"/>
                <a:gd name="connsiteY93" fmla="*/ 20065 h 78685"/>
                <a:gd name="connsiteX94" fmla="*/ 16524 w 141633"/>
                <a:gd name="connsiteY94" fmla="*/ 20852 h 78685"/>
                <a:gd name="connsiteX95" fmla="*/ 20852 w 141633"/>
                <a:gd name="connsiteY95" fmla="*/ 22819 h 78685"/>
                <a:gd name="connsiteX96" fmla="*/ 19671 w 141633"/>
                <a:gd name="connsiteY96" fmla="*/ 23999 h 78685"/>
                <a:gd name="connsiteX97" fmla="*/ 21638 w 141633"/>
                <a:gd name="connsiteY97" fmla="*/ 23212 h 78685"/>
                <a:gd name="connsiteX98" fmla="*/ 23606 w 141633"/>
                <a:gd name="connsiteY98" fmla="*/ 24392 h 78685"/>
                <a:gd name="connsiteX99" fmla="*/ 22425 w 141633"/>
                <a:gd name="connsiteY99" fmla="*/ 25179 h 78685"/>
                <a:gd name="connsiteX100" fmla="*/ 19278 w 141633"/>
                <a:gd name="connsiteY100" fmla="*/ 25966 h 78685"/>
                <a:gd name="connsiteX101" fmla="*/ 21245 w 141633"/>
                <a:gd name="connsiteY101" fmla="*/ 29114 h 78685"/>
                <a:gd name="connsiteX102" fmla="*/ 23999 w 141633"/>
                <a:gd name="connsiteY102" fmla="*/ 29900 h 78685"/>
                <a:gd name="connsiteX103" fmla="*/ 21245 w 141633"/>
                <a:gd name="connsiteY103" fmla="*/ 31081 h 78685"/>
                <a:gd name="connsiteX104" fmla="*/ 18098 w 141633"/>
                <a:gd name="connsiteY104" fmla="*/ 32261 h 78685"/>
                <a:gd name="connsiteX105" fmla="*/ 18885 w 141633"/>
                <a:gd name="connsiteY105" fmla="*/ 35015 h 78685"/>
                <a:gd name="connsiteX106" fmla="*/ 15737 w 141633"/>
                <a:gd name="connsiteY106" fmla="*/ 36982 h 78685"/>
                <a:gd name="connsiteX107" fmla="*/ 12983 w 141633"/>
                <a:gd name="connsiteY107" fmla="*/ 36195 h 78685"/>
                <a:gd name="connsiteX108" fmla="*/ 10229 w 141633"/>
                <a:gd name="connsiteY108" fmla="*/ 36195 h 78685"/>
                <a:gd name="connsiteX109" fmla="*/ 7082 w 141633"/>
                <a:gd name="connsiteY109" fmla="*/ 35015 h 78685"/>
                <a:gd name="connsiteX110" fmla="*/ 4328 w 141633"/>
                <a:gd name="connsiteY110" fmla="*/ 35802 h 78685"/>
                <a:gd name="connsiteX111" fmla="*/ 1180 w 141633"/>
                <a:gd name="connsiteY111" fmla="*/ 38162 h 78685"/>
                <a:gd name="connsiteX112" fmla="*/ 0 w 141633"/>
                <a:gd name="connsiteY112" fmla="*/ 40916 h 78685"/>
                <a:gd name="connsiteX113" fmla="*/ 393 w 141633"/>
                <a:gd name="connsiteY113" fmla="*/ 44064 h 78685"/>
                <a:gd name="connsiteX114" fmla="*/ 1574 w 141633"/>
                <a:gd name="connsiteY114" fmla="*/ 46818 h 78685"/>
                <a:gd name="connsiteX115" fmla="*/ 4721 w 141633"/>
                <a:gd name="connsiteY115" fmla="*/ 49178 h 78685"/>
                <a:gd name="connsiteX116" fmla="*/ 7475 w 141633"/>
                <a:gd name="connsiteY116" fmla="*/ 51932 h 78685"/>
                <a:gd name="connsiteX117" fmla="*/ 10229 w 141633"/>
                <a:gd name="connsiteY117" fmla="*/ 52719 h 78685"/>
                <a:gd name="connsiteX118" fmla="*/ 13377 w 141633"/>
                <a:gd name="connsiteY118" fmla="*/ 54293 h 78685"/>
                <a:gd name="connsiteX119" fmla="*/ 16130 w 141633"/>
                <a:gd name="connsiteY119" fmla="*/ 53899 h 78685"/>
                <a:gd name="connsiteX120" fmla="*/ 19278 w 141633"/>
                <a:gd name="connsiteY120" fmla="*/ 53506 h 78685"/>
                <a:gd name="connsiteX121" fmla="*/ 22032 w 141633"/>
                <a:gd name="connsiteY121" fmla="*/ 53506 h 78685"/>
                <a:gd name="connsiteX122" fmla="*/ 19278 w 141633"/>
                <a:gd name="connsiteY122" fmla="*/ 51932 h 78685"/>
                <a:gd name="connsiteX123" fmla="*/ 22032 w 141633"/>
                <a:gd name="connsiteY123" fmla="*/ 52326 h 78685"/>
                <a:gd name="connsiteX124" fmla="*/ 25179 w 141633"/>
                <a:gd name="connsiteY124" fmla="*/ 51539 h 78685"/>
                <a:gd name="connsiteX125" fmla="*/ 28327 w 141633"/>
                <a:gd name="connsiteY125" fmla="*/ 51539 h 78685"/>
                <a:gd name="connsiteX126" fmla="*/ 31081 w 141633"/>
                <a:gd name="connsiteY126" fmla="*/ 53899 h 78685"/>
                <a:gd name="connsiteX127" fmla="*/ 33835 w 141633"/>
                <a:gd name="connsiteY127" fmla="*/ 53899 h 78685"/>
                <a:gd name="connsiteX128" fmla="*/ 36982 w 141633"/>
                <a:gd name="connsiteY128" fmla="*/ 55867 h 78685"/>
                <a:gd name="connsiteX129" fmla="*/ 38556 w 141633"/>
                <a:gd name="connsiteY129" fmla="*/ 53113 h 78685"/>
                <a:gd name="connsiteX130" fmla="*/ 41310 w 141633"/>
                <a:gd name="connsiteY130" fmla="*/ 55473 h 78685"/>
                <a:gd name="connsiteX131" fmla="*/ 42490 w 141633"/>
                <a:gd name="connsiteY131" fmla="*/ 52326 h 78685"/>
                <a:gd name="connsiteX132" fmla="*/ 45244 w 141633"/>
                <a:gd name="connsiteY132" fmla="*/ 52326 h 78685"/>
                <a:gd name="connsiteX133" fmla="*/ 44851 w 141633"/>
                <a:gd name="connsiteY133" fmla="*/ 55473 h 78685"/>
                <a:gd name="connsiteX134" fmla="*/ 47998 w 141633"/>
                <a:gd name="connsiteY134" fmla="*/ 58227 h 78685"/>
                <a:gd name="connsiteX135" fmla="*/ 51145 w 141633"/>
                <a:gd name="connsiteY135" fmla="*/ 58621 h 78685"/>
                <a:gd name="connsiteX136" fmla="*/ 53506 w 141633"/>
                <a:gd name="connsiteY136" fmla="*/ 55867 h 78685"/>
                <a:gd name="connsiteX137" fmla="*/ 56654 w 141633"/>
                <a:gd name="connsiteY137" fmla="*/ 55473 h 78685"/>
                <a:gd name="connsiteX138" fmla="*/ 53506 w 141633"/>
                <a:gd name="connsiteY138" fmla="*/ 57440 h 78685"/>
                <a:gd name="connsiteX139" fmla="*/ 50752 w 141633"/>
                <a:gd name="connsiteY139" fmla="*/ 60194 h 78685"/>
                <a:gd name="connsiteX140" fmla="*/ 53899 w 141633"/>
                <a:gd name="connsiteY140" fmla="*/ 61375 h 78685"/>
                <a:gd name="connsiteX141" fmla="*/ 57047 w 141633"/>
                <a:gd name="connsiteY141" fmla="*/ 62555 h 78685"/>
                <a:gd name="connsiteX142" fmla="*/ 60194 w 141633"/>
                <a:gd name="connsiteY142" fmla="*/ 61768 h 78685"/>
                <a:gd name="connsiteX143" fmla="*/ 62948 w 141633"/>
                <a:gd name="connsiteY143" fmla="*/ 62948 h 78685"/>
                <a:gd name="connsiteX144" fmla="*/ 66096 w 141633"/>
                <a:gd name="connsiteY144" fmla="*/ 64522 h 78685"/>
                <a:gd name="connsiteX145" fmla="*/ 62948 w 141633"/>
                <a:gd name="connsiteY145" fmla="*/ 63342 h 78685"/>
                <a:gd name="connsiteX146" fmla="*/ 59801 w 141633"/>
                <a:gd name="connsiteY146" fmla="*/ 63735 h 78685"/>
                <a:gd name="connsiteX147" fmla="*/ 62948 w 141633"/>
                <a:gd name="connsiteY147" fmla="*/ 65702 h 78685"/>
                <a:gd name="connsiteX148" fmla="*/ 60194 w 141633"/>
                <a:gd name="connsiteY148" fmla="*/ 64915 h 78685"/>
                <a:gd name="connsiteX149" fmla="*/ 57047 w 141633"/>
                <a:gd name="connsiteY149" fmla="*/ 64915 h 78685"/>
                <a:gd name="connsiteX150" fmla="*/ 54293 w 141633"/>
                <a:gd name="connsiteY150" fmla="*/ 65702 h 78685"/>
                <a:gd name="connsiteX151" fmla="*/ 57047 w 141633"/>
                <a:gd name="connsiteY151" fmla="*/ 66489 h 78685"/>
                <a:gd name="connsiteX152" fmla="*/ 60194 w 141633"/>
                <a:gd name="connsiteY152" fmla="*/ 68850 h 78685"/>
                <a:gd name="connsiteX153" fmla="*/ 59801 w 141633"/>
                <a:gd name="connsiteY153" fmla="*/ 71604 h 78685"/>
                <a:gd name="connsiteX154" fmla="*/ 56654 w 141633"/>
                <a:gd name="connsiteY154" fmla="*/ 70423 h 78685"/>
                <a:gd name="connsiteX155" fmla="*/ 53899 w 141633"/>
                <a:gd name="connsiteY155" fmla="*/ 71604 h 78685"/>
                <a:gd name="connsiteX156" fmla="*/ 57047 w 141633"/>
                <a:gd name="connsiteY156" fmla="*/ 71604 h 78685"/>
                <a:gd name="connsiteX157" fmla="*/ 60194 w 141633"/>
                <a:gd name="connsiteY157" fmla="*/ 72390 h 78685"/>
                <a:gd name="connsiteX158" fmla="*/ 62948 w 141633"/>
                <a:gd name="connsiteY158" fmla="*/ 72784 h 78685"/>
                <a:gd name="connsiteX159" fmla="*/ 66096 w 141633"/>
                <a:gd name="connsiteY159" fmla="*/ 73177 h 78685"/>
                <a:gd name="connsiteX160" fmla="*/ 69243 w 141633"/>
                <a:gd name="connsiteY160" fmla="*/ 74358 h 78685"/>
                <a:gd name="connsiteX161" fmla="*/ 71997 w 141633"/>
                <a:gd name="connsiteY161" fmla="*/ 74751 h 78685"/>
                <a:gd name="connsiteX162" fmla="*/ 75144 w 141633"/>
                <a:gd name="connsiteY162" fmla="*/ 73964 h 78685"/>
                <a:gd name="connsiteX163" fmla="*/ 78292 w 141633"/>
                <a:gd name="connsiteY163" fmla="*/ 75144 h 78685"/>
                <a:gd name="connsiteX164" fmla="*/ 81046 w 141633"/>
                <a:gd name="connsiteY164" fmla="*/ 76325 h 78685"/>
                <a:gd name="connsiteX165" fmla="*/ 83800 w 141633"/>
                <a:gd name="connsiteY165" fmla="*/ 76325 h 78685"/>
                <a:gd name="connsiteX166" fmla="*/ 80652 w 141633"/>
                <a:gd name="connsiteY166" fmla="*/ 73571 h 78685"/>
                <a:gd name="connsiteX167" fmla="*/ 83406 w 141633"/>
                <a:gd name="connsiteY167" fmla="*/ 75538 h 78685"/>
                <a:gd name="connsiteX168" fmla="*/ 86160 w 141633"/>
                <a:gd name="connsiteY168" fmla="*/ 76718 h 78685"/>
                <a:gd name="connsiteX169" fmla="*/ 89308 w 141633"/>
                <a:gd name="connsiteY169" fmla="*/ 77505 h 78685"/>
                <a:gd name="connsiteX170" fmla="*/ 92455 w 141633"/>
                <a:gd name="connsiteY170" fmla="*/ 78685 h 78685"/>
                <a:gd name="connsiteX171" fmla="*/ 95603 w 141633"/>
                <a:gd name="connsiteY171" fmla="*/ 77112 h 78685"/>
                <a:gd name="connsiteX172" fmla="*/ 97570 w 141633"/>
                <a:gd name="connsiteY172" fmla="*/ 74358 h 78685"/>
                <a:gd name="connsiteX173" fmla="*/ 100324 w 141633"/>
                <a:gd name="connsiteY173" fmla="*/ 75538 h 78685"/>
                <a:gd name="connsiteX174" fmla="*/ 103471 w 141633"/>
                <a:gd name="connsiteY174" fmla="*/ 74751 h 78685"/>
                <a:gd name="connsiteX175" fmla="*/ 105438 w 141633"/>
                <a:gd name="connsiteY175" fmla="*/ 77505 h 78685"/>
                <a:gd name="connsiteX176" fmla="*/ 108192 w 141633"/>
                <a:gd name="connsiteY176" fmla="*/ 77898 h 78685"/>
                <a:gd name="connsiteX177" fmla="*/ 111340 w 141633"/>
                <a:gd name="connsiteY177" fmla="*/ 77505 h 78685"/>
                <a:gd name="connsiteX178" fmla="*/ 108192 w 141633"/>
                <a:gd name="connsiteY178" fmla="*/ 75931 h 78685"/>
                <a:gd name="connsiteX179" fmla="*/ 111340 w 141633"/>
                <a:gd name="connsiteY179" fmla="*/ 76718 h 78685"/>
                <a:gd name="connsiteX180" fmla="*/ 114094 w 141633"/>
                <a:gd name="connsiteY180" fmla="*/ 76718 h 78685"/>
                <a:gd name="connsiteX181" fmla="*/ 117635 w 141633"/>
                <a:gd name="connsiteY181" fmla="*/ 77505 h 78685"/>
                <a:gd name="connsiteX182" fmla="*/ 120388 w 141633"/>
                <a:gd name="connsiteY182" fmla="*/ 78685 h 78685"/>
                <a:gd name="connsiteX183" fmla="*/ 123143 w 141633"/>
                <a:gd name="connsiteY183" fmla="*/ 79866 h 78685"/>
                <a:gd name="connsiteX184" fmla="*/ 126290 w 141633"/>
                <a:gd name="connsiteY184" fmla="*/ 78685 h 78685"/>
                <a:gd name="connsiteX185" fmla="*/ 123143 w 141633"/>
                <a:gd name="connsiteY185" fmla="*/ 77112 h 78685"/>
                <a:gd name="connsiteX186" fmla="*/ 119602 w 141633"/>
                <a:gd name="connsiteY186" fmla="*/ 77112 h 78685"/>
                <a:gd name="connsiteX187" fmla="*/ 116847 w 141633"/>
                <a:gd name="connsiteY187" fmla="*/ 74751 h 78685"/>
                <a:gd name="connsiteX188" fmla="*/ 119602 w 141633"/>
                <a:gd name="connsiteY188" fmla="*/ 75144 h 78685"/>
                <a:gd name="connsiteX189" fmla="*/ 122749 w 141633"/>
                <a:gd name="connsiteY189" fmla="*/ 76718 h 78685"/>
                <a:gd name="connsiteX190" fmla="*/ 126290 w 141633"/>
                <a:gd name="connsiteY190" fmla="*/ 76718 h 78685"/>
                <a:gd name="connsiteX191" fmla="*/ 129044 w 141633"/>
                <a:gd name="connsiteY191" fmla="*/ 77505 h 78685"/>
                <a:gd name="connsiteX192" fmla="*/ 132191 w 141633"/>
                <a:gd name="connsiteY192" fmla="*/ 78292 h 78685"/>
                <a:gd name="connsiteX193" fmla="*/ 135339 w 141633"/>
                <a:gd name="connsiteY193" fmla="*/ 78685 h 78685"/>
                <a:gd name="connsiteX194" fmla="*/ 138486 w 141633"/>
                <a:gd name="connsiteY194" fmla="*/ 79079 h 78685"/>
                <a:gd name="connsiteX195" fmla="*/ 141634 w 141633"/>
                <a:gd name="connsiteY195" fmla="*/ 79079 h 78685"/>
                <a:gd name="connsiteX196" fmla="*/ 138880 w 141633"/>
                <a:gd name="connsiteY196" fmla="*/ 78292 h 78685"/>
                <a:gd name="connsiteX197" fmla="*/ 135732 w 141633"/>
                <a:gd name="connsiteY197" fmla="*/ 77505 h 78685"/>
                <a:gd name="connsiteX198" fmla="*/ 132978 w 141633"/>
                <a:gd name="connsiteY198" fmla="*/ 77505 h 78685"/>
                <a:gd name="connsiteX199" fmla="*/ 129437 w 141633"/>
                <a:gd name="connsiteY199" fmla="*/ 75538 h 78685"/>
                <a:gd name="connsiteX200" fmla="*/ 132585 w 141633"/>
                <a:gd name="connsiteY200" fmla="*/ 76718 h 7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</a:cxnLst>
              <a:rect l="l" t="t" r="r" b="b"/>
              <a:pathLst>
                <a:path w="141633" h="78685">
                  <a:moveTo>
                    <a:pt x="135339" y="76718"/>
                  </a:moveTo>
                  <a:lnTo>
                    <a:pt x="138486" y="77505"/>
                  </a:lnTo>
                  <a:lnTo>
                    <a:pt x="141240" y="77898"/>
                  </a:lnTo>
                  <a:lnTo>
                    <a:pt x="144387" y="75538"/>
                  </a:lnTo>
                  <a:lnTo>
                    <a:pt x="141240" y="74358"/>
                  </a:lnTo>
                  <a:lnTo>
                    <a:pt x="143994" y="73964"/>
                  </a:lnTo>
                  <a:lnTo>
                    <a:pt x="140847" y="72390"/>
                  </a:lnTo>
                  <a:lnTo>
                    <a:pt x="138093" y="72390"/>
                  </a:lnTo>
                  <a:lnTo>
                    <a:pt x="134945" y="71604"/>
                  </a:lnTo>
                  <a:lnTo>
                    <a:pt x="131798" y="70817"/>
                  </a:lnTo>
                  <a:lnTo>
                    <a:pt x="128650" y="69636"/>
                  </a:lnTo>
                  <a:lnTo>
                    <a:pt x="125896" y="68456"/>
                  </a:lnTo>
                  <a:lnTo>
                    <a:pt x="122749" y="67669"/>
                  </a:lnTo>
                  <a:lnTo>
                    <a:pt x="119995" y="66096"/>
                  </a:lnTo>
                  <a:lnTo>
                    <a:pt x="117241" y="64522"/>
                  </a:lnTo>
                  <a:lnTo>
                    <a:pt x="114094" y="63342"/>
                  </a:lnTo>
                  <a:lnTo>
                    <a:pt x="110946" y="62161"/>
                  </a:lnTo>
                  <a:lnTo>
                    <a:pt x="108192" y="60588"/>
                  </a:lnTo>
                  <a:lnTo>
                    <a:pt x="105045" y="59014"/>
                  </a:lnTo>
                  <a:lnTo>
                    <a:pt x="102291" y="55867"/>
                  </a:lnTo>
                  <a:lnTo>
                    <a:pt x="99537" y="54293"/>
                  </a:lnTo>
                  <a:lnTo>
                    <a:pt x="96389" y="51932"/>
                  </a:lnTo>
                  <a:lnTo>
                    <a:pt x="93242" y="50359"/>
                  </a:lnTo>
                  <a:lnTo>
                    <a:pt x="90488" y="47605"/>
                  </a:lnTo>
                  <a:lnTo>
                    <a:pt x="87340" y="44851"/>
                  </a:lnTo>
                  <a:lnTo>
                    <a:pt x="85373" y="42097"/>
                  </a:lnTo>
                  <a:lnTo>
                    <a:pt x="82226" y="39343"/>
                  </a:lnTo>
                  <a:lnTo>
                    <a:pt x="81439" y="36195"/>
                  </a:lnTo>
                  <a:lnTo>
                    <a:pt x="83013" y="33048"/>
                  </a:lnTo>
                  <a:lnTo>
                    <a:pt x="79866" y="31474"/>
                  </a:lnTo>
                  <a:lnTo>
                    <a:pt x="79472" y="28720"/>
                  </a:lnTo>
                  <a:lnTo>
                    <a:pt x="76718" y="27146"/>
                  </a:lnTo>
                  <a:lnTo>
                    <a:pt x="73964" y="26360"/>
                  </a:lnTo>
                  <a:lnTo>
                    <a:pt x="76718" y="26753"/>
                  </a:lnTo>
                  <a:lnTo>
                    <a:pt x="79472" y="25966"/>
                  </a:lnTo>
                  <a:lnTo>
                    <a:pt x="76718" y="23606"/>
                  </a:lnTo>
                  <a:lnTo>
                    <a:pt x="73964" y="23212"/>
                  </a:lnTo>
                  <a:lnTo>
                    <a:pt x="77111" y="23212"/>
                  </a:lnTo>
                  <a:lnTo>
                    <a:pt x="80259" y="24392"/>
                  </a:lnTo>
                  <a:lnTo>
                    <a:pt x="81439" y="21638"/>
                  </a:lnTo>
                  <a:lnTo>
                    <a:pt x="78292" y="20065"/>
                  </a:lnTo>
                  <a:lnTo>
                    <a:pt x="81439" y="20458"/>
                  </a:lnTo>
                  <a:lnTo>
                    <a:pt x="84587" y="20065"/>
                  </a:lnTo>
                  <a:lnTo>
                    <a:pt x="81833" y="18491"/>
                  </a:lnTo>
                  <a:lnTo>
                    <a:pt x="78685" y="18098"/>
                  </a:lnTo>
                  <a:lnTo>
                    <a:pt x="75931" y="16917"/>
                  </a:lnTo>
                  <a:lnTo>
                    <a:pt x="79079" y="18098"/>
                  </a:lnTo>
                  <a:lnTo>
                    <a:pt x="82226" y="16917"/>
                  </a:lnTo>
                  <a:lnTo>
                    <a:pt x="85373" y="18098"/>
                  </a:lnTo>
                  <a:lnTo>
                    <a:pt x="88128" y="17704"/>
                  </a:lnTo>
                  <a:lnTo>
                    <a:pt x="89308" y="14950"/>
                  </a:lnTo>
                  <a:lnTo>
                    <a:pt x="86160" y="12590"/>
                  </a:lnTo>
                  <a:lnTo>
                    <a:pt x="83013" y="13377"/>
                  </a:lnTo>
                  <a:lnTo>
                    <a:pt x="79866" y="12983"/>
                  </a:lnTo>
                  <a:lnTo>
                    <a:pt x="76718" y="12590"/>
                  </a:lnTo>
                  <a:lnTo>
                    <a:pt x="79866" y="12590"/>
                  </a:lnTo>
                  <a:lnTo>
                    <a:pt x="83013" y="11803"/>
                  </a:lnTo>
                  <a:lnTo>
                    <a:pt x="86160" y="11803"/>
                  </a:lnTo>
                  <a:lnTo>
                    <a:pt x="88914" y="9836"/>
                  </a:lnTo>
                  <a:lnTo>
                    <a:pt x="79472" y="9836"/>
                  </a:lnTo>
                  <a:lnTo>
                    <a:pt x="82620" y="9442"/>
                  </a:lnTo>
                  <a:lnTo>
                    <a:pt x="85373" y="9049"/>
                  </a:lnTo>
                  <a:lnTo>
                    <a:pt x="88914" y="9049"/>
                  </a:lnTo>
                  <a:lnTo>
                    <a:pt x="92062" y="7082"/>
                  </a:lnTo>
                  <a:lnTo>
                    <a:pt x="88914" y="5508"/>
                  </a:lnTo>
                  <a:lnTo>
                    <a:pt x="86160" y="5115"/>
                  </a:lnTo>
                  <a:lnTo>
                    <a:pt x="82620" y="4721"/>
                  </a:lnTo>
                  <a:lnTo>
                    <a:pt x="79866" y="4721"/>
                  </a:lnTo>
                  <a:lnTo>
                    <a:pt x="76718" y="3934"/>
                  </a:lnTo>
                  <a:lnTo>
                    <a:pt x="73571" y="2754"/>
                  </a:lnTo>
                  <a:lnTo>
                    <a:pt x="70423" y="2754"/>
                  </a:lnTo>
                  <a:lnTo>
                    <a:pt x="67276" y="3147"/>
                  </a:lnTo>
                  <a:lnTo>
                    <a:pt x="64129" y="2754"/>
                  </a:lnTo>
                  <a:lnTo>
                    <a:pt x="60981" y="1574"/>
                  </a:lnTo>
                  <a:lnTo>
                    <a:pt x="58227" y="787"/>
                  </a:lnTo>
                  <a:lnTo>
                    <a:pt x="55080" y="0"/>
                  </a:lnTo>
                  <a:lnTo>
                    <a:pt x="52326" y="393"/>
                  </a:lnTo>
                  <a:lnTo>
                    <a:pt x="49178" y="1180"/>
                  </a:lnTo>
                  <a:lnTo>
                    <a:pt x="46031" y="3147"/>
                  </a:lnTo>
                  <a:lnTo>
                    <a:pt x="42884" y="3934"/>
                  </a:lnTo>
                  <a:lnTo>
                    <a:pt x="39736" y="4328"/>
                  </a:lnTo>
                  <a:lnTo>
                    <a:pt x="36982" y="3934"/>
                  </a:lnTo>
                  <a:lnTo>
                    <a:pt x="33835" y="3541"/>
                  </a:lnTo>
                  <a:lnTo>
                    <a:pt x="30687" y="4328"/>
                  </a:lnTo>
                  <a:lnTo>
                    <a:pt x="27540" y="5115"/>
                  </a:lnTo>
                  <a:lnTo>
                    <a:pt x="24392" y="5901"/>
                  </a:lnTo>
                  <a:lnTo>
                    <a:pt x="23212" y="6688"/>
                  </a:lnTo>
                  <a:lnTo>
                    <a:pt x="22819" y="9049"/>
                  </a:lnTo>
                  <a:lnTo>
                    <a:pt x="20065" y="14163"/>
                  </a:lnTo>
                  <a:lnTo>
                    <a:pt x="19278" y="14163"/>
                  </a:lnTo>
                  <a:lnTo>
                    <a:pt x="16524" y="14950"/>
                  </a:lnTo>
                  <a:lnTo>
                    <a:pt x="13377" y="16524"/>
                  </a:lnTo>
                  <a:lnTo>
                    <a:pt x="10622" y="19278"/>
                  </a:lnTo>
                  <a:lnTo>
                    <a:pt x="13377" y="20065"/>
                  </a:lnTo>
                  <a:lnTo>
                    <a:pt x="16524" y="20852"/>
                  </a:lnTo>
                  <a:lnTo>
                    <a:pt x="20852" y="22819"/>
                  </a:lnTo>
                  <a:lnTo>
                    <a:pt x="19671" y="23999"/>
                  </a:lnTo>
                  <a:lnTo>
                    <a:pt x="21638" y="23212"/>
                  </a:lnTo>
                  <a:lnTo>
                    <a:pt x="23606" y="24392"/>
                  </a:lnTo>
                  <a:lnTo>
                    <a:pt x="22425" y="25179"/>
                  </a:lnTo>
                  <a:lnTo>
                    <a:pt x="19278" y="25966"/>
                  </a:lnTo>
                  <a:lnTo>
                    <a:pt x="21245" y="29114"/>
                  </a:lnTo>
                  <a:lnTo>
                    <a:pt x="23999" y="29900"/>
                  </a:lnTo>
                  <a:lnTo>
                    <a:pt x="21245" y="31081"/>
                  </a:lnTo>
                  <a:lnTo>
                    <a:pt x="18098" y="32261"/>
                  </a:lnTo>
                  <a:lnTo>
                    <a:pt x="18885" y="35015"/>
                  </a:lnTo>
                  <a:lnTo>
                    <a:pt x="15737" y="36982"/>
                  </a:lnTo>
                  <a:lnTo>
                    <a:pt x="12983" y="36195"/>
                  </a:lnTo>
                  <a:lnTo>
                    <a:pt x="10229" y="36195"/>
                  </a:lnTo>
                  <a:lnTo>
                    <a:pt x="7082" y="35015"/>
                  </a:lnTo>
                  <a:lnTo>
                    <a:pt x="4328" y="35802"/>
                  </a:lnTo>
                  <a:lnTo>
                    <a:pt x="1180" y="38162"/>
                  </a:lnTo>
                  <a:lnTo>
                    <a:pt x="0" y="40916"/>
                  </a:lnTo>
                  <a:lnTo>
                    <a:pt x="393" y="44064"/>
                  </a:lnTo>
                  <a:lnTo>
                    <a:pt x="1574" y="46818"/>
                  </a:lnTo>
                  <a:lnTo>
                    <a:pt x="4721" y="49178"/>
                  </a:lnTo>
                  <a:lnTo>
                    <a:pt x="7475" y="51932"/>
                  </a:lnTo>
                  <a:lnTo>
                    <a:pt x="10229" y="52719"/>
                  </a:lnTo>
                  <a:lnTo>
                    <a:pt x="13377" y="54293"/>
                  </a:lnTo>
                  <a:lnTo>
                    <a:pt x="16130" y="53899"/>
                  </a:lnTo>
                  <a:lnTo>
                    <a:pt x="19278" y="53506"/>
                  </a:lnTo>
                  <a:lnTo>
                    <a:pt x="22032" y="53506"/>
                  </a:lnTo>
                  <a:lnTo>
                    <a:pt x="19278" y="51932"/>
                  </a:lnTo>
                  <a:lnTo>
                    <a:pt x="22032" y="52326"/>
                  </a:lnTo>
                  <a:lnTo>
                    <a:pt x="25179" y="51539"/>
                  </a:lnTo>
                  <a:lnTo>
                    <a:pt x="28327" y="51539"/>
                  </a:lnTo>
                  <a:lnTo>
                    <a:pt x="31081" y="53899"/>
                  </a:lnTo>
                  <a:lnTo>
                    <a:pt x="33835" y="53899"/>
                  </a:lnTo>
                  <a:lnTo>
                    <a:pt x="36982" y="55867"/>
                  </a:lnTo>
                  <a:lnTo>
                    <a:pt x="38556" y="53113"/>
                  </a:lnTo>
                  <a:lnTo>
                    <a:pt x="41310" y="55473"/>
                  </a:lnTo>
                  <a:lnTo>
                    <a:pt x="42490" y="52326"/>
                  </a:lnTo>
                  <a:lnTo>
                    <a:pt x="45244" y="52326"/>
                  </a:lnTo>
                  <a:lnTo>
                    <a:pt x="44851" y="55473"/>
                  </a:lnTo>
                  <a:lnTo>
                    <a:pt x="47998" y="58227"/>
                  </a:lnTo>
                  <a:lnTo>
                    <a:pt x="51145" y="58621"/>
                  </a:lnTo>
                  <a:lnTo>
                    <a:pt x="53506" y="55867"/>
                  </a:lnTo>
                  <a:lnTo>
                    <a:pt x="56654" y="55473"/>
                  </a:lnTo>
                  <a:lnTo>
                    <a:pt x="53506" y="57440"/>
                  </a:lnTo>
                  <a:lnTo>
                    <a:pt x="50752" y="60194"/>
                  </a:lnTo>
                  <a:lnTo>
                    <a:pt x="53899" y="61375"/>
                  </a:lnTo>
                  <a:lnTo>
                    <a:pt x="57047" y="62555"/>
                  </a:lnTo>
                  <a:lnTo>
                    <a:pt x="60194" y="61768"/>
                  </a:lnTo>
                  <a:lnTo>
                    <a:pt x="62948" y="62948"/>
                  </a:lnTo>
                  <a:lnTo>
                    <a:pt x="66096" y="64522"/>
                  </a:lnTo>
                  <a:lnTo>
                    <a:pt x="62948" y="63342"/>
                  </a:lnTo>
                  <a:lnTo>
                    <a:pt x="59801" y="63735"/>
                  </a:lnTo>
                  <a:lnTo>
                    <a:pt x="62948" y="65702"/>
                  </a:lnTo>
                  <a:lnTo>
                    <a:pt x="60194" y="64915"/>
                  </a:lnTo>
                  <a:lnTo>
                    <a:pt x="57047" y="64915"/>
                  </a:lnTo>
                  <a:lnTo>
                    <a:pt x="54293" y="65702"/>
                  </a:lnTo>
                  <a:lnTo>
                    <a:pt x="57047" y="66489"/>
                  </a:lnTo>
                  <a:lnTo>
                    <a:pt x="60194" y="68850"/>
                  </a:lnTo>
                  <a:lnTo>
                    <a:pt x="59801" y="71604"/>
                  </a:lnTo>
                  <a:lnTo>
                    <a:pt x="56654" y="70423"/>
                  </a:lnTo>
                  <a:lnTo>
                    <a:pt x="53899" y="71604"/>
                  </a:lnTo>
                  <a:lnTo>
                    <a:pt x="57047" y="71604"/>
                  </a:lnTo>
                  <a:lnTo>
                    <a:pt x="60194" y="72390"/>
                  </a:lnTo>
                  <a:lnTo>
                    <a:pt x="62948" y="72784"/>
                  </a:lnTo>
                  <a:lnTo>
                    <a:pt x="66096" y="73177"/>
                  </a:lnTo>
                  <a:lnTo>
                    <a:pt x="69243" y="74358"/>
                  </a:lnTo>
                  <a:lnTo>
                    <a:pt x="71997" y="74751"/>
                  </a:lnTo>
                  <a:lnTo>
                    <a:pt x="75144" y="73964"/>
                  </a:lnTo>
                  <a:lnTo>
                    <a:pt x="78292" y="75144"/>
                  </a:lnTo>
                  <a:lnTo>
                    <a:pt x="81046" y="76325"/>
                  </a:lnTo>
                  <a:lnTo>
                    <a:pt x="83800" y="76325"/>
                  </a:lnTo>
                  <a:lnTo>
                    <a:pt x="80652" y="73571"/>
                  </a:lnTo>
                  <a:lnTo>
                    <a:pt x="83406" y="75538"/>
                  </a:lnTo>
                  <a:lnTo>
                    <a:pt x="86160" y="76718"/>
                  </a:lnTo>
                  <a:lnTo>
                    <a:pt x="89308" y="77505"/>
                  </a:lnTo>
                  <a:lnTo>
                    <a:pt x="92455" y="78685"/>
                  </a:lnTo>
                  <a:lnTo>
                    <a:pt x="95603" y="77112"/>
                  </a:lnTo>
                  <a:lnTo>
                    <a:pt x="97570" y="74358"/>
                  </a:lnTo>
                  <a:lnTo>
                    <a:pt x="100324" y="75538"/>
                  </a:lnTo>
                  <a:lnTo>
                    <a:pt x="103471" y="74751"/>
                  </a:lnTo>
                  <a:lnTo>
                    <a:pt x="105438" y="77505"/>
                  </a:lnTo>
                  <a:lnTo>
                    <a:pt x="108192" y="77898"/>
                  </a:lnTo>
                  <a:lnTo>
                    <a:pt x="111340" y="77505"/>
                  </a:lnTo>
                  <a:lnTo>
                    <a:pt x="108192" y="75931"/>
                  </a:lnTo>
                  <a:lnTo>
                    <a:pt x="111340" y="76718"/>
                  </a:lnTo>
                  <a:lnTo>
                    <a:pt x="114094" y="76718"/>
                  </a:lnTo>
                  <a:lnTo>
                    <a:pt x="117635" y="77505"/>
                  </a:lnTo>
                  <a:lnTo>
                    <a:pt x="120388" y="78685"/>
                  </a:lnTo>
                  <a:lnTo>
                    <a:pt x="123143" y="79866"/>
                  </a:lnTo>
                  <a:lnTo>
                    <a:pt x="126290" y="78685"/>
                  </a:lnTo>
                  <a:lnTo>
                    <a:pt x="123143" y="77112"/>
                  </a:lnTo>
                  <a:lnTo>
                    <a:pt x="119602" y="77112"/>
                  </a:lnTo>
                  <a:lnTo>
                    <a:pt x="116847" y="74751"/>
                  </a:lnTo>
                  <a:lnTo>
                    <a:pt x="119602" y="75144"/>
                  </a:lnTo>
                  <a:lnTo>
                    <a:pt x="122749" y="76718"/>
                  </a:lnTo>
                  <a:lnTo>
                    <a:pt x="126290" y="76718"/>
                  </a:lnTo>
                  <a:lnTo>
                    <a:pt x="129044" y="77505"/>
                  </a:lnTo>
                  <a:lnTo>
                    <a:pt x="132191" y="78292"/>
                  </a:lnTo>
                  <a:lnTo>
                    <a:pt x="135339" y="78685"/>
                  </a:lnTo>
                  <a:lnTo>
                    <a:pt x="138486" y="79079"/>
                  </a:lnTo>
                  <a:lnTo>
                    <a:pt x="141634" y="79079"/>
                  </a:lnTo>
                  <a:lnTo>
                    <a:pt x="138880" y="78292"/>
                  </a:lnTo>
                  <a:lnTo>
                    <a:pt x="135732" y="77505"/>
                  </a:lnTo>
                  <a:lnTo>
                    <a:pt x="132978" y="77505"/>
                  </a:lnTo>
                  <a:lnTo>
                    <a:pt x="129437" y="75538"/>
                  </a:lnTo>
                  <a:lnTo>
                    <a:pt x="132585" y="7671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61" name="Freeform: Shape 3255">
              <a:extLst>
                <a:ext uri="{FF2B5EF4-FFF2-40B4-BE49-F238E27FC236}">
                  <a16:creationId xmlns:a16="http://schemas.microsoft.com/office/drawing/2014/main" id="{FC772D80-4268-4650-9FCE-E7CF5E736BBC}"/>
                </a:ext>
              </a:extLst>
            </p:cNvPr>
            <p:cNvSpPr/>
            <p:nvPr/>
          </p:nvSpPr>
          <p:spPr>
            <a:xfrm>
              <a:off x="7242445" y="1371029"/>
              <a:ext cx="19671" cy="7869"/>
            </a:xfrm>
            <a:custGeom>
              <a:avLst/>
              <a:gdLst>
                <a:gd name="connsiteX0" fmla="*/ 15344 w 19671"/>
                <a:gd name="connsiteY0" fmla="*/ 9049 h 7868"/>
                <a:gd name="connsiteX1" fmla="*/ 18491 w 19671"/>
                <a:gd name="connsiteY1" fmla="*/ 11409 h 7868"/>
                <a:gd name="connsiteX2" fmla="*/ 18884 w 19671"/>
                <a:gd name="connsiteY2" fmla="*/ 10229 h 7868"/>
                <a:gd name="connsiteX3" fmla="*/ 20065 w 19671"/>
                <a:gd name="connsiteY3" fmla="*/ 7082 h 7868"/>
                <a:gd name="connsiteX4" fmla="*/ 18491 w 19671"/>
                <a:gd name="connsiteY4" fmla="*/ 4328 h 7868"/>
                <a:gd name="connsiteX5" fmla="*/ 15344 w 19671"/>
                <a:gd name="connsiteY5" fmla="*/ 3541 h 7868"/>
                <a:gd name="connsiteX6" fmla="*/ 12589 w 19671"/>
                <a:gd name="connsiteY6" fmla="*/ 2754 h 7868"/>
                <a:gd name="connsiteX7" fmla="*/ 9442 w 19671"/>
                <a:gd name="connsiteY7" fmla="*/ 393 h 7868"/>
                <a:gd name="connsiteX8" fmla="*/ 12589 w 19671"/>
                <a:gd name="connsiteY8" fmla="*/ 1574 h 7868"/>
                <a:gd name="connsiteX9" fmla="*/ 15344 w 19671"/>
                <a:gd name="connsiteY9" fmla="*/ 2754 h 7868"/>
                <a:gd name="connsiteX10" fmla="*/ 12589 w 19671"/>
                <a:gd name="connsiteY10" fmla="*/ 787 h 7868"/>
                <a:gd name="connsiteX11" fmla="*/ 9442 w 19671"/>
                <a:gd name="connsiteY11" fmla="*/ 0 h 7868"/>
                <a:gd name="connsiteX12" fmla="*/ 6688 w 19671"/>
                <a:gd name="connsiteY12" fmla="*/ 0 h 7868"/>
                <a:gd name="connsiteX13" fmla="*/ 3934 w 19671"/>
                <a:gd name="connsiteY13" fmla="*/ 0 h 7868"/>
                <a:gd name="connsiteX14" fmla="*/ 1180 w 19671"/>
                <a:gd name="connsiteY14" fmla="*/ 787 h 7868"/>
                <a:gd name="connsiteX15" fmla="*/ 0 w 19671"/>
                <a:gd name="connsiteY15" fmla="*/ 3541 h 7868"/>
                <a:gd name="connsiteX16" fmla="*/ 3147 w 19671"/>
                <a:gd name="connsiteY16" fmla="*/ 4328 h 7868"/>
                <a:gd name="connsiteX17" fmla="*/ 6688 w 19671"/>
                <a:gd name="connsiteY17" fmla="*/ 4328 h 7868"/>
                <a:gd name="connsiteX18" fmla="*/ 9442 w 19671"/>
                <a:gd name="connsiteY18" fmla="*/ 5508 h 7868"/>
                <a:gd name="connsiteX19" fmla="*/ 12589 w 19671"/>
                <a:gd name="connsiteY19" fmla="*/ 747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671" h="7868">
                  <a:moveTo>
                    <a:pt x="15344" y="9049"/>
                  </a:moveTo>
                  <a:lnTo>
                    <a:pt x="18491" y="11409"/>
                  </a:lnTo>
                  <a:lnTo>
                    <a:pt x="18884" y="10229"/>
                  </a:lnTo>
                  <a:lnTo>
                    <a:pt x="20065" y="7082"/>
                  </a:lnTo>
                  <a:lnTo>
                    <a:pt x="18491" y="4328"/>
                  </a:lnTo>
                  <a:lnTo>
                    <a:pt x="15344" y="3541"/>
                  </a:lnTo>
                  <a:lnTo>
                    <a:pt x="12589" y="2754"/>
                  </a:lnTo>
                  <a:lnTo>
                    <a:pt x="9442" y="393"/>
                  </a:lnTo>
                  <a:lnTo>
                    <a:pt x="12589" y="1574"/>
                  </a:lnTo>
                  <a:lnTo>
                    <a:pt x="15344" y="2754"/>
                  </a:lnTo>
                  <a:lnTo>
                    <a:pt x="12589" y="787"/>
                  </a:lnTo>
                  <a:lnTo>
                    <a:pt x="9442" y="0"/>
                  </a:lnTo>
                  <a:lnTo>
                    <a:pt x="6688" y="0"/>
                  </a:lnTo>
                  <a:lnTo>
                    <a:pt x="3934" y="0"/>
                  </a:lnTo>
                  <a:lnTo>
                    <a:pt x="1180" y="787"/>
                  </a:lnTo>
                  <a:lnTo>
                    <a:pt x="0" y="3541"/>
                  </a:lnTo>
                  <a:lnTo>
                    <a:pt x="3147" y="4328"/>
                  </a:lnTo>
                  <a:lnTo>
                    <a:pt x="6688" y="4328"/>
                  </a:lnTo>
                  <a:lnTo>
                    <a:pt x="9442" y="5508"/>
                  </a:lnTo>
                  <a:lnTo>
                    <a:pt x="12589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62" name="Freeform: Shape 3256">
              <a:extLst>
                <a:ext uri="{FF2B5EF4-FFF2-40B4-BE49-F238E27FC236}">
                  <a16:creationId xmlns:a16="http://schemas.microsoft.com/office/drawing/2014/main" id="{71BBC2D0-49C1-485D-947C-1D072E24B78C}"/>
                </a:ext>
              </a:extLst>
            </p:cNvPr>
            <p:cNvSpPr/>
            <p:nvPr/>
          </p:nvSpPr>
          <p:spPr>
            <a:xfrm>
              <a:off x="7242051" y="1220347"/>
              <a:ext cx="263596" cy="98357"/>
            </a:xfrm>
            <a:custGeom>
              <a:avLst/>
              <a:gdLst>
                <a:gd name="connsiteX0" fmla="*/ 117241 w 263595"/>
                <a:gd name="connsiteY0" fmla="*/ 18884 h 98356"/>
                <a:gd name="connsiteX1" fmla="*/ 114487 w 263595"/>
                <a:gd name="connsiteY1" fmla="*/ 19278 h 98356"/>
                <a:gd name="connsiteX2" fmla="*/ 114094 w 263595"/>
                <a:gd name="connsiteY2" fmla="*/ 22425 h 98356"/>
                <a:gd name="connsiteX3" fmla="*/ 117241 w 263595"/>
                <a:gd name="connsiteY3" fmla="*/ 24392 h 98356"/>
                <a:gd name="connsiteX4" fmla="*/ 114094 w 263595"/>
                <a:gd name="connsiteY4" fmla="*/ 24392 h 98356"/>
                <a:gd name="connsiteX5" fmla="*/ 110946 w 263595"/>
                <a:gd name="connsiteY5" fmla="*/ 26360 h 98356"/>
                <a:gd name="connsiteX6" fmla="*/ 108192 w 263595"/>
                <a:gd name="connsiteY6" fmla="*/ 25179 h 98356"/>
                <a:gd name="connsiteX7" fmla="*/ 110946 w 263595"/>
                <a:gd name="connsiteY7" fmla="*/ 23212 h 98356"/>
                <a:gd name="connsiteX8" fmla="*/ 108192 w 263595"/>
                <a:gd name="connsiteY8" fmla="*/ 22819 h 98356"/>
                <a:gd name="connsiteX9" fmla="*/ 104651 w 263595"/>
                <a:gd name="connsiteY9" fmla="*/ 23212 h 98356"/>
                <a:gd name="connsiteX10" fmla="*/ 101504 w 263595"/>
                <a:gd name="connsiteY10" fmla="*/ 23212 h 98356"/>
                <a:gd name="connsiteX11" fmla="*/ 98357 w 263595"/>
                <a:gd name="connsiteY11" fmla="*/ 25179 h 98356"/>
                <a:gd name="connsiteX12" fmla="*/ 101504 w 263595"/>
                <a:gd name="connsiteY12" fmla="*/ 25179 h 98356"/>
                <a:gd name="connsiteX13" fmla="*/ 104651 w 263595"/>
                <a:gd name="connsiteY13" fmla="*/ 26360 h 98356"/>
                <a:gd name="connsiteX14" fmla="*/ 101504 w 263595"/>
                <a:gd name="connsiteY14" fmla="*/ 26360 h 98356"/>
                <a:gd name="connsiteX15" fmla="*/ 98357 w 263595"/>
                <a:gd name="connsiteY15" fmla="*/ 26360 h 98356"/>
                <a:gd name="connsiteX16" fmla="*/ 94422 w 263595"/>
                <a:gd name="connsiteY16" fmla="*/ 27540 h 98356"/>
                <a:gd name="connsiteX17" fmla="*/ 93242 w 263595"/>
                <a:gd name="connsiteY17" fmla="*/ 27933 h 98356"/>
                <a:gd name="connsiteX18" fmla="*/ 90094 w 263595"/>
                <a:gd name="connsiteY18" fmla="*/ 27540 h 98356"/>
                <a:gd name="connsiteX19" fmla="*/ 86947 w 263595"/>
                <a:gd name="connsiteY19" fmla="*/ 27933 h 98356"/>
                <a:gd name="connsiteX20" fmla="*/ 84193 w 263595"/>
                <a:gd name="connsiteY20" fmla="*/ 29507 h 98356"/>
                <a:gd name="connsiteX21" fmla="*/ 81046 w 263595"/>
                <a:gd name="connsiteY21" fmla="*/ 29507 h 98356"/>
                <a:gd name="connsiteX22" fmla="*/ 77898 w 263595"/>
                <a:gd name="connsiteY22" fmla="*/ 29900 h 98356"/>
                <a:gd name="connsiteX23" fmla="*/ 74751 w 263595"/>
                <a:gd name="connsiteY23" fmla="*/ 31474 h 98356"/>
                <a:gd name="connsiteX24" fmla="*/ 71603 w 263595"/>
                <a:gd name="connsiteY24" fmla="*/ 33441 h 98356"/>
                <a:gd name="connsiteX25" fmla="*/ 68456 w 263595"/>
                <a:gd name="connsiteY25" fmla="*/ 33835 h 98356"/>
                <a:gd name="connsiteX26" fmla="*/ 65702 w 263595"/>
                <a:gd name="connsiteY26" fmla="*/ 34622 h 98356"/>
                <a:gd name="connsiteX27" fmla="*/ 62554 w 263595"/>
                <a:gd name="connsiteY27" fmla="*/ 35802 h 98356"/>
                <a:gd name="connsiteX28" fmla="*/ 64915 w 263595"/>
                <a:gd name="connsiteY28" fmla="*/ 36982 h 98356"/>
                <a:gd name="connsiteX29" fmla="*/ 62554 w 263595"/>
                <a:gd name="connsiteY29" fmla="*/ 37376 h 98356"/>
                <a:gd name="connsiteX30" fmla="*/ 59407 w 263595"/>
                <a:gd name="connsiteY30" fmla="*/ 38162 h 98356"/>
                <a:gd name="connsiteX31" fmla="*/ 56260 w 263595"/>
                <a:gd name="connsiteY31" fmla="*/ 39736 h 98356"/>
                <a:gd name="connsiteX32" fmla="*/ 59014 w 263595"/>
                <a:gd name="connsiteY32" fmla="*/ 40523 h 98356"/>
                <a:gd name="connsiteX33" fmla="*/ 59407 w 263595"/>
                <a:gd name="connsiteY33" fmla="*/ 41310 h 98356"/>
                <a:gd name="connsiteX34" fmla="*/ 57833 w 263595"/>
                <a:gd name="connsiteY34" fmla="*/ 43277 h 98356"/>
                <a:gd name="connsiteX35" fmla="*/ 55473 w 263595"/>
                <a:gd name="connsiteY35" fmla="*/ 42490 h 98356"/>
                <a:gd name="connsiteX36" fmla="*/ 52325 w 263595"/>
                <a:gd name="connsiteY36" fmla="*/ 42490 h 98356"/>
                <a:gd name="connsiteX37" fmla="*/ 49178 w 263595"/>
                <a:gd name="connsiteY37" fmla="*/ 42097 h 98356"/>
                <a:gd name="connsiteX38" fmla="*/ 46424 w 263595"/>
                <a:gd name="connsiteY38" fmla="*/ 42490 h 98356"/>
                <a:gd name="connsiteX39" fmla="*/ 43277 w 263595"/>
                <a:gd name="connsiteY39" fmla="*/ 44457 h 98356"/>
                <a:gd name="connsiteX40" fmla="*/ 46424 w 263595"/>
                <a:gd name="connsiteY40" fmla="*/ 46818 h 98356"/>
                <a:gd name="connsiteX41" fmla="*/ 43277 w 263595"/>
                <a:gd name="connsiteY41" fmla="*/ 49572 h 98356"/>
                <a:gd name="connsiteX42" fmla="*/ 40129 w 263595"/>
                <a:gd name="connsiteY42" fmla="*/ 49572 h 98356"/>
                <a:gd name="connsiteX43" fmla="*/ 37376 w 263595"/>
                <a:gd name="connsiteY43" fmla="*/ 47211 h 98356"/>
                <a:gd name="connsiteX44" fmla="*/ 34228 w 263595"/>
                <a:gd name="connsiteY44" fmla="*/ 47211 h 98356"/>
                <a:gd name="connsiteX45" fmla="*/ 31080 w 263595"/>
                <a:gd name="connsiteY45" fmla="*/ 46818 h 98356"/>
                <a:gd name="connsiteX46" fmla="*/ 27933 w 263595"/>
                <a:gd name="connsiteY46" fmla="*/ 46818 h 98356"/>
                <a:gd name="connsiteX47" fmla="*/ 27146 w 263595"/>
                <a:gd name="connsiteY47" fmla="*/ 49965 h 98356"/>
                <a:gd name="connsiteX48" fmla="*/ 29900 w 263595"/>
                <a:gd name="connsiteY48" fmla="*/ 52719 h 98356"/>
                <a:gd name="connsiteX49" fmla="*/ 32654 w 263595"/>
                <a:gd name="connsiteY49" fmla="*/ 52326 h 98356"/>
                <a:gd name="connsiteX50" fmla="*/ 35802 w 263595"/>
                <a:gd name="connsiteY50" fmla="*/ 51539 h 98356"/>
                <a:gd name="connsiteX51" fmla="*/ 38556 w 263595"/>
                <a:gd name="connsiteY51" fmla="*/ 51539 h 98356"/>
                <a:gd name="connsiteX52" fmla="*/ 41310 w 263595"/>
                <a:gd name="connsiteY52" fmla="*/ 51932 h 98356"/>
                <a:gd name="connsiteX53" fmla="*/ 38556 w 263595"/>
                <a:gd name="connsiteY53" fmla="*/ 53113 h 98356"/>
                <a:gd name="connsiteX54" fmla="*/ 41310 w 263595"/>
                <a:gd name="connsiteY54" fmla="*/ 53506 h 98356"/>
                <a:gd name="connsiteX55" fmla="*/ 44457 w 263595"/>
                <a:gd name="connsiteY55" fmla="*/ 53899 h 98356"/>
                <a:gd name="connsiteX56" fmla="*/ 41310 w 263595"/>
                <a:gd name="connsiteY56" fmla="*/ 54686 h 98356"/>
                <a:gd name="connsiteX57" fmla="*/ 38556 w 263595"/>
                <a:gd name="connsiteY57" fmla="*/ 55080 h 98356"/>
                <a:gd name="connsiteX58" fmla="*/ 35408 w 263595"/>
                <a:gd name="connsiteY58" fmla="*/ 55867 h 98356"/>
                <a:gd name="connsiteX59" fmla="*/ 32261 w 263595"/>
                <a:gd name="connsiteY59" fmla="*/ 57834 h 98356"/>
                <a:gd name="connsiteX60" fmla="*/ 35408 w 263595"/>
                <a:gd name="connsiteY60" fmla="*/ 58227 h 98356"/>
                <a:gd name="connsiteX61" fmla="*/ 38162 w 263595"/>
                <a:gd name="connsiteY61" fmla="*/ 57834 h 98356"/>
                <a:gd name="connsiteX62" fmla="*/ 41310 w 263595"/>
                <a:gd name="connsiteY62" fmla="*/ 57834 h 98356"/>
                <a:gd name="connsiteX63" fmla="*/ 44457 w 263595"/>
                <a:gd name="connsiteY63" fmla="*/ 59014 h 98356"/>
                <a:gd name="connsiteX64" fmla="*/ 46031 w 263595"/>
                <a:gd name="connsiteY64" fmla="*/ 59407 h 98356"/>
                <a:gd name="connsiteX65" fmla="*/ 45637 w 263595"/>
                <a:gd name="connsiteY65" fmla="*/ 60194 h 98356"/>
                <a:gd name="connsiteX66" fmla="*/ 44064 w 263595"/>
                <a:gd name="connsiteY66" fmla="*/ 59801 h 98356"/>
                <a:gd name="connsiteX67" fmla="*/ 41310 w 263595"/>
                <a:gd name="connsiteY67" fmla="*/ 59801 h 98356"/>
                <a:gd name="connsiteX68" fmla="*/ 38162 w 263595"/>
                <a:gd name="connsiteY68" fmla="*/ 60588 h 98356"/>
                <a:gd name="connsiteX69" fmla="*/ 35408 w 263595"/>
                <a:gd name="connsiteY69" fmla="*/ 60981 h 98356"/>
                <a:gd name="connsiteX70" fmla="*/ 32261 w 263595"/>
                <a:gd name="connsiteY70" fmla="*/ 60588 h 98356"/>
                <a:gd name="connsiteX71" fmla="*/ 29113 w 263595"/>
                <a:gd name="connsiteY71" fmla="*/ 60981 h 98356"/>
                <a:gd name="connsiteX72" fmla="*/ 29113 w 263595"/>
                <a:gd name="connsiteY72" fmla="*/ 63735 h 98356"/>
                <a:gd name="connsiteX73" fmla="*/ 31867 w 263595"/>
                <a:gd name="connsiteY73" fmla="*/ 64915 h 98356"/>
                <a:gd name="connsiteX74" fmla="*/ 35015 w 263595"/>
                <a:gd name="connsiteY74" fmla="*/ 64128 h 98356"/>
                <a:gd name="connsiteX75" fmla="*/ 38162 w 263595"/>
                <a:gd name="connsiteY75" fmla="*/ 64522 h 98356"/>
                <a:gd name="connsiteX76" fmla="*/ 41310 w 263595"/>
                <a:gd name="connsiteY76" fmla="*/ 65702 h 98356"/>
                <a:gd name="connsiteX77" fmla="*/ 41310 w 263595"/>
                <a:gd name="connsiteY77" fmla="*/ 65702 h 98356"/>
                <a:gd name="connsiteX78" fmla="*/ 40523 w 263595"/>
                <a:gd name="connsiteY78" fmla="*/ 66489 h 98356"/>
                <a:gd name="connsiteX79" fmla="*/ 38162 w 263595"/>
                <a:gd name="connsiteY79" fmla="*/ 66489 h 98356"/>
                <a:gd name="connsiteX80" fmla="*/ 35408 w 263595"/>
                <a:gd name="connsiteY80" fmla="*/ 66882 h 98356"/>
                <a:gd name="connsiteX81" fmla="*/ 32261 w 263595"/>
                <a:gd name="connsiteY81" fmla="*/ 66882 h 98356"/>
                <a:gd name="connsiteX82" fmla="*/ 29113 w 263595"/>
                <a:gd name="connsiteY82" fmla="*/ 67276 h 98356"/>
                <a:gd name="connsiteX83" fmla="*/ 25966 w 263595"/>
                <a:gd name="connsiteY83" fmla="*/ 69243 h 98356"/>
                <a:gd name="connsiteX84" fmla="*/ 29113 w 263595"/>
                <a:gd name="connsiteY84" fmla="*/ 69636 h 98356"/>
                <a:gd name="connsiteX85" fmla="*/ 32261 w 263595"/>
                <a:gd name="connsiteY85" fmla="*/ 70423 h 98356"/>
                <a:gd name="connsiteX86" fmla="*/ 35408 w 263595"/>
                <a:gd name="connsiteY86" fmla="*/ 71997 h 98356"/>
                <a:gd name="connsiteX87" fmla="*/ 32261 w 263595"/>
                <a:gd name="connsiteY87" fmla="*/ 71210 h 98356"/>
                <a:gd name="connsiteX88" fmla="*/ 29113 w 263595"/>
                <a:gd name="connsiteY88" fmla="*/ 71604 h 98356"/>
                <a:gd name="connsiteX89" fmla="*/ 25966 w 263595"/>
                <a:gd name="connsiteY89" fmla="*/ 70817 h 98356"/>
                <a:gd name="connsiteX90" fmla="*/ 22818 w 263595"/>
                <a:gd name="connsiteY90" fmla="*/ 71997 h 98356"/>
                <a:gd name="connsiteX91" fmla="*/ 25966 w 263595"/>
                <a:gd name="connsiteY91" fmla="*/ 72390 h 98356"/>
                <a:gd name="connsiteX92" fmla="*/ 29113 w 263595"/>
                <a:gd name="connsiteY92" fmla="*/ 72784 h 98356"/>
                <a:gd name="connsiteX93" fmla="*/ 32261 w 263595"/>
                <a:gd name="connsiteY93" fmla="*/ 73177 h 98356"/>
                <a:gd name="connsiteX94" fmla="*/ 34621 w 263595"/>
                <a:gd name="connsiteY94" fmla="*/ 74358 h 98356"/>
                <a:gd name="connsiteX95" fmla="*/ 33835 w 263595"/>
                <a:gd name="connsiteY95" fmla="*/ 75538 h 98356"/>
                <a:gd name="connsiteX96" fmla="*/ 31867 w 263595"/>
                <a:gd name="connsiteY96" fmla="*/ 75144 h 98356"/>
                <a:gd name="connsiteX97" fmla="*/ 28720 w 263595"/>
                <a:gd name="connsiteY97" fmla="*/ 75144 h 98356"/>
                <a:gd name="connsiteX98" fmla="*/ 25573 w 263595"/>
                <a:gd name="connsiteY98" fmla="*/ 73964 h 98356"/>
                <a:gd name="connsiteX99" fmla="*/ 22425 w 263595"/>
                <a:gd name="connsiteY99" fmla="*/ 74358 h 98356"/>
                <a:gd name="connsiteX100" fmla="*/ 19671 w 263595"/>
                <a:gd name="connsiteY100" fmla="*/ 75931 h 98356"/>
                <a:gd name="connsiteX101" fmla="*/ 18098 w 263595"/>
                <a:gd name="connsiteY101" fmla="*/ 79079 h 98356"/>
                <a:gd name="connsiteX102" fmla="*/ 20851 w 263595"/>
                <a:gd name="connsiteY102" fmla="*/ 79866 h 98356"/>
                <a:gd name="connsiteX103" fmla="*/ 17704 w 263595"/>
                <a:gd name="connsiteY103" fmla="*/ 80259 h 98356"/>
                <a:gd name="connsiteX104" fmla="*/ 14557 w 263595"/>
                <a:gd name="connsiteY104" fmla="*/ 80259 h 98356"/>
                <a:gd name="connsiteX105" fmla="*/ 11803 w 263595"/>
                <a:gd name="connsiteY105" fmla="*/ 81046 h 98356"/>
                <a:gd name="connsiteX106" fmla="*/ 9049 w 263595"/>
                <a:gd name="connsiteY106" fmla="*/ 82226 h 98356"/>
                <a:gd name="connsiteX107" fmla="*/ 5901 w 263595"/>
                <a:gd name="connsiteY107" fmla="*/ 84587 h 98356"/>
                <a:gd name="connsiteX108" fmla="*/ 2754 w 263595"/>
                <a:gd name="connsiteY108" fmla="*/ 84980 h 98356"/>
                <a:gd name="connsiteX109" fmla="*/ 0 w 263595"/>
                <a:gd name="connsiteY109" fmla="*/ 86160 h 98356"/>
                <a:gd name="connsiteX110" fmla="*/ 2754 w 263595"/>
                <a:gd name="connsiteY110" fmla="*/ 86554 h 98356"/>
                <a:gd name="connsiteX111" fmla="*/ 5508 w 263595"/>
                <a:gd name="connsiteY111" fmla="*/ 88127 h 98356"/>
                <a:gd name="connsiteX112" fmla="*/ 9049 w 263595"/>
                <a:gd name="connsiteY112" fmla="*/ 89308 h 98356"/>
                <a:gd name="connsiteX113" fmla="*/ 11803 w 263595"/>
                <a:gd name="connsiteY113" fmla="*/ 89308 h 98356"/>
                <a:gd name="connsiteX114" fmla="*/ 14950 w 263595"/>
                <a:gd name="connsiteY114" fmla="*/ 89308 h 98356"/>
                <a:gd name="connsiteX115" fmla="*/ 18098 w 263595"/>
                <a:gd name="connsiteY115" fmla="*/ 86947 h 98356"/>
                <a:gd name="connsiteX116" fmla="*/ 21245 w 263595"/>
                <a:gd name="connsiteY116" fmla="*/ 86947 h 98356"/>
                <a:gd name="connsiteX117" fmla="*/ 23999 w 263595"/>
                <a:gd name="connsiteY117" fmla="*/ 86554 h 98356"/>
                <a:gd name="connsiteX118" fmla="*/ 25179 w 263595"/>
                <a:gd name="connsiteY118" fmla="*/ 86554 h 98356"/>
                <a:gd name="connsiteX119" fmla="*/ 23999 w 263595"/>
                <a:gd name="connsiteY119" fmla="*/ 88127 h 98356"/>
                <a:gd name="connsiteX120" fmla="*/ 21245 w 263595"/>
                <a:gd name="connsiteY120" fmla="*/ 89308 h 98356"/>
                <a:gd name="connsiteX121" fmla="*/ 18491 w 263595"/>
                <a:gd name="connsiteY121" fmla="*/ 90095 h 98356"/>
                <a:gd name="connsiteX122" fmla="*/ 15343 w 263595"/>
                <a:gd name="connsiteY122" fmla="*/ 92062 h 98356"/>
                <a:gd name="connsiteX123" fmla="*/ 16917 w 263595"/>
                <a:gd name="connsiteY123" fmla="*/ 95209 h 98356"/>
                <a:gd name="connsiteX124" fmla="*/ 13376 w 263595"/>
                <a:gd name="connsiteY124" fmla="*/ 96389 h 98356"/>
                <a:gd name="connsiteX125" fmla="*/ 16524 w 263595"/>
                <a:gd name="connsiteY125" fmla="*/ 97176 h 98356"/>
                <a:gd name="connsiteX126" fmla="*/ 19671 w 263595"/>
                <a:gd name="connsiteY126" fmla="*/ 96389 h 98356"/>
                <a:gd name="connsiteX127" fmla="*/ 22818 w 263595"/>
                <a:gd name="connsiteY127" fmla="*/ 95209 h 98356"/>
                <a:gd name="connsiteX128" fmla="*/ 25573 w 263595"/>
                <a:gd name="connsiteY128" fmla="*/ 95209 h 98356"/>
                <a:gd name="connsiteX129" fmla="*/ 28720 w 263595"/>
                <a:gd name="connsiteY129" fmla="*/ 94029 h 98356"/>
                <a:gd name="connsiteX130" fmla="*/ 31474 w 263595"/>
                <a:gd name="connsiteY130" fmla="*/ 94029 h 98356"/>
                <a:gd name="connsiteX131" fmla="*/ 34621 w 263595"/>
                <a:gd name="connsiteY131" fmla="*/ 94816 h 98356"/>
                <a:gd name="connsiteX132" fmla="*/ 38162 w 263595"/>
                <a:gd name="connsiteY132" fmla="*/ 95996 h 98356"/>
                <a:gd name="connsiteX133" fmla="*/ 40916 w 263595"/>
                <a:gd name="connsiteY133" fmla="*/ 96783 h 98356"/>
                <a:gd name="connsiteX134" fmla="*/ 44457 w 263595"/>
                <a:gd name="connsiteY134" fmla="*/ 97176 h 98356"/>
                <a:gd name="connsiteX135" fmla="*/ 47211 w 263595"/>
                <a:gd name="connsiteY135" fmla="*/ 96783 h 98356"/>
                <a:gd name="connsiteX136" fmla="*/ 50358 w 263595"/>
                <a:gd name="connsiteY136" fmla="*/ 97176 h 98356"/>
                <a:gd name="connsiteX137" fmla="*/ 53506 w 263595"/>
                <a:gd name="connsiteY137" fmla="*/ 97176 h 98356"/>
                <a:gd name="connsiteX138" fmla="*/ 51932 w 263595"/>
                <a:gd name="connsiteY138" fmla="*/ 94422 h 98356"/>
                <a:gd name="connsiteX139" fmla="*/ 54293 w 263595"/>
                <a:gd name="connsiteY139" fmla="*/ 97176 h 98356"/>
                <a:gd name="connsiteX140" fmla="*/ 57440 w 263595"/>
                <a:gd name="connsiteY140" fmla="*/ 98357 h 98356"/>
                <a:gd name="connsiteX141" fmla="*/ 60587 w 263595"/>
                <a:gd name="connsiteY141" fmla="*/ 98357 h 98356"/>
                <a:gd name="connsiteX142" fmla="*/ 63342 w 263595"/>
                <a:gd name="connsiteY142" fmla="*/ 98750 h 98356"/>
                <a:gd name="connsiteX143" fmla="*/ 66882 w 263595"/>
                <a:gd name="connsiteY143" fmla="*/ 99143 h 98356"/>
                <a:gd name="connsiteX144" fmla="*/ 70030 w 263595"/>
                <a:gd name="connsiteY144" fmla="*/ 99143 h 98356"/>
                <a:gd name="connsiteX145" fmla="*/ 68850 w 263595"/>
                <a:gd name="connsiteY145" fmla="*/ 96389 h 98356"/>
                <a:gd name="connsiteX146" fmla="*/ 71997 w 263595"/>
                <a:gd name="connsiteY146" fmla="*/ 97570 h 98356"/>
                <a:gd name="connsiteX147" fmla="*/ 75144 w 263595"/>
                <a:gd name="connsiteY147" fmla="*/ 95996 h 98356"/>
                <a:gd name="connsiteX148" fmla="*/ 77898 w 263595"/>
                <a:gd name="connsiteY148" fmla="*/ 92849 h 98356"/>
                <a:gd name="connsiteX149" fmla="*/ 74751 w 263595"/>
                <a:gd name="connsiteY149" fmla="*/ 91668 h 98356"/>
                <a:gd name="connsiteX150" fmla="*/ 71603 w 263595"/>
                <a:gd name="connsiteY150" fmla="*/ 90881 h 98356"/>
                <a:gd name="connsiteX151" fmla="*/ 68456 w 263595"/>
                <a:gd name="connsiteY151" fmla="*/ 90095 h 98356"/>
                <a:gd name="connsiteX152" fmla="*/ 65309 w 263595"/>
                <a:gd name="connsiteY152" fmla="*/ 87734 h 98356"/>
                <a:gd name="connsiteX153" fmla="*/ 68456 w 263595"/>
                <a:gd name="connsiteY153" fmla="*/ 89308 h 98356"/>
                <a:gd name="connsiteX154" fmla="*/ 71603 w 263595"/>
                <a:gd name="connsiteY154" fmla="*/ 90095 h 98356"/>
                <a:gd name="connsiteX155" fmla="*/ 74357 w 263595"/>
                <a:gd name="connsiteY155" fmla="*/ 90881 h 98356"/>
                <a:gd name="connsiteX156" fmla="*/ 77898 w 263595"/>
                <a:gd name="connsiteY156" fmla="*/ 91275 h 98356"/>
                <a:gd name="connsiteX157" fmla="*/ 80652 w 263595"/>
                <a:gd name="connsiteY157" fmla="*/ 90095 h 98356"/>
                <a:gd name="connsiteX158" fmla="*/ 81832 w 263595"/>
                <a:gd name="connsiteY158" fmla="*/ 87341 h 98356"/>
                <a:gd name="connsiteX159" fmla="*/ 78685 w 263595"/>
                <a:gd name="connsiteY159" fmla="*/ 85767 h 98356"/>
                <a:gd name="connsiteX160" fmla="*/ 75538 w 263595"/>
                <a:gd name="connsiteY160" fmla="*/ 84193 h 98356"/>
                <a:gd name="connsiteX161" fmla="*/ 72784 w 263595"/>
                <a:gd name="connsiteY161" fmla="*/ 83800 h 98356"/>
                <a:gd name="connsiteX162" fmla="*/ 69636 w 263595"/>
                <a:gd name="connsiteY162" fmla="*/ 83406 h 98356"/>
                <a:gd name="connsiteX163" fmla="*/ 66489 w 263595"/>
                <a:gd name="connsiteY163" fmla="*/ 83013 h 98356"/>
                <a:gd name="connsiteX164" fmla="*/ 63342 w 263595"/>
                <a:gd name="connsiteY164" fmla="*/ 83013 h 98356"/>
                <a:gd name="connsiteX165" fmla="*/ 60587 w 263595"/>
                <a:gd name="connsiteY165" fmla="*/ 82226 h 98356"/>
                <a:gd name="connsiteX166" fmla="*/ 63342 w 263595"/>
                <a:gd name="connsiteY166" fmla="*/ 82620 h 98356"/>
                <a:gd name="connsiteX167" fmla="*/ 69636 w 263595"/>
                <a:gd name="connsiteY167" fmla="*/ 82620 h 98356"/>
                <a:gd name="connsiteX168" fmla="*/ 72784 w 263595"/>
                <a:gd name="connsiteY168" fmla="*/ 83013 h 98356"/>
                <a:gd name="connsiteX169" fmla="*/ 75931 w 263595"/>
                <a:gd name="connsiteY169" fmla="*/ 83406 h 98356"/>
                <a:gd name="connsiteX170" fmla="*/ 79079 w 263595"/>
                <a:gd name="connsiteY170" fmla="*/ 84193 h 98356"/>
                <a:gd name="connsiteX171" fmla="*/ 81832 w 263595"/>
                <a:gd name="connsiteY171" fmla="*/ 86160 h 98356"/>
                <a:gd name="connsiteX172" fmla="*/ 84980 w 263595"/>
                <a:gd name="connsiteY172" fmla="*/ 86160 h 98356"/>
                <a:gd name="connsiteX173" fmla="*/ 86554 w 263595"/>
                <a:gd name="connsiteY173" fmla="*/ 83406 h 98356"/>
                <a:gd name="connsiteX174" fmla="*/ 83800 w 263595"/>
                <a:gd name="connsiteY174" fmla="*/ 80652 h 98356"/>
                <a:gd name="connsiteX175" fmla="*/ 80652 w 263595"/>
                <a:gd name="connsiteY175" fmla="*/ 79866 h 98356"/>
                <a:gd name="connsiteX176" fmla="*/ 77898 w 263595"/>
                <a:gd name="connsiteY176" fmla="*/ 78292 h 98356"/>
                <a:gd name="connsiteX177" fmla="*/ 75144 w 263595"/>
                <a:gd name="connsiteY177" fmla="*/ 77112 h 98356"/>
                <a:gd name="connsiteX178" fmla="*/ 71603 w 263595"/>
                <a:gd name="connsiteY178" fmla="*/ 76718 h 98356"/>
                <a:gd name="connsiteX179" fmla="*/ 75144 w 263595"/>
                <a:gd name="connsiteY179" fmla="*/ 76325 h 98356"/>
                <a:gd name="connsiteX180" fmla="*/ 71997 w 263595"/>
                <a:gd name="connsiteY180" fmla="*/ 73964 h 98356"/>
                <a:gd name="connsiteX181" fmla="*/ 75144 w 263595"/>
                <a:gd name="connsiteY181" fmla="*/ 74358 h 98356"/>
                <a:gd name="connsiteX182" fmla="*/ 77898 w 263595"/>
                <a:gd name="connsiteY182" fmla="*/ 76325 h 98356"/>
                <a:gd name="connsiteX183" fmla="*/ 81046 w 263595"/>
                <a:gd name="connsiteY183" fmla="*/ 77898 h 98356"/>
                <a:gd name="connsiteX184" fmla="*/ 83800 w 263595"/>
                <a:gd name="connsiteY184" fmla="*/ 78685 h 98356"/>
                <a:gd name="connsiteX185" fmla="*/ 86947 w 263595"/>
                <a:gd name="connsiteY185" fmla="*/ 79079 h 98356"/>
                <a:gd name="connsiteX186" fmla="*/ 89701 w 263595"/>
                <a:gd name="connsiteY186" fmla="*/ 77898 h 98356"/>
                <a:gd name="connsiteX187" fmla="*/ 87734 w 263595"/>
                <a:gd name="connsiteY187" fmla="*/ 75144 h 98356"/>
                <a:gd name="connsiteX188" fmla="*/ 90881 w 263595"/>
                <a:gd name="connsiteY188" fmla="*/ 76325 h 98356"/>
                <a:gd name="connsiteX189" fmla="*/ 94029 w 263595"/>
                <a:gd name="connsiteY189" fmla="*/ 75144 h 98356"/>
                <a:gd name="connsiteX190" fmla="*/ 90881 w 263595"/>
                <a:gd name="connsiteY190" fmla="*/ 73964 h 98356"/>
                <a:gd name="connsiteX191" fmla="*/ 94029 w 263595"/>
                <a:gd name="connsiteY191" fmla="*/ 73177 h 98356"/>
                <a:gd name="connsiteX192" fmla="*/ 96783 w 263595"/>
                <a:gd name="connsiteY192" fmla="*/ 73177 h 98356"/>
                <a:gd name="connsiteX193" fmla="*/ 95209 w 263595"/>
                <a:gd name="connsiteY193" fmla="*/ 70423 h 98356"/>
                <a:gd name="connsiteX194" fmla="*/ 92455 w 263595"/>
                <a:gd name="connsiteY194" fmla="*/ 67276 h 98356"/>
                <a:gd name="connsiteX195" fmla="*/ 92455 w 263595"/>
                <a:gd name="connsiteY195" fmla="*/ 67276 h 98356"/>
                <a:gd name="connsiteX196" fmla="*/ 95209 w 263595"/>
                <a:gd name="connsiteY196" fmla="*/ 66489 h 98356"/>
                <a:gd name="connsiteX197" fmla="*/ 95209 w 263595"/>
                <a:gd name="connsiteY197" fmla="*/ 66489 h 98356"/>
                <a:gd name="connsiteX198" fmla="*/ 98750 w 263595"/>
                <a:gd name="connsiteY198" fmla="*/ 66882 h 98356"/>
                <a:gd name="connsiteX199" fmla="*/ 101897 w 263595"/>
                <a:gd name="connsiteY199" fmla="*/ 65309 h 98356"/>
                <a:gd name="connsiteX200" fmla="*/ 101897 w 263595"/>
                <a:gd name="connsiteY200" fmla="*/ 64128 h 98356"/>
                <a:gd name="connsiteX201" fmla="*/ 108192 w 263595"/>
                <a:gd name="connsiteY201" fmla="*/ 62555 h 98356"/>
                <a:gd name="connsiteX202" fmla="*/ 108586 w 263595"/>
                <a:gd name="connsiteY202" fmla="*/ 62555 h 98356"/>
                <a:gd name="connsiteX203" fmla="*/ 111733 w 263595"/>
                <a:gd name="connsiteY203" fmla="*/ 62948 h 98356"/>
                <a:gd name="connsiteX204" fmla="*/ 114880 w 263595"/>
                <a:gd name="connsiteY204" fmla="*/ 60588 h 98356"/>
                <a:gd name="connsiteX205" fmla="*/ 114487 w 263595"/>
                <a:gd name="connsiteY205" fmla="*/ 60588 h 98356"/>
                <a:gd name="connsiteX206" fmla="*/ 117241 w 263595"/>
                <a:gd name="connsiteY206" fmla="*/ 59801 h 98356"/>
                <a:gd name="connsiteX207" fmla="*/ 119995 w 263595"/>
                <a:gd name="connsiteY207" fmla="*/ 59014 h 98356"/>
                <a:gd name="connsiteX208" fmla="*/ 123142 w 263595"/>
                <a:gd name="connsiteY208" fmla="*/ 57440 h 98356"/>
                <a:gd name="connsiteX209" fmla="*/ 119995 w 263595"/>
                <a:gd name="connsiteY209" fmla="*/ 55867 h 98356"/>
                <a:gd name="connsiteX210" fmla="*/ 125896 w 263595"/>
                <a:gd name="connsiteY210" fmla="*/ 55867 h 98356"/>
                <a:gd name="connsiteX211" fmla="*/ 125109 w 263595"/>
                <a:gd name="connsiteY211" fmla="*/ 53113 h 98356"/>
                <a:gd name="connsiteX212" fmla="*/ 116061 w 263595"/>
                <a:gd name="connsiteY212" fmla="*/ 53113 h 98356"/>
                <a:gd name="connsiteX213" fmla="*/ 113307 w 263595"/>
                <a:gd name="connsiteY213" fmla="*/ 52719 h 98356"/>
                <a:gd name="connsiteX214" fmla="*/ 113307 w 263595"/>
                <a:gd name="connsiteY214" fmla="*/ 51932 h 98356"/>
                <a:gd name="connsiteX215" fmla="*/ 114094 w 263595"/>
                <a:gd name="connsiteY215" fmla="*/ 52326 h 98356"/>
                <a:gd name="connsiteX216" fmla="*/ 117241 w 263595"/>
                <a:gd name="connsiteY216" fmla="*/ 51539 h 98356"/>
                <a:gd name="connsiteX217" fmla="*/ 119995 w 263595"/>
                <a:gd name="connsiteY217" fmla="*/ 51932 h 98356"/>
                <a:gd name="connsiteX218" fmla="*/ 121175 w 263595"/>
                <a:gd name="connsiteY218" fmla="*/ 49965 h 98356"/>
                <a:gd name="connsiteX219" fmla="*/ 121962 w 263595"/>
                <a:gd name="connsiteY219" fmla="*/ 49572 h 98356"/>
                <a:gd name="connsiteX220" fmla="*/ 124323 w 263595"/>
                <a:gd name="connsiteY220" fmla="*/ 51145 h 98356"/>
                <a:gd name="connsiteX221" fmla="*/ 127470 w 263595"/>
                <a:gd name="connsiteY221" fmla="*/ 51539 h 98356"/>
                <a:gd name="connsiteX222" fmla="*/ 127470 w 263595"/>
                <a:gd name="connsiteY222" fmla="*/ 48785 h 98356"/>
                <a:gd name="connsiteX223" fmla="*/ 130224 w 263595"/>
                <a:gd name="connsiteY223" fmla="*/ 47605 h 98356"/>
                <a:gd name="connsiteX224" fmla="*/ 133371 w 263595"/>
                <a:gd name="connsiteY224" fmla="*/ 46818 h 98356"/>
                <a:gd name="connsiteX225" fmla="*/ 133371 w 263595"/>
                <a:gd name="connsiteY225" fmla="*/ 46424 h 98356"/>
                <a:gd name="connsiteX226" fmla="*/ 137305 w 263595"/>
                <a:gd name="connsiteY226" fmla="*/ 45637 h 98356"/>
                <a:gd name="connsiteX227" fmla="*/ 137305 w 263595"/>
                <a:gd name="connsiteY227" fmla="*/ 45637 h 98356"/>
                <a:gd name="connsiteX228" fmla="*/ 140453 w 263595"/>
                <a:gd name="connsiteY228" fmla="*/ 45244 h 98356"/>
                <a:gd name="connsiteX229" fmla="*/ 140846 w 263595"/>
                <a:gd name="connsiteY229" fmla="*/ 44457 h 98356"/>
                <a:gd name="connsiteX230" fmla="*/ 169173 w 263595"/>
                <a:gd name="connsiteY230" fmla="*/ 36982 h 98356"/>
                <a:gd name="connsiteX231" fmla="*/ 169567 w 263595"/>
                <a:gd name="connsiteY231" fmla="*/ 36982 h 98356"/>
                <a:gd name="connsiteX232" fmla="*/ 172321 w 263595"/>
                <a:gd name="connsiteY232" fmla="*/ 36195 h 98356"/>
                <a:gd name="connsiteX233" fmla="*/ 175075 w 263595"/>
                <a:gd name="connsiteY233" fmla="*/ 33441 h 98356"/>
                <a:gd name="connsiteX234" fmla="*/ 178615 w 263595"/>
                <a:gd name="connsiteY234" fmla="*/ 35408 h 98356"/>
                <a:gd name="connsiteX235" fmla="*/ 184910 w 263595"/>
                <a:gd name="connsiteY235" fmla="*/ 33441 h 98356"/>
                <a:gd name="connsiteX236" fmla="*/ 188058 w 263595"/>
                <a:gd name="connsiteY236" fmla="*/ 33441 h 98356"/>
                <a:gd name="connsiteX237" fmla="*/ 190812 w 263595"/>
                <a:gd name="connsiteY237" fmla="*/ 32654 h 98356"/>
                <a:gd name="connsiteX238" fmla="*/ 193566 w 263595"/>
                <a:gd name="connsiteY238" fmla="*/ 32261 h 98356"/>
                <a:gd name="connsiteX239" fmla="*/ 196713 w 263595"/>
                <a:gd name="connsiteY239" fmla="*/ 31474 h 98356"/>
                <a:gd name="connsiteX240" fmla="*/ 199860 w 263595"/>
                <a:gd name="connsiteY240" fmla="*/ 31474 h 98356"/>
                <a:gd name="connsiteX241" fmla="*/ 203008 w 263595"/>
                <a:gd name="connsiteY241" fmla="*/ 31081 h 98356"/>
                <a:gd name="connsiteX242" fmla="*/ 206155 w 263595"/>
                <a:gd name="connsiteY242" fmla="*/ 29900 h 98356"/>
                <a:gd name="connsiteX243" fmla="*/ 209303 w 263595"/>
                <a:gd name="connsiteY243" fmla="*/ 28720 h 98356"/>
                <a:gd name="connsiteX244" fmla="*/ 212450 w 263595"/>
                <a:gd name="connsiteY244" fmla="*/ 28327 h 98356"/>
                <a:gd name="connsiteX245" fmla="*/ 215204 w 263595"/>
                <a:gd name="connsiteY245" fmla="*/ 27933 h 98356"/>
                <a:gd name="connsiteX246" fmla="*/ 218352 w 263595"/>
                <a:gd name="connsiteY246" fmla="*/ 27540 h 98356"/>
                <a:gd name="connsiteX247" fmla="*/ 221499 w 263595"/>
                <a:gd name="connsiteY247" fmla="*/ 27146 h 98356"/>
                <a:gd name="connsiteX248" fmla="*/ 224253 w 263595"/>
                <a:gd name="connsiteY248" fmla="*/ 26360 h 98356"/>
                <a:gd name="connsiteX249" fmla="*/ 227400 w 263595"/>
                <a:gd name="connsiteY249" fmla="*/ 25573 h 98356"/>
                <a:gd name="connsiteX250" fmla="*/ 230548 w 263595"/>
                <a:gd name="connsiteY250" fmla="*/ 24392 h 98356"/>
                <a:gd name="connsiteX251" fmla="*/ 233695 w 263595"/>
                <a:gd name="connsiteY251" fmla="*/ 24392 h 98356"/>
                <a:gd name="connsiteX252" fmla="*/ 236449 w 263595"/>
                <a:gd name="connsiteY252" fmla="*/ 23999 h 98356"/>
                <a:gd name="connsiteX253" fmla="*/ 239990 w 263595"/>
                <a:gd name="connsiteY253" fmla="*/ 22819 h 98356"/>
                <a:gd name="connsiteX254" fmla="*/ 242744 w 263595"/>
                <a:gd name="connsiteY254" fmla="*/ 21638 h 98356"/>
                <a:gd name="connsiteX255" fmla="*/ 245892 w 263595"/>
                <a:gd name="connsiteY255" fmla="*/ 21245 h 98356"/>
                <a:gd name="connsiteX256" fmla="*/ 249039 w 263595"/>
                <a:gd name="connsiteY256" fmla="*/ 20458 h 98356"/>
                <a:gd name="connsiteX257" fmla="*/ 251793 w 263595"/>
                <a:gd name="connsiteY257" fmla="*/ 19278 h 98356"/>
                <a:gd name="connsiteX258" fmla="*/ 254940 w 263595"/>
                <a:gd name="connsiteY258" fmla="*/ 18884 h 98356"/>
                <a:gd name="connsiteX259" fmla="*/ 257694 w 263595"/>
                <a:gd name="connsiteY259" fmla="*/ 17311 h 98356"/>
                <a:gd name="connsiteX260" fmla="*/ 260448 w 263595"/>
                <a:gd name="connsiteY260" fmla="*/ 15344 h 98356"/>
                <a:gd name="connsiteX261" fmla="*/ 263596 w 263595"/>
                <a:gd name="connsiteY261" fmla="*/ 13376 h 98356"/>
                <a:gd name="connsiteX262" fmla="*/ 266350 w 263595"/>
                <a:gd name="connsiteY262" fmla="*/ 11409 h 98356"/>
                <a:gd name="connsiteX263" fmla="*/ 263202 w 263595"/>
                <a:gd name="connsiteY263" fmla="*/ 10229 h 98356"/>
                <a:gd name="connsiteX264" fmla="*/ 263202 w 263595"/>
                <a:gd name="connsiteY264" fmla="*/ 7475 h 98356"/>
                <a:gd name="connsiteX265" fmla="*/ 259661 w 263595"/>
                <a:gd name="connsiteY265" fmla="*/ 5508 h 98356"/>
                <a:gd name="connsiteX266" fmla="*/ 256514 w 263595"/>
                <a:gd name="connsiteY266" fmla="*/ 3541 h 98356"/>
                <a:gd name="connsiteX267" fmla="*/ 253366 w 263595"/>
                <a:gd name="connsiteY267" fmla="*/ 2754 h 98356"/>
                <a:gd name="connsiteX268" fmla="*/ 250219 w 263595"/>
                <a:gd name="connsiteY268" fmla="*/ 1574 h 98356"/>
                <a:gd name="connsiteX269" fmla="*/ 247465 w 263595"/>
                <a:gd name="connsiteY269" fmla="*/ 1574 h 98356"/>
                <a:gd name="connsiteX270" fmla="*/ 244318 w 263595"/>
                <a:gd name="connsiteY270" fmla="*/ 1180 h 98356"/>
                <a:gd name="connsiteX271" fmla="*/ 241563 w 263595"/>
                <a:gd name="connsiteY271" fmla="*/ 787 h 98356"/>
                <a:gd name="connsiteX272" fmla="*/ 238416 w 263595"/>
                <a:gd name="connsiteY272" fmla="*/ 0 h 98356"/>
                <a:gd name="connsiteX273" fmla="*/ 232122 w 263595"/>
                <a:gd name="connsiteY273" fmla="*/ 0 h 98356"/>
                <a:gd name="connsiteX274" fmla="*/ 228581 w 263595"/>
                <a:gd name="connsiteY274" fmla="*/ 787 h 98356"/>
                <a:gd name="connsiteX275" fmla="*/ 225826 w 263595"/>
                <a:gd name="connsiteY275" fmla="*/ 1574 h 98356"/>
                <a:gd name="connsiteX276" fmla="*/ 222679 w 263595"/>
                <a:gd name="connsiteY276" fmla="*/ 1967 h 98356"/>
                <a:gd name="connsiteX277" fmla="*/ 219532 w 263595"/>
                <a:gd name="connsiteY277" fmla="*/ 2754 h 98356"/>
                <a:gd name="connsiteX278" fmla="*/ 216385 w 263595"/>
                <a:gd name="connsiteY278" fmla="*/ 3147 h 98356"/>
                <a:gd name="connsiteX279" fmla="*/ 213237 w 263595"/>
                <a:gd name="connsiteY279" fmla="*/ 4328 h 98356"/>
                <a:gd name="connsiteX280" fmla="*/ 210089 w 263595"/>
                <a:gd name="connsiteY280" fmla="*/ 5508 h 98356"/>
                <a:gd name="connsiteX281" fmla="*/ 206942 w 263595"/>
                <a:gd name="connsiteY281" fmla="*/ 7082 h 98356"/>
                <a:gd name="connsiteX282" fmla="*/ 203795 w 263595"/>
                <a:gd name="connsiteY282" fmla="*/ 9049 h 98356"/>
                <a:gd name="connsiteX283" fmla="*/ 206549 w 263595"/>
                <a:gd name="connsiteY283" fmla="*/ 11016 h 98356"/>
                <a:gd name="connsiteX284" fmla="*/ 209303 w 263595"/>
                <a:gd name="connsiteY284" fmla="*/ 12196 h 98356"/>
                <a:gd name="connsiteX285" fmla="*/ 206155 w 263595"/>
                <a:gd name="connsiteY285" fmla="*/ 12196 h 98356"/>
                <a:gd name="connsiteX286" fmla="*/ 203008 w 263595"/>
                <a:gd name="connsiteY286" fmla="*/ 11803 h 98356"/>
                <a:gd name="connsiteX287" fmla="*/ 200254 w 263595"/>
                <a:gd name="connsiteY287" fmla="*/ 11409 h 98356"/>
                <a:gd name="connsiteX288" fmla="*/ 197107 w 263595"/>
                <a:gd name="connsiteY288" fmla="*/ 11409 h 98356"/>
                <a:gd name="connsiteX289" fmla="*/ 194352 w 263595"/>
                <a:gd name="connsiteY289" fmla="*/ 13376 h 98356"/>
                <a:gd name="connsiteX290" fmla="*/ 191205 w 263595"/>
                <a:gd name="connsiteY290" fmla="*/ 13376 h 98356"/>
                <a:gd name="connsiteX291" fmla="*/ 188058 w 263595"/>
                <a:gd name="connsiteY291" fmla="*/ 13376 h 98356"/>
                <a:gd name="connsiteX292" fmla="*/ 184910 w 263595"/>
                <a:gd name="connsiteY292" fmla="*/ 16130 h 98356"/>
                <a:gd name="connsiteX293" fmla="*/ 181763 w 263595"/>
                <a:gd name="connsiteY293" fmla="*/ 15737 h 98356"/>
                <a:gd name="connsiteX294" fmla="*/ 179009 w 263595"/>
                <a:gd name="connsiteY294" fmla="*/ 16917 h 98356"/>
                <a:gd name="connsiteX295" fmla="*/ 175468 w 263595"/>
                <a:gd name="connsiteY295" fmla="*/ 18098 h 98356"/>
                <a:gd name="connsiteX296" fmla="*/ 172714 w 263595"/>
                <a:gd name="connsiteY296" fmla="*/ 17311 h 98356"/>
                <a:gd name="connsiteX297" fmla="*/ 169567 w 263595"/>
                <a:gd name="connsiteY297" fmla="*/ 17311 h 98356"/>
                <a:gd name="connsiteX298" fmla="*/ 166419 w 263595"/>
                <a:gd name="connsiteY298" fmla="*/ 17311 h 98356"/>
                <a:gd name="connsiteX299" fmla="*/ 163665 w 263595"/>
                <a:gd name="connsiteY299" fmla="*/ 18491 h 98356"/>
                <a:gd name="connsiteX300" fmla="*/ 160518 w 263595"/>
                <a:gd name="connsiteY300" fmla="*/ 18884 h 98356"/>
                <a:gd name="connsiteX301" fmla="*/ 157371 w 263595"/>
                <a:gd name="connsiteY301" fmla="*/ 20065 h 98356"/>
                <a:gd name="connsiteX302" fmla="*/ 154223 w 263595"/>
                <a:gd name="connsiteY302" fmla="*/ 20458 h 98356"/>
                <a:gd name="connsiteX303" fmla="*/ 151469 w 263595"/>
                <a:gd name="connsiteY303" fmla="*/ 19671 h 98356"/>
                <a:gd name="connsiteX304" fmla="*/ 148322 w 263595"/>
                <a:gd name="connsiteY304" fmla="*/ 19278 h 98356"/>
                <a:gd name="connsiteX305" fmla="*/ 145568 w 263595"/>
                <a:gd name="connsiteY305" fmla="*/ 21245 h 98356"/>
                <a:gd name="connsiteX306" fmla="*/ 142420 w 263595"/>
                <a:gd name="connsiteY306" fmla="*/ 19278 h 98356"/>
                <a:gd name="connsiteX307" fmla="*/ 136125 w 263595"/>
                <a:gd name="connsiteY307" fmla="*/ 19278 h 98356"/>
                <a:gd name="connsiteX308" fmla="*/ 132978 w 263595"/>
                <a:gd name="connsiteY308" fmla="*/ 19278 h 98356"/>
                <a:gd name="connsiteX309" fmla="*/ 129831 w 263595"/>
                <a:gd name="connsiteY309" fmla="*/ 18884 h 98356"/>
                <a:gd name="connsiteX310" fmla="*/ 126683 w 263595"/>
                <a:gd name="connsiteY310" fmla="*/ 18098 h 98356"/>
                <a:gd name="connsiteX311" fmla="*/ 123536 w 263595"/>
                <a:gd name="connsiteY311" fmla="*/ 18491 h 98356"/>
                <a:gd name="connsiteX312" fmla="*/ 120782 w 263595"/>
                <a:gd name="connsiteY312" fmla="*/ 18491 h 98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</a:cxnLst>
              <a:rect l="l" t="t" r="r" b="b"/>
              <a:pathLst>
                <a:path w="263595" h="98356">
                  <a:moveTo>
                    <a:pt x="117241" y="18884"/>
                  </a:moveTo>
                  <a:lnTo>
                    <a:pt x="114487" y="19278"/>
                  </a:lnTo>
                  <a:lnTo>
                    <a:pt x="114094" y="22425"/>
                  </a:lnTo>
                  <a:lnTo>
                    <a:pt x="117241" y="24392"/>
                  </a:lnTo>
                  <a:lnTo>
                    <a:pt x="114094" y="24392"/>
                  </a:lnTo>
                  <a:lnTo>
                    <a:pt x="110946" y="26360"/>
                  </a:lnTo>
                  <a:lnTo>
                    <a:pt x="108192" y="25179"/>
                  </a:lnTo>
                  <a:lnTo>
                    <a:pt x="110946" y="23212"/>
                  </a:lnTo>
                  <a:lnTo>
                    <a:pt x="108192" y="22819"/>
                  </a:lnTo>
                  <a:lnTo>
                    <a:pt x="104651" y="23212"/>
                  </a:lnTo>
                  <a:lnTo>
                    <a:pt x="101504" y="23212"/>
                  </a:lnTo>
                  <a:lnTo>
                    <a:pt x="98357" y="25179"/>
                  </a:lnTo>
                  <a:lnTo>
                    <a:pt x="101504" y="25179"/>
                  </a:lnTo>
                  <a:lnTo>
                    <a:pt x="104651" y="26360"/>
                  </a:lnTo>
                  <a:lnTo>
                    <a:pt x="101504" y="26360"/>
                  </a:lnTo>
                  <a:lnTo>
                    <a:pt x="98357" y="26360"/>
                  </a:lnTo>
                  <a:lnTo>
                    <a:pt x="94422" y="27540"/>
                  </a:lnTo>
                  <a:lnTo>
                    <a:pt x="93242" y="27933"/>
                  </a:lnTo>
                  <a:lnTo>
                    <a:pt x="90094" y="27540"/>
                  </a:lnTo>
                  <a:lnTo>
                    <a:pt x="86947" y="27933"/>
                  </a:lnTo>
                  <a:lnTo>
                    <a:pt x="84193" y="29507"/>
                  </a:lnTo>
                  <a:lnTo>
                    <a:pt x="81046" y="29507"/>
                  </a:lnTo>
                  <a:lnTo>
                    <a:pt x="77898" y="29900"/>
                  </a:lnTo>
                  <a:lnTo>
                    <a:pt x="74751" y="31474"/>
                  </a:lnTo>
                  <a:lnTo>
                    <a:pt x="71603" y="33441"/>
                  </a:lnTo>
                  <a:lnTo>
                    <a:pt x="68456" y="33835"/>
                  </a:lnTo>
                  <a:lnTo>
                    <a:pt x="65702" y="34622"/>
                  </a:lnTo>
                  <a:lnTo>
                    <a:pt x="62554" y="35802"/>
                  </a:lnTo>
                  <a:lnTo>
                    <a:pt x="64915" y="36982"/>
                  </a:lnTo>
                  <a:lnTo>
                    <a:pt x="62554" y="37376"/>
                  </a:lnTo>
                  <a:lnTo>
                    <a:pt x="59407" y="38162"/>
                  </a:lnTo>
                  <a:lnTo>
                    <a:pt x="56260" y="39736"/>
                  </a:lnTo>
                  <a:lnTo>
                    <a:pt x="59014" y="40523"/>
                  </a:lnTo>
                  <a:lnTo>
                    <a:pt x="59407" y="41310"/>
                  </a:lnTo>
                  <a:lnTo>
                    <a:pt x="57833" y="43277"/>
                  </a:lnTo>
                  <a:lnTo>
                    <a:pt x="55473" y="42490"/>
                  </a:lnTo>
                  <a:lnTo>
                    <a:pt x="52325" y="42490"/>
                  </a:lnTo>
                  <a:lnTo>
                    <a:pt x="49178" y="42097"/>
                  </a:lnTo>
                  <a:lnTo>
                    <a:pt x="46424" y="42490"/>
                  </a:lnTo>
                  <a:lnTo>
                    <a:pt x="43277" y="44457"/>
                  </a:lnTo>
                  <a:lnTo>
                    <a:pt x="46424" y="46818"/>
                  </a:lnTo>
                  <a:lnTo>
                    <a:pt x="43277" y="49572"/>
                  </a:lnTo>
                  <a:lnTo>
                    <a:pt x="40129" y="49572"/>
                  </a:lnTo>
                  <a:lnTo>
                    <a:pt x="37376" y="47211"/>
                  </a:lnTo>
                  <a:lnTo>
                    <a:pt x="34228" y="47211"/>
                  </a:lnTo>
                  <a:lnTo>
                    <a:pt x="31080" y="46818"/>
                  </a:lnTo>
                  <a:lnTo>
                    <a:pt x="27933" y="46818"/>
                  </a:lnTo>
                  <a:lnTo>
                    <a:pt x="27146" y="49965"/>
                  </a:lnTo>
                  <a:lnTo>
                    <a:pt x="29900" y="52719"/>
                  </a:lnTo>
                  <a:lnTo>
                    <a:pt x="32654" y="52326"/>
                  </a:lnTo>
                  <a:lnTo>
                    <a:pt x="35802" y="51539"/>
                  </a:lnTo>
                  <a:lnTo>
                    <a:pt x="38556" y="51539"/>
                  </a:lnTo>
                  <a:lnTo>
                    <a:pt x="41310" y="51932"/>
                  </a:lnTo>
                  <a:lnTo>
                    <a:pt x="38556" y="53113"/>
                  </a:lnTo>
                  <a:lnTo>
                    <a:pt x="41310" y="53506"/>
                  </a:lnTo>
                  <a:lnTo>
                    <a:pt x="44457" y="53899"/>
                  </a:lnTo>
                  <a:lnTo>
                    <a:pt x="41310" y="54686"/>
                  </a:lnTo>
                  <a:lnTo>
                    <a:pt x="38556" y="55080"/>
                  </a:lnTo>
                  <a:lnTo>
                    <a:pt x="35408" y="55867"/>
                  </a:lnTo>
                  <a:lnTo>
                    <a:pt x="32261" y="57834"/>
                  </a:lnTo>
                  <a:lnTo>
                    <a:pt x="35408" y="58227"/>
                  </a:lnTo>
                  <a:lnTo>
                    <a:pt x="38162" y="57834"/>
                  </a:lnTo>
                  <a:lnTo>
                    <a:pt x="41310" y="57834"/>
                  </a:lnTo>
                  <a:lnTo>
                    <a:pt x="44457" y="59014"/>
                  </a:lnTo>
                  <a:lnTo>
                    <a:pt x="46031" y="59407"/>
                  </a:lnTo>
                  <a:lnTo>
                    <a:pt x="45637" y="60194"/>
                  </a:lnTo>
                  <a:lnTo>
                    <a:pt x="44064" y="59801"/>
                  </a:lnTo>
                  <a:lnTo>
                    <a:pt x="41310" y="59801"/>
                  </a:lnTo>
                  <a:lnTo>
                    <a:pt x="38162" y="60588"/>
                  </a:lnTo>
                  <a:lnTo>
                    <a:pt x="35408" y="60981"/>
                  </a:lnTo>
                  <a:lnTo>
                    <a:pt x="32261" y="60588"/>
                  </a:lnTo>
                  <a:lnTo>
                    <a:pt x="29113" y="60981"/>
                  </a:lnTo>
                  <a:lnTo>
                    <a:pt x="29113" y="63735"/>
                  </a:lnTo>
                  <a:lnTo>
                    <a:pt x="31867" y="64915"/>
                  </a:lnTo>
                  <a:lnTo>
                    <a:pt x="35015" y="64128"/>
                  </a:lnTo>
                  <a:lnTo>
                    <a:pt x="38162" y="64522"/>
                  </a:lnTo>
                  <a:lnTo>
                    <a:pt x="41310" y="65702"/>
                  </a:lnTo>
                  <a:lnTo>
                    <a:pt x="41310" y="65702"/>
                  </a:lnTo>
                  <a:lnTo>
                    <a:pt x="40523" y="66489"/>
                  </a:lnTo>
                  <a:lnTo>
                    <a:pt x="38162" y="66489"/>
                  </a:lnTo>
                  <a:lnTo>
                    <a:pt x="35408" y="66882"/>
                  </a:lnTo>
                  <a:lnTo>
                    <a:pt x="32261" y="66882"/>
                  </a:lnTo>
                  <a:lnTo>
                    <a:pt x="29113" y="67276"/>
                  </a:lnTo>
                  <a:lnTo>
                    <a:pt x="25966" y="69243"/>
                  </a:lnTo>
                  <a:lnTo>
                    <a:pt x="29113" y="69636"/>
                  </a:lnTo>
                  <a:lnTo>
                    <a:pt x="32261" y="70423"/>
                  </a:lnTo>
                  <a:lnTo>
                    <a:pt x="35408" y="71997"/>
                  </a:lnTo>
                  <a:lnTo>
                    <a:pt x="32261" y="71210"/>
                  </a:lnTo>
                  <a:lnTo>
                    <a:pt x="29113" y="71604"/>
                  </a:lnTo>
                  <a:lnTo>
                    <a:pt x="25966" y="70817"/>
                  </a:lnTo>
                  <a:lnTo>
                    <a:pt x="22818" y="71997"/>
                  </a:lnTo>
                  <a:lnTo>
                    <a:pt x="25966" y="72390"/>
                  </a:lnTo>
                  <a:lnTo>
                    <a:pt x="29113" y="72784"/>
                  </a:lnTo>
                  <a:lnTo>
                    <a:pt x="32261" y="73177"/>
                  </a:lnTo>
                  <a:lnTo>
                    <a:pt x="34621" y="74358"/>
                  </a:lnTo>
                  <a:lnTo>
                    <a:pt x="33835" y="75538"/>
                  </a:lnTo>
                  <a:lnTo>
                    <a:pt x="31867" y="75144"/>
                  </a:lnTo>
                  <a:lnTo>
                    <a:pt x="28720" y="75144"/>
                  </a:lnTo>
                  <a:lnTo>
                    <a:pt x="25573" y="73964"/>
                  </a:lnTo>
                  <a:lnTo>
                    <a:pt x="22425" y="74358"/>
                  </a:lnTo>
                  <a:lnTo>
                    <a:pt x="19671" y="75931"/>
                  </a:lnTo>
                  <a:lnTo>
                    <a:pt x="18098" y="79079"/>
                  </a:lnTo>
                  <a:lnTo>
                    <a:pt x="20851" y="79866"/>
                  </a:lnTo>
                  <a:lnTo>
                    <a:pt x="17704" y="80259"/>
                  </a:lnTo>
                  <a:lnTo>
                    <a:pt x="14557" y="80259"/>
                  </a:lnTo>
                  <a:lnTo>
                    <a:pt x="11803" y="81046"/>
                  </a:lnTo>
                  <a:lnTo>
                    <a:pt x="9049" y="82226"/>
                  </a:lnTo>
                  <a:lnTo>
                    <a:pt x="5901" y="84587"/>
                  </a:lnTo>
                  <a:lnTo>
                    <a:pt x="2754" y="84980"/>
                  </a:lnTo>
                  <a:lnTo>
                    <a:pt x="0" y="86160"/>
                  </a:lnTo>
                  <a:lnTo>
                    <a:pt x="2754" y="86554"/>
                  </a:lnTo>
                  <a:lnTo>
                    <a:pt x="5508" y="88127"/>
                  </a:lnTo>
                  <a:lnTo>
                    <a:pt x="9049" y="89308"/>
                  </a:lnTo>
                  <a:lnTo>
                    <a:pt x="11803" y="89308"/>
                  </a:lnTo>
                  <a:lnTo>
                    <a:pt x="14950" y="89308"/>
                  </a:lnTo>
                  <a:lnTo>
                    <a:pt x="18098" y="86947"/>
                  </a:lnTo>
                  <a:lnTo>
                    <a:pt x="21245" y="86947"/>
                  </a:lnTo>
                  <a:lnTo>
                    <a:pt x="23999" y="86554"/>
                  </a:lnTo>
                  <a:lnTo>
                    <a:pt x="25179" y="86554"/>
                  </a:lnTo>
                  <a:lnTo>
                    <a:pt x="23999" y="88127"/>
                  </a:lnTo>
                  <a:lnTo>
                    <a:pt x="21245" y="89308"/>
                  </a:lnTo>
                  <a:lnTo>
                    <a:pt x="18491" y="90095"/>
                  </a:lnTo>
                  <a:lnTo>
                    <a:pt x="15343" y="92062"/>
                  </a:lnTo>
                  <a:lnTo>
                    <a:pt x="16917" y="95209"/>
                  </a:lnTo>
                  <a:lnTo>
                    <a:pt x="13376" y="96389"/>
                  </a:lnTo>
                  <a:lnTo>
                    <a:pt x="16524" y="97176"/>
                  </a:lnTo>
                  <a:lnTo>
                    <a:pt x="19671" y="96389"/>
                  </a:lnTo>
                  <a:lnTo>
                    <a:pt x="22818" y="95209"/>
                  </a:lnTo>
                  <a:lnTo>
                    <a:pt x="25573" y="95209"/>
                  </a:lnTo>
                  <a:lnTo>
                    <a:pt x="28720" y="94029"/>
                  </a:lnTo>
                  <a:lnTo>
                    <a:pt x="31474" y="94029"/>
                  </a:lnTo>
                  <a:lnTo>
                    <a:pt x="34621" y="94816"/>
                  </a:lnTo>
                  <a:lnTo>
                    <a:pt x="38162" y="95996"/>
                  </a:lnTo>
                  <a:lnTo>
                    <a:pt x="40916" y="96783"/>
                  </a:lnTo>
                  <a:lnTo>
                    <a:pt x="44457" y="97176"/>
                  </a:lnTo>
                  <a:lnTo>
                    <a:pt x="47211" y="96783"/>
                  </a:lnTo>
                  <a:lnTo>
                    <a:pt x="50358" y="97176"/>
                  </a:lnTo>
                  <a:lnTo>
                    <a:pt x="53506" y="97176"/>
                  </a:lnTo>
                  <a:lnTo>
                    <a:pt x="51932" y="94422"/>
                  </a:lnTo>
                  <a:lnTo>
                    <a:pt x="54293" y="97176"/>
                  </a:lnTo>
                  <a:lnTo>
                    <a:pt x="57440" y="98357"/>
                  </a:lnTo>
                  <a:lnTo>
                    <a:pt x="60587" y="98357"/>
                  </a:lnTo>
                  <a:lnTo>
                    <a:pt x="63342" y="98750"/>
                  </a:lnTo>
                  <a:lnTo>
                    <a:pt x="66882" y="99143"/>
                  </a:lnTo>
                  <a:lnTo>
                    <a:pt x="70030" y="99143"/>
                  </a:lnTo>
                  <a:lnTo>
                    <a:pt x="68850" y="96389"/>
                  </a:lnTo>
                  <a:lnTo>
                    <a:pt x="71997" y="97570"/>
                  </a:lnTo>
                  <a:lnTo>
                    <a:pt x="75144" y="95996"/>
                  </a:lnTo>
                  <a:lnTo>
                    <a:pt x="77898" y="92849"/>
                  </a:lnTo>
                  <a:lnTo>
                    <a:pt x="74751" y="91668"/>
                  </a:lnTo>
                  <a:lnTo>
                    <a:pt x="71603" y="90881"/>
                  </a:lnTo>
                  <a:lnTo>
                    <a:pt x="68456" y="90095"/>
                  </a:lnTo>
                  <a:lnTo>
                    <a:pt x="65309" y="87734"/>
                  </a:lnTo>
                  <a:lnTo>
                    <a:pt x="68456" y="89308"/>
                  </a:lnTo>
                  <a:lnTo>
                    <a:pt x="71603" y="90095"/>
                  </a:lnTo>
                  <a:lnTo>
                    <a:pt x="74357" y="90881"/>
                  </a:lnTo>
                  <a:lnTo>
                    <a:pt x="77898" y="91275"/>
                  </a:lnTo>
                  <a:lnTo>
                    <a:pt x="80652" y="90095"/>
                  </a:lnTo>
                  <a:lnTo>
                    <a:pt x="81832" y="87341"/>
                  </a:lnTo>
                  <a:lnTo>
                    <a:pt x="78685" y="85767"/>
                  </a:lnTo>
                  <a:lnTo>
                    <a:pt x="75538" y="84193"/>
                  </a:lnTo>
                  <a:lnTo>
                    <a:pt x="72784" y="83800"/>
                  </a:lnTo>
                  <a:lnTo>
                    <a:pt x="69636" y="83406"/>
                  </a:lnTo>
                  <a:lnTo>
                    <a:pt x="66489" y="83013"/>
                  </a:lnTo>
                  <a:lnTo>
                    <a:pt x="63342" y="83013"/>
                  </a:lnTo>
                  <a:lnTo>
                    <a:pt x="60587" y="82226"/>
                  </a:lnTo>
                  <a:lnTo>
                    <a:pt x="63342" y="82620"/>
                  </a:lnTo>
                  <a:lnTo>
                    <a:pt x="69636" y="82620"/>
                  </a:lnTo>
                  <a:lnTo>
                    <a:pt x="72784" y="83013"/>
                  </a:lnTo>
                  <a:lnTo>
                    <a:pt x="75931" y="83406"/>
                  </a:lnTo>
                  <a:lnTo>
                    <a:pt x="79079" y="84193"/>
                  </a:lnTo>
                  <a:lnTo>
                    <a:pt x="81832" y="86160"/>
                  </a:lnTo>
                  <a:lnTo>
                    <a:pt x="84980" y="86160"/>
                  </a:lnTo>
                  <a:lnTo>
                    <a:pt x="86554" y="83406"/>
                  </a:lnTo>
                  <a:lnTo>
                    <a:pt x="83800" y="80652"/>
                  </a:lnTo>
                  <a:lnTo>
                    <a:pt x="80652" y="79866"/>
                  </a:lnTo>
                  <a:lnTo>
                    <a:pt x="77898" y="78292"/>
                  </a:lnTo>
                  <a:lnTo>
                    <a:pt x="75144" y="77112"/>
                  </a:lnTo>
                  <a:lnTo>
                    <a:pt x="71603" y="76718"/>
                  </a:lnTo>
                  <a:lnTo>
                    <a:pt x="75144" y="76325"/>
                  </a:lnTo>
                  <a:lnTo>
                    <a:pt x="71997" y="73964"/>
                  </a:lnTo>
                  <a:lnTo>
                    <a:pt x="75144" y="74358"/>
                  </a:lnTo>
                  <a:lnTo>
                    <a:pt x="77898" y="76325"/>
                  </a:lnTo>
                  <a:lnTo>
                    <a:pt x="81046" y="77898"/>
                  </a:lnTo>
                  <a:lnTo>
                    <a:pt x="83800" y="78685"/>
                  </a:lnTo>
                  <a:lnTo>
                    <a:pt x="86947" y="79079"/>
                  </a:lnTo>
                  <a:lnTo>
                    <a:pt x="89701" y="77898"/>
                  </a:lnTo>
                  <a:lnTo>
                    <a:pt x="87734" y="75144"/>
                  </a:lnTo>
                  <a:lnTo>
                    <a:pt x="90881" y="76325"/>
                  </a:lnTo>
                  <a:lnTo>
                    <a:pt x="94029" y="75144"/>
                  </a:lnTo>
                  <a:lnTo>
                    <a:pt x="90881" y="73964"/>
                  </a:lnTo>
                  <a:lnTo>
                    <a:pt x="94029" y="73177"/>
                  </a:lnTo>
                  <a:lnTo>
                    <a:pt x="96783" y="73177"/>
                  </a:lnTo>
                  <a:lnTo>
                    <a:pt x="95209" y="70423"/>
                  </a:lnTo>
                  <a:lnTo>
                    <a:pt x="92455" y="67276"/>
                  </a:lnTo>
                  <a:lnTo>
                    <a:pt x="92455" y="67276"/>
                  </a:lnTo>
                  <a:lnTo>
                    <a:pt x="95209" y="66489"/>
                  </a:lnTo>
                  <a:lnTo>
                    <a:pt x="95209" y="66489"/>
                  </a:lnTo>
                  <a:lnTo>
                    <a:pt x="98750" y="66882"/>
                  </a:lnTo>
                  <a:lnTo>
                    <a:pt x="101897" y="65309"/>
                  </a:lnTo>
                  <a:lnTo>
                    <a:pt x="101897" y="64128"/>
                  </a:lnTo>
                  <a:lnTo>
                    <a:pt x="108192" y="62555"/>
                  </a:lnTo>
                  <a:lnTo>
                    <a:pt x="108586" y="62555"/>
                  </a:lnTo>
                  <a:lnTo>
                    <a:pt x="111733" y="62948"/>
                  </a:lnTo>
                  <a:lnTo>
                    <a:pt x="114880" y="60588"/>
                  </a:lnTo>
                  <a:lnTo>
                    <a:pt x="114487" y="60588"/>
                  </a:lnTo>
                  <a:lnTo>
                    <a:pt x="117241" y="59801"/>
                  </a:lnTo>
                  <a:lnTo>
                    <a:pt x="119995" y="59014"/>
                  </a:lnTo>
                  <a:lnTo>
                    <a:pt x="123142" y="57440"/>
                  </a:lnTo>
                  <a:lnTo>
                    <a:pt x="119995" y="55867"/>
                  </a:lnTo>
                  <a:lnTo>
                    <a:pt x="125896" y="55867"/>
                  </a:lnTo>
                  <a:lnTo>
                    <a:pt x="125109" y="53113"/>
                  </a:lnTo>
                  <a:lnTo>
                    <a:pt x="116061" y="53113"/>
                  </a:lnTo>
                  <a:lnTo>
                    <a:pt x="113307" y="52719"/>
                  </a:lnTo>
                  <a:lnTo>
                    <a:pt x="113307" y="51932"/>
                  </a:lnTo>
                  <a:lnTo>
                    <a:pt x="114094" y="52326"/>
                  </a:lnTo>
                  <a:lnTo>
                    <a:pt x="117241" y="51539"/>
                  </a:lnTo>
                  <a:lnTo>
                    <a:pt x="119995" y="51932"/>
                  </a:lnTo>
                  <a:lnTo>
                    <a:pt x="121175" y="49965"/>
                  </a:lnTo>
                  <a:lnTo>
                    <a:pt x="121962" y="49572"/>
                  </a:lnTo>
                  <a:lnTo>
                    <a:pt x="124323" y="51145"/>
                  </a:lnTo>
                  <a:lnTo>
                    <a:pt x="127470" y="51539"/>
                  </a:lnTo>
                  <a:lnTo>
                    <a:pt x="127470" y="48785"/>
                  </a:lnTo>
                  <a:lnTo>
                    <a:pt x="130224" y="47605"/>
                  </a:lnTo>
                  <a:lnTo>
                    <a:pt x="133371" y="46818"/>
                  </a:lnTo>
                  <a:lnTo>
                    <a:pt x="133371" y="46424"/>
                  </a:lnTo>
                  <a:lnTo>
                    <a:pt x="137305" y="45637"/>
                  </a:lnTo>
                  <a:lnTo>
                    <a:pt x="137305" y="45637"/>
                  </a:lnTo>
                  <a:lnTo>
                    <a:pt x="140453" y="45244"/>
                  </a:lnTo>
                  <a:lnTo>
                    <a:pt x="140846" y="44457"/>
                  </a:lnTo>
                  <a:lnTo>
                    <a:pt x="169173" y="36982"/>
                  </a:lnTo>
                  <a:lnTo>
                    <a:pt x="169567" y="36982"/>
                  </a:lnTo>
                  <a:lnTo>
                    <a:pt x="172321" y="36195"/>
                  </a:lnTo>
                  <a:lnTo>
                    <a:pt x="175075" y="33441"/>
                  </a:lnTo>
                  <a:lnTo>
                    <a:pt x="178615" y="35408"/>
                  </a:lnTo>
                  <a:lnTo>
                    <a:pt x="184910" y="33441"/>
                  </a:lnTo>
                  <a:lnTo>
                    <a:pt x="188058" y="33441"/>
                  </a:lnTo>
                  <a:lnTo>
                    <a:pt x="190812" y="32654"/>
                  </a:lnTo>
                  <a:lnTo>
                    <a:pt x="193566" y="32261"/>
                  </a:lnTo>
                  <a:lnTo>
                    <a:pt x="196713" y="31474"/>
                  </a:lnTo>
                  <a:lnTo>
                    <a:pt x="199860" y="31474"/>
                  </a:lnTo>
                  <a:lnTo>
                    <a:pt x="203008" y="31081"/>
                  </a:lnTo>
                  <a:lnTo>
                    <a:pt x="206155" y="29900"/>
                  </a:lnTo>
                  <a:lnTo>
                    <a:pt x="209303" y="28720"/>
                  </a:lnTo>
                  <a:lnTo>
                    <a:pt x="212450" y="28327"/>
                  </a:lnTo>
                  <a:lnTo>
                    <a:pt x="215204" y="27933"/>
                  </a:lnTo>
                  <a:lnTo>
                    <a:pt x="218352" y="27540"/>
                  </a:lnTo>
                  <a:lnTo>
                    <a:pt x="221499" y="27146"/>
                  </a:lnTo>
                  <a:lnTo>
                    <a:pt x="224253" y="26360"/>
                  </a:lnTo>
                  <a:lnTo>
                    <a:pt x="227400" y="25573"/>
                  </a:lnTo>
                  <a:lnTo>
                    <a:pt x="230548" y="24392"/>
                  </a:lnTo>
                  <a:lnTo>
                    <a:pt x="233695" y="24392"/>
                  </a:lnTo>
                  <a:lnTo>
                    <a:pt x="236449" y="23999"/>
                  </a:lnTo>
                  <a:lnTo>
                    <a:pt x="239990" y="22819"/>
                  </a:lnTo>
                  <a:lnTo>
                    <a:pt x="242744" y="21638"/>
                  </a:lnTo>
                  <a:lnTo>
                    <a:pt x="245892" y="21245"/>
                  </a:lnTo>
                  <a:lnTo>
                    <a:pt x="249039" y="20458"/>
                  </a:lnTo>
                  <a:lnTo>
                    <a:pt x="251793" y="19278"/>
                  </a:lnTo>
                  <a:lnTo>
                    <a:pt x="254940" y="18884"/>
                  </a:lnTo>
                  <a:lnTo>
                    <a:pt x="257694" y="17311"/>
                  </a:lnTo>
                  <a:lnTo>
                    <a:pt x="260448" y="15344"/>
                  </a:lnTo>
                  <a:lnTo>
                    <a:pt x="263596" y="13376"/>
                  </a:lnTo>
                  <a:lnTo>
                    <a:pt x="266350" y="11409"/>
                  </a:lnTo>
                  <a:lnTo>
                    <a:pt x="263202" y="10229"/>
                  </a:lnTo>
                  <a:lnTo>
                    <a:pt x="263202" y="7475"/>
                  </a:lnTo>
                  <a:lnTo>
                    <a:pt x="259661" y="5508"/>
                  </a:lnTo>
                  <a:lnTo>
                    <a:pt x="256514" y="3541"/>
                  </a:lnTo>
                  <a:lnTo>
                    <a:pt x="253366" y="2754"/>
                  </a:lnTo>
                  <a:lnTo>
                    <a:pt x="250219" y="1574"/>
                  </a:lnTo>
                  <a:lnTo>
                    <a:pt x="247465" y="1574"/>
                  </a:lnTo>
                  <a:lnTo>
                    <a:pt x="244318" y="1180"/>
                  </a:lnTo>
                  <a:lnTo>
                    <a:pt x="241563" y="787"/>
                  </a:lnTo>
                  <a:lnTo>
                    <a:pt x="238416" y="0"/>
                  </a:lnTo>
                  <a:lnTo>
                    <a:pt x="232122" y="0"/>
                  </a:lnTo>
                  <a:lnTo>
                    <a:pt x="228581" y="787"/>
                  </a:lnTo>
                  <a:lnTo>
                    <a:pt x="225826" y="1574"/>
                  </a:lnTo>
                  <a:lnTo>
                    <a:pt x="222679" y="1967"/>
                  </a:lnTo>
                  <a:lnTo>
                    <a:pt x="219532" y="2754"/>
                  </a:lnTo>
                  <a:lnTo>
                    <a:pt x="216385" y="3147"/>
                  </a:lnTo>
                  <a:lnTo>
                    <a:pt x="213237" y="4328"/>
                  </a:lnTo>
                  <a:lnTo>
                    <a:pt x="210089" y="5508"/>
                  </a:lnTo>
                  <a:lnTo>
                    <a:pt x="206942" y="7082"/>
                  </a:lnTo>
                  <a:lnTo>
                    <a:pt x="203795" y="9049"/>
                  </a:lnTo>
                  <a:lnTo>
                    <a:pt x="206549" y="11016"/>
                  </a:lnTo>
                  <a:lnTo>
                    <a:pt x="209303" y="12196"/>
                  </a:lnTo>
                  <a:lnTo>
                    <a:pt x="206155" y="12196"/>
                  </a:lnTo>
                  <a:lnTo>
                    <a:pt x="203008" y="11803"/>
                  </a:lnTo>
                  <a:lnTo>
                    <a:pt x="200254" y="11409"/>
                  </a:lnTo>
                  <a:lnTo>
                    <a:pt x="197107" y="11409"/>
                  </a:lnTo>
                  <a:lnTo>
                    <a:pt x="194352" y="13376"/>
                  </a:lnTo>
                  <a:lnTo>
                    <a:pt x="191205" y="13376"/>
                  </a:lnTo>
                  <a:lnTo>
                    <a:pt x="188058" y="13376"/>
                  </a:lnTo>
                  <a:lnTo>
                    <a:pt x="184910" y="16130"/>
                  </a:lnTo>
                  <a:lnTo>
                    <a:pt x="181763" y="15737"/>
                  </a:lnTo>
                  <a:lnTo>
                    <a:pt x="179009" y="16917"/>
                  </a:lnTo>
                  <a:lnTo>
                    <a:pt x="175468" y="18098"/>
                  </a:lnTo>
                  <a:lnTo>
                    <a:pt x="172714" y="17311"/>
                  </a:lnTo>
                  <a:lnTo>
                    <a:pt x="169567" y="17311"/>
                  </a:lnTo>
                  <a:lnTo>
                    <a:pt x="166419" y="17311"/>
                  </a:lnTo>
                  <a:lnTo>
                    <a:pt x="163665" y="18491"/>
                  </a:lnTo>
                  <a:lnTo>
                    <a:pt x="160518" y="18884"/>
                  </a:lnTo>
                  <a:lnTo>
                    <a:pt x="157371" y="20065"/>
                  </a:lnTo>
                  <a:lnTo>
                    <a:pt x="154223" y="20458"/>
                  </a:lnTo>
                  <a:lnTo>
                    <a:pt x="151469" y="19671"/>
                  </a:lnTo>
                  <a:lnTo>
                    <a:pt x="148322" y="19278"/>
                  </a:lnTo>
                  <a:lnTo>
                    <a:pt x="145568" y="21245"/>
                  </a:lnTo>
                  <a:lnTo>
                    <a:pt x="142420" y="19278"/>
                  </a:lnTo>
                  <a:lnTo>
                    <a:pt x="136125" y="19278"/>
                  </a:lnTo>
                  <a:lnTo>
                    <a:pt x="132978" y="19278"/>
                  </a:lnTo>
                  <a:lnTo>
                    <a:pt x="129831" y="18884"/>
                  </a:lnTo>
                  <a:lnTo>
                    <a:pt x="126683" y="18098"/>
                  </a:lnTo>
                  <a:lnTo>
                    <a:pt x="123536" y="18491"/>
                  </a:lnTo>
                  <a:lnTo>
                    <a:pt x="120782" y="1849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63" name="Freeform: Shape 3257">
              <a:extLst>
                <a:ext uri="{FF2B5EF4-FFF2-40B4-BE49-F238E27FC236}">
                  <a16:creationId xmlns:a16="http://schemas.microsoft.com/office/drawing/2014/main" id="{9894E6A7-5199-4760-B5AB-D48A47991EC0}"/>
                </a:ext>
              </a:extLst>
            </p:cNvPr>
            <p:cNvSpPr/>
            <p:nvPr/>
          </p:nvSpPr>
          <p:spPr>
            <a:xfrm>
              <a:off x="7350244" y="1394634"/>
              <a:ext cx="3934" cy="3934"/>
            </a:xfrm>
            <a:custGeom>
              <a:avLst/>
              <a:gdLst>
                <a:gd name="connsiteX0" fmla="*/ 0 w 3934"/>
                <a:gd name="connsiteY0" fmla="*/ 393 h 0"/>
                <a:gd name="connsiteX1" fmla="*/ 3147 w 3934"/>
                <a:gd name="connsiteY1" fmla="*/ 1180 h 0"/>
                <a:gd name="connsiteX2" fmla="*/ 3147 w 3934"/>
                <a:gd name="connsiteY2" fmla="*/ 393 h 0"/>
                <a:gd name="connsiteX3" fmla="*/ 6295 w 3934"/>
                <a:gd name="connsiteY3" fmla="*/ 393 h 0"/>
                <a:gd name="connsiteX4" fmla="*/ 3147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393"/>
                  </a:moveTo>
                  <a:lnTo>
                    <a:pt x="3147" y="1180"/>
                  </a:lnTo>
                  <a:lnTo>
                    <a:pt x="3147" y="393"/>
                  </a:lnTo>
                  <a:lnTo>
                    <a:pt x="6295" y="393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64" name="Freeform: Shape 3258">
              <a:extLst>
                <a:ext uri="{FF2B5EF4-FFF2-40B4-BE49-F238E27FC236}">
                  <a16:creationId xmlns:a16="http://schemas.microsoft.com/office/drawing/2014/main" id="{B04909E4-0DAF-4AAC-BEEF-BEE9F1734414}"/>
                </a:ext>
              </a:extLst>
            </p:cNvPr>
            <p:cNvSpPr/>
            <p:nvPr/>
          </p:nvSpPr>
          <p:spPr>
            <a:xfrm>
              <a:off x="7584332" y="1312408"/>
              <a:ext cx="35408" cy="11803"/>
            </a:xfrm>
            <a:custGeom>
              <a:avLst/>
              <a:gdLst>
                <a:gd name="connsiteX0" fmla="*/ 1573 w 35408"/>
                <a:gd name="connsiteY0" fmla="*/ 5115 h 11802"/>
                <a:gd name="connsiteX1" fmla="*/ 3540 w 35408"/>
                <a:gd name="connsiteY1" fmla="*/ 6688 h 11802"/>
                <a:gd name="connsiteX2" fmla="*/ 3934 w 35408"/>
                <a:gd name="connsiteY2" fmla="*/ 9049 h 11802"/>
                <a:gd name="connsiteX3" fmla="*/ 1967 w 35408"/>
                <a:gd name="connsiteY3" fmla="*/ 5901 h 11802"/>
                <a:gd name="connsiteX4" fmla="*/ 3934 w 35408"/>
                <a:gd name="connsiteY4" fmla="*/ 9442 h 11802"/>
                <a:gd name="connsiteX5" fmla="*/ 3540 w 35408"/>
                <a:gd name="connsiteY5" fmla="*/ 10229 h 11802"/>
                <a:gd name="connsiteX6" fmla="*/ 3540 w 35408"/>
                <a:gd name="connsiteY6" fmla="*/ 13376 h 11802"/>
                <a:gd name="connsiteX7" fmla="*/ 6295 w 35408"/>
                <a:gd name="connsiteY7" fmla="*/ 13376 h 11802"/>
                <a:gd name="connsiteX8" fmla="*/ 7475 w 35408"/>
                <a:gd name="connsiteY8" fmla="*/ 11409 h 11802"/>
                <a:gd name="connsiteX9" fmla="*/ 10622 w 35408"/>
                <a:gd name="connsiteY9" fmla="*/ 12983 h 11802"/>
                <a:gd name="connsiteX10" fmla="*/ 13770 w 35408"/>
                <a:gd name="connsiteY10" fmla="*/ 13376 h 11802"/>
                <a:gd name="connsiteX11" fmla="*/ 17310 w 35408"/>
                <a:gd name="connsiteY11" fmla="*/ 12196 h 11802"/>
                <a:gd name="connsiteX12" fmla="*/ 20458 w 35408"/>
                <a:gd name="connsiteY12" fmla="*/ 11409 h 11802"/>
                <a:gd name="connsiteX13" fmla="*/ 23212 w 35408"/>
                <a:gd name="connsiteY13" fmla="*/ 10623 h 11802"/>
                <a:gd name="connsiteX14" fmla="*/ 26359 w 35408"/>
                <a:gd name="connsiteY14" fmla="*/ 11016 h 11802"/>
                <a:gd name="connsiteX15" fmla="*/ 29113 w 35408"/>
                <a:gd name="connsiteY15" fmla="*/ 10623 h 11802"/>
                <a:gd name="connsiteX16" fmla="*/ 32261 w 35408"/>
                <a:gd name="connsiteY16" fmla="*/ 9049 h 11802"/>
                <a:gd name="connsiteX17" fmla="*/ 35408 w 35408"/>
                <a:gd name="connsiteY17" fmla="*/ 9049 h 11802"/>
                <a:gd name="connsiteX18" fmla="*/ 38556 w 35408"/>
                <a:gd name="connsiteY18" fmla="*/ 8655 h 11802"/>
                <a:gd name="connsiteX19" fmla="*/ 35408 w 35408"/>
                <a:gd name="connsiteY19" fmla="*/ 6688 h 11802"/>
                <a:gd name="connsiteX20" fmla="*/ 32261 w 35408"/>
                <a:gd name="connsiteY20" fmla="*/ 5115 h 11802"/>
                <a:gd name="connsiteX21" fmla="*/ 29507 w 35408"/>
                <a:gd name="connsiteY21" fmla="*/ 7082 h 11802"/>
                <a:gd name="connsiteX22" fmla="*/ 26753 w 35408"/>
                <a:gd name="connsiteY22" fmla="*/ 6688 h 11802"/>
                <a:gd name="connsiteX23" fmla="*/ 23606 w 35408"/>
                <a:gd name="connsiteY23" fmla="*/ 4328 h 11802"/>
                <a:gd name="connsiteX24" fmla="*/ 25179 w 35408"/>
                <a:gd name="connsiteY24" fmla="*/ 1574 h 11802"/>
                <a:gd name="connsiteX25" fmla="*/ 21638 w 35408"/>
                <a:gd name="connsiteY25" fmla="*/ 1180 h 11802"/>
                <a:gd name="connsiteX26" fmla="*/ 18491 w 35408"/>
                <a:gd name="connsiteY26" fmla="*/ 0 h 11802"/>
                <a:gd name="connsiteX27" fmla="*/ 15343 w 35408"/>
                <a:gd name="connsiteY27" fmla="*/ 0 h 11802"/>
                <a:gd name="connsiteX28" fmla="*/ 12196 w 35408"/>
                <a:gd name="connsiteY28" fmla="*/ 393 h 11802"/>
                <a:gd name="connsiteX29" fmla="*/ 9049 w 35408"/>
                <a:gd name="connsiteY29" fmla="*/ 787 h 11802"/>
                <a:gd name="connsiteX30" fmla="*/ 5901 w 35408"/>
                <a:gd name="connsiteY30" fmla="*/ 1180 h 11802"/>
                <a:gd name="connsiteX31" fmla="*/ 3147 w 35408"/>
                <a:gd name="connsiteY31" fmla="*/ 1574 h 11802"/>
                <a:gd name="connsiteX32" fmla="*/ 0 w 35408"/>
                <a:gd name="connsiteY32" fmla="*/ 2754 h 11802"/>
                <a:gd name="connsiteX33" fmla="*/ 1967 w 35408"/>
                <a:gd name="connsiteY33" fmla="*/ 5901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5408" h="11802">
                  <a:moveTo>
                    <a:pt x="1573" y="5115"/>
                  </a:moveTo>
                  <a:lnTo>
                    <a:pt x="3540" y="6688"/>
                  </a:lnTo>
                  <a:lnTo>
                    <a:pt x="3934" y="9049"/>
                  </a:lnTo>
                  <a:lnTo>
                    <a:pt x="1967" y="5901"/>
                  </a:lnTo>
                  <a:lnTo>
                    <a:pt x="3934" y="9442"/>
                  </a:lnTo>
                  <a:lnTo>
                    <a:pt x="3540" y="10229"/>
                  </a:lnTo>
                  <a:lnTo>
                    <a:pt x="3540" y="13376"/>
                  </a:lnTo>
                  <a:lnTo>
                    <a:pt x="6295" y="13376"/>
                  </a:lnTo>
                  <a:lnTo>
                    <a:pt x="7475" y="11409"/>
                  </a:lnTo>
                  <a:lnTo>
                    <a:pt x="10622" y="12983"/>
                  </a:lnTo>
                  <a:lnTo>
                    <a:pt x="13770" y="13376"/>
                  </a:lnTo>
                  <a:lnTo>
                    <a:pt x="17310" y="12196"/>
                  </a:lnTo>
                  <a:lnTo>
                    <a:pt x="20458" y="11409"/>
                  </a:lnTo>
                  <a:lnTo>
                    <a:pt x="23212" y="10623"/>
                  </a:lnTo>
                  <a:lnTo>
                    <a:pt x="26359" y="11016"/>
                  </a:lnTo>
                  <a:lnTo>
                    <a:pt x="29113" y="10623"/>
                  </a:lnTo>
                  <a:lnTo>
                    <a:pt x="32261" y="9049"/>
                  </a:lnTo>
                  <a:lnTo>
                    <a:pt x="35408" y="9049"/>
                  </a:lnTo>
                  <a:lnTo>
                    <a:pt x="38556" y="8655"/>
                  </a:lnTo>
                  <a:lnTo>
                    <a:pt x="35408" y="6688"/>
                  </a:lnTo>
                  <a:lnTo>
                    <a:pt x="32261" y="5115"/>
                  </a:lnTo>
                  <a:lnTo>
                    <a:pt x="29507" y="7082"/>
                  </a:lnTo>
                  <a:lnTo>
                    <a:pt x="26753" y="6688"/>
                  </a:lnTo>
                  <a:lnTo>
                    <a:pt x="23606" y="4328"/>
                  </a:lnTo>
                  <a:lnTo>
                    <a:pt x="25179" y="1574"/>
                  </a:lnTo>
                  <a:lnTo>
                    <a:pt x="21638" y="1180"/>
                  </a:lnTo>
                  <a:lnTo>
                    <a:pt x="18491" y="0"/>
                  </a:lnTo>
                  <a:lnTo>
                    <a:pt x="15343" y="0"/>
                  </a:lnTo>
                  <a:lnTo>
                    <a:pt x="12196" y="393"/>
                  </a:lnTo>
                  <a:lnTo>
                    <a:pt x="9049" y="787"/>
                  </a:lnTo>
                  <a:lnTo>
                    <a:pt x="5901" y="1180"/>
                  </a:lnTo>
                  <a:lnTo>
                    <a:pt x="3147" y="1574"/>
                  </a:lnTo>
                  <a:lnTo>
                    <a:pt x="0" y="2754"/>
                  </a:lnTo>
                  <a:lnTo>
                    <a:pt x="196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65" name="Freeform: Shape 3259">
              <a:extLst>
                <a:ext uri="{FF2B5EF4-FFF2-40B4-BE49-F238E27FC236}">
                  <a16:creationId xmlns:a16="http://schemas.microsoft.com/office/drawing/2014/main" id="{A2A4ABBC-67D8-42F9-AB5A-7DF68B2223C2}"/>
                </a:ext>
              </a:extLst>
            </p:cNvPr>
            <p:cNvSpPr/>
            <p:nvPr/>
          </p:nvSpPr>
          <p:spPr>
            <a:xfrm>
              <a:off x="7586693" y="1155431"/>
              <a:ext cx="27540" cy="3934"/>
            </a:xfrm>
            <a:custGeom>
              <a:avLst/>
              <a:gdLst>
                <a:gd name="connsiteX0" fmla="*/ 6295 w 27539"/>
                <a:gd name="connsiteY0" fmla="*/ 2361 h 3934"/>
                <a:gd name="connsiteX1" fmla="*/ 9442 w 27539"/>
                <a:gd name="connsiteY1" fmla="*/ 2361 h 3934"/>
                <a:gd name="connsiteX2" fmla="*/ 11016 w 27539"/>
                <a:gd name="connsiteY2" fmla="*/ 2361 h 3934"/>
                <a:gd name="connsiteX3" fmla="*/ 13770 w 27539"/>
                <a:gd name="connsiteY3" fmla="*/ 3934 h 3934"/>
                <a:gd name="connsiteX4" fmla="*/ 17311 w 27539"/>
                <a:gd name="connsiteY4" fmla="*/ 3541 h 3934"/>
                <a:gd name="connsiteX5" fmla="*/ 29114 w 27539"/>
                <a:gd name="connsiteY5" fmla="*/ 3541 h 3934"/>
                <a:gd name="connsiteX6" fmla="*/ 25966 w 27539"/>
                <a:gd name="connsiteY6" fmla="*/ 2361 h 3934"/>
                <a:gd name="connsiteX7" fmla="*/ 22425 w 27539"/>
                <a:gd name="connsiteY7" fmla="*/ 2361 h 3934"/>
                <a:gd name="connsiteX8" fmla="*/ 19278 w 27539"/>
                <a:gd name="connsiteY8" fmla="*/ 1574 h 3934"/>
                <a:gd name="connsiteX9" fmla="*/ 16130 w 27539"/>
                <a:gd name="connsiteY9" fmla="*/ 1180 h 3934"/>
                <a:gd name="connsiteX10" fmla="*/ 13377 w 27539"/>
                <a:gd name="connsiteY10" fmla="*/ 1180 h 3934"/>
                <a:gd name="connsiteX11" fmla="*/ 9836 w 27539"/>
                <a:gd name="connsiteY11" fmla="*/ 393 h 3934"/>
                <a:gd name="connsiteX12" fmla="*/ 6295 w 27539"/>
                <a:gd name="connsiteY12" fmla="*/ 0 h 3934"/>
                <a:gd name="connsiteX13" fmla="*/ 3147 w 27539"/>
                <a:gd name="connsiteY13" fmla="*/ 1180 h 3934"/>
                <a:gd name="connsiteX14" fmla="*/ 0 w 27539"/>
                <a:gd name="connsiteY14" fmla="*/ 393 h 3934"/>
                <a:gd name="connsiteX15" fmla="*/ 3147 w 27539"/>
                <a:gd name="connsiteY15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539" h="3934">
                  <a:moveTo>
                    <a:pt x="6295" y="2361"/>
                  </a:moveTo>
                  <a:lnTo>
                    <a:pt x="9442" y="2361"/>
                  </a:lnTo>
                  <a:lnTo>
                    <a:pt x="11016" y="2361"/>
                  </a:lnTo>
                  <a:lnTo>
                    <a:pt x="13770" y="3934"/>
                  </a:lnTo>
                  <a:lnTo>
                    <a:pt x="17311" y="3541"/>
                  </a:lnTo>
                  <a:lnTo>
                    <a:pt x="29114" y="3541"/>
                  </a:lnTo>
                  <a:lnTo>
                    <a:pt x="25966" y="2361"/>
                  </a:lnTo>
                  <a:lnTo>
                    <a:pt x="22425" y="2361"/>
                  </a:lnTo>
                  <a:lnTo>
                    <a:pt x="19278" y="1574"/>
                  </a:lnTo>
                  <a:lnTo>
                    <a:pt x="16130" y="1180"/>
                  </a:lnTo>
                  <a:lnTo>
                    <a:pt x="13377" y="1180"/>
                  </a:lnTo>
                  <a:lnTo>
                    <a:pt x="9836" y="393"/>
                  </a:lnTo>
                  <a:lnTo>
                    <a:pt x="6295" y="0"/>
                  </a:lnTo>
                  <a:lnTo>
                    <a:pt x="3147" y="1180"/>
                  </a:lnTo>
                  <a:lnTo>
                    <a:pt x="0" y="393"/>
                  </a:lnTo>
                  <a:lnTo>
                    <a:pt x="314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66" name="Freeform: Shape 3260">
              <a:extLst>
                <a:ext uri="{FF2B5EF4-FFF2-40B4-BE49-F238E27FC236}">
                  <a16:creationId xmlns:a16="http://schemas.microsoft.com/office/drawing/2014/main" id="{892091CC-AA37-4C93-8FF9-EA3E3F8B7690}"/>
                </a:ext>
              </a:extLst>
            </p:cNvPr>
            <p:cNvSpPr/>
            <p:nvPr/>
          </p:nvSpPr>
          <p:spPr>
            <a:xfrm>
              <a:off x="7609118" y="1315556"/>
              <a:ext cx="3934" cy="3934"/>
            </a:xfrm>
            <a:custGeom>
              <a:avLst/>
              <a:gdLst>
                <a:gd name="connsiteX0" fmla="*/ 2754 w 0"/>
                <a:gd name="connsiteY0" fmla="*/ 3147 h 0"/>
                <a:gd name="connsiteX1" fmla="*/ 3148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147"/>
                  </a:moveTo>
                  <a:lnTo>
                    <a:pt x="3148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67" name="Freeform: Shape 3261">
              <a:extLst>
                <a:ext uri="{FF2B5EF4-FFF2-40B4-BE49-F238E27FC236}">
                  <a16:creationId xmlns:a16="http://schemas.microsoft.com/office/drawing/2014/main" id="{1FDD9525-94A1-45AA-92C8-559CA8041E4F}"/>
                </a:ext>
              </a:extLst>
            </p:cNvPr>
            <p:cNvSpPr/>
            <p:nvPr/>
          </p:nvSpPr>
          <p:spPr>
            <a:xfrm>
              <a:off x="7676001" y="1322637"/>
              <a:ext cx="11803" cy="7869"/>
            </a:xfrm>
            <a:custGeom>
              <a:avLst/>
              <a:gdLst>
                <a:gd name="connsiteX0" fmla="*/ 5901 w 11802"/>
                <a:gd name="connsiteY0" fmla="*/ 5115 h 7868"/>
                <a:gd name="connsiteX1" fmla="*/ 9049 w 11802"/>
                <a:gd name="connsiteY1" fmla="*/ 6295 h 7868"/>
                <a:gd name="connsiteX2" fmla="*/ 12196 w 11802"/>
                <a:gd name="connsiteY2" fmla="*/ 7082 h 7868"/>
                <a:gd name="connsiteX3" fmla="*/ 14950 w 11802"/>
                <a:gd name="connsiteY3" fmla="*/ 7869 h 7868"/>
                <a:gd name="connsiteX4" fmla="*/ 12590 w 11802"/>
                <a:gd name="connsiteY4" fmla="*/ 4721 h 7868"/>
                <a:gd name="connsiteX5" fmla="*/ 11803 w 11802"/>
                <a:gd name="connsiteY5" fmla="*/ 1967 h 7868"/>
                <a:gd name="connsiteX6" fmla="*/ 14950 w 11802"/>
                <a:gd name="connsiteY6" fmla="*/ 1180 h 7868"/>
                <a:gd name="connsiteX7" fmla="*/ 11803 w 11802"/>
                <a:gd name="connsiteY7" fmla="*/ 1180 h 7868"/>
                <a:gd name="connsiteX8" fmla="*/ 9049 w 11802"/>
                <a:gd name="connsiteY8" fmla="*/ 787 h 7868"/>
                <a:gd name="connsiteX9" fmla="*/ 5901 w 11802"/>
                <a:gd name="connsiteY9" fmla="*/ 0 h 7868"/>
                <a:gd name="connsiteX10" fmla="*/ 2754 w 11802"/>
                <a:gd name="connsiteY10" fmla="*/ 393 h 7868"/>
                <a:gd name="connsiteX11" fmla="*/ 0 w 11802"/>
                <a:gd name="connsiteY11" fmla="*/ 3147 h 7868"/>
                <a:gd name="connsiteX12" fmla="*/ 0 w 11802"/>
                <a:gd name="connsiteY12" fmla="*/ 3147 h 7868"/>
                <a:gd name="connsiteX13" fmla="*/ 2754 w 11802"/>
                <a:gd name="connsiteY13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802" h="7868">
                  <a:moveTo>
                    <a:pt x="5901" y="5115"/>
                  </a:moveTo>
                  <a:lnTo>
                    <a:pt x="9049" y="6295"/>
                  </a:lnTo>
                  <a:lnTo>
                    <a:pt x="12196" y="7082"/>
                  </a:lnTo>
                  <a:lnTo>
                    <a:pt x="14950" y="7869"/>
                  </a:lnTo>
                  <a:lnTo>
                    <a:pt x="12590" y="4721"/>
                  </a:lnTo>
                  <a:lnTo>
                    <a:pt x="11803" y="1967"/>
                  </a:lnTo>
                  <a:lnTo>
                    <a:pt x="14950" y="1180"/>
                  </a:lnTo>
                  <a:lnTo>
                    <a:pt x="11803" y="1180"/>
                  </a:lnTo>
                  <a:lnTo>
                    <a:pt x="9049" y="787"/>
                  </a:lnTo>
                  <a:lnTo>
                    <a:pt x="5901" y="0"/>
                  </a:lnTo>
                  <a:lnTo>
                    <a:pt x="2754" y="393"/>
                  </a:lnTo>
                  <a:lnTo>
                    <a:pt x="0" y="3147"/>
                  </a:lnTo>
                  <a:lnTo>
                    <a:pt x="0" y="3147"/>
                  </a:lnTo>
                  <a:lnTo>
                    <a:pt x="2754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68" name="Freeform: Shape 3262">
              <a:extLst>
                <a:ext uri="{FF2B5EF4-FFF2-40B4-BE49-F238E27FC236}">
                  <a16:creationId xmlns:a16="http://schemas.microsoft.com/office/drawing/2014/main" id="{9C7B2D7D-475D-4C07-927E-087B7BC7CDC6}"/>
                </a:ext>
              </a:extLst>
            </p:cNvPr>
            <p:cNvSpPr/>
            <p:nvPr/>
          </p:nvSpPr>
          <p:spPr>
            <a:xfrm>
              <a:off x="7694098" y="1310835"/>
              <a:ext cx="7869" cy="3934"/>
            </a:xfrm>
            <a:custGeom>
              <a:avLst/>
              <a:gdLst>
                <a:gd name="connsiteX0" fmla="*/ 5115 w 7868"/>
                <a:gd name="connsiteY0" fmla="*/ 3541 h 3934"/>
                <a:gd name="connsiteX1" fmla="*/ 8262 w 7868"/>
                <a:gd name="connsiteY1" fmla="*/ 3541 h 3934"/>
                <a:gd name="connsiteX2" fmla="*/ 11016 w 7868"/>
                <a:gd name="connsiteY2" fmla="*/ 2754 h 3934"/>
                <a:gd name="connsiteX3" fmla="*/ 11409 w 7868"/>
                <a:gd name="connsiteY3" fmla="*/ 0 h 3934"/>
                <a:gd name="connsiteX4" fmla="*/ 8656 w 7868"/>
                <a:gd name="connsiteY4" fmla="*/ 393 h 3934"/>
                <a:gd name="connsiteX5" fmla="*/ 5508 w 7868"/>
                <a:gd name="connsiteY5" fmla="*/ 393 h 3934"/>
                <a:gd name="connsiteX6" fmla="*/ 2361 w 7868"/>
                <a:gd name="connsiteY6" fmla="*/ 1574 h 3934"/>
                <a:gd name="connsiteX7" fmla="*/ 0 w 7868"/>
                <a:gd name="connsiteY7" fmla="*/ 4328 h 3934"/>
                <a:gd name="connsiteX8" fmla="*/ 1967 w 7868"/>
                <a:gd name="connsiteY8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5115" y="3541"/>
                  </a:moveTo>
                  <a:lnTo>
                    <a:pt x="8262" y="3541"/>
                  </a:lnTo>
                  <a:lnTo>
                    <a:pt x="11016" y="2754"/>
                  </a:lnTo>
                  <a:lnTo>
                    <a:pt x="11409" y="0"/>
                  </a:lnTo>
                  <a:lnTo>
                    <a:pt x="8656" y="393"/>
                  </a:lnTo>
                  <a:lnTo>
                    <a:pt x="5508" y="393"/>
                  </a:lnTo>
                  <a:lnTo>
                    <a:pt x="2361" y="1574"/>
                  </a:lnTo>
                  <a:lnTo>
                    <a:pt x="0" y="4328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69" name="Freeform: Shape 3263">
              <a:extLst>
                <a:ext uri="{FF2B5EF4-FFF2-40B4-BE49-F238E27FC236}">
                  <a16:creationId xmlns:a16="http://schemas.microsoft.com/office/drawing/2014/main" id="{961139C6-9BCA-414D-BD7D-9D15B2DA366E}"/>
                </a:ext>
              </a:extLst>
            </p:cNvPr>
            <p:cNvSpPr/>
            <p:nvPr/>
          </p:nvSpPr>
          <p:spPr>
            <a:xfrm>
              <a:off x="7708262" y="1311621"/>
              <a:ext cx="11803" cy="3934"/>
            </a:xfrm>
            <a:custGeom>
              <a:avLst/>
              <a:gdLst>
                <a:gd name="connsiteX0" fmla="*/ 5901 w 11802"/>
                <a:gd name="connsiteY0" fmla="*/ 787 h 0"/>
                <a:gd name="connsiteX1" fmla="*/ 9049 w 11802"/>
                <a:gd name="connsiteY1" fmla="*/ 1574 h 0"/>
                <a:gd name="connsiteX2" fmla="*/ 12196 w 11802"/>
                <a:gd name="connsiteY2" fmla="*/ 2361 h 0"/>
                <a:gd name="connsiteX3" fmla="*/ 15343 w 11802"/>
                <a:gd name="connsiteY3" fmla="*/ 2754 h 0"/>
                <a:gd name="connsiteX4" fmla="*/ 12589 w 11802"/>
                <a:gd name="connsiteY4" fmla="*/ 1967 h 0"/>
                <a:gd name="connsiteX5" fmla="*/ 9442 w 11802"/>
                <a:gd name="connsiteY5" fmla="*/ 1180 h 0"/>
                <a:gd name="connsiteX6" fmla="*/ 6295 w 11802"/>
                <a:gd name="connsiteY6" fmla="*/ 787 h 0"/>
                <a:gd name="connsiteX7" fmla="*/ 3147 w 11802"/>
                <a:gd name="connsiteY7" fmla="*/ 0 h 0"/>
                <a:gd name="connsiteX8" fmla="*/ 0 w 11802"/>
                <a:gd name="connsiteY8" fmla="*/ 393 h 0"/>
                <a:gd name="connsiteX9" fmla="*/ 0 w 11802"/>
                <a:gd name="connsiteY9" fmla="*/ 787 h 0"/>
                <a:gd name="connsiteX10" fmla="*/ 2754 w 11802"/>
                <a:gd name="connsiteY10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>
                  <a:moveTo>
                    <a:pt x="5901" y="787"/>
                  </a:moveTo>
                  <a:lnTo>
                    <a:pt x="9049" y="1574"/>
                  </a:lnTo>
                  <a:lnTo>
                    <a:pt x="12196" y="2361"/>
                  </a:lnTo>
                  <a:lnTo>
                    <a:pt x="15343" y="2754"/>
                  </a:lnTo>
                  <a:lnTo>
                    <a:pt x="12589" y="1967"/>
                  </a:lnTo>
                  <a:lnTo>
                    <a:pt x="9442" y="1180"/>
                  </a:lnTo>
                  <a:lnTo>
                    <a:pt x="6295" y="787"/>
                  </a:lnTo>
                  <a:lnTo>
                    <a:pt x="3147" y="0"/>
                  </a:lnTo>
                  <a:lnTo>
                    <a:pt x="0" y="393"/>
                  </a:lnTo>
                  <a:lnTo>
                    <a:pt x="0" y="787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70" name="Freeform: Shape 3264">
              <a:extLst>
                <a:ext uri="{FF2B5EF4-FFF2-40B4-BE49-F238E27FC236}">
                  <a16:creationId xmlns:a16="http://schemas.microsoft.com/office/drawing/2014/main" id="{9867C19A-F387-4993-8E47-6AC3F4E3C8A5}"/>
                </a:ext>
              </a:extLst>
            </p:cNvPr>
            <p:cNvSpPr/>
            <p:nvPr/>
          </p:nvSpPr>
          <p:spPr>
            <a:xfrm>
              <a:off x="7716524" y="1321064"/>
              <a:ext cx="7869" cy="3934"/>
            </a:xfrm>
            <a:custGeom>
              <a:avLst/>
              <a:gdLst>
                <a:gd name="connsiteX0" fmla="*/ 3541 w 7868"/>
                <a:gd name="connsiteY0" fmla="*/ 0 h 0"/>
                <a:gd name="connsiteX1" fmla="*/ 0 w 7868"/>
                <a:gd name="connsiteY1" fmla="*/ 787 h 0"/>
                <a:gd name="connsiteX2" fmla="*/ 3541 w 7868"/>
                <a:gd name="connsiteY2" fmla="*/ 1574 h 0"/>
                <a:gd name="connsiteX3" fmla="*/ 6295 w 7868"/>
                <a:gd name="connsiteY3" fmla="*/ 1967 h 0"/>
                <a:gd name="connsiteX4" fmla="*/ 9442 w 7868"/>
                <a:gd name="connsiteY4" fmla="*/ 393 h 0"/>
                <a:gd name="connsiteX5" fmla="*/ 6295 w 7868"/>
                <a:gd name="connsiteY5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3541" y="0"/>
                  </a:moveTo>
                  <a:lnTo>
                    <a:pt x="0" y="787"/>
                  </a:lnTo>
                  <a:lnTo>
                    <a:pt x="3541" y="1574"/>
                  </a:lnTo>
                  <a:lnTo>
                    <a:pt x="6295" y="1967"/>
                  </a:lnTo>
                  <a:lnTo>
                    <a:pt x="9442" y="393"/>
                  </a:lnTo>
                  <a:lnTo>
                    <a:pt x="6295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71" name="Freeform: Shape 3265">
              <a:extLst>
                <a:ext uri="{FF2B5EF4-FFF2-40B4-BE49-F238E27FC236}">
                  <a16:creationId xmlns:a16="http://schemas.microsoft.com/office/drawing/2014/main" id="{2B48806D-61DD-4461-9DF9-F1DCFFDF94DA}"/>
                </a:ext>
              </a:extLst>
            </p:cNvPr>
            <p:cNvSpPr/>
            <p:nvPr/>
          </p:nvSpPr>
          <p:spPr>
            <a:xfrm>
              <a:off x="7750752" y="1282115"/>
              <a:ext cx="7869" cy="3934"/>
            </a:xfrm>
            <a:custGeom>
              <a:avLst/>
              <a:gdLst>
                <a:gd name="connsiteX0" fmla="*/ 0 w 7868"/>
                <a:gd name="connsiteY0" fmla="*/ 0 h 0"/>
                <a:gd name="connsiteX1" fmla="*/ 2754 w 7868"/>
                <a:gd name="connsiteY1" fmla="*/ 1180 h 0"/>
                <a:gd name="connsiteX2" fmla="*/ 0 w 7868"/>
                <a:gd name="connsiteY2" fmla="*/ 1180 h 0"/>
                <a:gd name="connsiteX3" fmla="*/ 3148 w 7868"/>
                <a:gd name="connsiteY3" fmla="*/ 1967 h 0"/>
                <a:gd name="connsiteX4" fmla="*/ 5901 w 7868"/>
                <a:gd name="connsiteY4" fmla="*/ 3147 h 0"/>
                <a:gd name="connsiteX5" fmla="*/ 9049 w 7868"/>
                <a:gd name="connsiteY5" fmla="*/ 3147 h 0"/>
                <a:gd name="connsiteX6" fmla="*/ 5901 w 7868"/>
                <a:gd name="connsiteY6" fmla="*/ 787 h 0"/>
                <a:gd name="connsiteX7" fmla="*/ 2754 w 7868"/>
                <a:gd name="connsiteY7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>
                  <a:moveTo>
                    <a:pt x="0" y="0"/>
                  </a:moveTo>
                  <a:lnTo>
                    <a:pt x="2754" y="1180"/>
                  </a:lnTo>
                  <a:lnTo>
                    <a:pt x="0" y="1180"/>
                  </a:lnTo>
                  <a:lnTo>
                    <a:pt x="3148" y="1967"/>
                  </a:lnTo>
                  <a:lnTo>
                    <a:pt x="5901" y="3147"/>
                  </a:lnTo>
                  <a:lnTo>
                    <a:pt x="9049" y="3147"/>
                  </a:lnTo>
                  <a:lnTo>
                    <a:pt x="5901" y="787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72" name="Freeform: Shape 3266">
              <a:extLst>
                <a:ext uri="{FF2B5EF4-FFF2-40B4-BE49-F238E27FC236}">
                  <a16:creationId xmlns:a16="http://schemas.microsoft.com/office/drawing/2014/main" id="{5AB5DF9C-A3B9-4B46-A525-4038E028523F}"/>
                </a:ext>
              </a:extLst>
            </p:cNvPr>
            <p:cNvSpPr/>
            <p:nvPr/>
          </p:nvSpPr>
          <p:spPr>
            <a:xfrm>
              <a:off x="7746031" y="1336801"/>
              <a:ext cx="27540" cy="7869"/>
            </a:xfrm>
            <a:custGeom>
              <a:avLst/>
              <a:gdLst>
                <a:gd name="connsiteX0" fmla="*/ 5114 w 27539"/>
                <a:gd name="connsiteY0" fmla="*/ 9442 h 7868"/>
                <a:gd name="connsiteX1" fmla="*/ 8262 w 27539"/>
                <a:gd name="connsiteY1" fmla="*/ 9049 h 7868"/>
                <a:gd name="connsiteX2" fmla="*/ 14557 w 27539"/>
                <a:gd name="connsiteY2" fmla="*/ 9049 h 7868"/>
                <a:gd name="connsiteX3" fmla="*/ 17704 w 27539"/>
                <a:gd name="connsiteY3" fmla="*/ 9049 h 7868"/>
                <a:gd name="connsiteX4" fmla="*/ 20458 w 27539"/>
                <a:gd name="connsiteY4" fmla="*/ 9049 h 7868"/>
                <a:gd name="connsiteX5" fmla="*/ 23212 w 27539"/>
                <a:gd name="connsiteY5" fmla="*/ 6295 h 7868"/>
                <a:gd name="connsiteX6" fmla="*/ 25966 w 27539"/>
                <a:gd name="connsiteY6" fmla="*/ 5901 h 7868"/>
                <a:gd name="connsiteX7" fmla="*/ 29114 w 27539"/>
                <a:gd name="connsiteY7" fmla="*/ 3541 h 7868"/>
                <a:gd name="connsiteX8" fmla="*/ 25966 w 27539"/>
                <a:gd name="connsiteY8" fmla="*/ 1967 h 7868"/>
                <a:gd name="connsiteX9" fmla="*/ 23212 w 27539"/>
                <a:gd name="connsiteY9" fmla="*/ 1180 h 7868"/>
                <a:gd name="connsiteX10" fmla="*/ 20065 w 27539"/>
                <a:gd name="connsiteY10" fmla="*/ 1180 h 7868"/>
                <a:gd name="connsiteX11" fmla="*/ 16917 w 27539"/>
                <a:gd name="connsiteY11" fmla="*/ 393 h 7868"/>
                <a:gd name="connsiteX12" fmla="*/ 14163 w 27539"/>
                <a:gd name="connsiteY12" fmla="*/ 0 h 7868"/>
                <a:gd name="connsiteX13" fmla="*/ 11016 w 27539"/>
                <a:gd name="connsiteY13" fmla="*/ 0 h 7868"/>
                <a:gd name="connsiteX14" fmla="*/ 7869 w 27539"/>
                <a:gd name="connsiteY14" fmla="*/ 1180 h 7868"/>
                <a:gd name="connsiteX15" fmla="*/ 5508 w 27539"/>
                <a:gd name="connsiteY15" fmla="*/ 3934 h 7868"/>
                <a:gd name="connsiteX16" fmla="*/ 2754 w 27539"/>
                <a:gd name="connsiteY16" fmla="*/ 5901 h 7868"/>
                <a:gd name="connsiteX17" fmla="*/ 0 w 27539"/>
                <a:gd name="connsiteY17" fmla="*/ 7869 h 7868"/>
                <a:gd name="connsiteX18" fmla="*/ 1967 w 27539"/>
                <a:gd name="connsiteY18" fmla="*/ 904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539" h="7868">
                  <a:moveTo>
                    <a:pt x="5114" y="9442"/>
                  </a:moveTo>
                  <a:lnTo>
                    <a:pt x="8262" y="9049"/>
                  </a:lnTo>
                  <a:lnTo>
                    <a:pt x="14557" y="9049"/>
                  </a:lnTo>
                  <a:lnTo>
                    <a:pt x="17704" y="9049"/>
                  </a:lnTo>
                  <a:lnTo>
                    <a:pt x="20458" y="9049"/>
                  </a:lnTo>
                  <a:lnTo>
                    <a:pt x="23212" y="6295"/>
                  </a:lnTo>
                  <a:lnTo>
                    <a:pt x="25966" y="5901"/>
                  </a:lnTo>
                  <a:lnTo>
                    <a:pt x="29114" y="3541"/>
                  </a:lnTo>
                  <a:lnTo>
                    <a:pt x="25966" y="1967"/>
                  </a:lnTo>
                  <a:lnTo>
                    <a:pt x="23212" y="1180"/>
                  </a:lnTo>
                  <a:lnTo>
                    <a:pt x="20065" y="1180"/>
                  </a:lnTo>
                  <a:lnTo>
                    <a:pt x="16917" y="393"/>
                  </a:lnTo>
                  <a:lnTo>
                    <a:pt x="14163" y="0"/>
                  </a:lnTo>
                  <a:lnTo>
                    <a:pt x="11016" y="0"/>
                  </a:lnTo>
                  <a:lnTo>
                    <a:pt x="7869" y="1180"/>
                  </a:lnTo>
                  <a:lnTo>
                    <a:pt x="5508" y="3934"/>
                  </a:lnTo>
                  <a:lnTo>
                    <a:pt x="2754" y="5901"/>
                  </a:lnTo>
                  <a:lnTo>
                    <a:pt x="0" y="7869"/>
                  </a:lnTo>
                  <a:lnTo>
                    <a:pt x="1967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73" name="Freeform: Shape 3267">
              <a:extLst>
                <a:ext uri="{FF2B5EF4-FFF2-40B4-BE49-F238E27FC236}">
                  <a16:creationId xmlns:a16="http://schemas.microsoft.com/office/drawing/2014/main" id="{D8043302-99ED-4378-AB51-72203CE35741}"/>
                </a:ext>
              </a:extLst>
            </p:cNvPr>
            <p:cNvSpPr/>
            <p:nvPr/>
          </p:nvSpPr>
          <p:spPr>
            <a:xfrm>
              <a:off x="7748784" y="1207757"/>
              <a:ext cx="3934" cy="3934"/>
            </a:xfrm>
            <a:custGeom>
              <a:avLst/>
              <a:gdLst>
                <a:gd name="connsiteX0" fmla="*/ 6295 w 3934"/>
                <a:gd name="connsiteY0" fmla="*/ 1180 h 0"/>
                <a:gd name="connsiteX1" fmla="*/ 3148 w 3934"/>
                <a:gd name="connsiteY1" fmla="*/ 0 h 0"/>
                <a:gd name="connsiteX2" fmla="*/ 393 w 3934"/>
                <a:gd name="connsiteY2" fmla="*/ 0 h 0"/>
                <a:gd name="connsiteX3" fmla="*/ 0 w 3934"/>
                <a:gd name="connsiteY3" fmla="*/ 0 h 0"/>
                <a:gd name="connsiteX4" fmla="*/ 3148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1180"/>
                  </a:moveTo>
                  <a:lnTo>
                    <a:pt x="3148" y="0"/>
                  </a:lnTo>
                  <a:lnTo>
                    <a:pt x="393" y="0"/>
                  </a:lnTo>
                  <a:lnTo>
                    <a:pt x="0" y="0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74" name="Freeform: Shape 3268">
              <a:extLst>
                <a:ext uri="{FF2B5EF4-FFF2-40B4-BE49-F238E27FC236}">
                  <a16:creationId xmlns:a16="http://schemas.microsoft.com/office/drawing/2014/main" id="{FB14AF71-D601-4ECB-AFEC-ED8205F47AC2}"/>
                </a:ext>
              </a:extLst>
            </p:cNvPr>
            <p:cNvSpPr/>
            <p:nvPr/>
          </p:nvSpPr>
          <p:spPr>
            <a:xfrm>
              <a:off x="7773177" y="1248280"/>
              <a:ext cx="11803" cy="3934"/>
            </a:xfrm>
            <a:custGeom>
              <a:avLst/>
              <a:gdLst>
                <a:gd name="connsiteX0" fmla="*/ 5901 w 11802"/>
                <a:gd name="connsiteY0" fmla="*/ 1180 h 0"/>
                <a:gd name="connsiteX1" fmla="*/ 9442 w 11802"/>
                <a:gd name="connsiteY1" fmla="*/ 1574 h 0"/>
                <a:gd name="connsiteX2" fmla="*/ 12196 w 11802"/>
                <a:gd name="connsiteY2" fmla="*/ 1574 h 0"/>
                <a:gd name="connsiteX3" fmla="*/ 9049 w 11802"/>
                <a:gd name="connsiteY3" fmla="*/ 787 h 0"/>
                <a:gd name="connsiteX4" fmla="*/ 5901 w 11802"/>
                <a:gd name="connsiteY4" fmla="*/ 393 h 0"/>
                <a:gd name="connsiteX5" fmla="*/ 2360 w 11802"/>
                <a:gd name="connsiteY5" fmla="*/ 393 h 0"/>
                <a:gd name="connsiteX6" fmla="*/ 0 w 11802"/>
                <a:gd name="connsiteY6" fmla="*/ 0 h 0"/>
                <a:gd name="connsiteX7" fmla="*/ 2754 w 11802"/>
                <a:gd name="connsiteY7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>
                  <a:moveTo>
                    <a:pt x="5901" y="1180"/>
                  </a:moveTo>
                  <a:lnTo>
                    <a:pt x="9442" y="1574"/>
                  </a:lnTo>
                  <a:lnTo>
                    <a:pt x="12196" y="1574"/>
                  </a:lnTo>
                  <a:lnTo>
                    <a:pt x="9049" y="787"/>
                  </a:lnTo>
                  <a:lnTo>
                    <a:pt x="5901" y="393"/>
                  </a:lnTo>
                  <a:lnTo>
                    <a:pt x="2360" y="393"/>
                  </a:lnTo>
                  <a:lnTo>
                    <a:pt x="0" y="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75" name="Freeform: Shape 3269">
              <a:extLst>
                <a:ext uri="{FF2B5EF4-FFF2-40B4-BE49-F238E27FC236}">
                  <a16:creationId xmlns:a16="http://schemas.microsoft.com/office/drawing/2014/main" id="{84735922-0192-4375-BF95-BACAC3B21117}"/>
                </a:ext>
              </a:extLst>
            </p:cNvPr>
            <p:cNvSpPr/>
            <p:nvPr/>
          </p:nvSpPr>
          <p:spPr>
            <a:xfrm>
              <a:off x="7773570" y="1324211"/>
              <a:ext cx="19671" cy="7869"/>
            </a:xfrm>
            <a:custGeom>
              <a:avLst/>
              <a:gdLst>
                <a:gd name="connsiteX0" fmla="*/ 14557 w 19671"/>
                <a:gd name="connsiteY0" fmla="*/ 3147 h 7868"/>
                <a:gd name="connsiteX1" fmla="*/ 11409 w 19671"/>
                <a:gd name="connsiteY1" fmla="*/ 1574 h 7868"/>
                <a:gd name="connsiteX2" fmla="*/ 8655 w 19671"/>
                <a:gd name="connsiteY2" fmla="*/ 0 h 7868"/>
                <a:gd name="connsiteX3" fmla="*/ 5508 w 19671"/>
                <a:gd name="connsiteY3" fmla="*/ 0 h 7868"/>
                <a:gd name="connsiteX4" fmla="*/ 2754 w 19671"/>
                <a:gd name="connsiteY4" fmla="*/ 2754 h 7868"/>
                <a:gd name="connsiteX5" fmla="*/ 0 w 19671"/>
                <a:gd name="connsiteY5" fmla="*/ 5115 h 7868"/>
                <a:gd name="connsiteX6" fmla="*/ 1574 w 19671"/>
                <a:gd name="connsiteY6" fmla="*/ 7475 h 7868"/>
                <a:gd name="connsiteX7" fmla="*/ 4328 w 19671"/>
                <a:gd name="connsiteY7" fmla="*/ 8262 h 7868"/>
                <a:gd name="connsiteX8" fmla="*/ 7475 w 19671"/>
                <a:gd name="connsiteY8" fmla="*/ 9442 h 7868"/>
                <a:gd name="connsiteX9" fmla="*/ 10622 w 19671"/>
                <a:gd name="connsiteY9" fmla="*/ 9442 h 7868"/>
                <a:gd name="connsiteX10" fmla="*/ 13377 w 19671"/>
                <a:gd name="connsiteY10" fmla="*/ 9836 h 7868"/>
                <a:gd name="connsiteX11" fmla="*/ 16524 w 19671"/>
                <a:gd name="connsiteY11" fmla="*/ 10229 h 7868"/>
                <a:gd name="connsiteX12" fmla="*/ 19671 w 19671"/>
                <a:gd name="connsiteY12" fmla="*/ 10622 h 7868"/>
                <a:gd name="connsiteX13" fmla="*/ 19671 w 19671"/>
                <a:gd name="connsiteY13" fmla="*/ 7475 h 7868"/>
                <a:gd name="connsiteX14" fmla="*/ 17704 w 19671"/>
                <a:gd name="connsiteY14" fmla="*/ 432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671" h="7868">
                  <a:moveTo>
                    <a:pt x="14557" y="3147"/>
                  </a:moveTo>
                  <a:lnTo>
                    <a:pt x="11409" y="1574"/>
                  </a:lnTo>
                  <a:lnTo>
                    <a:pt x="8655" y="0"/>
                  </a:lnTo>
                  <a:lnTo>
                    <a:pt x="5508" y="0"/>
                  </a:lnTo>
                  <a:lnTo>
                    <a:pt x="2754" y="2754"/>
                  </a:lnTo>
                  <a:lnTo>
                    <a:pt x="0" y="5115"/>
                  </a:lnTo>
                  <a:lnTo>
                    <a:pt x="1574" y="7475"/>
                  </a:lnTo>
                  <a:lnTo>
                    <a:pt x="4328" y="8262"/>
                  </a:lnTo>
                  <a:lnTo>
                    <a:pt x="7475" y="9442"/>
                  </a:lnTo>
                  <a:lnTo>
                    <a:pt x="10622" y="9442"/>
                  </a:lnTo>
                  <a:lnTo>
                    <a:pt x="13377" y="9836"/>
                  </a:lnTo>
                  <a:lnTo>
                    <a:pt x="16524" y="10229"/>
                  </a:lnTo>
                  <a:lnTo>
                    <a:pt x="19671" y="10622"/>
                  </a:lnTo>
                  <a:lnTo>
                    <a:pt x="19671" y="7475"/>
                  </a:lnTo>
                  <a:lnTo>
                    <a:pt x="17704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76" name="Freeform: Shape 3270">
              <a:extLst>
                <a:ext uri="{FF2B5EF4-FFF2-40B4-BE49-F238E27FC236}">
                  <a16:creationId xmlns:a16="http://schemas.microsoft.com/office/drawing/2014/main" id="{9FA50482-9310-4DCA-ACB8-A097EB2E6ECA}"/>
                </a:ext>
              </a:extLst>
            </p:cNvPr>
            <p:cNvSpPr/>
            <p:nvPr/>
          </p:nvSpPr>
          <p:spPr>
            <a:xfrm>
              <a:off x="7784980" y="1259296"/>
              <a:ext cx="11803" cy="7869"/>
            </a:xfrm>
            <a:custGeom>
              <a:avLst/>
              <a:gdLst>
                <a:gd name="connsiteX0" fmla="*/ 10229 w 11802"/>
                <a:gd name="connsiteY0" fmla="*/ 2361 h 7868"/>
                <a:gd name="connsiteX1" fmla="*/ 7081 w 11802"/>
                <a:gd name="connsiteY1" fmla="*/ 1967 h 7868"/>
                <a:gd name="connsiteX2" fmla="*/ 7869 w 11802"/>
                <a:gd name="connsiteY2" fmla="*/ 0 h 7868"/>
                <a:gd name="connsiteX3" fmla="*/ 4721 w 11802"/>
                <a:gd name="connsiteY3" fmla="*/ 0 h 7868"/>
                <a:gd name="connsiteX4" fmla="*/ 6295 w 11802"/>
                <a:gd name="connsiteY4" fmla="*/ 2754 h 7868"/>
                <a:gd name="connsiteX5" fmla="*/ 3147 w 11802"/>
                <a:gd name="connsiteY5" fmla="*/ 3147 h 7868"/>
                <a:gd name="connsiteX6" fmla="*/ 0 w 11802"/>
                <a:gd name="connsiteY6" fmla="*/ 1574 h 7868"/>
                <a:gd name="connsiteX7" fmla="*/ 0 w 11802"/>
                <a:gd name="connsiteY7" fmla="*/ 4328 h 7868"/>
                <a:gd name="connsiteX8" fmla="*/ 3147 w 11802"/>
                <a:gd name="connsiteY8" fmla="*/ 5901 h 7868"/>
                <a:gd name="connsiteX9" fmla="*/ 5901 w 11802"/>
                <a:gd name="connsiteY9" fmla="*/ 4721 h 7868"/>
                <a:gd name="connsiteX10" fmla="*/ 9049 w 11802"/>
                <a:gd name="connsiteY10" fmla="*/ 7869 h 7868"/>
                <a:gd name="connsiteX11" fmla="*/ 12196 w 11802"/>
                <a:gd name="connsiteY11" fmla="*/ 8655 h 7868"/>
                <a:gd name="connsiteX12" fmla="*/ 10229 w 11802"/>
                <a:gd name="connsiteY12" fmla="*/ 5508 h 7868"/>
                <a:gd name="connsiteX13" fmla="*/ 13376 w 11802"/>
                <a:gd name="connsiteY13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802" h="7868">
                  <a:moveTo>
                    <a:pt x="10229" y="2361"/>
                  </a:moveTo>
                  <a:lnTo>
                    <a:pt x="7081" y="1967"/>
                  </a:lnTo>
                  <a:lnTo>
                    <a:pt x="7869" y="0"/>
                  </a:lnTo>
                  <a:lnTo>
                    <a:pt x="4721" y="0"/>
                  </a:lnTo>
                  <a:lnTo>
                    <a:pt x="6295" y="2754"/>
                  </a:lnTo>
                  <a:lnTo>
                    <a:pt x="3147" y="3147"/>
                  </a:lnTo>
                  <a:lnTo>
                    <a:pt x="0" y="1574"/>
                  </a:lnTo>
                  <a:lnTo>
                    <a:pt x="0" y="4328"/>
                  </a:lnTo>
                  <a:lnTo>
                    <a:pt x="3147" y="5901"/>
                  </a:lnTo>
                  <a:lnTo>
                    <a:pt x="5901" y="4721"/>
                  </a:lnTo>
                  <a:lnTo>
                    <a:pt x="9049" y="7869"/>
                  </a:lnTo>
                  <a:lnTo>
                    <a:pt x="12196" y="8655"/>
                  </a:lnTo>
                  <a:lnTo>
                    <a:pt x="10229" y="5508"/>
                  </a:lnTo>
                  <a:lnTo>
                    <a:pt x="13376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77" name="Freeform: Shape 3271">
              <a:extLst>
                <a:ext uri="{FF2B5EF4-FFF2-40B4-BE49-F238E27FC236}">
                  <a16:creationId xmlns:a16="http://schemas.microsoft.com/office/drawing/2014/main" id="{8804D2C7-B522-4289-8702-10B2175648AD}"/>
                </a:ext>
              </a:extLst>
            </p:cNvPr>
            <p:cNvSpPr/>
            <p:nvPr/>
          </p:nvSpPr>
          <p:spPr>
            <a:xfrm>
              <a:off x="7786947" y="1246706"/>
              <a:ext cx="15737" cy="3934"/>
            </a:xfrm>
            <a:custGeom>
              <a:avLst/>
              <a:gdLst>
                <a:gd name="connsiteX0" fmla="*/ 8655 w 15737"/>
                <a:gd name="connsiteY0" fmla="*/ 1180 h 0"/>
                <a:gd name="connsiteX1" fmla="*/ 11803 w 15737"/>
                <a:gd name="connsiteY1" fmla="*/ 1967 h 0"/>
                <a:gd name="connsiteX2" fmla="*/ 14950 w 15737"/>
                <a:gd name="connsiteY2" fmla="*/ 1574 h 0"/>
                <a:gd name="connsiteX3" fmla="*/ 18098 w 15737"/>
                <a:gd name="connsiteY3" fmla="*/ 1967 h 0"/>
                <a:gd name="connsiteX4" fmla="*/ 14950 w 15737"/>
                <a:gd name="connsiteY4" fmla="*/ 787 h 0"/>
                <a:gd name="connsiteX5" fmla="*/ 12196 w 15737"/>
                <a:gd name="connsiteY5" fmla="*/ 393 h 0"/>
                <a:gd name="connsiteX6" fmla="*/ 9049 w 15737"/>
                <a:gd name="connsiteY6" fmla="*/ 0 h 0"/>
                <a:gd name="connsiteX7" fmla="*/ 5901 w 15737"/>
                <a:gd name="connsiteY7" fmla="*/ 0 h 0"/>
                <a:gd name="connsiteX8" fmla="*/ 3147 w 15737"/>
                <a:gd name="connsiteY8" fmla="*/ 0 h 0"/>
                <a:gd name="connsiteX9" fmla="*/ 0 w 15737"/>
                <a:gd name="connsiteY9" fmla="*/ 393 h 0"/>
                <a:gd name="connsiteX10" fmla="*/ 2754 w 15737"/>
                <a:gd name="connsiteY10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737">
                  <a:moveTo>
                    <a:pt x="8655" y="1180"/>
                  </a:moveTo>
                  <a:lnTo>
                    <a:pt x="11803" y="1967"/>
                  </a:lnTo>
                  <a:lnTo>
                    <a:pt x="14950" y="1574"/>
                  </a:lnTo>
                  <a:lnTo>
                    <a:pt x="18098" y="1967"/>
                  </a:lnTo>
                  <a:lnTo>
                    <a:pt x="14950" y="787"/>
                  </a:lnTo>
                  <a:lnTo>
                    <a:pt x="12196" y="393"/>
                  </a:lnTo>
                  <a:lnTo>
                    <a:pt x="9049" y="0"/>
                  </a:lnTo>
                  <a:lnTo>
                    <a:pt x="5901" y="0"/>
                  </a:lnTo>
                  <a:lnTo>
                    <a:pt x="3147" y="0"/>
                  </a:lnTo>
                  <a:lnTo>
                    <a:pt x="0" y="393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78" name="Freeform: Shape 3272">
              <a:extLst>
                <a:ext uri="{FF2B5EF4-FFF2-40B4-BE49-F238E27FC236}">
                  <a16:creationId xmlns:a16="http://schemas.microsoft.com/office/drawing/2014/main" id="{7CDFFCB8-4A03-419A-B50A-55B47DB8D18E}"/>
                </a:ext>
              </a:extLst>
            </p:cNvPr>
            <p:cNvSpPr/>
            <p:nvPr/>
          </p:nvSpPr>
          <p:spPr>
            <a:xfrm>
              <a:off x="7826290" y="1295098"/>
              <a:ext cx="3934" cy="3934"/>
            </a:xfrm>
            <a:custGeom>
              <a:avLst/>
              <a:gdLst>
                <a:gd name="connsiteX0" fmla="*/ 0 w 3934"/>
                <a:gd name="connsiteY0" fmla="*/ 393 h 0"/>
                <a:gd name="connsiteX1" fmla="*/ 3540 w 3934"/>
                <a:gd name="connsiteY1" fmla="*/ 2361 h 0"/>
                <a:gd name="connsiteX2" fmla="*/ 6295 w 3934"/>
                <a:gd name="connsiteY2" fmla="*/ 2754 h 0"/>
                <a:gd name="connsiteX3" fmla="*/ 3147 w 3934"/>
                <a:gd name="connsiteY3" fmla="*/ 0 h 0"/>
                <a:gd name="connsiteX4" fmla="*/ 2754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393"/>
                  </a:moveTo>
                  <a:lnTo>
                    <a:pt x="3540" y="2361"/>
                  </a:lnTo>
                  <a:lnTo>
                    <a:pt x="6295" y="2754"/>
                  </a:lnTo>
                  <a:lnTo>
                    <a:pt x="3147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79" name="Freeform: Shape 3273">
              <a:extLst>
                <a:ext uri="{FF2B5EF4-FFF2-40B4-BE49-F238E27FC236}">
                  <a16:creationId xmlns:a16="http://schemas.microsoft.com/office/drawing/2014/main" id="{DC8967BC-5052-4033-BF74-8DEC8FC41E0B}"/>
                </a:ext>
              </a:extLst>
            </p:cNvPr>
            <p:cNvSpPr/>
            <p:nvPr/>
          </p:nvSpPr>
          <p:spPr>
            <a:xfrm>
              <a:off x="7835732" y="1295491"/>
              <a:ext cx="11803" cy="3934"/>
            </a:xfrm>
            <a:custGeom>
              <a:avLst/>
              <a:gdLst>
                <a:gd name="connsiteX0" fmla="*/ 394 w 11802"/>
                <a:gd name="connsiteY0" fmla="*/ 1574 h 0"/>
                <a:gd name="connsiteX1" fmla="*/ 3148 w 11802"/>
                <a:gd name="connsiteY1" fmla="*/ 1574 h 0"/>
                <a:gd name="connsiteX2" fmla="*/ 6295 w 11802"/>
                <a:gd name="connsiteY2" fmla="*/ 1967 h 0"/>
                <a:gd name="connsiteX3" fmla="*/ 9442 w 11802"/>
                <a:gd name="connsiteY3" fmla="*/ 2361 h 0"/>
                <a:gd name="connsiteX4" fmla="*/ 12197 w 11802"/>
                <a:gd name="connsiteY4" fmla="*/ 2754 h 0"/>
                <a:gd name="connsiteX5" fmla="*/ 15344 w 11802"/>
                <a:gd name="connsiteY5" fmla="*/ 1967 h 0"/>
                <a:gd name="connsiteX6" fmla="*/ 12197 w 11802"/>
                <a:gd name="connsiteY6" fmla="*/ 393 h 0"/>
                <a:gd name="connsiteX7" fmla="*/ 9049 w 11802"/>
                <a:gd name="connsiteY7" fmla="*/ 0 h 0"/>
                <a:gd name="connsiteX8" fmla="*/ 5901 w 11802"/>
                <a:gd name="connsiteY8" fmla="*/ 0 h 0"/>
                <a:gd name="connsiteX9" fmla="*/ 2754 w 11802"/>
                <a:gd name="connsiteY9" fmla="*/ 393 h 0"/>
                <a:gd name="connsiteX10" fmla="*/ 0 w 11802"/>
                <a:gd name="connsiteY10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>
                  <a:moveTo>
                    <a:pt x="394" y="1574"/>
                  </a:moveTo>
                  <a:lnTo>
                    <a:pt x="3148" y="1574"/>
                  </a:lnTo>
                  <a:lnTo>
                    <a:pt x="6295" y="1967"/>
                  </a:lnTo>
                  <a:lnTo>
                    <a:pt x="9442" y="2361"/>
                  </a:lnTo>
                  <a:lnTo>
                    <a:pt x="12197" y="2754"/>
                  </a:lnTo>
                  <a:lnTo>
                    <a:pt x="15344" y="1967"/>
                  </a:lnTo>
                  <a:lnTo>
                    <a:pt x="12197" y="393"/>
                  </a:lnTo>
                  <a:lnTo>
                    <a:pt x="9049" y="0"/>
                  </a:lnTo>
                  <a:lnTo>
                    <a:pt x="5901" y="0"/>
                  </a:lnTo>
                  <a:lnTo>
                    <a:pt x="2754" y="393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80" name="Freeform: Shape 3274">
              <a:extLst>
                <a:ext uri="{FF2B5EF4-FFF2-40B4-BE49-F238E27FC236}">
                  <a16:creationId xmlns:a16="http://schemas.microsoft.com/office/drawing/2014/main" id="{96715093-E5AC-42EE-80A5-0F7141EDAE25}"/>
                </a:ext>
              </a:extLst>
            </p:cNvPr>
            <p:cNvSpPr/>
            <p:nvPr/>
          </p:nvSpPr>
          <p:spPr>
            <a:xfrm>
              <a:off x="7860911" y="1298245"/>
              <a:ext cx="7869" cy="3934"/>
            </a:xfrm>
            <a:custGeom>
              <a:avLst/>
              <a:gdLst>
                <a:gd name="connsiteX0" fmla="*/ 0 w 7868"/>
                <a:gd name="connsiteY0" fmla="*/ 393 h 0"/>
                <a:gd name="connsiteX1" fmla="*/ 3148 w 7868"/>
                <a:gd name="connsiteY1" fmla="*/ 1574 h 0"/>
                <a:gd name="connsiteX2" fmla="*/ 6689 w 7868"/>
                <a:gd name="connsiteY2" fmla="*/ 1967 h 0"/>
                <a:gd name="connsiteX3" fmla="*/ 9836 w 7868"/>
                <a:gd name="connsiteY3" fmla="*/ 1967 h 0"/>
                <a:gd name="connsiteX4" fmla="*/ 7082 w 7868"/>
                <a:gd name="connsiteY4" fmla="*/ 0 h 0"/>
                <a:gd name="connsiteX5" fmla="*/ 3934 w 7868"/>
                <a:gd name="connsiteY5" fmla="*/ 787 h 0"/>
                <a:gd name="connsiteX6" fmla="*/ 787 w 7868"/>
                <a:gd name="connsiteY6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0" y="393"/>
                  </a:moveTo>
                  <a:lnTo>
                    <a:pt x="3148" y="1574"/>
                  </a:lnTo>
                  <a:lnTo>
                    <a:pt x="6689" y="1967"/>
                  </a:lnTo>
                  <a:lnTo>
                    <a:pt x="9836" y="1967"/>
                  </a:lnTo>
                  <a:lnTo>
                    <a:pt x="7082" y="0"/>
                  </a:lnTo>
                  <a:lnTo>
                    <a:pt x="3934" y="787"/>
                  </a:lnTo>
                  <a:lnTo>
                    <a:pt x="78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81" name="Freeform: Shape 3275">
              <a:extLst>
                <a:ext uri="{FF2B5EF4-FFF2-40B4-BE49-F238E27FC236}">
                  <a16:creationId xmlns:a16="http://schemas.microsoft.com/office/drawing/2014/main" id="{317EAFD8-35AA-4AC4-AA58-58BA05B391B1}"/>
                </a:ext>
              </a:extLst>
            </p:cNvPr>
            <p:cNvSpPr/>
            <p:nvPr/>
          </p:nvSpPr>
          <p:spPr>
            <a:xfrm>
              <a:off x="7862485" y="1285655"/>
              <a:ext cx="3934" cy="3934"/>
            </a:xfrm>
            <a:custGeom>
              <a:avLst/>
              <a:gdLst>
                <a:gd name="connsiteX0" fmla="*/ 0 w 3934"/>
                <a:gd name="connsiteY0" fmla="*/ 787 h 0"/>
                <a:gd name="connsiteX1" fmla="*/ 2754 w 3934"/>
                <a:gd name="connsiteY1" fmla="*/ 2754 h 0"/>
                <a:gd name="connsiteX2" fmla="*/ 6295 w 3934"/>
                <a:gd name="connsiteY2" fmla="*/ 3147 h 0"/>
                <a:gd name="connsiteX3" fmla="*/ 3148 w 3934"/>
                <a:gd name="connsiteY3" fmla="*/ 1574 h 0"/>
                <a:gd name="connsiteX4" fmla="*/ 6295 w 3934"/>
                <a:gd name="connsiteY4" fmla="*/ 1180 h 0"/>
                <a:gd name="connsiteX5" fmla="*/ 3148 w 3934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0" y="787"/>
                  </a:moveTo>
                  <a:lnTo>
                    <a:pt x="2754" y="2754"/>
                  </a:lnTo>
                  <a:lnTo>
                    <a:pt x="6295" y="3147"/>
                  </a:lnTo>
                  <a:lnTo>
                    <a:pt x="3148" y="1574"/>
                  </a:lnTo>
                  <a:lnTo>
                    <a:pt x="6295" y="1180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82" name="Freeform: Shape 3276">
              <a:extLst>
                <a:ext uri="{FF2B5EF4-FFF2-40B4-BE49-F238E27FC236}">
                  <a16:creationId xmlns:a16="http://schemas.microsoft.com/office/drawing/2014/main" id="{DF2D14C1-F657-4DF6-8346-ECB22E8CB6C9}"/>
                </a:ext>
              </a:extLst>
            </p:cNvPr>
            <p:cNvSpPr/>
            <p:nvPr/>
          </p:nvSpPr>
          <p:spPr>
            <a:xfrm>
              <a:off x="7886484" y="1217199"/>
              <a:ext cx="3934" cy="3934"/>
            </a:xfrm>
            <a:custGeom>
              <a:avLst/>
              <a:gdLst>
                <a:gd name="connsiteX0" fmla="*/ 787 w 3934"/>
                <a:gd name="connsiteY0" fmla="*/ 2754 h 0"/>
                <a:gd name="connsiteX1" fmla="*/ 3934 w 3934"/>
                <a:gd name="connsiteY1" fmla="*/ 393 h 0"/>
                <a:gd name="connsiteX2" fmla="*/ 3541 w 3934"/>
                <a:gd name="connsiteY2" fmla="*/ 0 h 0"/>
                <a:gd name="connsiteX3" fmla="*/ 0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787" y="2754"/>
                  </a:moveTo>
                  <a:lnTo>
                    <a:pt x="3934" y="393"/>
                  </a:lnTo>
                  <a:lnTo>
                    <a:pt x="354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83" name="Freeform: Shape 3277">
              <a:extLst>
                <a:ext uri="{FF2B5EF4-FFF2-40B4-BE49-F238E27FC236}">
                  <a16:creationId xmlns:a16="http://schemas.microsoft.com/office/drawing/2014/main" id="{DD8D5276-FE2E-48B0-A31A-AA4283C79857}"/>
                </a:ext>
              </a:extLst>
            </p:cNvPr>
            <p:cNvSpPr/>
            <p:nvPr/>
          </p:nvSpPr>
          <p:spPr>
            <a:xfrm>
              <a:off x="7891992" y="1212871"/>
              <a:ext cx="7869" cy="3934"/>
            </a:xfrm>
            <a:custGeom>
              <a:avLst/>
              <a:gdLst>
                <a:gd name="connsiteX0" fmla="*/ 3541 w 7868"/>
                <a:gd name="connsiteY0" fmla="*/ 3147 h 0"/>
                <a:gd name="connsiteX1" fmla="*/ 6688 w 7868"/>
                <a:gd name="connsiteY1" fmla="*/ 3541 h 0"/>
                <a:gd name="connsiteX2" fmla="*/ 9049 w 7868"/>
                <a:gd name="connsiteY2" fmla="*/ 787 h 0"/>
                <a:gd name="connsiteX3" fmla="*/ 6295 w 7868"/>
                <a:gd name="connsiteY3" fmla="*/ 0 h 0"/>
                <a:gd name="connsiteX4" fmla="*/ 3148 w 7868"/>
                <a:gd name="connsiteY4" fmla="*/ 0 h 0"/>
                <a:gd name="connsiteX5" fmla="*/ 0 w 7868"/>
                <a:gd name="connsiteY5" fmla="*/ 787 h 0"/>
                <a:gd name="connsiteX6" fmla="*/ 1967 w 7868"/>
                <a:gd name="connsiteY6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3541" y="3147"/>
                  </a:moveTo>
                  <a:lnTo>
                    <a:pt x="6688" y="3541"/>
                  </a:lnTo>
                  <a:lnTo>
                    <a:pt x="9049" y="787"/>
                  </a:lnTo>
                  <a:lnTo>
                    <a:pt x="6295" y="0"/>
                  </a:lnTo>
                  <a:lnTo>
                    <a:pt x="3148" y="0"/>
                  </a:lnTo>
                  <a:lnTo>
                    <a:pt x="0" y="787"/>
                  </a:lnTo>
                  <a:lnTo>
                    <a:pt x="1967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84" name="Freeform: Shape 3278">
              <a:extLst>
                <a:ext uri="{FF2B5EF4-FFF2-40B4-BE49-F238E27FC236}">
                  <a16:creationId xmlns:a16="http://schemas.microsoft.com/office/drawing/2014/main" id="{2FFFF8BF-6B73-458D-A53F-27035B8CA36B}"/>
                </a:ext>
              </a:extLst>
            </p:cNvPr>
            <p:cNvSpPr/>
            <p:nvPr/>
          </p:nvSpPr>
          <p:spPr>
            <a:xfrm>
              <a:off x="7901827" y="1168021"/>
              <a:ext cx="7869" cy="3934"/>
            </a:xfrm>
            <a:custGeom>
              <a:avLst/>
              <a:gdLst>
                <a:gd name="connsiteX0" fmla="*/ 2754 w 7868"/>
                <a:gd name="connsiteY0" fmla="*/ 393 h 0"/>
                <a:gd name="connsiteX1" fmla="*/ 6295 w 7868"/>
                <a:gd name="connsiteY1" fmla="*/ 787 h 0"/>
                <a:gd name="connsiteX2" fmla="*/ 9442 w 7868"/>
                <a:gd name="connsiteY2" fmla="*/ 1180 h 0"/>
                <a:gd name="connsiteX3" fmla="*/ 6295 w 7868"/>
                <a:gd name="connsiteY3" fmla="*/ 393 h 0"/>
                <a:gd name="connsiteX4" fmla="*/ 3148 w 7868"/>
                <a:gd name="connsiteY4" fmla="*/ 0 h 0"/>
                <a:gd name="connsiteX5" fmla="*/ 0 w 7868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2754" y="393"/>
                  </a:moveTo>
                  <a:lnTo>
                    <a:pt x="6295" y="787"/>
                  </a:lnTo>
                  <a:lnTo>
                    <a:pt x="9442" y="1180"/>
                  </a:lnTo>
                  <a:lnTo>
                    <a:pt x="6295" y="393"/>
                  </a:lnTo>
                  <a:lnTo>
                    <a:pt x="314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85" name="Freeform: Shape 3279">
              <a:extLst>
                <a:ext uri="{FF2B5EF4-FFF2-40B4-BE49-F238E27FC236}">
                  <a16:creationId xmlns:a16="http://schemas.microsoft.com/office/drawing/2014/main" id="{9687EE87-33E0-4C37-A19B-78818CF1C69B}"/>
                </a:ext>
              </a:extLst>
            </p:cNvPr>
            <p:cNvSpPr/>
            <p:nvPr/>
          </p:nvSpPr>
          <p:spPr>
            <a:xfrm>
              <a:off x="8001758" y="1230576"/>
              <a:ext cx="7869" cy="3934"/>
            </a:xfrm>
            <a:custGeom>
              <a:avLst/>
              <a:gdLst>
                <a:gd name="connsiteX0" fmla="*/ 3147 w 7868"/>
                <a:gd name="connsiteY0" fmla="*/ 393 h 0"/>
                <a:gd name="connsiteX1" fmla="*/ 0 w 7868"/>
                <a:gd name="connsiteY1" fmla="*/ 0 h 0"/>
                <a:gd name="connsiteX2" fmla="*/ 3147 w 7868"/>
                <a:gd name="connsiteY2" fmla="*/ 1180 h 0"/>
                <a:gd name="connsiteX3" fmla="*/ 9049 w 7868"/>
                <a:gd name="connsiteY3" fmla="*/ 1180 h 0"/>
                <a:gd name="connsiteX4" fmla="*/ 5901 w 7868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>
                  <a:moveTo>
                    <a:pt x="3147" y="393"/>
                  </a:moveTo>
                  <a:lnTo>
                    <a:pt x="0" y="0"/>
                  </a:lnTo>
                  <a:lnTo>
                    <a:pt x="3147" y="1180"/>
                  </a:lnTo>
                  <a:lnTo>
                    <a:pt x="9049" y="1180"/>
                  </a:lnTo>
                  <a:lnTo>
                    <a:pt x="5901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86" name="Freeform: Shape 3280">
              <a:extLst>
                <a:ext uri="{FF2B5EF4-FFF2-40B4-BE49-F238E27FC236}">
                  <a16:creationId xmlns:a16="http://schemas.microsoft.com/office/drawing/2014/main" id="{01F2570D-2DFB-4475-90DB-89C77A8F602B}"/>
                </a:ext>
              </a:extLst>
            </p:cNvPr>
            <p:cNvSpPr/>
            <p:nvPr/>
          </p:nvSpPr>
          <p:spPr>
            <a:xfrm>
              <a:off x="7868779" y="1277393"/>
              <a:ext cx="11803" cy="3934"/>
            </a:xfrm>
            <a:custGeom>
              <a:avLst/>
              <a:gdLst>
                <a:gd name="connsiteX0" fmla="*/ 5901 w 11802"/>
                <a:gd name="connsiteY0" fmla="*/ 1967 h 0"/>
                <a:gd name="connsiteX1" fmla="*/ 8656 w 11802"/>
                <a:gd name="connsiteY1" fmla="*/ 2754 h 0"/>
                <a:gd name="connsiteX2" fmla="*/ 11803 w 11802"/>
                <a:gd name="connsiteY2" fmla="*/ 2754 h 0"/>
                <a:gd name="connsiteX3" fmla="*/ 8656 w 11802"/>
                <a:gd name="connsiteY3" fmla="*/ 393 h 0"/>
                <a:gd name="connsiteX4" fmla="*/ 5901 w 11802"/>
                <a:gd name="connsiteY4" fmla="*/ 0 h 0"/>
                <a:gd name="connsiteX5" fmla="*/ 3148 w 11802"/>
                <a:gd name="connsiteY5" fmla="*/ 1180 h 0"/>
                <a:gd name="connsiteX6" fmla="*/ 0 w 11802"/>
                <a:gd name="connsiteY6" fmla="*/ 1574 h 0"/>
                <a:gd name="connsiteX7" fmla="*/ 3148 w 11802"/>
                <a:gd name="connsiteY7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>
                  <a:moveTo>
                    <a:pt x="5901" y="1967"/>
                  </a:moveTo>
                  <a:lnTo>
                    <a:pt x="8656" y="2754"/>
                  </a:lnTo>
                  <a:lnTo>
                    <a:pt x="11803" y="2754"/>
                  </a:lnTo>
                  <a:lnTo>
                    <a:pt x="8656" y="393"/>
                  </a:lnTo>
                  <a:lnTo>
                    <a:pt x="5901" y="0"/>
                  </a:lnTo>
                  <a:lnTo>
                    <a:pt x="3148" y="1180"/>
                  </a:lnTo>
                  <a:lnTo>
                    <a:pt x="0" y="1574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87" name="Freeform: Shape 3281">
              <a:extLst>
                <a:ext uri="{FF2B5EF4-FFF2-40B4-BE49-F238E27FC236}">
                  <a16:creationId xmlns:a16="http://schemas.microsoft.com/office/drawing/2014/main" id="{0324D889-1E76-455F-8822-8D02A5B2F203}"/>
                </a:ext>
              </a:extLst>
            </p:cNvPr>
            <p:cNvSpPr/>
            <p:nvPr/>
          </p:nvSpPr>
          <p:spPr>
            <a:xfrm>
              <a:off x="7875074" y="1283688"/>
              <a:ext cx="7869" cy="3934"/>
            </a:xfrm>
            <a:custGeom>
              <a:avLst/>
              <a:gdLst>
                <a:gd name="connsiteX0" fmla="*/ 9049 w 7868"/>
                <a:gd name="connsiteY0" fmla="*/ 1180 h 0"/>
                <a:gd name="connsiteX1" fmla="*/ 6295 w 7868"/>
                <a:gd name="connsiteY1" fmla="*/ 393 h 0"/>
                <a:gd name="connsiteX2" fmla="*/ 3148 w 7868"/>
                <a:gd name="connsiteY2" fmla="*/ 0 h 0"/>
                <a:gd name="connsiteX3" fmla="*/ 0 w 7868"/>
                <a:gd name="connsiteY3" fmla="*/ 393 h 0"/>
                <a:gd name="connsiteX4" fmla="*/ 3148 w 7868"/>
                <a:gd name="connsiteY4" fmla="*/ 3147 h 0"/>
                <a:gd name="connsiteX5" fmla="*/ 6295 w 7868"/>
                <a:gd name="connsiteY5" fmla="*/ 3541 h 0"/>
                <a:gd name="connsiteX6" fmla="*/ 9049 w 7868"/>
                <a:gd name="connsiteY6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9049" y="1180"/>
                  </a:moveTo>
                  <a:lnTo>
                    <a:pt x="6295" y="393"/>
                  </a:lnTo>
                  <a:lnTo>
                    <a:pt x="3148" y="0"/>
                  </a:lnTo>
                  <a:lnTo>
                    <a:pt x="0" y="393"/>
                  </a:lnTo>
                  <a:lnTo>
                    <a:pt x="3148" y="3147"/>
                  </a:lnTo>
                  <a:lnTo>
                    <a:pt x="6295" y="3541"/>
                  </a:lnTo>
                  <a:lnTo>
                    <a:pt x="9049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88" name="Freeform: Shape 3282">
              <a:extLst>
                <a:ext uri="{FF2B5EF4-FFF2-40B4-BE49-F238E27FC236}">
                  <a16:creationId xmlns:a16="http://schemas.microsoft.com/office/drawing/2014/main" id="{F9BB73DB-1FBA-49DF-9E87-54A819CE1C72}"/>
                </a:ext>
              </a:extLst>
            </p:cNvPr>
            <p:cNvSpPr/>
            <p:nvPr/>
          </p:nvSpPr>
          <p:spPr>
            <a:xfrm>
              <a:off x="7887271" y="1284082"/>
              <a:ext cx="3934" cy="3934"/>
            </a:xfrm>
            <a:custGeom>
              <a:avLst/>
              <a:gdLst>
                <a:gd name="connsiteX0" fmla="*/ 393 w 3934"/>
                <a:gd name="connsiteY0" fmla="*/ 0 h 0"/>
                <a:gd name="connsiteX1" fmla="*/ 0 w 3934"/>
                <a:gd name="connsiteY1" fmla="*/ 2754 h 0"/>
                <a:gd name="connsiteX2" fmla="*/ 3147 w 3934"/>
                <a:gd name="connsiteY2" fmla="*/ 3147 h 0"/>
                <a:gd name="connsiteX3" fmla="*/ 5901 w 3934"/>
                <a:gd name="connsiteY3" fmla="*/ 1574 h 0"/>
                <a:gd name="connsiteX4" fmla="*/ 3147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93" y="0"/>
                  </a:moveTo>
                  <a:lnTo>
                    <a:pt x="0" y="2754"/>
                  </a:lnTo>
                  <a:lnTo>
                    <a:pt x="3147" y="3147"/>
                  </a:lnTo>
                  <a:lnTo>
                    <a:pt x="5901" y="157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89" name="Freeform: Shape 3283">
              <a:extLst>
                <a:ext uri="{FF2B5EF4-FFF2-40B4-BE49-F238E27FC236}">
                  <a16:creationId xmlns:a16="http://schemas.microsoft.com/office/drawing/2014/main" id="{ED54C245-0772-4CEB-8087-52B6B0101FD9}"/>
                </a:ext>
              </a:extLst>
            </p:cNvPr>
            <p:cNvSpPr/>
            <p:nvPr/>
          </p:nvSpPr>
          <p:spPr>
            <a:xfrm>
              <a:off x="7887664" y="1160152"/>
              <a:ext cx="7869" cy="3934"/>
            </a:xfrm>
            <a:custGeom>
              <a:avLst/>
              <a:gdLst>
                <a:gd name="connsiteX0" fmla="*/ 6688 w 7868"/>
                <a:gd name="connsiteY0" fmla="*/ 1574 h 0"/>
                <a:gd name="connsiteX1" fmla="*/ 9836 w 7868"/>
                <a:gd name="connsiteY1" fmla="*/ 787 h 0"/>
                <a:gd name="connsiteX2" fmla="*/ 6688 w 7868"/>
                <a:gd name="connsiteY2" fmla="*/ 0 h 0"/>
                <a:gd name="connsiteX3" fmla="*/ 3541 w 7868"/>
                <a:gd name="connsiteY3" fmla="*/ 787 h 0"/>
                <a:gd name="connsiteX4" fmla="*/ 393 w 7868"/>
                <a:gd name="connsiteY4" fmla="*/ 787 h 0"/>
                <a:gd name="connsiteX5" fmla="*/ 0 w 7868"/>
                <a:gd name="connsiteY5" fmla="*/ 787 h 0"/>
                <a:gd name="connsiteX6" fmla="*/ 3147 w 7868"/>
                <a:gd name="connsiteY6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6688" y="1574"/>
                  </a:moveTo>
                  <a:lnTo>
                    <a:pt x="9836" y="787"/>
                  </a:lnTo>
                  <a:lnTo>
                    <a:pt x="6688" y="0"/>
                  </a:lnTo>
                  <a:lnTo>
                    <a:pt x="3541" y="787"/>
                  </a:lnTo>
                  <a:lnTo>
                    <a:pt x="393" y="787"/>
                  </a:lnTo>
                  <a:lnTo>
                    <a:pt x="0" y="787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90" name="Freeform: Shape 3284">
              <a:extLst>
                <a:ext uri="{FF2B5EF4-FFF2-40B4-BE49-F238E27FC236}">
                  <a16:creationId xmlns:a16="http://schemas.microsoft.com/office/drawing/2014/main" id="{C10BD022-3D52-410B-8471-C0E91D5497AC}"/>
                </a:ext>
              </a:extLst>
            </p:cNvPr>
            <p:cNvSpPr/>
            <p:nvPr/>
          </p:nvSpPr>
          <p:spPr>
            <a:xfrm>
              <a:off x="7902221" y="1160546"/>
              <a:ext cx="3934" cy="3934"/>
            </a:xfrm>
            <a:custGeom>
              <a:avLst/>
              <a:gdLst>
                <a:gd name="connsiteX0" fmla="*/ 6295 w 3934"/>
                <a:gd name="connsiteY0" fmla="*/ 787 h 0"/>
                <a:gd name="connsiteX1" fmla="*/ 2754 w 3934"/>
                <a:gd name="connsiteY1" fmla="*/ 0 h 0"/>
                <a:gd name="connsiteX2" fmla="*/ 0 w 3934"/>
                <a:gd name="connsiteY2" fmla="*/ 393 h 0"/>
                <a:gd name="connsiteX3" fmla="*/ 393 w 3934"/>
                <a:gd name="connsiteY3" fmla="*/ 787 h 0"/>
                <a:gd name="connsiteX4" fmla="*/ 3148 w 3934"/>
                <a:gd name="connsiteY4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787"/>
                  </a:moveTo>
                  <a:lnTo>
                    <a:pt x="2754" y="0"/>
                  </a:lnTo>
                  <a:lnTo>
                    <a:pt x="0" y="393"/>
                  </a:lnTo>
                  <a:lnTo>
                    <a:pt x="393" y="787"/>
                  </a:lnTo>
                  <a:lnTo>
                    <a:pt x="314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91" name="Freeform: Shape 3285">
              <a:extLst>
                <a:ext uri="{FF2B5EF4-FFF2-40B4-BE49-F238E27FC236}">
                  <a16:creationId xmlns:a16="http://schemas.microsoft.com/office/drawing/2014/main" id="{E23A86F1-0C6C-4544-B548-1049434D68CE}"/>
                </a:ext>
              </a:extLst>
            </p:cNvPr>
            <p:cNvSpPr/>
            <p:nvPr/>
          </p:nvSpPr>
          <p:spPr>
            <a:xfrm>
              <a:off x="7911663" y="1146776"/>
              <a:ext cx="3934" cy="3934"/>
            </a:xfrm>
            <a:custGeom>
              <a:avLst/>
              <a:gdLst>
                <a:gd name="connsiteX0" fmla="*/ 3934 w 3934"/>
                <a:gd name="connsiteY0" fmla="*/ 0 h 0"/>
                <a:gd name="connsiteX1" fmla="*/ 393 w 3934"/>
                <a:gd name="connsiteY1" fmla="*/ 0 h 0"/>
                <a:gd name="connsiteX2" fmla="*/ 0 w 3934"/>
                <a:gd name="connsiteY2" fmla="*/ 0 h 0"/>
                <a:gd name="connsiteX3" fmla="*/ 3148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934" y="0"/>
                  </a:moveTo>
                  <a:lnTo>
                    <a:pt x="393" y="0"/>
                  </a:lnTo>
                  <a:lnTo>
                    <a:pt x="0" y="0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92" name="Freeform: Shape 3286">
              <a:extLst>
                <a:ext uri="{FF2B5EF4-FFF2-40B4-BE49-F238E27FC236}">
                  <a16:creationId xmlns:a16="http://schemas.microsoft.com/office/drawing/2014/main" id="{BAA6AE30-4A36-489B-9D4D-BAE531E1F222}"/>
                </a:ext>
              </a:extLst>
            </p:cNvPr>
            <p:cNvSpPr/>
            <p:nvPr/>
          </p:nvSpPr>
          <p:spPr>
            <a:xfrm>
              <a:off x="8018675" y="1215625"/>
              <a:ext cx="19671" cy="3934"/>
            </a:xfrm>
            <a:custGeom>
              <a:avLst/>
              <a:gdLst>
                <a:gd name="connsiteX0" fmla="*/ 15344 w 19671"/>
                <a:gd name="connsiteY0" fmla="*/ 5115 h 3934"/>
                <a:gd name="connsiteX1" fmla="*/ 18491 w 19671"/>
                <a:gd name="connsiteY1" fmla="*/ 5508 h 3934"/>
                <a:gd name="connsiteX2" fmla="*/ 21245 w 19671"/>
                <a:gd name="connsiteY2" fmla="*/ 2754 h 3934"/>
                <a:gd name="connsiteX3" fmla="*/ 18098 w 19671"/>
                <a:gd name="connsiteY3" fmla="*/ 0 h 3934"/>
                <a:gd name="connsiteX4" fmla="*/ 15344 w 19671"/>
                <a:gd name="connsiteY4" fmla="*/ 1180 h 3934"/>
                <a:gd name="connsiteX5" fmla="*/ 12197 w 19671"/>
                <a:gd name="connsiteY5" fmla="*/ 2361 h 3934"/>
                <a:gd name="connsiteX6" fmla="*/ 9442 w 19671"/>
                <a:gd name="connsiteY6" fmla="*/ 2754 h 3934"/>
                <a:gd name="connsiteX7" fmla="*/ 6295 w 19671"/>
                <a:gd name="connsiteY7" fmla="*/ 3147 h 3934"/>
                <a:gd name="connsiteX8" fmla="*/ 3148 w 19671"/>
                <a:gd name="connsiteY8" fmla="*/ 3147 h 3934"/>
                <a:gd name="connsiteX9" fmla="*/ 0 w 19671"/>
                <a:gd name="connsiteY9" fmla="*/ 4328 h 3934"/>
                <a:gd name="connsiteX10" fmla="*/ 3148 w 19671"/>
                <a:gd name="connsiteY10" fmla="*/ 5508 h 3934"/>
                <a:gd name="connsiteX11" fmla="*/ 6295 w 19671"/>
                <a:gd name="connsiteY11" fmla="*/ 5115 h 3934"/>
                <a:gd name="connsiteX12" fmla="*/ 9442 w 19671"/>
                <a:gd name="connsiteY12" fmla="*/ 4721 h 3934"/>
                <a:gd name="connsiteX13" fmla="*/ 12197 w 19671"/>
                <a:gd name="connsiteY13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671" h="3934">
                  <a:moveTo>
                    <a:pt x="15344" y="5115"/>
                  </a:moveTo>
                  <a:lnTo>
                    <a:pt x="18491" y="5508"/>
                  </a:lnTo>
                  <a:lnTo>
                    <a:pt x="21245" y="2754"/>
                  </a:lnTo>
                  <a:lnTo>
                    <a:pt x="18098" y="0"/>
                  </a:lnTo>
                  <a:lnTo>
                    <a:pt x="15344" y="1180"/>
                  </a:lnTo>
                  <a:lnTo>
                    <a:pt x="12197" y="2361"/>
                  </a:lnTo>
                  <a:lnTo>
                    <a:pt x="9442" y="2754"/>
                  </a:lnTo>
                  <a:lnTo>
                    <a:pt x="6295" y="3147"/>
                  </a:lnTo>
                  <a:lnTo>
                    <a:pt x="3148" y="3147"/>
                  </a:lnTo>
                  <a:lnTo>
                    <a:pt x="0" y="4328"/>
                  </a:lnTo>
                  <a:lnTo>
                    <a:pt x="3148" y="5508"/>
                  </a:lnTo>
                  <a:lnTo>
                    <a:pt x="6295" y="5115"/>
                  </a:lnTo>
                  <a:lnTo>
                    <a:pt x="9442" y="4721"/>
                  </a:lnTo>
                  <a:lnTo>
                    <a:pt x="1219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93" name="Freeform: Shape 3287">
              <a:extLst>
                <a:ext uri="{FF2B5EF4-FFF2-40B4-BE49-F238E27FC236}">
                  <a16:creationId xmlns:a16="http://schemas.microsoft.com/office/drawing/2014/main" id="{FA9AF9B7-4338-47BF-8F14-F924A032D05B}"/>
                </a:ext>
              </a:extLst>
            </p:cNvPr>
            <p:cNvSpPr/>
            <p:nvPr/>
          </p:nvSpPr>
          <p:spPr>
            <a:xfrm>
              <a:off x="8019462" y="1228215"/>
              <a:ext cx="3934" cy="3934"/>
            </a:xfrm>
            <a:custGeom>
              <a:avLst/>
              <a:gdLst>
                <a:gd name="connsiteX0" fmla="*/ 3147 w 3934"/>
                <a:gd name="connsiteY0" fmla="*/ 0 h 0"/>
                <a:gd name="connsiteX1" fmla="*/ 0 w 3934"/>
                <a:gd name="connsiteY1" fmla="*/ 787 h 0"/>
                <a:gd name="connsiteX2" fmla="*/ 3541 w 3934"/>
                <a:gd name="connsiteY2" fmla="*/ 1574 h 0"/>
                <a:gd name="connsiteX3" fmla="*/ 6295 w 3934"/>
                <a:gd name="connsiteY3" fmla="*/ 1574 h 0"/>
                <a:gd name="connsiteX4" fmla="*/ 3541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147" y="0"/>
                  </a:moveTo>
                  <a:lnTo>
                    <a:pt x="0" y="787"/>
                  </a:lnTo>
                  <a:lnTo>
                    <a:pt x="3541" y="1574"/>
                  </a:lnTo>
                  <a:lnTo>
                    <a:pt x="6295" y="1574"/>
                  </a:lnTo>
                  <a:lnTo>
                    <a:pt x="354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94" name="Freeform: Shape 3288">
              <a:extLst>
                <a:ext uri="{FF2B5EF4-FFF2-40B4-BE49-F238E27FC236}">
                  <a16:creationId xmlns:a16="http://schemas.microsoft.com/office/drawing/2014/main" id="{E61071D7-FE3B-4A62-A592-28F66922B628}"/>
                </a:ext>
              </a:extLst>
            </p:cNvPr>
            <p:cNvSpPr/>
            <p:nvPr/>
          </p:nvSpPr>
          <p:spPr>
            <a:xfrm>
              <a:off x="8030871" y="1228215"/>
              <a:ext cx="3934" cy="3934"/>
            </a:xfrm>
            <a:custGeom>
              <a:avLst/>
              <a:gdLst>
                <a:gd name="connsiteX0" fmla="*/ 5901 w 3934"/>
                <a:gd name="connsiteY0" fmla="*/ 787 h 0"/>
                <a:gd name="connsiteX1" fmla="*/ 3147 w 3934"/>
                <a:gd name="connsiteY1" fmla="*/ 393 h 0"/>
                <a:gd name="connsiteX2" fmla="*/ 3147 w 3934"/>
                <a:gd name="connsiteY2" fmla="*/ 787 h 0"/>
                <a:gd name="connsiteX3" fmla="*/ 0 w 3934"/>
                <a:gd name="connsiteY3" fmla="*/ 0 h 0"/>
                <a:gd name="connsiteX4" fmla="*/ 3147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787"/>
                  </a:moveTo>
                  <a:lnTo>
                    <a:pt x="3147" y="393"/>
                  </a:lnTo>
                  <a:lnTo>
                    <a:pt x="3147" y="787"/>
                  </a:lnTo>
                  <a:lnTo>
                    <a:pt x="0" y="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95" name="Freeform: Shape 3289">
              <a:extLst>
                <a:ext uri="{FF2B5EF4-FFF2-40B4-BE49-F238E27FC236}">
                  <a16:creationId xmlns:a16="http://schemas.microsoft.com/office/drawing/2014/main" id="{CCA421F4-98C4-4749-B045-8D0AD3672C9D}"/>
                </a:ext>
              </a:extLst>
            </p:cNvPr>
            <p:cNvSpPr/>
            <p:nvPr/>
          </p:nvSpPr>
          <p:spPr>
            <a:xfrm>
              <a:off x="8033232" y="1153858"/>
              <a:ext cx="3934" cy="3934"/>
            </a:xfrm>
            <a:custGeom>
              <a:avLst/>
              <a:gdLst>
                <a:gd name="connsiteX0" fmla="*/ 2754 w 3934"/>
                <a:gd name="connsiteY0" fmla="*/ 1967 h 0"/>
                <a:gd name="connsiteX1" fmla="*/ 5901 w 3934"/>
                <a:gd name="connsiteY1" fmla="*/ 787 h 0"/>
                <a:gd name="connsiteX2" fmla="*/ 2360 w 3934"/>
                <a:gd name="connsiteY2" fmla="*/ 787 h 0"/>
                <a:gd name="connsiteX3" fmla="*/ 0 w 3934"/>
                <a:gd name="connsiteY3" fmla="*/ 0 h 0"/>
                <a:gd name="connsiteX4" fmla="*/ 2754 w 3934"/>
                <a:gd name="connsiteY4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2754" y="1967"/>
                  </a:moveTo>
                  <a:lnTo>
                    <a:pt x="5901" y="787"/>
                  </a:lnTo>
                  <a:lnTo>
                    <a:pt x="2360" y="787"/>
                  </a:lnTo>
                  <a:lnTo>
                    <a:pt x="0" y="0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96" name="Freeform: Shape 3290">
              <a:extLst>
                <a:ext uri="{FF2B5EF4-FFF2-40B4-BE49-F238E27FC236}">
                  <a16:creationId xmlns:a16="http://schemas.microsoft.com/office/drawing/2014/main" id="{8D8BF21A-6D38-4C30-871E-BE519004002F}"/>
                </a:ext>
              </a:extLst>
            </p:cNvPr>
            <p:cNvSpPr/>
            <p:nvPr/>
          </p:nvSpPr>
          <p:spPr>
            <a:xfrm>
              <a:off x="8039920" y="1228215"/>
              <a:ext cx="7869" cy="3934"/>
            </a:xfrm>
            <a:custGeom>
              <a:avLst/>
              <a:gdLst>
                <a:gd name="connsiteX0" fmla="*/ 6295 w 7868"/>
                <a:gd name="connsiteY0" fmla="*/ 2361 h 0"/>
                <a:gd name="connsiteX1" fmla="*/ 9049 w 7868"/>
                <a:gd name="connsiteY1" fmla="*/ 1967 h 0"/>
                <a:gd name="connsiteX2" fmla="*/ 9049 w 7868"/>
                <a:gd name="connsiteY2" fmla="*/ 0 h 0"/>
                <a:gd name="connsiteX3" fmla="*/ 6295 w 7868"/>
                <a:gd name="connsiteY3" fmla="*/ 393 h 0"/>
                <a:gd name="connsiteX4" fmla="*/ 3148 w 7868"/>
                <a:gd name="connsiteY4" fmla="*/ 1180 h 0"/>
                <a:gd name="connsiteX5" fmla="*/ 0 w 7868"/>
                <a:gd name="connsiteY5" fmla="*/ 1180 h 0"/>
                <a:gd name="connsiteX6" fmla="*/ 3148 w 7868"/>
                <a:gd name="connsiteY6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6295" y="2361"/>
                  </a:moveTo>
                  <a:lnTo>
                    <a:pt x="9049" y="1967"/>
                  </a:lnTo>
                  <a:lnTo>
                    <a:pt x="9049" y="0"/>
                  </a:lnTo>
                  <a:lnTo>
                    <a:pt x="6295" y="393"/>
                  </a:lnTo>
                  <a:lnTo>
                    <a:pt x="3148" y="1180"/>
                  </a:lnTo>
                  <a:lnTo>
                    <a:pt x="0" y="1180"/>
                  </a:lnTo>
                  <a:lnTo>
                    <a:pt x="3148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97" name="Freeform: Shape 3291">
              <a:extLst>
                <a:ext uri="{FF2B5EF4-FFF2-40B4-BE49-F238E27FC236}">
                  <a16:creationId xmlns:a16="http://schemas.microsoft.com/office/drawing/2014/main" id="{ED924CF2-B3B6-4C8A-AC95-D93A17EFC509}"/>
                </a:ext>
              </a:extLst>
            </p:cNvPr>
            <p:cNvSpPr/>
            <p:nvPr/>
          </p:nvSpPr>
          <p:spPr>
            <a:xfrm>
              <a:off x="8067066" y="1227822"/>
              <a:ext cx="3934" cy="3934"/>
            </a:xfrm>
            <a:custGeom>
              <a:avLst/>
              <a:gdLst>
                <a:gd name="connsiteX0" fmla="*/ 6295 w 3934"/>
                <a:gd name="connsiteY0" fmla="*/ 3934 h 3934"/>
                <a:gd name="connsiteX1" fmla="*/ 3148 w 3934"/>
                <a:gd name="connsiteY1" fmla="*/ 1574 h 3934"/>
                <a:gd name="connsiteX2" fmla="*/ 0 w 3934"/>
                <a:gd name="connsiteY2" fmla="*/ 0 h 3934"/>
                <a:gd name="connsiteX3" fmla="*/ 1574 w 3934"/>
                <a:gd name="connsiteY3" fmla="*/ 3147 h 3934"/>
                <a:gd name="connsiteX4" fmla="*/ 5115 w 3934"/>
                <a:gd name="connsiteY4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6295" y="3934"/>
                  </a:moveTo>
                  <a:lnTo>
                    <a:pt x="3148" y="1574"/>
                  </a:lnTo>
                  <a:lnTo>
                    <a:pt x="0" y="0"/>
                  </a:lnTo>
                  <a:lnTo>
                    <a:pt x="1574" y="3147"/>
                  </a:lnTo>
                  <a:lnTo>
                    <a:pt x="5115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98" name="Freeform: Shape 3292">
              <a:extLst>
                <a:ext uri="{FF2B5EF4-FFF2-40B4-BE49-F238E27FC236}">
                  <a16:creationId xmlns:a16="http://schemas.microsoft.com/office/drawing/2014/main" id="{3639CEC8-0BDD-48C8-9526-FD0F7483E543}"/>
                </a:ext>
              </a:extLst>
            </p:cNvPr>
            <p:cNvSpPr/>
            <p:nvPr/>
          </p:nvSpPr>
          <p:spPr>
            <a:xfrm>
              <a:off x="8023790" y="1239624"/>
              <a:ext cx="3934" cy="3934"/>
            </a:xfrm>
            <a:custGeom>
              <a:avLst/>
              <a:gdLst>
                <a:gd name="connsiteX0" fmla="*/ 6688 w 3934"/>
                <a:gd name="connsiteY0" fmla="*/ 1967 h 0"/>
                <a:gd name="connsiteX1" fmla="*/ 3541 w 3934"/>
                <a:gd name="connsiteY1" fmla="*/ 0 h 0"/>
                <a:gd name="connsiteX2" fmla="*/ 3148 w 3934"/>
                <a:gd name="connsiteY2" fmla="*/ 0 h 0"/>
                <a:gd name="connsiteX3" fmla="*/ 0 w 3934"/>
                <a:gd name="connsiteY3" fmla="*/ 1180 h 0"/>
                <a:gd name="connsiteX4" fmla="*/ 3541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688" y="1967"/>
                  </a:moveTo>
                  <a:lnTo>
                    <a:pt x="3541" y="0"/>
                  </a:lnTo>
                  <a:lnTo>
                    <a:pt x="3148" y="0"/>
                  </a:lnTo>
                  <a:lnTo>
                    <a:pt x="0" y="1180"/>
                  </a:lnTo>
                  <a:lnTo>
                    <a:pt x="354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99" name="Freeform: Shape 3293">
              <a:extLst>
                <a:ext uri="{FF2B5EF4-FFF2-40B4-BE49-F238E27FC236}">
                  <a16:creationId xmlns:a16="http://schemas.microsoft.com/office/drawing/2014/main" id="{80EA279A-9961-445D-8AB7-AEB1F127D7CA}"/>
                </a:ext>
              </a:extLst>
            </p:cNvPr>
            <p:cNvSpPr/>
            <p:nvPr/>
          </p:nvSpPr>
          <p:spPr>
            <a:xfrm>
              <a:off x="8039920" y="1238838"/>
              <a:ext cx="23606" cy="3934"/>
            </a:xfrm>
            <a:custGeom>
              <a:avLst/>
              <a:gdLst>
                <a:gd name="connsiteX0" fmla="*/ 9049 w 23605"/>
                <a:gd name="connsiteY0" fmla="*/ 787 h 3934"/>
                <a:gd name="connsiteX1" fmla="*/ 6295 w 23605"/>
                <a:gd name="connsiteY1" fmla="*/ 0 h 3934"/>
                <a:gd name="connsiteX2" fmla="*/ 3148 w 23605"/>
                <a:gd name="connsiteY2" fmla="*/ 1574 h 3934"/>
                <a:gd name="connsiteX3" fmla="*/ 0 w 23605"/>
                <a:gd name="connsiteY3" fmla="*/ 393 h 3934"/>
                <a:gd name="connsiteX4" fmla="*/ 2754 w 23605"/>
                <a:gd name="connsiteY4" fmla="*/ 2361 h 3934"/>
                <a:gd name="connsiteX5" fmla="*/ 6295 w 23605"/>
                <a:gd name="connsiteY5" fmla="*/ 2361 h 3934"/>
                <a:gd name="connsiteX6" fmla="*/ 9442 w 23605"/>
                <a:gd name="connsiteY6" fmla="*/ 3147 h 3934"/>
                <a:gd name="connsiteX7" fmla="*/ 12196 w 23605"/>
                <a:gd name="connsiteY7" fmla="*/ 3541 h 3934"/>
                <a:gd name="connsiteX8" fmla="*/ 15737 w 23605"/>
                <a:gd name="connsiteY8" fmla="*/ 3934 h 3934"/>
                <a:gd name="connsiteX9" fmla="*/ 18885 w 23605"/>
                <a:gd name="connsiteY9" fmla="*/ 3934 h 3934"/>
                <a:gd name="connsiteX10" fmla="*/ 21638 w 23605"/>
                <a:gd name="connsiteY10" fmla="*/ 4721 h 3934"/>
                <a:gd name="connsiteX11" fmla="*/ 22819 w 23605"/>
                <a:gd name="connsiteY11" fmla="*/ 4721 h 3934"/>
                <a:gd name="connsiteX12" fmla="*/ 19278 w 23605"/>
                <a:gd name="connsiteY12" fmla="*/ 2754 h 3934"/>
                <a:gd name="connsiteX13" fmla="*/ 22426 w 23605"/>
                <a:gd name="connsiteY13" fmla="*/ 1574 h 3934"/>
                <a:gd name="connsiteX14" fmla="*/ 25966 w 23605"/>
                <a:gd name="connsiteY14" fmla="*/ 3934 h 3934"/>
                <a:gd name="connsiteX15" fmla="*/ 24393 w 23605"/>
                <a:gd name="connsiteY15" fmla="*/ 787 h 3934"/>
                <a:gd name="connsiteX16" fmla="*/ 21245 w 23605"/>
                <a:gd name="connsiteY16" fmla="*/ 393 h 3934"/>
                <a:gd name="connsiteX17" fmla="*/ 17704 w 23605"/>
                <a:gd name="connsiteY17" fmla="*/ 0 h 3934"/>
                <a:gd name="connsiteX18" fmla="*/ 14950 w 23605"/>
                <a:gd name="connsiteY18" fmla="*/ 393 h 3934"/>
                <a:gd name="connsiteX19" fmla="*/ 12196 w 23605"/>
                <a:gd name="connsiteY19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3605" h="3934">
                  <a:moveTo>
                    <a:pt x="9049" y="787"/>
                  </a:moveTo>
                  <a:lnTo>
                    <a:pt x="6295" y="0"/>
                  </a:lnTo>
                  <a:lnTo>
                    <a:pt x="3148" y="1574"/>
                  </a:lnTo>
                  <a:lnTo>
                    <a:pt x="0" y="393"/>
                  </a:lnTo>
                  <a:lnTo>
                    <a:pt x="2754" y="2361"/>
                  </a:lnTo>
                  <a:lnTo>
                    <a:pt x="6295" y="2361"/>
                  </a:lnTo>
                  <a:lnTo>
                    <a:pt x="9442" y="3147"/>
                  </a:lnTo>
                  <a:lnTo>
                    <a:pt x="12196" y="3541"/>
                  </a:lnTo>
                  <a:lnTo>
                    <a:pt x="15737" y="3934"/>
                  </a:lnTo>
                  <a:lnTo>
                    <a:pt x="18885" y="3934"/>
                  </a:lnTo>
                  <a:lnTo>
                    <a:pt x="21638" y="4721"/>
                  </a:lnTo>
                  <a:lnTo>
                    <a:pt x="22819" y="4721"/>
                  </a:lnTo>
                  <a:lnTo>
                    <a:pt x="19278" y="2754"/>
                  </a:lnTo>
                  <a:lnTo>
                    <a:pt x="22426" y="1574"/>
                  </a:lnTo>
                  <a:lnTo>
                    <a:pt x="25966" y="3934"/>
                  </a:lnTo>
                  <a:lnTo>
                    <a:pt x="24393" y="787"/>
                  </a:lnTo>
                  <a:lnTo>
                    <a:pt x="21245" y="393"/>
                  </a:lnTo>
                  <a:lnTo>
                    <a:pt x="17704" y="0"/>
                  </a:lnTo>
                  <a:lnTo>
                    <a:pt x="14950" y="393"/>
                  </a:lnTo>
                  <a:lnTo>
                    <a:pt x="12196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00" name="Freeform: Shape 3294">
              <a:extLst>
                <a:ext uri="{FF2B5EF4-FFF2-40B4-BE49-F238E27FC236}">
                  <a16:creationId xmlns:a16="http://schemas.microsoft.com/office/drawing/2014/main" id="{8E2A1DFC-196F-4695-84C6-F12B1B12676D}"/>
                </a:ext>
              </a:extLst>
            </p:cNvPr>
            <p:cNvSpPr/>
            <p:nvPr/>
          </p:nvSpPr>
          <p:spPr>
            <a:xfrm>
              <a:off x="8057624" y="1237657"/>
              <a:ext cx="3934" cy="3934"/>
            </a:xfrm>
            <a:custGeom>
              <a:avLst/>
              <a:gdLst>
                <a:gd name="connsiteX0" fmla="*/ 5115 w 3934"/>
                <a:gd name="connsiteY0" fmla="*/ 787 h 0"/>
                <a:gd name="connsiteX1" fmla="*/ 6295 w 3934"/>
                <a:gd name="connsiteY1" fmla="*/ 1180 h 0"/>
                <a:gd name="connsiteX2" fmla="*/ 5901 w 3934"/>
                <a:gd name="connsiteY2" fmla="*/ 1180 h 0"/>
                <a:gd name="connsiteX3" fmla="*/ 2754 w 3934"/>
                <a:gd name="connsiteY3" fmla="*/ 0 h 0"/>
                <a:gd name="connsiteX4" fmla="*/ 0 w 3934"/>
                <a:gd name="connsiteY4" fmla="*/ 0 h 0"/>
                <a:gd name="connsiteX5" fmla="*/ 2754 w 3934"/>
                <a:gd name="connsiteY5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5115" y="787"/>
                  </a:moveTo>
                  <a:lnTo>
                    <a:pt x="6295" y="1180"/>
                  </a:lnTo>
                  <a:lnTo>
                    <a:pt x="5901" y="1180"/>
                  </a:lnTo>
                  <a:lnTo>
                    <a:pt x="2754" y="0"/>
                  </a:lnTo>
                  <a:lnTo>
                    <a:pt x="0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01" name="Freeform: Shape 3295">
              <a:extLst>
                <a:ext uri="{FF2B5EF4-FFF2-40B4-BE49-F238E27FC236}">
                  <a16:creationId xmlns:a16="http://schemas.microsoft.com/office/drawing/2014/main" id="{4042A8EB-50D6-43F2-A16F-BD261718198F}"/>
                </a:ext>
              </a:extLst>
            </p:cNvPr>
            <p:cNvSpPr/>
            <p:nvPr/>
          </p:nvSpPr>
          <p:spPr>
            <a:xfrm>
              <a:off x="8066673" y="1237657"/>
              <a:ext cx="3934" cy="3934"/>
            </a:xfrm>
            <a:custGeom>
              <a:avLst/>
              <a:gdLst>
                <a:gd name="connsiteX0" fmla="*/ 787 w 3934"/>
                <a:gd name="connsiteY0" fmla="*/ 0 h 3934"/>
                <a:gd name="connsiteX1" fmla="*/ 0 w 3934"/>
                <a:gd name="connsiteY1" fmla="*/ 2754 h 3934"/>
                <a:gd name="connsiteX2" fmla="*/ 2360 w 3934"/>
                <a:gd name="connsiteY2" fmla="*/ 4328 h 3934"/>
                <a:gd name="connsiteX3" fmla="*/ 5508 w 3934"/>
                <a:gd name="connsiteY3" fmla="*/ 2754 h 3934"/>
                <a:gd name="connsiteX4" fmla="*/ 2360 w 3934"/>
                <a:gd name="connsiteY4" fmla="*/ 3147 h 3934"/>
                <a:gd name="connsiteX5" fmla="*/ 3541 w 3934"/>
                <a:gd name="connsiteY5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787" y="0"/>
                  </a:moveTo>
                  <a:lnTo>
                    <a:pt x="0" y="2754"/>
                  </a:lnTo>
                  <a:lnTo>
                    <a:pt x="2360" y="4328"/>
                  </a:lnTo>
                  <a:lnTo>
                    <a:pt x="5508" y="2754"/>
                  </a:lnTo>
                  <a:lnTo>
                    <a:pt x="2360" y="3147"/>
                  </a:lnTo>
                  <a:lnTo>
                    <a:pt x="354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02" name="Freeform: Shape 3296">
              <a:extLst>
                <a:ext uri="{FF2B5EF4-FFF2-40B4-BE49-F238E27FC236}">
                  <a16:creationId xmlns:a16="http://schemas.microsoft.com/office/drawing/2014/main" id="{27662FB6-CE38-4565-A853-C525E2DDC889}"/>
                </a:ext>
              </a:extLst>
            </p:cNvPr>
            <p:cNvSpPr/>
            <p:nvPr/>
          </p:nvSpPr>
          <p:spPr>
            <a:xfrm>
              <a:off x="8073361" y="1243559"/>
              <a:ext cx="7869" cy="3934"/>
            </a:xfrm>
            <a:custGeom>
              <a:avLst/>
              <a:gdLst>
                <a:gd name="connsiteX0" fmla="*/ 6295 w 7868"/>
                <a:gd name="connsiteY0" fmla="*/ 2754 h 0"/>
                <a:gd name="connsiteX1" fmla="*/ 9049 w 7868"/>
                <a:gd name="connsiteY1" fmla="*/ 393 h 0"/>
                <a:gd name="connsiteX2" fmla="*/ 9049 w 7868"/>
                <a:gd name="connsiteY2" fmla="*/ 0 h 0"/>
                <a:gd name="connsiteX3" fmla="*/ 5901 w 7868"/>
                <a:gd name="connsiteY3" fmla="*/ 787 h 0"/>
                <a:gd name="connsiteX4" fmla="*/ 3148 w 7868"/>
                <a:gd name="connsiteY4" fmla="*/ 1574 h 0"/>
                <a:gd name="connsiteX5" fmla="*/ 0 w 7868"/>
                <a:gd name="connsiteY5" fmla="*/ 2361 h 0"/>
                <a:gd name="connsiteX6" fmla="*/ 3148 w 7868"/>
                <a:gd name="connsiteY6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6295" y="2754"/>
                  </a:moveTo>
                  <a:lnTo>
                    <a:pt x="9049" y="393"/>
                  </a:lnTo>
                  <a:lnTo>
                    <a:pt x="9049" y="0"/>
                  </a:lnTo>
                  <a:lnTo>
                    <a:pt x="5901" y="787"/>
                  </a:lnTo>
                  <a:lnTo>
                    <a:pt x="3148" y="1574"/>
                  </a:lnTo>
                  <a:lnTo>
                    <a:pt x="0" y="2361"/>
                  </a:lnTo>
                  <a:lnTo>
                    <a:pt x="314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03" name="Freeform: Shape 3297">
              <a:extLst>
                <a:ext uri="{FF2B5EF4-FFF2-40B4-BE49-F238E27FC236}">
                  <a16:creationId xmlns:a16="http://schemas.microsoft.com/office/drawing/2014/main" id="{9578685D-282E-49A1-B098-99038696A8D9}"/>
                </a:ext>
              </a:extLst>
            </p:cNvPr>
            <p:cNvSpPr/>
            <p:nvPr/>
          </p:nvSpPr>
          <p:spPr>
            <a:xfrm>
              <a:off x="7867206" y="1157792"/>
              <a:ext cx="11803" cy="3934"/>
            </a:xfrm>
            <a:custGeom>
              <a:avLst/>
              <a:gdLst>
                <a:gd name="connsiteX0" fmla="*/ 2754 w 11802"/>
                <a:gd name="connsiteY0" fmla="*/ 393 h 0"/>
                <a:gd name="connsiteX1" fmla="*/ 5901 w 11802"/>
                <a:gd name="connsiteY1" fmla="*/ 787 h 0"/>
                <a:gd name="connsiteX2" fmla="*/ 9049 w 11802"/>
                <a:gd name="connsiteY2" fmla="*/ 1180 h 0"/>
                <a:gd name="connsiteX3" fmla="*/ 12197 w 11802"/>
                <a:gd name="connsiteY3" fmla="*/ 1967 h 0"/>
                <a:gd name="connsiteX4" fmla="*/ 9442 w 11802"/>
                <a:gd name="connsiteY4" fmla="*/ 1180 h 0"/>
                <a:gd name="connsiteX5" fmla="*/ 6295 w 11802"/>
                <a:gd name="connsiteY5" fmla="*/ 787 h 0"/>
                <a:gd name="connsiteX6" fmla="*/ 2754 w 11802"/>
                <a:gd name="connsiteY6" fmla="*/ 0 h 0"/>
                <a:gd name="connsiteX7" fmla="*/ 0 w 11802"/>
                <a:gd name="connsiteY7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>
                  <a:moveTo>
                    <a:pt x="2754" y="393"/>
                  </a:moveTo>
                  <a:lnTo>
                    <a:pt x="5901" y="787"/>
                  </a:lnTo>
                  <a:lnTo>
                    <a:pt x="9049" y="1180"/>
                  </a:lnTo>
                  <a:lnTo>
                    <a:pt x="12197" y="1967"/>
                  </a:lnTo>
                  <a:lnTo>
                    <a:pt x="9442" y="1180"/>
                  </a:lnTo>
                  <a:lnTo>
                    <a:pt x="6295" y="787"/>
                  </a:ln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04" name="Freeform: Shape 3298">
              <a:extLst>
                <a:ext uri="{FF2B5EF4-FFF2-40B4-BE49-F238E27FC236}">
                  <a16:creationId xmlns:a16="http://schemas.microsoft.com/office/drawing/2014/main" id="{7C3C52DD-14E6-4946-805A-74CFA97A55BF}"/>
                </a:ext>
              </a:extLst>
            </p:cNvPr>
            <p:cNvSpPr/>
            <p:nvPr/>
          </p:nvSpPr>
          <p:spPr>
            <a:xfrm>
              <a:off x="8067460" y="1160939"/>
              <a:ext cx="106225" cy="35408"/>
            </a:xfrm>
            <a:custGeom>
              <a:avLst/>
              <a:gdLst>
                <a:gd name="connsiteX0" fmla="*/ 1574 w 106225"/>
                <a:gd name="connsiteY0" fmla="*/ 31081 h 35408"/>
                <a:gd name="connsiteX1" fmla="*/ 0 w 106225"/>
                <a:gd name="connsiteY1" fmla="*/ 33835 h 35408"/>
                <a:gd name="connsiteX2" fmla="*/ 2754 w 106225"/>
                <a:gd name="connsiteY2" fmla="*/ 34622 h 35408"/>
                <a:gd name="connsiteX3" fmla="*/ 5901 w 106225"/>
                <a:gd name="connsiteY3" fmla="*/ 35802 h 35408"/>
                <a:gd name="connsiteX4" fmla="*/ 9442 w 106225"/>
                <a:gd name="connsiteY4" fmla="*/ 35408 h 35408"/>
                <a:gd name="connsiteX5" fmla="*/ 12983 w 106225"/>
                <a:gd name="connsiteY5" fmla="*/ 35802 h 35408"/>
                <a:gd name="connsiteX6" fmla="*/ 16130 w 106225"/>
                <a:gd name="connsiteY6" fmla="*/ 35802 h 35408"/>
                <a:gd name="connsiteX7" fmla="*/ 16918 w 106225"/>
                <a:gd name="connsiteY7" fmla="*/ 35408 h 35408"/>
                <a:gd name="connsiteX8" fmla="*/ 20065 w 106225"/>
                <a:gd name="connsiteY8" fmla="*/ 34622 h 35408"/>
                <a:gd name="connsiteX9" fmla="*/ 22819 w 106225"/>
                <a:gd name="connsiteY9" fmla="*/ 34228 h 35408"/>
                <a:gd name="connsiteX10" fmla="*/ 25573 w 106225"/>
                <a:gd name="connsiteY10" fmla="*/ 33048 h 35408"/>
                <a:gd name="connsiteX11" fmla="*/ 28720 w 106225"/>
                <a:gd name="connsiteY11" fmla="*/ 32261 h 35408"/>
                <a:gd name="connsiteX12" fmla="*/ 31867 w 106225"/>
                <a:gd name="connsiteY12" fmla="*/ 30294 h 35408"/>
                <a:gd name="connsiteX13" fmla="*/ 35015 w 106225"/>
                <a:gd name="connsiteY13" fmla="*/ 29900 h 35408"/>
                <a:gd name="connsiteX14" fmla="*/ 37769 w 106225"/>
                <a:gd name="connsiteY14" fmla="*/ 30294 h 35408"/>
                <a:gd name="connsiteX15" fmla="*/ 40916 w 106225"/>
                <a:gd name="connsiteY15" fmla="*/ 29900 h 35408"/>
                <a:gd name="connsiteX16" fmla="*/ 44064 w 106225"/>
                <a:gd name="connsiteY16" fmla="*/ 29900 h 35408"/>
                <a:gd name="connsiteX17" fmla="*/ 47211 w 106225"/>
                <a:gd name="connsiteY17" fmla="*/ 29507 h 35408"/>
                <a:gd name="connsiteX18" fmla="*/ 53113 w 106225"/>
                <a:gd name="connsiteY18" fmla="*/ 29507 h 35408"/>
                <a:gd name="connsiteX19" fmla="*/ 56654 w 106225"/>
                <a:gd name="connsiteY19" fmla="*/ 29114 h 35408"/>
                <a:gd name="connsiteX20" fmla="*/ 59801 w 106225"/>
                <a:gd name="connsiteY20" fmla="*/ 29114 h 35408"/>
                <a:gd name="connsiteX21" fmla="*/ 62555 w 106225"/>
                <a:gd name="connsiteY21" fmla="*/ 30687 h 35408"/>
                <a:gd name="connsiteX22" fmla="*/ 66096 w 106225"/>
                <a:gd name="connsiteY22" fmla="*/ 28327 h 35408"/>
                <a:gd name="connsiteX23" fmla="*/ 68850 w 106225"/>
                <a:gd name="connsiteY23" fmla="*/ 28720 h 35408"/>
                <a:gd name="connsiteX24" fmla="*/ 72391 w 106225"/>
                <a:gd name="connsiteY24" fmla="*/ 28327 h 35408"/>
                <a:gd name="connsiteX25" fmla="*/ 75538 w 106225"/>
                <a:gd name="connsiteY25" fmla="*/ 28327 h 35408"/>
                <a:gd name="connsiteX26" fmla="*/ 78685 w 106225"/>
                <a:gd name="connsiteY26" fmla="*/ 28327 h 35408"/>
                <a:gd name="connsiteX27" fmla="*/ 82226 w 106225"/>
                <a:gd name="connsiteY27" fmla="*/ 28327 h 35408"/>
                <a:gd name="connsiteX28" fmla="*/ 84980 w 106225"/>
                <a:gd name="connsiteY28" fmla="*/ 27540 h 35408"/>
                <a:gd name="connsiteX29" fmla="*/ 88128 w 106225"/>
                <a:gd name="connsiteY29" fmla="*/ 26753 h 35408"/>
                <a:gd name="connsiteX30" fmla="*/ 90881 w 106225"/>
                <a:gd name="connsiteY30" fmla="*/ 25966 h 35408"/>
                <a:gd name="connsiteX31" fmla="*/ 94029 w 106225"/>
                <a:gd name="connsiteY31" fmla="*/ 25966 h 35408"/>
                <a:gd name="connsiteX32" fmla="*/ 97177 w 106225"/>
                <a:gd name="connsiteY32" fmla="*/ 25966 h 35408"/>
                <a:gd name="connsiteX33" fmla="*/ 100324 w 106225"/>
                <a:gd name="connsiteY33" fmla="*/ 25966 h 35408"/>
                <a:gd name="connsiteX34" fmla="*/ 103078 w 106225"/>
                <a:gd name="connsiteY34" fmla="*/ 23606 h 35408"/>
                <a:gd name="connsiteX35" fmla="*/ 106225 w 106225"/>
                <a:gd name="connsiteY35" fmla="*/ 22032 h 35408"/>
                <a:gd name="connsiteX36" fmla="*/ 103078 w 106225"/>
                <a:gd name="connsiteY36" fmla="*/ 19671 h 35408"/>
                <a:gd name="connsiteX37" fmla="*/ 99930 w 106225"/>
                <a:gd name="connsiteY37" fmla="*/ 18098 h 35408"/>
                <a:gd name="connsiteX38" fmla="*/ 97177 w 106225"/>
                <a:gd name="connsiteY38" fmla="*/ 16524 h 35408"/>
                <a:gd name="connsiteX39" fmla="*/ 94029 w 106225"/>
                <a:gd name="connsiteY39" fmla="*/ 14950 h 35408"/>
                <a:gd name="connsiteX40" fmla="*/ 90881 w 106225"/>
                <a:gd name="connsiteY40" fmla="*/ 14163 h 35408"/>
                <a:gd name="connsiteX41" fmla="*/ 87734 w 106225"/>
                <a:gd name="connsiteY41" fmla="*/ 13770 h 35408"/>
                <a:gd name="connsiteX42" fmla="*/ 84980 w 106225"/>
                <a:gd name="connsiteY42" fmla="*/ 14950 h 35408"/>
                <a:gd name="connsiteX43" fmla="*/ 81833 w 106225"/>
                <a:gd name="connsiteY43" fmla="*/ 14163 h 35408"/>
                <a:gd name="connsiteX44" fmla="*/ 78685 w 106225"/>
                <a:gd name="connsiteY44" fmla="*/ 13770 h 35408"/>
                <a:gd name="connsiteX45" fmla="*/ 75538 w 106225"/>
                <a:gd name="connsiteY45" fmla="*/ 11409 h 35408"/>
                <a:gd name="connsiteX46" fmla="*/ 72784 w 106225"/>
                <a:gd name="connsiteY46" fmla="*/ 10623 h 35408"/>
                <a:gd name="connsiteX47" fmla="*/ 69637 w 106225"/>
                <a:gd name="connsiteY47" fmla="*/ 9836 h 35408"/>
                <a:gd name="connsiteX48" fmla="*/ 66882 w 106225"/>
                <a:gd name="connsiteY48" fmla="*/ 9836 h 35408"/>
                <a:gd name="connsiteX49" fmla="*/ 63735 w 106225"/>
                <a:gd name="connsiteY49" fmla="*/ 9049 h 35408"/>
                <a:gd name="connsiteX50" fmla="*/ 60588 w 106225"/>
                <a:gd name="connsiteY50" fmla="*/ 7082 h 35408"/>
                <a:gd name="connsiteX51" fmla="*/ 57440 w 106225"/>
                <a:gd name="connsiteY51" fmla="*/ 6688 h 35408"/>
                <a:gd name="connsiteX52" fmla="*/ 54686 w 106225"/>
                <a:gd name="connsiteY52" fmla="*/ 6295 h 35408"/>
                <a:gd name="connsiteX53" fmla="*/ 51539 w 106225"/>
                <a:gd name="connsiteY53" fmla="*/ 5901 h 35408"/>
                <a:gd name="connsiteX54" fmla="*/ 48392 w 106225"/>
                <a:gd name="connsiteY54" fmla="*/ 7475 h 35408"/>
                <a:gd name="connsiteX55" fmla="*/ 44851 w 106225"/>
                <a:gd name="connsiteY55" fmla="*/ 8655 h 35408"/>
                <a:gd name="connsiteX56" fmla="*/ 41310 w 106225"/>
                <a:gd name="connsiteY56" fmla="*/ 11016 h 35408"/>
                <a:gd name="connsiteX57" fmla="*/ 39343 w 106225"/>
                <a:gd name="connsiteY57" fmla="*/ 14163 h 35408"/>
                <a:gd name="connsiteX58" fmla="*/ 36196 w 106225"/>
                <a:gd name="connsiteY58" fmla="*/ 13770 h 35408"/>
                <a:gd name="connsiteX59" fmla="*/ 36982 w 106225"/>
                <a:gd name="connsiteY59" fmla="*/ 11016 h 35408"/>
                <a:gd name="connsiteX60" fmla="*/ 35408 w 106225"/>
                <a:gd name="connsiteY60" fmla="*/ 7869 h 35408"/>
                <a:gd name="connsiteX61" fmla="*/ 34622 w 106225"/>
                <a:gd name="connsiteY61" fmla="*/ 4721 h 35408"/>
                <a:gd name="connsiteX62" fmla="*/ 36196 w 106225"/>
                <a:gd name="connsiteY62" fmla="*/ 1967 h 35408"/>
                <a:gd name="connsiteX63" fmla="*/ 33441 w 106225"/>
                <a:gd name="connsiteY63" fmla="*/ 1967 h 35408"/>
                <a:gd name="connsiteX64" fmla="*/ 29900 w 106225"/>
                <a:gd name="connsiteY64" fmla="*/ 787 h 35408"/>
                <a:gd name="connsiteX65" fmla="*/ 27147 w 106225"/>
                <a:gd name="connsiteY65" fmla="*/ 393 h 35408"/>
                <a:gd name="connsiteX66" fmla="*/ 23999 w 106225"/>
                <a:gd name="connsiteY66" fmla="*/ 0 h 35408"/>
                <a:gd name="connsiteX67" fmla="*/ 20852 w 106225"/>
                <a:gd name="connsiteY67" fmla="*/ 0 h 35408"/>
                <a:gd name="connsiteX68" fmla="*/ 17311 w 106225"/>
                <a:gd name="connsiteY68" fmla="*/ 2361 h 35408"/>
                <a:gd name="connsiteX69" fmla="*/ 20065 w 106225"/>
                <a:gd name="connsiteY69" fmla="*/ 3934 h 35408"/>
                <a:gd name="connsiteX70" fmla="*/ 16918 w 106225"/>
                <a:gd name="connsiteY70" fmla="*/ 3934 h 35408"/>
                <a:gd name="connsiteX71" fmla="*/ 14950 w 106225"/>
                <a:gd name="connsiteY71" fmla="*/ 2754 h 35408"/>
                <a:gd name="connsiteX72" fmla="*/ 12196 w 106225"/>
                <a:gd name="connsiteY72" fmla="*/ 1967 h 35408"/>
                <a:gd name="connsiteX73" fmla="*/ 9049 w 106225"/>
                <a:gd name="connsiteY73" fmla="*/ 787 h 35408"/>
                <a:gd name="connsiteX74" fmla="*/ 5901 w 106225"/>
                <a:gd name="connsiteY74" fmla="*/ 1180 h 35408"/>
                <a:gd name="connsiteX75" fmla="*/ 5901 w 106225"/>
                <a:gd name="connsiteY75" fmla="*/ 3934 h 35408"/>
                <a:gd name="connsiteX76" fmla="*/ 2754 w 106225"/>
                <a:gd name="connsiteY76" fmla="*/ 5901 h 35408"/>
                <a:gd name="connsiteX77" fmla="*/ 4721 w 106225"/>
                <a:gd name="connsiteY77" fmla="*/ 9049 h 35408"/>
                <a:gd name="connsiteX78" fmla="*/ 7869 w 106225"/>
                <a:gd name="connsiteY78" fmla="*/ 9049 h 35408"/>
                <a:gd name="connsiteX79" fmla="*/ 11016 w 106225"/>
                <a:gd name="connsiteY79" fmla="*/ 9836 h 35408"/>
                <a:gd name="connsiteX80" fmla="*/ 7869 w 106225"/>
                <a:gd name="connsiteY80" fmla="*/ 9442 h 35408"/>
                <a:gd name="connsiteX81" fmla="*/ 4721 w 106225"/>
                <a:gd name="connsiteY81" fmla="*/ 9836 h 35408"/>
                <a:gd name="connsiteX82" fmla="*/ 4328 w 106225"/>
                <a:gd name="connsiteY82" fmla="*/ 12590 h 35408"/>
                <a:gd name="connsiteX83" fmla="*/ 7082 w 106225"/>
                <a:gd name="connsiteY83" fmla="*/ 14163 h 35408"/>
                <a:gd name="connsiteX84" fmla="*/ 10229 w 106225"/>
                <a:gd name="connsiteY84" fmla="*/ 14950 h 35408"/>
                <a:gd name="connsiteX85" fmla="*/ 10229 w 106225"/>
                <a:gd name="connsiteY85" fmla="*/ 14950 h 35408"/>
                <a:gd name="connsiteX86" fmla="*/ 9836 w 106225"/>
                <a:gd name="connsiteY86" fmla="*/ 15737 h 35408"/>
                <a:gd name="connsiteX87" fmla="*/ 7082 w 106225"/>
                <a:gd name="connsiteY87" fmla="*/ 15344 h 35408"/>
                <a:gd name="connsiteX88" fmla="*/ 4328 w 106225"/>
                <a:gd name="connsiteY88" fmla="*/ 14950 h 35408"/>
                <a:gd name="connsiteX89" fmla="*/ 787 w 106225"/>
                <a:gd name="connsiteY89" fmla="*/ 16130 h 35408"/>
                <a:gd name="connsiteX90" fmla="*/ 1967 w 106225"/>
                <a:gd name="connsiteY90" fmla="*/ 18884 h 35408"/>
                <a:gd name="connsiteX91" fmla="*/ 3148 w 106225"/>
                <a:gd name="connsiteY91" fmla="*/ 22032 h 35408"/>
                <a:gd name="connsiteX92" fmla="*/ 3934 w 106225"/>
                <a:gd name="connsiteY92" fmla="*/ 25179 h 35408"/>
                <a:gd name="connsiteX93" fmla="*/ 4328 w 106225"/>
                <a:gd name="connsiteY93" fmla="*/ 25179 h 35408"/>
                <a:gd name="connsiteX94" fmla="*/ 5508 w 106225"/>
                <a:gd name="connsiteY94" fmla="*/ 26360 h 35408"/>
                <a:gd name="connsiteX95" fmla="*/ 3934 w 106225"/>
                <a:gd name="connsiteY95" fmla="*/ 27933 h 35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106225" h="35408">
                  <a:moveTo>
                    <a:pt x="1574" y="31081"/>
                  </a:moveTo>
                  <a:lnTo>
                    <a:pt x="0" y="33835"/>
                  </a:lnTo>
                  <a:lnTo>
                    <a:pt x="2754" y="34622"/>
                  </a:lnTo>
                  <a:lnTo>
                    <a:pt x="5901" y="35802"/>
                  </a:lnTo>
                  <a:lnTo>
                    <a:pt x="9442" y="35408"/>
                  </a:lnTo>
                  <a:lnTo>
                    <a:pt x="12983" y="35802"/>
                  </a:lnTo>
                  <a:lnTo>
                    <a:pt x="16130" y="35802"/>
                  </a:lnTo>
                  <a:lnTo>
                    <a:pt x="16918" y="35408"/>
                  </a:lnTo>
                  <a:lnTo>
                    <a:pt x="20065" y="34622"/>
                  </a:lnTo>
                  <a:lnTo>
                    <a:pt x="22819" y="34228"/>
                  </a:lnTo>
                  <a:lnTo>
                    <a:pt x="25573" y="33048"/>
                  </a:lnTo>
                  <a:lnTo>
                    <a:pt x="28720" y="32261"/>
                  </a:lnTo>
                  <a:lnTo>
                    <a:pt x="31867" y="30294"/>
                  </a:lnTo>
                  <a:lnTo>
                    <a:pt x="35015" y="29900"/>
                  </a:lnTo>
                  <a:lnTo>
                    <a:pt x="37769" y="30294"/>
                  </a:lnTo>
                  <a:lnTo>
                    <a:pt x="40916" y="29900"/>
                  </a:lnTo>
                  <a:lnTo>
                    <a:pt x="44064" y="29900"/>
                  </a:lnTo>
                  <a:lnTo>
                    <a:pt x="47211" y="29507"/>
                  </a:lnTo>
                  <a:lnTo>
                    <a:pt x="53113" y="29507"/>
                  </a:lnTo>
                  <a:lnTo>
                    <a:pt x="56654" y="29114"/>
                  </a:lnTo>
                  <a:lnTo>
                    <a:pt x="59801" y="29114"/>
                  </a:lnTo>
                  <a:lnTo>
                    <a:pt x="62555" y="30687"/>
                  </a:lnTo>
                  <a:lnTo>
                    <a:pt x="66096" y="28327"/>
                  </a:lnTo>
                  <a:lnTo>
                    <a:pt x="68850" y="28720"/>
                  </a:lnTo>
                  <a:lnTo>
                    <a:pt x="72391" y="28327"/>
                  </a:lnTo>
                  <a:lnTo>
                    <a:pt x="75538" y="28327"/>
                  </a:lnTo>
                  <a:lnTo>
                    <a:pt x="78685" y="28327"/>
                  </a:lnTo>
                  <a:lnTo>
                    <a:pt x="82226" y="28327"/>
                  </a:lnTo>
                  <a:lnTo>
                    <a:pt x="84980" y="27540"/>
                  </a:lnTo>
                  <a:lnTo>
                    <a:pt x="88128" y="26753"/>
                  </a:lnTo>
                  <a:lnTo>
                    <a:pt x="90881" y="25966"/>
                  </a:lnTo>
                  <a:lnTo>
                    <a:pt x="94029" y="25966"/>
                  </a:lnTo>
                  <a:lnTo>
                    <a:pt x="97177" y="25966"/>
                  </a:lnTo>
                  <a:lnTo>
                    <a:pt x="100324" y="25966"/>
                  </a:lnTo>
                  <a:lnTo>
                    <a:pt x="103078" y="23606"/>
                  </a:lnTo>
                  <a:lnTo>
                    <a:pt x="106225" y="22032"/>
                  </a:lnTo>
                  <a:lnTo>
                    <a:pt x="103078" y="19671"/>
                  </a:lnTo>
                  <a:lnTo>
                    <a:pt x="99930" y="18098"/>
                  </a:lnTo>
                  <a:lnTo>
                    <a:pt x="97177" y="16524"/>
                  </a:lnTo>
                  <a:lnTo>
                    <a:pt x="94029" y="14950"/>
                  </a:lnTo>
                  <a:lnTo>
                    <a:pt x="90881" y="14163"/>
                  </a:lnTo>
                  <a:lnTo>
                    <a:pt x="87734" y="13770"/>
                  </a:lnTo>
                  <a:lnTo>
                    <a:pt x="84980" y="14950"/>
                  </a:lnTo>
                  <a:lnTo>
                    <a:pt x="81833" y="14163"/>
                  </a:lnTo>
                  <a:lnTo>
                    <a:pt x="78685" y="13770"/>
                  </a:lnTo>
                  <a:lnTo>
                    <a:pt x="75538" y="11409"/>
                  </a:lnTo>
                  <a:lnTo>
                    <a:pt x="72784" y="10623"/>
                  </a:lnTo>
                  <a:lnTo>
                    <a:pt x="69637" y="9836"/>
                  </a:lnTo>
                  <a:lnTo>
                    <a:pt x="66882" y="9836"/>
                  </a:lnTo>
                  <a:lnTo>
                    <a:pt x="63735" y="9049"/>
                  </a:lnTo>
                  <a:lnTo>
                    <a:pt x="60588" y="7082"/>
                  </a:lnTo>
                  <a:lnTo>
                    <a:pt x="57440" y="6688"/>
                  </a:lnTo>
                  <a:lnTo>
                    <a:pt x="54686" y="6295"/>
                  </a:lnTo>
                  <a:lnTo>
                    <a:pt x="51539" y="5901"/>
                  </a:lnTo>
                  <a:lnTo>
                    <a:pt x="48392" y="7475"/>
                  </a:lnTo>
                  <a:lnTo>
                    <a:pt x="44851" y="8655"/>
                  </a:lnTo>
                  <a:lnTo>
                    <a:pt x="41310" y="11016"/>
                  </a:lnTo>
                  <a:lnTo>
                    <a:pt x="39343" y="14163"/>
                  </a:lnTo>
                  <a:lnTo>
                    <a:pt x="36196" y="13770"/>
                  </a:lnTo>
                  <a:lnTo>
                    <a:pt x="36982" y="11016"/>
                  </a:lnTo>
                  <a:lnTo>
                    <a:pt x="35408" y="7869"/>
                  </a:lnTo>
                  <a:lnTo>
                    <a:pt x="34622" y="4721"/>
                  </a:lnTo>
                  <a:lnTo>
                    <a:pt x="36196" y="1967"/>
                  </a:lnTo>
                  <a:lnTo>
                    <a:pt x="33441" y="1967"/>
                  </a:lnTo>
                  <a:lnTo>
                    <a:pt x="29900" y="787"/>
                  </a:lnTo>
                  <a:lnTo>
                    <a:pt x="27147" y="393"/>
                  </a:lnTo>
                  <a:lnTo>
                    <a:pt x="23999" y="0"/>
                  </a:lnTo>
                  <a:lnTo>
                    <a:pt x="20852" y="0"/>
                  </a:lnTo>
                  <a:lnTo>
                    <a:pt x="17311" y="2361"/>
                  </a:lnTo>
                  <a:lnTo>
                    <a:pt x="20065" y="3934"/>
                  </a:lnTo>
                  <a:lnTo>
                    <a:pt x="16918" y="3934"/>
                  </a:lnTo>
                  <a:lnTo>
                    <a:pt x="14950" y="2754"/>
                  </a:lnTo>
                  <a:lnTo>
                    <a:pt x="12196" y="1967"/>
                  </a:lnTo>
                  <a:lnTo>
                    <a:pt x="9049" y="787"/>
                  </a:lnTo>
                  <a:lnTo>
                    <a:pt x="5901" y="1180"/>
                  </a:lnTo>
                  <a:lnTo>
                    <a:pt x="5901" y="3934"/>
                  </a:lnTo>
                  <a:lnTo>
                    <a:pt x="2754" y="5901"/>
                  </a:lnTo>
                  <a:lnTo>
                    <a:pt x="4721" y="9049"/>
                  </a:lnTo>
                  <a:lnTo>
                    <a:pt x="7869" y="9049"/>
                  </a:lnTo>
                  <a:lnTo>
                    <a:pt x="11016" y="9836"/>
                  </a:lnTo>
                  <a:lnTo>
                    <a:pt x="7869" y="9442"/>
                  </a:lnTo>
                  <a:lnTo>
                    <a:pt x="4721" y="9836"/>
                  </a:lnTo>
                  <a:lnTo>
                    <a:pt x="4328" y="12590"/>
                  </a:lnTo>
                  <a:lnTo>
                    <a:pt x="7082" y="14163"/>
                  </a:lnTo>
                  <a:lnTo>
                    <a:pt x="10229" y="14950"/>
                  </a:lnTo>
                  <a:lnTo>
                    <a:pt x="10229" y="14950"/>
                  </a:lnTo>
                  <a:lnTo>
                    <a:pt x="9836" y="15737"/>
                  </a:lnTo>
                  <a:lnTo>
                    <a:pt x="7082" y="15344"/>
                  </a:lnTo>
                  <a:lnTo>
                    <a:pt x="4328" y="14950"/>
                  </a:lnTo>
                  <a:lnTo>
                    <a:pt x="787" y="16130"/>
                  </a:lnTo>
                  <a:lnTo>
                    <a:pt x="1967" y="18884"/>
                  </a:lnTo>
                  <a:lnTo>
                    <a:pt x="3148" y="22032"/>
                  </a:lnTo>
                  <a:lnTo>
                    <a:pt x="3934" y="25179"/>
                  </a:lnTo>
                  <a:lnTo>
                    <a:pt x="4328" y="25179"/>
                  </a:lnTo>
                  <a:lnTo>
                    <a:pt x="5508" y="26360"/>
                  </a:lnTo>
                  <a:lnTo>
                    <a:pt x="3934" y="2793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05" name="Freeform: Shape 3299">
              <a:extLst>
                <a:ext uri="{FF2B5EF4-FFF2-40B4-BE49-F238E27FC236}">
                  <a16:creationId xmlns:a16="http://schemas.microsoft.com/office/drawing/2014/main" id="{431B1F7E-BB3E-4043-B0E5-0897BD53F450}"/>
                </a:ext>
              </a:extLst>
            </p:cNvPr>
            <p:cNvSpPr/>
            <p:nvPr/>
          </p:nvSpPr>
          <p:spPr>
            <a:xfrm>
              <a:off x="8191389" y="1187299"/>
              <a:ext cx="7869" cy="3934"/>
            </a:xfrm>
            <a:custGeom>
              <a:avLst/>
              <a:gdLst>
                <a:gd name="connsiteX0" fmla="*/ 6295 w 7868"/>
                <a:gd name="connsiteY0" fmla="*/ 2754 h 3934"/>
                <a:gd name="connsiteX1" fmla="*/ 9442 w 7868"/>
                <a:gd name="connsiteY1" fmla="*/ 1574 h 3934"/>
                <a:gd name="connsiteX2" fmla="*/ 6295 w 7868"/>
                <a:gd name="connsiteY2" fmla="*/ 0 h 3934"/>
                <a:gd name="connsiteX3" fmla="*/ 3541 w 7868"/>
                <a:gd name="connsiteY3" fmla="*/ 1967 h 3934"/>
                <a:gd name="connsiteX4" fmla="*/ 0 w 7868"/>
                <a:gd name="connsiteY4" fmla="*/ 1967 h 3934"/>
                <a:gd name="connsiteX5" fmla="*/ 3541 w 7868"/>
                <a:gd name="connsiteY5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6295" y="2754"/>
                  </a:moveTo>
                  <a:lnTo>
                    <a:pt x="9442" y="1574"/>
                  </a:lnTo>
                  <a:lnTo>
                    <a:pt x="6295" y="0"/>
                  </a:lnTo>
                  <a:lnTo>
                    <a:pt x="3541" y="1967"/>
                  </a:lnTo>
                  <a:lnTo>
                    <a:pt x="0" y="1967"/>
                  </a:lnTo>
                  <a:lnTo>
                    <a:pt x="3541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06" name="Freeform: Shape 3300">
              <a:extLst>
                <a:ext uri="{FF2B5EF4-FFF2-40B4-BE49-F238E27FC236}">
                  <a16:creationId xmlns:a16="http://schemas.microsoft.com/office/drawing/2014/main" id="{05416CE3-3198-42DE-8B81-BDD19F055817}"/>
                </a:ext>
              </a:extLst>
            </p:cNvPr>
            <p:cNvSpPr/>
            <p:nvPr/>
          </p:nvSpPr>
          <p:spPr>
            <a:xfrm>
              <a:off x="8201618" y="1191233"/>
              <a:ext cx="23606" cy="3934"/>
            </a:xfrm>
            <a:custGeom>
              <a:avLst/>
              <a:gdLst>
                <a:gd name="connsiteX0" fmla="*/ 6689 w 23605"/>
                <a:gd name="connsiteY0" fmla="*/ 1967 h 0"/>
                <a:gd name="connsiteX1" fmla="*/ 10229 w 23605"/>
                <a:gd name="connsiteY1" fmla="*/ 1967 h 0"/>
                <a:gd name="connsiteX2" fmla="*/ 13377 w 23605"/>
                <a:gd name="connsiteY2" fmla="*/ 2361 h 0"/>
                <a:gd name="connsiteX3" fmla="*/ 16524 w 23605"/>
                <a:gd name="connsiteY3" fmla="*/ 2361 h 0"/>
                <a:gd name="connsiteX4" fmla="*/ 19278 w 23605"/>
                <a:gd name="connsiteY4" fmla="*/ 1967 h 0"/>
                <a:gd name="connsiteX5" fmla="*/ 22032 w 23605"/>
                <a:gd name="connsiteY5" fmla="*/ 3147 h 0"/>
                <a:gd name="connsiteX6" fmla="*/ 24786 w 23605"/>
                <a:gd name="connsiteY6" fmla="*/ 1574 h 0"/>
                <a:gd name="connsiteX7" fmla="*/ 21638 w 23605"/>
                <a:gd name="connsiteY7" fmla="*/ 0 h 0"/>
                <a:gd name="connsiteX8" fmla="*/ 18491 w 23605"/>
                <a:gd name="connsiteY8" fmla="*/ 0 h 0"/>
                <a:gd name="connsiteX9" fmla="*/ 15344 w 23605"/>
                <a:gd name="connsiteY9" fmla="*/ 0 h 0"/>
                <a:gd name="connsiteX10" fmla="*/ 12197 w 23605"/>
                <a:gd name="connsiteY10" fmla="*/ 393 h 0"/>
                <a:gd name="connsiteX11" fmla="*/ 9049 w 23605"/>
                <a:gd name="connsiteY11" fmla="*/ 393 h 0"/>
                <a:gd name="connsiteX12" fmla="*/ 5901 w 23605"/>
                <a:gd name="connsiteY12" fmla="*/ 0 h 0"/>
                <a:gd name="connsiteX13" fmla="*/ 3148 w 23605"/>
                <a:gd name="connsiteY13" fmla="*/ 393 h 0"/>
                <a:gd name="connsiteX14" fmla="*/ 0 w 23605"/>
                <a:gd name="connsiteY14" fmla="*/ 393 h 0"/>
                <a:gd name="connsiteX15" fmla="*/ 3541 w 23605"/>
                <a:gd name="connsiteY15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605">
                  <a:moveTo>
                    <a:pt x="6689" y="1967"/>
                  </a:moveTo>
                  <a:lnTo>
                    <a:pt x="10229" y="1967"/>
                  </a:lnTo>
                  <a:lnTo>
                    <a:pt x="13377" y="2361"/>
                  </a:lnTo>
                  <a:lnTo>
                    <a:pt x="16524" y="2361"/>
                  </a:lnTo>
                  <a:lnTo>
                    <a:pt x="19278" y="1967"/>
                  </a:lnTo>
                  <a:lnTo>
                    <a:pt x="22032" y="3147"/>
                  </a:lnTo>
                  <a:lnTo>
                    <a:pt x="24786" y="1574"/>
                  </a:lnTo>
                  <a:lnTo>
                    <a:pt x="21638" y="0"/>
                  </a:lnTo>
                  <a:lnTo>
                    <a:pt x="18491" y="0"/>
                  </a:lnTo>
                  <a:lnTo>
                    <a:pt x="15344" y="0"/>
                  </a:lnTo>
                  <a:lnTo>
                    <a:pt x="12197" y="393"/>
                  </a:lnTo>
                  <a:lnTo>
                    <a:pt x="9049" y="393"/>
                  </a:lnTo>
                  <a:lnTo>
                    <a:pt x="5901" y="0"/>
                  </a:lnTo>
                  <a:lnTo>
                    <a:pt x="3148" y="393"/>
                  </a:lnTo>
                  <a:lnTo>
                    <a:pt x="0" y="393"/>
                  </a:lnTo>
                  <a:lnTo>
                    <a:pt x="3541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07" name="Freeform: Shape 3301">
              <a:extLst>
                <a:ext uri="{FF2B5EF4-FFF2-40B4-BE49-F238E27FC236}">
                  <a16:creationId xmlns:a16="http://schemas.microsoft.com/office/drawing/2014/main" id="{EE1DDA98-F3E9-4F85-AE93-6544D18BB65B}"/>
                </a:ext>
              </a:extLst>
            </p:cNvPr>
            <p:cNvSpPr/>
            <p:nvPr/>
          </p:nvSpPr>
          <p:spPr>
            <a:xfrm>
              <a:off x="8225224" y="1208937"/>
              <a:ext cx="3934" cy="3934"/>
            </a:xfrm>
            <a:custGeom>
              <a:avLst/>
              <a:gdLst>
                <a:gd name="connsiteX0" fmla="*/ 394 w 3934"/>
                <a:gd name="connsiteY0" fmla="*/ 2361 h 0"/>
                <a:gd name="connsiteX1" fmla="*/ 3541 w 3934"/>
                <a:gd name="connsiteY1" fmla="*/ 2361 h 0"/>
                <a:gd name="connsiteX2" fmla="*/ 6295 w 3934"/>
                <a:gd name="connsiteY2" fmla="*/ 1574 h 0"/>
                <a:gd name="connsiteX3" fmla="*/ 2754 w 3934"/>
                <a:gd name="connsiteY3" fmla="*/ 0 h 0"/>
                <a:gd name="connsiteX4" fmla="*/ 0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94" y="2361"/>
                  </a:moveTo>
                  <a:lnTo>
                    <a:pt x="3541" y="2361"/>
                  </a:lnTo>
                  <a:lnTo>
                    <a:pt x="6295" y="1574"/>
                  </a:lnTo>
                  <a:lnTo>
                    <a:pt x="2754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08" name="Freeform: Shape 3302">
              <a:extLst>
                <a:ext uri="{FF2B5EF4-FFF2-40B4-BE49-F238E27FC236}">
                  <a16:creationId xmlns:a16="http://schemas.microsoft.com/office/drawing/2014/main" id="{19F519F0-30F3-4CD5-8B55-5A5CD7571583}"/>
                </a:ext>
              </a:extLst>
            </p:cNvPr>
            <p:cNvSpPr/>
            <p:nvPr/>
          </p:nvSpPr>
          <p:spPr>
            <a:xfrm>
              <a:off x="8243715" y="1212085"/>
              <a:ext cx="7869" cy="3934"/>
            </a:xfrm>
            <a:custGeom>
              <a:avLst/>
              <a:gdLst>
                <a:gd name="connsiteX0" fmla="*/ 393 w 7868"/>
                <a:gd name="connsiteY0" fmla="*/ 2361 h 0"/>
                <a:gd name="connsiteX1" fmla="*/ 3147 w 7868"/>
                <a:gd name="connsiteY1" fmla="*/ 3147 h 0"/>
                <a:gd name="connsiteX2" fmla="*/ 6295 w 7868"/>
                <a:gd name="connsiteY2" fmla="*/ 2361 h 0"/>
                <a:gd name="connsiteX3" fmla="*/ 9442 w 7868"/>
                <a:gd name="connsiteY3" fmla="*/ 1967 h 0"/>
                <a:gd name="connsiteX4" fmla="*/ 6295 w 7868"/>
                <a:gd name="connsiteY4" fmla="*/ 393 h 0"/>
                <a:gd name="connsiteX5" fmla="*/ 3147 w 7868"/>
                <a:gd name="connsiteY5" fmla="*/ 393 h 0"/>
                <a:gd name="connsiteX6" fmla="*/ 0 w 7868"/>
                <a:gd name="connsiteY6" fmla="*/ 0 h 0"/>
                <a:gd name="connsiteX7" fmla="*/ 3147 w 7868"/>
                <a:gd name="connsiteY7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>
                  <a:moveTo>
                    <a:pt x="393" y="2361"/>
                  </a:moveTo>
                  <a:lnTo>
                    <a:pt x="3147" y="3147"/>
                  </a:lnTo>
                  <a:lnTo>
                    <a:pt x="6295" y="2361"/>
                  </a:lnTo>
                  <a:lnTo>
                    <a:pt x="9442" y="1967"/>
                  </a:lnTo>
                  <a:lnTo>
                    <a:pt x="6295" y="393"/>
                  </a:lnTo>
                  <a:lnTo>
                    <a:pt x="3147" y="393"/>
                  </a:lnTo>
                  <a:lnTo>
                    <a:pt x="0" y="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09" name="Freeform: Shape 3303">
              <a:extLst>
                <a:ext uri="{FF2B5EF4-FFF2-40B4-BE49-F238E27FC236}">
                  <a16:creationId xmlns:a16="http://schemas.microsoft.com/office/drawing/2014/main" id="{8F22B444-1DAA-42B6-9AE0-88A213199F6F}"/>
                </a:ext>
              </a:extLst>
            </p:cNvPr>
            <p:cNvSpPr/>
            <p:nvPr/>
          </p:nvSpPr>
          <p:spPr>
            <a:xfrm>
              <a:off x="8358595" y="1229395"/>
              <a:ext cx="15737" cy="3934"/>
            </a:xfrm>
            <a:custGeom>
              <a:avLst/>
              <a:gdLst>
                <a:gd name="connsiteX0" fmla="*/ 7082 w 15737"/>
                <a:gd name="connsiteY0" fmla="*/ 3147 h 3934"/>
                <a:gd name="connsiteX1" fmla="*/ 9836 w 15737"/>
                <a:gd name="connsiteY1" fmla="*/ 3934 h 3934"/>
                <a:gd name="connsiteX2" fmla="*/ 12590 w 15737"/>
                <a:gd name="connsiteY2" fmla="*/ 5115 h 3934"/>
                <a:gd name="connsiteX3" fmla="*/ 15737 w 15737"/>
                <a:gd name="connsiteY3" fmla="*/ 5508 h 3934"/>
                <a:gd name="connsiteX4" fmla="*/ 12196 w 15737"/>
                <a:gd name="connsiteY4" fmla="*/ 3147 h 3934"/>
                <a:gd name="connsiteX5" fmla="*/ 9049 w 15737"/>
                <a:gd name="connsiteY5" fmla="*/ 787 h 3934"/>
                <a:gd name="connsiteX6" fmla="*/ 6295 w 15737"/>
                <a:gd name="connsiteY6" fmla="*/ 0 h 3934"/>
                <a:gd name="connsiteX7" fmla="*/ 3148 w 15737"/>
                <a:gd name="connsiteY7" fmla="*/ 1180 h 3934"/>
                <a:gd name="connsiteX8" fmla="*/ 0 w 15737"/>
                <a:gd name="connsiteY8" fmla="*/ 787 h 3934"/>
                <a:gd name="connsiteX9" fmla="*/ 0 w 15737"/>
                <a:gd name="connsiteY9" fmla="*/ 1180 h 3934"/>
                <a:gd name="connsiteX10" fmla="*/ 3541 w 15737"/>
                <a:gd name="connsiteY10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737" h="3934">
                  <a:moveTo>
                    <a:pt x="7082" y="3147"/>
                  </a:moveTo>
                  <a:lnTo>
                    <a:pt x="9836" y="3934"/>
                  </a:lnTo>
                  <a:lnTo>
                    <a:pt x="12590" y="5115"/>
                  </a:lnTo>
                  <a:lnTo>
                    <a:pt x="15737" y="5508"/>
                  </a:lnTo>
                  <a:lnTo>
                    <a:pt x="12196" y="3147"/>
                  </a:lnTo>
                  <a:lnTo>
                    <a:pt x="9049" y="787"/>
                  </a:lnTo>
                  <a:lnTo>
                    <a:pt x="6295" y="0"/>
                  </a:lnTo>
                  <a:lnTo>
                    <a:pt x="3148" y="1180"/>
                  </a:lnTo>
                  <a:lnTo>
                    <a:pt x="0" y="787"/>
                  </a:lnTo>
                  <a:lnTo>
                    <a:pt x="0" y="1180"/>
                  </a:lnTo>
                  <a:lnTo>
                    <a:pt x="354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10" name="Freeform: Shape 3304">
              <a:extLst>
                <a:ext uri="{FF2B5EF4-FFF2-40B4-BE49-F238E27FC236}">
                  <a16:creationId xmlns:a16="http://schemas.microsoft.com/office/drawing/2014/main" id="{DCC7820E-0664-490A-B65B-EEE1893440B9}"/>
                </a:ext>
              </a:extLst>
            </p:cNvPr>
            <p:cNvSpPr/>
            <p:nvPr/>
          </p:nvSpPr>
          <p:spPr>
            <a:xfrm>
              <a:off x="8388102" y="1235297"/>
              <a:ext cx="3934" cy="3934"/>
            </a:xfrm>
            <a:custGeom>
              <a:avLst/>
              <a:gdLst>
                <a:gd name="connsiteX0" fmla="*/ 6295 w 3934"/>
                <a:gd name="connsiteY0" fmla="*/ 1967 h 0"/>
                <a:gd name="connsiteX1" fmla="*/ 3148 w 3934"/>
                <a:gd name="connsiteY1" fmla="*/ 1180 h 0"/>
                <a:gd name="connsiteX2" fmla="*/ 0 w 3934"/>
                <a:gd name="connsiteY2" fmla="*/ 0 h 0"/>
                <a:gd name="connsiteX3" fmla="*/ 0 w 3934"/>
                <a:gd name="connsiteY3" fmla="*/ 1574 h 0"/>
                <a:gd name="connsiteX4" fmla="*/ 3148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1967"/>
                  </a:moveTo>
                  <a:lnTo>
                    <a:pt x="3148" y="1180"/>
                  </a:lnTo>
                  <a:lnTo>
                    <a:pt x="0" y="0"/>
                  </a:lnTo>
                  <a:lnTo>
                    <a:pt x="0" y="1574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11" name="Freeform: Shape 3305">
              <a:extLst>
                <a:ext uri="{FF2B5EF4-FFF2-40B4-BE49-F238E27FC236}">
                  <a16:creationId xmlns:a16="http://schemas.microsoft.com/office/drawing/2014/main" id="{2A7B1FBB-FB4A-423B-8976-50C5CDC8CB95}"/>
                </a:ext>
              </a:extLst>
            </p:cNvPr>
            <p:cNvSpPr/>
            <p:nvPr/>
          </p:nvSpPr>
          <p:spPr>
            <a:xfrm>
              <a:off x="8417609" y="1284475"/>
              <a:ext cx="35408" cy="11803"/>
            </a:xfrm>
            <a:custGeom>
              <a:avLst/>
              <a:gdLst>
                <a:gd name="connsiteX0" fmla="*/ 7475 w 35408"/>
                <a:gd name="connsiteY0" fmla="*/ 393 h 11802"/>
                <a:gd name="connsiteX1" fmla="*/ 4721 w 35408"/>
                <a:gd name="connsiteY1" fmla="*/ 0 h 11802"/>
                <a:gd name="connsiteX2" fmla="*/ 5901 w 35408"/>
                <a:gd name="connsiteY2" fmla="*/ 2754 h 11802"/>
                <a:gd name="connsiteX3" fmla="*/ 2754 w 35408"/>
                <a:gd name="connsiteY3" fmla="*/ 4721 h 11802"/>
                <a:gd name="connsiteX4" fmla="*/ 0 w 35408"/>
                <a:gd name="connsiteY4" fmla="*/ 4721 h 11802"/>
                <a:gd name="connsiteX5" fmla="*/ 2754 w 35408"/>
                <a:gd name="connsiteY5" fmla="*/ 7869 h 11802"/>
                <a:gd name="connsiteX6" fmla="*/ 5508 w 35408"/>
                <a:gd name="connsiteY6" fmla="*/ 8262 h 11802"/>
                <a:gd name="connsiteX7" fmla="*/ 9049 w 35408"/>
                <a:gd name="connsiteY7" fmla="*/ 8655 h 11802"/>
                <a:gd name="connsiteX8" fmla="*/ 11803 w 35408"/>
                <a:gd name="connsiteY8" fmla="*/ 9049 h 11802"/>
                <a:gd name="connsiteX9" fmla="*/ 14950 w 35408"/>
                <a:gd name="connsiteY9" fmla="*/ 10229 h 11802"/>
                <a:gd name="connsiteX10" fmla="*/ 17704 w 35408"/>
                <a:gd name="connsiteY10" fmla="*/ 11016 h 11802"/>
                <a:gd name="connsiteX11" fmla="*/ 20852 w 35408"/>
                <a:gd name="connsiteY11" fmla="*/ 11016 h 11802"/>
                <a:gd name="connsiteX12" fmla="*/ 23999 w 35408"/>
                <a:gd name="connsiteY12" fmla="*/ 11409 h 11802"/>
                <a:gd name="connsiteX13" fmla="*/ 27147 w 35408"/>
                <a:gd name="connsiteY13" fmla="*/ 11803 h 11802"/>
                <a:gd name="connsiteX14" fmla="*/ 30294 w 35408"/>
                <a:gd name="connsiteY14" fmla="*/ 12196 h 11802"/>
                <a:gd name="connsiteX15" fmla="*/ 32655 w 35408"/>
                <a:gd name="connsiteY15" fmla="*/ 12196 h 11802"/>
                <a:gd name="connsiteX16" fmla="*/ 33441 w 35408"/>
                <a:gd name="connsiteY16" fmla="*/ 9442 h 11802"/>
                <a:gd name="connsiteX17" fmla="*/ 36589 w 35408"/>
                <a:gd name="connsiteY17" fmla="*/ 8655 h 11802"/>
                <a:gd name="connsiteX18" fmla="*/ 36589 w 35408"/>
                <a:gd name="connsiteY18" fmla="*/ 5901 h 11802"/>
                <a:gd name="connsiteX19" fmla="*/ 35408 w 35408"/>
                <a:gd name="connsiteY19" fmla="*/ 3147 h 11802"/>
                <a:gd name="connsiteX20" fmla="*/ 31867 w 35408"/>
                <a:gd name="connsiteY20" fmla="*/ 1967 h 11802"/>
                <a:gd name="connsiteX21" fmla="*/ 29114 w 35408"/>
                <a:gd name="connsiteY21" fmla="*/ 1574 h 11802"/>
                <a:gd name="connsiteX22" fmla="*/ 25966 w 35408"/>
                <a:gd name="connsiteY22" fmla="*/ 1574 h 11802"/>
                <a:gd name="connsiteX23" fmla="*/ 20065 w 35408"/>
                <a:gd name="connsiteY23" fmla="*/ 1574 h 11802"/>
                <a:gd name="connsiteX24" fmla="*/ 16918 w 35408"/>
                <a:gd name="connsiteY24" fmla="*/ 1180 h 11802"/>
                <a:gd name="connsiteX25" fmla="*/ 13770 w 35408"/>
                <a:gd name="connsiteY25" fmla="*/ 787 h 11802"/>
                <a:gd name="connsiteX26" fmla="*/ 10623 w 35408"/>
                <a:gd name="connsiteY26" fmla="*/ 787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5408" h="11802">
                  <a:moveTo>
                    <a:pt x="7475" y="393"/>
                  </a:moveTo>
                  <a:lnTo>
                    <a:pt x="4721" y="0"/>
                  </a:lnTo>
                  <a:lnTo>
                    <a:pt x="5901" y="2754"/>
                  </a:lnTo>
                  <a:lnTo>
                    <a:pt x="2754" y="4721"/>
                  </a:lnTo>
                  <a:lnTo>
                    <a:pt x="0" y="4721"/>
                  </a:lnTo>
                  <a:lnTo>
                    <a:pt x="2754" y="7869"/>
                  </a:lnTo>
                  <a:lnTo>
                    <a:pt x="5508" y="8262"/>
                  </a:lnTo>
                  <a:lnTo>
                    <a:pt x="9049" y="8655"/>
                  </a:lnTo>
                  <a:lnTo>
                    <a:pt x="11803" y="9049"/>
                  </a:lnTo>
                  <a:lnTo>
                    <a:pt x="14950" y="10229"/>
                  </a:lnTo>
                  <a:lnTo>
                    <a:pt x="17704" y="11016"/>
                  </a:lnTo>
                  <a:lnTo>
                    <a:pt x="20852" y="11016"/>
                  </a:lnTo>
                  <a:lnTo>
                    <a:pt x="23999" y="11409"/>
                  </a:lnTo>
                  <a:lnTo>
                    <a:pt x="27147" y="11803"/>
                  </a:lnTo>
                  <a:lnTo>
                    <a:pt x="30294" y="12196"/>
                  </a:lnTo>
                  <a:lnTo>
                    <a:pt x="32655" y="12196"/>
                  </a:lnTo>
                  <a:lnTo>
                    <a:pt x="33441" y="9442"/>
                  </a:lnTo>
                  <a:lnTo>
                    <a:pt x="36589" y="8655"/>
                  </a:lnTo>
                  <a:lnTo>
                    <a:pt x="36589" y="5901"/>
                  </a:lnTo>
                  <a:lnTo>
                    <a:pt x="35408" y="3147"/>
                  </a:lnTo>
                  <a:lnTo>
                    <a:pt x="31867" y="1967"/>
                  </a:lnTo>
                  <a:lnTo>
                    <a:pt x="29114" y="1574"/>
                  </a:lnTo>
                  <a:lnTo>
                    <a:pt x="25966" y="1574"/>
                  </a:lnTo>
                  <a:lnTo>
                    <a:pt x="20065" y="1574"/>
                  </a:lnTo>
                  <a:lnTo>
                    <a:pt x="16918" y="1180"/>
                  </a:lnTo>
                  <a:lnTo>
                    <a:pt x="13770" y="787"/>
                  </a:lnTo>
                  <a:lnTo>
                    <a:pt x="10623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12" name="Freeform: Shape 3306">
              <a:extLst>
                <a:ext uri="{FF2B5EF4-FFF2-40B4-BE49-F238E27FC236}">
                  <a16:creationId xmlns:a16="http://schemas.microsoft.com/office/drawing/2014/main" id="{17F1FEC1-8F99-49A2-9CB5-9BC642D61781}"/>
                </a:ext>
              </a:extLst>
            </p:cNvPr>
            <p:cNvSpPr/>
            <p:nvPr/>
          </p:nvSpPr>
          <p:spPr>
            <a:xfrm>
              <a:off x="8507704" y="1289196"/>
              <a:ext cx="3934" cy="3934"/>
            </a:xfrm>
            <a:custGeom>
              <a:avLst/>
              <a:gdLst>
                <a:gd name="connsiteX0" fmla="*/ 3541 w 0"/>
                <a:gd name="connsiteY0" fmla="*/ 2361 h 0"/>
                <a:gd name="connsiteX1" fmla="*/ 0 w 0"/>
                <a:gd name="connsiteY1" fmla="*/ 0 h 0"/>
                <a:gd name="connsiteX2" fmla="*/ 393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541" y="2361"/>
                  </a:moveTo>
                  <a:lnTo>
                    <a:pt x="0" y="0"/>
                  </a:lnTo>
                  <a:lnTo>
                    <a:pt x="393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13" name="Freeform: Shape 3307">
              <a:extLst>
                <a:ext uri="{FF2B5EF4-FFF2-40B4-BE49-F238E27FC236}">
                  <a16:creationId xmlns:a16="http://schemas.microsoft.com/office/drawing/2014/main" id="{22CC8F5A-3BE8-4623-BD96-686BEC3151C7}"/>
                </a:ext>
              </a:extLst>
            </p:cNvPr>
            <p:cNvSpPr/>
            <p:nvPr/>
          </p:nvSpPr>
          <p:spPr>
            <a:xfrm>
              <a:off x="8621404" y="1321851"/>
              <a:ext cx="7869" cy="3934"/>
            </a:xfrm>
            <a:custGeom>
              <a:avLst/>
              <a:gdLst>
                <a:gd name="connsiteX0" fmla="*/ 5901 w 7868"/>
                <a:gd name="connsiteY0" fmla="*/ 3934 h 0"/>
                <a:gd name="connsiteX1" fmla="*/ 8655 w 7868"/>
                <a:gd name="connsiteY1" fmla="*/ 3541 h 0"/>
                <a:gd name="connsiteX2" fmla="*/ 11409 w 7868"/>
                <a:gd name="connsiteY2" fmla="*/ 1574 h 0"/>
                <a:gd name="connsiteX3" fmla="*/ 8655 w 7868"/>
                <a:gd name="connsiteY3" fmla="*/ 787 h 0"/>
                <a:gd name="connsiteX4" fmla="*/ 5114 w 7868"/>
                <a:gd name="connsiteY4" fmla="*/ 0 h 0"/>
                <a:gd name="connsiteX5" fmla="*/ 2754 w 7868"/>
                <a:gd name="connsiteY5" fmla="*/ 0 h 0"/>
                <a:gd name="connsiteX6" fmla="*/ 0 w 7868"/>
                <a:gd name="connsiteY6" fmla="*/ 1967 h 0"/>
                <a:gd name="connsiteX7" fmla="*/ 2754 w 7868"/>
                <a:gd name="connsiteY7" fmla="*/ 393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>
                  <a:moveTo>
                    <a:pt x="5901" y="3934"/>
                  </a:moveTo>
                  <a:lnTo>
                    <a:pt x="8655" y="3541"/>
                  </a:lnTo>
                  <a:lnTo>
                    <a:pt x="11409" y="1574"/>
                  </a:lnTo>
                  <a:lnTo>
                    <a:pt x="8655" y="787"/>
                  </a:lnTo>
                  <a:lnTo>
                    <a:pt x="5114" y="0"/>
                  </a:lnTo>
                  <a:lnTo>
                    <a:pt x="2754" y="0"/>
                  </a:lnTo>
                  <a:lnTo>
                    <a:pt x="0" y="1967"/>
                  </a:lnTo>
                  <a:lnTo>
                    <a:pt x="2754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14" name="Freeform: Shape 3308">
              <a:extLst>
                <a:ext uri="{FF2B5EF4-FFF2-40B4-BE49-F238E27FC236}">
                  <a16:creationId xmlns:a16="http://schemas.microsoft.com/office/drawing/2014/main" id="{DBEE978C-7657-4BB9-A645-D4E8043C9330}"/>
                </a:ext>
              </a:extLst>
            </p:cNvPr>
            <p:cNvSpPr/>
            <p:nvPr/>
          </p:nvSpPr>
          <p:spPr>
            <a:xfrm>
              <a:off x="8692221" y="1301392"/>
              <a:ext cx="3934" cy="3934"/>
            </a:xfrm>
            <a:custGeom>
              <a:avLst/>
              <a:gdLst>
                <a:gd name="connsiteX0" fmla="*/ 6295 w 3934"/>
                <a:gd name="connsiteY0" fmla="*/ 2361 h 0"/>
                <a:gd name="connsiteX1" fmla="*/ 3147 w 3934"/>
                <a:gd name="connsiteY1" fmla="*/ 0 h 0"/>
                <a:gd name="connsiteX2" fmla="*/ 0 w 3934"/>
                <a:gd name="connsiteY2" fmla="*/ 0 h 0"/>
                <a:gd name="connsiteX3" fmla="*/ 3541 w 3934"/>
                <a:gd name="connsiteY3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5" y="2361"/>
                  </a:moveTo>
                  <a:lnTo>
                    <a:pt x="3147" y="0"/>
                  </a:lnTo>
                  <a:lnTo>
                    <a:pt x="0" y="0"/>
                  </a:lnTo>
                  <a:lnTo>
                    <a:pt x="354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15" name="Freeform: Shape 3309">
              <a:extLst>
                <a:ext uri="{FF2B5EF4-FFF2-40B4-BE49-F238E27FC236}">
                  <a16:creationId xmlns:a16="http://schemas.microsoft.com/office/drawing/2014/main" id="{A8EE7793-7F4B-4426-90F0-D546CE770068}"/>
                </a:ext>
              </a:extLst>
            </p:cNvPr>
            <p:cNvSpPr/>
            <p:nvPr/>
          </p:nvSpPr>
          <p:spPr>
            <a:xfrm>
              <a:off x="8768546" y="1311621"/>
              <a:ext cx="11803" cy="3934"/>
            </a:xfrm>
            <a:custGeom>
              <a:avLst/>
              <a:gdLst>
                <a:gd name="connsiteX0" fmla="*/ 6295 w 11802"/>
                <a:gd name="connsiteY0" fmla="*/ 1180 h 0"/>
                <a:gd name="connsiteX1" fmla="*/ 9442 w 11802"/>
                <a:gd name="connsiteY1" fmla="*/ 1574 h 0"/>
                <a:gd name="connsiteX2" fmla="*/ 12983 w 11802"/>
                <a:gd name="connsiteY2" fmla="*/ 1574 h 0"/>
                <a:gd name="connsiteX3" fmla="*/ 9836 w 11802"/>
                <a:gd name="connsiteY3" fmla="*/ 787 h 0"/>
                <a:gd name="connsiteX4" fmla="*/ 7081 w 11802"/>
                <a:gd name="connsiteY4" fmla="*/ 393 h 0"/>
                <a:gd name="connsiteX5" fmla="*/ 3934 w 11802"/>
                <a:gd name="connsiteY5" fmla="*/ 0 h 0"/>
                <a:gd name="connsiteX6" fmla="*/ 787 w 11802"/>
                <a:gd name="connsiteY6" fmla="*/ 393 h 0"/>
                <a:gd name="connsiteX7" fmla="*/ 0 w 11802"/>
                <a:gd name="connsiteY7" fmla="*/ 787 h 0"/>
                <a:gd name="connsiteX8" fmla="*/ 3147 w 11802"/>
                <a:gd name="connsiteY8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>
                  <a:moveTo>
                    <a:pt x="6295" y="1180"/>
                  </a:moveTo>
                  <a:lnTo>
                    <a:pt x="9442" y="1574"/>
                  </a:lnTo>
                  <a:lnTo>
                    <a:pt x="12983" y="1574"/>
                  </a:lnTo>
                  <a:lnTo>
                    <a:pt x="9836" y="787"/>
                  </a:lnTo>
                  <a:lnTo>
                    <a:pt x="7081" y="393"/>
                  </a:lnTo>
                  <a:lnTo>
                    <a:pt x="3934" y="0"/>
                  </a:lnTo>
                  <a:lnTo>
                    <a:pt x="787" y="393"/>
                  </a:lnTo>
                  <a:lnTo>
                    <a:pt x="0" y="787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16" name="Freeform: Shape 3310">
              <a:extLst>
                <a:ext uri="{FF2B5EF4-FFF2-40B4-BE49-F238E27FC236}">
                  <a16:creationId xmlns:a16="http://schemas.microsoft.com/office/drawing/2014/main" id="{2C31CA5D-83E6-45C2-ADDE-32ABD97B3134}"/>
                </a:ext>
              </a:extLst>
            </p:cNvPr>
            <p:cNvSpPr/>
            <p:nvPr/>
          </p:nvSpPr>
          <p:spPr>
            <a:xfrm>
              <a:off x="8856280" y="1250640"/>
              <a:ext cx="19671" cy="11803"/>
            </a:xfrm>
            <a:custGeom>
              <a:avLst/>
              <a:gdLst>
                <a:gd name="connsiteX0" fmla="*/ 4721 w 19671"/>
                <a:gd name="connsiteY0" fmla="*/ 5115 h 11802"/>
                <a:gd name="connsiteX1" fmla="*/ 7475 w 19671"/>
                <a:gd name="connsiteY1" fmla="*/ 6688 h 11802"/>
                <a:gd name="connsiteX2" fmla="*/ 9442 w 19671"/>
                <a:gd name="connsiteY2" fmla="*/ 9442 h 11802"/>
                <a:gd name="connsiteX3" fmla="*/ 12196 w 19671"/>
                <a:gd name="connsiteY3" fmla="*/ 12196 h 11802"/>
                <a:gd name="connsiteX4" fmla="*/ 18098 w 19671"/>
                <a:gd name="connsiteY4" fmla="*/ 12196 h 11802"/>
                <a:gd name="connsiteX5" fmla="*/ 20852 w 19671"/>
                <a:gd name="connsiteY5" fmla="*/ 11409 h 11802"/>
                <a:gd name="connsiteX6" fmla="*/ 18098 w 19671"/>
                <a:gd name="connsiteY6" fmla="*/ 9049 h 11802"/>
                <a:gd name="connsiteX7" fmla="*/ 18491 w 19671"/>
                <a:gd name="connsiteY7" fmla="*/ 5901 h 11802"/>
                <a:gd name="connsiteX8" fmla="*/ 15344 w 19671"/>
                <a:gd name="connsiteY8" fmla="*/ 5115 h 11802"/>
                <a:gd name="connsiteX9" fmla="*/ 9049 w 19671"/>
                <a:gd name="connsiteY9" fmla="*/ 3934 h 11802"/>
                <a:gd name="connsiteX10" fmla="*/ 5901 w 19671"/>
                <a:gd name="connsiteY10" fmla="*/ 2361 h 11802"/>
                <a:gd name="connsiteX11" fmla="*/ 2754 w 19671"/>
                <a:gd name="connsiteY11" fmla="*/ 787 h 11802"/>
                <a:gd name="connsiteX12" fmla="*/ 0 w 19671"/>
                <a:gd name="connsiteY12" fmla="*/ 0 h 11802"/>
                <a:gd name="connsiteX13" fmla="*/ 1967 w 19671"/>
                <a:gd name="connsiteY13" fmla="*/ 2754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671" h="11802">
                  <a:moveTo>
                    <a:pt x="4721" y="5115"/>
                  </a:moveTo>
                  <a:lnTo>
                    <a:pt x="7475" y="6688"/>
                  </a:lnTo>
                  <a:lnTo>
                    <a:pt x="9442" y="9442"/>
                  </a:lnTo>
                  <a:lnTo>
                    <a:pt x="12196" y="12196"/>
                  </a:lnTo>
                  <a:lnTo>
                    <a:pt x="18098" y="12196"/>
                  </a:lnTo>
                  <a:lnTo>
                    <a:pt x="20852" y="11409"/>
                  </a:lnTo>
                  <a:lnTo>
                    <a:pt x="18098" y="9049"/>
                  </a:lnTo>
                  <a:lnTo>
                    <a:pt x="18491" y="5901"/>
                  </a:lnTo>
                  <a:lnTo>
                    <a:pt x="15344" y="5115"/>
                  </a:lnTo>
                  <a:lnTo>
                    <a:pt x="9049" y="3934"/>
                  </a:lnTo>
                  <a:lnTo>
                    <a:pt x="5901" y="2361"/>
                  </a:lnTo>
                  <a:lnTo>
                    <a:pt x="2754" y="787"/>
                  </a:lnTo>
                  <a:lnTo>
                    <a:pt x="0" y="0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17" name="Freeform: Shape 3311">
              <a:extLst>
                <a:ext uri="{FF2B5EF4-FFF2-40B4-BE49-F238E27FC236}">
                  <a16:creationId xmlns:a16="http://schemas.microsoft.com/office/drawing/2014/main" id="{8398E507-CBDF-4858-A558-5010F594E8FE}"/>
                </a:ext>
              </a:extLst>
            </p:cNvPr>
            <p:cNvSpPr/>
            <p:nvPr/>
          </p:nvSpPr>
          <p:spPr>
            <a:xfrm>
              <a:off x="8908606" y="1292737"/>
              <a:ext cx="27540" cy="7869"/>
            </a:xfrm>
            <a:custGeom>
              <a:avLst/>
              <a:gdLst>
                <a:gd name="connsiteX0" fmla="*/ 20065 w 27539"/>
                <a:gd name="connsiteY0" fmla="*/ 4721 h 7868"/>
                <a:gd name="connsiteX1" fmla="*/ 17311 w 27539"/>
                <a:gd name="connsiteY1" fmla="*/ 3934 h 7868"/>
                <a:gd name="connsiteX2" fmla="*/ 14163 w 27539"/>
                <a:gd name="connsiteY2" fmla="*/ 3147 h 7868"/>
                <a:gd name="connsiteX3" fmla="*/ 11016 w 27539"/>
                <a:gd name="connsiteY3" fmla="*/ 2754 h 7868"/>
                <a:gd name="connsiteX4" fmla="*/ 8262 w 27539"/>
                <a:gd name="connsiteY4" fmla="*/ 1574 h 7868"/>
                <a:gd name="connsiteX5" fmla="*/ 5508 w 27539"/>
                <a:gd name="connsiteY5" fmla="*/ 787 h 7868"/>
                <a:gd name="connsiteX6" fmla="*/ 2360 w 27539"/>
                <a:gd name="connsiteY6" fmla="*/ 393 h 7868"/>
                <a:gd name="connsiteX7" fmla="*/ 0 w 27539"/>
                <a:gd name="connsiteY7" fmla="*/ 0 h 7868"/>
                <a:gd name="connsiteX8" fmla="*/ 3147 w 27539"/>
                <a:gd name="connsiteY8" fmla="*/ 1967 h 7868"/>
                <a:gd name="connsiteX9" fmla="*/ 6295 w 27539"/>
                <a:gd name="connsiteY9" fmla="*/ 2754 h 7868"/>
                <a:gd name="connsiteX10" fmla="*/ 9049 w 27539"/>
                <a:gd name="connsiteY10" fmla="*/ 3541 h 7868"/>
                <a:gd name="connsiteX11" fmla="*/ 12196 w 27539"/>
                <a:gd name="connsiteY11" fmla="*/ 5115 h 7868"/>
                <a:gd name="connsiteX12" fmla="*/ 14950 w 27539"/>
                <a:gd name="connsiteY12" fmla="*/ 5901 h 7868"/>
                <a:gd name="connsiteX13" fmla="*/ 18098 w 27539"/>
                <a:gd name="connsiteY13" fmla="*/ 6688 h 7868"/>
                <a:gd name="connsiteX14" fmla="*/ 21245 w 27539"/>
                <a:gd name="connsiteY14" fmla="*/ 7475 h 7868"/>
                <a:gd name="connsiteX15" fmla="*/ 24392 w 27539"/>
                <a:gd name="connsiteY15" fmla="*/ 8655 h 7868"/>
                <a:gd name="connsiteX16" fmla="*/ 27540 w 27539"/>
                <a:gd name="connsiteY16" fmla="*/ 9836 h 7868"/>
                <a:gd name="connsiteX17" fmla="*/ 26359 w 27539"/>
                <a:gd name="connsiteY17" fmla="*/ 6688 h 7868"/>
                <a:gd name="connsiteX18" fmla="*/ 22818 w 27539"/>
                <a:gd name="connsiteY18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539" h="7868">
                  <a:moveTo>
                    <a:pt x="20065" y="4721"/>
                  </a:moveTo>
                  <a:lnTo>
                    <a:pt x="17311" y="3934"/>
                  </a:lnTo>
                  <a:lnTo>
                    <a:pt x="14163" y="3147"/>
                  </a:lnTo>
                  <a:lnTo>
                    <a:pt x="11016" y="2754"/>
                  </a:lnTo>
                  <a:lnTo>
                    <a:pt x="8262" y="1574"/>
                  </a:lnTo>
                  <a:lnTo>
                    <a:pt x="5508" y="787"/>
                  </a:lnTo>
                  <a:lnTo>
                    <a:pt x="2360" y="393"/>
                  </a:lnTo>
                  <a:lnTo>
                    <a:pt x="0" y="0"/>
                  </a:lnTo>
                  <a:lnTo>
                    <a:pt x="3147" y="1967"/>
                  </a:lnTo>
                  <a:lnTo>
                    <a:pt x="6295" y="2754"/>
                  </a:lnTo>
                  <a:lnTo>
                    <a:pt x="9049" y="3541"/>
                  </a:lnTo>
                  <a:lnTo>
                    <a:pt x="12196" y="5115"/>
                  </a:lnTo>
                  <a:lnTo>
                    <a:pt x="14950" y="5901"/>
                  </a:lnTo>
                  <a:lnTo>
                    <a:pt x="18098" y="6688"/>
                  </a:lnTo>
                  <a:lnTo>
                    <a:pt x="21245" y="7475"/>
                  </a:lnTo>
                  <a:lnTo>
                    <a:pt x="24392" y="8655"/>
                  </a:lnTo>
                  <a:lnTo>
                    <a:pt x="27540" y="9836"/>
                  </a:lnTo>
                  <a:lnTo>
                    <a:pt x="26359" y="6688"/>
                  </a:lnTo>
                  <a:lnTo>
                    <a:pt x="22818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18" name="Freeform: Shape 3312">
              <a:extLst>
                <a:ext uri="{FF2B5EF4-FFF2-40B4-BE49-F238E27FC236}">
                  <a16:creationId xmlns:a16="http://schemas.microsoft.com/office/drawing/2014/main" id="{76620AA2-87C5-4E13-9DA4-F77E75EA22CE}"/>
                </a:ext>
              </a:extLst>
            </p:cNvPr>
            <p:cNvSpPr/>
            <p:nvPr/>
          </p:nvSpPr>
          <p:spPr>
            <a:xfrm>
              <a:off x="8888934" y="1240805"/>
              <a:ext cx="173108" cy="39343"/>
            </a:xfrm>
            <a:custGeom>
              <a:avLst/>
              <a:gdLst>
                <a:gd name="connsiteX0" fmla="*/ 3147 w 173107"/>
                <a:gd name="connsiteY0" fmla="*/ 11409 h 39342"/>
                <a:gd name="connsiteX1" fmla="*/ 0 w 173107"/>
                <a:gd name="connsiteY1" fmla="*/ 12983 h 39342"/>
                <a:gd name="connsiteX2" fmla="*/ 1967 w 173107"/>
                <a:gd name="connsiteY2" fmla="*/ 16130 h 39342"/>
                <a:gd name="connsiteX3" fmla="*/ 4721 w 173107"/>
                <a:gd name="connsiteY3" fmla="*/ 14950 h 39342"/>
                <a:gd name="connsiteX4" fmla="*/ 7869 w 173107"/>
                <a:gd name="connsiteY4" fmla="*/ 17311 h 39342"/>
                <a:gd name="connsiteX5" fmla="*/ 11016 w 173107"/>
                <a:gd name="connsiteY5" fmla="*/ 20065 h 39342"/>
                <a:gd name="connsiteX6" fmla="*/ 14163 w 173107"/>
                <a:gd name="connsiteY6" fmla="*/ 20852 h 39342"/>
                <a:gd name="connsiteX7" fmla="*/ 16917 w 173107"/>
                <a:gd name="connsiteY7" fmla="*/ 20852 h 39342"/>
                <a:gd name="connsiteX8" fmla="*/ 19671 w 173107"/>
                <a:gd name="connsiteY8" fmla="*/ 22425 h 39342"/>
                <a:gd name="connsiteX9" fmla="*/ 16524 w 173107"/>
                <a:gd name="connsiteY9" fmla="*/ 23212 h 39342"/>
                <a:gd name="connsiteX10" fmla="*/ 12983 w 173107"/>
                <a:gd name="connsiteY10" fmla="*/ 22032 h 39342"/>
                <a:gd name="connsiteX11" fmla="*/ 10229 w 173107"/>
                <a:gd name="connsiteY11" fmla="*/ 23212 h 39342"/>
                <a:gd name="connsiteX12" fmla="*/ 13377 w 173107"/>
                <a:gd name="connsiteY12" fmla="*/ 24786 h 39342"/>
                <a:gd name="connsiteX13" fmla="*/ 16524 w 173107"/>
                <a:gd name="connsiteY13" fmla="*/ 25966 h 39342"/>
                <a:gd name="connsiteX14" fmla="*/ 19671 w 173107"/>
                <a:gd name="connsiteY14" fmla="*/ 27146 h 39342"/>
                <a:gd name="connsiteX15" fmla="*/ 22818 w 173107"/>
                <a:gd name="connsiteY15" fmla="*/ 28327 h 39342"/>
                <a:gd name="connsiteX16" fmla="*/ 25966 w 173107"/>
                <a:gd name="connsiteY16" fmla="*/ 29114 h 39342"/>
                <a:gd name="connsiteX17" fmla="*/ 29114 w 173107"/>
                <a:gd name="connsiteY17" fmla="*/ 29900 h 39342"/>
                <a:gd name="connsiteX18" fmla="*/ 32654 w 173107"/>
                <a:gd name="connsiteY18" fmla="*/ 30687 h 39342"/>
                <a:gd name="connsiteX19" fmla="*/ 35802 w 173107"/>
                <a:gd name="connsiteY19" fmla="*/ 31081 h 39342"/>
                <a:gd name="connsiteX20" fmla="*/ 38949 w 173107"/>
                <a:gd name="connsiteY20" fmla="*/ 31474 h 39342"/>
                <a:gd name="connsiteX21" fmla="*/ 42096 w 173107"/>
                <a:gd name="connsiteY21" fmla="*/ 32261 h 39342"/>
                <a:gd name="connsiteX22" fmla="*/ 45244 w 173107"/>
                <a:gd name="connsiteY22" fmla="*/ 34228 h 39342"/>
                <a:gd name="connsiteX23" fmla="*/ 47998 w 173107"/>
                <a:gd name="connsiteY23" fmla="*/ 35408 h 39342"/>
                <a:gd name="connsiteX24" fmla="*/ 51145 w 173107"/>
                <a:gd name="connsiteY24" fmla="*/ 36195 h 39342"/>
                <a:gd name="connsiteX25" fmla="*/ 53899 w 173107"/>
                <a:gd name="connsiteY25" fmla="*/ 37376 h 39342"/>
                <a:gd name="connsiteX26" fmla="*/ 57047 w 173107"/>
                <a:gd name="connsiteY26" fmla="*/ 37769 h 39342"/>
                <a:gd name="connsiteX27" fmla="*/ 60588 w 173107"/>
                <a:gd name="connsiteY27" fmla="*/ 38162 h 39342"/>
                <a:gd name="connsiteX28" fmla="*/ 63735 w 173107"/>
                <a:gd name="connsiteY28" fmla="*/ 38162 h 39342"/>
                <a:gd name="connsiteX29" fmla="*/ 66882 w 173107"/>
                <a:gd name="connsiteY29" fmla="*/ 38556 h 39342"/>
                <a:gd name="connsiteX30" fmla="*/ 69636 w 173107"/>
                <a:gd name="connsiteY30" fmla="*/ 38949 h 39342"/>
                <a:gd name="connsiteX31" fmla="*/ 72784 w 173107"/>
                <a:gd name="connsiteY31" fmla="*/ 39736 h 39342"/>
                <a:gd name="connsiteX32" fmla="*/ 75931 w 173107"/>
                <a:gd name="connsiteY32" fmla="*/ 40523 h 39342"/>
                <a:gd name="connsiteX33" fmla="*/ 79079 w 173107"/>
                <a:gd name="connsiteY33" fmla="*/ 41310 h 39342"/>
                <a:gd name="connsiteX34" fmla="*/ 82620 w 173107"/>
                <a:gd name="connsiteY34" fmla="*/ 40916 h 39342"/>
                <a:gd name="connsiteX35" fmla="*/ 83800 w 173107"/>
                <a:gd name="connsiteY35" fmla="*/ 37769 h 39342"/>
                <a:gd name="connsiteX36" fmla="*/ 81046 w 173107"/>
                <a:gd name="connsiteY36" fmla="*/ 35408 h 39342"/>
                <a:gd name="connsiteX37" fmla="*/ 78292 w 173107"/>
                <a:gd name="connsiteY37" fmla="*/ 32654 h 39342"/>
                <a:gd name="connsiteX38" fmla="*/ 81046 w 173107"/>
                <a:gd name="connsiteY38" fmla="*/ 32654 h 39342"/>
                <a:gd name="connsiteX39" fmla="*/ 84587 w 173107"/>
                <a:gd name="connsiteY39" fmla="*/ 33048 h 39342"/>
                <a:gd name="connsiteX40" fmla="*/ 87734 w 173107"/>
                <a:gd name="connsiteY40" fmla="*/ 34228 h 39342"/>
                <a:gd name="connsiteX41" fmla="*/ 90881 w 173107"/>
                <a:gd name="connsiteY41" fmla="*/ 35408 h 39342"/>
                <a:gd name="connsiteX42" fmla="*/ 92062 w 173107"/>
                <a:gd name="connsiteY42" fmla="*/ 36589 h 39342"/>
                <a:gd name="connsiteX43" fmla="*/ 92455 w 173107"/>
                <a:gd name="connsiteY43" fmla="*/ 36589 h 39342"/>
                <a:gd name="connsiteX44" fmla="*/ 92849 w 173107"/>
                <a:gd name="connsiteY44" fmla="*/ 36589 h 39342"/>
                <a:gd name="connsiteX45" fmla="*/ 95996 w 173107"/>
                <a:gd name="connsiteY45" fmla="*/ 36195 h 39342"/>
                <a:gd name="connsiteX46" fmla="*/ 99143 w 173107"/>
                <a:gd name="connsiteY46" fmla="*/ 35802 h 39342"/>
                <a:gd name="connsiteX47" fmla="*/ 101898 w 173107"/>
                <a:gd name="connsiteY47" fmla="*/ 35408 h 39342"/>
                <a:gd name="connsiteX48" fmla="*/ 105045 w 173107"/>
                <a:gd name="connsiteY48" fmla="*/ 34622 h 39342"/>
                <a:gd name="connsiteX49" fmla="*/ 108192 w 173107"/>
                <a:gd name="connsiteY49" fmla="*/ 34228 h 39342"/>
                <a:gd name="connsiteX50" fmla="*/ 110946 w 173107"/>
                <a:gd name="connsiteY50" fmla="*/ 34228 h 39342"/>
                <a:gd name="connsiteX51" fmla="*/ 114094 w 173107"/>
                <a:gd name="connsiteY51" fmla="*/ 33835 h 39342"/>
                <a:gd name="connsiteX52" fmla="*/ 116847 w 173107"/>
                <a:gd name="connsiteY52" fmla="*/ 33441 h 39342"/>
                <a:gd name="connsiteX53" fmla="*/ 119995 w 173107"/>
                <a:gd name="connsiteY53" fmla="*/ 32654 h 39342"/>
                <a:gd name="connsiteX54" fmla="*/ 122749 w 173107"/>
                <a:gd name="connsiteY54" fmla="*/ 31868 h 39342"/>
                <a:gd name="connsiteX55" fmla="*/ 125896 w 173107"/>
                <a:gd name="connsiteY55" fmla="*/ 31868 h 39342"/>
                <a:gd name="connsiteX56" fmla="*/ 129044 w 173107"/>
                <a:gd name="connsiteY56" fmla="*/ 31474 h 39342"/>
                <a:gd name="connsiteX57" fmla="*/ 131798 w 173107"/>
                <a:gd name="connsiteY57" fmla="*/ 32261 h 39342"/>
                <a:gd name="connsiteX58" fmla="*/ 134552 w 173107"/>
                <a:gd name="connsiteY58" fmla="*/ 33835 h 39342"/>
                <a:gd name="connsiteX59" fmla="*/ 131405 w 173107"/>
                <a:gd name="connsiteY59" fmla="*/ 33441 h 39342"/>
                <a:gd name="connsiteX60" fmla="*/ 128257 w 173107"/>
                <a:gd name="connsiteY60" fmla="*/ 33441 h 39342"/>
                <a:gd name="connsiteX61" fmla="*/ 131405 w 173107"/>
                <a:gd name="connsiteY61" fmla="*/ 34622 h 39342"/>
                <a:gd name="connsiteX62" fmla="*/ 134945 w 173107"/>
                <a:gd name="connsiteY62" fmla="*/ 35408 h 39342"/>
                <a:gd name="connsiteX63" fmla="*/ 137699 w 173107"/>
                <a:gd name="connsiteY63" fmla="*/ 35802 h 39342"/>
                <a:gd name="connsiteX64" fmla="*/ 140846 w 173107"/>
                <a:gd name="connsiteY64" fmla="*/ 36589 h 39342"/>
                <a:gd name="connsiteX65" fmla="*/ 144387 w 173107"/>
                <a:gd name="connsiteY65" fmla="*/ 34228 h 39342"/>
                <a:gd name="connsiteX66" fmla="*/ 147535 w 173107"/>
                <a:gd name="connsiteY66" fmla="*/ 35015 h 39342"/>
                <a:gd name="connsiteX67" fmla="*/ 150289 w 173107"/>
                <a:gd name="connsiteY67" fmla="*/ 35015 h 39342"/>
                <a:gd name="connsiteX68" fmla="*/ 153436 w 173107"/>
                <a:gd name="connsiteY68" fmla="*/ 34622 h 39342"/>
                <a:gd name="connsiteX69" fmla="*/ 156583 w 173107"/>
                <a:gd name="connsiteY69" fmla="*/ 34228 h 39342"/>
                <a:gd name="connsiteX70" fmla="*/ 159731 w 173107"/>
                <a:gd name="connsiteY70" fmla="*/ 34228 h 39342"/>
                <a:gd name="connsiteX71" fmla="*/ 162879 w 173107"/>
                <a:gd name="connsiteY71" fmla="*/ 33441 h 39342"/>
                <a:gd name="connsiteX72" fmla="*/ 159731 w 173107"/>
                <a:gd name="connsiteY72" fmla="*/ 32261 h 39342"/>
                <a:gd name="connsiteX73" fmla="*/ 156977 w 173107"/>
                <a:gd name="connsiteY73" fmla="*/ 31081 h 39342"/>
                <a:gd name="connsiteX74" fmla="*/ 154223 w 173107"/>
                <a:gd name="connsiteY74" fmla="*/ 31474 h 39342"/>
                <a:gd name="connsiteX75" fmla="*/ 151076 w 173107"/>
                <a:gd name="connsiteY75" fmla="*/ 31081 h 39342"/>
                <a:gd name="connsiteX76" fmla="*/ 147928 w 173107"/>
                <a:gd name="connsiteY76" fmla="*/ 30294 h 39342"/>
                <a:gd name="connsiteX77" fmla="*/ 144781 w 173107"/>
                <a:gd name="connsiteY77" fmla="*/ 30294 h 39342"/>
                <a:gd name="connsiteX78" fmla="*/ 142027 w 173107"/>
                <a:gd name="connsiteY78" fmla="*/ 29900 h 39342"/>
                <a:gd name="connsiteX79" fmla="*/ 138879 w 173107"/>
                <a:gd name="connsiteY79" fmla="*/ 29900 h 39342"/>
                <a:gd name="connsiteX80" fmla="*/ 135732 w 173107"/>
                <a:gd name="connsiteY80" fmla="*/ 29114 h 39342"/>
                <a:gd name="connsiteX81" fmla="*/ 132585 w 173107"/>
                <a:gd name="connsiteY81" fmla="*/ 27933 h 39342"/>
                <a:gd name="connsiteX82" fmla="*/ 129437 w 173107"/>
                <a:gd name="connsiteY82" fmla="*/ 26753 h 39342"/>
                <a:gd name="connsiteX83" fmla="*/ 126290 w 173107"/>
                <a:gd name="connsiteY83" fmla="*/ 26360 h 39342"/>
                <a:gd name="connsiteX84" fmla="*/ 123536 w 173107"/>
                <a:gd name="connsiteY84" fmla="*/ 24392 h 39342"/>
                <a:gd name="connsiteX85" fmla="*/ 120388 w 173107"/>
                <a:gd name="connsiteY85" fmla="*/ 23606 h 39342"/>
                <a:gd name="connsiteX86" fmla="*/ 117241 w 173107"/>
                <a:gd name="connsiteY86" fmla="*/ 23212 h 39342"/>
                <a:gd name="connsiteX87" fmla="*/ 114880 w 173107"/>
                <a:gd name="connsiteY87" fmla="*/ 22032 h 39342"/>
                <a:gd name="connsiteX88" fmla="*/ 118421 w 173107"/>
                <a:gd name="connsiteY88" fmla="*/ 19671 h 39342"/>
                <a:gd name="connsiteX89" fmla="*/ 119995 w 173107"/>
                <a:gd name="connsiteY89" fmla="*/ 20065 h 39342"/>
                <a:gd name="connsiteX90" fmla="*/ 123142 w 173107"/>
                <a:gd name="connsiteY90" fmla="*/ 22425 h 39342"/>
                <a:gd name="connsiteX91" fmla="*/ 125896 w 173107"/>
                <a:gd name="connsiteY91" fmla="*/ 23212 h 39342"/>
                <a:gd name="connsiteX92" fmla="*/ 129437 w 173107"/>
                <a:gd name="connsiteY92" fmla="*/ 24786 h 39342"/>
                <a:gd name="connsiteX93" fmla="*/ 132978 w 173107"/>
                <a:gd name="connsiteY93" fmla="*/ 25966 h 39342"/>
                <a:gd name="connsiteX94" fmla="*/ 135732 w 173107"/>
                <a:gd name="connsiteY94" fmla="*/ 26360 h 39342"/>
                <a:gd name="connsiteX95" fmla="*/ 138486 w 173107"/>
                <a:gd name="connsiteY95" fmla="*/ 27933 h 39342"/>
                <a:gd name="connsiteX96" fmla="*/ 144781 w 173107"/>
                <a:gd name="connsiteY96" fmla="*/ 29114 h 39342"/>
                <a:gd name="connsiteX97" fmla="*/ 147928 w 173107"/>
                <a:gd name="connsiteY97" fmla="*/ 29114 h 39342"/>
                <a:gd name="connsiteX98" fmla="*/ 151076 w 173107"/>
                <a:gd name="connsiteY98" fmla="*/ 29900 h 39342"/>
                <a:gd name="connsiteX99" fmla="*/ 153830 w 173107"/>
                <a:gd name="connsiteY99" fmla="*/ 29114 h 39342"/>
                <a:gd name="connsiteX100" fmla="*/ 156583 w 173107"/>
                <a:gd name="connsiteY100" fmla="*/ 29507 h 39342"/>
                <a:gd name="connsiteX101" fmla="*/ 159731 w 173107"/>
                <a:gd name="connsiteY101" fmla="*/ 29900 h 39342"/>
                <a:gd name="connsiteX102" fmla="*/ 163272 w 173107"/>
                <a:gd name="connsiteY102" fmla="*/ 30687 h 39342"/>
                <a:gd name="connsiteX103" fmla="*/ 166026 w 173107"/>
                <a:gd name="connsiteY103" fmla="*/ 31081 h 39342"/>
                <a:gd name="connsiteX104" fmla="*/ 169173 w 173107"/>
                <a:gd name="connsiteY104" fmla="*/ 30294 h 39342"/>
                <a:gd name="connsiteX105" fmla="*/ 172321 w 173107"/>
                <a:gd name="connsiteY105" fmla="*/ 29900 h 39342"/>
                <a:gd name="connsiteX106" fmla="*/ 173894 w 173107"/>
                <a:gd name="connsiteY106" fmla="*/ 27146 h 39342"/>
                <a:gd name="connsiteX107" fmla="*/ 173501 w 173107"/>
                <a:gd name="connsiteY107" fmla="*/ 23999 h 39342"/>
                <a:gd name="connsiteX108" fmla="*/ 169960 w 173107"/>
                <a:gd name="connsiteY108" fmla="*/ 23606 h 39342"/>
                <a:gd name="connsiteX109" fmla="*/ 166813 w 173107"/>
                <a:gd name="connsiteY109" fmla="*/ 23212 h 39342"/>
                <a:gd name="connsiteX110" fmla="*/ 164846 w 173107"/>
                <a:gd name="connsiteY110" fmla="*/ 20065 h 39342"/>
                <a:gd name="connsiteX111" fmla="*/ 167993 w 173107"/>
                <a:gd name="connsiteY111" fmla="*/ 19278 h 39342"/>
                <a:gd name="connsiteX112" fmla="*/ 170747 w 173107"/>
                <a:gd name="connsiteY112" fmla="*/ 18098 h 39342"/>
                <a:gd name="connsiteX113" fmla="*/ 173501 w 173107"/>
                <a:gd name="connsiteY113" fmla="*/ 17704 h 39342"/>
                <a:gd name="connsiteX114" fmla="*/ 170353 w 173107"/>
                <a:gd name="connsiteY114" fmla="*/ 16917 h 39342"/>
                <a:gd name="connsiteX115" fmla="*/ 166813 w 173107"/>
                <a:gd name="connsiteY115" fmla="*/ 16130 h 39342"/>
                <a:gd name="connsiteX116" fmla="*/ 164059 w 173107"/>
                <a:gd name="connsiteY116" fmla="*/ 15737 h 39342"/>
                <a:gd name="connsiteX117" fmla="*/ 160912 w 173107"/>
                <a:gd name="connsiteY117" fmla="*/ 15344 h 39342"/>
                <a:gd name="connsiteX118" fmla="*/ 157764 w 173107"/>
                <a:gd name="connsiteY118" fmla="*/ 14950 h 39342"/>
                <a:gd name="connsiteX119" fmla="*/ 154616 w 173107"/>
                <a:gd name="connsiteY119" fmla="*/ 14163 h 39342"/>
                <a:gd name="connsiteX120" fmla="*/ 151863 w 173107"/>
                <a:gd name="connsiteY120" fmla="*/ 13377 h 39342"/>
                <a:gd name="connsiteX121" fmla="*/ 148715 w 173107"/>
                <a:gd name="connsiteY121" fmla="*/ 12983 h 39342"/>
                <a:gd name="connsiteX122" fmla="*/ 145568 w 173107"/>
                <a:gd name="connsiteY122" fmla="*/ 12590 h 39342"/>
                <a:gd name="connsiteX123" fmla="*/ 142420 w 173107"/>
                <a:gd name="connsiteY123" fmla="*/ 12196 h 39342"/>
                <a:gd name="connsiteX124" fmla="*/ 138879 w 173107"/>
                <a:gd name="connsiteY124" fmla="*/ 11409 h 39342"/>
                <a:gd name="connsiteX125" fmla="*/ 135339 w 173107"/>
                <a:gd name="connsiteY125" fmla="*/ 10623 h 39342"/>
                <a:gd name="connsiteX126" fmla="*/ 132191 w 173107"/>
                <a:gd name="connsiteY126" fmla="*/ 9836 h 39342"/>
                <a:gd name="connsiteX127" fmla="*/ 129044 w 173107"/>
                <a:gd name="connsiteY127" fmla="*/ 9836 h 39342"/>
                <a:gd name="connsiteX128" fmla="*/ 125896 w 173107"/>
                <a:gd name="connsiteY128" fmla="*/ 9049 h 39342"/>
                <a:gd name="connsiteX129" fmla="*/ 122749 w 173107"/>
                <a:gd name="connsiteY129" fmla="*/ 9049 h 39342"/>
                <a:gd name="connsiteX130" fmla="*/ 119602 w 173107"/>
                <a:gd name="connsiteY130" fmla="*/ 10229 h 39342"/>
                <a:gd name="connsiteX131" fmla="*/ 116061 w 173107"/>
                <a:gd name="connsiteY131" fmla="*/ 10623 h 39342"/>
                <a:gd name="connsiteX132" fmla="*/ 113307 w 173107"/>
                <a:gd name="connsiteY132" fmla="*/ 10229 h 39342"/>
                <a:gd name="connsiteX133" fmla="*/ 110553 w 173107"/>
                <a:gd name="connsiteY133" fmla="*/ 9836 h 39342"/>
                <a:gd name="connsiteX134" fmla="*/ 107012 w 173107"/>
                <a:gd name="connsiteY134" fmla="*/ 9836 h 39342"/>
                <a:gd name="connsiteX135" fmla="*/ 104258 w 173107"/>
                <a:gd name="connsiteY135" fmla="*/ 9442 h 39342"/>
                <a:gd name="connsiteX136" fmla="*/ 101110 w 173107"/>
                <a:gd name="connsiteY136" fmla="*/ 8655 h 39342"/>
                <a:gd name="connsiteX137" fmla="*/ 97963 w 173107"/>
                <a:gd name="connsiteY137" fmla="*/ 7869 h 39342"/>
                <a:gd name="connsiteX138" fmla="*/ 94816 w 173107"/>
                <a:gd name="connsiteY138" fmla="*/ 7082 h 39342"/>
                <a:gd name="connsiteX139" fmla="*/ 91668 w 173107"/>
                <a:gd name="connsiteY139" fmla="*/ 5901 h 39342"/>
                <a:gd name="connsiteX140" fmla="*/ 88128 w 173107"/>
                <a:gd name="connsiteY140" fmla="*/ 5115 h 39342"/>
                <a:gd name="connsiteX141" fmla="*/ 84980 w 173107"/>
                <a:gd name="connsiteY141" fmla="*/ 4721 h 39342"/>
                <a:gd name="connsiteX142" fmla="*/ 81832 w 173107"/>
                <a:gd name="connsiteY142" fmla="*/ 3934 h 39342"/>
                <a:gd name="connsiteX143" fmla="*/ 78292 w 173107"/>
                <a:gd name="connsiteY143" fmla="*/ 2754 h 39342"/>
                <a:gd name="connsiteX144" fmla="*/ 75144 w 173107"/>
                <a:gd name="connsiteY144" fmla="*/ 2361 h 39342"/>
                <a:gd name="connsiteX145" fmla="*/ 72391 w 173107"/>
                <a:gd name="connsiteY145" fmla="*/ 1967 h 39342"/>
                <a:gd name="connsiteX146" fmla="*/ 68850 w 173107"/>
                <a:gd name="connsiteY146" fmla="*/ 1967 h 39342"/>
                <a:gd name="connsiteX147" fmla="*/ 71603 w 173107"/>
                <a:gd name="connsiteY147" fmla="*/ 2754 h 39342"/>
                <a:gd name="connsiteX148" fmla="*/ 74751 w 173107"/>
                <a:gd name="connsiteY148" fmla="*/ 3934 h 39342"/>
                <a:gd name="connsiteX149" fmla="*/ 77898 w 173107"/>
                <a:gd name="connsiteY149" fmla="*/ 5508 h 39342"/>
                <a:gd name="connsiteX150" fmla="*/ 75144 w 173107"/>
                <a:gd name="connsiteY150" fmla="*/ 5115 h 39342"/>
                <a:gd name="connsiteX151" fmla="*/ 71997 w 173107"/>
                <a:gd name="connsiteY151" fmla="*/ 4721 h 39342"/>
                <a:gd name="connsiteX152" fmla="*/ 68850 w 173107"/>
                <a:gd name="connsiteY152" fmla="*/ 3934 h 39342"/>
                <a:gd name="connsiteX153" fmla="*/ 66095 w 173107"/>
                <a:gd name="connsiteY153" fmla="*/ 6295 h 39342"/>
                <a:gd name="connsiteX154" fmla="*/ 53899 w 173107"/>
                <a:gd name="connsiteY154" fmla="*/ 10229 h 39342"/>
                <a:gd name="connsiteX155" fmla="*/ 51932 w 173107"/>
                <a:gd name="connsiteY155" fmla="*/ 9836 h 39342"/>
                <a:gd name="connsiteX156" fmla="*/ 49178 w 173107"/>
                <a:gd name="connsiteY156" fmla="*/ 9049 h 39342"/>
                <a:gd name="connsiteX157" fmla="*/ 45637 w 173107"/>
                <a:gd name="connsiteY157" fmla="*/ 6688 h 39342"/>
                <a:gd name="connsiteX158" fmla="*/ 42490 w 173107"/>
                <a:gd name="connsiteY158" fmla="*/ 6295 h 39342"/>
                <a:gd name="connsiteX159" fmla="*/ 39343 w 173107"/>
                <a:gd name="connsiteY159" fmla="*/ 5901 h 39342"/>
                <a:gd name="connsiteX160" fmla="*/ 36195 w 173107"/>
                <a:gd name="connsiteY160" fmla="*/ 5115 h 39342"/>
                <a:gd name="connsiteX161" fmla="*/ 33048 w 173107"/>
                <a:gd name="connsiteY161" fmla="*/ 4328 h 39342"/>
                <a:gd name="connsiteX162" fmla="*/ 29900 w 173107"/>
                <a:gd name="connsiteY162" fmla="*/ 3934 h 39342"/>
                <a:gd name="connsiteX163" fmla="*/ 26753 w 173107"/>
                <a:gd name="connsiteY163" fmla="*/ 3541 h 39342"/>
                <a:gd name="connsiteX164" fmla="*/ 23212 w 173107"/>
                <a:gd name="connsiteY164" fmla="*/ 2754 h 39342"/>
                <a:gd name="connsiteX165" fmla="*/ 20065 w 173107"/>
                <a:gd name="connsiteY165" fmla="*/ 1574 h 39342"/>
                <a:gd name="connsiteX166" fmla="*/ 17311 w 173107"/>
                <a:gd name="connsiteY166" fmla="*/ 0 h 39342"/>
                <a:gd name="connsiteX167" fmla="*/ 13770 w 173107"/>
                <a:gd name="connsiteY167" fmla="*/ 0 h 39342"/>
                <a:gd name="connsiteX168" fmla="*/ 10622 w 173107"/>
                <a:gd name="connsiteY168" fmla="*/ 787 h 39342"/>
                <a:gd name="connsiteX169" fmla="*/ 12196 w 173107"/>
                <a:gd name="connsiteY169" fmla="*/ 3934 h 39342"/>
                <a:gd name="connsiteX170" fmla="*/ 9442 w 173107"/>
                <a:gd name="connsiteY170" fmla="*/ 2361 h 39342"/>
                <a:gd name="connsiteX171" fmla="*/ 5901 w 173107"/>
                <a:gd name="connsiteY171" fmla="*/ 2361 h 39342"/>
                <a:gd name="connsiteX172" fmla="*/ 5901 w 173107"/>
                <a:gd name="connsiteY172" fmla="*/ 5115 h 39342"/>
                <a:gd name="connsiteX173" fmla="*/ 3147 w 173107"/>
                <a:gd name="connsiteY173" fmla="*/ 5115 h 39342"/>
                <a:gd name="connsiteX174" fmla="*/ 0 w 173107"/>
                <a:gd name="connsiteY174" fmla="*/ 5901 h 39342"/>
                <a:gd name="connsiteX175" fmla="*/ 0 w 173107"/>
                <a:gd name="connsiteY175" fmla="*/ 8655 h 39342"/>
                <a:gd name="connsiteX176" fmla="*/ 3147 w 173107"/>
                <a:gd name="connsiteY176" fmla="*/ 9442 h 39342"/>
                <a:gd name="connsiteX177" fmla="*/ 6295 w 173107"/>
                <a:gd name="connsiteY177" fmla="*/ 10623 h 39342"/>
                <a:gd name="connsiteX178" fmla="*/ 9442 w 173107"/>
                <a:gd name="connsiteY178" fmla="*/ 12196 h 39342"/>
                <a:gd name="connsiteX179" fmla="*/ 6295 w 173107"/>
                <a:gd name="connsiteY179" fmla="*/ 11409 h 39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</a:cxnLst>
              <a:rect l="l" t="t" r="r" b="b"/>
              <a:pathLst>
                <a:path w="173107" h="39342">
                  <a:moveTo>
                    <a:pt x="3147" y="11409"/>
                  </a:moveTo>
                  <a:lnTo>
                    <a:pt x="0" y="12983"/>
                  </a:lnTo>
                  <a:lnTo>
                    <a:pt x="1967" y="16130"/>
                  </a:lnTo>
                  <a:lnTo>
                    <a:pt x="4721" y="14950"/>
                  </a:lnTo>
                  <a:lnTo>
                    <a:pt x="7869" y="17311"/>
                  </a:lnTo>
                  <a:lnTo>
                    <a:pt x="11016" y="20065"/>
                  </a:lnTo>
                  <a:lnTo>
                    <a:pt x="14163" y="20852"/>
                  </a:lnTo>
                  <a:lnTo>
                    <a:pt x="16917" y="20852"/>
                  </a:lnTo>
                  <a:lnTo>
                    <a:pt x="19671" y="22425"/>
                  </a:lnTo>
                  <a:lnTo>
                    <a:pt x="16524" y="23212"/>
                  </a:lnTo>
                  <a:lnTo>
                    <a:pt x="12983" y="22032"/>
                  </a:lnTo>
                  <a:lnTo>
                    <a:pt x="10229" y="23212"/>
                  </a:lnTo>
                  <a:lnTo>
                    <a:pt x="13377" y="24786"/>
                  </a:lnTo>
                  <a:lnTo>
                    <a:pt x="16524" y="25966"/>
                  </a:lnTo>
                  <a:lnTo>
                    <a:pt x="19671" y="27146"/>
                  </a:lnTo>
                  <a:lnTo>
                    <a:pt x="22818" y="28327"/>
                  </a:lnTo>
                  <a:lnTo>
                    <a:pt x="25966" y="29114"/>
                  </a:lnTo>
                  <a:lnTo>
                    <a:pt x="29114" y="29900"/>
                  </a:lnTo>
                  <a:lnTo>
                    <a:pt x="32654" y="30687"/>
                  </a:lnTo>
                  <a:lnTo>
                    <a:pt x="35802" y="31081"/>
                  </a:lnTo>
                  <a:lnTo>
                    <a:pt x="38949" y="31474"/>
                  </a:lnTo>
                  <a:lnTo>
                    <a:pt x="42096" y="32261"/>
                  </a:lnTo>
                  <a:lnTo>
                    <a:pt x="45244" y="34228"/>
                  </a:lnTo>
                  <a:lnTo>
                    <a:pt x="47998" y="35408"/>
                  </a:lnTo>
                  <a:lnTo>
                    <a:pt x="51145" y="36195"/>
                  </a:lnTo>
                  <a:lnTo>
                    <a:pt x="53899" y="37376"/>
                  </a:lnTo>
                  <a:lnTo>
                    <a:pt x="57047" y="37769"/>
                  </a:lnTo>
                  <a:lnTo>
                    <a:pt x="60588" y="38162"/>
                  </a:lnTo>
                  <a:lnTo>
                    <a:pt x="63735" y="38162"/>
                  </a:lnTo>
                  <a:lnTo>
                    <a:pt x="66882" y="38556"/>
                  </a:lnTo>
                  <a:lnTo>
                    <a:pt x="69636" y="38949"/>
                  </a:lnTo>
                  <a:lnTo>
                    <a:pt x="72784" y="39736"/>
                  </a:lnTo>
                  <a:lnTo>
                    <a:pt x="75931" y="40523"/>
                  </a:lnTo>
                  <a:lnTo>
                    <a:pt x="79079" y="41310"/>
                  </a:lnTo>
                  <a:lnTo>
                    <a:pt x="82620" y="40916"/>
                  </a:lnTo>
                  <a:lnTo>
                    <a:pt x="83800" y="37769"/>
                  </a:lnTo>
                  <a:lnTo>
                    <a:pt x="81046" y="35408"/>
                  </a:lnTo>
                  <a:lnTo>
                    <a:pt x="78292" y="32654"/>
                  </a:lnTo>
                  <a:lnTo>
                    <a:pt x="81046" y="32654"/>
                  </a:lnTo>
                  <a:lnTo>
                    <a:pt x="84587" y="33048"/>
                  </a:lnTo>
                  <a:lnTo>
                    <a:pt x="87734" y="34228"/>
                  </a:lnTo>
                  <a:lnTo>
                    <a:pt x="90881" y="35408"/>
                  </a:lnTo>
                  <a:lnTo>
                    <a:pt x="92062" y="36589"/>
                  </a:lnTo>
                  <a:lnTo>
                    <a:pt x="92455" y="36589"/>
                  </a:lnTo>
                  <a:lnTo>
                    <a:pt x="92849" y="36589"/>
                  </a:lnTo>
                  <a:lnTo>
                    <a:pt x="95996" y="36195"/>
                  </a:lnTo>
                  <a:lnTo>
                    <a:pt x="99143" y="35802"/>
                  </a:lnTo>
                  <a:lnTo>
                    <a:pt x="101898" y="35408"/>
                  </a:lnTo>
                  <a:lnTo>
                    <a:pt x="105045" y="34622"/>
                  </a:lnTo>
                  <a:lnTo>
                    <a:pt x="108192" y="34228"/>
                  </a:lnTo>
                  <a:lnTo>
                    <a:pt x="110946" y="34228"/>
                  </a:lnTo>
                  <a:lnTo>
                    <a:pt x="114094" y="33835"/>
                  </a:lnTo>
                  <a:lnTo>
                    <a:pt x="116847" y="33441"/>
                  </a:lnTo>
                  <a:lnTo>
                    <a:pt x="119995" y="32654"/>
                  </a:lnTo>
                  <a:lnTo>
                    <a:pt x="122749" y="31868"/>
                  </a:lnTo>
                  <a:lnTo>
                    <a:pt x="125896" y="31868"/>
                  </a:lnTo>
                  <a:lnTo>
                    <a:pt x="129044" y="31474"/>
                  </a:lnTo>
                  <a:lnTo>
                    <a:pt x="131798" y="32261"/>
                  </a:lnTo>
                  <a:lnTo>
                    <a:pt x="134552" y="33835"/>
                  </a:lnTo>
                  <a:lnTo>
                    <a:pt x="131405" y="33441"/>
                  </a:lnTo>
                  <a:lnTo>
                    <a:pt x="128257" y="33441"/>
                  </a:lnTo>
                  <a:lnTo>
                    <a:pt x="131405" y="34622"/>
                  </a:lnTo>
                  <a:lnTo>
                    <a:pt x="134945" y="35408"/>
                  </a:lnTo>
                  <a:lnTo>
                    <a:pt x="137699" y="35802"/>
                  </a:lnTo>
                  <a:lnTo>
                    <a:pt x="140846" y="36589"/>
                  </a:lnTo>
                  <a:lnTo>
                    <a:pt x="144387" y="34228"/>
                  </a:lnTo>
                  <a:lnTo>
                    <a:pt x="147535" y="35015"/>
                  </a:lnTo>
                  <a:lnTo>
                    <a:pt x="150289" y="35015"/>
                  </a:lnTo>
                  <a:lnTo>
                    <a:pt x="153436" y="34622"/>
                  </a:lnTo>
                  <a:lnTo>
                    <a:pt x="156583" y="34228"/>
                  </a:lnTo>
                  <a:lnTo>
                    <a:pt x="159731" y="34228"/>
                  </a:lnTo>
                  <a:lnTo>
                    <a:pt x="162879" y="33441"/>
                  </a:lnTo>
                  <a:lnTo>
                    <a:pt x="159731" y="32261"/>
                  </a:lnTo>
                  <a:lnTo>
                    <a:pt x="156977" y="31081"/>
                  </a:lnTo>
                  <a:lnTo>
                    <a:pt x="154223" y="31474"/>
                  </a:lnTo>
                  <a:lnTo>
                    <a:pt x="151076" y="31081"/>
                  </a:lnTo>
                  <a:lnTo>
                    <a:pt x="147928" y="30294"/>
                  </a:lnTo>
                  <a:lnTo>
                    <a:pt x="144781" y="30294"/>
                  </a:lnTo>
                  <a:lnTo>
                    <a:pt x="142027" y="29900"/>
                  </a:lnTo>
                  <a:lnTo>
                    <a:pt x="138879" y="29900"/>
                  </a:lnTo>
                  <a:lnTo>
                    <a:pt x="135732" y="29114"/>
                  </a:lnTo>
                  <a:lnTo>
                    <a:pt x="132585" y="27933"/>
                  </a:lnTo>
                  <a:lnTo>
                    <a:pt x="129437" y="26753"/>
                  </a:lnTo>
                  <a:lnTo>
                    <a:pt x="126290" y="26360"/>
                  </a:lnTo>
                  <a:lnTo>
                    <a:pt x="123536" y="24392"/>
                  </a:lnTo>
                  <a:lnTo>
                    <a:pt x="120388" y="23606"/>
                  </a:lnTo>
                  <a:lnTo>
                    <a:pt x="117241" y="23212"/>
                  </a:lnTo>
                  <a:lnTo>
                    <a:pt x="114880" y="22032"/>
                  </a:lnTo>
                  <a:lnTo>
                    <a:pt x="118421" y="19671"/>
                  </a:lnTo>
                  <a:lnTo>
                    <a:pt x="119995" y="20065"/>
                  </a:lnTo>
                  <a:lnTo>
                    <a:pt x="123142" y="22425"/>
                  </a:lnTo>
                  <a:lnTo>
                    <a:pt x="125896" y="23212"/>
                  </a:lnTo>
                  <a:lnTo>
                    <a:pt x="129437" y="24786"/>
                  </a:lnTo>
                  <a:lnTo>
                    <a:pt x="132978" y="25966"/>
                  </a:lnTo>
                  <a:lnTo>
                    <a:pt x="135732" y="26360"/>
                  </a:lnTo>
                  <a:lnTo>
                    <a:pt x="138486" y="27933"/>
                  </a:lnTo>
                  <a:lnTo>
                    <a:pt x="144781" y="29114"/>
                  </a:lnTo>
                  <a:lnTo>
                    <a:pt x="147928" y="29114"/>
                  </a:lnTo>
                  <a:lnTo>
                    <a:pt x="151076" y="29900"/>
                  </a:lnTo>
                  <a:lnTo>
                    <a:pt x="153830" y="29114"/>
                  </a:lnTo>
                  <a:lnTo>
                    <a:pt x="156583" y="29507"/>
                  </a:lnTo>
                  <a:lnTo>
                    <a:pt x="159731" y="29900"/>
                  </a:lnTo>
                  <a:lnTo>
                    <a:pt x="163272" y="30687"/>
                  </a:lnTo>
                  <a:lnTo>
                    <a:pt x="166026" y="31081"/>
                  </a:lnTo>
                  <a:lnTo>
                    <a:pt x="169173" y="30294"/>
                  </a:lnTo>
                  <a:lnTo>
                    <a:pt x="172321" y="29900"/>
                  </a:lnTo>
                  <a:lnTo>
                    <a:pt x="173894" y="27146"/>
                  </a:lnTo>
                  <a:lnTo>
                    <a:pt x="173501" y="23999"/>
                  </a:lnTo>
                  <a:lnTo>
                    <a:pt x="169960" y="23606"/>
                  </a:lnTo>
                  <a:lnTo>
                    <a:pt x="166813" y="23212"/>
                  </a:lnTo>
                  <a:lnTo>
                    <a:pt x="164846" y="20065"/>
                  </a:lnTo>
                  <a:lnTo>
                    <a:pt x="167993" y="19278"/>
                  </a:lnTo>
                  <a:lnTo>
                    <a:pt x="170747" y="18098"/>
                  </a:lnTo>
                  <a:lnTo>
                    <a:pt x="173501" y="17704"/>
                  </a:lnTo>
                  <a:lnTo>
                    <a:pt x="170353" y="16917"/>
                  </a:lnTo>
                  <a:lnTo>
                    <a:pt x="166813" y="16130"/>
                  </a:lnTo>
                  <a:lnTo>
                    <a:pt x="164059" y="15737"/>
                  </a:lnTo>
                  <a:lnTo>
                    <a:pt x="160912" y="15344"/>
                  </a:lnTo>
                  <a:lnTo>
                    <a:pt x="157764" y="14950"/>
                  </a:lnTo>
                  <a:lnTo>
                    <a:pt x="154616" y="14163"/>
                  </a:lnTo>
                  <a:lnTo>
                    <a:pt x="151863" y="13377"/>
                  </a:lnTo>
                  <a:lnTo>
                    <a:pt x="148715" y="12983"/>
                  </a:lnTo>
                  <a:lnTo>
                    <a:pt x="145568" y="12590"/>
                  </a:lnTo>
                  <a:lnTo>
                    <a:pt x="142420" y="12196"/>
                  </a:lnTo>
                  <a:lnTo>
                    <a:pt x="138879" y="11409"/>
                  </a:lnTo>
                  <a:lnTo>
                    <a:pt x="135339" y="10623"/>
                  </a:lnTo>
                  <a:lnTo>
                    <a:pt x="132191" y="9836"/>
                  </a:lnTo>
                  <a:lnTo>
                    <a:pt x="129044" y="9836"/>
                  </a:lnTo>
                  <a:lnTo>
                    <a:pt x="125896" y="9049"/>
                  </a:lnTo>
                  <a:lnTo>
                    <a:pt x="122749" y="9049"/>
                  </a:lnTo>
                  <a:lnTo>
                    <a:pt x="119602" y="10229"/>
                  </a:lnTo>
                  <a:lnTo>
                    <a:pt x="116061" y="10623"/>
                  </a:lnTo>
                  <a:lnTo>
                    <a:pt x="113307" y="10229"/>
                  </a:lnTo>
                  <a:lnTo>
                    <a:pt x="110553" y="9836"/>
                  </a:lnTo>
                  <a:lnTo>
                    <a:pt x="107012" y="9836"/>
                  </a:lnTo>
                  <a:lnTo>
                    <a:pt x="104258" y="9442"/>
                  </a:lnTo>
                  <a:lnTo>
                    <a:pt x="101110" y="8655"/>
                  </a:lnTo>
                  <a:lnTo>
                    <a:pt x="97963" y="7869"/>
                  </a:lnTo>
                  <a:lnTo>
                    <a:pt x="94816" y="7082"/>
                  </a:lnTo>
                  <a:lnTo>
                    <a:pt x="91668" y="5901"/>
                  </a:lnTo>
                  <a:lnTo>
                    <a:pt x="88128" y="5115"/>
                  </a:lnTo>
                  <a:lnTo>
                    <a:pt x="84980" y="4721"/>
                  </a:lnTo>
                  <a:lnTo>
                    <a:pt x="81832" y="3934"/>
                  </a:lnTo>
                  <a:lnTo>
                    <a:pt x="78292" y="2754"/>
                  </a:lnTo>
                  <a:lnTo>
                    <a:pt x="75144" y="2361"/>
                  </a:lnTo>
                  <a:lnTo>
                    <a:pt x="72391" y="1967"/>
                  </a:lnTo>
                  <a:lnTo>
                    <a:pt x="68850" y="1967"/>
                  </a:lnTo>
                  <a:lnTo>
                    <a:pt x="71603" y="2754"/>
                  </a:lnTo>
                  <a:lnTo>
                    <a:pt x="74751" y="3934"/>
                  </a:lnTo>
                  <a:lnTo>
                    <a:pt x="77898" y="5508"/>
                  </a:lnTo>
                  <a:lnTo>
                    <a:pt x="75144" y="5115"/>
                  </a:lnTo>
                  <a:lnTo>
                    <a:pt x="71997" y="4721"/>
                  </a:lnTo>
                  <a:lnTo>
                    <a:pt x="68850" y="3934"/>
                  </a:lnTo>
                  <a:lnTo>
                    <a:pt x="66095" y="6295"/>
                  </a:lnTo>
                  <a:lnTo>
                    <a:pt x="53899" y="10229"/>
                  </a:lnTo>
                  <a:lnTo>
                    <a:pt x="51932" y="9836"/>
                  </a:lnTo>
                  <a:lnTo>
                    <a:pt x="49178" y="9049"/>
                  </a:lnTo>
                  <a:lnTo>
                    <a:pt x="45637" y="6688"/>
                  </a:lnTo>
                  <a:lnTo>
                    <a:pt x="42490" y="6295"/>
                  </a:lnTo>
                  <a:lnTo>
                    <a:pt x="39343" y="5901"/>
                  </a:lnTo>
                  <a:lnTo>
                    <a:pt x="36195" y="5115"/>
                  </a:lnTo>
                  <a:lnTo>
                    <a:pt x="33048" y="4328"/>
                  </a:lnTo>
                  <a:lnTo>
                    <a:pt x="29900" y="3934"/>
                  </a:lnTo>
                  <a:lnTo>
                    <a:pt x="26753" y="3541"/>
                  </a:lnTo>
                  <a:lnTo>
                    <a:pt x="23212" y="2754"/>
                  </a:lnTo>
                  <a:lnTo>
                    <a:pt x="20065" y="1574"/>
                  </a:lnTo>
                  <a:lnTo>
                    <a:pt x="17311" y="0"/>
                  </a:lnTo>
                  <a:lnTo>
                    <a:pt x="13770" y="0"/>
                  </a:lnTo>
                  <a:lnTo>
                    <a:pt x="10622" y="787"/>
                  </a:lnTo>
                  <a:lnTo>
                    <a:pt x="12196" y="3934"/>
                  </a:lnTo>
                  <a:lnTo>
                    <a:pt x="9442" y="2361"/>
                  </a:lnTo>
                  <a:lnTo>
                    <a:pt x="5901" y="2361"/>
                  </a:lnTo>
                  <a:lnTo>
                    <a:pt x="5901" y="5115"/>
                  </a:lnTo>
                  <a:lnTo>
                    <a:pt x="3147" y="5115"/>
                  </a:lnTo>
                  <a:lnTo>
                    <a:pt x="0" y="5901"/>
                  </a:lnTo>
                  <a:lnTo>
                    <a:pt x="0" y="8655"/>
                  </a:lnTo>
                  <a:lnTo>
                    <a:pt x="3147" y="9442"/>
                  </a:lnTo>
                  <a:lnTo>
                    <a:pt x="6295" y="10623"/>
                  </a:lnTo>
                  <a:lnTo>
                    <a:pt x="9442" y="12196"/>
                  </a:lnTo>
                  <a:lnTo>
                    <a:pt x="6295" y="1140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19" name="Freeform: Shape 3313">
              <a:extLst>
                <a:ext uri="{FF2B5EF4-FFF2-40B4-BE49-F238E27FC236}">
                  <a16:creationId xmlns:a16="http://schemas.microsoft.com/office/drawing/2014/main" id="{6E27C246-96C6-40F5-BDA7-E38AC2EAF6F0}"/>
                </a:ext>
              </a:extLst>
            </p:cNvPr>
            <p:cNvSpPr/>
            <p:nvPr/>
          </p:nvSpPr>
          <p:spPr>
            <a:xfrm>
              <a:off x="9076599" y="1226641"/>
              <a:ext cx="11803" cy="3934"/>
            </a:xfrm>
            <a:custGeom>
              <a:avLst/>
              <a:gdLst>
                <a:gd name="connsiteX0" fmla="*/ 3541 w 11802"/>
                <a:gd name="connsiteY0" fmla="*/ 3147 h 0"/>
                <a:gd name="connsiteX1" fmla="*/ 5901 w 11802"/>
                <a:gd name="connsiteY1" fmla="*/ 2754 h 0"/>
                <a:gd name="connsiteX2" fmla="*/ 8656 w 11802"/>
                <a:gd name="connsiteY2" fmla="*/ 2754 h 0"/>
                <a:gd name="connsiteX3" fmla="*/ 11803 w 11802"/>
                <a:gd name="connsiteY3" fmla="*/ 2754 h 0"/>
                <a:gd name="connsiteX4" fmla="*/ 14557 w 11802"/>
                <a:gd name="connsiteY4" fmla="*/ 2754 h 0"/>
                <a:gd name="connsiteX5" fmla="*/ 14163 w 11802"/>
                <a:gd name="connsiteY5" fmla="*/ 0 h 0"/>
                <a:gd name="connsiteX6" fmla="*/ 10623 w 11802"/>
                <a:gd name="connsiteY6" fmla="*/ 393 h 0"/>
                <a:gd name="connsiteX7" fmla="*/ 7475 w 11802"/>
                <a:gd name="connsiteY7" fmla="*/ 393 h 0"/>
                <a:gd name="connsiteX8" fmla="*/ 4328 w 11802"/>
                <a:gd name="connsiteY8" fmla="*/ 787 h 0"/>
                <a:gd name="connsiteX9" fmla="*/ 1574 w 11802"/>
                <a:gd name="connsiteY9" fmla="*/ 787 h 0"/>
                <a:gd name="connsiteX10" fmla="*/ 0 w 11802"/>
                <a:gd name="connsiteY10" fmla="*/ 1967 h 0"/>
                <a:gd name="connsiteX11" fmla="*/ 393 w 11802"/>
                <a:gd name="connsiteY11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>
                  <a:moveTo>
                    <a:pt x="3541" y="3147"/>
                  </a:moveTo>
                  <a:lnTo>
                    <a:pt x="5901" y="2754"/>
                  </a:lnTo>
                  <a:lnTo>
                    <a:pt x="8656" y="2754"/>
                  </a:lnTo>
                  <a:lnTo>
                    <a:pt x="11803" y="2754"/>
                  </a:lnTo>
                  <a:lnTo>
                    <a:pt x="14557" y="2754"/>
                  </a:lnTo>
                  <a:lnTo>
                    <a:pt x="14163" y="0"/>
                  </a:lnTo>
                  <a:lnTo>
                    <a:pt x="10623" y="393"/>
                  </a:lnTo>
                  <a:lnTo>
                    <a:pt x="7475" y="393"/>
                  </a:lnTo>
                  <a:lnTo>
                    <a:pt x="4328" y="787"/>
                  </a:lnTo>
                  <a:lnTo>
                    <a:pt x="1574" y="787"/>
                  </a:lnTo>
                  <a:lnTo>
                    <a:pt x="0" y="1967"/>
                  </a:lnTo>
                  <a:lnTo>
                    <a:pt x="393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20" name="Freeform: Shape 3314">
              <a:extLst>
                <a:ext uri="{FF2B5EF4-FFF2-40B4-BE49-F238E27FC236}">
                  <a16:creationId xmlns:a16="http://schemas.microsoft.com/office/drawing/2014/main" id="{28608B66-96FC-4BC7-AB59-436095EB8D27}"/>
                </a:ext>
              </a:extLst>
            </p:cNvPr>
            <p:cNvSpPr/>
            <p:nvPr/>
          </p:nvSpPr>
          <p:spPr>
            <a:xfrm>
              <a:off x="9006962" y="1291557"/>
              <a:ext cx="23606" cy="7869"/>
            </a:xfrm>
            <a:custGeom>
              <a:avLst/>
              <a:gdLst>
                <a:gd name="connsiteX0" fmla="*/ 24786 w 23605"/>
                <a:gd name="connsiteY0" fmla="*/ 6688 h 7868"/>
                <a:gd name="connsiteX1" fmla="*/ 21638 w 23605"/>
                <a:gd name="connsiteY1" fmla="*/ 4721 h 7868"/>
                <a:gd name="connsiteX2" fmla="*/ 18884 w 23605"/>
                <a:gd name="connsiteY2" fmla="*/ 1967 h 7868"/>
                <a:gd name="connsiteX3" fmla="*/ 15737 w 23605"/>
                <a:gd name="connsiteY3" fmla="*/ 1180 h 7868"/>
                <a:gd name="connsiteX4" fmla="*/ 12983 w 23605"/>
                <a:gd name="connsiteY4" fmla="*/ 787 h 7868"/>
                <a:gd name="connsiteX5" fmla="*/ 9836 w 23605"/>
                <a:gd name="connsiteY5" fmla="*/ 393 h 7868"/>
                <a:gd name="connsiteX6" fmla="*/ 6295 w 23605"/>
                <a:gd name="connsiteY6" fmla="*/ 0 h 7868"/>
                <a:gd name="connsiteX7" fmla="*/ 3147 w 23605"/>
                <a:gd name="connsiteY7" fmla="*/ 393 h 7868"/>
                <a:gd name="connsiteX8" fmla="*/ 0 w 23605"/>
                <a:gd name="connsiteY8" fmla="*/ 1180 h 7868"/>
                <a:gd name="connsiteX9" fmla="*/ 1180 w 23605"/>
                <a:gd name="connsiteY9" fmla="*/ 3934 h 7868"/>
                <a:gd name="connsiteX10" fmla="*/ 4328 w 23605"/>
                <a:gd name="connsiteY10" fmla="*/ 6295 h 7868"/>
                <a:gd name="connsiteX11" fmla="*/ 7475 w 23605"/>
                <a:gd name="connsiteY11" fmla="*/ 7475 h 7868"/>
                <a:gd name="connsiteX12" fmla="*/ 10622 w 23605"/>
                <a:gd name="connsiteY12" fmla="*/ 8655 h 7868"/>
                <a:gd name="connsiteX13" fmla="*/ 13770 w 23605"/>
                <a:gd name="connsiteY13" fmla="*/ 9836 h 7868"/>
                <a:gd name="connsiteX14" fmla="*/ 17311 w 23605"/>
                <a:gd name="connsiteY14" fmla="*/ 10623 h 7868"/>
                <a:gd name="connsiteX15" fmla="*/ 18884 w 23605"/>
                <a:gd name="connsiteY15" fmla="*/ 9836 h 7868"/>
                <a:gd name="connsiteX16" fmla="*/ 21638 w 23605"/>
                <a:gd name="connsiteY16" fmla="*/ 865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605" h="7868">
                  <a:moveTo>
                    <a:pt x="24786" y="6688"/>
                  </a:moveTo>
                  <a:lnTo>
                    <a:pt x="21638" y="4721"/>
                  </a:lnTo>
                  <a:lnTo>
                    <a:pt x="18884" y="1967"/>
                  </a:lnTo>
                  <a:lnTo>
                    <a:pt x="15737" y="1180"/>
                  </a:lnTo>
                  <a:lnTo>
                    <a:pt x="12983" y="787"/>
                  </a:lnTo>
                  <a:lnTo>
                    <a:pt x="9836" y="393"/>
                  </a:lnTo>
                  <a:lnTo>
                    <a:pt x="6295" y="0"/>
                  </a:lnTo>
                  <a:lnTo>
                    <a:pt x="3147" y="393"/>
                  </a:lnTo>
                  <a:lnTo>
                    <a:pt x="0" y="1180"/>
                  </a:lnTo>
                  <a:lnTo>
                    <a:pt x="1180" y="3934"/>
                  </a:lnTo>
                  <a:lnTo>
                    <a:pt x="4328" y="6295"/>
                  </a:lnTo>
                  <a:lnTo>
                    <a:pt x="7475" y="7475"/>
                  </a:lnTo>
                  <a:lnTo>
                    <a:pt x="10622" y="8655"/>
                  </a:lnTo>
                  <a:lnTo>
                    <a:pt x="13770" y="9836"/>
                  </a:lnTo>
                  <a:lnTo>
                    <a:pt x="17311" y="10623"/>
                  </a:lnTo>
                  <a:lnTo>
                    <a:pt x="18884" y="9836"/>
                  </a:lnTo>
                  <a:lnTo>
                    <a:pt x="21638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21" name="Freeform: Shape 3315">
              <a:extLst>
                <a:ext uri="{FF2B5EF4-FFF2-40B4-BE49-F238E27FC236}">
                  <a16:creationId xmlns:a16="http://schemas.microsoft.com/office/drawing/2014/main" id="{12A27ED3-E250-4E84-81C6-8388480E816B}"/>
                </a:ext>
              </a:extLst>
            </p:cNvPr>
            <p:cNvSpPr/>
            <p:nvPr/>
          </p:nvSpPr>
          <p:spPr>
            <a:xfrm>
              <a:off x="9025453" y="1301392"/>
              <a:ext cx="86554" cy="15737"/>
            </a:xfrm>
            <a:custGeom>
              <a:avLst/>
              <a:gdLst>
                <a:gd name="connsiteX0" fmla="*/ 34228 w 86553"/>
                <a:gd name="connsiteY0" fmla="*/ 1180 h 15737"/>
                <a:gd name="connsiteX1" fmla="*/ 31081 w 86553"/>
                <a:gd name="connsiteY1" fmla="*/ 0 h 15737"/>
                <a:gd name="connsiteX2" fmla="*/ 24786 w 86553"/>
                <a:gd name="connsiteY2" fmla="*/ 0 h 15737"/>
                <a:gd name="connsiteX3" fmla="*/ 21638 w 86553"/>
                <a:gd name="connsiteY3" fmla="*/ 787 h 15737"/>
                <a:gd name="connsiteX4" fmla="*/ 18885 w 86553"/>
                <a:gd name="connsiteY4" fmla="*/ 1574 h 15737"/>
                <a:gd name="connsiteX5" fmla="*/ 15737 w 86553"/>
                <a:gd name="connsiteY5" fmla="*/ 1574 h 15737"/>
                <a:gd name="connsiteX6" fmla="*/ 12590 w 86553"/>
                <a:gd name="connsiteY6" fmla="*/ 1967 h 15737"/>
                <a:gd name="connsiteX7" fmla="*/ 12196 w 86553"/>
                <a:gd name="connsiteY7" fmla="*/ 4721 h 15737"/>
                <a:gd name="connsiteX8" fmla="*/ 13770 w 86553"/>
                <a:gd name="connsiteY8" fmla="*/ 7869 h 15737"/>
                <a:gd name="connsiteX9" fmla="*/ 14163 w 86553"/>
                <a:gd name="connsiteY9" fmla="*/ 10623 h 15737"/>
                <a:gd name="connsiteX10" fmla="*/ 11016 w 86553"/>
                <a:gd name="connsiteY10" fmla="*/ 12983 h 15737"/>
                <a:gd name="connsiteX11" fmla="*/ 8262 w 86553"/>
                <a:gd name="connsiteY11" fmla="*/ 12590 h 15737"/>
                <a:gd name="connsiteX12" fmla="*/ 5901 w 86553"/>
                <a:gd name="connsiteY12" fmla="*/ 12983 h 15737"/>
                <a:gd name="connsiteX13" fmla="*/ 2754 w 86553"/>
                <a:gd name="connsiteY13" fmla="*/ 12983 h 15737"/>
                <a:gd name="connsiteX14" fmla="*/ 0 w 86553"/>
                <a:gd name="connsiteY14" fmla="*/ 13377 h 15737"/>
                <a:gd name="connsiteX15" fmla="*/ 2754 w 86553"/>
                <a:gd name="connsiteY15" fmla="*/ 15344 h 15737"/>
                <a:gd name="connsiteX16" fmla="*/ 5901 w 86553"/>
                <a:gd name="connsiteY16" fmla="*/ 15737 h 15737"/>
                <a:gd name="connsiteX17" fmla="*/ 9049 w 86553"/>
                <a:gd name="connsiteY17" fmla="*/ 15344 h 15737"/>
                <a:gd name="connsiteX18" fmla="*/ 9442 w 86553"/>
                <a:gd name="connsiteY18" fmla="*/ 15344 h 15737"/>
                <a:gd name="connsiteX19" fmla="*/ 12196 w 86553"/>
                <a:gd name="connsiteY19" fmla="*/ 14163 h 15737"/>
                <a:gd name="connsiteX20" fmla="*/ 14950 w 86553"/>
                <a:gd name="connsiteY20" fmla="*/ 12983 h 15737"/>
                <a:gd name="connsiteX21" fmla="*/ 18098 w 86553"/>
                <a:gd name="connsiteY21" fmla="*/ 12983 h 15737"/>
                <a:gd name="connsiteX22" fmla="*/ 21245 w 86553"/>
                <a:gd name="connsiteY22" fmla="*/ 12983 h 15737"/>
                <a:gd name="connsiteX23" fmla="*/ 24393 w 86553"/>
                <a:gd name="connsiteY23" fmla="*/ 12983 h 15737"/>
                <a:gd name="connsiteX24" fmla="*/ 27933 w 86553"/>
                <a:gd name="connsiteY24" fmla="*/ 13770 h 15737"/>
                <a:gd name="connsiteX25" fmla="*/ 30687 w 86553"/>
                <a:gd name="connsiteY25" fmla="*/ 14163 h 15737"/>
                <a:gd name="connsiteX26" fmla="*/ 34228 w 86553"/>
                <a:gd name="connsiteY26" fmla="*/ 14950 h 15737"/>
                <a:gd name="connsiteX27" fmla="*/ 37376 w 86553"/>
                <a:gd name="connsiteY27" fmla="*/ 15344 h 15737"/>
                <a:gd name="connsiteX28" fmla="*/ 40523 w 86553"/>
                <a:gd name="connsiteY28" fmla="*/ 16130 h 15737"/>
                <a:gd name="connsiteX29" fmla="*/ 43277 w 86553"/>
                <a:gd name="connsiteY29" fmla="*/ 16524 h 15737"/>
                <a:gd name="connsiteX30" fmla="*/ 46425 w 86553"/>
                <a:gd name="connsiteY30" fmla="*/ 16917 h 15737"/>
                <a:gd name="connsiteX31" fmla="*/ 49572 w 86553"/>
                <a:gd name="connsiteY31" fmla="*/ 17311 h 15737"/>
                <a:gd name="connsiteX32" fmla="*/ 52326 w 86553"/>
                <a:gd name="connsiteY32" fmla="*/ 17311 h 15737"/>
                <a:gd name="connsiteX33" fmla="*/ 55473 w 86553"/>
                <a:gd name="connsiteY33" fmla="*/ 17311 h 15737"/>
                <a:gd name="connsiteX34" fmla="*/ 58621 w 86553"/>
                <a:gd name="connsiteY34" fmla="*/ 17704 h 15737"/>
                <a:gd name="connsiteX35" fmla="*/ 61768 w 86553"/>
                <a:gd name="connsiteY35" fmla="*/ 18098 h 15737"/>
                <a:gd name="connsiteX36" fmla="*/ 64915 w 86553"/>
                <a:gd name="connsiteY36" fmla="*/ 18098 h 15737"/>
                <a:gd name="connsiteX37" fmla="*/ 68063 w 86553"/>
                <a:gd name="connsiteY37" fmla="*/ 18098 h 15737"/>
                <a:gd name="connsiteX38" fmla="*/ 71210 w 86553"/>
                <a:gd name="connsiteY38" fmla="*/ 18491 h 15737"/>
                <a:gd name="connsiteX39" fmla="*/ 74751 w 86553"/>
                <a:gd name="connsiteY39" fmla="*/ 18884 h 15737"/>
                <a:gd name="connsiteX40" fmla="*/ 77899 w 86553"/>
                <a:gd name="connsiteY40" fmla="*/ 19278 h 15737"/>
                <a:gd name="connsiteX41" fmla="*/ 80652 w 86553"/>
                <a:gd name="connsiteY41" fmla="*/ 19278 h 15737"/>
                <a:gd name="connsiteX42" fmla="*/ 83800 w 86553"/>
                <a:gd name="connsiteY42" fmla="*/ 19278 h 15737"/>
                <a:gd name="connsiteX43" fmla="*/ 86947 w 86553"/>
                <a:gd name="connsiteY43" fmla="*/ 18884 h 15737"/>
                <a:gd name="connsiteX44" fmla="*/ 83800 w 86553"/>
                <a:gd name="connsiteY44" fmla="*/ 17311 h 15737"/>
                <a:gd name="connsiteX45" fmla="*/ 81046 w 86553"/>
                <a:gd name="connsiteY45" fmla="*/ 15344 h 15737"/>
                <a:gd name="connsiteX46" fmla="*/ 77899 w 86553"/>
                <a:gd name="connsiteY46" fmla="*/ 12590 h 15737"/>
                <a:gd name="connsiteX47" fmla="*/ 74751 w 86553"/>
                <a:gd name="connsiteY47" fmla="*/ 11016 h 15737"/>
                <a:gd name="connsiteX48" fmla="*/ 71997 w 86553"/>
                <a:gd name="connsiteY48" fmla="*/ 10229 h 15737"/>
                <a:gd name="connsiteX49" fmla="*/ 68850 w 86553"/>
                <a:gd name="connsiteY49" fmla="*/ 9049 h 15737"/>
                <a:gd name="connsiteX50" fmla="*/ 65703 w 86553"/>
                <a:gd name="connsiteY50" fmla="*/ 8262 h 15737"/>
                <a:gd name="connsiteX51" fmla="*/ 62555 w 86553"/>
                <a:gd name="connsiteY51" fmla="*/ 7475 h 15737"/>
                <a:gd name="connsiteX52" fmla="*/ 59407 w 86553"/>
                <a:gd name="connsiteY52" fmla="*/ 6688 h 15737"/>
                <a:gd name="connsiteX53" fmla="*/ 56260 w 86553"/>
                <a:gd name="connsiteY53" fmla="*/ 5901 h 15737"/>
                <a:gd name="connsiteX54" fmla="*/ 52719 w 86553"/>
                <a:gd name="connsiteY54" fmla="*/ 5115 h 15737"/>
                <a:gd name="connsiteX55" fmla="*/ 49572 w 86553"/>
                <a:gd name="connsiteY55" fmla="*/ 3934 h 15737"/>
                <a:gd name="connsiteX56" fmla="*/ 43277 w 86553"/>
                <a:gd name="connsiteY56" fmla="*/ 2361 h 15737"/>
                <a:gd name="connsiteX57" fmla="*/ 40130 w 86553"/>
                <a:gd name="connsiteY57" fmla="*/ 1967 h 15737"/>
                <a:gd name="connsiteX58" fmla="*/ 37376 w 86553"/>
                <a:gd name="connsiteY58" fmla="*/ 1574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86553" h="15737">
                  <a:moveTo>
                    <a:pt x="34228" y="1180"/>
                  </a:moveTo>
                  <a:lnTo>
                    <a:pt x="31081" y="0"/>
                  </a:lnTo>
                  <a:lnTo>
                    <a:pt x="24786" y="0"/>
                  </a:lnTo>
                  <a:lnTo>
                    <a:pt x="21638" y="787"/>
                  </a:lnTo>
                  <a:lnTo>
                    <a:pt x="18885" y="1574"/>
                  </a:lnTo>
                  <a:lnTo>
                    <a:pt x="15737" y="1574"/>
                  </a:lnTo>
                  <a:lnTo>
                    <a:pt x="12590" y="1967"/>
                  </a:lnTo>
                  <a:lnTo>
                    <a:pt x="12196" y="4721"/>
                  </a:lnTo>
                  <a:lnTo>
                    <a:pt x="13770" y="7869"/>
                  </a:lnTo>
                  <a:lnTo>
                    <a:pt x="14163" y="10623"/>
                  </a:lnTo>
                  <a:lnTo>
                    <a:pt x="11016" y="12983"/>
                  </a:lnTo>
                  <a:lnTo>
                    <a:pt x="8262" y="12590"/>
                  </a:lnTo>
                  <a:lnTo>
                    <a:pt x="5901" y="12983"/>
                  </a:lnTo>
                  <a:lnTo>
                    <a:pt x="2754" y="12983"/>
                  </a:lnTo>
                  <a:lnTo>
                    <a:pt x="0" y="13377"/>
                  </a:lnTo>
                  <a:lnTo>
                    <a:pt x="2754" y="15344"/>
                  </a:lnTo>
                  <a:lnTo>
                    <a:pt x="5901" y="15737"/>
                  </a:lnTo>
                  <a:lnTo>
                    <a:pt x="9049" y="15344"/>
                  </a:lnTo>
                  <a:lnTo>
                    <a:pt x="9442" y="15344"/>
                  </a:lnTo>
                  <a:lnTo>
                    <a:pt x="12196" y="14163"/>
                  </a:lnTo>
                  <a:lnTo>
                    <a:pt x="14950" y="12983"/>
                  </a:lnTo>
                  <a:lnTo>
                    <a:pt x="18098" y="12983"/>
                  </a:lnTo>
                  <a:lnTo>
                    <a:pt x="21245" y="12983"/>
                  </a:lnTo>
                  <a:lnTo>
                    <a:pt x="24393" y="12983"/>
                  </a:lnTo>
                  <a:lnTo>
                    <a:pt x="27933" y="13770"/>
                  </a:lnTo>
                  <a:lnTo>
                    <a:pt x="30687" y="14163"/>
                  </a:lnTo>
                  <a:lnTo>
                    <a:pt x="34228" y="14950"/>
                  </a:lnTo>
                  <a:lnTo>
                    <a:pt x="37376" y="15344"/>
                  </a:lnTo>
                  <a:lnTo>
                    <a:pt x="40523" y="16130"/>
                  </a:lnTo>
                  <a:lnTo>
                    <a:pt x="43277" y="16524"/>
                  </a:lnTo>
                  <a:lnTo>
                    <a:pt x="46425" y="16917"/>
                  </a:lnTo>
                  <a:lnTo>
                    <a:pt x="49572" y="17311"/>
                  </a:lnTo>
                  <a:lnTo>
                    <a:pt x="52326" y="17311"/>
                  </a:lnTo>
                  <a:lnTo>
                    <a:pt x="55473" y="17311"/>
                  </a:lnTo>
                  <a:lnTo>
                    <a:pt x="58621" y="17704"/>
                  </a:lnTo>
                  <a:lnTo>
                    <a:pt x="61768" y="18098"/>
                  </a:lnTo>
                  <a:lnTo>
                    <a:pt x="64915" y="18098"/>
                  </a:lnTo>
                  <a:lnTo>
                    <a:pt x="68063" y="18098"/>
                  </a:lnTo>
                  <a:lnTo>
                    <a:pt x="71210" y="18491"/>
                  </a:lnTo>
                  <a:lnTo>
                    <a:pt x="74751" y="18884"/>
                  </a:lnTo>
                  <a:lnTo>
                    <a:pt x="77899" y="19278"/>
                  </a:lnTo>
                  <a:lnTo>
                    <a:pt x="80652" y="19278"/>
                  </a:lnTo>
                  <a:lnTo>
                    <a:pt x="83800" y="19278"/>
                  </a:lnTo>
                  <a:lnTo>
                    <a:pt x="86947" y="18884"/>
                  </a:lnTo>
                  <a:lnTo>
                    <a:pt x="83800" y="17311"/>
                  </a:lnTo>
                  <a:lnTo>
                    <a:pt x="81046" y="15344"/>
                  </a:lnTo>
                  <a:lnTo>
                    <a:pt x="77899" y="12590"/>
                  </a:lnTo>
                  <a:lnTo>
                    <a:pt x="74751" y="11016"/>
                  </a:lnTo>
                  <a:lnTo>
                    <a:pt x="71997" y="10229"/>
                  </a:lnTo>
                  <a:lnTo>
                    <a:pt x="68850" y="9049"/>
                  </a:lnTo>
                  <a:lnTo>
                    <a:pt x="65703" y="8262"/>
                  </a:lnTo>
                  <a:lnTo>
                    <a:pt x="62555" y="7475"/>
                  </a:lnTo>
                  <a:lnTo>
                    <a:pt x="59407" y="6688"/>
                  </a:lnTo>
                  <a:lnTo>
                    <a:pt x="56260" y="5901"/>
                  </a:lnTo>
                  <a:lnTo>
                    <a:pt x="52719" y="5115"/>
                  </a:lnTo>
                  <a:lnTo>
                    <a:pt x="49572" y="3934"/>
                  </a:lnTo>
                  <a:lnTo>
                    <a:pt x="43277" y="2361"/>
                  </a:lnTo>
                  <a:lnTo>
                    <a:pt x="40130" y="1967"/>
                  </a:lnTo>
                  <a:lnTo>
                    <a:pt x="37376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22" name="Freeform: Shape 3316">
              <a:extLst>
                <a:ext uri="{FF2B5EF4-FFF2-40B4-BE49-F238E27FC236}">
                  <a16:creationId xmlns:a16="http://schemas.microsoft.com/office/drawing/2014/main" id="{1321992D-F8EB-4675-9391-AC947CD35C81}"/>
                </a:ext>
              </a:extLst>
            </p:cNvPr>
            <p:cNvSpPr/>
            <p:nvPr/>
          </p:nvSpPr>
          <p:spPr>
            <a:xfrm>
              <a:off x="9081320" y="1257722"/>
              <a:ext cx="110159" cy="19671"/>
            </a:xfrm>
            <a:custGeom>
              <a:avLst/>
              <a:gdLst>
                <a:gd name="connsiteX0" fmla="*/ 5901 w 110159"/>
                <a:gd name="connsiteY0" fmla="*/ 393 h 19671"/>
                <a:gd name="connsiteX1" fmla="*/ 2754 w 110159"/>
                <a:gd name="connsiteY1" fmla="*/ 0 h 19671"/>
                <a:gd name="connsiteX2" fmla="*/ 0 w 110159"/>
                <a:gd name="connsiteY2" fmla="*/ 393 h 19671"/>
                <a:gd name="connsiteX3" fmla="*/ 2754 w 110159"/>
                <a:gd name="connsiteY3" fmla="*/ 2361 h 19671"/>
                <a:gd name="connsiteX4" fmla="*/ 3147 w 110159"/>
                <a:gd name="connsiteY4" fmla="*/ 5115 h 19671"/>
                <a:gd name="connsiteX5" fmla="*/ 6688 w 110159"/>
                <a:gd name="connsiteY5" fmla="*/ 7082 h 19671"/>
                <a:gd name="connsiteX6" fmla="*/ 9836 w 110159"/>
                <a:gd name="connsiteY6" fmla="*/ 9442 h 19671"/>
                <a:gd name="connsiteX7" fmla="*/ 12983 w 110159"/>
                <a:gd name="connsiteY7" fmla="*/ 10229 h 19671"/>
                <a:gd name="connsiteX8" fmla="*/ 15737 w 110159"/>
                <a:gd name="connsiteY8" fmla="*/ 10622 h 19671"/>
                <a:gd name="connsiteX9" fmla="*/ 18884 w 110159"/>
                <a:gd name="connsiteY9" fmla="*/ 11016 h 19671"/>
                <a:gd name="connsiteX10" fmla="*/ 22425 w 110159"/>
                <a:gd name="connsiteY10" fmla="*/ 11409 h 19671"/>
                <a:gd name="connsiteX11" fmla="*/ 25573 w 110159"/>
                <a:gd name="connsiteY11" fmla="*/ 12196 h 19671"/>
                <a:gd name="connsiteX12" fmla="*/ 28720 w 110159"/>
                <a:gd name="connsiteY12" fmla="*/ 12590 h 19671"/>
                <a:gd name="connsiteX13" fmla="*/ 31867 w 110159"/>
                <a:gd name="connsiteY13" fmla="*/ 13376 h 19671"/>
                <a:gd name="connsiteX14" fmla="*/ 35408 w 110159"/>
                <a:gd name="connsiteY14" fmla="*/ 14163 h 19671"/>
                <a:gd name="connsiteX15" fmla="*/ 38556 w 110159"/>
                <a:gd name="connsiteY15" fmla="*/ 14950 h 19671"/>
                <a:gd name="connsiteX16" fmla="*/ 41310 w 110159"/>
                <a:gd name="connsiteY16" fmla="*/ 15344 h 19671"/>
                <a:gd name="connsiteX17" fmla="*/ 44457 w 110159"/>
                <a:gd name="connsiteY17" fmla="*/ 15737 h 19671"/>
                <a:gd name="connsiteX18" fmla="*/ 47211 w 110159"/>
                <a:gd name="connsiteY18" fmla="*/ 15737 h 19671"/>
                <a:gd name="connsiteX19" fmla="*/ 50752 w 110159"/>
                <a:gd name="connsiteY19" fmla="*/ 16524 h 19671"/>
                <a:gd name="connsiteX20" fmla="*/ 53899 w 110159"/>
                <a:gd name="connsiteY20" fmla="*/ 17311 h 19671"/>
                <a:gd name="connsiteX21" fmla="*/ 57440 w 110159"/>
                <a:gd name="connsiteY21" fmla="*/ 18098 h 19671"/>
                <a:gd name="connsiteX22" fmla="*/ 60194 w 110159"/>
                <a:gd name="connsiteY22" fmla="*/ 18491 h 19671"/>
                <a:gd name="connsiteX23" fmla="*/ 63342 w 110159"/>
                <a:gd name="connsiteY23" fmla="*/ 19278 h 19671"/>
                <a:gd name="connsiteX24" fmla="*/ 66489 w 110159"/>
                <a:gd name="connsiteY24" fmla="*/ 20065 h 19671"/>
                <a:gd name="connsiteX25" fmla="*/ 69636 w 110159"/>
                <a:gd name="connsiteY25" fmla="*/ 20458 h 19671"/>
                <a:gd name="connsiteX26" fmla="*/ 72784 w 110159"/>
                <a:gd name="connsiteY26" fmla="*/ 20458 h 19671"/>
                <a:gd name="connsiteX27" fmla="*/ 78685 w 110159"/>
                <a:gd name="connsiteY27" fmla="*/ 21245 h 19671"/>
                <a:gd name="connsiteX28" fmla="*/ 88521 w 110159"/>
                <a:gd name="connsiteY28" fmla="*/ 21245 h 19671"/>
                <a:gd name="connsiteX29" fmla="*/ 95996 w 110159"/>
                <a:gd name="connsiteY29" fmla="*/ 21245 h 19671"/>
                <a:gd name="connsiteX30" fmla="*/ 99143 w 110159"/>
                <a:gd name="connsiteY30" fmla="*/ 20458 h 19671"/>
                <a:gd name="connsiteX31" fmla="*/ 102291 w 110159"/>
                <a:gd name="connsiteY31" fmla="*/ 19278 h 19671"/>
                <a:gd name="connsiteX32" fmla="*/ 105438 w 110159"/>
                <a:gd name="connsiteY32" fmla="*/ 18491 h 19671"/>
                <a:gd name="connsiteX33" fmla="*/ 108585 w 110159"/>
                <a:gd name="connsiteY33" fmla="*/ 18098 h 19671"/>
                <a:gd name="connsiteX34" fmla="*/ 111733 w 110159"/>
                <a:gd name="connsiteY34" fmla="*/ 16130 h 19671"/>
                <a:gd name="connsiteX35" fmla="*/ 108585 w 110159"/>
                <a:gd name="connsiteY35" fmla="*/ 14163 h 19671"/>
                <a:gd name="connsiteX36" fmla="*/ 108979 w 110159"/>
                <a:gd name="connsiteY36" fmla="*/ 11409 h 19671"/>
                <a:gd name="connsiteX37" fmla="*/ 106225 w 110159"/>
                <a:gd name="connsiteY37" fmla="*/ 10622 h 19671"/>
                <a:gd name="connsiteX38" fmla="*/ 102684 w 110159"/>
                <a:gd name="connsiteY38" fmla="*/ 12196 h 19671"/>
                <a:gd name="connsiteX39" fmla="*/ 99930 w 110159"/>
                <a:gd name="connsiteY39" fmla="*/ 11409 h 19671"/>
                <a:gd name="connsiteX40" fmla="*/ 97176 w 110159"/>
                <a:gd name="connsiteY40" fmla="*/ 11016 h 19671"/>
                <a:gd name="connsiteX41" fmla="*/ 93635 w 110159"/>
                <a:gd name="connsiteY41" fmla="*/ 10622 h 19671"/>
                <a:gd name="connsiteX42" fmla="*/ 90881 w 110159"/>
                <a:gd name="connsiteY42" fmla="*/ 9442 h 19671"/>
                <a:gd name="connsiteX43" fmla="*/ 87340 w 110159"/>
                <a:gd name="connsiteY43" fmla="*/ 8655 h 19671"/>
                <a:gd name="connsiteX44" fmla="*/ 84587 w 110159"/>
                <a:gd name="connsiteY44" fmla="*/ 8655 h 19671"/>
                <a:gd name="connsiteX45" fmla="*/ 81046 w 110159"/>
                <a:gd name="connsiteY45" fmla="*/ 8262 h 19671"/>
                <a:gd name="connsiteX46" fmla="*/ 77898 w 110159"/>
                <a:gd name="connsiteY46" fmla="*/ 8262 h 19671"/>
                <a:gd name="connsiteX47" fmla="*/ 74751 w 110159"/>
                <a:gd name="connsiteY47" fmla="*/ 7869 h 19671"/>
                <a:gd name="connsiteX48" fmla="*/ 71603 w 110159"/>
                <a:gd name="connsiteY48" fmla="*/ 7475 h 19671"/>
                <a:gd name="connsiteX49" fmla="*/ 68456 w 110159"/>
                <a:gd name="connsiteY49" fmla="*/ 7869 h 19671"/>
                <a:gd name="connsiteX50" fmla="*/ 65309 w 110159"/>
                <a:gd name="connsiteY50" fmla="*/ 8262 h 19671"/>
                <a:gd name="connsiteX51" fmla="*/ 62554 w 110159"/>
                <a:gd name="connsiteY51" fmla="*/ 9442 h 19671"/>
                <a:gd name="connsiteX52" fmla="*/ 59407 w 110159"/>
                <a:gd name="connsiteY52" fmla="*/ 9049 h 19671"/>
                <a:gd name="connsiteX53" fmla="*/ 56260 w 110159"/>
                <a:gd name="connsiteY53" fmla="*/ 8262 h 19671"/>
                <a:gd name="connsiteX54" fmla="*/ 53506 w 110159"/>
                <a:gd name="connsiteY54" fmla="*/ 7475 h 19671"/>
                <a:gd name="connsiteX55" fmla="*/ 50358 w 110159"/>
                <a:gd name="connsiteY55" fmla="*/ 4721 h 19671"/>
                <a:gd name="connsiteX56" fmla="*/ 47211 w 110159"/>
                <a:gd name="connsiteY56" fmla="*/ 4328 h 19671"/>
                <a:gd name="connsiteX57" fmla="*/ 43670 w 110159"/>
                <a:gd name="connsiteY57" fmla="*/ 3934 h 19671"/>
                <a:gd name="connsiteX58" fmla="*/ 40916 w 110159"/>
                <a:gd name="connsiteY58" fmla="*/ 4328 h 19671"/>
                <a:gd name="connsiteX59" fmla="*/ 37769 w 110159"/>
                <a:gd name="connsiteY59" fmla="*/ 3934 h 19671"/>
                <a:gd name="connsiteX60" fmla="*/ 34621 w 110159"/>
                <a:gd name="connsiteY60" fmla="*/ 3934 h 19671"/>
                <a:gd name="connsiteX61" fmla="*/ 31867 w 110159"/>
                <a:gd name="connsiteY61" fmla="*/ 3147 h 19671"/>
                <a:gd name="connsiteX62" fmla="*/ 28720 w 110159"/>
                <a:gd name="connsiteY62" fmla="*/ 3147 h 19671"/>
                <a:gd name="connsiteX63" fmla="*/ 25966 w 110159"/>
                <a:gd name="connsiteY63" fmla="*/ 5901 h 19671"/>
                <a:gd name="connsiteX64" fmla="*/ 22818 w 110159"/>
                <a:gd name="connsiteY64" fmla="*/ 6295 h 19671"/>
                <a:gd name="connsiteX65" fmla="*/ 19278 w 110159"/>
                <a:gd name="connsiteY65" fmla="*/ 5508 h 19671"/>
                <a:gd name="connsiteX66" fmla="*/ 16524 w 110159"/>
                <a:gd name="connsiteY66" fmla="*/ 5115 h 19671"/>
                <a:gd name="connsiteX67" fmla="*/ 12589 w 110159"/>
                <a:gd name="connsiteY67" fmla="*/ 4328 h 19671"/>
                <a:gd name="connsiteX68" fmla="*/ 9442 w 110159"/>
                <a:gd name="connsiteY68" fmla="*/ 1574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110159" h="19671">
                  <a:moveTo>
                    <a:pt x="5901" y="393"/>
                  </a:moveTo>
                  <a:lnTo>
                    <a:pt x="2754" y="0"/>
                  </a:lnTo>
                  <a:lnTo>
                    <a:pt x="0" y="393"/>
                  </a:lnTo>
                  <a:lnTo>
                    <a:pt x="2754" y="2361"/>
                  </a:lnTo>
                  <a:lnTo>
                    <a:pt x="3147" y="5115"/>
                  </a:lnTo>
                  <a:lnTo>
                    <a:pt x="6688" y="7082"/>
                  </a:lnTo>
                  <a:lnTo>
                    <a:pt x="9836" y="9442"/>
                  </a:lnTo>
                  <a:lnTo>
                    <a:pt x="12983" y="10229"/>
                  </a:lnTo>
                  <a:lnTo>
                    <a:pt x="15737" y="10622"/>
                  </a:lnTo>
                  <a:lnTo>
                    <a:pt x="18884" y="11016"/>
                  </a:lnTo>
                  <a:lnTo>
                    <a:pt x="22425" y="11409"/>
                  </a:lnTo>
                  <a:lnTo>
                    <a:pt x="25573" y="12196"/>
                  </a:lnTo>
                  <a:lnTo>
                    <a:pt x="28720" y="12590"/>
                  </a:lnTo>
                  <a:lnTo>
                    <a:pt x="31867" y="13376"/>
                  </a:lnTo>
                  <a:lnTo>
                    <a:pt x="35408" y="14163"/>
                  </a:lnTo>
                  <a:lnTo>
                    <a:pt x="38556" y="14950"/>
                  </a:lnTo>
                  <a:lnTo>
                    <a:pt x="41310" y="15344"/>
                  </a:lnTo>
                  <a:lnTo>
                    <a:pt x="44457" y="15737"/>
                  </a:lnTo>
                  <a:lnTo>
                    <a:pt x="47211" y="15737"/>
                  </a:lnTo>
                  <a:lnTo>
                    <a:pt x="50752" y="16524"/>
                  </a:lnTo>
                  <a:lnTo>
                    <a:pt x="53899" y="17311"/>
                  </a:lnTo>
                  <a:lnTo>
                    <a:pt x="57440" y="18098"/>
                  </a:lnTo>
                  <a:lnTo>
                    <a:pt x="60194" y="18491"/>
                  </a:lnTo>
                  <a:lnTo>
                    <a:pt x="63342" y="19278"/>
                  </a:lnTo>
                  <a:lnTo>
                    <a:pt x="66489" y="20065"/>
                  </a:lnTo>
                  <a:lnTo>
                    <a:pt x="69636" y="20458"/>
                  </a:lnTo>
                  <a:lnTo>
                    <a:pt x="72784" y="20458"/>
                  </a:lnTo>
                  <a:lnTo>
                    <a:pt x="78685" y="21245"/>
                  </a:lnTo>
                  <a:lnTo>
                    <a:pt x="88521" y="21245"/>
                  </a:lnTo>
                  <a:lnTo>
                    <a:pt x="95996" y="21245"/>
                  </a:lnTo>
                  <a:lnTo>
                    <a:pt x="99143" y="20458"/>
                  </a:lnTo>
                  <a:lnTo>
                    <a:pt x="102291" y="19278"/>
                  </a:lnTo>
                  <a:lnTo>
                    <a:pt x="105438" y="18491"/>
                  </a:lnTo>
                  <a:lnTo>
                    <a:pt x="108585" y="18098"/>
                  </a:lnTo>
                  <a:lnTo>
                    <a:pt x="111733" y="16130"/>
                  </a:lnTo>
                  <a:lnTo>
                    <a:pt x="108585" y="14163"/>
                  </a:lnTo>
                  <a:lnTo>
                    <a:pt x="108979" y="11409"/>
                  </a:lnTo>
                  <a:lnTo>
                    <a:pt x="106225" y="10622"/>
                  </a:lnTo>
                  <a:lnTo>
                    <a:pt x="102684" y="12196"/>
                  </a:lnTo>
                  <a:lnTo>
                    <a:pt x="99930" y="11409"/>
                  </a:lnTo>
                  <a:lnTo>
                    <a:pt x="97176" y="11016"/>
                  </a:lnTo>
                  <a:lnTo>
                    <a:pt x="93635" y="10622"/>
                  </a:lnTo>
                  <a:lnTo>
                    <a:pt x="90881" y="9442"/>
                  </a:lnTo>
                  <a:lnTo>
                    <a:pt x="87340" y="8655"/>
                  </a:lnTo>
                  <a:lnTo>
                    <a:pt x="84587" y="8655"/>
                  </a:lnTo>
                  <a:lnTo>
                    <a:pt x="81046" y="8262"/>
                  </a:lnTo>
                  <a:lnTo>
                    <a:pt x="77898" y="8262"/>
                  </a:lnTo>
                  <a:lnTo>
                    <a:pt x="74751" y="7869"/>
                  </a:lnTo>
                  <a:lnTo>
                    <a:pt x="71603" y="7475"/>
                  </a:lnTo>
                  <a:lnTo>
                    <a:pt x="68456" y="7869"/>
                  </a:lnTo>
                  <a:lnTo>
                    <a:pt x="65309" y="8262"/>
                  </a:lnTo>
                  <a:lnTo>
                    <a:pt x="62554" y="9442"/>
                  </a:lnTo>
                  <a:lnTo>
                    <a:pt x="59407" y="9049"/>
                  </a:lnTo>
                  <a:lnTo>
                    <a:pt x="56260" y="8262"/>
                  </a:lnTo>
                  <a:lnTo>
                    <a:pt x="53506" y="7475"/>
                  </a:lnTo>
                  <a:lnTo>
                    <a:pt x="50358" y="4721"/>
                  </a:lnTo>
                  <a:lnTo>
                    <a:pt x="47211" y="4328"/>
                  </a:lnTo>
                  <a:lnTo>
                    <a:pt x="43670" y="3934"/>
                  </a:lnTo>
                  <a:lnTo>
                    <a:pt x="40916" y="4328"/>
                  </a:lnTo>
                  <a:lnTo>
                    <a:pt x="37769" y="3934"/>
                  </a:lnTo>
                  <a:lnTo>
                    <a:pt x="34621" y="3934"/>
                  </a:lnTo>
                  <a:lnTo>
                    <a:pt x="31867" y="3147"/>
                  </a:lnTo>
                  <a:lnTo>
                    <a:pt x="28720" y="3147"/>
                  </a:lnTo>
                  <a:lnTo>
                    <a:pt x="25966" y="5901"/>
                  </a:lnTo>
                  <a:lnTo>
                    <a:pt x="22818" y="6295"/>
                  </a:lnTo>
                  <a:lnTo>
                    <a:pt x="19278" y="5508"/>
                  </a:lnTo>
                  <a:lnTo>
                    <a:pt x="16524" y="5115"/>
                  </a:lnTo>
                  <a:lnTo>
                    <a:pt x="12589" y="4328"/>
                  </a:lnTo>
                  <a:lnTo>
                    <a:pt x="9442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23" name="Freeform: Shape 3317">
              <a:extLst>
                <a:ext uri="{FF2B5EF4-FFF2-40B4-BE49-F238E27FC236}">
                  <a16:creationId xmlns:a16="http://schemas.microsoft.com/office/drawing/2014/main" id="{AE7F3D03-369B-4D9F-8303-7C54E1164B34}"/>
                </a:ext>
              </a:extLst>
            </p:cNvPr>
            <p:cNvSpPr/>
            <p:nvPr/>
          </p:nvSpPr>
          <p:spPr>
            <a:xfrm>
              <a:off x="6222290" y="1671607"/>
              <a:ext cx="3934" cy="3934"/>
            </a:xfrm>
            <a:custGeom>
              <a:avLst/>
              <a:gdLst>
                <a:gd name="connsiteX0" fmla="*/ 2754 w 0"/>
                <a:gd name="connsiteY0" fmla="*/ 1967 h 0"/>
                <a:gd name="connsiteX1" fmla="*/ 0 w 0"/>
                <a:gd name="connsiteY1" fmla="*/ 0 h 0"/>
                <a:gd name="connsiteX2" fmla="*/ 0 w 0"/>
                <a:gd name="connsiteY2" fmla="*/ 3147 h 0"/>
                <a:gd name="connsiteX3" fmla="*/ 3148 w 0"/>
                <a:gd name="connsiteY3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754" y="1967"/>
                  </a:moveTo>
                  <a:lnTo>
                    <a:pt x="0" y="0"/>
                  </a:lnTo>
                  <a:lnTo>
                    <a:pt x="0" y="3147"/>
                  </a:lnTo>
                  <a:lnTo>
                    <a:pt x="3148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24" name="Freeform: Shape 3318">
              <a:extLst>
                <a:ext uri="{FF2B5EF4-FFF2-40B4-BE49-F238E27FC236}">
                  <a16:creationId xmlns:a16="http://schemas.microsoft.com/office/drawing/2014/main" id="{E17D9849-4A4B-47E3-9F11-5BBE44A1DEDF}"/>
                </a:ext>
              </a:extLst>
            </p:cNvPr>
            <p:cNvSpPr/>
            <p:nvPr/>
          </p:nvSpPr>
          <p:spPr>
            <a:xfrm>
              <a:off x="6224257" y="1679475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78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25" name="Freeform: Shape 3319">
              <a:extLst>
                <a:ext uri="{FF2B5EF4-FFF2-40B4-BE49-F238E27FC236}">
                  <a16:creationId xmlns:a16="http://schemas.microsoft.com/office/drawing/2014/main" id="{5F5BE513-57B2-40F5-A029-A34B4864989B}"/>
                </a:ext>
              </a:extLst>
            </p:cNvPr>
            <p:cNvSpPr/>
            <p:nvPr/>
          </p:nvSpPr>
          <p:spPr>
            <a:xfrm>
              <a:off x="6224257" y="1690098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0 w 0"/>
                <a:gd name="connsiteY1" fmla="*/ 1180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0" y="118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26" name="Freeform: Shape 3320">
              <a:extLst>
                <a:ext uri="{FF2B5EF4-FFF2-40B4-BE49-F238E27FC236}">
                  <a16:creationId xmlns:a16="http://schemas.microsoft.com/office/drawing/2014/main" id="{89CF0FC6-66A5-44CA-BBBC-FB274B932E40}"/>
                </a:ext>
              </a:extLst>
            </p:cNvPr>
            <p:cNvSpPr/>
            <p:nvPr/>
          </p:nvSpPr>
          <p:spPr>
            <a:xfrm>
              <a:off x="6224257" y="1692065"/>
              <a:ext cx="3934" cy="3934"/>
            </a:xfrm>
            <a:custGeom>
              <a:avLst/>
              <a:gdLst>
                <a:gd name="connsiteX0" fmla="*/ 2754 w 0"/>
                <a:gd name="connsiteY0" fmla="*/ 2754 h 0"/>
                <a:gd name="connsiteX1" fmla="*/ 393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754"/>
                  </a:moveTo>
                  <a:lnTo>
                    <a:pt x="393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27" name="Freeform: Shape 3321">
              <a:extLst>
                <a:ext uri="{FF2B5EF4-FFF2-40B4-BE49-F238E27FC236}">
                  <a16:creationId xmlns:a16="http://schemas.microsoft.com/office/drawing/2014/main" id="{8F40DB5B-7714-4ED6-BD35-4A0A73EB5912}"/>
                </a:ext>
              </a:extLst>
            </p:cNvPr>
            <p:cNvSpPr/>
            <p:nvPr/>
          </p:nvSpPr>
          <p:spPr>
            <a:xfrm>
              <a:off x="6223077" y="1695212"/>
              <a:ext cx="3934" cy="3934"/>
            </a:xfrm>
            <a:custGeom>
              <a:avLst/>
              <a:gdLst>
                <a:gd name="connsiteX0" fmla="*/ 787 w 3934"/>
                <a:gd name="connsiteY0" fmla="*/ 3147 h 3934"/>
                <a:gd name="connsiteX1" fmla="*/ 1180 w 3934"/>
                <a:gd name="connsiteY1" fmla="*/ 6295 h 3934"/>
                <a:gd name="connsiteX2" fmla="*/ 3934 w 3934"/>
                <a:gd name="connsiteY2" fmla="*/ 5901 h 3934"/>
                <a:gd name="connsiteX3" fmla="*/ 3540 w 3934"/>
                <a:gd name="connsiteY3" fmla="*/ 2754 h 3934"/>
                <a:gd name="connsiteX4" fmla="*/ 2754 w 3934"/>
                <a:gd name="connsiteY4" fmla="*/ 2361 h 3934"/>
                <a:gd name="connsiteX5" fmla="*/ 0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787" y="3147"/>
                  </a:moveTo>
                  <a:lnTo>
                    <a:pt x="1180" y="6295"/>
                  </a:lnTo>
                  <a:lnTo>
                    <a:pt x="3934" y="5901"/>
                  </a:lnTo>
                  <a:lnTo>
                    <a:pt x="3540" y="2754"/>
                  </a:lnTo>
                  <a:lnTo>
                    <a:pt x="2754" y="236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28" name="Freeform: Shape 3322">
              <a:extLst>
                <a:ext uri="{FF2B5EF4-FFF2-40B4-BE49-F238E27FC236}">
                  <a16:creationId xmlns:a16="http://schemas.microsoft.com/office/drawing/2014/main" id="{6F6C59A4-288A-49BA-8CB1-DCAB8966D2B3}"/>
                </a:ext>
              </a:extLst>
            </p:cNvPr>
            <p:cNvSpPr/>
            <p:nvPr/>
          </p:nvSpPr>
          <p:spPr>
            <a:xfrm>
              <a:off x="6063739" y="1689704"/>
              <a:ext cx="11803" cy="19671"/>
            </a:xfrm>
            <a:custGeom>
              <a:avLst/>
              <a:gdLst>
                <a:gd name="connsiteX0" fmla="*/ 3540 w 11802"/>
                <a:gd name="connsiteY0" fmla="*/ 11803 h 19671"/>
                <a:gd name="connsiteX1" fmla="*/ 6688 w 11802"/>
                <a:gd name="connsiteY1" fmla="*/ 12983 h 19671"/>
                <a:gd name="connsiteX2" fmla="*/ 8262 w 11802"/>
                <a:gd name="connsiteY2" fmla="*/ 14950 h 19671"/>
                <a:gd name="connsiteX3" fmla="*/ 7081 w 11802"/>
                <a:gd name="connsiteY3" fmla="*/ 19278 h 19671"/>
                <a:gd name="connsiteX4" fmla="*/ 5508 w 11802"/>
                <a:gd name="connsiteY4" fmla="*/ 22425 h 19671"/>
                <a:gd name="connsiteX5" fmla="*/ 8655 w 11802"/>
                <a:gd name="connsiteY5" fmla="*/ 21638 h 19671"/>
                <a:gd name="connsiteX6" fmla="*/ 10229 w 11802"/>
                <a:gd name="connsiteY6" fmla="*/ 19278 h 19671"/>
                <a:gd name="connsiteX7" fmla="*/ 10622 w 11802"/>
                <a:gd name="connsiteY7" fmla="*/ 16524 h 19671"/>
                <a:gd name="connsiteX8" fmla="*/ 12196 w 11802"/>
                <a:gd name="connsiteY8" fmla="*/ 13377 h 19671"/>
                <a:gd name="connsiteX9" fmla="*/ 12983 w 11802"/>
                <a:gd name="connsiteY9" fmla="*/ 10622 h 19671"/>
                <a:gd name="connsiteX10" fmla="*/ 14557 w 11802"/>
                <a:gd name="connsiteY10" fmla="*/ 7869 h 19671"/>
                <a:gd name="connsiteX11" fmla="*/ 11409 w 11802"/>
                <a:gd name="connsiteY11" fmla="*/ 6688 h 19671"/>
                <a:gd name="connsiteX12" fmla="*/ 11409 w 11802"/>
                <a:gd name="connsiteY12" fmla="*/ 3934 h 19671"/>
                <a:gd name="connsiteX13" fmla="*/ 8655 w 11802"/>
                <a:gd name="connsiteY13" fmla="*/ 5901 h 19671"/>
                <a:gd name="connsiteX14" fmla="*/ 8655 w 11802"/>
                <a:gd name="connsiteY14" fmla="*/ 3147 h 19671"/>
                <a:gd name="connsiteX15" fmla="*/ 9836 w 11802"/>
                <a:gd name="connsiteY15" fmla="*/ 0 h 19671"/>
                <a:gd name="connsiteX16" fmla="*/ 6688 w 11802"/>
                <a:gd name="connsiteY16" fmla="*/ 393 h 19671"/>
                <a:gd name="connsiteX17" fmla="*/ 5901 w 11802"/>
                <a:gd name="connsiteY17" fmla="*/ 3147 h 19671"/>
                <a:gd name="connsiteX18" fmla="*/ 3147 w 11802"/>
                <a:gd name="connsiteY18" fmla="*/ 3147 h 19671"/>
                <a:gd name="connsiteX19" fmla="*/ 5901 w 11802"/>
                <a:gd name="connsiteY19" fmla="*/ 6295 h 19671"/>
                <a:gd name="connsiteX20" fmla="*/ 8655 w 11802"/>
                <a:gd name="connsiteY20" fmla="*/ 7869 h 19671"/>
                <a:gd name="connsiteX21" fmla="*/ 5508 w 11802"/>
                <a:gd name="connsiteY21" fmla="*/ 9442 h 19671"/>
                <a:gd name="connsiteX22" fmla="*/ 2754 w 11802"/>
                <a:gd name="connsiteY22" fmla="*/ 9836 h 19671"/>
                <a:gd name="connsiteX23" fmla="*/ 0 w 11802"/>
                <a:gd name="connsiteY23" fmla="*/ 9836 h 19671"/>
                <a:gd name="connsiteX24" fmla="*/ 393 w 11802"/>
                <a:gd name="connsiteY24" fmla="*/ 12590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802" h="19671">
                  <a:moveTo>
                    <a:pt x="3540" y="11803"/>
                  </a:moveTo>
                  <a:lnTo>
                    <a:pt x="6688" y="12983"/>
                  </a:lnTo>
                  <a:lnTo>
                    <a:pt x="8262" y="14950"/>
                  </a:lnTo>
                  <a:lnTo>
                    <a:pt x="7081" y="19278"/>
                  </a:lnTo>
                  <a:lnTo>
                    <a:pt x="5508" y="22425"/>
                  </a:lnTo>
                  <a:lnTo>
                    <a:pt x="8655" y="21638"/>
                  </a:lnTo>
                  <a:lnTo>
                    <a:pt x="10229" y="19278"/>
                  </a:lnTo>
                  <a:lnTo>
                    <a:pt x="10622" y="16524"/>
                  </a:lnTo>
                  <a:lnTo>
                    <a:pt x="12196" y="13377"/>
                  </a:lnTo>
                  <a:lnTo>
                    <a:pt x="12983" y="10622"/>
                  </a:lnTo>
                  <a:lnTo>
                    <a:pt x="14557" y="7869"/>
                  </a:lnTo>
                  <a:lnTo>
                    <a:pt x="11409" y="6688"/>
                  </a:lnTo>
                  <a:lnTo>
                    <a:pt x="11409" y="3934"/>
                  </a:lnTo>
                  <a:lnTo>
                    <a:pt x="8655" y="5901"/>
                  </a:lnTo>
                  <a:lnTo>
                    <a:pt x="8655" y="3147"/>
                  </a:lnTo>
                  <a:lnTo>
                    <a:pt x="9836" y="0"/>
                  </a:lnTo>
                  <a:lnTo>
                    <a:pt x="6688" y="393"/>
                  </a:lnTo>
                  <a:lnTo>
                    <a:pt x="5901" y="3147"/>
                  </a:lnTo>
                  <a:lnTo>
                    <a:pt x="3147" y="3147"/>
                  </a:lnTo>
                  <a:lnTo>
                    <a:pt x="5901" y="6295"/>
                  </a:lnTo>
                  <a:lnTo>
                    <a:pt x="8655" y="7869"/>
                  </a:lnTo>
                  <a:lnTo>
                    <a:pt x="5508" y="9442"/>
                  </a:lnTo>
                  <a:lnTo>
                    <a:pt x="2754" y="9836"/>
                  </a:lnTo>
                  <a:lnTo>
                    <a:pt x="0" y="9836"/>
                  </a:lnTo>
                  <a:lnTo>
                    <a:pt x="393" y="1259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29" name="Freeform: Shape 3323">
              <a:extLst>
                <a:ext uri="{FF2B5EF4-FFF2-40B4-BE49-F238E27FC236}">
                  <a16:creationId xmlns:a16="http://schemas.microsoft.com/office/drawing/2014/main" id="{DFDA6626-1E73-4BF2-97B2-F03153FE228E}"/>
                </a:ext>
              </a:extLst>
            </p:cNvPr>
            <p:cNvSpPr/>
            <p:nvPr/>
          </p:nvSpPr>
          <p:spPr>
            <a:xfrm>
              <a:off x="6076329" y="1687344"/>
              <a:ext cx="3934" cy="3934"/>
            </a:xfrm>
            <a:custGeom>
              <a:avLst/>
              <a:gdLst>
                <a:gd name="connsiteX0" fmla="*/ 3541 w 3934"/>
                <a:gd name="connsiteY0" fmla="*/ 3541 h 3934"/>
                <a:gd name="connsiteX1" fmla="*/ 4328 w 3934"/>
                <a:gd name="connsiteY1" fmla="*/ 787 h 3934"/>
                <a:gd name="connsiteX2" fmla="*/ 1180 w 3934"/>
                <a:gd name="connsiteY2" fmla="*/ 0 h 3934"/>
                <a:gd name="connsiteX3" fmla="*/ 1180 w 3934"/>
                <a:gd name="connsiteY3" fmla="*/ 2754 h 3934"/>
                <a:gd name="connsiteX4" fmla="*/ 0 w 3934"/>
                <a:gd name="connsiteY4" fmla="*/ 5508 h 3934"/>
                <a:gd name="connsiteX5" fmla="*/ 1180 w 3934"/>
                <a:gd name="connsiteY5" fmla="*/ 668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541" y="3541"/>
                  </a:moveTo>
                  <a:lnTo>
                    <a:pt x="4328" y="787"/>
                  </a:lnTo>
                  <a:lnTo>
                    <a:pt x="1180" y="0"/>
                  </a:lnTo>
                  <a:lnTo>
                    <a:pt x="1180" y="2754"/>
                  </a:lnTo>
                  <a:lnTo>
                    <a:pt x="0" y="5508"/>
                  </a:lnTo>
                  <a:lnTo>
                    <a:pt x="1180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30" name="Freeform: Shape 3324">
              <a:extLst>
                <a:ext uri="{FF2B5EF4-FFF2-40B4-BE49-F238E27FC236}">
                  <a16:creationId xmlns:a16="http://schemas.microsoft.com/office/drawing/2014/main" id="{3FF2D329-8CD5-4F94-AC88-2031FABBA205}"/>
                </a:ext>
              </a:extLst>
            </p:cNvPr>
            <p:cNvSpPr/>
            <p:nvPr/>
          </p:nvSpPr>
          <p:spPr>
            <a:xfrm>
              <a:off x="6083017" y="1689704"/>
              <a:ext cx="3934" cy="3934"/>
            </a:xfrm>
            <a:custGeom>
              <a:avLst/>
              <a:gdLst>
                <a:gd name="connsiteX0" fmla="*/ 394 w 0"/>
                <a:gd name="connsiteY0" fmla="*/ 1967 h 0"/>
                <a:gd name="connsiteX1" fmla="*/ 3148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1967"/>
                  </a:moveTo>
                  <a:lnTo>
                    <a:pt x="3148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31" name="Freeform: Shape 3325">
              <a:extLst>
                <a:ext uri="{FF2B5EF4-FFF2-40B4-BE49-F238E27FC236}">
                  <a16:creationId xmlns:a16="http://schemas.microsoft.com/office/drawing/2014/main" id="{4E0812BF-990F-490D-AEAF-B5F607D18ABA}"/>
                </a:ext>
              </a:extLst>
            </p:cNvPr>
            <p:cNvSpPr/>
            <p:nvPr/>
          </p:nvSpPr>
          <p:spPr>
            <a:xfrm>
              <a:off x="6081443" y="1684196"/>
              <a:ext cx="3934" cy="3934"/>
            </a:xfrm>
            <a:custGeom>
              <a:avLst/>
              <a:gdLst>
                <a:gd name="connsiteX0" fmla="*/ 3934 w 3934"/>
                <a:gd name="connsiteY0" fmla="*/ 1180 h 3934"/>
                <a:gd name="connsiteX1" fmla="*/ 1180 w 3934"/>
                <a:gd name="connsiteY1" fmla="*/ 0 h 3934"/>
                <a:gd name="connsiteX2" fmla="*/ 0 w 3934"/>
                <a:gd name="connsiteY2" fmla="*/ 2754 h 3934"/>
                <a:gd name="connsiteX3" fmla="*/ 3147 w 3934"/>
                <a:gd name="connsiteY3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3934" y="1180"/>
                  </a:moveTo>
                  <a:lnTo>
                    <a:pt x="1180" y="0"/>
                  </a:lnTo>
                  <a:lnTo>
                    <a:pt x="0" y="2754"/>
                  </a:lnTo>
                  <a:lnTo>
                    <a:pt x="3147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32" name="Freeform: Shape 3326">
              <a:extLst>
                <a:ext uri="{FF2B5EF4-FFF2-40B4-BE49-F238E27FC236}">
                  <a16:creationId xmlns:a16="http://schemas.microsoft.com/office/drawing/2014/main" id="{870F80DA-5B32-4A99-9448-F759BE317881}"/>
                </a:ext>
              </a:extLst>
            </p:cNvPr>
            <p:cNvSpPr/>
            <p:nvPr/>
          </p:nvSpPr>
          <p:spPr>
            <a:xfrm>
              <a:off x="9606937" y="139148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3148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33" name="Freeform: Shape 3327">
              <a:extLst>
                <a:ext uri="{FF2B5EF4-FFF2-40B4-BE49-F238E27FC236}">
                  <a16:creationId xmlns:a16="http://schemas.microsoft.com/office/drawing/2014/main" id="{F5F47EED-CD16-4908-BB6E-3A182A37E12B}"/>
                </a:ext>
              </a:extLst>
            </p:cNvPr>
            <p:cNvSpPr/>
            <p:nvPr/>
          </p:nvSpPr>
          <p:spPr>
            <a:xfrm>
              <a:off x="9938596" y="1365127"/>
              <a:ext cx="74751" cy="19671"/>
            </a:xfrm>
            <a:custGeom>
              <a:avLst/>
              <a:gdLst>
                <a:gd name="connsiteX0" fmla="*/ 1574 w 74751"/>
                <a:gd name="connsiteY0" fmla="*/ 15344 h 19671"/>
                <a:gd name="connsiteX1" fmla="*/ 4721 w 74751"/>
                <a:gd name="connsiteY1" fmla="*/ 17311 h 19671"/>
                <a:gd name="connsiteX2" fmla="*/ 7869 w 74751"/>
                <a:gd name="connsiteY2" fmla="*/ 18098 h 19671"/>
                <a:gd name="connsiteX3" fmla="*/ 10622 w 74751"/>
                <a:gd name="connsiteY3" fmla="*/ 19278 h 19671"/>
                <a:gd name="connsiteX4" fmla="*/ 13770 w 74751"/>
                <a:gd name="connsiteY4" fmla="*/ 21245 h 19671"/>
                <a:gd name="connsiteX5" fmla="*/ 16918 w 74751"/>
                <a:gd name="connsiteY5" fmla="*/ 22425 h 19671"/>
                <a:gd name="connsiteX6" fmla="*/ 20065 w 74751"/>
                <a:gd name="connsiteY6" fmla="*/ 20065 h 19671"/>
                <a:gd name="connsiteX7" fmla="*/ 23606 w 74751"/>
                <a:gd name="connsiteY7" fmla="*/ 19671 h 19671"/>
                <a:gd name="connsiteX8" fmla="*/ 26359 w 74751"/>
                <a:gd name="connsiteY8" fmla="*/ 20065 h 19671"/>
                <a:gd name="connsiteX9" fmla="*/ 29507 w 74751"/>
                <a:gd name="connsiteY9" fmla="*/ 20065 h 19671"/>
                <a:gd name="connsiteX10" fmla="*/ 32261 w 74751"/>
                <a:gd name="connsiteY10" fmla="*/ 17311 h 19671"/>
                <a:gd name="connsiteX11" fmla="*/ 33048 w 74751"/>
                <a:gd name="connsiteY11" fmla="*/ 16917 h 19671"/>
                <a:gd name="connsiteX12" fmla="*/ 34622 w 74751"/>
                <a:gd name="connsiteY12" fmla="*/ 16917 h 19671"/>
                <a:gd name="connsiteX13" fmla="*/ 38162 w 74751"/>
                <a:gd name="connsiteY13" fmla="*/ 17311 h 19671"/>
                <a:gd name="connsiteX14" fmla="*/ 41310 w 74751"/>
                <a:gd name="connsiteY14" fmla="*/ 18098 h 19671"/>
                <a:gd name="connsiteX15" fmla="*/ 44064 w 74751"/>
                <a:gd name="connsiteY15" fmla="*/ 18491 h 19671"/>
                <a:gd name="connsiteX16" fmla="*/ 47605 w 74751"/>
                <a:gd name="connsiteY16" fmla="*/ 19278 h 19671"/>
                <a:gd name="connsiteX17" fmla="*/ 50753 w 74751"/>
                <a:gd name="connsiteY17" fmla="*/ 19278 h 19671"/>
                <a:gd name="connsiteX18" fmla="*/ 53899 w 74751"/>
                <a:gd name="connsiteY18" fmla="*/ 19278 h 19671"/>
                <a:gd name="connsiteX19" fmla="*/ 57047 w 74751"/>
                <a:gd name="connsiteY19" fmla="*/ 18491 h 19671"/>
                <a:gd name="connsiteX20" fmla="*/ 60194 w 74751"/>
                <a:gd name="connsiteY20" fmla="*/ 17704 h 19671"/>
                <a:gd name="connsiteX21" fmla="*/ 63735 w 74751"/>
                <a:gd name="connsiteY21" fmla="*/ 17311 h 19671"/>
                <a:gd name="connsiteX22" fmla="*/ 66882 w 74751"/>
                <a:gd name="connsiteY22" fmla="*/ 16131 h 19671"/>
                <a:gd name="connsiteX23" fmla="*/ 69636 w 74751"/>
                <a:gd name="connsiteY23" fmla="*/ 16131 h 19671"/>
                <a:gd name="connsiteX24" fmla="*/ 72391 w 74751"/>
                <a:gd name="connsiteY24" fmla="*/ 15737 h 19671"/>
                <a:gd name="connsiteX25" fmla="*/ 75538 w 74751"/>
                <a:gd name="connsiteY25" fmla="*/ 15344 h 19671"/>
                <a:gd name="connsiteX26" fmla="*/ 78292 w 74751"/>
                <a:gd name="connsiteY26" fmla="*/ 12983 h 19671"/>
                <a:gd name="connsiteX27" fmla="*/ 75931 w 74751"/>
                <a:gd name="connsiteY27" fmla="*/ 10229 h 19671"/>
                <a:gd name="connsiteX28" fmla="*/ 72784 w 74751"/>
                <a:gd name="connsiteY28" fmla="*/ 9049 h 19671"/>
                <a:gd name="connsiteX29" fmla="*/ 69636 w 74751"/>
                <a:gd name="connsiteY29" fmla="*/ 8655 h 19671"/>
                <a:gd name="connsiteX30" fmla="*/ 66490 w 74751"/>
                <a:gd name="connsiteY30" fmla="*/ 7475 h 19671"/>
                <a:gd name="connsiteX31" fmla="*/ 63342 w 74751"/>
                <a:gd name="connsiteY31" fmla="*/ 6688 h 19671"/>
                <a:gd name="connsiteX32" fmla="*/ 59801 w 74751"/>
                <a:gd name="connsiteY32" fmla="*/ 5901 h 19671"/>
                <a:gd name="connsiteX33" fmla="*/ 56260 w 74751"/>
                <a:gd name="connsiteY33" fmla="*/ 5115 h 19671"/>
                <a:gd name="connsiteX34" fmla="*/ 53113 w 74751"/>
                <a:gd name="connsiteY34" fmla="*/ 3934 h 19671"/>
                <a:gd name="connsiteX35" fmla="*/ 49572 w 74751"/>
                <a:gd name="connsiteY35" fmla="*/ 3147 h 19671"/>
                <a:gd name="connsiteX36" fmla="*/ 46425 w 74751"/>
                <a:gd name="connsiteY36" fmla="*/ 2754 h 19671"/>
                <a:gd name="connsiteX37" fmla="*/ 43277 w 74751"/>
                <a:gd name="connsiteY37" fmla="*/ 1574 h 19671"/>
                <a:gd name="connsiteX38" fmla="*/ 40129 w 74751"/>
                <a:gd name="connsiteY38" fmla="*/ 1180 h 19671"/>
                <a:gd name="connsiteX39" fmla="*/ 36983 w 74751"/>
                <a:gd name="connsiteY39" fmla="*/ 787 h 19671"/>
                <a:gd name="connsiteX40" fmla="*/ 33835 w 74751"/>
                <a:gd name="connsiteY40" fmla="*/ 393 h 19671"/>
                <a:gd name="connsiteX41" fmla="*/ 30294 w 74751"/>
                <a:gd name="connsiteY41" fmla="*/ 0 h 19671"/>
                <a:gd name="connsiteX42" fmla="*/ 27147 w 74751"/>
                <a:gd name="connsiteY42" fmla="*/ 0 h 19671"/>
                <a:gd name="connsiteX43" fmla="*/ 23999 w 74751"/>
                <a:gd name="connsiteY43" fmla="*/ 1180 h 19671"/>
                <a:gd name="connsiteX44" fmla="*/ 20458 w 74751"/>
                <a:gd name="connsiteY44" fmla="*/ 1180 h 19671"/>
                <a:gd name="connsiteX45" fmla="*/ 17311 w 74751"/>
                <a:gd name="connsiteY45" fmla="*/ 1180 h 19671"/>
                <a:gd name="connsiteX46" fmla="*/ 14557 w 74751"/>
                <a:gd name="connsiteY46" fmla="*/ 393 h 19671"/>
                <a:gd name="connsiteX47" fmla="*/ 11410 w 74751"/>
                <a:gd name="connsiteY47" fmla="*/ 393 h 19671"/>
                <a:gd name="connsiteX48" fmla="*/ 8655 w 74751"/>
                <a:gd name="connsiteY48" fmla="*/ 1967 h 19671"/>
                <a:gd name="connsiteX49" fmla="*/ 5509 w 74751"/>
                <a:gd name="connsiteY49" fmla="*/ 3934 h 19671"/>
                <a:gd name="connsiteX50" fmla="*/ 2361 w 74751"/>
                <a:gd name="connsiteY50" fmla="*/ 7082 h 19671"/>
                <a:gd name="connsiteX51" fmla="*/ 0 w 74751"/>
                <a:gd name="connsiteY51" fmla="*/ 9836 h 19671"/>
                <a:gd name="connsiteX52" fmla="*/ 394 w 74751"/>
                <a:gd name="connsiteY52" fmla="*/ 12590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74751" h="19671">
                  <a:moveTo>
                    <a:pt x="1574" y="15344"/>
                  </a:moveTo>
                  <a:lnTo>
                    <a:pt x="4721" y="17311"/>
                  </a:lnTo>
                  <a:lnTo>
                    <a:pt x="7869" y="18098"/>
                  </a:lnTo>
                  <a:lnTo>
                    <a:pt x="10622" y="19278"/>
                  </a:lnTo>
                  <a:lnTo>
                    <a:pt x="13770" y="21245"/>
                  </a:lnTo>
                  <a:lnTo>
                    <a:pt x="16918" y="22425"/>
                  </a:lnTo>
                  <a:lnTo>
                    <a:pt x="20065" y="20065"/>
                  </a:lnTo>
                  <a:lnTo>
                    <a:pt x="23606" y="19671"/>
                  </a:lnTo>
                  <a:lnTo>
                    <a:pt x="26359" y="20065"/>
                  </a:lnTo>
                  <a:lnTo>
                    <a:pt x="29507" y="20065"/>
                  </a:lnTo>
                  <a:lnTo>
                    <a:pt x="32261" y="17311"/>
                  </a:lnTo>
                  <a:lnTo>
                    <a:pt x="33048" y="16917"/>
                  </a:lnTo>
                  <a:lnTo>
                    <a:pt x="34622" y="16917"/>
                  </a:lnTo>
                  <a:lnTo>
                    <a:pt x="38162" y="17311"/>
                  </a:lnTo>
                  <a:lnTo>
                    <a:pt x="41310" y="18098"/>
                  </a:lnTo>
                  <a:lnTo>
                    <a:pt x="44064" y="18491"/>
                  </a:lnTo>
                  <a:lnTo>
                    <a:pt x="47605" y="19278"/>
                  </a:lnTo>
                  <a:lnTo>
                    <a:pt x="50753" y="19278"/>
                  </a:lnTo>
                  <a:lnTo>
                    <a:pt x="53899" y="19278"/>
                  </a:lnTo>
                  <a:lnTo>
                    <a:pt x="57047" y="18491"/>
                  </a:lnTo>
                  <a:lnTo>
                    <a:pt x="60194" y="17704"/>
                  </a:lnTo>
                  <a:lnTo>
                    <a:pt x="63735" y="17311"/>
                  </a:lnTo>
                  <a:lnTo>
                    <a:pt x="66882" y="16131"/>
                  </a:lnTo>
                  <a:lnTo>
                    <a:pt x="69636" y="16131"/>
                  </a:lnTo>
                  <a:lnTo>
                    <a:pt x="72391" y="15737"/>
                  </a:lnTo>
                  <a:lnTo>
                    <a:pt x="75538" y="15344"/>
                  </a:lnTo>
                  <a:lnTo>
                    <a:pt x="78292" y="12983"/>
                  </a:lnTo>
                  <a:lnTo>
                    <a:pt x="75931" y="10229"/>
                  </a:lnTo>
                  <a:lnTo>
                    <a:pt x="72784" y="9049"/>
                  </a:lnTo>
                  <a:lnTo>
                    <a:pt x="69636" y="8655"/>
                  </a:lnTo>
                  <a:lnTo>
                    <a:pt x="66490" y="7475"/>
                  </a:lnTo>
                  <a:lnTo>
                    <a:pt x="63342" y="6688"/>
                  </a:lnTo>
                  <a:lnTo>
                    <a:pt x="59801" y="5901"/>
                  </a:lnTo>
                  <a:lnTo>
                    <a:pt x="56260" y="5115"/>
                  </a:lnTo>
                  <a:lnTo>
                    <a:pt x="53113" y="3934"/>
                  </a:lnTo>
                  <a:lnTo>
                    <a:pt x="49572" y="3147"/>
                  </a:lnTo>
                  <a:lnTo>
                    <a:pt x="46425" y="2754"/>
                  </a:lnTo>
                  <a:lnTo>
                    <a:pt x="43277" y="1574"/>
                  </a:lnTo>
                  <a:lnTo>
                    <a:pt x="40129" y="1180"/>
                  </a:lnTo>
                  <a:lnTo>
                    <a:pt x="36983" y="787"/>
                  </a:lnTo>
                  <a:lnTo>
                    <a:pt x="33835" y="393"/>
                  </a:lnTo>
                  <a:lnTo>
                    <a:pt x="30294" y="0"/>
                  </a:lnTo>
                  <a:lnTo>
                    <a:pt x="27147" y="0"/>
                  </a:lnTo>
                  <a:lnTo>
                    <a:pt x="23999" y="1180"/>
                  </a:lnTo>
                  <a:lnTo>
                    <a:pt x="20458" y="1180"/>
                  </a:lnTo>
                  <a:lnTo>
                    <a:pt x="17311" y="1180"/>
                  </a:lnTo>
                  <a:lnTo>
                    <a:pt x="14557" y="393"/>
                  </a:lnTo>
                  <a:lnTo>
                    <a:pt x="11410" y="393"/>
                  </a:lnTo>
                  <a:lnTo>
                    <a:pt x="8655" y="1967"/>
                  </a:lnTo>
                  <a:lnTo>
                    <a:pt x="5509" y="3934"/>
                  </a:lnTo>
                  <a:lnTo>
                    <a:pt x="2361" y="7082"/>
                  </a:lnTo>
                  <a:lnTo>
                    <a:pt x="0" y="9836"/>
                  </a:lnTo>
                  <a:lnTo>
                    <a:pt x="394" y="1259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34" name="Freeform: Shape 3328">
              <a:extLst>
                <a:ext uri="{FF2B5EF4-FFF2-40B4-BE49-F238E27FC236}">
                  <a16:creationId xmlns:a16="http://schemas.microsoft.com/office/drawing/2014/main" id="{9DE12FB1-68C7-46C5-A5F7-8C26F9C0566C}"/>
                </a:ext>
              </a:extLst>
            </p:cNvPr>
            <p:cNvSpPr/>
            <p:nvPr/>
          </p:nvSpPr>
          <p:spPr>
            <a:xfrm>
              <a:off x="9584906" y="1386766"/>
              <a:ext cx="3934" cy="3934"/>
            </a:xfrm>
            <a:custGeom>
              <a:avLst/>
              <a:gdLst>
                <a:gd name="connsiteX0" fmla="*/ 5901 w 3934"/>
                <a:gd name="connsiteY0" fmla="*/ 2361 h 0"/>
                <a:gd name="connsiteX1" fmla="*/ 3148 w 3934"/>
                <a:gd name="connsiteY1" fmla="*/ 393 h 0"/>
                <a:gd name="connsiteX2" fmla="*/ 0 w 3934"/>
                <a:gd name="connsiteY2" fmla="*/ 0 h 0"/>
                <a:gd name="connsiteX3" fmla="*/ 3148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2361"/>
                  </a:moveTo>
                  <a:lnTo>
                    <a:pt x="3148" y="393"/>
                  </a:lnTo>
                  <a:lnTo>
                    <a:pt x="0" y="0"/>
                  </a:lnTo>
                  <a:lnTo>
                    <a:pt x="3148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35" name="Freeform: Shape 3329">
              <a:extLst>
                <a:ext uri="{FF2B5EF4-FFF2-40B4-BE49-F238E27FC236}">
                  <a16:creationId xmlns:a16="http://schemas.microsoft.com/office/drawing/2014/main" id="{F68CE17B-AE0C-4EDA-8B8E-B35E4F219458}"/>
                </a:ext>
              </a:extLst>
            </p:cNvPr>
            <p:cNvSpPr/>
            <p:nvPr/>
          </p:nvSpPr>
          <p:spPr>
            <a:xfrm>
              <a:off x="9558153" y="1383619"/>
              <a:ext cx="7869" cy="3934"/>
            </a:xfrm>
            <a:custGeom>
              <a:avLst/>
              <a:gdLst>
                <a:gd name="connsiteX0" fmla="*/ 5901 w 7868"/>
                <a:gd name="connsiteY0" fmla="*/ 3541 h 0"/>
                <a:gd name="connsiteX1" fmla="*/ 9049 w 7868"/>
                <a:gd name="connsiteY1" fmla="*/ 3541 h 0"/>
                <a:gd name="connsiteX2" fmla="*/ 9049 w 7868"/>
                <a:gd name="connsiteY2" fmla="*/ 3147 h 0"/>
                <a:gd name="connsiteX3" fmla="*/ 6295 w 7868"/>
                <a:gd name="connsiteY3" fmla="*/ 2361 h 0"/>
                <a:gd name="connsiteX4" fmla="*/ 3148 w 7868"/>
                <a:gd name="connsiteY4" fmla="*/ 787 h 0"/>
                <a:gd name="connsiteX5" fmla="*/ 0 w 7868"/>
                <a:gd name="connsiteY5" fmla="*/ 0 h 0"/>
                <a:gd name="connsiteX6" fmla="*/ 3148 w 7868"/>
                <a:gd name="connsiteY6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5901" y="3541"/>
                  </a:moveTo>
                  <a:lnTo>
                    <a:pt x="9049" y="3541"/>
                  </a:lnTo>
                  <a:lnTo>
                    <a:pt x="9049" y="3147"/>
                  </a:lnTo>
                  <a:lnTo>
                    <a:pt x="6295" y="2361"/>
                  </a:lnTo>
                  <a:lnTo>
                    <a:pt x="3148" y="787"/>
                  </a:lnTo>
                  <a:lnTo>
                    <a:pt x="0" y="0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36" name="Freeform: Shape 3330">
              <a:extLst>
                <a:ext uri="{FF2B5EF4-FFF2-40B4-BE49-F238E27FC236}">
                  <a16:creationId xmlns:a16="http://schemas.microsoft.com/office/drawing/2014/main" id="{94AF8DC7-FF1E-4460-9AD1-5DE6C9503833}"/>
                </a:ext>
              </a:extLst>
            </p:cNvPr>
            <p:cNvSpPr/>
            <p:nvPr/>
          </p:nvSpPr>
          <p:spPr>
            <a:xfrm>
              <a:off x="6226224" y="1646034"/>
              <a:ext cx="3934" cy="3934"/>
            </a:xfrm>
            <a:custGeom>
              <a:avLst/>
              <a:gdLst>
                <a:gd name="connsiteX0" fmla="*/ 3541 w 0"/>
                <a:gd name="connsiteY0" fmla="*/ 1180 h 0"/>
                <a:gd name="connsiteX1" fmla="*/ 2754 w 0"/>
                <a:gd name="connsiteY1" fmla="*/ 0 h 0"/>
                <a:gd name="connsiteX2" fmla="*/ 0 w 0"/>
                <a:gd name="connsiteY2" fmla="*/ 393 h 0"/>
                <a:gd name="connsiteX3" fmla="*/ 2754 w 0"/>
                <a:gd name="connsiteY3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541" y="1180"/>
                  </a:moveTo>
                  <a:lnTo>
                    <a:pt x="2754" y="0"/>
                  </a:lnTo>
                  <a:lnTo>
                    <a:pt x="0" y="393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37" name="Freeform: Shape 3331">
              <a:extLst>
                <a:ext uri="{FF2B5EF4-FFF2-40B4-BE49-F238E27FC236}">
                  <a16:creationId xmlns:a16="http://schemas.microsoft.com/office/drawing/2014/main" id="{364B5C2B-F69E-4B05-B62F-AD91D77CA7D3}"/>
                </a:ext>
              </a:extLst>
            </p:cNvPr>
            <p:cNvSpPr/>
            <p:nvPr/>
          </p:nvSpPr>
          <p:spPr>
            <a:xfrm>
              <a:off x="6239601" y="1637378"/>
              <a:ext cx="3934" cy="3934"/>
            </a:xfrm>
            <a:custGeom>
              <a:avLst/>
              <a:gdLst>
                <a:gd name="connsiteX0" fmla="*/ 3934 w 3934"/>
                <a:gd name="connsiteY0" fmla="*/ 3147 h 0"/>
                <a:gd name="connsiteX1" fmla="*/ 5901 w 3934"/>
                <a:gd name="connsiteY1" fmla="*/ 787 h 0"/>
                <a:gd name="connsiteX2" fmla="*/ 3148 w 3934"/>
                <a:gd name="connsiteY2" fmla="*/ 0 h 0"/>
                <a:gd name="connsiteX3" fmla="*/ 0 w 3934"/>
                <a:gd name="connsiteY3" fmla="*/ 393 h 0"/>
                <a:gd name="connsiteX4" fmla="*/ 787 w 3934"/>
                <a:gd name="connsiteY4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934" y="3147"/>
                  </a:moveTo>
                  <a:lnTo>
                    <a:pt x="5901" y="787"/>
                  </a:lnTo>
                  <a:lnTo>
                    <a:pt x="3148" y="0"/>
                  </a:lnTo>
                  <a:lnTo>
                    <a:pt x="0" y="393"/>
                  </a:lnTo>
                  <a:lnTo>
                    <a:pt x="787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38" name="Freeform: Shape 3332">
              <a:extLst>
                <a:ext uri="{FF2B5EF4-FFF2-40B4-BE49-F238E27FC236}">
                  <a16:creationId xmlns:a16="http://schemas.microsoft.com/office/drawing/2014/main" id="{7662C700-41A3-47D5-8B7C-BC8C78F7004E}"/>
                </a:ext>
              </a:extLst>
            </p:cNvPr>
            <p:cNvSpPr/>
            <p:nvPr/>
          </p:nvSpPr>
          <p:spPr>
            <a:xfrm>
              <a:off x="6247076" y="1634231"/>
              <a:ext cx="3934" cy="3934"/>
            </a:xfrm>
            <a:custGeom>
              <a:avLst/>
              <a:gdLst>
                <a:gd name="connsiteX0" fmla="*/ 3541 w 0"/>
                <a:gd name="connsiteY0" fmla="*/ 393 h 3934"/>
                <a:gd name="connsiteX1" fmla="*/ 393 w 0"/>
                <a:gd name="connsiteY1" fmla="*/ 0 h 3934"/>
                <a:gd name="connsiteX2" fmla="*/ 393 w 0"/>
                <a:gd name="connsiteY2" fmla="*/ 2754 h 3934"/>
                <a:gd name="connsiteX3" fmla="*/ 0 w 0"/>
                <a:gd name="connsiteY3" fmla="*/ 5508 h 3934"/>
                <a:gd name="connsiteX4" fmla="*/ 2754 w 0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3541" y="393"/>
                  </a:moveTo>
                  <a:lnTo>
                    <a:pt x="393" y="0"/>
                  </a:lnTo>
                  <a:lnTo>
                    <a:pt x="393" y="2754"/>
                  </a:lnTo>
                  <a:lnTo>
                    <a:pt x="0" y="5508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39" name="Freeform: Shape 3333">
              <a:extLst>
                <a:ext uri="{FF2B5EF4-FFF2-40B4-BE49-F238E27FC236}">
                  <a16:creationId xmlns:a16="http://schemas.microsoft.com/office/drawing/2014/main" id="{ACE83B6A-2660-42AA-9CE7-0D9BDF95A211}"/>
                </a:ext>
              </a:extLst>
            </p:cNvPr>
            <p:cNvSpPr/>
            <p:nvPr/>
          </p:nvSpPr>
          <p:spPr>
            <a:xfrm>
              <a:off x="6253371" y="1632264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40" name="Freeform: Shape 3334">
              <a:extLst>
                <a:ext uri="{FF2B5EF4-FFF2-40B4-BE49-F238E27FC236}">
                  <a16:creationId xmlns:a16="http://schemas.microsoft.com/office/drawing/2014/main" id="{8E14D69E-04ED-42B6-BA5C-BBE0710F2748}"/>
                </a:ext>
              </a:extLst>
            </p:cNvPr>
            <p:cNvSpPr/>
            <p:nvPr/>
          </p:nvSpPr>
          <p:spPr>
            <a:xfrm>
              <a:off x="6254157" y="1633444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0 w 0"/>
                <a:gd name="connsiteY1" fmla="*/ 0 h 0"/>
                <a:gd name="connsiteX2" fmla="*/ 3148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0" y="0"/>
                  </a:lnTo>
                  <a:lnTo>
                    <a:pt x="314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41" name="Freeform: Shape 3335">
              <a:extLst>
                <a:ext uri="{FF2B5EF4-FFF2-40B4-BE49-F238E27FC236}">
                  <a16:creationId xmlns:a16="http://schemas.microsoft.com/office/drawing/2014/main" id="{2D725F62-78AC-4EC2-8015-97FB1532D7B1}"/>
                </a:ext>
              </a:extLst>
            </p:cNvPr>
            <p:cNvSpPr/>
            <p:nvPr/>
          </p:nvSpPr>
          <p:spPr>
            <a:xfrm>
              <a:off x="6266747" y="1624395"/>
              <a:ext cx="3934" cy="3934"/>
            </a:xfrm>
            <a:custGeom>
              <a:avLst/>
              <a:gdLst>
                <a:gd name="connsiteX0" fmla="*/ 3147 w 3934"/>
                <a:gd name="connsiteY0" fmla="*/ 0 h 0"/>
                <a:gd name="connsiteX1" fmla="*/ 0 w 3934"/>
                <a:gd name="connsiteY1" fmla="*/ 0 h 0"/>
                <a:gd name="connsiteX2" fmla="*/ 3934 w 3934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3147" y="0"/>
                  </a:moveTo>
                  <a:lnTo>
                    <a:pt x="0" y="0"/>
                  </a:lnTo>
                  <a:lnTo>
                    <a:pt x="393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42" name="Freeform: Shape 3336">
              <a:extLst>
                <a:ext uri="{FF2B5EF4-FFF2-40B4-BE49-F238E27FC236}">
                  <a16:creationId xmlns:a16="http://schemas.microsoft.com/office/drawing/2014/main" id="{C56BAADB-C4C0-4F8E-83ED-433A367075D8}"/>
                </a:ext>
              </a:extLst>
            </p:cNvPr>
            <p:cNvSpPr/>
            <p:nvPr/>
          </p:nvSpPr>
          <p:spPr>
            <a:xfrm>
              <a:off x="6269501" y="1620855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0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43" name="Freeform: Shape 3337">
              <a:extLst>
                <a:ext uri="{FF2B5EF4-FFF2-40B4-BE49-F238E27FC236}">
                  <a16:creationId xmlns:a16="http://schemas.microsoft.com/office/drawing/2014/main" id="{7A0077D7-4E71-45CC-951E-2D4CAA42109B}"/>
                </a:ext>
              </a:extLst>
            </p:cNvPr>
            <p:cNvSpPr/>
            <p:nvPr/>
          </p:nvSpPr>
          <p:spPr>
            <a:xfrm>
              <a:off x="6284845" y="1612986"/>
              <a:ext cx="3934" cy="3934"/>
            </a:xfrm>
            <a:custGeom>
              <a:avLst/>
              <a:gdLst>
                <a:gd name="connsiteX0" fmla="*/ 3148 w 3934"/>
                <a:gd name="connsiteY0" fmla="*/ 4721 h 3934"/>
                <a:gd name="connsiteX1" fmla="*/ 5901 w 3934"/>
                <a:gd name="connsiteY1" fmla="*/ 2754 h 3934"/>
                <a:gd name="connsiteX2" fmla="*/ 3148 w 3934"/>
                <a:gd name="connsiteY2" fmla="*/ 0 h 3934"/>
                <a:gd name="connsiteX3" fmla="*/ 2754 w 3934"/>
                <a:gd name="connsiteY3" fmla="*/ 2754 h 3934"/>
                <a:gd name="connsiteX4" fmla="*/ 0 w 3934"/>
                <a:gd name="connsiteY4" fmla="*/ 1574 h 3934"/>
                <a:gd name="connsiteX5" fmla="*/ 0 w 3934"/>
                <a:gd name="connsiteY5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148" y="4721"/>
                  </a:moveTo>
                  <a:lnTo>
                    <a:pt x="5901" y="2754"/>
                  </a:lnTo>
                  <a:lnTo>
                    <a:pt x="3148" y="0"/>
                  </a:lnTo>
                  <a:lnTo>
                    <a:pt x="2754" y="2754"/>
                  </a:lnTo>
                  <a:lnTo>
                    <a:pt x="0" y="1574"/>
                  </a:lnTo>
                  <a:lnTo>
                    <a:pt x="0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44" name="Freeform: Shape 3338">
              <a:extLst>
                <a:ext uri="{FF2B5EF4-FFF2-40B4-BE49-F238E27FC236}">
                  <a16:creationId xmlns:a16="http://schemas.microsoft.com/office/drawing/2014/main" id="{C9B597DD-2BD6-467D-8B43-98AFB2FB4979}"/>
                </a:ext>
              </a:extLst>
            </p:cNvPr>
            <p:cNvSpPr/>
            <p:nvPr/>
          </p:nvSpPr>
          <p:spPr>
            <a:xfrm>
              <a:off x="6396185" y="1534694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3147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3147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45" name="Freeform: Shape 3339">
              <a:extLst>
                <a:ext uri="{FF2B5EF4-FFF2-40B4-BE49-F238E27FC236}">
                  <a16:creationId xmlns:a16="http://schemas.microsoft.com/office/drawing/2014/main" id="{E4928A8B-6D89-4030-BEA7-7214693F5B26}"/>
                </a:ext>
              </a:extLst>
            </p:cNvPr>
            <p:cNvSpPr/>
            <p:nvPr/>
          </p:nvSpPr>
          <p:spPr>
            <a:xfrm>
              <a:off x="6293107" y="1602757"/>
              <a:ext cx="7869" cy="3934"/>
            </a:xfrm>
            <a:custGeom>
              <a:avLst/>
              <a:gdLst>
                <a:gd name="connsiteX0" fmla="*/ 5901 w 7868"/>
                <a:gd name="connsiteY0" fmla="*/ 3934 h 3934"/>
                <a:gd name="connsiteX1" fmla="*/ 8656 w 7868"/>
                <a:gd name="connsiteY1" fmla="*/ 2754 h 3934"/>
                <a:gd name="connsiteX2" fmla="*/ 8656 w 7868"/>
                <a:gd name="connsiteY2" fmla="*/ 1574 h 3934"/>
                <a:gd name="connsiteX3" fmla="*/ 5901 w 7868"/>
                <a:gd name="connsiteY3" fmla="*/ 0 h 3934"/>
                <a:gd name="connsiteX4" fmla="*/ 2754 w 7868"/>
                <a:gd name="connsiteY4" fmla="*/ 0 h 3934"/>
                <a:gd name="connsiteX5" fmla="*/ 0 w 7868"/>
                <a:gd name="connsiteY5" fmla="*/ 2361 h 3934"/>
                <a:gd name="connsiteX6" fmla="*/ 2754 w 7868"/>
                <a:gd name="connsiteY6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5901" y="3934"/>
                  </a:moveTo>
                  <a:lnTo>
                    <a:pt x="8656" y="2754"/>
                  </a:lnTo>
                  <a:lnTo>
                    <a:pt x="8656" y="1574"/>
                  </a:lnTo>
                  <a:lnTo>
                    <a:pt x="5901" y="0"/>
                  </a:lnTo>
                  <a:lnTo>
                    <a:pt x="2754" y="0"/>
                  </a:lnTo>
                  <a:lnTo>
                    <a:pt x="0" y="2361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46" name="Freeform: Shape 3340">
              <a:extLst>
                <a:ext uri="{FF2B5EF4-FFF2-40B4-BE49-F238E27FC236}">
                  <a16:creationId xmlns:a16="http://schemas.microsoft.com/office/drawing/2014/main" id="{2298BFA7-BDC5-4542-B711-36EF05C560E1}"/>
                </a:ext>
              </a:extLst>
            </p:cNvPr>
            <p:cNvSpPr/>
            <p:nvPr/>
          </p:nvSpPr>
          <p:spPr>
            <a:xfrm>
              <a:off x="6295861" y="1609445"/>
              <a:ext cx="3934" cy="3934"/>
            </a:xfrm>
            <a:custGeom>
              <a:avLst/>
              <a:gdLst>
                <a:gd name="connsiteX0" fmla="*/ 0 w 3934"/>
                <a:gd name="connsiteY0" fmla="*/ 1967 h 0"/>
                <a:gd name="connsiteX1" fmla="*/ 3147 w 3934"/>
                <a:gd name="connsiteY1" fmla="*/ 2361 h 0"/>
                <a:gd name="connsiteX2" fmla="*/ 5901 w 3934"/>
                <a:gd name="connsiteY2" fmla="*/ 1967 h 0"/>
                <a:gd name="connsiteX3" fmla="*/ 314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967"/>
                  </a:moveTo>
                  <a:lnTo>
                    <a:pt x="3147" y="2361"/>
                  </a:lnTo>
                  <a:lnTo>
                    <a:pt x="5901" y="196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47" name="Freeform: Shape 3341">
              <a:extLst>
                <a:ext uri="{FF2B5EF4-FFF2-40B4-BE49-F238E27FC236}">
                  <a16:creationId xmlns:a16="http://schemas.microsoft.com/office/drawing/2014/main" id="{E96DC6FD-6303-4429-A5E8-047E832034CA}"/>
                </a:ext>
              </a:extLst>
            </p:cNvPr>
            <p:cNvSpPr/>
            <p:nvPr/>
          </p:nvSpPr>
          <p:spPr>
            <a:xfrm>
              <a:off x="6304123" y="1607871"/>
              <a:ext cx="3934" cy="3934"/>
            </a:xfrm>
            <a:custGeom>
              <a:avLst/>
              <a:gdLst>
                <a:gd name="connsiteX0" fmla="*/ 5901 w 3934"/>
                <a:gd name="connsiteY0" fmla="*/ 3147 h 0"/>
                <a:gd name="connsiteX1" fmla="*/ 4328 w 3934"/>
                <a:gd name="connsiteY1" fmla="*/ 0 h 0"/>
                <a:gd name="connsiteX2" fmla="*/ 1574 w 3934"/>
                <a:gd name="connsiteY2" fmla="*/ 393 h 0"/>
                <a:gd name="connsiteX3" fmla="*/ 0 w 3934"/>
                <a:gd name="connsiteY3" fmla="*/ 1967 h 0"/>
                <a:gd name="connsiteX4" fmla="*/ 3147 w 3934"/>
                <a:gd name="connsiteY4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3147"/>
                  </a:moveTo>
                  <a:lnTo>
                    <a:pt x="4328" y="0"/>
                  </a:lnTo>
                  <a:lnTo>
                    <a:pt x="1574" y="393"/>
                  </a:lnTo>
                  <a:lnTo>
                    <a:pt x="0" y="1967"/>
                  </a:lnTo>
                  <a:lnTo>
                    <a:pt x="3147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48" name="Freeform: Shape 3342">
              <a:extLst>
                <a:ext uri="{FF2B5EF4-FFF2-40B4-BE49-F238E27FC236}">
                  <a16:creationId xmlns:a16="http://schemas.microsoft.com/office/drawing/2014/main" id="{019417D8-9D31-40B3-BE44-E1CB1F544CA0}"/>
                </a:ext>
              </a:extLst>
            </p:cNvPr>
            <p:cNvSpPr/>
            <p:nvPr/>
          </p:nvSpPr>
          <p:spPr>
            <a:xfrm>
              <a:off x="6304909" y="1596462"/>
              <a:ext cx="15737" cy="3934"/>
            </a:xfrm>
            <a:custGeom>
              <a:avLst/>
              <a:gdLst>
                <a:gd name="connsiteX0" fmla="*/ 3934 w 15737"/>
                <a:gd name="connsiteY0" fmla="*/ 7082 h 3934"/>
                <a:gd name="connsiteX1" fmla="*/ 7082 w 15737"/>
                <a:gd name="connsiteY1" fmla="*/ 6295 h 3934"/>
                <a:gd name="connsiteX2" fmla="*/ 10229 w 15737"/>
                <a:gd name="connsiteY2" fmla="*/ 5508 h 3934"/>
                <a:gd name="connsiteX3" fmla="*/ 13377 w 15737"/>
                <a:gd name="connsiteY3" fmla="*/ 5508 h 3934"/>
                <a:gd name="connsiteX4" fmla="*/ 16524 w 15737"/>
                <a:gd name="connsiteY4" fmla="*/ 4328 h 3934"/>
                <a:gd name="connsiteX5" fmla="*/ 18098 w 15737"/>
                <a:gd name="connsiteY5" fmla="*/ 1574 h 3934"/>
                <a:gd name="connsiteX6" fmla="*/ 14950 w 15737"/>
                <a:gd name="connsiteY6" fmla="*/ 0 h 3934"/>
                <a:gd name="connsiteX7" fmla="*/ 12196 w 15737"/>
                <a:gd name="connsiteY7" fmla="*/ 393 h 3934"/>
                <a:gd name="connsiteX8" fmla="*/ 9049 w 15737"/>
                <a:gd name="connsiteY8" fmla="*/ 1180 h 3934"/>
                <a:gd name="connsiteX9" fmla="*/ 5901 w 15737"/>
                <a:gd name="connsiteY9" fmla="*/ 2361 h 3934"/>
                <a:gd name="connsiteX10" fmla="*/ 9049 w 15737"/>
                <a:gd name="connsiteY10" fmla="*/ 3147 h 3934"/>
                <a:gd name="connsiteX11" fmla="*/ 3148 w 15737"/>
                <a:gd name="connsiteY11" fmla="*/ 3147 h 3934"/>
                <a:gd name="connsiteX12" fmla="*/ 0 w 15737"/>
                <a:gd name="connsiteY12" fmla="*/ 5508 h 3934"/>
                <a:gd name="connsiteX13" fmla="*/ 1180 w 15737"/>
                <a:gd name="connsiteY13" fmla="*/ 668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737" h="3934">
                  <a:moveTo>
                    <a:pt x="3934" y="7082"/>
                  </a:moveTo>
                  <a:lnTo>
                    <a:pt x="7082" y="6295"/>
                  </a:lnTo>
                  <a:lnTo>
                    <a:pt x="10229" y="5508"/>
                  </a:lnTo>
                  <a:lnTo>
                    <a:pt x="13377" y="5508"/>
                  </a:lnTo>
                  <a:lnTo>
                    <a:pt x="16524" y="4328"/>
                  </a:lnTo>
                  <a:lnTo>
                    <a:pt x="18098" y="1574"/>
                  </a:lnTo>
                  <a:lnTo>
                    <a:pt x="14950" y="0"/>
                  </a:lnTo>
                  <a:lnTo>
                    <a:pt x="12196" y="393"/>
                  </a:lnTo>
                  <a:lnTo>
                    <a:pt x="9049" y="1180"/>
                  </a:lnTo>
                  <a:lnTo>
                    <a:pt x="5901" y="2361"/>
                  </a:lnTo>
                  <a:lnTo>
                    <a:pt x="9049" y="3147"/>
                  </a:lnTo>
                  <a:lnTo>
                    <a:pt x="3148" y="3147"/>
                  </a:lnTo>
                  <a:lnTo>
                    <a:pt x="0" y="5508"/>
                  </a:lnTo>
                  <a:lnTo>
                    <a:pt x="1180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49" name="Freeform: Shape 3343">
              <a:extLst>
                <a:ext uri="{FF2B5EF4-FFF2-40B4-BE49-F238E27FC236}">
                  <a16:creationId xmlns:a16="http://schemas.microsoft.com/office/drawing/2014/main" id="{2DF22A5A-D5CC-4496-858F-F30428F61CF2}"/>
                </a:ext>
              </a:extLst>
            </p:cNvPr>
            <p:cNvSpPr/>
            <p:nvPr/>
          </p:nvSpPr>
          <p:spPr>
            <a:xfrm>
              <a:off x="6305303" y="1592528"/>
              <a:ext cx="11803" cy="3934"/>
            </a:xfrm>
            <a:custGeom>
              <a:avLst/>
              <a:gdLst>
                <a:gd name="connsiteX0" fmla="*/ 6295 w 11802"/>
                <a:gd name="connsiteY0" fmla="*/ 3541 h 0"/>
                <a:gd name="connsiteX1" fmla="*/ 9836 w 11802"/>
                <a:gd name="connsiteY1" fmla="*/ 3147 h 0"/>
                <a:gd name="connsiteX2" fmla="*/ 11803 w 11802"/>
                <a:gd name="connsiteY2" fmla="*/ 1180 h 0"/>
                <a:gd name="connsiteX3" fmla="*/ 8656 w 11802"/>
                <a:gd name="connsiteY3" fmla="*/ 0 h 0"/>
                <a:gd name="connsiteX4" fmla="*/ 5901 w 11802"/>
                <a:gd name="connsiteY4" fmla="*/ 1967 h 0"/>
                <a:gd name="connsiteX5" fmla="*/ 2754 w 11802"/>
                <a:gd name="connsiteY5" fmla="*/ 2361 h 0"/>
                <a:gd name="connsiteX6" fmla="*/ 0 w 11802"/>
                <a:gd name="connsiteY6" fmla="*/ 3147 h 0"/>
                <a:gd name="connsiteX7" fmla="*/ 2754 w 11802"/>
                <a:gd name="connsiteY7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>
                  <a:moveTo>
                    <a:pt x="6295" y="3541"/>
                  </a:moveTo>
                  <a:lnTo>
                    <a:pt x="9836" y="3147"/>
                  </a:lnTo>
                  <a:lnTo>
                    <a:pt x="11803" y="1180"/>
                  </a:lnTo>
                  <a:lnTo>
                    <a:pt x="8656" y="0"/>
                  </a:lnTo>
                  <a:lnTo>
                    <a:pt x="5901" y="1967"/>
                  </a:lnTo>
                  <a:lnTo>
                    <a:pt x="2754" y="2361"/>
                  </a:lnTo>
                  <a:lnTo>
                    <a:pt x="0" y="3147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50" name="Freeform: Shape 3344">
              <a:extLst>
                <a:ext uri="{FF2B5EF4-FFF2-40B4-BE49-F238E27FC236}">
                  <a16:creationId xmlns:a16="http://schemas.microsoft.com/office/drawing/2014/main" id="{F4C27D71-C438-412E-981F-A9965E27A8E1}"/>
                </a:ext>
              </a:extLst>
            </p:cNvPr>
            <p:cNvSpPr/>
            <p:nvPr/>
          </p:nvSpPr>
          <p:spPr>
            <a:xfrm>
              <a:off x="6308844" y="1604724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148 w 0"/>
                <a:gd name="connsiteY1" fmla="*/ 1574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148" y="157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51" name="Freeform: Shape 3345">
              <a:extLst>
                <a:ext uri="{FF2B5EF4-FFF2-40B4-BE49-F238E27FC236}">
                  <a16:creationId xmlns:a16="http://schemas.microsoft.com/office/drawing/2014/main" id="{461B2F76-ABE1-4E1C-8F9D-C876DE886086}"/>
                </a:ext>
              </a:extLst>
            </p:cNvPr>
            <p:cNvSpPr/>
            <p:nvPr/>
          </p:nvSpPr>
          <p:spPr>
            <a:xfrm>
              <a:off x="6378874" y="1552398"/>
              <a:ext cx="3934" cy="3934"/>
            </a:xfrm>
            <a:custGeom>
              <a:avLst/>
              <a:gdLst>
                <a:gd name="connsiteX0" fmla="*/ 0 w 3934"/>
                <a:gd name="connsiteY0" fmla="*/ 1967 h 0"/>
                <a:gd name="connsiteX1" fmla="*/ 3147 w 3934"/>
                <a:gd name="connsiteY1" fmla="*/ 1574 h 0"/>
                <a:gd name="connsiteX2" fmla="*/ 5901 w 3934"/>
                <a:gd name="connsiteY2" fmla="*/ 0 h 0"/>
                <a:gd name="connsiteX3" fmla="*/ 314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967"/>
                  </a:moveTo>
                  <a:lnTo>
                    <a:pt x="3147" y="1574"/>
                  </a:lnTo>
                  <a:lnTo>
                    <a:pt x="5901" y="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52" name="Freeform: Shape 3346">
              <a:extLst>
                <a:ext uri="{FF2B5EF4-FFF2-40B4-BE49-F238E27FC236}">
                  <a16:creationId xmlns:a16="http://schemas.microsoft.com/office/drawing/2014/main" id="{0FF17B73-AB76-434D-A0A7-556D202E1DEA}"/>
                </a:ext>
              </a:extLst>
            </p:cNvPr>
            <p:cNvSpPr/>
            <p:nvPr/>
          </p:nvSpPr>
          <p:spPr>
            <a:xfrm>
              <a:off x="6384382" y="1535088"/>
              <a:ext cx="3934" cy="3934"/>
            </a:xfrm>
            <a:custGeom>
              <a:avLst/>
              <a:gdLst>
                <a:gd name="connsiteX0" fmla="*/ 3934 w 3934"/>
                <a:gd name="connsiteY0" fmla="*/ 2754 h 0"/>
                <a:gd name="connsiteX1" fmla="*/ 2754 w 3934"/>
                <a:gd name="connsiteY1" fmla="*/ 0 h 0"/>
                <a:gd name="connsiteX2" fmla="*/ 0 w 3934"/>
                <a:gd name="connsiteY2" fmla="*/ 1967 h 0"/>
                <a:gd name="connsiteX3" fmla="*/ 1180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934" y="2754"/>
                  </a:moveTo>
                  <a:lnTo>
                    <a:pt x="2754" y="0"/>
                  </a:lnTo>
                  <a:lnTo>
                    <a:pt x="0" y="1967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53" name="Freeform: Shape 3347">
              <a:extLst>
                <a:ext uri="{FF2B5EF4-FFF2-40B4-BE49-F238E27FC236}">
                  <a16:creationId xmlns:a16="http://schemas.microsoft.com/office/drawing/2014/main" id="{861807AD-1C7F-48BC-8217-EADDA3D8501C}"/>
                </a:ext>
              </a:extLst>
            </p:cNvPr>
            <p:cNvSpPr/>
            <p:nvPr/>
          </p:nvSpPr>
          <p:spPr>
            <a:xfrm>
              <a:off x="6398152" y="1520137"/>
              <a:ext cx="3934" cy="3934"/>
            </a:xfrm>
            <a:custGeom>
              <a:avLst/>
              <a:gdLst>
                <a:gd name="connsiteX0" fmla="*/ 0 w 3934"/>
                <a:gd name="connsiteY0" fmla="*/ 2754 h 3934"/>
                <a:gd name="connsiteX1" fmla="*/ 3147 w 3934"/>
                <a:gd name="connsiteY1" fmla="*/ 4328 h 3934"/>
                <a:gd name="connsiteX2" fmla="*/ 5901 w 3934"/>
                <a:gd name="connsiteY2" fmla="*/ 2754 h 3934"/>
                <a:gd name="connsiteX3" fmla="*/ 5114 w 3934"/>
                <a:gd name="connsiteY3" fmla="*/ 1574 h 3934"/>
                <a:gd name="connsiteX4" fmla="*/ 1180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2754"/>
                  </a:moveTo>
                  <a:lnTo>
                    <a:pt x="3147" y="4328"/>
                  </a:lnTo>
                  <a:lnTo>
                    <a:pt x="5901" y="2754"/>
                  </a:lnTo>
                  <a:lnTo>
                    <a:pt x="5114" y="1574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54" name="Freeform: Shape 3348">
              <a:extLst>
                <a:ext uri="{FF2B5EF4-FFF2-40B4-BE49-F238E27FC236}">
                  <a16:creationId xmlns:a16="http://schemas.microsoft.com/office/drawing/2014/main" id="{000F90E6-DAD0-4A02-8DD0-83A6BDAE8E4A}"/>
                </a:ext>
              </a:extLst>
            </p:cNvPr>
            <p:cNvSpPr/>
            <p:nvPr/>
          </p:nvSpPr>
          <p:spPr>
            <a:xfrm>
              <a:off x="6407987" y="1519744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180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180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55" name="Freeform: Shape 3349">
              <a:extLst>
                <a:ext uri="{FF2B5EF4-FFF2-40B4-BE49-F238E27FC236}">
                  <a16:creationId xmlns:a16="http://schemas.microsoft.com/office/drawing/2014/main" id="{FCE9B884-3618-4B46-8CEC-58C4356A2254}"/>
                </a:ext>
              </a:extLst>
            </p:cNvPr>
            <p:cNvSpPr/>
            <p:nvPr/>
          </p:nvSpPr>
          <p:spPr>
            <a:xfrm>
              <a:off x="6410348" y="1517777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574 h 0"/>
                <a:gd name="connsiteX2" fmla="*/ 314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574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56" name="Freeform: Shape 3350">
              <a:extLst>
                <a:ext uri="{FF2B5EF4-FFF2-40B4-BE49-F238E27FC236}">
                  <a16:creationId xmlns:a16="http://schemas.microsoft.com/office/drawing/2014/main" id="{A58E3ED1-194A-455E-9CF7-738C516E1832}"/>
                </a:ext>
              </a:extLst>
            </p:cNvPr>
            <p:cNvSpPr/>
            <p:nvPr/>
          </p:nvSpPr>
          <p:spPr>
            <a:xfrm>
              <a:off x="6435133" y="1491811"/>
              <a:ext cx="3934" cy="3934"/>
            </a:xfrm>
            <a:custGeom>
              <a:avLst/>
              <a:gdLst>
                <a:gd name="connsiteX0" fmla="*/ 3148 w 0"/>
                <a:gd name="connsiteY0" fmla="*/ 2754 h 0"/>
                <a:gd name="connsiteX1" fmla="*/ 3148 w 0"/>
                <a:gd name="connsiteY1" fmla="*/ 0 h 0"/>
                <a:gd name="connsiteX2" fmla="*/ 0 w 0"/>
                <a:gd name="connsiteY2" fmla="*/ 393 h 0"/>
                <a:gd name="connsiteX3" fmla="*/ 394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48" y="2754"/>
                  </a:moveTo>
                  <a:lnTo>
                    <a:pt x="3148" y="0"/>
                  </a:lnTo>
                  <a:lnTo>
                    <a:pt x="0" y="393"/>
                  </a:lnTo>
                  <a:lnTo>
                    <a:pt x="39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57" name="Freeform: Shape 3351">
              <a:extLst>
                <a:ext uri="{FF2B5EF4-FFF2-40B4-BE49-F238E27FC236}">
                  <a16:creationId xmlns:a16="http://schemas.microsoft.com/office/drawing/2014/main" id="{2C6D6AF1-A7FA-44C2-B17E-9AF242F02008}"/>
                </a:ext>
              </a:extLst>
            </p:cNvPr>
            <p:cNvSpPr/>
            <p:nvPr/>
          </p:nvSpPr>
          <p:spPr>
            <a:xfrm>
              <a:off x="6444576" y="1450501"/>
              <a:ext cx="7869" cy="3934"/>
            </a:xfrm>
            <a:custGeom>
              <a:avLst/>
              <a:gdLst>
                <a:gd name="connsiteX0" fmla="*/ 3148 w 7868"/>
                <a:gd name="connsiteY0" fmla="*/ 0 h 0"/>
                <a:gd name="connsiteX1" fmla="*/ 0 w 7868"/>
                <a:gd name="connsiteY1" fmla="*/ 1180 h 0"/>
                <a:gd name="connsiteX2" fmla="*/ 3148 w 7868"/>
                <a:gd name="connsiteY2" fmla="*/ 2754 h 0"/>
                <a:gd name="connsiteX3" fmla="*/ 5115 w 7868"/>
                <a:gd name="connsiteY3" fmla="*/ 2754 h 0"/>
                <a:gd name="connsiteX4" fmla="*/ 8262 w 7868"/>
                <a:gd name="connsiteY4" fmla="*/ 1574 h 0"/>
                <a:gd name="connsiteX5" fmla="*/ 8262 w 7868"/>
                <a:gd name="connsiteY5" fmla="*/ 787 h 0"/>
                <a:gd name="connsiteX6" fmla="*/ 6295 w 7868"/>
                <a:gd name="connsiteY6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3148" y="0"/>
                  </a:moveTo>
                  <a:lnTo>
                    <a:pt x="0" y="1180"/>
                  </a:lnTo>
                  <a:lnTo>
                    <a:pt x="3148" y="2754"/>
                  </a:lnTo>
                  <a:lnTo>
                    <a:pt x="5115" y="2754"/>
                  </a:lnTo>
                  <a:lnTo>
                    <a:pt x="8262" y="1574"/>
                  </a:lnTo>
                  <a:lnTo>
                    <a:pt x="8262" y="787"/>
                  </a:lnTo>
                  <a:lnTo>
                    <a:pt x="6295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58" name="Freeform: Shape 3352">
              <a:extLst>
                <a:ext uri="{FF2B5EF4-FFF2-40B4-BE49-F238E27FC236}">
                  <a16:creationId xmlns:a16="http://schemas.microsoft.com/office/drawing/2014/main" id="{971B4B98-070F-4802-A079-6B0DCF5669D8}"/>
                </a:ext>
              </a:extLst>
            </p:cNvPr>
            <p:cNvSpPr/>
            <p:nvPr/>
          </p:nvSpPr>
          <p:spPr>
            <a:xfrm>
              <a:off x="6290353" y="161219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787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787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59" name="Freeform: Shape 3353">
              <a:extLst>
                <a:ext uri="{FF2B5EF4-FFF2-40B4-BE49-F238E27FC236}">
                  <a16:creationId xmlns:a16="http://schemas.microsoft.com/office/drawing/2014/main" id="{808ABC21-A216-4107-90D9-92FD0B63FA90}"/>
                </a:ext>
              </a:extLst>
            </p:cNvPr>
            <p:cNvSpPr/>
            <p:nvPr/>
          </p:nvSpPr>
          <p:spPr>
            <a:xfrm>
              <a:off x="6369431" y="1591741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2754 w 0"/>
                <a:gd name="connsiteY1" fmla="*/ 0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2754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60" name="Freeform: Shape 3354">
              <a:extLst>
                <a:ext uri="{FF2B5EF4-FFF2-40B4-BE49-F238E27FC236}">
                  <a16:creationId xmlns:a16="http://schemas.microsoft.com/office/drawing/2014/main" id="{DED2B871-AA7A-411B-864D-73DBE70118D5}"/>
                </a:ext>
              </a:extLst>
            </p:cNvPr>
            <p:cNvSpPr/>
            <p:nvPr/>
          </p:nvSpPr>
          <p:spPr>
            <a:xfrm>
              <a:off x="6361956" y="1557513"/>
              <a:ext cx="3934" cy="3934"/>
            </a:xfrm>
            <a:custGeom>
              <a:avLst/>
              <a:gdLst>
                <a:gd name="connsiteX0" fmla="*/ 3148 w 3934"/>
                <a:gd name="connsiteY0" fmla="*/ 0 h 0"/>
                <a:gd name="connsiteX1" fmla="*/ 0 w 3934"/>
                <a:gd name="connsiteY1" fmla="*/ 1967 h 0"/>
                <a:gd name="connsiteX2" fmla="*/ 3148 w 3934"/>
                <a:gd name="connsiteY2" fmla="*/ 787 h 0"/>
                <a:gd name="connsiteX3" fmla="*/ 6295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148" y="0"/>
                  </a:moveTo>
                  <a:lnTo>
                    <a:pt x="0" y="1967"/>
                  </a:lnTo>
                  <a:lnTo>
                    <a:pt x="3148" y="787"/>
                  </a:lnTo>
                  <a:lnTo>
                    <a:pt x="629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61" name="Freeform: Shape 3355">
              <a:extLst>
                <a:ext uri="{FF2B5EF4-FFF2-40B4-BE49-F238E27FC236}">
                  <a16:creationId xmlns:a16="http://schemas.microsoft.com/office/drawing/2014/main" id="{25DA6AFA-6123-4EB4-91E8-CB88CA1B7283}"/>
                </a:ext>
              </a:extLst>
            </p:cNvPr>
            <p:cNvSpPr/>
            <p:nvPr/>
          </p:nvSpPr>
          <p:spPr>
            <a:xfrm>
              <a:off x="6364710" y="1557513"/>
              <a:ext cx="7869" cy="3934"/>
            </a:xfrm>
            <a:custGeom>
              <a:avLst/>
              <a:gdLst>
                <a:gd name="connsiteX0" fmla="*/ 5901 w 7868"/>
                <a:gd name="connsiteY0" fmla="*/ 0 h 0"/>
                <a:gd name="connsiteX1" fmla="*/ 3147 w 7868"/>
                <a:gd name="connsiteY1" fmla="*/ 787 h 0"/>
                <a:gd name="connsiteX2" fmla="*/ 0 w 7868"/>
                <a:gd name="connsiteY2" fmla="*/ 1574 h 0"/>
                <a:gd name="connsiteX3" fmla="*/ 3147 w 7868"/>
                <a:gd name="connsiteY3" fmla="*/ 1180 h 0"/>
                <a:gd name="connsiteX4" fmla="*/ 5901 w 7868"/>
                <a:gd name="connsiteY4" fmla="*/ 2754 h 0"/>
                <a:gd name="connsiteX5" fmla="*/ 9049 w 7868"/>
                <a:gd name="connsiteY5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5901" y="0"/>
                  </a:moveTo>
                  <a:lnTo>
                    <a:pt x="3147" y="787"/>
                  </a:lnTo>
                  <a:lnTo>
                    <a:pt x="0" y="1574"/>
                  </a:lnTo>
                  <a:lnTo>
                    <a:pt x="3147" y="1180"/>
                  </a:lnTo>
                  <a:lnTo>
                    <a:pt x="5901" y="2754"/>
                  </a:lnTo>
                  <a:lnTo>
                    <a:pt x="9049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62" name="Freeform: Shape 3356">
              <a:extLst>
                <a:ext uri="{FF2B5EF4-FFF2-40B4-BE49-F238E27FC236}">
                  <a16:creationId xmlns:a16="http://schemas.microsoft.com/office/drawing/2014/main" id="{AEC539B9-F31C-4E9E-8E21-7021786B4C06}"/>
                </a:ext>
              </a:extLst>
            </p:cNvPr>
            <p:cNvSpPr/>
            <p:nvPr/>
          </p:nvSpPr>
          <p:spPr>
            <a:xfrm>
              <a:off x="6369825" y="1567349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787 w 3934"/>
                <a:gd name="connsiteY1" fmla="*/ 3147 h 3934"/>
                <a:gd name="connsiteX2" fmla="*/ 3934 w 3934"/>
                <a:gd name="connsiteY2" fmla="*/ 3934 h 3934"/>
                <a:gd name="connsiteX3" fmla="*/ 6689 w 3934"/>
                <a:gd name="connsiteY3" fmla="*/ 3541 h 3934"/>
                <a:gd name="connsiteX4" fmla="*/ 3541 w 3934"/>
                <a:gd name="connsiteY4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787" y="3147"/>
                  </a:lnTo>
                  <a:lnTo>
                    <a:pt x="3934" y="3934"/>
                  </a:lnTo>
                  <a:lnTo>
                    <a:pt x="6689" y="3541"/>
                  </a:lnTo>
                  <a:lnTo>
                    <a:pt x="3541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63" name="Freeform: Shape 3357">
              <a:extLst>
                <a:ext uri="{FF2B5EF4-FFF2-40B4-BE49-F238E27FC236}">
                  <a16:creationId xmlns:a16="http://schemas.microsoft.com/office/drawing/2014/main" id="{600C636D-128B-4246-81E8-51A8FFA7C00D}"/>
                </a:ext>
              </a:extLst>
            </p:cNvPr>
            <p:cNvSpPr/>
            <p:nvPr/>
          </p:nvSpPr>
          <p:spPr>
            <a:xfrm>
              <a:off x="6370612" y="1565381"/>
              <a:ext cx="3934" cy="3934"/>
            </a:xfrm>
            <a:custGeom>
              <a:avLst/>
              <a:gdLst>
                <a:gd name="connsiteX0" fmla="*/ 3147 w 0"/>
                <a:gd name="connsiteY0" fmla="*/ 2361 h 0"/>
                <a:gd name="connsiteX1" fmla="*/ 3147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2361"/>
                  </a:moveTo>
                  <a:lnTo>
                    <a:pt x="314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64" name="Freeform: Shape 3358">
              <a:extLst>
                <a:ext uri="{FF2B5EF4-FFF2-40B4-BE49-F238E27FC236}">
                  <a16:creationId xmlns:a16="http://schemas.microsoft.com/office/drawing/2014/main" id="{C0951820-EF6A-4574-82D1-AB13E2223A68}"/>
                </a:ext>
              </a:extLst>
            </p:cNvPr>
            <p:cNvSpPr/>
            <p:nvPr/>
          </p:nvSpPr>
          <p:spPr>
            <a:xfrm>
              <a:off x="6374939" y="156734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574 h 0"/>
                <a:gd name="connsiteX2" fmla="*/ 3147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574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65" name="Freeform: Shape 3359">
              <a:extLst>
                <a:ext uri="{FF2B5EF4-FFF2-40B4-BE49-F238E27FC236}">
                  <a16:creationId xmlns:a16="http://schemas.microsoft.com/office/drawing/2014/main" id="{0E1B5731-FB4F-45D6-BAF7-1A6981BA6860}"/>
                </a:ext>
              </a:extLst>
            </p:cNvPr>
            <p:cNvSpPr/>
            <p:nvPr/>
          </p:nvSpPr>
          <p:spPr>
            <a:xfrm>
              <a:off x="6414282" y="1462697"/>
              <a:ext cx="3934" cy="3934"/>
            </a:xfrm>
            <a:custGeom>
              <a:avLst/>
              <a:gdLst>
                <a:gd name="connsiteX0" fmla="*/ 0 w 3934"/>
                <a:gd name="connsiteY0" fmla="*/ 2754 h 3934"/>
                <a:gd name="connsiteX1" fmla="*/ 393 w 3934"/>
                <a:gd name="connsiteY1" fmla="*/ 4328 h 3934"/>
                <a:gd name="connsiteX2" fmla="*/ 3147 w 3934"/>
                <a:gd name="connsiteY2" fmla="*/ 4328 h 3934"/>
                <a:gd name="connsiteX3" fmla="*/ 5114 w 3934"/>
                <a:gd name="connsiteY3" fmla="*/ 2361 h 3934"/>
                <a:gd name="connsiteX4" fmla="*/ 5901 w 3934"/>
                <a:gd name="connsiteY4" fmla="*/ 787 h 3934"/>
                <a:gd name="connsiteX5" fmla="*/ 3147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2754"/>
                  </a:moveTo>
                  <a:lnTo>
                    <a:pt x="393" y="4328"/>
                  </a:lnTo>
                  <a:lnTo>
                    <a:pt x="3147" y="4328"/>
                  </a:lnTo>
                  <a:lnTo>
                    <a:pt x="5114" y="2361"/>
                  </a:lnTo>
                  <a:lnTo>
                    <a:pt x="5901" y="78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66" name="Freeform: Shape 3360">
              <a:extLst>
                <a:ext uri="{FF2B5EF4-FFF2-40B4-BE49-F238E27FC236}">
                  <a16:creationId xmlns:a16="http://schemas.microsoft.com/office/drawing/2014/main" id="{C707D86B-9A96-4AEE-919B-7E2AB30067D6}"/>
                </a:ext>
              </a:extLst>
            </p:cNvPr>
            <p:cNvSpPr/>
            <p:nvPr/>
          </p:nvSpPr>
          <p:spPr>
            <a:xfrm>
              <a:off x="6421363" y="1457976"/>
              <a:ext cx="11803" cy="3934"/>
            </a:xfrm>
            <a:custGeom>
              <a:avLst/>
              <a:gdLst>
                <a:gd name="connsiteX0" fmla="*/ 3148 w 11802"/>
                <a:gd name="connsiteY0" fmla="*/ 5901 h 3934"/>
                <a:gd name="connsiteX1" fmla="*/ 5901 w 11802"/>
                <a:gd name="connsiteY1" fmla="*/ 5115 h 3934"/>
                <a:gd name="connsiteX2" fmla="*/ 8656 w 11802"/>
                <a:gd name="connsiteY2" fmla="*/ 4328 h 3934"/>
                <a:gd name="connsiteX3" fmla="*/ 11803 w 11802"/>
                <a:gd name="connsiteY3" fmla="*/ 3934 h 3934"/>
                <a:gd name="connsiteX4" fmla="*/ 14164 w 11802"/>
                <a:gd name="connsiteY4" fmla="*/ 1967 h 3934"/>
                <a:gd name="connsiteX5" fmla="*/ 11409 w 11802"/>
                <a:gd name="connsiteY5" fmla="*/ 1967 h 3934"/>
                <a:gd name="connsiteX6" fmla="*/ 8262 w 11802"/>
                <a:gd name="connsiteY6" fmla="*/ 0 h 3934"/>
                <a:gd name="connsiteX7" fmla="*/ 5115 w 11802"/>
                <a:gd name="connsiteY7" fmla="*/ 1180 h 3934"/>
                <a:gd name="connsiteX8" fmla="*/ 1967 w 11802"/>
                <a:gd name="connsiteY8" fmla="*/ 1180 h 3934"/>
                <a:gd name="connsiteX9" fmla="*/ 3148 w 11802"/>
                <a:gd name="connsiteY9" fmla="*/ 2754 h 3934"/>
                <a:gd name="connsiteX10" fmla="*/ 0 w 11802"/>
                <a:gd name="connsiteY10" fmla="*/ 3147 h 3934"/>
                <a:gd name="connsiteX11" fmla="*/ 1967 w 11802"/>
                <a:gd name="connsiteY11" fmla="*/ 4721 h 3934"/>
                <a:gd name="connsiteX12" fmla="*/ 0 w 11802"/>
                <a:gd name="connsiteY12" fmla="*/ 747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3934">
                  <a:moveTo>
                    <a:pt x="3148" y="5901"/>
                  </a:moveTo>
                  <a:lnTo>
                    <a:pt x="5901" y="5115"/>
                  </a:lnTo>
                  <a:lnTo>
                    <a:pt x="8656" y="4328"/>
                  </a:lnTo>
                  <a:lnTo>
                    <a:pt x="11803" y="3934"/>
                  </a:lnTo>
                  <a:lnTo>
                    <a:pt x="14164" y="1967"/>
                  </a:lnTo>
                  <a:lnTo>
                    <a:pt x="11409" y="1967"/>
                  </a:lnTo>
                  <a:lnTo>
                    <a:pt x="8262" y="0"/>
                  </a:lnTo>
                  <a:lnTo>
                    <a:pt x="5115" y="1180"/>
                  </a:lnTo>
                  <a:lnTo>
                    <a:pt x="1967" y="1180"/>
                  </a:lnTo>
                  <a:lnTo>
                    <a:pt x="3148" y="2754"/>
                  </a:lnTo>
                  <a:lnTo>
                    <a:pt x="0" y="3147"/>
                  </a:lnTo>
                  <a:lnTo>
                    <a:pt x="1967" y="4721"/>
                  </a:lnTo>
                  <a:lnTo>
                    <a:pt x="0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67" name="Freeform: Shape 3361">
              <a:extLst>
                <a:ext uri="{FF2B5EF4-FFF2-40B4-BE49-F238E27FC236}">
                  <a16:creationId xmlns:a16="http://schemas.microsoft.com/office/drawing/2014/main" id="{A41F4227-90FB-4A73-84D8-CDBA5EE6445B}"/>
                </a:ext>
              </a:extLst>
            </p:cNvPr>
            <p:cNvSpPr/>
            <p:nvPr/>
          </p:nvSpPr>
          <p:spPr>
            <a:xfrm>
              <a:off x="6440641" y="1438305"/>
              <a:ext cx="19671" cy="11803"/>
            </a:xfrm>
            <a:custGeom>
              <a:avLst/>
              <a:gdLst>
                <a:gd name="connsiteX0" fmla="*/ 5115 w 19671"/>
                <a:gd name="connsiteY0" fmla="*/ 5115 h 11802"/>
                <a:gd name="connsiteX1" fmla="*/ 2754 w 19671"/>
                <a:gd name="connsiteY1" fmla="*/ 7869 h 11802"/>
                <a:gd name="connsiteX2" fmla="*/ 0 w 19671"/>
                <a:gd name="connsiteY2" fmla="*/ 9836 h 11802"/>
                <a:gd name="connsiteX3" fmla="*/ 2754 w 19671"/>
                <a:gd name="connsiteY3" fmla="*/ 11409 h 11802"/>
                <a:gd name="connsiteX4" fmla="*/ 5901 w 19671"/>
                <a:gd name="connsiteY4" fmla="*/ 9049 h 11802"/>
                <a:gd name="connsiteX5" fmla="*/ 9049 w 19671"/>
                <a:gd name="connsiteY5" fmla="*/ 9836 h 11802"/>
                <a:gd name="connsiteX6" fmla="*/ 12196 w 19671"/>
                <a:gd name="connsiteY6" fmla="*/ 7869 h 11802"/>
                <a:gd name="connsiteX7" fmla="*/ 12196 w 19671"/>
                <a:gd name="connsiteY7" fmla="*/ 9836 h 11802"/>
                <a:gd name="connsiteX8" fmla="*/ 9049 w 19671"/>
                <a:gd name="connsiteY8" fmla="*/ 10229 h 11802"/>
                <a:gd name="connsiteX9" fmla="*/ 10623 w 19671"/>
                <a:gd name="connsiteY9" fmla="*/ 12196 h 11802"/>
                <a:gd name="connsiteX10" fmla="*/ 12196 w 19671"/>
                <a:gd name="connsiteY10" fmla="*/ 12196 h 11802"/>
                <a:gd name="connsiteX11" fmla="*/ 14950 w 19671"/>
                <a:gd name="connsiteY11" fmla="*/ 11803 h 11802"/>
                <a:gd name="connsiteX12" fmla="*/ 18098 w 19671"/>
                <a:gd name="connsiteY12" fmla="*/ 10622 h 11802"/>
                <a:gd name="connsiteX13" fmla="*/ 21245 w 19671"/>
                <a:gd name="connsiteY13" fmla="*/ 9836 h 11802"/>
                <a:gd name="connsiteX14" fmla="*/ 21638 w 19671"/>
                <a:gd name="connsiteY14" fmla="*/ 8655 h 11802"/>
                <a:gd name="connsiteX15" fmla="*/ 18885 w 19671"/>
                <a:gd name="connsiteY15" fmla="*/ 7082 h 11802"/>
                <a:gd name="connsiteX16" fmla="*/ 20065 w 19671"/>
                <a:gd name="connsiteY16" fmla="*/ 4328 h 11802"/>
                <a:gd name="connsiteX17" fmla="*/ 16918 w 19671"/>
                <a:gd name="connsiteY17" fmla="*/ 2361 h 11802"/>
                <a:gd name="connsiteX18" fmla="*/ 14163 w 19671"/>
                <a:gd name="connsiteY18" fmla="*/ 0 h 11802"/>
                <a:gd name="connsiteX19" fmla="*/ 14163 w 19671"/>
                <a:gd name="connsiteY19" fmla="*/ 2754 h 11802"/>
                <a:gd name="connsiteX20" fmla="*/ 13377 w 19671"/>
                <a:gd name="connsiteY20" fmla="*/ 5115 h 11802"/>
                <a:gd name="connsiteX21" fmla="*/ 11803 w 19671"/>
                <a:gd name="connsiteY21" fmla="*/ 4328 h 11802"/>
                <a:gd name="connsiteX22" fmla="*/ 11803 w 19671"/>
                <a:gd name="connsiteY22" fmla="*/ 5901 h 11802"/>
                <a:gd name="connsiteX23" fmla="*/ 8656 w 19671"/>
                <a:gd name="connsiteY23" fmla="*/ 629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9671" h="11802">
                  <a:moveTo>
                    <a:pt x="5115" y="5115"/>
                  </a:moveTo>
                  <a:lnTo>
                    <a:pt x="2754" y="7869"/>
                  </a:lnTo>
                  <a:lnTo>
                    <a:pt x="0" y="9836"/>
                  </a:lnTo>
                  <a:lnTo>
                    <a:pt x="2754" y="11409"/>
                  </a:lnTo>
                  <a:lnTo>
                    <a:pt x="5901" y="9049"/>
                  </a:lnTo>
                  <a:lnTo>
                    <a:pt x="9049" y="9836"/>
                  </a:lnTo>
                  <a:lnTo>
                    <a:pt x="12196" y="7869"/>
                  </a:lnTo>
                  <a:lnTo>
                    <a:pt x="12196" y="9836"/>
                  </a:lnTo>
                  <a:lnTo>
                    <a:pt x="9049" y="10229"/>
                  </a:lnTo>
                  <a:lnTo>
                    <a:pt x="10623" y="12196"/>
                  </a:lnTo>
                  <a:lnTo>
                    <a:pt x="12196" y="12196"/>
                  </a:lnTo>
                  <a:lnTo>
                    <a:pt x="14950" y="11803"/>
                  </a:lnTo>
                  <a:lnTo>
                    <a:pt x="18098" y="10622"/>
                  </a:lnTo>
                  <a:lnTo>
                    <a:pt x="21245" y="9836"/>
                  </a:lnTo>
                  <a:lnTo>
                    <a:pt x="21638" y="8655"/>
                  </a:lnTo>
                  <a:lnTo>
                    <a:pt x="18885" y="7082"/>
                  </a:lnTo>
                  <a:lnTo>
                    <a:pt x="20065" y="4328"/>
                  </a:lnTo>
                  <a:lnTo>
                    <a:pt x="16918" y="2361"/>
                  </a:lnTo>
                  <a:lnTo>
                    <a:pt x="14163" y="0"/>
                  </a:lnTo>
                  <a:lnTo>
                    <a:pt x="14163" y="2754"/>
                  </a:lnTo>
                  <a:lnTo>
                    <a:pt x="13377" y="5115"/>
                  </a:lnTo>
                  <a:lnTo>
                    <a:pt x="11803" y="4328"/>
                  </a:lnTo>
                  <a:lnTo>
                    <a:pt x="11803" y="5901"/>
                  </a:lnTo>
                  <a:lnTo>
                    <a:pt x="8656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68" name="Freeform: Shape 3362">
              <a:extLst>
                <a:ext uri="{FF2B5EF4-FFF2-40B4-BE49-F238E27FC236}">
                  <a16:creationId xmlns:a16="http://schemas.microsoft.com/office/drawing/2014/main" id="{A5E184CB-5085-4716-AC81-2E4B5EEE01C4}"/>
                </a:ext>
              </a:extLst>
            </p:cNvPr>
            <p:cNvSpPr/>
            <p:nvPr/>
          </p:nvSpPr>
          <p:spPr>
            <a:xfrm>
              <a:off x="6438281" y="1454042"/>
              <a:ext cx="15737" cy="3934"/>
            </a:xfrm>
            <a:custGeom>
              <a:avLst/>
              <a:gdLst>
                <a:gd name="connsiteX0" fmla="*/ 15344 w 15737"/>
                <a:gd name="connsiteY0" fmla="*/ 2754 h 3934"/>
                <a:gd name="connsiteX1" fmla="*/ 17311 w 15737"/>
                <a:gd name="connsiteY1" fmla="*/ 0 h 3934"/>
                <a:gd name="connsiteX2" fmla="*/ 14557 w 15737"/>
                <a:gd name="connsiteY2" fmla="*/ 0 h 3934"/>
                <a:gd name="connsiteX3" fmla="*/ 11016 w 15737"/>
                <a:gd name="connsiteY3" fmla="*/ 787 h 3934"/>
                <a:gd name="connsiteX4" fmla="*/ 8262 w 15737"/>
                <a:gd name="connsiteY4" fmla="*/ 787 h 3934"/>
                <a:gd name="connsiteX5" fmla="*/ 5115 w 15737"/>
                <a:gd name="connsiteY5" fmla="*/ 1574 h 3934"/>
                <a:gd name="connsiteX6" fmla="*/ 2754 w 15737"/>
                <a:gd name="connsiteY6" fmla="*/ 4328 h 3934"/>
                <a:gd name="connsiteX7" fmla="*/ 0 w 15737"/>
                <a:gd name="connsiteY7" fmla="*/ 5901 h 3934"/>
                <a:gd name="connsiteX8" fmla="*/ 393 w 15737"/>
                <a:gd name="connsiteY8" fmla="*/ 6295 h 3934"/>
                <a:gd name="connsiteX9" fmla="*/ 0 w 15737"/>
                <a:gd name="connsiteY9" fmla="*/ 6295 h 3934"/>
                <a:gd name="connsiteX10" fmla="*/ 2754 w 15737"/>
                <a:gd name="connsiteY10" fmla="*/ 7475 h 3934"/>
                <a:gd name="connsiteX11" fmla="*/ 5901 w 15737"/>
                <a:gd name="connsiteY11" fmla="*/ 6295 h 3934"/>
                <a:gd name="connsiteX12" fmla="*/ 9049 w 15737"/>
                <a:gd name="connsiteY12" fmla="*/ 5115 h 3934"/>
                <a:gd name="connsiteX13" fmla="*/ 12196 w 15737"/>
                <a:gd name="connsiteY13" fmla="*/ 5115 h 3934"/>
                <a:gd name="connsiteX14" fmla="*/ 14557 w 15737"/>
                <a:gd name="connsiteY14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737" h="3934">
                  <a:moveTo>
                    <a:pt x="15344" y="2754"/>
                  </a:moveTo>
                  <a:lnTo>
                    <a:pt x="17311" y="0"/>
                  </a:lnTo>
                  <a:lnTo>
                    <a:pt x="14557" y="0"/>
                  </a:lnTo>
                  <a:lnTo>
                    <a:pt x="11016" y="787"/>
                  </a:lnTo>
                  <a:lnTo>
                    <a:pt x="8262" y="787"/>
                  </a:lnTo>
                  <a:lnTo>
                    <a:pt x="5115" y="1574"/>
                  </a:lnTo>
                  <a:lnTo>
                    <a:pt x="2754" y="4328"/>
                  </a:lnTo>
                  <a:lnTo>
                    <a:pt x="0" y="5901"/>
                  </a:lnTo>
                  <a:lnTo>
                    <a:pt x="393" y="6295"/>
                  </a:lnTo>
                  <a:lnTo>
                    <a:pt x="0" y="6295"/>
                  </a:lnTo>
                  <a:lnTo>
                    <a:pt x="2754" y="7475"/>
                  </a:lnTo>
                  <a:lnTo>
                    <a:pt x="5901" y="6295"/>
                  </a:lnTo>
                  <a:lnTo>
                    <a:pt x="9049" y="5115"/>
                  </a:lnTo>
                  <a:lnTo>
                    <a:pt x="12196" y="5115"/>
                  </a:lnTo>
                  <a:lnTo>
                    <a:pt x="14557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69" name="Freeform: Shape 3363">
              <a:extLst>
                <a:ext uri="{FF2B5EF4-FFF2-40B4-BE49-F238E27FC236}">
                  <a16:creationId xmlns:a16="http://schemas.microsoft.com/office/drawing/2014/main" id="{80ABA087-4A40-4C50-8611-D1409526754E}"/>
                </a:ext>
              </a:extLst>
            </p:cNvPr>
            <p:cNvSpPr/>
            <p:nvPr/>
          </p:nvSpPr>
          <p:spPr>
            <a:xfrm>
              <a:off x="6455592" y="1439878"/>
              <a:ext cx="31474" cy="15737"/>
            </a:xfrm>
            <a:custGeom>
              <a:avLst/>
              <a:gdLst>
                <a:gd name="connsiteX0" fmla="*/ 29507 w 31474"/>
                <a:gd name="connsiteY0" fmla="*/ 2754 h 15737"/>
                <a:gd name="connsiteX1" fmla="*/ 26753 w 31474"/>
                <a:gd name="connsiteY1" fmla="*/ 1967 h 15737"/>
                <a:gd name="connsiteX2" fmla="*/ 23999 w 31474"/>
                <a:gd name="connsiteY2" fmla="*/ 2754 h 15737"/>
                <a:gd name="connsiteX3" fmla="*/ 24392 w 31474"/>
                <a:gd name="connsiteY3" fmla="*/ 5508 h 15737"/>
                <a:gd name="connsiteX4" fmla="*/ 21245 w 31474"/>
                <a:gd name="connsiteY4" fmla="*/ 5901 h 15737"/>
                <a:gd name="connsiteX5" fmla="*/ 20458 w 31474"/>
                <a:gd name="connsiteY5" fmla="*/ 7475 h 15737"/>
                <a:gd name="connsiteX6" fmla="*/ 18884 w 31474"/>
                <a:gd name="connsiteY6" fmla="*/ 7475 h 15737"/>
                <a:gd name="connsiteX7" fmla="*/ 19278 w 31474"/>
                <a:gd name="connsiteY7" fmla="*/ 4721 h 15737"/>
                <a:gd name="connsiteX8" fmla="*/ 18491 w 31474"/>
                <a:gd name="connsiteY8" fmla="*/ 5115 h 15737"/>
                <a:gd name="connsiteX9" fmla="*/ 17704 w 31474"/>
                <a:gd name="connsiteY9" fmla="*/ 2361 h 15737"/>
                <a:gd name="connsiteX10" fmla="*/ 17704 w 31474"/>
                <a:gd name="connsiteY10" fmla="*/ 0 h 15737"/>
                <a:gd name="connsiteX11" fmla="*/ 17311 w 31474"/>
                <a:gd name="connsiteY11" fmla="*/ 0 h 15737"/>
                <a:gd name="connsiteX12" fmla="*/ 12196 w 31474"/>
                <a:gd name="connsiteY12" fmla="*/ 0 h 15737"/>
                <a:gd name="connsiteX13" fmla="*/ 11409 w 31474"/>
                <a:gd name="connsiteY13" fmla="*/ 787 h 15737"/>
                <a:gd name="connsiteX14" fmla="*/ 11409 w 31474"/>
                <a:gd name="connsiteY14" fmla="*/ 2361 h 15737"/>
                <a:gd name="connsiteX15" fmla="*/ 9836 w 31474"/>
                <a:gd name="connsiteY15" fmla="*/ 6295 h 15737"/>
                <a:gd name="connsiteX16" fmla="*/ 9836 w 31474"/>
                <a:gd name="connsiteY16" fmla="*/ 6688 h 15737"/>
                <a:gd name="connsiteX17" fmla="*/ 7475 w 31474"/>
                <a:gd name="connsiteY17" fmla="*/ 7082 h 15737"/>
                <a:gd name="connsiteX18" fmla="*/ 8262 w 31474"/>
                <a:gd name="connsiteY18" fmla="*/ 10229 h 15737"/>
                <a:gd name="connsiteX19" fmla="*/ 5114 w 31474"/>
                <a:gd name="connsiteY19" fmla="*/ 11016 h 15737"/>
                <a:gd name="connsiteX20" fmla="*/ 2360 w 31474"/>
                <a:gd name="connsiteY20" fmla="*/ 11409 h 15737"/>
                <a:gd name="connsiteX21" fmla="*/ 3934 w 31474"/>
                <a:gd name="connsiteY21" fmla="*/ 14163 h 15737"/>
                <a:gd name="connsiteX22" fmla="*/ 1180 w 31474"/>
                <a:gd name="connsiteY22" fmla="*/ 16131 h 15737"/>
                <a:gd name="connsiteX23" fmla="*/ 0 w 31474"/>
                <a:gd name="connsiteY23" fmla="*/ 19278 h 15737"/>
                <a:gd name="connsiteX24" fmla="*/ 3147 w 31474"/>
                <a:gd name="connsiteY24" fmla="*/ 16917 h 15737"/>
                <a:gd name="connsiteX25" fmla="*/ 6688 w 31474"/>
                <a:gd name="connsiteY25" fmla="*/ 15344 h 15737"/>
                <a:gd name="connsiteX26" fmla="*/ 9442 w 31474"/>
                <a:gd name="connsiteY26" fmla="*/ 14557 h 15737"/>
                <a:gd name="connsiteX27" fmla="*/ 7081 w 31474"/>
                <a:gd name="connsiteY27" fmla="*/ 17704 h 15737"/>
                <a:gd name="connsiteX28" fmla="*/ 9836 w 31474"/>
                <a:gd name="connsiteY28" fmla="*/ 18098 h 15737"/>
                <a:gd name="connsiteX29" fmla="*/ 12589 w 31474"/>
                <a:gd name="connsiteY29" fmla="*/ 18884 h 15737"/>
                <a:gd name="connsiteX30" fmla="*/ 14557 w 31474"/>
                <a:gd name="connsiteY30" fmla="*/ 16131 h 15737"/>
                <a:gd name="connsiteX31" fmla="*/ 17311 w 31474"/>
                <a:gd name="connsiteY31" fmla="*/ 13377 h 15737"/>
                <a:gd name="connsiteX32" fmla="*/ 18098 w 31474"/>
                <a:gd name="connsiteY32" fmla="*/ 16524 h 15737"/>
                <a:gd name="connsiteX33" fmla="*/ 20851 w 31474"/>
                <a:gd name="connsiteY33" fmla="*/ 14557 h 15737"/>
                <a:gd name="connsiteX34" fmla="*/ 22425 w 31474"/>
                <a:gd name="connsiteY34" fmla="*/ 11803 h 15737"/>
                <a:gd name="connsiteX35" fmla="*/ 25179 w 31474"/>
                <a:gd name="connsiteY35" fmla="*/ 11409 h 15737"/>
                <a:gd name="connsiteX36" fmla="*/ 27933 w 31474"/>
                <a:gd name="connsiteY36" fmla="*/ 11409 h 15737"/>
                <a:gd name="connsiteX37" fmla="*/ 31081 w 31474"/>
                <a:gd name="connsiteY37" fmla="*/ 11409 h 15737"/>
                <a:gd name="connsiteX38" fmla="*/ 32654 w 31474"/>
                <a:gd name="connsiteY38" fmla="*/ 9049 h 15737"/>
                <a:gd name="connsiteX39" fmla="*/ 32261 w 31474"/>
                <a:gd name="connsiteY39" fmla="*/ 6295 h 15737"/>
                <a:gd name="connsiteX40" fmla="*/ 32654 w 31474"/>
                <a:gd name="connsiteY40" fmla="*/ 3541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1474" h="15737">
                  <a:moveTo>
                    <a:pt x="29507" y="2754"/>
                  </a:moveTo>
                  <a:lnTo>
                    <a:pt x="26753" y="1967"/>
                  </a:lnTo>
                  <a:lnTo>
                    <a:pt x="23999" y="2754"/>
                  </a:lnTo>
                  <a:lnTo>
                    <a:pt x="24392" y="5508"/>
                  </a:lnTo>
                  <a:lnTo>
                    <a:pt x="21245" y="5901"/>
                  </a:lnTo>
                  <a:lnTo>
                    <a:pt x="20458" y="7475"/>
                  </a:lnTo>
                  <a:lnTo>
                    <a:pt x="18884" y="7475"/>
                  </a:lnTo>
                  <a:lnTo>
                    <a:pt x="19278" y="4721"/>
                  </a:lnTo>
                  <a:lnTo>
                    <a:pt x="18491" y="5115"/>
                  </a:lnTo>
                  <a:lnTo>
                    <a:pt x="17704" y="2361"/>
                  </a:lnTo>
                  <a:lnTo>
                    <a:pt x="17704" y="0"/>
                  </a:lnTo>
                  <a:lnTo>
                    <a:pt x="17311" y="0"/>
                  </a:lnTo>
                  <a:lnTo>
                    <a:pt x="12196" y="0"/>
                  </a:lnTo>
                  <a:lnTo>
                    <a:pt x="11409" y="787"/>
                  </a:lnTo>
                  <a:lnTo>
                    <a:pt x="11409" y="2361"/>
                  </a:lnTo>
                  <a:lnTo>
                    <a:pt x="9836" y="6295"/>
                  </a:lnTo>
                  <a:lnTo>
                    <a:pt x="9836" y="6688"/>
                  </a:lnTo>
                  <a:lnTo>
                    <a:pt x="7475" y="7082"/>
                  </a:lnTo>
                  <a:lnTo>
                    <a:pt x="8262" y="10229"/>
                  </a:lnTo>
                  <a:lnTo>
                    <a:pt x="5114" y="11016"/>
                  </a:lnTo>
                  <a:lnTo>
                    <a:pt x="2360" y="11409"/>
                  </a:lnTo>
                  <a:lnTo>
                    <a:pt x="3934" y="14163"/>
                  </a:lnTo>
                  <a:lnTo>
                    <a:pt x="1180" y="16131"/>
                  </a:lnTo>
                  <a:lnTo>
                    <a:pt x="0" y="19278"/>
                  </a:lnTo>
                  <a:lnTo>
                    <a:pt x="3147" y="16917"/>
                  </a:lnTo>
                  <a:lnTo>
                    <a:pt x="6688" y="15344"/>
                  </a:lnTo>
                  <a:lnTo>
                    <a:pt x="9442" y="14557"/>
                  </a:lnTo>
                  <a:lnTo>
                    <a:pt x="7081" y="17704"/>
                  </a:lnTo>
                  <a:lnTo>
                    <a:pt x="9836" y="18098"/>
                  </a:lnTo>
                  <a:lnTo>
                    <a:pt x="12589" y="18884"/>
                  </a:lnTo>
                  <a:lnTo>
                    <a:pt x="14557" y="16131"/>
                  </a:lnTo>
                  <a:lnTo>
                    <a:pt x="17311" y="13377"/>
                  </a:lnTo>
                  <a:lnTo>
                    <a:pt x="18098" y="16524"/>
                  </a:lnTo>
                  <a:lnTo>
                    <a:pt x="20851" y="14557"/>
                  </a:lnTo>
                  <a:lnTo>
                    <a:pt x="22425" y="11803"/>
                  </a:lnTo>
                  <a:lnTo>
                    <a:pt x="25179" y="11409"/>
                  </a:lnTo>
                  <a:lnTo>
                    <a:pt x="27933" y="11409"/>
                  </a:lnTo>
                  <a:lnTo>
                    <a:pt x="31081" y="11409"/>
                  </a:lnTo>
                  <a:lnTo>
                    <a:pt x="32654" y="9049"/>
                  </a:lnTo>
                  <a:lnTo>
                    <a:pt x="32261" y="6295"/>
                  </a:lnTo>
                  <a:lnTo>
                    <a:pt x="32654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70" name="Freeform: Shape 3364">
              <a:extLst>
                <a:ext uri="{FF2B5EF4-FFF2-40B4-BE49-F238E27FC236}">
                  <a16:creationId xmlns:a16="http://schemas.microsoft.com/office/drawing/2014/main" id="{F4E6AC2E-8461-469B-AC26-5632DD3360DD}"/>
                </a:ext>
              </a:extLst>
            </p:cNvPr>
            <p:cNvSpPr/>
            <p:nvPr/>
          </p:nvSpPr>
          <p:spPr>
            <a:xfrm>
              <a:off x="6463067" y="1430043"/>
              <a:ext cx="11803" cy="7869"/>
            </a:xfrm>
            <a:custGeom>
              <a:avLst/>
              <a:gdLst>
                <a:gd name="connsiteX0" fmla="*/ 4721 w 11802"/>
                <a:gd name="connsiteY0" fmla="*/ 9049 h 7868"/>
                <a:gd name="connsiteX1" fmla="*/ 7869 w 11802"/>
                <a:gd name="connsiteY1" fmla="*/ 8262 h 7868"/>
                <a:gd name="connsiteX2" fmla="*/ 11016 w 11802"/>
                <a:gd name="connsiteY2" fmla="*/ 5901 h 7868"/>
                <a:gd name="connsiteX3" fmla="*/ 13770 w 11802"/>
                <a:gd name="connsiteY3" fmla="*/ 3934 h 7868"/>
                <a:gd name="connsiteX4" fmla="*/ 14950 w 11802"/>
                <a:gd name="connsiteY4" fmla="*/ 787 h 7868"/>
                <a:gd name="connsiteX5" fmla="*/ 11803 w 11802"/>
                <a:gd name="connsiteY5" fmla="*/ 0 h 7868"/>
                <a:gd name="connsiteX6" fmla="*/ 9049 w 11802"/>
                <a:gd name="connsiteY6" fmla="*/ 1180 h 7868"/>
                <a:gd name="connsiteX7" fmla="*/ 7081 w 11802"/>
                <a:gd name="connsiteY7" fmla="*/ 3934 h 7868"/>
                <a:gd name="connsiteX8" fmla="*/ 3934 w 11802"/>
                <a:gd name="connsiteY8" fmla="*/ 4721 h 7868"/>
                <a:gd name="connsiteX9" fmla="*/ 1180 w 11802"/>
                <a:gd name="connsiteY9" fmla="*/ 7475 h 7868"/>
                <a:gd name="connsiteX10" fmla="*/ 0 w 11802"/>
                <a:gd name="connsiteY10" fmla="*/ 10623 h 7868"/>
                <a:gd name="connsiteX11" fmla="*/ 2754 w 11802"/>
                <a:gd name="connsiteY11" fmla="*/ 11016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7868">
                  <a:moveTo>
                    <a:pt x="4721" y="9049"/>
                  </a:moveTo>
                  <a:lnTo>
                    <a:pt x="7869" y="8262"/>
                  </a:lnTo>
                  <a:lnTo>
                    <a:pt x="11016" y="5901"/>
                  </a:lnTo>
                  <a:lnTo>
                    <a:pt x="13770" y="3934"/>
                  </a:lnTo>
                  <a:lnTo>
                    <a:pt x="14950" y="787"/>
                  </a:lnTo>
                  <a:lnTo>
                    <a:pt x="11803" y="0"/>
                  </a:lnTo>
                  <a:lnTo>
                    <a:pt x="9049" y="1180"/>
                  </a:lnTo>
                  <a:lnTo>
                    <a:pt x="7081" y="3934"/>
                  </a:lnTo>
                  <a:lnTo>
                    <a:pt x="3934" y="4721"/>
                  </a:lnTo>
                  <a:lnTo>
                    <a:pt x="1180" y="7475"/>
                  </a:lnTo>
                  <a:lnTo>
                    <a:pt x="0" y="10623"/>
                  </a:lnTo>
                  <a:lnTo>
                    <a:pt x="2754" y="1101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71" name="Freeform: Shape 3365">
              <a:extLst>
                <a:ext uri="{FF2B5EF4-FFF2-40B4-BE49-F238E27FC236}">
                  <a16:creationId xmlns:a16="http://schemas.microsoft.com/office/drawing/2014/main" id="{05594BFF-10D4-4B58-8AA3-BEBD0EE8A5A0}"/>
                </a:ext>
              </a:extLst>
            </p:cNvPr>
            <p:cNvSpPr/>
            <p:nvPr/>
          </p:nvSpPr>
          <p:spPr>
            <a:xfrm>
              <a:off x="6478410" y="1452075"/>
              <a:ext cx="3934" cy="3934"/>
            </a:xfrm>
            <a:custGeom>
              <a:avLst/>
              <a:gdLst>
                <a:gd name="connsiteX0" fmla="*/ 1180 w 3934"/>
                <a:gd name="connsiteY0" fmla="*/ 1180 h 0"/>
                <a:gd name="connsiteX1" fmla="*/ 0 w 3934"/>
                <a:gd name="connsiteY1" fmla="*/ 1967 h 0"/>
                <a:gd name="connsiteX2" fmla="*/ 3148 w 3934"/>
                <a:gd name="connsiteY2" fmla="*/ 3541 h 0"/>
                <a:gd name="connsiteX3" fmla="*/ 6295 w 3934"/>
                <a:gd name="connsiteY3" fmla="*/ 3147 h 0"/>
                <a:gd name="connsiteX4" fmla="*/ 6689 w 3934"/>
                <a:gd name="connsiteY4" fmla="*/ 393 h 0"/>
                <a:gd name="connsiteX5" fmla="*/ 3934 w 3934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1180" y="1180"/>
                  </a:moveTo>
                  <a:lnTo>
                    <a:pt x="0" y="1967"/>
                  </a:lnTo>
                  <a:lnTo>
                    <a:pt x="3148" y="3541"/>
                  </a:lnTo>
                  <a:lnTo>
                    <a:pt x="6295" y="3147"/>
                  </a:lnTo>
                  <a:lnTo>
                    <a:pt x="6689" y="393"/>
                  </a:lnTo>
                  <a:lnTo>
                    <a:pt x="393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72" name="Freeform: Shape 3366">
              <a:extLst>
                <a:ext uri="{FF2B5EF4-FFF2-40B4-BE49-F238E27FC236}">
                  <a16:creationId xmlns:a16="http://schemas.microsoft.com/office/drawing/2014/main" id="{9148555D-E9CA-452C-9120-D0B6DFE82452}"/>
                </a:ext>
              </a:extLst>
            </p:cNvPr>
            <p:cNvSpPr/>
            <p:nvPr/>
          </p:nvSpPr>
          <p:spPr>
            <a:xfrm>
              <a:off x="6483132" y="1439878"/>
              <a:ext cx="3934" cy="3934"/>
            </a:xfrm>
            <a:custGeom>
              <a:avLst/>
              <a:gdLst>
                <a:gd name="connsiteX0" fmla="*/ 3147 w 3934"/>
                <a:gd name="connsiteY0" fmla="*/ 0 h 0"/>
                <a:gd name="connsiteX1" fmla="*/ 0 w 3934"/>
                <a:gd name="connsiteY1" fmla="*/ 1180 h 0"/>
                <a:gd name="connsiteX2" fmla="*/ 3147 w 3934"/>
                <a:gd name="connsiteY2" fmla="*/ 1967 h 0"/>
                <a:gd name="connsiteX3" fmla="*/ 5901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147" y="0"/>
                  </a:moveTo>
                  <a:lnTo>
                    <a:pt x="0" y="1180"/>
                  </a:lnTo>
                  <a:lnTo>
                    <a:pt x="3147" y="1967"/>
                  </a:lnTo>
                  <a:lnTo>
                    <a:pt x="5901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73" name="Freeform: Shape 3367">
              <a:extLst>
                <a:ext uri="{FF2B5EF4-FFF2-40B4-BE49-F238E27FC236}">
                  <a16:creationId xmlns:a16="http://schemas.microsoft.com/office/drawing/2014/main" id="{98AE2D5D-5B4F-4880-ABB0-7AA506D80D36}"/>
                </a:ext>
              </a:extLst>
            </p:cNvPr>
            <p:cNvSpPr/>
            <p:nvPr/>
          </p:nvSpPr>
          <p:spPr>
            <a:xfrm>
              <a:off x="6493361" y="1443419"/>
              <a:ext cx="3934" cy="3934"/>
            </a:xfrm>
            <a:custGeom>
              <a:avLst/>
              <a:gdLst>
                <a:gd name="connsiteX0" fmla="*/ 5901 w 3934"/>
                <a:gd name="connsiteY0" fmla="*/ 2754 h 0"/>
                <a:gd name="connsiteX1" fmla="*/ 5901 w 3934"/>
                <a:gd name="connsiteY1" fmla="*/ 393 h 0"/>
                <a:gd name="connsiteX2" fmla="*/ 2754 w 3934"/>
                <a:gd name="connsiteY2" fmla="*/ 0 h 0"/>
                <a:gd name="connsiteX3" fmla="*/ 0 w 3934"/>
                <a:gd name="connsiteY3" fmla="*/ 2754 h 0"/>
                <a:gd name="connsiteX4" fmla="*/ 2754 w 3934"/>
                <a:gd name="connsiteY4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2754"/>
                  </a:moveTo>
                  <a:lnTo>
                    <a:pt x="5901" y="393"/>
                  </a:lnTo>
                  <a:lnTo>
                    <a:pt x="2754" y="0"/>
                  </a:lnTo>
                  <a:lnTo>
                    <a:pt x="0" y="2754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74" name="Freeform: Shape 3368">
              <a:extLst>
                <a:ext uri="{FF2B5EF4-FFF2-40B4-BE49-F238E27FC236}">
                  <a16:creationId xmlns:a16="http://schemas.microsoft.com/office/drawing/2014/main" id="{A821219C-1121-4180-8876-15858894A164}"/>
                </a:ext>
              </a:extLst>
            </p:cNvPr>
            <p:cNvSpPr/>
            <p:nvPr/>
          </p:nvSpPr>
          <p:spPr>
            <a:xfrm>
              <a:off x="6499655" y="1441059"/>
              <a:ext cx="3934" cy="3934"/>
            </a:xfrm>
            <a:custGeom>
              <a:avLst/>
              <a:gdLst>
                <a:gd name="connsiteX0" fmla="*/ 393 w 3934"/>
                <a:gd name="connsiteY0" fmla="*/ 0 h 0"/>
                <a:gd name="connsiteX1" fmla="*/ 0 w 3934"/>
                <a:gd name="connsiteY1" fmla="*/ 1180 h 0"/>
                <a:gd name="connsiteX2" fmla="*/ 3541 w 3934"/>
                <a:gd name="connsiteY2" fmla="*/ 3147 h 0"/>
                <a:gd name="connsiteX3" fmla="*/ 6689 w 3934"/>
                <a:gd name="connsiteY3" fmla="*/ 1967 h 0"/>
                <a:gd name="connsiteX4" fmla="*/ 3541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93" y="0"/>
                  </a:moveTo>
                  <a:lnTo>
                    <a:pt x="0" y="1180"/>
                  </a:lnTo>
                  <a:lnTo>
                    <a:pt x="3541" y="3147"/>
                  </a:lnTo>
                  <a:lnTo>
                    <a:pt x="6689" y="1967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75" name="Freeform: Shape 3369">
              <a:extLst>
                <a:ext uri="{FF2B5EF4-FFF2-40B4-BE49-F238E27FC236}">
                  <a16:creationId xmlns:a16="http://schemas.microsoft.com/office/drawing/2014/main" id="{A9163D04-D70D-4E41-B9D3-938680084CA0}"/>
                </a:ext>
              </a:extLst>
            </p:cNvPr>
            <p:cNvSpPr/>
            <p:nvPr/>
          </p:nvSpPr>
          <p:spPr>
            <a:xfrm>
              <a:off x="6610995" y="1547677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0 h 0"/>
                <a:gd name="connsiteX2" fmla="*/ 314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76" name="Freeform: Shape 3370">
              <a:extLst>
                <a:ext uri="{FF2B5EF4-FFF2-40B4-BE49-F238E27FC236}">
                  <a16:creationId xmlns:a16="http://schemas.microsoft.com/office/drawing/2014/main" id="{709A63CA-D49C-4D0E-8145-4ED7199A1213}"/>
                </a:ext>
              </a:extLst>
            </p:cNvPr>
            <p:cNvSpPr/>
            <p:nvPr/>
          </p:nvSpPr>
          <p:spPr>
            <a:xfrm>
              <a:off x="6543326" y="1693638"/>
              <a:ext cx="3934" cy="3934"/>
            </a:xfrm>
            <a:custGeom>
              <a:avLst/>
              <a:gdLst>
                <a:gd name="connsiteX0" fmla="*/ 787 w 3934"/>
                <a:gd name="connsiteY0" fmla="*/ 3147 h 3934"/>
                <a:gd name="connsiteX1" fmla="*/ 2361 w 3934"/>
                <a:gd name="connsiteY1" fmla="*/ 4328 h 3934"/>
                <a:gd name="connsiteX2" fmla="*/ 5508 w 3934"/>
                <a:gd name="connsiteY2" fmla="*/ 4721 h 3934"/>
                <a:gd name="connsiteX3" fmla="*/ 2754 w 3934"/>
                <a:gd name="connsiteY3" fmla="*/ 1574 h 3934"/>
                <a:gd name="connsiteX4" fmla="*/ 0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787" y="3147"/>
                  </a:moveTo>
                  <a:lnTo>
                    <a:pt x="2361" y="4328"/>
                  </a:lnTo>
                  <a:lnTo>
                    <a:pt x="5508" y="4721"/>
                  </a:lnTo>
                  <a:lnTo>
                    <a:pt x="2754" y="15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77" name="Freeform: Shape 3371">
              <a:extLst>
                <a:ext uri="{FF2B5EF4-FFF2-40B4-BE49-F238E27FC236}">
                  <a16:creationId xmlns:a16="http://schemas.microsoft.com/office/drawing/2014/main" id="{D87CAC55-BB0C-4F86-A200-2ECAF0294CA0}"/>
                </a:ext>
              </a:extLst>
            </p:cNvPr>
            <p:cNvSpPr/>
            <p:nvPr/>
          </p:nvSpPr>
          <p:spPr>
            <a:xfrm>
              <a:off x="6620831" y="153980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2754 w 0"/>
                <a:gd name="connsiteY1" fmla="*/ 1180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2754" y="118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78" name="Freeform: Shape 3372">
              <a:extLst>
                <a:ext uri="{FF2B5EF4-FFF2-40B4-BE49-F238E27FC236}">
                  <a16:creationId xmlns:a16="http://schemas.microsoft.com/office/drawing/2014/main" id="{4302F47B-DD55-4560-83B6-D3070A253731}"/>
                </a:ext>
              </a:extLst>
            </p:cNvPr>
            <p:cNvSpPr/>
            <p:nvPr/>
          </p:nvSpPr>
          <p:spPr>
            <a:xfrm>
              <a:off x="6571653" y="1699540"/>
              <a:ext cx="3934" cy="3934"/>
            </a:xfrm>
            <a:custGeom>
              <a:avLst/>
              <a:gdLst>
                <a:gd name="connsiteX0" fmla="*/ 1574 w 0"/>
                <a:gd name="connsiteY0" fmla="*/ 0 h 0"/>
                <a:gd name="connsiteX1" fmla="*/ 0 w 0"/>
                <a:gd name="connsiteY1" fmla="*/ 3147 h 0"/>
                <a:gd name="connsiteX2" fmla="*/ 2754 w 0"/>
                <a:gd name="connsiteY2" fmla="*/ 3541 h 0"/>
                <a:gd name="connsiteX3" fmla="*/ 2360 w 0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574" y="0"/>
                  </a:moveTo>
                  <a:lnTo>
                    <a:pt x="0" y="3147"/>
                  </a:lnTo>
                  <a:lnTo>
                    <a:pt x="2754" y="3541"/>
                  </a:lnTo>
                  <a:lnTo>
                    <a:pt x="236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79" name="Freeform: Shape 3373">
              <a:extLst>
                <a:ext uri="{FF2B5EF4-FFF2-40B4-BE49-F238E27FC236}">
                  <a16:creationId xmlns:a16="http://schemas.microsoft.com/office/drawing/2014/main" id="{473E0A0C-9654-4E4C-9B34-E8A615A622CD}"/>
                </a:ext>
              </a:extLst>
            </p:cNvPr>
            <p:cNvSpPr/>
            <p:nvPr/>
          </p:nvSpPr>
          <p:spPr>
            <a:xfrm>
              <a:off x="6574406" y="1695999"/>
              <a:ext cx="11803" cy="7869"/>
            </a:xfrm>
            <a:custGeom>
              <a:avLst/>
              <a:gdLst>
                <a:gd name="connsiteX0" fmla="*/ 2754 w 11802"/>
                <a:gd name="connsiteY0" fmla="*/ 3541 h 7868"/>
                <a:gd name="connsiteX1" fmla="*/ 0 w 11802"/>
                <a:gd name="connsiteY1" fmla="*/ 3934 h 7868"/>
                <a:gd name="connsiteX2" fmla="*/ 1180 w 11802"/>
                <a:gd name="connsiteY2" fmla="*/ 6688 h 7868"/>
                <a:gd name="connsiteX3" fmla="*/ 2754 w 11802"/>
                <a:gd name="connsiteY3" fmla="*/ 9442 h 7868"/>
                <a:gd name="connsiteX4" fmla="*/ 5901 w 11802"/>
                <a:gd name="connsiteY4" fmla="*/ 9442 h 7868"/>
                <a:gd name="connsiteX5" fmla="*/ 8262 w 11802"/>
                <a:gd name="connsiteY5" fmla="*/ 9442 h 7868"/>
                <a:gd name="connsiteX6" fmla="*/ 9442 w 11802"/>
                <a:gd name="connsiteY6" fmla="*/ 7475 h 7868"/>
                <a:gd name="connsiteX7" fmla="*/ 7869 w 11802"/>
                <a:gd name="connsiteY7" fmla="*/ 4328 h 7868"/>
                <a:gd name="connsiteX8" fmla="*/ 7869 w 11802"/>
                <a:gd name="connsiteY8" fmla="*/ 3934 h 7868"/>
                <a:gd name="connsiteX9" fmla="*/ 9836 w 11802"/>
                <a:gd name="connsiteY9" fmla="*/ 3934 h 7868"/>
                <a:gd name="connsiteX10" fmla="*/ 11409 w 11802"/>
                <a:gd name="connsiteY10" fmla="*/ 7082 h 7868"/>
                <a:gd name="connsiteX11" fmla="*/ 14163 w 11802"/>
                <a:gd name="connsiteY11" fmla="*/ 6295 h 7868"/>
                <a:gd name="connsiteX12" fmla="*/ 13770 w 11802"/>
                <a:gd name="connsiteY12" fmla="*/ 3541 h 7868"/>
                <a:gd name="connsiteX13" fmla="*/ 10623 w 11802"/>
                <a:gd name="connsiteY13" fmla="*/ 1180 h 7868"/>
                <a:gd name="connsiteX14" fmla="*/ 7869 w 11802"/>
                <a:gd name="connsiteY14" fmla="*/ 1574 h 7868"/>
                <a:gd name="connsiteX15" fmla="*/ 6689 w 11802"/>
                <a:gd name="connsiteY15" fmla="*/ 0 h 7868"/>
                <a:gd name="connsiteX16" fmla="*/ 3934 w 11802"/>
                <a:gd name="connsiteY16" fmla="*/ 787 h 7868"/>
                <a:gd name="connsiteX17" fmla="*/ 5901 w 11802"/>
                <a:gd name="connsiteY17" fmla="*/ 3541 h 7868"/>
                <a:gd name="connsiteX18" fmla="*/ 3934 w 11802"/>
                <a:gd name="connsiteY18" fmla="*/ 668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802" h="7868">
                  <a:moveTo>
                    <a:pt x="2754" y="3541"/>
                  </a:moveTo>
                  <a:lnTo>
                    <a:pt x="0" y="3934"/>
                  </a:lnTo>
                  <a:lnTo>
                    <a:pt x="1180" y="6688"/>
                  </a:lnTo>
                  <a:lnTo>
                    <a:pt x="2754" y="9442"/>
                  </a:lnTo>
                  <a:lnTo>
                    <a:pt x="5901" y="9442"/>
                  </a:lnTo>
                  <a:lnTo>
                    <a:pt x="8262" y="9442"/>
                  </a:lnTo>
                  <a:lnTo>
                    <a:pt x="9442" y="7475"/>
                  </a:lnTo>
                  <a:lnTo>
                    <a:pt x="7869" y="4328"/>
                  </a:lnTo>
                  <a:lnTo>
                    <a:pt x="7869" y="3934"/>
                  </a:lnTo>
                  <a:lnTo>
                    <a:pt x="9836" y="3934"/>
                  </a:lnTo>
                  <a:lnTo>
                    <a:pt x="11409" y="7082"/>
                  </a:lnTo>
                  <a:lnTo>
                    <a:pt x="14163" y="6295"/>
                  </a:lnTo>
                  <a:lnTo>
                    <a:pt x="13770" y="3541"/>
                  </a:lnTo>
                  <a:lnTo>
                    <a:pt x="10623" y="1180"/>
                  </a:lnTo>
                  <a:lnTo>
                    <a:pt x="7869" y="1574"/>
                  </a:lnTo>
                  <a:lnTo>
                    <a:pt x="6689" y="0"/>
                  </a:lnTo>
                  <a:lnTo>
                    <a:pt x="3934" y="787"/>
                  </a:lnTo>
                  <a:lnTo>
                    <a:pt x="5901" y="3541"/>
                  </a:lnTo>
                  <a:lnTo>
                    <a:pt x="3934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80" name="Freeform: Shape 3374">
              <a:extLst>
                <a:ext uri="{FF2B5EF4-FFF2-40B4-BE49-F238E27FC236}">
                  <a16:creationId xmlns:a16="http://schemas.microsoft.com/office/drawing/2014/main" id="{1D33F602-DA9A-4797-B5A1-0FD69B1486A9}"/>
                </a:ext>
              </a:extLst>
            </p:cNvPr>
            <p:cNvSpPr/>
            <p:nvPr/>
          </p:nvSpPr>
          <p:spPr>
            <a:xfrm>
              <a:off x="6520114" y="1413519"/>
              <a:ext cx="19671" cy="7869"/>
            </a:xfrm>
            <a:custGeom>
              <a:avLst/>
              <a:gdLst>
                <a:gd name="connsiteX0" fmla="*/ 16524 w 19671"/>
                <a:gd name="connsiteY0" fmla="*/ 1180 h 7868"/>
                <a:gd name="connsiteX1" fmla="*/ 13770 w 19671"/>
                <a:gd name="connsiteY1" fmla="*/ 0 h 7868"/>
                <a:gd name="connsiteX2" fmla="*/ 10622 w 19671"/>
                <a:gd name="connsiteY2" fmla="*/ 393 h 7868"/>
                <a:gd name="connsiteX3" fmla="*/ 13770 w 19671"/>
                <a:gd name="connsiteY3" fmla="*/ 2361 h 7868"/>
                <a:gd name="connsiteX4" fmla="*/ 11409 w 19671"/>
                <a:gd name="connsiteY4" fmla="*/ 5115 h 7868"/>
                <a:gd name="connsiteX5" fmla="*/ 9442 w 19671"/>
                <a:gd name="connsiteY5" fmla="*/ 1967 h 7868"/>
                <a:gd name="connsiteX6" fmla="*/ 6295 w 19671"/>
                <a:gd name="connsiteY6" fmla="*/ 4721 h 7868"/>
                <a:gd name="connsiteX7" fmla="*/ 9442 w 19671"/>
                <a:gd name="connsiteY7" fmla="*/ 5115 h 7868"/>
                <a:gd name="connsiteX8" fmla="*/ 6295 w 19671"/>
                <a:gd name="connsiteY8" fmla="*/ 5115 h 7868"/>
                <a:gd name="connsiteX9" fmla="*/ 3147 w 19671"/>
                <a:gd name="connsiteY9" fmla="*/ 7082 h 7868"/>
                <a:gd name="connsiteX10" fmla="*/ 6295 w 19671"/>
                <a:gd name="connsiteY10" fmla="*/ 7082 h 7868"/>
                <a:gd name="connsiteX11" fmla="*/ 2754 w 19671"/>
                <a:gd name="connsiteY11" fmla="*/ 7475 h 7868"/>
                <a:gd name="connsiteX12" fmla="*/ 0 w 19671"/>
                <a:gd name="connsiteY12" fmla="*/ 9442 h 7868"/>
                <a:gd name="connsiteX13" fmla="*/ 3147 w 19671"/>
                <a:gd name="connsiteY13" fmla="*/ 10229 h 7868"/>
                <a:gd name="connsiteX14" fmla="*/ 5901 w 19671"/>
                <a:gd name="connsiteY14" fmla="*/ 9836 h 7868"/>
                <a:gd name="connsiteX15" fmla="*/ 9049 w 19671"/>
                <a:gd name="connsiteY15" fmla="*/ 9442 h 7868"/>
                <a:gd name="connsiteX16" fmla="*/ 11803 w 19671"/>
                <a:gd name="connsiteY16" fmla="*/ 8655 h 7868"/>
                <a:gd name="connsiteX17" fmla="*/ 14557 w 19671"/>
                <a:gd name="connsiteY17" fmla="*/ 8262 h 7868"/>
                <a:gd name="connsiteX18" fmla="*/ 14950 w 19671"/>
                <a:gd name="connsiteY18" fmla="*/ 5508 h 7868"/>
                <a:gd name="connsiteX19" fmla="*/ 16524 w 19671"/>
                <a:gd name="connsiteY19" fmla="*/ 5115 h 7868"/>
                <a:gd name="connsiteX20" fmla="*/ 19671 w 19671"/>
                <a:gd name="connsiteY20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671" h="7868">
                  <a:moveTo>
                    <a:pt x="16524" y="1180"/>
                  </a:moveTo>
                  <a:lnTo>
                    <a:pt x="13770" y="0"/>
                  </a:lnTo>
                  <a:lnTo>
                    <a:pt x="10622" y="393"/>
                  </a:lnTo>
                  <a:lnTo>
                    <a:pt x="13770" y="2361"/>
                  </a:lnTo>
                  <a:lnTo>
                    <a:pt x="11409" y="5115"/>
                  </a:lnTo>
                  <a:lnTo>
                    <a:pt x="9442" y="1967"/>
                  </a:lnTo>
                  <a:lnTo>
                    <a:pt x="6295" y="4721"/>
                  </a:lnTo>
                  <a:lnTo>
                    <a:pt x="9442" y="5115"/>
                  </a:lnTo>
                  <a:lnTo>
                    <a:pt x="6295" y="5115"/>
                  </a:lnTo>
                  <a:lnTo>
                    <a:pt x="3147" y="7082"/>
                  </a:lnTo>
                  <a:lnTo>
                    <a:pt x="6295" y="7082"/>
                  </a:lnTo>
                  <a:lnTo>
                    <a:pt x="2754" y="7475"/>
                  </a:lnTo>
                  <a:lnTo>
                    <a:pt x="0" y="9442"/>
                  </a:lnTo>
                  <a:lnTo>
                    <a:pt x="3147" y="10229"/>
                  </a:lnTo>
                  <a:lnTo>
                    <a:pt x="5901" y="9836"/>
                  </a:lnTo>
                  <a:lnTo>
                    <a:pt x="9049" y="9442"/>
                  </a:lnTo>
                  <a:lnTo>
                    <a:pt x="11803" y="8655"/>
                  </a:lnTo>
                  <a:lnTo>
                    <a:pt x="14557" y="8262"/>
                  </a:lnTo>
                  <a:lnTo>
                    <a:pt x="14950" y="5508"/>
                  </a:lnTo>
                  <a:lnTo>
                    <a:pt x="16524" y="5115"/>
                  </a:lnTo>
                  <a:lnTo>
                    <a:pt x="19671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81" name="Freeform: Shape 3375">
              <a:extLst>
                <a:ext uri="{FF2B5EF4-FFF2-40B4-BE49-F238E27FC236}">
                  <a16:creationId xmlns:a16="http://schemas.microsoft.com/office/drawing/2014/main" id="{34784766-A809-4053-8096-33C1E73BED82}"/>
                </a:ext>
              </a:extLst>
            </p:cNvPr>
            <p:cNvSpPr/>
            <p:nvPr/>
          </p:nvSpPr>
          <p:spPr>
            <a:xfrm>
              <a:off x="6534277" y="1407618"/>
              <a:ext cx="15737" cy="7869"/>
            </a:xfrm>
            <a:custGeom>
              <a:avLst/>
              <a:gdLst>
                <a:gd name="connsiteX0" fmla="*/ 9836 w 15737"/>
                <a:gd name="connsiteY0" fmla="*/ 7869 h 7868"/>
                <a:gd name="connsiteX1" fmla="*/ 12983 w 15737"/>
                <a:gd name="connsiteY1" fmla="*/ 6688 h 7868"/>
                <a:gd name="connsiteX2" fmla="*/ 15737 w 15737"/>
                <a:gd name="connsiteY2" fmla="*/ 3541 h 7868"/>
                <a:gd name="connsiteX3" fmla="*/ 18491 w 15737"/>
                <a:gd name="connsiteY3" fmla="*/ 2361 h 7868"/>
                <a:gd name="connsiteX4" fmla="*/ 16524 w 15737"/>
                <a:gd name="connsiteY4" fmla="*/ 2361 h 7868"/>
                <a:gd name="connsiteX5" fmla="*/ 16130 w 15737"/>
                <a:gd name="connsiteY5" fmla="*/ 2361 h 7868"/>
                <a:gd name="connsiteX6" fmla="*/ 12983 w 15737"/>
                <a:gd name="connsiteY6" fmla="*/ 1180 h 7868"/>
                <a:gd name="connsiteX7" fmla="*/ 12983 w 15737"/>
                <a:gd name="connsiteY7" fmla="*/ 2361 h 7868"/>
                <a:gd name="connsiteX8" fmla="*/ 11803 w 15737"/>
                <a:gd name="connsiteY8" fmla="*/ 2361 h 7868"/>
                <a:gd name="connsiteX9" fmla="*/ 9049 w 15737"/>
                <a:gd name="connsiteY9" fmla="*/ 0 h 7868"/>
                <a:gd name="connsiteX10" fmla="*/ 6295 w 15737"/>
                <a:gd name="connsiteY10" fmla="*/ 0 h 7868"/>
                <a:gd name="connsiteX11" fmla="*/ 3147 w 15737"/>
                <a:gd name="connsiteY11" fmla="*/ 1574 h 7868"/>
                <a:gd name="connsiteX12" fmla="*/ 393 w 15737"/>
                <a:gd name="connsiteY12" fmla="*/ 1967 h 7868"/>
                <a:gd name="connsiteX13" fmla="*/ 0 w 15737"/>
                <a:gd name="connsiteY13" fmla="*/ 2361 h 7868"/>
                <a:gd name="connsiteX14" fmla="*/ 393 w 15737"/>
                <a:gd name="connsiteY14" fmla="*/ 5115 h 7868"/>
                <a:gd name="connsiteX15" fmla="*/ 3541 w 15737"/>
                <a:gd name="connsiteY15" fmla="*/ 6688 h 7868"/>
                <a:gd name="connsiteX16" fmla="*/ 6688 w 15737"/>
                <a:gd name="connsiteY16" fmla="*/ 826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737" h="7868">
                  <a:moveTo>
                    <a:pt x="9836" y="7869"/>
                  </a:moveTo>
                  <a:lnTo>
                    <a:pt x="12983" y="6688"/>
                  </a:lnTo>
                  <a:lnTo>
                    <a:pt x="15737" y="3541"/>
                  </a:lnTo>
                  <a:lnTo>
                    <a:pt x="18491" y="2361"/>
                  </a:lnTo>
                  <a:lnTo>
                    <a:pt x="16524" y="2361"/>
                  </a:lnTo>
                  <a:lnTo>
                    <a:pt x="16130" y="2361"/>
                  </a:lnTo>
                  <a:lnTo>
                    <a:pt x="12983" y="1180"/>
                  </a:lnTo>
                  <a:lnTo>
                    <a:pt x="12983" y="2361"/>
                  </a:lnTo>
                  <a:lnTo>
                    <a:pt x="11803" y="2361"/>
                  </a:lnTo>
                  <a:lnTo>
                    <a:pt x="9049" y="0"/>
                  </a:lnTo>
                  <a:lnTo>
                    <a:pt x="6295" y="0"/>
                  </a:lnTo>
                  <a:lnTo>
                    <a:pt x="3147" y="1574"/>
                  </a:lnTo>
                  <a:lnTo>
                    <a:pt x="393" y="1967"/>
                  </a:lnTo>
                  <a:lnTo>
                    <a:pt x="0" y="2361"/>
                  </a:lnTo>
                  <a:lnTo>
                    <a:pt x="393" y="5115"/>
                  </a:lnTo>
                  <a:lnTo>
                    <a:pt x="3541" y="6688"/>
                  </a:lnTo>
                  <a:lnTo>
                    <a:pt x="6688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82" name="Freeform: Shape 3376">
              <a:extLst>
                <a:ext uri="{FF2B5EF4-FFF2-40B4-BE49-F238E27FC236}">
                  <a16:creationId xmlns:a16="http://schemas.microsoft.com/office/drawing/2014/main" id="{1B612445-86F3-4408-AE0F-2A72CFFDE3FA}"/>
                </a:ext>
              </a:extLst>
            </p:cNvPr>
            <p:cNvSpPr/>
            <p:nvPr/>
          </p:nvSpPr>
          <p:spPr>
            <a:xfrm>
              <a:off x="6549227" y="1409978"/>
              <a:ext cx="7869" cy="3934"/>
            </a:xfrm>
            <a:custGeom>
              <a:avLst/>
              <a:gdLst>
                <a:gd name="connsiteX0" fmla="*/ 6295 w 7868"/>
                <a:gd name="connsiteY0" fmla="*/ 2754 h 3934"/>
                <a:gd name="connsiteX1" fmla="*/ 7869 w 7868"/>
                <a:gd name="connsiteY1" fmla="*/ 0 h 3934"/>
                <a:gd name="connsiteX2" fmla="*/ 5508 w 7868"/>
                <a:gd name="connsiteY2" fmla="*/ 0 h 3934"/>
                <a:gd name="connsiteX3" fmla="*/ 3148 w 7868"/>
                <a:gd name="connsiteY3" fmla="*/ 1574 h 3934"/>
                <a:gd name="connsiteX4" fmla="*/ 0 w 7868"/>
                <a:gd name="connsiteY4" fmla="*/ 4328 h 3934"/>
                <a:gd name="connsiteX5" fmla="*/ 3148 w 7868"/>
                <a:gd name="connsiteY5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6295" y="2754"/>
                  </a:moveTo>
                  <a:lnTo>
                    <a:pt x="7869" y="0"/>
                  </a:lnTo>
                  <a:lnTo>
                    <a:pt x="5508" y="0"/>
                  </a:lnTo>
                  <a:lnTo>
                    <a:pt x="3148" y="1574"/>
                  </a:lnTo>
                  <a:lnTo>
                    <a:pt x="0" y="4328"/>
                  </a:lnTo>
                  <a:lnTo>
                    <a:pt x="3148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83" name="Freeform: Shape 3377">
              <a:extLst>
                <a:ext uri="{FF2B5EF4-FFF2-40B4-BE49-F238E27FC236}">
                  <a16:creationId xmlns:a16="http://schemas.microsoft.com/office/drawing/2014/main" id="{E610E8BF-0F18-4E5D-9614-98765D6C26C9}"/>
                </a:ext>
              </a:extLst>
            </p:cNvPr>
            <p:cNvSpPr/>
            <p:nvPr/>
          </p:nvSpPr>
          <p:spPr>
            <a:xfrm>
              <a:off x="6572046" y="1412339"/>
              <a:ext cx="3934" cy="3934"/>
            </a:xfrm>
            <a:custGeom>
              <a:avLst/>
              <a:gdLst>
                <a:gd name="connsiteX0" fmla="*/ 0 w 3934"/>
                <a:gd name="connsiteY0" fmla="*/ 2754 h 0"/>
                <a:gd name="connsiteX1" fmla="*/ 2360 w 3934"/>
                <a:gd name="connsiteY1" fmla="*/ 3147 h 0"/>
                <a:gd name="connsiteX2" fmla="*/ 4328 w 3934"/>
                <a:gd name="connsiteY2" fmla="*/ 393 h 0"/>
                <a:gd name="connsiteX3" fmla="*/ 1180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754"/>
                  </a:moveTo>
                  <a:lnTo>
                    <a:pt x="2360" y="3147"/>
                  </a:lnTo>
                  <a:lnTo>
                    <a:pt x="4328" y="393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84" name="Freeform: Shape 3378">
              <a:extLst>
                <a:ext uri="{FF2B5EF4-FFF2-40B4-BE49-F238E27FC236}">
                  <a16:creationId xmlns:a16="http://schemas.microsoft.com/office/drawing/2014/main" id="{388E476C-7736-42F9-A7DD-F3CF6BBBDBDF}"/>
                </a:ext>
              </a:extLst>
            </p:cNvPr>
            <p:cNvSpPr/>
            <p:nvPr/>
          </p:nvSpPr>
          <p:spPr>
            <a:xfrm>
              <a:off x="6614536" y="1690884"/>
              <a:ext cx="3934" cy="3934"/>
            </a:xfrm>
            <a:custGeom>
              <a:avLst/>
              <a:gdLst>
                <a:gd name="connsiteX0" fmla="*/ 3147 w 0"/>
                <a:gd name="connsiteY0" fmla="*/ 1180 h 0"/>
                <a:gd name="connsiteX1" fmla="*/ 3147 w 0"/>
                <a:gd name="connsiteY1" fmla="*/ 1180 h 0"/>
                <a:gd name="connsiteX2" fmla="*/ 3540 w 0"/>
                <a:gd name="connsiteY2" fmla="*/ 1180 h 0"/>
                <a:gd name="connsiteX3" fmla="*/ 393 w 0"/>
                <a:gd name="connsiteY3" fmla="*/ 0 h 0"/>
                <a:gd name="connsiteX4" fmla="*/ 0 w 0"/>
                <a:gd name="connsiteY4" fmla="*/ 1180 h 0"/>
                <a:gd name="connsiteX5" fmla="*/ 393 w 0"/>
                <a:gd name="connsiteY5" fmla="*/ 1574 h 0"/>
                <a:gd name="connsiteX6" fmla="*/ 3540 w 0"/>
                <a:gd name="connsiteY6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3147" y="1180"/>
                  </a:moveTo>
                  <a:lnTo>
                    <a:pt x="3147" y="1180"/>
                  </a:lnTo>
                  <a:lnTo>
                    <a:pt x="3540" y="1180"/>
                  </a:lnTo>
                  <a:lnTo>
                    <a:pt x="393" y="0"/>
                  </a:lnTo>
                  <a:lnTo>
                    <a:pt x="0" y="1180"/>
                  </a:lnTo>
                  <a:lnTo>
                    <a:pt x="393" y="1574"/>
                  </a:lnTo>
                  <a:lnTo>
                    <a:pt x="354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85" name="Freeform: Shape 3379">
              <a:extLst>
                <a:ext uri="{FF2B5EF4-FFF2-40B4-BE49-F238E27FC236}">
                  <a16:creationId xmlns:a16="http://schemas.microsoft.com/office/drawing/2014/main" id="{92049C2E-FB44-4832-B5EF-29F0457895DF}"/>
                </a:ext>
              </a:extLst>
            </p:cNvPr>
            <p:cNvSpPr/>
            <p:nvPr/>
          </p:nvSpPr>
          <p:spPr>
            <a:xfrm>
              <a:off x="6583062" y="1705835"/>
              <a:ext cx="3934" cy="3934"/>
            </a:xfrm>
            <a:custGeom>
              <a:avLst/>
              <a:gdLst>
                <a:gd name="connsiteX0" fmla="*/ 0 w 3934"/>
                <a:gd name="connsiteY0" fmla="*/ 393 h 0"/>
                <a:gd name="connsiteX1" fmla="*/ 0 w 3934"/>
                <a:gd name="connsiteY1" fmla="*/ 1180 h 0"/>
                <a:gd name="connsiteX2" fmla="*/ 3147 w 3934"/>
                <a:gd name="connsiteY2" fmla="*/ 3147 h 0"/>
                <a:gd name="connsiteX3" fmla="*/ 4328 w 3934"/>
                <a:gd name="connsiteY3" fmla="*/ 3147 h 0"/>
                <a:gd name="connsiteX4" fmla="*/ 4721 w 3934"/>
                <a:gd name="connsiteY4" fmla="*/ 3147 h 0"/>
                <a:gd name="connsiteX5" fmla="*/ 5508 w 3934"/>
                <a:gd name="connsiteY5" fmla="*/ 3147 h 0"/>
                <a:gd name="connsiteX6" fmla="*/ 5508 w 3934"/>
                <a:gd name="connsiteY6" fmla="*/ 393 h 0"/>
                <a:gd name="connsiteX7" fmla="*/ 2754 w 3934"/>
                <a:gd name="connsiteY7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>
                  <a:moveTo>
                    <a:pt x="0" y="393"/>
                  </a:moveTo>
                  <a:lnTo>
                    <a:pt x="0" y="1180"/>
                  </a:lnTo>
                  <a:lnTo>
                    <a:pt x="3147" y="3147"/>
                  </a:lnTo>
                  <a:lnTo>
                    <a:pt x="4328" y="3147"/>
                  </a:lnTo>
                  <a:lnTo>
                    <a:pt x="4721" y="3147"/>
                  </a:lnTo>
                  <a:lnTo>
                    <a:pt x="5508" y="3147"/>
                  </a:lnTo>
                  <a:lnTo>
                    <a:pt x="5508" y="393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86" name="Freeform: Shape 3380">
              <a:extLst>
                <a:ext uri="{FF2B5EF4-FFF2-40B4-BE49-F238E27FC236}">
                  <a16:creationId xmlns:a16="http://schemas.microsoft.com/office/drawing/2014/main" id="{762EEBDF-CCDB-452A-80BB-B5ECFF44FD96}"/>
                </a:ext>
              </a:extLst>
            </p:cNvPr>
            <p:cNvSpPr/>
            <p:nvPr/>
          </p:nvSpPr>
          <p:spPr>
            <a:xfrm>
              <a:off x="6602340" y="1607478"/>
              <a:ext cx="3934" cy="3934"/>
            </a:xfrm>
            <a:custGeom>
              <a:avLst/>
              <a:gdLst>
                <a:gd name="connsiteX0" fmla="*/ 0 w 3934"/>
                <a:gd name="connsiteY0" fmla="*/ 1574 h 3934"/>
                <a:gd name="connsiteX1" fmla="*/ 3148 w 3934"/>
                <a:gd name="connsiteY1" fmla="*/ 3934 h 3934"/>
                <a:gd name="connsiteX2" fmla="*/ 5115 w 3934"/>
                <a:gd name="connsiteY2" fmla="*/ 3541 h 3934"/>
                <a:gd name="connsiteX3" fmla="*/ 6295 w 3934"/>
                <a:gd name="connsiteY3" fmla="*/ 787 h 3934"/>
                <a:gd name="connsiteX4" fmla="*/ 3148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1574"/>
                  </a:moveTo>
                  <a:lnTo>
                    <a:pt x="3148" y="3934"/>
                  </a:lnTo>
                  <a:lnTo>
                    <a:pt x="5115" y="3541"/>
                  </a:lnTo>
                  <a:lnTo>
                    <a:pt x="6295" y="787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87" name="Freeform: Shape 3381">
              <a:extLst>
                <a:ext uri="{FF2B5EF4-FFF2-40B4-BE49-F238E27FC236}">
                  <a16:creationId xmlns:a16="http://schemas.microsoft.com/office/drawing/2014/main" id="{1A98AFD3-F3BB-47CA-8911-749BF629885F}"/>
                </a:ext>
              </a:extLst>
            </p:cNvPr>
            <p:cNvSpPr/>
            <p:nvPr/>
          </p:nvSpPr>
          <p:spPr>
            <a:xfrm>
              <a:off x="6605881" y="1605904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0 h 0"/>
                <a:gd name="connsiteX2" fmla="*/ 3148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0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88" name="Freeform: Shape 3382">
              <a:extLst>
                <a:ext uri="{FF2B5EF4-FFF2-40B4-BE49-F238E27FC236}">
                  <a16:creationId xmlns:a16="http://schemas.microsoft.com/office/drawing/2014/main" id="{7B57F1DB-3A5D-4216-B31C-64E0710CB563}"/>
                </a:ext>
              </a:extLst>
            </p:cNvPr>
            <p:cNvSpPr/>
            <p:nvPr/>
          </p:nvSpPr>
          <p:spPr>
            <a:xfrm>
              <a:off x="6620831" y="1604724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3147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3147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89" name="Freeform: Shape 3383">
              <a:extLst>
                <a:ext uri="{FF2B5EF4-FFF2-40B4-BE49-F238E27FC236}">
                  <a16:creationId xmlns:a16="http://schemas.microsoft.com/office/drawing/2014/main" id="{BBFEC158-E260-4726-BAA4-EC3AD5B9CFFA}"/>
                </a:ext>
              </a:extLst>
            </p:cNvPr>
            <p:cNvSpPr/>
            <p:nvPr/>
          </p:nvSpPr>
          <p:spPr>
            <a:xfrm>
              <a:off x="6625945" y="1694032"/>
              <a:ext cx="3934" cy="3934"/>
            </a:xfrm>
            <a:custGeom>
              <a:avLst/>
              <a:gdLst>
                <a:gd name="connsiteX0" fmla="*/ 0 w 3934"/>
                <a:gd name="connsiteY0" fmla="*/ 2754 h 3934"/>
                <a:gd name="connsiteX1" fmla="*/ 2754 w 3934"/>
                <a:gd name="connsiteY1" fmla="*/ 4328 h 3934"/>
                <a:gd name="connsiteX2" fmla="*/ 5901 w 3934"/>
                <a:gd name="connsiteY2" fmla="*/ 3934 h 3934"/>
                <a:gd name="connsiteX3" fmla="*/ 3148 w 3934"/>
                <a:gd name="connsiteY3" fmla="*/ 2754 h 3934"/>
                <a:gd name="connsiteX4" fmla="*/ 3934 w 3934"/>
                <a:gd name="connsiteY4" fmla="*/ 2361 h 3934"/>
                <a:gd name="connsiteX5" fmla="*/ 787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2754"/>
                  </a:moveTo>
                  <a:lnTo>
                    <a:pt x="2754" y="4328"/>
                  </a:lnTo>
                  <a:lnTo>
                    <a:pt x="5901" y="3934"/>
                  </a:lnTo>
                  <a:lnTo>
                    <a:pt x="3148" y="2754"/>
                  </a:lnTo>
                  <a:lnTo>
                    <a:pt x="3934" y="2361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90" name="Freeform: Shape 3384">
              <a:extLst>
                <a:ext uri="{FF2B5EF4-FFF2-40B4-BE49-F238E27FC236}">
                  <a16:creationId xmlns:a16="http://schemas.microsoft.com/office/drawing/2014/main" id="{12DE3555-2C22-410A-9FE4-63D30332C610}"/>
                </a:ext>
              </a:extLst>
            </p:cNvPr>
            <p:cNvSpPr/>
            <p:nvPr/>
          </p:nvSpPr>
          <p:spPr>
            <a:xfrm>
              <a:off x="6626732" y="1702294"/>
              <a:ext cx="3934" cy="3934"/>
            </a:xfrm>
            <a:custGeom>
              <a:avLst/>
              <a:gdLst>
                <a:gd name="connsiteX0" fmla="*/ 2360 w 0"/>
                <a:gd name="connsiteY0" fmla="*/ 1180 h 0"/>
                <a:gd name="connsiteX1" fmla="*/ 3147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0" y="1180"/>
                  </a:moveTo>
                  <a:lnTo>
                    <a:pt x="3147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91" name="Freeform: Shape 3385">
              <a:extLst>
                <a:ext uri="{FF2B5EF4-FFF2-40B4-BE49-F238E27FC236}">
                  <a16:creationId xmlns:a16="http://schemas.microsoft.com/office/drawing/2014/main" id="{2B4DD009-958A-4579-9254-B53A6043AD7E}"/>
                </a:ext>
              </a:extLst>
            </p:cNvPr>
            <p:cNvSpPr/>
            <p:nvPr/>
          </p:nvSpPr>
          <p:spPr>
            <a:xfrm>
              <a:off x="6630273" y="1701900"/>
              <a:ext cx="3934" cy="3934"/>
            </a:xfrm>
            <a:custGeom>
              <a:avLst/>
              <a:gdLst>
                <a:gd name="connsiteX0" fmla="*/ 2360 w 0"/>
                <a:gd name="connsiteY0" fmla="*/ 1180 h 0"/>
                <a:gd name="connsiteX1" fmla="*/ 2754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0" y="1180"/>
                  </a:moveTo>
                  <a:lnTo>
                    <a:pt x="2754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92" name="Freeform: Shape 3386">
              <a:extLst>
                <a:ext uri="{FF2B5EF4-FFF2-40B4-BE49-F238E27FC236}">
                  <a16:creationId xmlns:a16="http://schemas.microsoft.com/office/drawing/2014/main" id="{2CDABAB3-285A-40FD-95DB-E3B13CB3626E}"/>
                </a:ext>
              </a:extLst>
            </p:cNvPr>
            <p:cNvSpPr/>
            <p:nvPr/>
          </p:nvSpPr>
          <p:spPr>
            <a:xfrm>
              <a:off x="6634994" y="1697966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93" name="Freeform: Shape 3387">
              <a:extLst>
                <a:ext uri="{FF2B5EF4-FFF2-40B4-BE49-F238E27FC236}">
                  <a16:creationId xmlns:a16="http://schemas.microsoft.com/office/drawing/2014/main" id="{47156174-017B-438D-B527-E1795B2FA130}"/>
                </a:ext>
              </a:extLst>
            </p:cNvPr>
            <p:cNvSpPr/>
            <p:nvPr/>
          </p:nvSpPr>
          <p:spPr>
            <a:xfrm>
              <a:off x="6639322" y="1697573"/>
              <a:ext cx="3934" cy="3934"/>
            </a:xfrm>
            <a:custGeom>
              <a:avLst/>
              <a:gdLst>
                <a:gd name="connsiteX0" fmla="*/ 1574 w 0"/>
                <a:gd name="connsiteY0" fmla="*/ 0 h 0"/>
                <a:gd name="connsiteX1" fmla="*/ 787 w 0"/>
                <a:gd name="connsiteY1" fmla="*/ 393 h 0"/>
                <a:gd name="connsiteX2" fmla="*/ 0 w 0"/>
                <a:gd name="connsiteY2" fmla="*/ 1574 h 0"/>
                <a:gd name="connsiteX3" fmla="*/ 2754 w 0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574" y="0"/>
                  </a:moveTo>
                  <a:lnTo>
                    <a:pt x="787" y="393"/>
                  </a:lnTo>
                  <a:lnTo>
                    <a:pt x="0" y="1574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94" name="Freeform: Shape 3388">
              <a:extLst>
                <a:ext uri="{FF2B5EF4-FFF2-40B4-BE49-F238E27FC236}">
                  <a16:creationId xmlns:a16="http://schemas.microsoft.com/office/drawing/2014/main" id="{FFDB68A6-7F28-4193-A3A8-36D500985099}"/>
                </a:ext>
              </a:extLst>
            </p:cNvPr>
            <p:cNvSpPr/>
            <p:nvPr/>
          </p:nvSpPr>
          <p:spPr>
            <a:xfrm>
              <a:off x="6651912" y="1706228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2754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95" name="Freeform: Shape 3389">
              <a:extLst>
                <a:ext uri="{FF2B5EF4-FFF2-40B4-BE49-F238E27FC236}">
                  <a16:creationId xmlns:a16="http://schemas.microsoft.com/office/drawing/2014/main" id="{5B40C52A-761A-46B0-993E-B99AEE6DCE99}"/>
                </a:ext>
              </a:extLst>
            </p:cNvPr>
            <p:cNvSpPr/>
            <p:nvPr/>
          </p:nvSpPr>
          <p:spPr>
            <a:xfrm>
              <a:off x="6633027" y="1699146"/>
              <a:ext cx="3934" cy="3934"/>
            </a:xfrm>
            <a:custGeom>
              <a:avLst/>
              <a:gdLst>
                <a:gd name="connsiteX0" fmla="*/ 2754 w 3934"/>
                <a:gd name="connsiteY0" fmla="*/ 787 h 0"/>
                <a:gd name="connsiteX1" fmla="*/ 3541 w 3934"/>
                <a:gd name="connsiteY1" fmla="*/ 1574 h 0"/>
                <a:gd name="connsiteX2" fmla="*/ 6295 w 3934"/>
                <a:gd name="connsiteY2" fmla="*/ 787 h 0"/>
                <a:gd name="connsiteX3" fmla="*/ 6295 w 3934"/>
                <a:gd name="connsiteY3" fmla="*/ 393 h 0"/>
                <a:gd name="connsiteX4" fmla="*/ 5901 w 3934"/>
                <a:gd name="connsiteY4" fmla="*/ 0 h 0"/>
                <a:gd name="connsiteX5" fmla="*/ 2754 w 3934"/>
                <a:gd name="connsiteY5" fmla="*/ 0 h 0"/>
                <a:gd name="connsiteX6" fmla="*/ 0 w 3934"/>
                <a:gd name="connsiteY6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>
                  <a:moveTo>
                    <a:pt x="2754" y="787"/>
                  </a:moveTo>
                  <a:lnTo>
                    <a:pt x="3541" y="1574"/>
                  </a:lnTo>
                  <a:lnTo>
                    <a:pt x="6295" y="787"/>
                  </a:lnTo>
                  <a:lnTo>
                    <a:pt x="6295" y="393"/>
                  </a:lnTo>
                  <a:lnTo>
                    <a:pt x="5901" y="0"/>
                  </a:lnTo>
                  <a:lnTo>
                    <a:pt x="2754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96" name="Freeform: Shape 3390">
              <a:extLst>
                <a:ext uri="{FF2B5EF4-FFF2-40B4-BE49-F238E27FC236}">
                  <a16:creationId xmlns:a16="http://schemas.microsoft.com/office/drawing/2014/main" id="{11EA0362-17B4-4464-B4B5-BAB0E6650C0E}"/>
                </a:ext>
              </a:extLst>
            </p:cNvPr>
            <p:cNvSpPr/>
            <p:nvPr/>
          </p:nvSpPr>
          <p:spPr>
            <a:xfrm>
              <a:off x="6576374" y="1408798"/>
              <a:ext cx="3934" cy="3934"/>
            </a:xfrm>
            <a:custGeom>
              <a:avLst/>
              <a:gdLst>
                <a:gd name="connsiteX0" fmla="*/ 6689 w 3934"/>
                <a:gd name="connsiteY0" fmla="*/ 1180 h 0"/>
                <a:gd name="connsiteX1" fmla="*/ 4721 w 3934"/>
                <a:gd name="connsiteY1" fmla="*/ 1180 h 0"/>
                <a:gd name="connsiteX2" fmla="*/ 3541 w 3934"/>
                <a:gd name="connsiteY2" fmla="*/ 1180 h 0"/>
                <a:gd name="connsiteX3" fmla="*/ 393 w 3934"/>
                <a:gd name="connsiteY3" fmla="*/ 0 h 0"/>
                <a:gd name="connsiteX4" fmla="*/ 0 w 3934"/>
                <a:gd name="connsiteY4" fmla="*/ 1180 h 0"/>
                <a:gd name="connsiteX5" fmla="*/ 3148 w 3934"/>
                <a:gd name="connsiteY5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6689" y="1180"/>
                  </a:moveTo>
                  <a:lnTo>
                    <a:pt x="4721" y="1180"/>
                  </a:lnTo>
                  <a:lnTo>
                    <a:pt x="3541" y="1180"/>
                  </a:lnTo>
                  <a:lnTo>
                    <a:pt x="393" y="0"/>
                  </a:lnTo>
                  <a:lnTo>
                    <a:pt x="0" y="1180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97" name="Freeform: Shape 3391">
              <a:extLst>
                <a:ext uri="{FF2B5EF4-FFF2-40B4-BE49-F238E27FC236}">
                  <a16:creationId xmlns:a16="http://schemas.microsoft.com/office/drawing/2014/main" id="{1F372FD0-F0FB-47D5-9BFA-4C6FB9BB77B0}"/>
                </a:ext>
              </a:extLst>
            </p:cNvPr>
            <p:cNvSpPr/>
            <p:nvPr/>
          </p:nvSpPr>
          <p:spPr>
            <a:xfrm>
              <a:off x="6725876" y="1697966"/>
              <a:ext cx="3934" cy="3934"/>
            </a:xfrm>
            <a:custGeom>
              <a:avLst/>
              <a:gdLst>
                <a:gd name="connsiteX0" fmla="*/ 3148 w 0"/>
                <a:gd name="connsiteY0" fmla="*/ 1967 h 0"/>
                <a:gd name="connsiteX1" fmla="*/ 0 w 0"/>
                <a:gd name="connsiteY1" fmla="*/ 0 h 0"/>
                <a:gd name="connsiteX2" fmla="*/ 3148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1967"/>
                  </a:moveTo>
                  <a:lnTo>
                    <a:pt x="0" y="0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98" name="Freeform: Shape 3392">
              <a:extLst>
                <a:ext uri="{FF2B5EF4-FFF2-40B4-BE49-F238E27FC236}">
                  <a16:creationId xmlns:a16="http://schemas.microsoft.com/office/drawing/2014/main" id="{65B4184B-59D4-4A50-A668-B3868A922320}"/>
                </a:ext>
              </a:extLst>
            </p:cNvPr>
            <p:cNvSpPr/>
            <p:nvPr/>
          </p:nvSpPr>
          <p:spPr>
            <a:xfrm>
              <a:off x="6924949" y="1550431"/>
              <a:ext cx="7869" cy="3934"/>
            </a:xfrm>
            <a:custGeom>
              <a:avLst/>
              <a:gdLst>
                <a:gd name="connsiteX0" fmla="*/ 3148 w 7868"/>
                <a:gd name="connsiteY0" fmla="*/ 393 h 3934"/>
                <a:gd name="connsiteX1" fmla="*/ 0 w 7868"/>
                <a:gd name="connsiteY1" fmla="*/ 787 h 3934"/>
                <a:gd name="connsiteX2" fmla="*/ 2754 w 7868"/>
                <a:gd name="connsiteY2" fmla="*/ 3934 h 3934"/>
                <a:gd name="connsiteX3" fmla="*/ 5508 w 7868"/>
                <a:gd name="connsiteY3" fmla="*/ 5901 h 3934"/>
                <a:gd name="connsiteX4" fmla="*/ 5901 w 7868"/>
                <a:gd name="connsiteY4" fmla="*/ 6295 h 3934"/>
                <a:gd name="connsiteX5" fmla="*/ 8656 w 7868"/>
                <a:gd name="connsiteY5" fmla="*/ 5901 h 3934"/>
                <a:gd name="connsiteX6" fmla="*/ 7869 w 7868"/>
                <a:gd name="connsiteY6" fmla="*/ 2754 h 3934"/>
                <a:gd name="connsiteX7" fmla="*/ 5901 w 7868"/>
                <a:gd name="connsiteY7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3148" y="393"/>
                  </a:moveTo>
                  <a:lnTo>
                    <a:pt x="0" y="787"/>
                  </a:lnTo>
                  <a:lnTo>
                    <a:pt x="2754" y="3934"/>
                  </a:lnTo>
                  <a:lnTo>
                    <a:pt x="5508" y="5901"/>
                  </a:lnTo>
                  <a:lnTo>
                    <a:pt x="5901" y="6295"/>
                  </a:lnTo>
                  <a:lnTo>
                    <a:pt x="8656" y="5901"/>
                  </a:lnTo>
                  <a:lnTo>
                    <a:pt x="7869" y="2754"/>
                  </a:lnTo>
                  <a:lnTo>
                    <a:pt x="590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99" name="Freeform: Shape 3393">
              <a:extLst>
                <a:ext uri="{FF2B5EF4-FFF2-40B4-BE49-F238E27FC236}">
                  <a16:creationId xmlns:a16="http://schemas.microsoft.com/office/drawing/2014/main" id="{CEC0FAEB-B9B8-475E-9FA1-077D85B0AF9B}"/>
                </a:ext>
              </a:extLst>
            </p:cNvPr>
            <p:cNvSpPr/>
            <p:nvPr/>
          </p:nvSpPr>
          <p:spPr>
            <a:xfrm>
              <a:off x="6935179" y="1550431"/>
              <a:ext cx="3934" cy="3934"/>
            </a:xfrm>
            <a:custGeom>
              <a:avLst/>
              <a:gdLst>
                <a:gd name="connsiteX0" fmla="*/ 6295 w 3934"/>
                <a:gd name="connsiteY0" fmla="*/ 0 h 0"/>
                <a:gd name="connsiteX1" fmla="*/ 5901 w 3934"/>
                <a:gd name="connsiteY1" fmla="*/ 0 h 0"/>
                <a:gd name="connsiteX2" fmla="*/ 3147 w 3934"/>
                <a:gd name="connsiteY2" fmla="*/ 0 h 0"/>
                <a:gd name="connsiteX3" fmla="*/ 0 w 3934"/>
                <a:gd name="connsiteY3" fmla="*/ 787 h 0"/>
                <a:gd name="connsiteX4" fmla="*/ 3147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0"/>
                  </a:moveTo>
                  <a:lnTo>
                    <a:pt x="5901" y="0"/>
                  </a:lnTo>
                  <a:lnTo>
                    <a:pt x="3147" y="0"/>
                  </a:lnTo>
                  <a:lnTo>
                    <a:pt x="0" y="787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00" name="Freeform: Shape 3394">
              <a:extLst>
                <a:ext uri="{FF2B5EF4-FFF2-40B4-BE49-F238E27FC236}">
                  <a16:creationId xmlns:a16="http://schemas.microsoft.com/office/drawing/2014/main" id="{F59DB678-6D7A-45FA-82A7-F8CD69D74BFC}"/>
                </a:ext>
              </a:extLst>
            </p:cNvPr>
            <p:cNvSpPr/>
            <p:nvPr/>
          </p:nvSpPr>
          <p:spPr>
            <a:xfrm>
              <a:off x="7072091" y="1502827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0 w 0"/>
                <a:gd name="connsiteY1" fmla="*/ 0 h 0"/>
                <a:gd name="connsiteX2" fmla="*/ 0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0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01" name="Freeform: Shape 3395">
              <a:extLst>
                <a:ext uri="{FF2B5EF4-FFF2-40B4-BE49-F238E27FC236}">
                  <a16:creationId xmlns:a16="http://schemas.microsoft.com/office/drawing/2014/main" id="{55E03D9F-FE4E-496C-A984-B9443BA8D5D8}"/>
                </a:ext>
              </a:extLst>
            </p:cNvPr>
            <p:cNvSpPr/>
            <p:nvPr/>
          </p:nvSpPr>
          <p:spPr>
            <a:xfrm>
              <a:off x="7177529" y="1424141"/>
              <a:ext cx="43277" cy="19671"/>
            </a:xfrm>
            <a:custGeom>
              <a:avLst/>
              <a:gdLst>
                <a:gd name="connsiteX0" fmla="*/ 4721 w 43276"/>
                <a:gd name="connsiteY0" fmla="*/ 18884 h 19671"/>
                <a:gd name="connsiteX1" fmla="*/ 7475 w 43276"/>
                <a:gd name="connsiteY1" fmla="*/ 20458 h 19671"/>
                <a:gd name="connsiteX2" fmla="*/ 10622 w 43276"/>
                <a:gd name="connsiteY2" fmla="*/ 22032 h 19671"/>
                <a:gd name="connsiteX3" fmla="*/ 13770 w 43276"/>
                <a:gd name="connsiteY3" fmla="*/ 22425 h 19671"/>
                <a:gd name="connsiteX4" fmla="*/ 16524 w 43276"/>
                <a:gd name="connsiteY4" fmla="*/ 22425 h 19671"/>
                <a:gd name="connsiteX5" fmla="*/ 22818 w 43276"/>
                <a:gd name="connsiteY5" fmla="*/ 21245 h 19671"/>
                <a:gd name="connsiteX6" fmla="*/ 25966 w 43276"/>
                <a:gd name="connsiteY6" fmla="*/ 20852 h 19671"/>
                <a:gd name="connsiteX7" fmla="*/ 28720 w 43276"/>
                <a:gd name="connsiteY7" fmla="*/ 20065 h 19671"/>
                <a:gd name="connsiteX8" fmla="*/ 31474 w 43276"/>
                <a:gd name="connsiteY8" fmla="*/ 19278 h 19671"/>
                <a:gd name="connsiteX9" fmla="*/ 34621 w 43276"/>
                <a:gd name="connsiteY9" fmla="*/ 17704 h 19671"/>
                <a:gd name="connsiteX10" fmla="*/ 37376 w 43276"/>
                <a:gd name="connsiteY10" fmla="*/ 14950 h 19671"/>
                <a:gd name="connsiteX11" fmla="*/ 38949 w 43276"/>
                <a:gd name="connsiteY11" fmla="*/ 12196 h 19671"/>
                <a:gd name="connsiteX12" fmla="*/ 40129 w 43276"/>
                <a:gd name="connsiteY12" fmla="*/ 11803 h 19671"/>
                <a:gd name="connsiteX13" fmla="*/ 42884 w 43276"/>
                <a:gd name="connsiteY13" fmla="*/ 10229 h 19671"/>
                <a:gd name="connsiteX14" fmla="*/ 44064 w 43276"/>
                <a:gd name="connsiteY14" fmla="*/ 12983 h 19671"/>
                <a:gd name="connsiteX15" fmla="*/ 45244 w 43276"/>
                <a:gd name="connsiteY15" fmla="*/ 10229 h 19671"/>
                <a:gd name="connsiteX16" fmla="*/ 42490 w 43276"/>
                <a:gd name="connsiteY16" fmla="*/ 8262 h 19671"/>
                <a:gd name="connsiteX17" fmla="*/ 39736 w 43276"/>
                <a:gd name="connsiteY17" fmla="*/ 6688 h 19671"/>
                <a:gd name="connsiteX18" fmla="*/ 36982 w 43276"/>
                <a:gd name="connsiteY18" fmla="*/ 5901 h 19671"/>
                <a:gd name="connsiteX19" fmla="*/ 33835 w 43276"/>
                <a:gd name="connsiteY19" fmla="*/ 4721 h 19671"/>
                <a:gd name="connsiteX20" fmla="*/ 31081 w 43276"/>
                <a:gd name="connsiteY20" fmla="*/ 3934 h 19671"/>
                <a:gd name="connsiteX21" fmla="*/ 27933 w 43276"/>
                <a:gd name="connsiteY21" fmla="*/ 2754 h 19671"/>
                <a:gd name="connsiteX22" fmla="*/ 24786 w 43276"/>
                <a:gd name="connsiteY22" fmla="*/ 1967 h 19671"/>
                <a:gd name="connsiteX23" fmla="*/ 21638 w 43276"/>
                <a:gd name="connsiteY23" fmla="*/ 787 h 19671"/>
                <a:gd name="connsiteX24" fmla="*/ 18884 w 43276"/>
                <a:gd name="connsiteY24" fmla="*/ 0 h 19671"/>
                <a:gd name="connsiteX25" fmla="*/ 12589 w 43276"/>
                <a:gd name="connsiteY25" fmla="*/ 0 h 19671"/>
                <a:gd name="connsiteX26" fmla="*/ 9442 w 43276"/>
                <a:gd name="connsiteY26" fmla="*/ 787 h 19671"/>
                <a:gd name="connsiteX27" fmla="*/ 6688 w 43276"/>
                <a:gd name="connsiteY27" fmla="*/ 1574 h 19671"/>
                <a:gd name="connsiteX28" fmla="*/ 3541 w 43276"/>
                <a:gd name="connsiteY28" fmla="*/ 3541 h 19671"/>
                <a:gd name="connsiteX29" fmla="*/ 787 w 43276"/>
                <a:gd name="connsiteY29" fmla="*/ 5901 h 19671"/>
                <a:gd name="connsiteX30" fmla="*/ 0 w 43276"/>
                <a:gd name="connsiteY30" fmla="*/ 9049 h 19671"/>
                <a:gd name="connsiteX31" fmla="*/ 393 w 43276"/>
                <a:gd name="connsiteY31" fmla="*/ 11803 h 19671"/>
                <a:gd name="connsiteX32" fmla="*/ 1967 w 43276"/>
                <a:gd name="connsiteY32" fmla="*/ 14950 h 19671"/>
                <a:gd name="connsiteX33" fmla="*/ 1967 w 43276"/>
                <a:gd name="connsiteY33" fmla="*/ 17704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3276" h="19671">
                  <a:moveTo>
                    <a:pt x="4721" y="18884"/>
                  </a:moveTo>
                  <a:lnTo>
                    <a:pt x="7475" y="20458"/>
                  </a:lnTo>
                  <a:lnTo>
                    <a:pt x="10622" y="22032"/>
                  </a:lnTo>
                  <a:lnTo>
                    <a:pt x="13770" y="22425"/>
                  </a:lnTo>
                  <a:lnTo>
                    <a:pt x="16524" y="22425"/>
                  </a:lnTo>
                  <a:lnTo>
                    <a:pt x="22818" y="21245"/>
                  </a:lnTo>
                  <a:lnTo>
                    <a:pt x="25966" y="20852"/>
                  </a:lnTo>
                  <a:lnTo>
                    <a:pt x="28720" y="20065"/>
                  </a:lnTo>
                  <a:lnTo>
                    <a:pt x="31474" y="19278"/>
                  </a:lnTo>
                  <a:lnTo>
                    <a:pt x="34621" y="17704"/>
                  </a:lnTo>
                  <a:lnTo>
                    <a:pt x="37376" y="14950"/>
                  </a:lnTo>
                  <a:lnTo>
                    <a:pt x="38949" y="12196"/>
                  </a:lnTo>
                  <a:lnTo>
                    <a:pt x="40129" y="11803"/>
                  </a:lnTo>
                  <a:lnTo>
                    <a:pt x="42884" y="10229"/>
                  </a:lnTo>
                  <a:lnTo>
                    <a:pt x="44064" y="12983"/>
                  </a:lnTo>
                  <a:lnTo>
                    <a:pt x="45244" y="10229"/>
                  </a:lnTo>
                  <a:lnTo>
                    <a:pt x="42490" y="8262"/>
                  </a:lnTo>
                  <a:lnTo>
                    <a:pt x="39736" y="6688"/>
                  </a:lnTo>
                  <a:lnTo>
                    <a:pt x="36982" y="5901"/>
                  </a:lnTo>
                  <a:lnTo>
                    <a:pt x="33835" y="4721"/>
                  </a:lnTo>
                  <a:lnTo>
                    <a:pt x="31081" y="3934"/>
                  </a:lnTo>
                  <a:lnTo>
                    <a:pt x="27933" y="2754"/>
                  </a:lnTo>
                  <a:lnTo>
                    <a:pt x="24786" y="1967"/>
                  </a:lnTo>
                  <a:lnTo>
                    <a:pt x="21638" y="787"/>
                  </a:lnTo>
                  <a:lnTo>
                    <a:pt x="18884" y="0"/>
                  </a:lnTo>
                  <a:lnTo>
                    <a:pt x="12589" y="0"/>
                  </a:lnTo>
                  <a:lnTo>
                    <a:pt x="9442" y="787"/>
                  </a:lnTo>
                  <a:lnTo>
                    <a:pt x="6688" y="1574"/>
                  </a:lnTo>
                  <a:lnTo>
                    <a:pt x="3541" y="3541"/>
                  </a:lnTo>
                  <a:lnTo>
                    <a:pt x="787" y="5901"/>
                  </a:lnTo>
                  <a:lnTo>
                    <a:pt x="0" y="9049"/>
                  </a:lnTo>
                  <a:lnTo>
                    <a:pt x="393" y="11803"/>
                  </a:lnTo>
                  <a:lnTo>
                    <a:pt x="1967" y="14950"/>
                  </a:lnTo>
                  <a:lnTo>
                    <a:pt x="1967" y="1770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02" name="Freeform: Shape 3396">
              <a:extLst>
                <a:ext uri="{FF2B5EF4-FFF2-40B4-BE49-F238E27FC236}">
                  <a16:creationId xmlns:a16="http://schemas.microsoft.com/office/drawing/2014/main" id="{D530EBB0-F7FE-4FF7-A0E1-535B7130B54E}"/>
                </a:ext>
              </a:extLst>
            </p:cNvPr>
            <p:cNvSpPr/>
            <p:nvPr/>
          </p:nvSpPr>
          <p:spPr>
            <a:xfrm>
              <a:off x="7241658" y="1453255"/>
              <a:ext cx="11803" cy="3934"/>
            </a:xfrm>
            <a:custGeom>
              <a:avLst/>
              <a:gdLst>
                <a:gd name="connsiteX0" fmla="*/ 6295 w 11802"/>
                <a:gd name="connsiteY0" fmla="*/ 0 h 0"/>
                <a:gd name="connsiteX1" fmla="*/ 3148 w 11802"/>
                <a:gd name="connsiteY1" fmla="*/ 787 h 0"/>
                <a:gd name="connsiteX2" fmla="*/ 0 w 11802"/>
                <a:gd name="connsiteY2" fmla="*/ 2361 h 0"/>
                <a:gd name="connsiteX3" fmla="*/ 787 w 11802"/>
                <a:gd name="connsiteY3" fmla="*/ 3147 h 0"/>
                <a:gd name="connsiteX4" fmla="*/ 3934 w 11802"/>
                <a:gd name="connsiteY4" fmla="*/ 1967 h 0"/>
                <a:gd name="connsiteX5" fmla="*/ 6689 w 11802"/>
                <a:gd name="connsiteY5" fmla="*/ 1574 h 0"/>
                <a:gd name="connsiteX6" fmla="*/ 9442 w 11802"/>
                <a:gd name="connsiteY6" fmla="*/ 1180 h 0"/>
                <a:gd name="connsiteX7" fmla="*/ 12590 w 11802"/>
                <a:gd name="connsiteY7" fmla="*/ 393 h 0"/>
                <a:gd name="connsiteX8" fmla="*/ 9442 w 11802"/>
                <a:gd name="connsiteY8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>
                  <a:moveTo>
                    <a:pt x="6295" y="0"/>
                  </a:moveTo>
                  <a:lnTo>
                    <a:pt x="3148" y="787"/>
                  </a:lnTo>
                  <a:lnTo>
                    <a:pt x="0" y="2361"/>
                  </a:lnTo>
                  <a:lnTo>
                    <a:pt x="787" y="3147"/>
                  </a:lnTo>
                  <a:lnTo>
                    <a:pt x="3934" y="1967"/>
                  </a:lnTo>
                  <a:lnTo>
                    <a:pt x="6689" y="1574"/>
                  </a:lnTo>
                  <a:lnTo>
                    <a:pt x="9442" y="1180"/>
                  </a:lnTo>
                  <a:lnTo>
                    <a:pt x="12590" y="393"/>
                  </a:lnTo>
                  <a:lnTo>
                    <a:pt x="9442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03" name="Freeform: Shape 3397">
              <a:extLst>
                <a:ext uri="{FF2B5EF4-FFF2-40B4-BE49-F238E27FC236}">
                  <a16:creationId xmlns:a16="http://schemas.microsoft.com/office/drawing/2014/main" id="{5EC78AC9-7819-44EE-923D-2909630B73D0}"/>
                </a:ext>
              </a:extLst>
            </p:cNvPr>
            <p:cNvSpPr/>
            <p:nvPr/>
          </p:nvSpPr>
          <p:spPr>
            <a:xfrm>
              <a:off x="7332540" y="1440272"/>
              <a:ext cx="3934" cy="3934"/>
            </a:xfrm>
            <a:custGeom>
              <a:avLst/>
              <a:gdLst>
                <a:gd name="connsiteX0" fmla="*/ 393 w 3934"/>
                <a:gd name="connsiteY0" fmla="*/ 787 h 0"/>
                <a:gd name="connsiteX1" fmla="*/ 0 w 3934"/>
                <a:gd name="connsiteY1" fmla="*/ 787 h 0"/>
                <a:gd name="connsiteX2" fmla="*/ 3147 w 3934"/>
                <a:gd name="connsiteY2" fmla="*/ 787 h 0"/>
                <a:gd name="connsiteX3" fmla="*/ 6295 w 3934"/>
                <a:gd name="connsiteY3" fmla="*/ 787 h 0"/>
                <a:gd name="connsiteX4" fmla="*/ 3540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93" y="787"/>
                  </a:moveTo>
                  <a:lnTo>
                    <a:pt x="0" y="787"/>
                  </a:lnTo>
                  <a:lnTo>
                    <a:pt x="3147" y="787"/>
                  </a:lnTo>
                  <a:lnTo>
                    <a:pt x="6295" y="787"/>
                  </a:lnTo>
                  <a:lnTo>
                    <a:pt x="354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04" name="Freeform: Shape 3398">
              <a:extLst>
                <a:ext uri="{FF2B5EF4-FFF2-40B4-BE49-F238E27FC236}">
                  <a16:creationId xmlns:a16="http://schemas.microsoft.com/office/drawing/2014/main" id="{DC3C543D-FFE6-413D-9C92-E2F02E586BDA}"/>
                </a:ext>
              </a:extLst>
            </p:cNvPr>
            <p:cNvSpPr/>
            <p:nvPr/>
          </p:nvSpPr>
          <p:spPr>
            <a:xfrm>
              <a:off x="6638928" y="1589774"/>
              <a:ext cx="3934" cy="3934"/>
            </a:xfrm>
            <a:custGeom>
              <a:avLst/>
              <a:gdLst>
                <a:gd name="connsiteX0" fmla="*/ 3541 w 0"/>
                <a:gd name="connsiteY0" fmla="*/ 0 h 0"/>
                <a:gd name="connsiteX1" fmla="*/ 3148 w 0"/>
                <a:gd name="connsiteY1" fmla="*/ 1180 h 0"/>
                <a:gd name="connsiteX2" fmla="*/ 0 w 0"/>
                <a:gd name="connsiteY2" fmla="*/ 1574 h 0"/>
                <a:gd name="connsiteX3" fmla="*/ 3148 w 0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541" y="0"/>
                  </a:moveTo>
                  <a:lnTo>
                    <a:pt x="3148" y="1180"/>
                  </a:lnTo>
                  <a:lnTo>
                    <a:pt x="0" y="1574"/>
                  </a:lnTo>
                  <a:lnTo>
                    <a:pt x="314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05" name="Freeform: Shape 3399">
              <a:extLst>
                <a:ext uri="{FF2B5EF4-FFF2-40B4-BE49-F238E27FC236}">
                  <a16:creationId xmlns:a16="http://schemas.microsoft.com/office/drawing/2014/main" id="{F629462A-8B44-447A-9589-8B31D5CD21C5}"/>
                </a:ext>
              </a:extLst>
            </p:cNvPr>
            <p:cNvSpPr/>
            <p:nvPr/>
          </p:nvSpPr>
          <p:spPr>
            <a:xfrm>
              <a:off x="6676304" y="1553579"/>
              <a:ext cx="7869" cy="3934"/>
            </a:xfrm>
            <a:custGeom>
              <a:avLst/>
              <a:gdLst>
                <a:gd name="connsiteX0" fmla="*/ 6688 w 7868"/>
                <a:gd name="connsiteY0" fmla="*/ 2754 h 0"/>
                <a:gd name="connsiteX1" fmla="*/ 9049 w 7868"/>
                <a:gd name="connsiteY1" fmla="*/ 1574 h 0"/>
                <a:gd name="connsiteX2" fmla="*/ 9049 w 7868"/>
                <a:gd name="connsiteY2" fmla="*/ 787 h 0"/>
                <a:gd name="connsiteX3" fmla="*/ 6295 w 7868"/>
                <a:gd name="connsiteY3" fmla="*/ 0 h 0"/>
                <a:gd name="connsiteX4" fmla="*/ 3148 w 7868"/>
                <a:gd name="connsiteY4" fmla="*/ 393 h 0"/>
                <a:gd name="connsiteX5" fmla="*/ 0 w 7868"/>
                <a:gd name="connsiteY5" fmla="*/ 1180 h 0"/>
                <a:gd name="connsiteX6" fmla="*/ 0 w 7868"/>
                <a:gd name="connsiteY6" fmla="*/ 2754 h 0"/>
                <a:gd name="connsiteX7" fmla="*/ 393 w 7868"/>
                <a:gd name="connsiteY7" fmla="*/ 2754 h 0"/>
                <a:gd name="connsiteX8" fmla="*/ 3541 w 7868"/>
                <a:gd name="connsiteY8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>
                  <a:moveTo>
                    <a:pt x="6688" y="2754"/>
                  </a:moveTo>
                  <a:lnTo>
                    <a:pt x="9049" y="1574"/>
                  </a:lnTo>
                  <a:lnTo>
                    <a:pt x="9049" y="787"/>
                  </a:lnTo>
                  <a:lnTo>
                    <a:pt x="6295" y="0"/>
                  </a:lnTo>
                  <a:lnTo>
                    <a:pt x="3148" y="393"/>
                  </a:lnTo>
                  <a:lnTo>
                    <a:pt x="0" y="1180"/>
                  </a:lnTo>
                  <a:lnTo>
                    <a:pt x="0" y="2754"/>
                  </a:lnTo>
                  <a:lnTo>
                    <a:pt x="393" y="2754"/>
                  </a:lnTo>
                  <a:lnTo>
                    <a:pt x="3541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06" name="Freeform: Shape 3400">
              <a:extLst>
                <a:ext uri="{FF2B5EF4-FFF2-40B4-BE49-F238E27FC236}">
                  <a16:creationId xmlns:a16="http://schemas.microsoft.com/office/drawing/2014/main" id="{B9681592-AA8D-4A0A-9E4A-AAE226858154}"/>
                </a:ext>
              </a:extLst>
            </p:cNvPr>
            <p:cNvSpPr/>
            <p:nvPr/>
          </p:nvSpPr>
          <p:spPr>
            <a:xfrm>
              <a:off x="6866329" y="1426895"/>
              <a:ext cx="3934" cy="3934"/>
            </a:xfrm>
            <a:custGeom>
              <a:avLst/>
              <a:gdLst>
                <a:gd name="connsiteX0" fmla="*/ 6295 w 3934"/>
                <a:gd name="connsiteY0" fmla="*/ 1180 h 0"/>
                <a:gd name="connsiteX1" fmla="*/ 3147 w 3934"/>
                <a:gd name="connsiteY1" fmla="*/ 0 h 0"/>
                <a:gd name="connsiteX2" fmla="*/ 0 w 3934"/>
                <a:gd name="connsiteY2" fmla="*/ 1967 h 0"/>
                <a:gd name="connsiteX3" fmla="*/ 3147 w 3934"/>
                <a:gd name="connsiteY3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5" y="1180"/>
                  </a:moveTo>
                  <a:lnTo>
                    <a:pt x="3147" y="0"/>
                  </a:lnTo>
                  <a:lnTo>
                    <a:pt x="0" y="1967"/>
                  </a:lnTo>
                  <a:lnTo>
                    <a:pt x="314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07" name="Freeform: Shape 3401">
              <a:extLst>
                <a:ext uri="{FF2B5EF4-FFF2-40B4-BE49-F238E27FC236}">
                  <a16:creationId xmlns:a16="http://schemas.microsoft.com/office/drawing/2014/main" id="{357698AA-70D3-4967-BB10-4D69785C782D}"/>
                </a:ext>
              </a:extLst>
            </p:cNvPr>
            <p:cNvSpPr/>
            <p:nvPr/>
          </p:nvSpPr>
          <p:spPr>
            <a:xfrm>
              <a:off x="7386439" y="1396995"/>
              <a:ext cx="47211" cy="19671"/>
            </a:xfrm>
            <a:custGeom>
              <a:avLst/>
              <a:gdLst>
                <a:gd name="connsiteX0" fmla="*/ 34622 w 47211"/>
                <a:gd name="connsiteY0" fmla="*/ 21638 h 19671"/>
                <a:gd name="connsiteX1" fmla="*/ 37376 w 47211"/>
                <a:gd name="connsiteY1" fmla="*/ 21638 h 19671"/>
                <a:gd name="connsiteX2" fmla="*/ 40129 w 47211"/>
                <a:gd name="connsiteY2" fmla="*/ 21245 h 19671"/>
                <a:gd name="connsiteX3" fmla="*/ 40523 w 47211"/>
                <a:gd name="connsiteY3" fmla="*/ 20852 h 19671"/>
                <a:gd name="connsiteX4" fmla="*/ 43277 w 47211"/>
                <a:gd name="connsiteY4" fmla="*/ 21638 h 19671"/>
                <a:gd name="connsiteX5" fmla="*/ 46425 w 47211"/>
                <a:gd name="connsiteY5" fmla="*/ 21638 h 19671"/>
                <a:gd name="connsiteX6" fmla="*/ 49572 w 47211"/>
                <a:gd name="connsiteY6" fmla="*/ 20852 h 19671"/>
                <a:gd name="connsiteX7" fmla="*/ 50752 w 47211"/>
                <a:gd name="connsiteY7" fmla="*/ 18098 h 19671"/>
                <a:gd name="connsiteX8" fmla="*/ 47605 w 47211"/>
                <a:gd name="connsiteY8" fmla="*/ 14950 h 19671"/>
                <a:gd name="connsiteX9" fmla="*/ 44457 w 47211"/>
                <a:gd name="connsiteY9" fmla="*/ 14557 h 19671"/>
                <a:gd name="connsiteX10" fmla="*/ 42096 w 47211"/>
                <a:gd name="connsiteY10" fmla="*/ 12983 h 19671"/>
                <a:gd name="connsiteX11" fmla="*/ 38556 w 47211"/>
                <a:gd name="connsiteY11" fmla="*/ 11409 h 19671"/>
                <a:gd name="connsiteX12" fmla="*/ 36589 w 47211"/>
                <a:gd name="connsiteY12" fmla="*/ 10229 h 19671"/>
                <a:gd name="connsiteX13" fmla="*/ 35408 w 47211"/>
                <a:gd name="connsiteY13" fmla="*/ 10229 h 19671"/>
                <a:gd name="connsiteX14" fmla="*/ 32655 w 47211"/>
                <a:gd name="connsiteY14" fmla="*/ 9836 h 19671"/>
                <a:gd name="connsiteX15" fmla="*/ 29507 w 47211"/>
                <a:gd name="connsiteY15" fmla="*/ 8262 h 19671"/>
                <a:gd name="connsiteX16" fmla="*/ 26359 w 47211"/>
                <a:gd name="connsiteY16" fmla="*/ 7475 h 19671"/>
                <a:gd name="connsiteX17" fmla="*/ 23606 w 47211"/>
                <a:gd name="connsiteY17" fmla="*/ 5901 h 19671"/>
                <a:gd name="connsiteX18" fmla="*/ 20852 w 47211"/>
                <a:gd name="connsiteY18" fmla="*/ 4721 h 19671"/>
                <a:gd name="connsiteX19" fmla="*/ 17704 w 47211"/>
                <a:gd name="connsiteY19" fmla="*/ 2754 h 19671"/>
                <a:gd name="connsiteX20" fmla="*/ 14557 w 47211"/>
                <a:gd name="connsiteY20" fmla="*/ 1574 h 19671"/>
                <a:gd name="connsiteX21" fmla="*/ 11803 w 47211"/>
                <a:gd name="connsiteY21" fmla="*/ 787 h 19671"/>
                <a:gd name="connsiteX22" fmla="*/ 8655 w 47211"/>
                <a:gd name="connsiteY22" fmla="*/ 0 h 19671"/>
                <a:gd name="connsiteX23" fmla="*/ 5901 w 47211"/>
                <a:gd name="connsiteY23" fmla="*/ 787 h 19671"/>
                <a:gd name="connsiteX24" fmla="*/ 3148 w 47211"/>
                <a:gd name="connsiteY24" fmla="*/ 3541 h 19671"/>
                <a:gd name="connsiteX25" fmla="*/ 0 w 47211"/>
                <a:gd name="connsiteY25" fmla="*/ 3541 h 19671"/>
                <a:gd name="connsiteX26" fmla="*/ 3148 w 47211"/>
                <a:gd name="connsiteY26" fmla="*/ 4721 h 19671"/>
                <a:gd name="connsiteX27" fmla="*/ 6688 w 47211"/>
                <a:gd name="connsiteY27" fmla="*/ 5508 h 19671"/>
                <a:gd name="connsiteX28" fmla="*/ 3541 w 47211"/>
                <a:gd name="connsiteY28" fmla="*/ 5901 h 19671"/>
                <a:gd name="connsiteX29" fmla="*/ 393 w 47211"/>
                <a:gd name="connsiteY29" fmla="*/ 5508 h 19671"/>
                <a:gd name="connsiteX30" fmla="*/ 3148 w 47211"/>
                <a:gd name="connsiteY30" fmla="*/ 8262 h 19671"/>
                <a:gd name="connsiteX31" fmla="*/ 5115 w 47211"/>
                <a:gd name="connsiteY31" fmla="*/ 11016 h 19671"/>
                <a:gd name="connsiteX32" fmla="*/ 8262 w 47211"/>
                <a:gd name="connsiteY32" fmla="*/ 12590 h 19671"/>
                <a:gd name="connsiteX33" fmla="*/ 8655 w 47211"/>
                <a:gd name="connsiteY33" fmla="*/ 12983 h 19671"/>
                <a:gd name="connsiteX34" fmla="*/ 11803 w 47211"/>
                <a:gd name="connsiteY34" fmla="*/ 14557 h 19671"/>
                <a:gd name="connsiteX35" fmla="*/ 14950 w 47211"/>
                <a:gd name="connsiteY35" fmla="*/ 15737 h 19671"/>
                <a:gd name="connsiteX36" fmla="*/ 18098 w 47211"/>
                <a:gd name="connsiteY36" fmla="*/ 17311 h 19671"/>
                <a:gd name="connsiteX37" fmla="*/ 14950 w 47211"/>
                <a:gd name="connsiteY37" fmla="*/ 14950 h 19671"/>
                <a:gd name="connsiteX38" fmla="*/ 17704 w 47211"/>
                <a:gd name="connsiteY38" fmla="*/ 15344 h 19671"/>
                <a:gd name="connsiteX39" fmla="*/ 30687 w 47211"/>
                <a:gd name="connsiteY39" fmla="*/ 18491 h 19671"/>
                <a:gd name="connsiteX40" fmla="*/ 31474 w 47211"/>
                <a:gd name="connsiteY40" fmla="*/ 20852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47211" h="19671">
                  <a:moveTo>
                    <a:pt x="34622" y="21638"/>
                  </a:moveTo>
                  <a:lnTo>
                    <a:pt x="37376" y="21638"/>
                  </a:lnTo>
                  <a:lnTo>
                    <a:pt x="40129" y="21245"/>
                  </a:lnTo>
                  <a:lnTo>
                    <a:pt x="40523" y="20852"/>
                  </a:lnTo>
                  <a:lnTo>
                    <a:pt x="43277" y="21638"/>
                  </a:lnTo>
                  <a:lnTo>
                    <a:pt x="46425" y="21638"/>
                  </a:lnTo>
                  <a:lnTo>
                    <a:pt x="49572" y="20852"/>
                  </a:lnTo>
                  <a:lnTo>
                    <a:pt x="50752" y="18098"/>
                  </a:lnTo>
                  <a:lnTo>
                    <a:pt x="47605" y="14950"/>
                  </a:lnTo>
                  <a:lnTo>
                    <a:pt x="44457" y="14557"/>
                  </a:lnTo>
                  <a:lnTo>
                    <a:pt x="42096" y="12983"/>
                  </a:lnTo>
                  <a:lnTo>
                    <a:pt x="38556" y="11409"/>
                  </a:lnTo>
                  <a:lnTo>
                    <a:pt x="36589" y="10229"/>
                  </a:lnTo>
                  <a:lnTo>
                    <a:pt x="35408" y="10229"/>
                  </a:lnTo>
                  <a:lnTo>
                    <a:pt x="32655" y="9836"/>
                  </a:lnTo>
                  <a:lnTo>
                    <a:pt x="29507" y="8262"/>
                  </a:lnTo>
                  <a:lnTo>
                    <a:pt x="26359" y="7475"/>
                  </a:lnTo>
                  <a:lnTo>
                    <a:pt x="23606" y="5901"/>
                  </a:lnTo>
                  <a:lnTo>
                    <a:pt x="20852" y="4721"/>
                  </a:lnTo>
                  <a:lnTo>
                    <a:pt x="17704" y="2754"/>
                  </a:lnTo>
                  <a:lnTo>
                    <a:pt x="14557" y="1574"/>
                  </a:lnTo>
                  <a:lnTo>
                    <a:pt x="11803" y="787"/>
                  </a:lnTo>
                  <a:lnTo>
                    <a:pt x="8655" y="0"/>
                  </a:lnTo>
                  <a:lnTo>
                    <a:pt x="5901" y="787"/>
                  </a:lnTo>
                  <a:lnTo>
                    <a:pt x="3148" y="3541"/>
                  </a:lnTo>
                  <a:lnTo>
                    <a:pt x="0" y="3541"/>
                  </a:lnTo>
                  <a:lnTo>
                    <a:pt x="3148" y="4721"/>
                  </a:lnTo>
                  <a:lnTo>
                    <a:pt x="6688" y="5508"/>
                  </a:lnTo>
                  <a:lnTo>
                    <a:pt x="3541" y="5901"/>
                  </a:lnTo>
                  <a:lnTo>
                    <a:pt x="393" y="5508"/>
                  </a:lnTo>
                  <a:lnTo>
                    <a:pt x="3148" y="8262"/>
                  </a:lnTo>
                  <a:lnTo>
                    <a:pt x="5115" y="11016"/>
                  </a:lnTo>
                  <a:lnTo>
                    <a:pt x="8262" y="12590"/>
                  </a:lnTo>
                  <a:lnTo>
                    <a:pt x="8655" y="12983"/>
                  </a:lnTo>
                  <a:lnTo>
                    <a:pt x="11803" y="14557"/>
                  </a:lnTo>
                  <a:lnTo>
                    <a:pt x="14950" y="15737"/>
                  </a:lnTo>
                  <a:lnTo>
                    <a:pt x="18098" y="17311"/>
                  </a:lnTo>
                  <a:lnTo>
                    <a:pt x="14950" y="14950"/>
                  </a:lnTo>
                  <a:lnTo>
                    <a:pt x="17704" y="15344"/>
                  </a:lnTo>
                  <a:lnTo>
                    <a:pt x="30687" y="18491"/>
                  </a:lnTo>
                  <a:lnTo>
                    <a:pt x="31474" y="2085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08" name="Freeform: Shape 3402">
              <a:extLst>
                <a:ext uri="{FF2B5EF4-FFF2-40B4-BE49-F238E27FC236}">
                  <a16:creationId xmlns:a16="http://schemas.microsoft.com/office/drawing/2014/main" id="{596E7A4E-985F-447A-B0D4-969BAA58C641}"/>
                </a:ext>
              </a:extLst>
            </p:cNvPr>
            <p:cNvSpPr/>
            <p:nvPr/>
          </p:nvSpPr>
          <p:spPr>
            <a:xfrm>
              <a:off x="7405717" y="1428863"/>
              <a:ext cx="11803" cy="3934"/>
            </a:xfrm>
            <a:custGeom>
              <a:avLst/>
              <a:gdLst>
                <a:gd name="connsiteX0" fmla="*/ 3147 w 11802"/>
                <a:gd name="connsiteY0" fmla="*/ 1180 h 3934"/>
                <a:gd name="connsiteX1" fmla="*/ 0 w 11802"/>
                <a:gd name="connsiteY1" fmla="*/ 0 h 3934"/>
                <a:gd name="connsiteX2" fmla="*/ 3147 w 11802"/>
                <a:gd name="connsiteY2" fmla="*/ 1967 h 3934"/>
                <a:gd name="connsiteX3" fmla="*/ 6295 w 11802"/>
                <a:gd name="connsiteY3" fmla="*/ 2754 h 3934"/>
                <a:gd name="connsiteX4" fmla="*/ 9049 w 11802"/>
                <a:gd name="connsiteY4" fmla="*/ 4721 h 3934"/>
                <a:gd name="connsiteX5" fmla="*/ 12196 w 11802"/>
                <a:gd name="connsiteY5" fmla="*/ 5901 h 3934"/>
                <a:gd name="connsiteX6" fmla="*/ 9049 w 11802"/>
                <a:gd name="connsiteY6" fmla="*/ 3147 h 3934"/>
                <a:gd name="connsiteX7" fmla="*/ 6295 w 11802"/>
                <a:gd name="connsiteY7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 h="3934">
                  <a:moveTo>
                    <a:pt x="3147" y="1180"/>
                  </a:moveTo>
                  <a:lnTo>
                    <a:pt x="0" y="0"/>
                  </a:lnTo>
                  <a:lnTo>
                    <a:pt x="3147" y="1967"/>
                  </a:lnTo>
                  <a:lnTo>
                    <a:pt x="6295" y="2754"/>
                  </a:lnTo>
                  <a:lnTo>
                    <a:pt x="9049" y="4721"/>
                  </a:lnTo>
                  <a:lnTo>
                    <a:pt x="12196" y="5901"/>
                  </a:lnTo>
                  <a:lnTo>
                    <a:pt x="9049" y="3147"/>
                  </a:lnTo>
                  <a:lnTo>
                    <a:pt x="6295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09" name="Freeform: Shape 3403">
              <a:extLst>
                <a:ext uri="{FF2B5EF4-FFF2-40B4-BE49-F238E27FC236}">
                  <a16:creationId xmlns:a16="http://schemas.microsoft.com/office/drawing/2014/main" id="{2E82138E-F63C-44BC-9BD3-CAB755164133}"/>
                </a:ext>
              </a:extLst>
            </p:cNvPr>
            <p:cNvSpPr/>
            <p:nvPr/>
          </p:nvSpPr>
          <p:spPr>
            <a:xfrm>
              <a:off x="7696459" y="1505974"/>
              <a:ext cx="11803" cy="3934"/>
            </a:xfrm>
            <a:custGeom>
              <a:avLst/>
              <a:gdLst>
                <a:gd name="connsiteX0" fmla="*/ 8655 w 11802"/>
                <a:gd name="connsiteY0" fmla="*/ 787 h 3934"/>
                <a:gd name="connsiteX1" fmla="*/ 5901 w 11802"/>
                <a:gd name="connsiteY1" fmla="*/ 0 h 3934"/>
                <a:gd name="connsiteX2" fmla="*/ 2754 w 11802"/>
                <a:gd name="connsiteY2" fmla="*/ 393 h 3934"/>
                <a:gd name="connsiteX3" fmla="*/ 0 w 11802"/>
                <a:gd name="connsiteY3" fmla="*/ 1180 h 3934"/>
                <a:gd name="connsiteX4" fmla="*/ 2754 w 11802"/>
                <a:gd name="connsiteY4" fmla="*/ 3541 h 3934"/>
                <a:gd name="connsiteX5" fmla="*/ 5901 w 11802"/>
                <a:gd name="connsiteY5" fmla="*/ 4328 h 3934"/>
                <a:gd name="connsiteX6" fmla="*/ 8655 w 11802"/>
                <a:gd name="connsiteY6" fmla="*/ 4721 h 3934"/>
                <a:gd name="connsiteX7" fmla="*/ 11803 w 11802"/>
                <a:gd name="connsiteY7" fmla="*/ 5115 h 3934"/>
                <a:gd name="connsiteX8" fmla="*/ 14950 w 11802"/>
                <a:gd name="connsiteY8" fmla="*/ 4721 h 3934"/>
                <a:gd name="connsiteX9" fmla="*/ 11803 w 11802"/>
                <a:gd name="connsiteY9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8655" y="787"/>
                  </a:moveTo>
                  <a:lnTo>
                    <a:pt x="5901" y="0"/>
                  </a:lnTo>
                  <a:lnTo>
                    <a:pt x="2754" y="393"/>
                  </a:lnTo>
                  <a:lnTo>
                    <a:pt x="0" y="1180"/>
                  </a:lnTo>
                  <a:lnTo>
                    <a:pt x="2754" y="3541"/>
                  </a:lnTo>
                  <a:lnTo>
                    <a:pt x="5901" y="4328"/>
                  </a:lnTo>
                  <a:lnTo>
                    <a:pt x="8655" y="4721"/>
                  </a:lnTo>
                  <a:lnTo>
                    <a:pt x="11803" y="5115"/>
                  </a:lnTo>
                  <a:lnTo>
                    <a:pt x="14950" y="4721"/>
                  </a:lnTo>
                  <a:lnTo>
                    <a:pt x="11803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10" name="Freeform: Shape 3404">
              <a:extLst>
                <a:ext uri="{FF2B5EF4-FFF2-40B4-BE49-F238E27FC236}">
                  <a16:creationId xmlns:a16="http://schemas.microsoft.com/office/drawing/2014/main" id="{C56C2FFA-81D9-4878-BC3C-DC1961B1CF09}"/>
                </a:ext>
              </a:extLst>
            </p:cNvPr>
            <p:cNvSpPr/>
            <p:nvPr/>
          </p:nvSpPr>
          <p:spPr>
            <a:xfrm>
              <a:off x="9758014" y="1409585"/>
              <a:ext cx="39343" cy="11803"/>
            </a:xfrm>
            <a:custGeom>
              <a:avLst/>
              <a:gdLst>
                <a:gd name="connsiteX0" fmla="*/ 6688 w 39342"/>
                <a:gd name="connsiteY0" fmla="*/ 6688 h 11802"/>
                <a:gd name="connsiteX1" fmla="*/ 9836 w 39342"/>
                <a:gd name="connsiteY1" fmla="*/ 7082 h 11802"/>
                <a:gd name="connsiteX2" fmla="*/ 12983 w 39342"/>
                <a:gd name="connsiteY2" fmla="*/ 8655 h 11802"/>
                <a:gd name="connsiteX3" fmla="*/ 16130 w 39342"/>
                <a:gd name="connsiteY3" fmla="*/ 9442 h 11802"/>
                <a:gd name="connsiteX4" fmla="*/ 19278 w 39342"/>
                <a:gd name="connsiteY4" fmla="*/ 10229 h 11802"/>
                <a:gd name="connsiteX5" fmla="*/ 22819 w 39342"/>
                <a:gd name="connsiteY5" fmla="*/ 10622 h 11802"/>
                <a:gd name="connsiteX6" fmla="*/ 25966 w 39342"/>
                <a:gd name="connsiteY6" fmla="*/ 11016 h 11802"/>
                <a:gd name="connsiteX7" fmla="*/ 28720 w 39342"/>
                <a:gd name="connsiteY7" fmla="*/ 11803 h 11802"/>
                <a:gd name="connsiteX8" fmla="*/ 32261 w 39342"/>
                <a:gd name="connsiteY8" fmla="*/ 12196 h 11802"/>
                <a:gd name="connsiteX9" fmla="*/ 35408 w 39342"/>
                <a:gd name="connsiteY9" fmla="*/ 12983 h 11802"/>
                <a:gd name="connsiteX10" fmla="*/ 38162 w 39342"/>
                <a:gd name="connsiteY10" fmla="*/ 12590 h 11802"/>
                <a:gd name="connsiteX11" fmla="*/ 41310 w 39342"/>
                <a:gd name="connsiteY11" fmla="*/ 12983 h 11802"/>
                <a:gd name="connsiteX12" fmla="*/ 40523 w 39342"/>
                <a:gd name="connsiteY12" fmla="*/ 9836 h 11802"/>
                <a:gd name="connsiteX13" fmla="*/ 37376 w 39342"/>
                <a:gd name="connsiteY13" fmla="*/ 7869 h 11802"/>
                <a:gd name="connsiteX14" fmla="*/ 36589 w 39342"/>
                <a:gd name="connsiteY14" fmla="*/ 5115 h 11802"/>
                <a:gd name="connsiteX15" fmla="*/ 33834 w 39342"/>
                <a:gd name="connsiteY15" fmla="*/ 3934 h 11802"/>
                <a:gd name="connsiteX16" fmla="*/ 30294 w 39342"/>
                <a:gd name="connsiteY16" fmla="*/ 3541 h 11802"/>
                <a:gd name="connsiteX17" fmla="*/ 27146 w 39342"/>
                <a:gd name="connsiteY17" fmla="*/ 3147 h 11802"/>
                <a:gd name="connsiteX18" fmla="*/ 23998 w 39342"/>
                <a:gd name="connsiteY18" fmla="*/ 2754 h 11802"/>
                <a:gd name="connsiteX19" fmla="*/ 20852 w 39342"/>
                <a:gd name="connsiteY19" fmla="*/ 2361 h 11802"/>
                <a:gd name="connsiteX20" fmla="*/ 18097 w 39342"/>
                <a:gd name="connsiteY20" fmla="*/ 1967 h 11802"/>
                <a:gd name="connsiteX21" fmla="*/ 14950 w 39342"/>
                <a:gd name="connsiteY21" fmla="*/ 1180 h 11802"/>
                <a:gd name="connsiteX22" fmla="*/ 11803 w 39342"/>
                <a:gd name="connsiteY22" fmla="*/ 787 h 11802"/>
                <a:gd name="connsiteX23" fmla="*/ 8655 w 39342"/>
                <a:gd name="connsiteY23" fmla="*/ 393 h 11802"/>
                <a:gd name="connsiteX24" fmla="*/ 5115 w 39342"/>
                <a:gd name="connsiteY24" fmla="*/ 0 h 11802"/>
                <a:gd name="connsiteX25" fmla="*/ 1967 w 39342"/>
                <a:gd name="connsiteY25" fmla="*/ 393 h 11802"/>
                <a:gd name="connsiteX26" fmla="*/ 0 w 39342"/>
                <a:gd name="connsiteY26" fmla="*/ 3147 h 11802"/>
                <a:gd name="connsiteX27" fmla="*/ 3540 w 39342"/>
                <a:gd name="connsiteY27" fmla="*/ 629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9342" h="11802">
                  <a:moveTo>
                    <a:pt x="6688" y="6688"/>
                  </a:moveTo>
                  <a:lnTo>
                    <a:pt x="9836" y="7082"/>
                  </a:lnTo>
                  <a:lnTo>
                    <a:pt x="12983" y="8655"/>
                  </a:lnTo>
                  <a:lnTo>
                    <a:pt x="16130" y="9442"/>
                  </a:lnTo>
                  <a:lnTo>
                    <a:pt x="19278" y="10229"/>
                  </a:lnTo>
                  <a:lnTo>
                    <a:pt x="22819" y="10622"/>
                  </a:lnTo>
                  <a:lnTo>
                    <a:pt x="25966" y="11016"/>
                  </a:lnTo>
                  <a:lnTo>
                    <a:pt x="28720" y="11803"/>
                  </a:lnTo>
                  <a:lnTo>
                    <a:pt x="32261" y="12196"/>
                  </a:lnTo>
                  <a:lnTo>
                    <a:pt x="35408" y="12983"/>
                  </a:lnTo>
                  <a:lnTo>
                    <a:pt x="38162" y="12590"/>
                  </a:lnTo>
                  <a:lnTo>
                    <a:pt x="41310" y="12983"/>
                  </a:lnTo>
                  <a:lnTo>
                    <a:pt x="40523" y="9836"/>
                  </a:lnTo>
                  <a:lnTo>
                    <a:pt x="37376" y="7869"/>
                  </a:lnTo>
                  <a:lnTo>
                    <a:pt x="36589" y="5115"/>
                  </a:lnTo>
                  <a:lnTo>
                    <a:pt x="33834" y="3934"/>
                  </a:lnTo>
                  <a:lnTo>
                    <a:pt x="30294" y="3541"/>
                  </a:lnTo>
                  <a:lnTo>
                    <a:pt x="27146" y="3147"/>
                  </a:lnTo>
                  <a:lnTo>
                    <a:pt x="23998" y="2754"/>
                  </a:lnTo>
                  <a:lnTo>
                    <a:pt x="20852" y="2361"/>
                  </a:lnTo>
                  <a:lnTo>
                    <a:pt x="18097" y="1967"/>
                  </a:lnTo>
                  <a:lnTo>
                    <a:pt x="14950" y="1180"/>
                  </a:lnTo>
                  <a:lnTo>
                    <a:pt x="11803" y="787"/>
                  </a:lnTo>
                  <a:lnTo>
                    <a:pt x="8655" y="393"/>
                  </a:lnTo>
                  <a:lnTo>
                    <a:pt x="5115" y="0"/>
                  </a:lnTo>
                  <a:lnTo>
                    <a:pt x="1967" y="393"/>
                  </a:lnTo>
                  <a:lnTo>
                    <a:pt x="0" y="3147"/>
                  </a:lnTo>
                  <a:lnTo>
                    <a:pt x="3540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11" name="Freeform: Shape 3405">
              <a:extLst>
                <a:ext uri="{FF2B5EF4-FFF2-40B4-BE49-F238E27FC236}">
                  <a16:creationId xmlns:a16="http://schemas.microsoft.com/office/drawing/2014/main" id="{3DB1F56D-9234-496B-BE24-85A9A9FE63AB}"/>
                </a:ext>
              </a:extLst>
            </p:cNvPr>
            <p:cNvSpPr/>
            <p:nvPr/>
          </p:nvSpPr>
          <p:spPr>
            <a:xfrm>
              <a:off x="5913450" y="1781766"/>
              <a:ext cx="7869" cy="3934"/>
            </a:xfrm>
            <a:custGeom>
              <a:avLst/>
              <a:gdLst>
                <a:gd name="connsiteX0" fmla="*/ 5901 w 7868"/>
                <a:gd name="connsiteY0" fmla="*/ 3934 h 3934"/>
                <a:gd name="connsiteX1" fmla="*/ 8656 w 7868"/>
                <a:gd name="connsiteY1" fmla="*/ 3934 h 3934"/>
                <a:gd name="connsiteX2" fmla="*/ 9442 w 7868"/>
                <a:gd name="connsiteY2" fmla="*/ 1180 h 3934"/>
                <a:gd name="connsiteX3" fmla="*/ 6689 w 7868"/>
                <a:gd name="connsiteY3" fmla="*/ 0 h 3934"/>
                <a:gd name="connsiteX4" fmla="*/ 3541 w 7868"/>
                <a:gd name="connsiteY4" fmla="*/ 787 h 3934"/>
                <a:gd name="connsiteX5" fmla="*/ 787 w 7868"/>
                <a:gd name="connsiteY5" fmla="*/ 1180 h 3934"/>
                <a:gd name="connsiteX6" fmla="*/ 0 w 7868"/>
                <a:gd name="connsiteY6" fmla="*/ 3934 h 3934"/>
                <a:gd name="connsiteX7" fmla="*/ 3148 w 7868"/>
                <a:gd name="connsiteY7" fmla="*/ 4328 h 3934"/>
                <a:gd name="connsiteX8" fmla="*/ 5901 w 7868"/>
                <a:gd name="connsiteY8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5901" y="3934"/>
                  </a:moveTo>
                  <a:lnTo>
                    <a:pt x="8656" y="3934"/>
                  </a:lnTo>
                  <a:lnTo>
                    <a:pt x="9442" y="1180"/>
                  </a:lnTo>
                  <a:lnTo>
                    <a:pt x="6689" y="0"/>
                  </a:lnTo>
                  <a:lnTo>
                    <a:pt x="3541" y="787"/>
                  </a:lnTo>
                  <a:lnTo>
                    <a:pt x="787" y="1180"/>
                  </a:lnTo>
                  <a:lnTo>
                    <a:pt x="0" y="3934"/>
                  </a:lnTo>
                  <a:lnTo>
                    <a:pt x="3148" y="4328"/>
                  </a:lnTo>
                  <a:lnTo>
                    <a:pt x="5901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12" name="Freeform: Shape 3406">
              <a:extLst>
                <a:ext uri="{FF2B5EF4-FFF2-40B4-BE49-F238E27FC236}">
                  <a16:creationId xmlns:a16="http://schemas.microsoft.com/office/drawing/2014/main" id="{7AAD7C3C-A4CF-4A1E-A7C1-21685ACC580B}"/>
                </a:ext>
              </a:extLst>
            </p:cNvPr>
            <p:cNvSpPr/>
            <p:nvPr/>
          </p:nvSpPr>
          <p:spPr>
            <a:xfrm>
              <a:off x="5924073" y="1755800"/>
              <a:ext cx="23606" cy="23606"/>
            </a:xfrm>
            <a:custGeom>
              <a:avLst/>
              <a:gdLst>
                <a:gd name="connsiteX0" fmla="*/ 14557 w 23605"/>
                <a:gd name="connsiteY0" fmla="*/ 4721 h 23605"/>
                <a:gd name="connsiteX1" fmla="*/ 11409 w 23605"/>
                <a:gd name="connsiteY1" fmla="*/ 5508 h 23605"/>
                <a:gd name="connsiteX2" fmla="*/ 8655 w 23605"/>
                <a:gd name="connsiteY2" fmla="*/ 7082 h 23605"/>
                <a:gd name="connsiteX3" fmla="*/ 9049 w 23605"/>
                <a:gd name="connsiteY3" fmla="*/ 9836 h 23605"/>
                <a:gd name="connsiteX4" fmla="*/ 6295 w 23605"/>
                <a:gd name="connsiteY4" fmla="*/ 11409 h 23605"/>
                <a:gd name="connsiteX5" fmla="*/ 6295 w 23605"/>
                <a:gd name="connsiteY5" fmla="*/ 11409 h 23605"/>
                <a:gd name="connsiteX6" fmla="*/ 5901 w 23605"/>
                <a:gd name="connsiteY6" fmla="*/ 9049 h 23605"/>
                <a:gd name="connsiteX7" fmla="*/ 4721 w 23605"/>
                <a:gd name="connsiteY7" fmla="*/ 9442 h 23605"/>
                <a:gd name="connsiteX8" fmla="*/ 3540 w 23605"/>
                <a:gd name="connsiteY8" fmla="*/ 8655 h 23605"/>
                <a:gd name="connsiteX9" fmla="*/ 787 w 23605"/>
                <a:gd name="connsiteY9" fmla="*/ 11016 h 23605"/>
                <a:gd name="connsiteX10" fmla="*/ 787 w 23605"/>
                <a:gd name="connsiteY10" fmla="*/ 11409 h 23605"/>
                <a:gd name="connsiteX11" fmla="*/ 393 w 23605"/>
                <a:gd name="connsiteY11" fmla="*/ 11803 h 23605"/>
                <a:gd name="connsiteX12" fmla="*/ 1180 w 23605"/>
                <a:gd name="connsiteY12" fmla="*/ 12983 h 23605"/>
                <a:gd name="connsiteX13" fmla="*/ 1573 w 23605"/>
                <a:gd name="connsiteY13" fmla="*/ 14163 h 23605"/>
                <a:gd name="connsiteX14" fmla="*/ 2360 w 23605"/>
                <a:gd name="connsiteY14" fmla="*/ 14163 h 23605"/>
                <a:gd name="connsiteX15" fmla="*/ 2754 w 23605"/>
                <a:gd name="connsiteY15" fmla="*/ 14950 h 23605"/>
                <a:gd name="connsiteX16" fmla="*/ 0 w 23605"/>
                <a:gd name="connsiteY16" fmla="*/ 16524 h 23605"/>
                <a:gd name="connsiteX17" fmla="*/ 1573 w 23605"/>
                <a:gd name="connsiteY17" fmla="*/ 16917 h 23605"/>
                <a:gd name="connsiteX18" fmla="*/ 1573 w 23605"/>
                <a:gd name="connsiteY18" fmla="*/ 16917 h 23605"/>
                <a:gd name="connsiteX19" fmla="*/ 2754 w 23605"/>
                <a:gd name="connsiteY19" fmla="*/ 17311 h 23605"/>
                <a:gd name="connsiteX20" fmla="*/ 5508 w 23605"/>
                <a:gd name="connsiteY20" fmla="*/ 18884 h 23605"/>
                <a:gd name="connsiteX21" fmla="*/ 5508 w 23605"/>
                <a:gd name="connsiteY21" fmla="*/ 19278 h 23605"/>
                <a:gd name="connsiteX22" fmla="*/ 5114 w 23605"/>
                <a:gd name="connsiteY22" fmla="*/ 18884 h 23605"/>
                <a:gd name="connsiteX23" fmla="*/ 3934 w 23605"/>
                <a:gd name="connsiteY23" fmla="*/ 20065 h 23605"/>
                <a:gd name="connsiteX24" fmla="*/ 2754 w 23605"/>
                <a:gd name="connsiteY24" fmla="*/ 20458 h 23605"/>
                <a:gd name="connsiteX25" fmla="*/ 0 w 23605"/>
                <a:gd name="connsiteY25" fmla="*/ 22032 h 23605"/>
                <a:gd name="connsiteX26" fmla="*/ 1573 w 23605"/>
                <a:gd name="connsiteY26" fmla="*/ 23606 h 23605"/>
                <a:gd name="connsiteX27" fmla="*/ 1573 w 23605"/>
                <a:gd name="connsiteY27" fmla="*/ 23999 h 23605"/>
                <a:gd name="connsiteX28" fmla="*/ 1967 w 23605"/>
                <a:gd name="connsiteY28" fmla="*/ 23999 h 23605"/>
                <a:gd name="connsiteX29" fmla="*/ 2754 w 23605"/>
                <a:gd name="connsiteY29" fmla="*/ 24786 h 23605"/>
                <a:gd name="connsiteX30" fmla="*/ 5114 w 23605"/>
                <a:gd name="connsiteY30" fmla="*/ 23212 h 23605"/>
                <a:gd name="connsiteX31" fmla="*/ 7475 w 23605"/>
                <a:gd name="connsiteY31" fmla="*/ 22032 h 23605"/>
                <a:gd name="connsiteX32" fmla="*/ 7081 w 23605"/>
                <a:gd name="connsiteY32" fmla="*/ 20458 h 23605"/>
                <a:gd name="connsiteX33" fmla="*/ 7475 w 23605"/>
                <a:gd name="connsiteY33" fmla="*/ 20065 h 23605"/>
                <a:gd name="connsiteX34" fmla="*/ 10229 w 23605"/>
                <a:gd name="connsiteY34" fmla="*/ 18098 h 23605"/>
                <a:gd name="connsiteX35" fmla="*/ 10229 w 23605"/>
                <a:gd name="connsiteY35" fmla="*/ 16524 h 23605"/>
                <a:gd name="connsiteX36" fmla="*/ 10229 w 23605"/>
                <a:gd name="connsiteY36" fmla="*/ 16524 h 23605"/>
                <a:gd name="connsiteX37" fmla="*/ 10622 w 23605"/>
                <a:gd name="connsiteY37" fmla="*/ 18491 h 23605"/>
                <a:gd name="connsiteX38" fmla="*/ 12983 w 23605"/>
                <a:gd name="connsiteY38" fmla="*/ 18884 h 23605"/>
                <a:gd name="connsiteX39" fmla="*/ 12983 w 23605"/>
                <a:gd name="connsiteY39" fmla="*/ 18884 h 23605"/>
                <a:gd name="connsiteX40" fmla="*/ 13770 w 23605"/>
                <a:gd name="connsiteY40" fmla="*/ 18884 h 23605"/>
                <a:gd name="connsiteX41" fmla="*/ 15343 w 23605"/>
                <a:gd name="connsiteY41" fmla="*/ 16131 h 23605"/>
                <a:gd name="connsiteX42" fmla="*/ 18098 w 23605"/>
                <a:gd name="connsiteY42" fmla="*/ 15344 h 23605"/>
                <a:gd name="connsiteX43" fmla="*/ 17704 w 23605"/>
                <a:gd name="connsiteY43" fmla="*/ 12590 h 23605"/>
                <a:gd name="connsiteX44" fmla="*/ 14950 w 23605"/>
                <a:gd name="connsiteY44" fmla="*/ 12983 h 23605"/>
                <a:gd name="connsiteX45" fmla="*/ 17704 w 23605"/>
                <a:gd name="connsiteY45" fmla="*/ 11803 h 23605"/>
                <a:gd name="connsiteX46" fmla="*/ 20851 w 23605"/>
                <a:gd name="connsiteY46" fmla="*/ 9836 h 23605"/>
                <a:gd name="connsiteX47" fmla="*/ 23606 w 23605"/>
                <a:gd name="connsiteY47" fmla="*/ 7869 h 23605"/>
                <a:gd name="connsiteX48" fmla="*/ 20851 w 23605"/>
                <a:gd name="connsiteY48" fmla="*/ 7475 h 23605"/>
                <a:gd name="connsiteX49" fmla="*/ 23606 w 23605"/>
                <a:gd name="connsiteY49" fmla="*/ 5508 h 23605"/>
                <a:gd name="connsiteX50" fmla="*/ 24786 w 23605"/>
                <a:gd name="connsiteY50" fmla="*/ 2754 h 23605"/>
                <a:gd name="connsiteX51" fmla="*/ 22818 w 23605"/>
                <a:gd name="connsiteY51" fmla="*/ 0 h 23605"/>
                <a:gd name="connsiteX52" fmla="*/ 20065 w 23605"/>
                <a:gd name="connsiteY52" fmla="*/ 1967 h 23605"/>
                <a:gd name="connsiteX53" fmla="*/ 17310 w 23605"/>
                <a:gd name="connsiteY53" fmla="*/ 3147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23605" h="23605">
                  <a:moveTo>
                    <a:pt x="14557" y="4721"/>
                  </a:moveTo>
                  <a:lnTo>
                    <a:pt x="11409" y="5508"/>
                  </a:lnTo>
                  <a:lnTo>
                    <a:pt x="8655" y="7082"/>
                  </a:lnTo>
                  <a:lnTo>
                    <a:pt x="9049" y="9836"/>
                  </a:lnTo>
                  <a:lnTo>
                    <a:pt x="6295" y="11409"/>
                  </a:lnTo>
                  <a:lnTo>
                    <a:pt x="6295" y="11409"/>
                  </a:lnTo>
                  <a:lnTo>
                    <a:pt x="5901" y="9049"/>
                  </a:lnTo>
                  <a:lnTo>
                    <a:pt x="4721" y="9442"/>
                  </a:lnTo>
                  <a:lnTo>
                    <a:pt x="3540" y="8655"/>
                  </a:lnTo>
                  <a:lnTo>
                    <a:pt x="787" y="11016"/>
                  </a:lnTo>
                  <a:lnTo>
                    <a:pt x="787" y="11409"/>
                  </a:lnTo>
                  <a:lnTo>
                    <a:pt x="393" y="11803"/>
                  </a:lnTo>
                  <a:lnTo>
                    <a:pt x="1180" y="12983"/>
                  </a:lnTo>
                  <a:lnTo>
                    <a:pt x="1573" y="14163"/>
                  </a:lnTo>
                  <a:lnTo>
                    <a:pt x="2360" y="14163"/>
                  </a:lnTo>
                  <a:lnTo>
                    <a:pt x="2754" y="14950"/>
                  </a:lnTo>
                  <a:lnTo>
                    <a:pt x="0" y="16524"/>
                  </a:lnTo>
                  <a:lnTo>
                    <a:pt x="1573" y="16917"/>
                  </a:lnTo>
                  <a:lnTo>
                    <a:pt x="1573" y="16917"/>
                  </a:lnTo>
                  <a:lnTo>
                    <a:pt x="2754" y="17311"/>
                  </a:lnTo>
                  <a:lnTo>
                    <a:pt x="5508" y="18884"/>
                  </a:lnTo>
                  <a:lnTo>
                    <a:pt x="5508" y="19278"/>
                  </a:lnTo>
                  <a:lnTo>
                    <a:pt x="5114" y="18884"/>
                  </a:lnTo>
                  <a:lnTo>
                    <a:pt x="3934" y="20065"/>
                  </a:lnTo>
                  <a:lnTo>
                    <a:pt x="2754" y="20458"/>
                  </a:lnTo>
                  <a:lnTo>
                    <a:pt x="0" y="22032"/>
                  </a:lnTo>
                  <a:lnTo>
                    <a:pt x="1573" y="23606"/>
                  </a:lnTo>
                  <a:lnTo>
                    <a:pt x="1573" y="23999"/>
                  </a:lnTo>
                  <a:lnTo>
                    <a:pt x="1967" y="23999"/>
                  </a:lnTo>
                  <a:lnTo>
                    <a:pt x="2754" y="24786"/>
                  </a:lnTo>
                  <a:lnTo>
                    <a:pt x="5114" y="23212"/>
                  </a:lnTo>
                  <a:lnTo>
                    <a:pt x="7475" y="22032"/>
                  </a:lnTo>
                  <a:lnTo>
                    <a:pt x="7081" y="20458"/>
                  </a:lnTo>
                  <a:lnTo>
                    <a:pt x="7475" y="20065"/>
                  </a:lnTo>
                  <a:lnTo>
                    <a:pt x="10229" y="18098"/>
                  </a:lnTo>
                  <a:lnTo>
                    <a:pt x="10229" y="16524"/>
                  </a:lnTo>
                  <a:lnTo>
                    <a:pt x="10229" y="16524"/>
                  </a:lnTo>
                  <a:lnTo>
                    <a:pt x="10622" y="18491"/>
                  </a:lnTo>
                  <a:lnTo>
                    <a:pt x="12983" y="18884"/>
                  </a:lnTo>
                  <a:lnTo>
                    <a:pt x="12983" y="18884"/>
                  </a:lnTo>
                  <a:lnTo>
                    <a:pt x="13770" y="18884"/>
                  </a:lnTo>
                  <a:lnTo>
                    <a:pt x="15343" y="16131"/>
                  </a:lnTo>
                  <a:lnTo>
                    <a:pt x="18098" y="15344"/>
                  </a:lnTo>
                  <a:lnTo>
                    <a:pt x="17704" y="12590"/>
                  </a:lnTo>
                  <a:lnTo>
                    <a:pt x="14950" y="12983"/>
                  </a:lnTo>
                  <a:lnTo>
                    <a:pt x="17704" y="11803"/>
                  </a:lnTo>
                  <a:lnTo>
                    <a:pt x="20851" y="9836"/>
                  </a:lnTo>
                  <a:lnTo>
                    <a:pt x="23606" y="7869"/>
                  </a:lnTo>
                  <a:lnTo>
                    <a:pt x="20851" y="7475"/>
                  </a:lnTo>
                  <a:lnTo>
                    <a:pt x="23606" y="5508"/>
                  </a:lnTo>
                  <a:lnTo>
                    <a:pt x="24786" y="2754"/>
                  </a:lnTo>
                  <a:lnTo>
                    <a:pt x="22818" y="0"/>
                  </a:lnTo>
                  <a:lnTo>
                    <a:pt x="20065" y="1967"/>
                  </a:lnTo>
                  <a:lnTo>
                    <a:pt x="1731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13" name="Freeform: Shape 3407">
              <a:extLst>
                <a:ext uri="{FF2B5EF4-FFF2-40B4-BE49-F238E27FC236}">
                  <a16:creationId xmlns:a16="http://schemas.microsoft.com/office/drawing/2014/main" id="{E4370B30-9207-43CC-8570-1701AB5901FD}"/>
                </a:ext>
              </a:extLst>
            </p:cNvPr>
            <p:cNvSpPr/>
            <p:nvPr/>
          </p:nvSpPr>
          <p:spPr>
            <a:xfrm>
              <a:off x="5913450" y="1791208"/>
              <a:ext cx="3934" cy="7869"/>
            </a:xfrm>
            <a:custGeom>
              <a:avLst/>
              <a:gdLst>
                <a:gd name="connsiteX0" fmla="*/ 1574 w 3934"/>
                <a:gd name="connsiteY0" fmla="*/ 9049 h 7868"/>
                <a:gd name="connsiteX1" fmla="*/ 4328 w 3934"/>
                <a:gd name="connsiteY1" fmla="*/ 9049 h 7868"/>
                <a:gd name="connsiteX2" fmla="*/ 5115 w 3934"/>
                <a:gd name="connsiteY2" fmla="*/ 8655 h 7868"/>
                <a:gd name="connsiteX3" fmla="*/ 1967 w 3934"/>
                <a:gd name="connsiteY3" fmla="*/ 7869 h 7868"/>
                <a:gd name="connsiteX4" fmla="*/ 3148 w 3934"/>
                <a:gd name="connsiteY4" fmla="*/ 4721 h 7868"/>
                <a:gd name="connsiteX5" fmla="*/ 6295 w 3934"/>
                <a:gd name="connsiteY5" fmla="*/ 2754 h 7868"/>
                <a:gd name="connsiteX6" fmla="*/ 3541 w 3934"/>
                <a:gd name="connsiteY6" fmla="*/ 0 h 7868"/>
                <a:gd name="connsiteX7" fmla="*/ 787 w 3934"/>
                <a:gd name="connsiteY7" fmla="*/ 393 h 7868"/>
                <a:gd name="connsiteX8" fmla="*/ 393 w 3934"/>
                <a:gd name="connsiteY8" fmla="*/ 3147 h 7868"/>
                <a:gd name="connsiteX9" fmla="*/ 0 w 3934"/>
                <a:gd name="connsiteY9" fmla="*/ 629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7868">
                  <a:moveTo>
                    <a:pt x="1574" y="9049"/>
                  </a:moveTo>
                  <a:lnTo>
                    <a:pt x="4328" y="9049"/>
                  </a:lnTo>
                  <a:lnTo>
                    <a:pt x="5115" y="8655"/>
                  </a:lnTo>
                  <a:lnTo>
                    <a:pt x="1967" y="7869"/>
                  </a:lnTo>
                  <a:lnTo>
                    <a:pt x="3148" y="4721"/>
                  </a:lnTo>
                  <a:lnTo>
                    <a:pt x="6295" y="2754"/>
                  </a:lnTo>
                  <a:lnTo>
                    <a:pt x="3541" y="0"/>
                  </a:lnTo>
                  <a:lnTo>
                    <a:pt x="787" y="393"/>
                  </a:lnTo>
                  <a:lnTo>
                    <a:pt x="393" y="3147"/>
                  </a:lnTo>
                  <a:lnTo>
                    <a:pt x="0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14" name="Freeform: Shape 3408">
              <a:extLst>
                <a:ext uri="{FF2B5EF4-FFF2-40B4-BE49-F238E27FC236}">
                  <a16:creationId xmlns:a16="http://schemas.microsoft.com/office/drawing/2014/main" id="{D756408E-3EE0-4D37-A880-2E3B2507AE5D}"/>
                </a:ext>
              </a:extLst>
            </p:cNvPr>
            <p:cNvSpPr/>
            <p:nvPr/>
          </p:nvSpPr>
          <p:spPr>
            <a:xfrm>
              <a:off x="5915024" y="1788061"/>
              <a:ext cx="3934" cy="3934"/>
            </a:xfrm>
            <a:custGeom>
              <a:avLst/>
              <a:gdLst>
                <a:gd name="connsiteX0" fmla="*/ 2754 w 0"/>
                <a:gd name="connsiteY0" fmla="*/ 2754 h 0"/>
                <a:gd name="connsiteX1" fmla="*/ 2754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754"/>
                  </a:moveTo>
                  <a:lnTo>
                    <a:pt x="2754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15" name="Freeform: Shape 3409">
              <a:extLst>
                <a:ext uri="{FF2B5EF4-FFF2-40B4-BE49-F238E27FC236}">
                  <a16:creationId xmlns:a16="http://schemas.microsoft.com/office/drawing/2014/main" id="{CF184FA7-2F35-4786-8D9D-FBF167E37F56}"/>
                </a:ext>
              </a:extLst>
            </p:cNvPr>
            <p:cNvSpPr/>
            <p:nvPr/>
          </p:nvSpPr>
          <p:spPr>
            <a:xfrm>
              <a:off x="5931941" y="1781766"/>
              <a:ext cx="23606" cy="19671"/>
            </a:xfrm>
            <a:custGeom>
              <a:avLst/>
              <a:gdLst>
                <a:gd name="connsiteX0" fmla="*/ 13770 w 23605"/>
                <a:gd name="connsiteY0" fmla="*/ 10229 h 19671"/>
                <a:gd name="connsiteX1" fmla="*/ 14163 w 23605"/>
                <a:gd name="connsiteY1" fmla="*/ 7475 h 19671"/>
                <a:gd name="connsiteX2" fmla="*/ 14163 w 23605"/>
                <a:gd name="connsiteY2" fmla="*/ 4721 h 19671"/>
                <a:gd name="connsiteX3" fmla="*/ 12983 w 23605"/>
                <a:gd name="connsiteY3" fmla="*/ 1967 h 19671"/>
                <a:gd name="connsiteX4" fmla="*/ 9836 w 23605"/>
                <a:gd name="connsiteY4" fmla="*/ 0 h 19671"/>
                <a:gd name="connsiteX5" fmla="*/ 9049 w 23605"/>
                <a:gd name="connsiteY5" fmla="*/ 3147 h 19671"/>
                <a:gd name="connsiteX6" fmla="*/ 9049 w 23605"/>
                <a:gd name="connsiteY6" fmla="*/ 5901 h 19671"/>
                <a:gd name="connsiteX7" fmla="*/ 5901 w 23605"/>
                <a:gd name="connsiteY7" fmla="*/ 5114 h 19671"/>
                <a:gd name="connsiteX8" fmla="*/ 3147 w 23605"/>
                <a:gd name="connsiteY8" fmla="*/ 5114 h 19671"/>
                <a:gd name="connsiteX9" fmla="*/ 2754 w 23605"/>
                <a:gd name="connsiteY9" fmla="*/ 7869 h 19671"/>
                <a:gd name="connsiteX10" fmla="*/ 0 w 23605"/>
                <a:gd name="connsiteY10" fmla="*/ 7082 h 19671"/>
                <a:gd name="connsiteX11" fmla="*/ 0 w 23605"/>
                <a:gd name="connsiteY11" fmla="*/ 10229 h 19671"/>
                <a:gd name="connsiteX12" fmla="*/ 2754 w 23605"/>
                <a:gd name="connsiteY12" fmla="*/ 11409 h 19671"/>
                <a:gd name="connsiteX13" fmla="*/ 5901 w 23605"/>
                <a:gd name="connsiteY13" fmla="*/ 10229 h 19671"/>
                <a:gd name="connsiteX14" fmla="*/ 8655 w 23605"/>
                <a:gd name="connsiteY14" fmla="*/ 12196 h 19671"/>
                <a:gd name="connsiteX15" fmla="*/ 5901 w 23605"/>
                <a:gd name="connsiteY15" fmla="*/ 12983 h 19671"/>
                <a:gd name="connsiteX16" fmla="*/ 7869 w 23605"/>
                <a:gd name="connsiteY16" fmla="*/ 15737 h 19671"/>
                <a:gd name="connsiteX17" fmla="*/ 11016 w 23605"/>
                <a:gd name="connsiteY17" fmla="*/ 16524 h 19671"/>
                <a:gd name="connsiteX18" fmla="*/ 13770 w 23605"/>
                <a:gd name="connsiteY18" fmla="*/ 17311 h 19671"/>
                <a:gd name="connsiteX19" fmla="*/ 16917 w 23605"/>
                <a:gd name="connsiteY19" fmla="*/ 15737 h 19671"/>
                <a:gd name="connsiteX20" fmla="*/ 19671 w 23605"/>
                <a:gd name="connsiteY20" fmla="*/ 16524 h 19671"/>
                <a:gd name="connsiteX21" fmla="*/ 16524 w 23605"/>
                <a:gd name="connsiteY21" fmla="*/ 18098 h 19671"/>
                <a:gd name="connsiteX22" fmla="*/ 15737 w 23605"/>
                <a:gd name="connsiteY22" fmla="*/ 21245 h 19671"/>
                <a:gd name="connsiteX23" fmla="*/ 18098 w 23605"/>
                <a:gd name="connsiteY23" fmla="*/ 20458 h 19671"/>
                <a:gd name="connsiteX24" fmla="*/ 23606 w 23605"/>
                <a:gd name="connsiteY24" fmla="*/ 16130 h 19671"/>
                <a:gd name="connsiteX25" fmla="*/ 23999 w 23605"/>
                <a:gd name="connsiteY25" fmla="*/ 13376 h 19671"/>
                <a:gd name="connsiteX26" fmla="*/ 22425 w 23605"/>
                <a:gd name="connsiteY26" fmla="*/ 13376 h 19671"/>
                <a:gd name="connsiteX27" fmla="*/ 19671 w 23605"/>
                <a:gd name="connsiteY27" fmla="*/ 14163 h 19671"/>
                <a:gd name="connsiteX28" fmla="*/ 16917 w 23605"/>
                <a:gd name="connsiteY28" fmla="*/ 12590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3605" h="19671">
                  <a:moveTo>
                    <a:pt x="13770" y="10229"/>
                  </a:moveTo>
                  <a:lnTo>
                    <a:pt x="14163" y="7475"/>
                  </a:lnTo>
                  <a:lnTo>
                    <a:pt x="14163" y="4721"/>
                  </a:lnTo>
                  <a:lnTo>
                    <a:pt x="12983" y="1967"/>
                  </a:lnTo>
                  <a:lnTo>
                    <a:pt x="9836" y="0"/>
                  </a:lnTo>
                  <a:lnTo>
                    <a:pt x="9049" y="3147"/>
                  </a:lnTo>
                  <a:lnTo>
                    <a:pt x="9049" y="5901"/>
                  </a:lnTo>
                  <a:lnTo>
                    <a:pt x="5901" y="5114"/>
                  </a:lnTo>
                  <a:lnTo>
                    <a:pt x="3147" y="5114"/>
                  </a:lnTo>
                  <a:lnTo>
                    <a:pt x="2754" y="7869"/>
                  </a:lnTo>
                  <a:lnTo>
                    <a:pt x="0" y="7082"/>
                  </a:lnTo>
                  <a:lnTo>
                    <a:pt x="0" y="10229"/>
                  </a:lnTo>
                  <a:lnTo>
                    <a:pt x="2754" y="11409"/>
                  </a:lnTo>
                  <a:lnTo>
                    <a:pt x="5901" y="10229"/>
                  </a:lnTo>
                  <a:lnTo>
                    <a:pt x="8655" y="12196"/>
                  </a:lnTo>
                  <a:lnTo>
                    <a:pt x="5901" y="12983"/>
                  </a:lnTo>
                  <a:lnTo>
                    <a:pt x="7869" y="15737"/>
                  </a:lnTo>
                  <a:lnTo>
                    <a:pt x="11016" y="16524"/>
                  </a:lnTo>
                  <a:lnTo>
                    <a:pt x="13770" y="17311"/>
                  </a:lnTo>
                  <a:lnTo>
                    <a:pt x="16917" y="15737"/>
                  </a:lnTo>
                  <a:lnTo>
                    <a:pt x="19671" y="16524"/>
                  </a:lnTo>
                  <a:lnTo>
                    <a:pt x="16524" y="18098"/>
                  </a:lnTo>
                  <a:lnTo>
                    <a:pt x="15737" y="21245"/>
                  </a:lnTo>
                  <a:lnTo>
                    <a:pt x="18098" y="20458"/>
                  </a:lnTo>
                  <a:lnTo>
                    <a:pt x="23606" y="16130"/>
                  </a:lnTo>
                  <a:lnTo>
                    <a:pt x="23999" y="13376"/>
                  </a:lnTo>
                  <a:lnTo>
                    <a:pt x="22425" y="13376"/>
                  </a:lnTo>
                  <a:lnTo>
                    <a:pt x="19671" y="14163"/>
                  </a:lnTo>
                  <a:lnTo>
                    <a:pt x="16917" y="1259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16" name="Freeform: Shape 3410">
              <a:extLst>
                <a:ext uri="{FF2B5EF4-FFF2-40B4-BE49-F238E27FC236}">
                  <a16:creationId xmlns:a16="http://schemas.microsoft.com/office/drawing/2014/main" id="{B39C262E-6B72-4735-828B-159DF0645B3D}"/>
                </a:ext>
              </a:extLst>
            </p:cNvPr>
            <p:cNvSpPr/>
            <p:nvPr/>
          </p:nvSpPr>
          <p:spPr>
            <a:xfrm>
              <a:off x="5934695" y="1751866"/>
              <a:ext cx="196713" cy="275398"/>
            </a:xfrm>
            <a:custGeom>
              <a:avLst/>
              <a:gdLst>
                <a:gd name="connsiteX0" fmla="*/ 21638 w 196713"/>
                <a:gd name="connsiteY0" fmla="*/ 34622 h 275398"/>
                <a:gd name="connsiteX1" fmla="*/ 18885 w 196713"/>
                <a:gd name="connsiteY1" fmla="*/ 34622 h 275398"/>
                <a:gd name="connsiteX2" fmla="*/ 19278 w 196713"/>
                <a:gd name="connsiteY2" fmla="*/ 37376 h 275398"/>
                <a:gd name="connsiteX3" fmla="*/ 21638 w 196713"/>
                <a:gd name="connsiteY3" fmla="*/ 40129 h 275398"/>
                <a:gd name="connsiteX4" fmla="*/ 21638 w 196713"/>
                <a:gd name="connsiteY4" fmla="*/ 40129 h 275398"/>
                <a:gd name="connsiteX5" fmla="*/ 21638 w 196713"/>
                <a:gd name="connsiteY5" fmla="*/ 42883 h 275398"/>
                <a:gd name="connsiteX6" fmla="*/ 25573 w 196713"/>
                <a:gd name="connsiteY6" fmla="*/ 42490 h 275398"/>
                <a:gd name="connsiteX7" fmla="*/ 26753 w 196713"/>
                <a:gd name="connsiteY7" fmla="*/ 42883 h 275398"/>
                <a:gd name="connsiteX8" fmla="*/ 28327 w 196713"/>
                <a:gd name="connsiteY8" fmla="*/ 44851 h 275398"/>
                <a:gd name="connsiteX9" fmla="*/ 25573 w 196713"/>
                <a:gd name="connsiteY9" fmla="*/ 43277 h 275398"/>
                <a:gd name="connsiteX10" fmla="*/ 22819 w 196713"/>
                <a:gd name="connsiteY10" fmla="*/ 44457 h 275398"/>
                <a:gd name="connsiteX11" fmla="*/ 22425 w 196713"/>
                <a:gd name="connsiteY11" fmla="*/ 47211 h 275398"/>
                <a:gd name="connsiteX12" fmla="*/ 25573 w 196713"/>
                <a:gd name="connsiteY12" fmla="*/ 48391 h 275398"/>
                <a:gd name="connsiteX13" fmla="*/ 27933 w 196713"/>
                <a:gd name="connsiteY13" fmla="*/ 48391 h 275398"/>
                <a:gd name="connsiteX14" fmla="*/ 25179 w 196713"/>
                <a:gd name="connsiteY14" fmla="*/ 48785 h 275398"/>
                <a:gd name="connsiteX15" fmla="*/ 22425 w 196713"/>
                <a:gd name="connsiteY15" fmla="*/ 47605 h 275398"/>
                <a:gd name="connsiteX16" fmla="*/ 20065 w 196713"/>
                <a:gd name="connsiteY16" fmla="*/ 50359 h 275398"/>
                <a:gd name="connsiteX17" fmla="*/ 22819 w 196713"/>
                <a:gd name="connsiteY17" fmla="*/ 52326 h 275398"/>
                <a:gd name="connsiteX18" fmla="*/ 20065 w 196713"/>
                <a:gd name="connsiteY18" fmla="*/ 50752 h 275398"/>
                <a:gd name="connsiteX19" fmla="*/ 17311 w 196713"/>
                <a:gd name="connsiteY19" fmla="*/ 52326 h 275398"/>
                <a:gd name="connsiteX20" fmla="*/ 16918 w 196713"/>
                <a:gd name="connsiteY20" fmla="*/ 55080 h 275398"/>
                <a:gd name="connsiteX21" fmla="*/ 19671 w 196713"/>
                <a:gd name="connsiteY21" fmla="*/ 56260 h 275398"/>
                <a:gd name="connsiteX22" fmla="*/ 19671 w 196713"/>
                <a:gd name="connsiteY22" fmla="*/ 56260 h 275398"/>
                <a:gd name="connsiteX23" fmla="*/ 17311 w 196713"/>
                <a:gd name="connsiteY23" fmla="*/ 56653 h 275398"/>
                <a:gd name="connsiteX24" fmla="*/ 16524 w 196713"/>
                <a:gd name="connsiteY24" fmla="*/ 59407 h 275398"/>
                <a:gd name="connsiteX25" fmla="*/ 15737 w 196713"/>
                <a:gd name="connsiteY25" fmla="*/ 59014 h 275398"/>
                <a:gd name="connsiteX26" fmla="*/ 12983 w 196713"/>
                <a:gd name="connsiteY26" fmla="*/ 58620 h 275398"/>
                <a:gd name="connsiteX27" fmla="*/ 9836 w 196713"/>
                <a:gd name="connsiteY27" fmla="*/ 59014 h 275398"/>
                <a:gd name="connsiteX28" fmla="*/ 7082 w 196713"/>
                <a:gd name="connsiteY28" fmla="*/ 60588 h 275398"/>
                <a:gd name="connsiteX29" fmla="*/ 9836 w 196713"/>
                <a:gd name="connsiteY29" fmla="*/ 60981 h 275398"/>
                <a:gd name="connsiteX30" fmla="*/ 12983 w 196713"/>
                <a:gd name="connsiteY30" fmla="*/ 61375 h 275398"/>
                <a:gd name="connsiteX31" fmla="*/ 15737 w 196713"/>
                <a:gd name="connsiteY31" fmla="*/ 61375 h 275398"/>
                <a:gd name="connsiteX32" fmla="*/ 18885 w 196713"/>
                <a:gd name="connsiteY32" fmla="*/ 60194 h 275398"/>
                <a:gd name="connsiteX33" fmla="*/ 21638 w 196713"/>
                <a:gd name="connsiteY33" fmla="*/ 61375 h 275398"/>
                <a:gd name="connsiteX34" fmla="*/ 18885 w 196713"/>
                <a:gd name="connsiteY34" fmla="*/ 60981 h 275398"/>
                <a:gd name="connsiteX35" fmla="*/ 16130 w 196713"/>
                <a:gd name="connsiteY35" fmla="*/ 62948 h 275398"/>
                <a:gd name="connsiteX36" fmla="*/ 13377 w 196713"/>
                <a:gd name="connsiteY36" fmla="*/ 62555 h 275398"/>
                <a:gd name="connsiteX37" fmla="*/ 14950 w 196713"/>
                <a:gd name="connsiteY37" fmla="*/ 65309 h 275398"/>
                <a:gd name="connsiteX38" fmla="*/ 18098 w 196713"/>
                <a:gd name="connsiteY38" fmla="*/ 66096 h 275398"/>
                <a:gd name="connsiteX39" fmla="*/ 20852 w 196713"/>
                <a:gd name="connsiteY39" fmla="*/ 67276 h 275398"/>
                <a:gd name="connsiteX40" fmla="*/ 23606 w 196713"/>
                <a:gd name="connsiteY40" fmla="*/ 65702 h 275398"/>
                <a:gd name="connsiteX41" fmla="*/ 26359 w 196713"/>
                <a:gd name="connsiteY41" fmla="*/ 63342 h 275398"/>
                <a:gd name="connsiteX42" fmla="*/ 29114 w 196713"/>
                <a:gd name="connsiteY42" fmla="*/ 61375 h 275398"/>
                <a:gd name="connsiteX43" fmla="*/ 32261 w 196713"/>
                <a:gd name="connsiteY43" fmla="*/ 59014 h 275398"/>
                <a:gd name="connsiteX44" fmla="*/ 35015 w 196713"/>
                <a:gd name="connsiteY44" fmla="*/ 57440 h 275398"/>
                <a:gd name="connsiteX45" fmla="*/ 33835 w 196713"/>
                <a:gd name="connsiteY45" fmla="*/ 58620 h 275398"/>
                <a:gd name="connsiteX46" fmla="*/ 33441 w 196713"/>
                <a:gd name="connsiteY46" fmla="*/ 61375 h 275398"/>
                <a:gd name="connsiteX47" fmla="*/ 35015 w 196713"/>
                <a:gd name="connsiteY47" fmla="*/ 60981 h 275398"/>
                <a:gd name="connsiteX48" fmla="*/ 36589 w 196713"/>
                <a:gd name="connsiteY48" fmla="*/ 60588 h 275398"/>
                <a:gd name="connsiteX49" fmla="*/ 33441 w 196713"/>
                <a:gd name="connsiteY49" fmla="*/ 61375 h 275398"/>
                <a:gd name="connsiteX50" fmla="*/ 32655 w 196713"/>
                <a:gd name="connsiteY50" fmla="*/ 61375 h 275398"/>
                <a:gd name="connsiteX51" fmla="*/ 29900 w 196713"/>
                <a:gd name="connsiteY51" fmla="*/ 62555 h 275398"/>
                <a:gd name="connsiteX52" fmla="*/ 27147 w 196713"/>
                <a:gd name="connsiteY52" fmla="*/ 65309 h 275398"/>
                <a:gd name="connsiteX53" fmla="*/ 27147 w 196713"/>
                <a:gd name="connsiteY53" fmla="*/ 65702 h 275398"/>
                <a:gd name="connsiteX54" fmla="*/ 27147 w 196713"/>
                <a:gd name="connsiteY54" fmla="*/ 68063 h 275398"/>
                <a:gd name="connsiteX55" fmla="*/ 27147 w 196713"/>
                <a:gd name="connsiteY55" fmla="*/ 68456 h 275398"/>
                <a:gd name="connsiteX56" fmla="*/ 25573 w 196713"/>
                <a:gd name="connsiteY56" fmla="*/ 68456 h 275398"/>
                <a:gd name="connsiteX57" fmla="*/ 24786 w 196713"/>
                <a:gd name="connsiteY57" fmla="*/ 71210 h 275398"/>
                <a:gd name="connsiteX58" fmla="*/ 22032 w 196713"/>
                <a:gd name="connsiteY58" fmla="*/ 71997 h 275398"/>
                <a:gd name="connsiteX59" fmla="*/ 22819 w 196713"/>
                <a:gd name="connsiteY59" fmla="*/ 74751 h 275398"/>
                <a:gd name="connsiteX60" fmla="*/ 22819 w 196713"/>
                <a:gd name="connsiteY60" fmla="*/ 76325 h 275398"/>
                <a:gd name="connsiteX61" fmla="*/ 20458 w 196713"/>
                <a:gd name="connsiteY61" fmla="*/ 80259 h 275398"/>
                <a:gd name="connsiteX62" fmla="*/ 19671 w 196713"/>
                <a:gd name="connsiteY62" fmla="*/ 81046 h 275398"/>
                <a:gd name="connsiteX63" fmla="*/ 18098 w 196713"/>
                <a:gd name="connsiteY63" fmla="*/ 84193 h 275398"/>
                <a:gd name="connsiteX64" fmla="*/ 19671 w 196713"/>
                <a:gd name="connsiteY64" fmla="*/ 82620 h 275398"/>
                <a:gd name="connsiteX65" fmla="*/ 19671 w 196713"/>
                <a:gd name="connsiteY65" fmla="*/ 82620 h 275398"/>
                <a:gd name="connsiteX66" fmla="*/ 18098 w 196713"/>
                <a:gd name="connsiteY66" fmla="*/ 84193 h 275398"/>
                <a:gd name="connsiteX67" fmla="*/ 18098 w 196713"/>
                <a:gd name="connsiteY67" fmla="*/ 86947 h 275398"/>
                <a:gd name="connsiteX68" fmla="*/ 18491 w 196713"/>
                <a:gd name="connsiteY68" fmla="*/ 87341 h 275398"/>
                <a:gd name="connsiteX69" fmla="*/ 16918 w 196713"/>
                <a:gd name="connsiteY69" fmla="*/ 94422 h 275398"/>
                <a:gd name="connsiteX70" fmla="*/ 15737 w 196713"/>
                <a:gd name="connsiteY70" fmla="*/ 96389 h 275398"/>
                <a:gd name="connsiteX71" fmla="*/ 15737 w 196713"/>
                <a:gd name="connsiteY71" fmla="*/ 99143 h 275398"/>
                <a:gd name="connsiteX72" fmla="*/ 15737 w 196713"/>
                <a:gd name="connsiteY72" fmla="*/ 99537 h 275398"/>
                <a:gd name="connsiteX73" fmla="*/ 13377 w 196713"/>
                <a:gd name="connsiteY73" fmla="*/ 102291 h 275398"/>
                <a:gd name="connsiteX74" fmla="*/ 14163 w 196713"/>
                <a:gd name="connsiteY74" fmla="*/ 105045 h 275398"/>
                <a:gd name="connsiteX75" fmla="*/ 17311 w 196713"/>
                <a:gd name="connsiteY75" fmla="*/ 104651 h 275398"/>
                <a:gd name="connsiteX76" fmla="*/ 20065 w 196713"/>
                <a:gd name="connsiteY76" fmla="*/ 102291 h 275398"/>
                <a:gd name="connsiteX77" fmla="*/ 19671 w 196713"/>
                <a:gd name="connsiteY77" fmla="*/ 99537 h 275398"/>
                <a:gd name="connsiteX78" fmla="*/ 21245 w 196713"/>
                <a:gd name="connsiteY78" fmla="*/ 96389 h 275398"/>
                <a:gd name="connsiteX79" fmla="*/ 21638 w 196713"/>
                <a:gd name="connsiteY79" fmla="*/ 94029 h 275398"/>
                <a:gd name="connsiteX80" fmla="*/ 27147 w 196713"/>
                <a:gd name="connsiteY80" fmla="*/ 86160 h 275398"/>
                <a:gd name="connsiteX81" fmla="*/ 29114 w 196713"/>
                <a:gd name="connsiteY81" fmla="*/ 87341 h 275398"/>
                <a:gd name="connsiteX82" fmla="*/ 29900 w 196713"/>
                <a:gd name="connsiteY82" fmla="*/ 86160 h 275398"/>
                <a:gd name="connsiteX83" fmla="*/ 31081 w 196713"/>
                <a:gd name="connsiteY83" fmla="*/ 88127 h 275398"/>
                <a:gd name="connsiteX84" fmla="*/ 33441 w 196713"/>
                <a:gd name="connsiteY84" fmla="*/ 90882 h 275398"/>
                <a:gd name="connsiteX85" fmla="*/ 33835 w 196713"/>
                <a:gd name="connsiteY85" fmla="*/ 90488 h 275398"/>
                <a:gd name="connsiteX86" fmla="*/ 33441 w 196713"/>
                <a:gd name="connsiteY86" fmla="*/ 87734 h 275398"/>
                <a:gd name="connsiteX87" fmla="*/ 31081 w 196713"/>
                <a:gd name="connsiteY87" fmla="*/ 84980 h 275398"/>
                <a:gd name="connsiteX88" fmla="*/ 30687 w 196713"/>
                <a:gd name="connsiteY88" fmla="*/ 84980 h 275398"/>
                <a:gd name="connsiteX89" fmla="*/ 31081 w 196713"/>
                <a:gd name="connsiteY89" fmla="*/ 84587 h 275398"/>
                <a:gd name="connsiteX90" fmla="*/ 34622 w 196713"/>
                <a:gd name="connsiteY90" fmla="*/ 86554 h 275398"/>
                <a:gd name="connsiteX91" fmla="*/ 37769 w 196713"/>
                <a:gd name="connsiteY91" fmla="*/ 85767 h 275398"/>
                <a:gd name="connsiteX92" fmla="*/ 37376 w 196713"/>
                <a:gd name="connsiteY92" fmla="*/ 86947 h 275398"/>
                <a:gd name="connsiteX93" fmla="*/ 37769 w 196713"/>
                <a:gd name="connsiteY93" fmla="*/ 89701 h 275398"/>
                <a:gd name="connsiteX94" fmla="*/ 37769 w 196713"/>
                <a:gd name="connsiteY94" fmla="*/ 91668 h 275398"/>
                <a:gd name="connsiteX95" fmla="*/ 32261 w 196713"/>
                <a:gd name="connsiteY95" fmla="*/ 110159 h 275398"/>
                <a:gd name="connsiteX96" fmla="*/ 31867 w 196713"/>
                <a:gd name="connsiteY96" fmla="*/ 111733 h 275398"/>
                <a:gd name="connsiteX97" fmla="*/ 31081 w 196713"/>
                <a:gd name="connsiteY97" fmla="*/ 114880 h 275398"/>
                <a:gd name="connsiteX98" fmla="*/ 31474 w 196713"/>
                <a:gd name="connsiteY98" fmla="*/ 114880 h 275398"/>
                <a:gd name="connsiteX99" fmla="*/ 31867 w 196713"/>
                <a:gd name="connsiteY99" fmla="*/ 116454 h 275398"/>
                <a:gd name="connsiteX100" fmla="*/ 31867 w 196713"/>
                <a:gd name="connsiteY100" fmla="*/ 117634 h 275398"/>
                <a:gd name="connsiteX101" fmla="*/ 29900 w 196713"/>
                <a:gd name="connsiteY101" fmla="*/ 114880 h 275398"/>
                <a:gd name="connsiteX102" fmla="*/ 27540 w 196713"/>
                <a:gd name="connsiteY102" fmla="*/ 114880 h 275398"/>
                <a:gd name="connsiteX103" fmla="*/ 27147 w 196713"/>
                <a:gd name="connsiteY103" fmla="*/ 116848 h 275398"/>
                <a:gd name="connsiteX104" fmla="*/ 28327 w 196713"/>
                <a:gd name="connsiteY104" fmla="*/ 119995 h 275398"/>
                <a:gd name="connsiteX105" fmla="*/ 31081 w 196713"/>
                <a:gd name="connsiteY105" fmla="*/ 122356 h 275398"/>
                <a:gd name="connsiteX106" fmla="*/ 31867 w 196713"/>
                <a:gd name="connsiteY106" fmla="*/ 123929 h 275398"/>
                <a:gd name="connsiteX107" fmla="*/ 34228 w 196713"/>
                <a:gd name="connsiteY107" fmla="*/ 126683 h 275398"/>
                <a:gd name="connsiteX108" fmla="*/ 40916 w 196713"/>
                <a:gd name="connsiteY108" fmla="*/ 121962 h 275398"/>
                <a:gd name="connsiteX109" fmla="*/ 41310 w 196713"/>
                <a:gd name="connsiteY109" fmla="*/ 121962 h 275398"/>
                <a:gd name="connsiteX110" fmla="*/ 44064 w 196713"/>
                <a:gd name="connsiteY110" fmla="*/ 124323 h 275398"/>
                <a:gd name="connsiteX111" fmla="*/ 47211 w 196713"/>
                <a:gd name="connsiteY111" fmla="*/ 123142 h 275398"/>
                <a:gd name="connsiteX112" fmla="*/ 46818 w 196713"/>
                <a:gd name="connsiteY112" fmla="*/ 120388 h 275398"/>
                <a:gd name="connsiteX113" fmla="*/ 46818 w 196713"/>
                <a:gd name="connsiteY113" fmla="*/ 117634 h 275398"/>
                <a:gd name="connsiteX114" fmla="*/ 49178 w 196713"/>
                <a:gd name="connsiteY114" fmla="*/ 119602 h 275398"/>
                <a:gd name="connsiteX115" fmla="*/ 51932 w 196713"/>
                <a:gd name="connsiteY115" fmla="*/ 121175 h 275398"/>
                <a:gd name="connsiteX116" fmla="*/ 54686 w 196713"/>
                <a:gd name="connsiteY116" fmla="*/ 119995 h 275398"/>
                <a:gd name="connsiteX117" fmla="*/ 55080 w 196713"/>
                <a:gd name="connsiteY117" fmla="*/ 121962 h 275398"/>
                <a:gd name="connsiteX118" fmla="*/ 55866 w 196713"/>
                <a:gd name="connsiteY118" fmla="*/ 121962 h 275398"/>
                <a:gd name="connsiteX119" fmla="*/ 58621 w 196713"/>
                <a:gd name="connsiteY119" fmla="*/ 121175 h 275398"/>
                <a:gd name="connsiteX120" fmla="*/ 61374 w 196713"/>
                <a:gd name="connsiteY120" fmla="*/ 118815 h 275398"/>
                <a:gd name="connsiteX121" fmla="*/ 64522 w 196713"/>
                <a:gd name="connsiteY121" fmla="*/ 118421 h 275398"/>
                <a:gd name="connsiteX122" fmla="*/ 67276 w 196713"/>
                <a:gd name="connsiteY122" fmla="*/ 118028 h 275398"/>
                <a:gd name="connsiteX123" fmla="*/ 67669 w 196713"/>
                <a:gd name="connsiteY123" fmla="*/ 115274 h 275398"/>
                <a:gd name="connsiteX124" fmla="*/ 68850 w 196713"/>
                <a:gd name="connsiteY124" fmla="*/ 115667 h 275398"/>
                <a:gd name="connsiteX125" fmla="*/ 71603 w 196713"/>
                <a:gd name="connsiteY125" fmla="*/ 115667 h 275398"/>
                <a:gd name="connsiteX126" fmla="*/ 74751 w 196713"/>
                <a:gd name="connsiteY126" fmla="*/ 116061 h 275398"/>
                <a:gd name="connsiteX127" fmla="*/ 77505 w 196713"/>
                <a:gd name="connsiteY127" fmla="*/ 116061 h 275398"/>
                <a:gd name="connsiteX128" fmla="*/ 80259 w 196713"/>
                <a:gd name="connsiteY128" fmla="*/ 115667 h 275398"/>
                <a:gd name="connsiteX129" fmla="*/ 81046 w 196713"/>
                <a:gd name="connsiteY129" fmla="*/ 116061 h 275398"/>
                <a:gd name="connsiteX130" fmla="*/ 80652 w 196713"/>
                <a:gd name="connsiteY130" fmla="*/ 116848 h 275398"/>
                <a:gd name="connsiteX131" fmla="*/ 77899 w 196713"/>
                <a:gd name="connsiteY131" fmla="*/ 117241 h 275398"/>
                <a:gd name="connsiteX132" fmla="*/ 74751 w 196713"/>
                <a:gd name="connsiteY132" fmla="*/ 118421 h 275398"/>
                <a:gd name="connsiteX133" fmla="*/ 73964 w 196713"/>
                <a:gd name="connsiteY133" fmla="*/ 119208 h 275398"/>
                <a:gd name="connsiteX134" fmla="*/ 70817 w 196713"/>
                <a:gd name="connsiteY134" fmla="*/ 119995 h 275398"/>
                <a:gd name="connsiteX135" fmla="*/ 69636 w 196713"/>
                <a:gd name="connsiteY135" fmla="*/ 123142 h 275398"/>
                <a:gd name="connsiteX136" fmla="*/ 66882 w 196713"/>
                <a:gd name="connsiteY136" fmla="*/ 125896 h 275398"/>
                <a:gd name="connsiteX137" fmla="*/ 65702 w 196713"/>
                <a:gd name="connsiteY137" fmla="*/ 128650 h 275398"/>
                <a:gd name="connsiteX138" fmla="*/ 65309 w 196713"/>
                <a:gd name="connsiteY138" fmla="*/ 131404 h 275398"/>
                <a:gd name="connsiteX139" fmla="*/ 68063 w 196713"/>
                <a:gd name="connsiteY139" fmla="*/ 134158 h 275398"/>
                <a:gd name="connsiteX140" fmla="*/ 69636 w 196713"/>
                <a:gd name="connsiteY140" fmla="*/ 136912 h 275398"/>
                <a:gd name="connsiteX141" fmla="*/ 71210 w 196713"/>
                <a:gd name="connsiteY141" fmla="*/ 140060 h 275398"/>
                <a:gd name="connsiteX142" fmla="*/ 73964 w 196713"/>
                <a:gd name="connsiteY142" fmla="*/ 139273 h 275398"/>
                <a:gd name="connsiteX143" fmla="*/ 74358 w 196713"/>
                <a:gd name="connsiteY143" fmla="*/ 139273 h 275398"/>
                <a:gd name="connsiteX144" fmla="*/ 73964 w 196713"/>
                <a:gd name="connsiteY144" fmla="*/ 142027 h 275398"/>
                <a:gd name="connsiteX145" fmla="*/ 75538 w 196713"/>
                <a:gd name="connsiteY145" fmla="*/ 144781 h 275398"/>
                <a:gd name="connsiteX146" fmla="*/ 78292 w 196713"/>
                <a:gd name="connsiteY146" fmla="*/ 140847 h 275398"/>
                <a:gd name="connsiteX147" fmla="*/ 78685 w 196713"/>
                <a:gd name="connsiteY147" fmla="*/ 139666 h 275398"/>
                <a:gd name="connsiteX148" fmla="*/ 79079 w 196713"/>
                <a:gd name="connsiteY148" fmla="*/ 140847 h 275398"/>
                <a:gd name="connsiteX149" fmla="*/ 80652 w 196713"/>
                <a:gd name="connsiteY149" fmla="*/ 142420 h 275398"/>
                <a:gd name="connsiteX150" fmla="*/ 83406 w 196713"/>
                <a:gd name="connsiteY150" fmla="*/ 140847 h 275398"/>
                <a:gd name="connsiteX151" fmla="*/ 84587 w 196713"/>
                <a:gd name="connsiteY151" fmla="*/ 140453 h 275398"/>
                <a:gd name="connsiteX152" fmla="*/ 84193 w 196713"/>
                <a:gd name="connsiteY152" fmla="*/ 140847 h 275398"/>
                <a:gd name="connsiteX153" fmla="*/ 83800 w 196713"/>
                <a:gd name="connsiteY153" fmla="*/ 141633 h 275398"/>
                <a:gd name="connsiteX154" fmla="*/ 79472 w 196713"/>
                <a:gd name="connsiteY154" fmla="*/ 149502 h 275398"/>
                <a:gd name="connsiteX155" fmla="*/ 77899 w 196713"/>
                <a:gd name="connsiteY155" fmla="*/ 150289 h 275398"/>
                <a:gd name="connsiteX156" fmla="*/ 77505 w 196713"/>
                <a:gd name="connsiteY156" fmla="*/ 153436 h 275398"/>
                <a:gd name="connsiteX157" fmla="*/ 78292 w 196713"/>
                <a:gd name="connsiteY157" fmla="*/ 155797 h 275398"/>
                <a:gd name="connsiteX158" fmla="*/ 81046 w 196713"/>
                <a:gd name="connsiteY158" fmla="*/ 156190 h 275398"/>
                <a:gd name="connsiteX159" fmla="*/ 79866 w 196713"/>
                <a:gd name="connsiteY159" fmla="*/ 156584 h 275398"/>
                <a:gd name="connsiteX160" fmla="*/ 78292 w 196713"/>
                <a:gd name="connsiteY160" fmla="*/ 157764 h 275398"/>
                <a:gd name="connsiteX161" fmla="*/ 75538 w 196713"/>
                <a:gd name="connsiteY161" fmla="*/ 160518 h 275398"/>
                <a:gd name="connsiteX162" fmla="*/ 76325 w 196713"/>
                <a:gd name="connsiteY162" fmla="*/ 163272 h 275398"/>
                <a:gd name="connsiteX163" fmla="*/ 77505 w 196713"/>
                <a:gd name="connsiteY163" fmla="*/ 166419 h 275398"/>
                <a:gd name="connsiteX164" fmla="*/ 77899 w 196713"/>
                <a:gd name="connsiteY164" fmla="*/ 166813 h 275398"/>
                <a:gd name="connsiteX165" fmla="*/ 79472 w 196713"/>
                <a:gd name="connsiteY165" fmla="*/ 168386 h 275398"/>
                <a:gd name="connsiteX166" fmla="*/ 82226 w 196713"/>
                <a:gd name="connsiteY166" fmla="*/ 169173 h 275398"/>
                <a:gd name="connsiteX167" fmla="*/ 79472 w 196713"/>
                <a:gd name="connsiteY167" fmla="*/ 169960 h 275398"/>
                <a:gd name="connsiteX168" fmla="*/ 77899 w 196713"/>
                <a:gd name="connsiteY168" fmla="*/ 167206 h 275398"/>
                <a:gd name="connsiteX169" fmla="*/ 77505 w 196713"/>
                <a:gd name="connsiteY169" fmla="*/ 166813 h 275398"/>
                <a:gd name="connsiteX170" fmla="*/ 75931 w 196713"/>
                <a:gd name="connsiteY170" fmla="*/ 166026 h 275398"/>
                <a:gd name="connsiteX171" fmla="*/ 72784 w 196713"/>
                <a:gd name="connsiteY171" fmla="*/ 167993 h 275398"/>
                <a:gd name="connsiteX172" fmla="*/ 74358 w 196713"/>
                <a:gd name="connsiteY172" fmla="*/ 170747 h 275398"/>
                <a:gd name="connsiteX173" fmla="*/ 75144 w 196713"/>
                <a:gd name="connsiteY173" fmla="*/ 171140 h 275398"/>
                <a:gd name="connsiteX174" fmla="*/ 75144 w 196713"/>
                <a:gd name="connsiteY174" fmla="*/ 172321 h 275398"/>
                <a:gd name="connsiteX175" fmla="*/ 72391 w 196713"/>
                <a:gd name="connsiteY175" fmla="*/ 170354 h 275398"/>
                <a:gd name="connsiteX176" fmla="*/ 69636 w 196713"/>
                <a:gd name="connsiteY176" fmla="*/ 168780 h 275398"/>
                <a:gd name="connsiteX177" fmla="*/ 66882 w 196713"/>
                <a:gd name="connsiteY177" fmla="*/ 169173 h 275398"/>
                <a:gd name="connsiteX178" fmla="*/ 62162 w 196713"/>
                <a:gd name="connsiteY178" fmla="*/ 170747 h 275398"/>
                <a:gd name="connsiteX179" fmla="*/ 58227 w 196713"/>
                <a:gd name="connsiteY179" fmla="*/ 169960 h 275398"/>
                <a:gd name="connsiteX180" fmla="*/ 56654 w 196713"/>
                <a:gd name="connsiteY180" fmla="*/ 169567 h 275398"/>
                <a:gd name="connsiteX181" fmla="*/ 53899 w 196713"/>
                <a:gd name="connsiteY181" fmla="*/ 171140 h 275398"/>
                <a:gd name="connsiteX182" fmla="*/ 48392 w 196713"/>
                <a:gd name="connsiteY182" fmla="*/ 172714 h 275398"/>
                <a:gd name="connsiteX183" fmla="*/ 47998 w 196713"/>
                <a:gd name="connsiteY183" fmla="*/ 172714 h 275398"/>
                <a:gd name="connsiteX184" fmla="*/ 49572 w 196713"/>
                <a:gd name="connsiteY184" fmla="*/ 169960 h 275398"/>
                <a:gd name="connsiteX185" fmla="*/ 46818 w 196713"/>
                <a:gd name="connsiteY185" fmla="*/ 169567 h 275398"/>
                <a:gd name="connsiteX186" fmla="*/ 44457 w 196713"/>
                <a:gd name="connsiteY186" fmla="*/ 166813 h 275398"/>
                <a:gd name="connsiteX187" fmla="*/ 41703 w 196713"/>
                <a:gd name="connsiteY187" fmla="*/ 166813 h 275398"/>
                <a:gd name="connsiteX188" fmla="*/ 38949 w 196713"/>
                <a:gd name="connsiteY188" fmla="*/ 167993 h 275398"/>
                <a:gd name="connsiteX189" fmla="*/ 38162 w 196713"/>
                <a:gd name="connsiteY189" fmla="*/ 171140 h 275398"/>
                <a:gd name="connsiteX190" fmla="*/ 38556 w 196713"/>
                <a:gd name="connsiteY190" fmla="*/ 171534 h 275398"/>
                <a:gd name="connsiteX191" fmla="*/ 40523 w 196713"/>
                <a:gd name="connsiteY191" fmla="*/ 174288 h 275398"/>
                <a:gd name="connsiteX192" fmla="*/ 43277 w 196713"/>
                <a:gd name="connsiteY192" fmla="*/ 175862 h 275398"/>
                <a:gd name="connsiteX193" fmla="*/ 46818 w 196713"/>
                <a:gd name="connsiteY193" fmla="*/ 173108 h 275398"/>
                <a:gd name="connsiteX194" fmla="*/ 47211 w 196713"/>
                <a:gd name="connsiteY194" fmla="*/ 173108 h 275398"/>
                <a:gd name="connsiteX195" fmla="*/ 35802 w 196713"/>
                <a:gd name="connsiteY195" fmla="*/ 182943 h 275398"/>
                <a:gd name="connsiteX196" fmla="*/ 34622 w 196713"/>
                <a:gd name="connsiteY196" fmla="*/ 183730 h 275398"/>
                <a:gd name="connsiteX197" fmla="*/ 31867 w 196713"/>
                <a:gd name="connsiteY197" fmla="*/ 186484 h 275398"/>
                <a:gd name="connsiteX198" fmla="*/ 50359 w 196713"/>
                <a:gd name="connsiteY198" fmla="*/ 188845 h 275398"/>
                <a:gd name="connsiteX199" fmla="*/ 50752 w 196713"/>
                <a:gd name="connsiteY199" fmla="*/ 189238 h 275398"/>
                <a:gd name="connsiteX200" fmla="*/ 48392 w 196713"/>
                <a:gd name="connsiteY200" fmla="*/ 191599 h 275398"/>
                <a:gd name="connsiteX201" fmla="*/ 49572 w 196713"/>
                <a:gd name="connsiteY201" fmla="*/ 194746 h 275398"/>
                <a:gd name="connsiteX202" fmla="*/ 51145 w 196713"/>
                <a:gd name="connsiteY202" fmla="*/ 194746 h 275398"/>
                <a:gd name="connsiteX203" fmla="*/ 52326 w 196713"/>
                <a:gd name="connsiteY203" fmla="*/ 194746 h 275398"/>
                <a:gd name="connsiteX204" fmla="*/ 49965 w 196713"/>
                <a:gd name="connsiteY204" fmla="*/ 195926 h 275398"/>
                <a:gd name="connsiteX205" fmla="*/ 33048 w 196713"/>
                <a:gd name="connsiteY205" fmla="*/ 209303 h 275398"/>
                <a:gd name="connsiteX206" fmla="*/ 24392 w 196713"/>
                <a:gd name="connsiteY206" fmla="*/ 211663 h 275398"/>
                <a:gd name="connsiteX207" fmla="*/ 23606 w 196713"/>
                <a:gd name="connsiteY207" fmla="*/ 211270 h 275398"/>
                <a:gd name="connsiteX208" fmla="*/ 20852 w 196713"/>
                <a:gd name="connsiteY208" fmla="*/ 213631 h 275398"/>
                <a:gd name="connsiteX209" fmla="*/ 18098 w 196713"/>
                <a:gd name="connsiteY209" fmla="*/ 216384 h 275398"/>
                <a:gd name="connsiteX210" fmla="*/ 20852 w 196713"/>
                <a:gd name="connsiteY210" fmla="*/ 218745 h 275398"/>
                <a:gd name="connsiteX211" fmla="*/ 19278 w 196713"/>
                <a:gd name="connsiteY211" fmla="*/ 221499 h 275398"/>
                <a:gd name="connsiteX212" fmla="*/ 22032 w 196713"/>
                <a:gd name="connsiteY212" fmla="*/ 221892 h 275398"/>
                <a:gd name="connsiteX213" fmla="*/ 23212 w 196713"/>
                <a:gd name="connsiteY213" fmla="*/ 221892 h 275398"/>
                <a:gd name="connsiteX214" fmla="*/ 24786 w 196713"/>
                <a:gd name="connsiteY214" fmla="*/ 221499 h 275398"/>
                <a:gd name="connsiteX215" fmla="*/ 25179 w 196713"/>
                <a:gd name="connsiteY215" fmla="*/ 221892 h 275398"/>
                <a:gd name="connsiteX216" fmla="*/ 23212 w 196713"/>
                <a:gd name="connsiteY216" fmla="*/ 222286 h 275398"/>
                <a:gd name="connsiteX217" fmla="*/ 20458 w 196713"/>
                <a:gd name="connsiteY217" fmla="*/ 222679 h 275398"/>
                <a:gd name="connsiteX218" fmla="*/ 23212 w 196713"/>
                <a:gd name="connsiteY218" fmla="*/ 225040 h 275398"/>
                <a:gd name="connsiteX219" fmla="*/ 25573 w 196713"/>
                <a:gd name="connsiteY219" fmla="*/ 225040 h 275398"/>
                <a:gd name="connsiteX220" fmla="*/ 28327 w 196713"/>
                <a:gd name="connsiteY220" fmla="*/ 224253 h 275398"/>
                <a:gd name="connsiteX221" fmla="*/ 31081 w 196713"/>
                <a:gd name="connsiteY221" fmla="*/ 222679 h 275398"/>
                <a:gd name="connsiteX222" fmla="*/ 32655 w 196713"/>
                <a:gd name="connsiteY222" fmla="*/ 221892 h 275398"/>
                <a:gd name="connsiteX223" fmla="*/ 35015 w 196713"/>
                <a:gd name="connsiteY223" fmla="*/ 221106 h 275398"/>
                <a:gd name="connsiteX224" fmla="*/ 36982 w 196713"/>
                <a:gd name="connsiteY224" fmla="*/ 221106 h 275398"/>
                <a:gd name="connsiteX225" fmla="*/ 39736 w 196713"/>
                <a:gd name="connsiteY225" fmla="*/ 219532 h 275398"/>
                <a:gd name="connsiteX226" fmla="*/ 39736 w 196713"/>
                <a:gd name="connsiteY226" fmla="*/ 219925 h 275398"/>
                <a:gd name="connsiteX227" fmla="*/ 40523 w 196713"/>
                <a:gd name="connsiteY227" fmla="*/ 222679 h 275398"/>
                <a:gd name="connsiteX228" fmla="*/ 43277 w 196713"/>
                <a:gd name="connsiteY228" fmla="*/ 222679 h 275398"/>
                <a:gd name="connsiteX229" fmla="*/ 46425 w 196713"/>
                <a:gd name="connsiteY229" fmla="*/ 223073 h 275398"/>
                <a:gd name="connsiteX230" fmla="*/ 46818 w 196713"/>
                <a:gd name="connsiteY230" fmla="*/ 222679 h 275398"/>
                <a:gd name="connsiteX231" fmla="*/ 46818 w 196713"/>
                <a:gd name="connsiteY231" fmla="*/ 223466 h 275398"/>
                <a:gd name="connsiteX232" fmla="*/ 44851 w 196713"/>
                <a:gd name="connsiteY232" fmla="*/ 224253 h 275398"/>
                <a:gd name="connsiteX233" fmla="*/ 42096 w 196713"/>
                <a:gd name="connsiteY233" fmla="*/ 223860 h 275398"/>
                <a:gd name="connsiteX234" fmla="*/ 43670 w 196713"/>
                <a:gd name="connsiteY234" fmla="*/ 227007 h 275398"/>
                <a:gd name="connsiteX235" fmla="*/ 46425 w 196713"/>
                <a:gd name="connsiteY235" fmla="*/ 226614 h 275398"/>
                <a:gd name="connsiteX236" fmla="*/ 47605 w 196713"/>
                <a:gd name="connsiteY236" fmla="*/ 226614 h 275398"/>
                <a:gd name="connsiteX237" fmla="*/ 50359 w 196713"/>
                <a:gd name="connsiteY237" fmla="*/ 225040 h 275398"/>
                <a:gd name="connsiteX238" fmla="*/ 54686 w 196713"/>
                <a:gd name="connsiteY238" fmla="*/ 227400 h 275398"/>
                <a:gd name="connsiteX239" fmla="*/ 56260 w 196713"/>
                <a:gd name="connsiteY239" fmla="*/ 229368 h 275398"/>
                <a:gd name="connsiteX240" fmla="*/ 59014 w 196713"/>
                <a:gd name="connsiteY240" fmla="*/ 230941 h 275398"/>
                <a:gd name="connsiteX241" fmla="*/ 60981 w 196713"/>
                <a:gd name="connsiteY241" fmla="*/ 231728 h 275398"/>
                <a:gd name="connsiteX242" fmla="*/ 63735 w 196713"/>
                <a:gd name="connsiteY242" fmla="*/ 232122 h 275398"/>
                <a:gd name="connsiteX243" fmla="*/ 66489 w 196713"/>
                <a:gd name="connsiteY243" fmla="*/ 232122 h 275398"/>
                <a:gd name="connsiteX244" fmla="*/ 69243 w 196713"/>
                <a:gd name="connsiteY244" fmla="*/ 230941 h 275398"/>
                <a:gd name="connsiteX245" fmla="*/ 71997 w 196713"/>
                <a:gd name="connsiteY245" fmla="*/ 228187 h 275398"/>
                <a:gd name="connsiteX246" fmla="*/ 74751 w 196713"/>
                <a:gd name="connsiteY246" fmla="*/ 226614 h 275398"/>
                <a:gd name="connsiteX247" fmla="*/ 75931 w 196713"/>
                <a:gd name="connsiteY247" fmla="*/ 227007 h 275398"/>
                <a:gd name="connsiteX248" fmla="*/ 78685 w 196713"/>
                <a:gd name="connsiteY248" fmla="*/ 226614 h 275398"/>
                <a:gd name="connsiteX249" fmla="*/ 81439 w 196713"/>
                <a:gd name="connsiteY249" fmla="*/ 225433 h 275398"/>
                <a:gd name="connsiteX250" fmla="*/ 82620 w 196713"/>
                <a:gd name="connsiteY250" fmla="*/ 225040 h 275398"/>
                <a:gd name="connsiteX251" fmla="*/ 83013 w 196713"/>
                <a:gd name="connsiteY251" fmla="*/ 224646 h 275398"/>
                <a:gd name="connsiteX252" fmla="*/ 87340 w 196713"/>
                <a:gd name="connsiteY252" fmla="*/ 221892 h 275398"/>
                <a:gd name="connsiteX253" fmla="*/ 87734 w 196713"/>
                <a:gd name="connsiteY253" fmla="*/ 221499 h 275398"/>
                <a:gd name="connsiteX254" fmla="*/ 90488 w 196713"/>
                <a:gd name="connsiteY254" fmla="*/ 219532 h 275398"/>
                <a:gd name="connsiteX255" fmla="*/ 86947 w 196713"/>
                <a:gd name="connsiteY255" fmla="*/ 223073 h 275398"/>
                <a:gd name="connsiteX256" fmla="*/ 84587 w 196713"/>
                <a:gd name="connsiteY256" fmla="*/ 225433 h 275398"/>
                <a:gd name="connsiteX257" fmla="*/ 84193 w 196713"/>
                <a:gd name="connsiteY257" fmla="*/ 225827 h 275398"/>
                <a:gd name="connsiteX258" fmla="*/ 83013 w 196713"/>
                <a:gd name="connsiteY258" fmla="*/ 227400 h 275398"/>
                <a:gd name="connsiteX259" fmla="*/ 81439 w 196713"/>
                <a:gd name="connsiteY259" fmla="*/ 228974 h 275398"/>
                <a:gd name="connsiteX260" fmla="*/ 79079 w 196713"/>
                <a:gd name="connsiteY260" fmla="*/ 229368 h 275398"/>
                <a:gd name="connsiteX261" fmla="*/ 76325 w 196713"/>
                <a:gd name="connsiteY261" fmla="*/ 231728 h 275398"/>
                <a:gd name="connsiteX262" fmla="*/ 73571 w 196713"/>
                <a:gd name="connsiteY262" fmla="*/ 234482 h 275398"/>
                <a:gd name="connsiteX263" fmla="*/ 73177 w 196713"/>
                <a:gd name="connsiteY263" fmla="*/ 234876 h 275398"/>
                <a:gd name="connsiteX264" fmla="*/ 73177 w 196713"/>
                <a:gd name="connsiteY264" fmla="*/ 237629 h 275398"/>
                <a:gd name="connsiteX265" fmla="*/ 54686 w 196713"/>
                <a:gd name="connsiteY265" fmla="*/ 237236 h 275398"/>
                <a:gd name="connsiteX266" fmla="*/ 53506 w 196713"/>
                <a:gd name="connsiteY266" fmla="*/ 236843 h 275398"/>
                <a:gd name="connsiteX267" fmla="*/ 50359 w 196713"/>
                <a:gd name="connsiteY267" fmla="*/ 237236 h 275398"/>
                <a:gd name="connsiteX268" fmla="*/ 47605 w 196713"/>
                <a:gd name="connsiteY268" fmla="*/ 237629 h 275398"/>
                <a:gd name="connsiteX269" fmla="*/ 44457 w 196713"/>
                <a:gd name="connsiteY269" fmla="*/ 238023 h 275398"/>
                <a:gd name="connsiteX270" fmla="*/ 41703 w 196713"/>
                <a:gd name="connsiteY270" fmla="*/ 239597 h 275398"/>
                <a:gd name="connsiteX271" fmla="*/ 41310 w 196713"/>
                <a:gd name="connsiteY271" fmla="*/ 242351 h 275398"/>
                <a:gd name="connsiteX272" fmla="*/ 34622 w 196713"/>
                <a:gd name="connsiteY272" fmla="*/ 244318 h 275398"/>
                <a:gd name="connsiteX273" fmla="*/ 33048 w 196713"/>
                <a:gd name="connsiteY273" fmla="*/ 244318 h 275398"/>
                <a:gd name="connsiteX274" fmla="*/ 32261 w 196713"/>
                <a:gd name="connsiteY274" fmla="*/ 247072 h 275398"/>
                <a:gd name="connsiteX275" fmla="*/ 19671 w 196713"/>
                <a:gd name="connsiteY275" fmla="*/ 259661 h 275398"/>
                <a:gd name="connsiteX276" fmla="*/ 18491 w 196713"/>
                <a:gd name="connsiteY276" fmla="*/ 261235 h 275398"/>
                <a:gd name="connsiteX277" fmla="*/ 17311 w 196713"/>
                <a:gd name="connsiteY277" fmla="*/ 263989 h 275398"/>
                <a:gd name="connsiteX278" fmla="*/ 14163 w 196713"/>
                <a:gd name="connsiteY278" fmla="*/ 266350 h 275398"/>
                <a:gd name="connsiteX279" fmla="*/ 11409 w 196713"/>
                <a:gd name="connsiteY279" fmla="*/ 268710 h 275398"/>
                <a:gd name="connsiteX280" fmla="*/ 8655 w 196713"/>
                <a:gd name="connsiteY280" fmla="*/ 269890 h 275398"/>
                <a:gd name="connsiteX281" fmla="*/ 5901 w 196713"/>
                <a:gd name="connsiteY281" fmla="*/ 270284 h 275398"/>
                <a:gd name="connsiteX282" fmla="*/ 3148 w 196713"/>
                <a:gd name="connsiteY282" fmla="*/ 271464 h 275398"/>
                <a:gd name="connsiteX283" fmla="*/ 0 w 196713"/>
                <a:gd name="connsiteY283" fmla="*/ 273431 h 275398"/>
                <a:gd name="connsiteX284" fmla="*/ 1574 w 196713"/>
                <a:gd name="connsiteY284" fmla="*/ 276185 h 275398"/>
                <a:gd name="connsiteX285" fmla="*/ 4328 w 196713"/>
                <a:gd name="connsiteY285" fmla="*/ 275005 h 275398"/>
                <a:gd name="connsiteX286" fmla="*/ 7082 w 196713"/>
                <a:gd name="connsiteY286" fmla="*/ 273431 h 275398"/>
                <a:gd name="connsiteX287" fmla="*/ 9836 w 196713"/>
                <a:gd name="connsiteY287" fmla="*/ 274218 h 275398"/>
                <a:gd name="connsiteX288" fmla="*/ 11409 w 196713"/>
                <a:gd name="connsiteY288" fmla="*/ 276972 h 275398"/>
                <a:gd name="connsiteX289" fmla="*/ 14163 w 196713"/>
                <a:gd name="connsiteY289" fmla="*/ 276972 h 275398"/>
                <a:gd name="connsiteX290" fmla="*/ 15737 w 196713"/>
                <a:gd name="connsiteY290" fmla="*/ 276579 h 275398"/>
                <a:gd name="connsiteX291" fmla="*/ 15737 w 196713"/>
                <a:gd name="connsiteY291" fmla="*/ 275398 h 275398"/>
                <a:gd name="connsiteX292" fmla="*/ 18491 w 196713"/>
                <a:gd name="connsiteY292" fmla="*/ 272251 h 275398"/>
                <a:gd name="connsiteX293" fmla="*/ 33441 w 196713"/>
                <a:gd name="connsiteY293" fmla="*/ 265563 h 275398"/>
                <a:gd name="connsiteX294" fmla="*/ 36195 w 196713"/>
                <a:gd name="connsiteY294" fmla="*/ 265169 h 275398"/>
                <a:gd name="connsiteX295" fmla="*/ 38949 w 196713"/>
                <a:gd name="connsiteY295" fmla="*/ 263989 h 275398"/>
                <a:gd name="connsiteX296" fmla="*/ 39343 w 196713"/>
                <a:gd name="connsiteY296" fmla="*/ 263596 h 275398"/>
                <a:gd name="connsiteX297" fmla="*/ 39736 w 196713"/>
                <a:gd name="connsiteY297" fmla="*/ 262415 h 275398"/>
                <a:gd name="connsiteX298" fmla="*/ 39736 w 196713"/>
                <a:gd name="connsiteY298" fmla="*/ 263989 h 275398"/>
                <a:gd name="connsiteX299" fmla="*/ 40129 w 196713"/>
                <a:gd name="connsiteY299" fmla="*/ 264382 h 275398"/>
                <a:gd name="connsiteX300" fmla="*/ 42096 w 196713"/>
                <a:gd name="connsiteY300" fmla="*/ 266743 h 275398"/>
                <a:gd name="connsiteX301" fmla="*/ 44851 w 196713"/>
                <a:gd name="connsiteY301" fmla="*/ 267136 h 275398"/>
                <a:gd name="connsiteX302" fmla="*/ 47605 w 196713"/>
                <a:gd name="connsiteY302" fmla="*/ 268710 h 275398"/>
                <a:gd name="connsiteX303" fmla="*/ 50359 w 196713"/>
                <a:gd name="connsiteY303" fmla="*/ 270284 h 275398"/>
                <a:gd name="connsiteX304" fmla="*/ 53113 w 196713"/>
                <a:gd name="connsiteY304" fmla="*/ 268710 h 275398"/>
                <a:gd name="connsiteX305" fmla="*/ 55866 w 196713"/>
                <a:gd name="connsiteY305" fmla="*/ 265956 h 275398"/>
                <a:gd name="connsiteX306" fmla="*/ 57047 w 196713"/>
                <a:gd name="connsiteY306" fmla="*/ 262415 h 275398"/>
                <a:gd name="connsiteX307" fmla="*/ 57833 w 196713"/>
                <a:gd name="connsiteY307" fmla="*/ 260842 h 275398"/>
                <a:gd name="connsiteX308" fmla="*/ 59407 w 196713"/>
                <a:gd name="connsiteY308" fmla="*/ 258088 h 275398"/>
                <a:gd name="connsiteX309" fmla="*/ 59801 w 196713"/>
                <a:gd name="connsiteY309" fmla="*/ 255334 h 275398"/>
                <a:gd name="connsiteX310" fmla="*/ 61374 w 196713"/>
                <a:gd name="connsiteY310" fmla="*/ 257301 h 275398"/>
                <a:gd name="connsiteX311" fmla="*/ 61768 w 196713"/>
                <a:gd name="connsiteY311" fmla="*/ 257301 h 275398"/>
                <a:gd name="connsiteX312" fmla="*/ 62162 w 196713"/>
                <a:gd name="connsiteY312" fmla="*/ 256907 h 275398"/>
                <a:gd name="connsiteX313" fmla="*/ 73177 w 196713"/>
                <a:gd name="connsiteY313" fmla="*/ 253367 h 275398"/>
                <a:gd name="connsiteX314" fmla="*/ 75931 w 196713"/>
                <a:gd name="connsiteY314" fmla="*/ 253367 h 275398"/>
                <a:gd name="connsiteX315" fmla="*/ 77899 w 196713"/>
                <a:gd name="connsiteY315" fmla="*/ 253760 h 275398"/>
                <a:gd name="connsiteX316" fmla="*/ 83406 w 196713"/>
                <a:gd name="connsiteY316" fmla="*/ 256514 h 275398"/>
                <a:gd name="connsiteX317" fmla="*/ 86160 w 196713"/>
                <a:gd name="connsiteY317" fmla="*/ 258875 h 275398"/>
                <a:gd name="connsiteX318" fmla="*/ 87340 w 196713"/>
                <a:gd name="connsiteY318" fmla="*/ 256121 h 275398"/>
                <a:gd name="connsiteX319" fmla="*/ 90488 w 196713"/>
                <a:gd name="connsiteY319" fmla="*/ 256514 h 275398"/>
                <a:gd name="connsiteX320" fmla="*/ 93636 w 196713"/>
                <a:gd name="connsiteY320" fmla="*/ 256514 h 275398"/>
                <a:gd name="connsiteX321" fmla="*/ 96389 w 196713"/>
                <a:gd name="connsiteY321" fmla="*/ 257694 h 275398"/>
                <a:gd name="connsiteX322" fmla="*/ 99143 w 196713"/>
                <a:gd name="connsiteY322" fmla="*/ 254940 h 275398"/>
                <a:gd name="connsiteX323" fmla="*/ 95996 w 196713"/>
                <a:gd name="connsiteY323" fmla="*/ 253367 h 275398"/>
                <a:gd name="connsiteX324" fmla="*/ 104258 w 196713"/>
                <a:gd name="connsiteY324" fmla="*/ 253367 h 275398"/>
                <a:gd name="connsiteX325" fmla="*/ 106618 w 196713"/>
                <a:gd name="connsiteY325" fmla="*/ 252973 h 275398"/>
                <a:gd name="connsiteX326" fmla="*/ 107406 w 196713"/>
                <a:gd name="connsiteY326" fmla="*/ 252973 h 275398"/>
                <a:gd name="connsiteX327" fmla="*/ 110159 w 196713"/>
                <a:gd name="connsiteY327" fmla="*/ 252580 h 275398"/>
                <a:gd name="connsiteX328" fmla="*/ 113307 w 196713"/>
                <a:gd name="connsiteY328" fmla="*/ 251793 h 275398"/>
                <a:gd name="connsiteX329" fmla="*/ 113307 w 196713"/>
                <a:gd name="connsiteY329" fmla="*/ 251793 h 275398"/>
                <a:gd name="connsiteX330" fmla="*/ 122356 w 196713"/>
                <a:gd name="connsiteY330" fmla="*/ 250219 h 275398"/>
                <a:gd name="connsiteX331" fmla="*/ 123143 w 196713"/>
                <a:gd name="connsiteY331" fmla="*/ 250613 h 275398"/>
                <a:gd name="connsiteX332" fmla="*/ 126290 w 196713"/>
                <a:gd name="connsiteY332" fmla="*/ 249432 h 275398"/>
                <a:gd name="connsiteX333" fmla="*/ 127864 w 196713"/>
                <a:gd name="connsiteY333" fmla="*/ 252186 h 275398"/>
                <a:gd name="connsiteX334" fmla="*/ 130617 w 196713"/>
                <a:gd name="connsiteY334" fmla="*/ 251793 h 275398"/>
                <a:gd name="connsiteX335" fmla="*/ 133372 w 196713"/>
                <a:gd name="connsiteY335" fmla="*/ 251399 h 275398"/>
                <a:gd name="connsiteX336" fmla="*/ 136125 w 196713"/>
                <a:gd name="connsiteY336" fmla="*/ 251006 h 275398"/>
                <a:gd name="connsiteX337" fmla="*/ 139273 w 196713"/>
                <a:gd name="connsiteY337" fmla="*/ 250613 h 275398"/>
                <a:gd name="connsiteX338" fmla="*/ 142027 w 196713"/>
                <a:gd name="connsiteY338" fmla="*/ 250219 h 275398"/>
                <a:gd name="connsiteX339" fmla="*/ 144781 w 196713"/>
                <a:gd name="connsiteY339" fmla="*/ 249826 h 275398"/>
                <a:gd name="connsiteX340" fmla="*/ 149895 w 196713"/>
                <a:gd name="connsiteY340" fmla="*/ 251399 h 275398"/>
                <a:gd name="connsiteX341" fmla="*/ 152650 w 196713"/>
                <a:gd name="connsiteY341" fmla="*/ 252186 h 275398"/>
                <a:gd name="connsiteX342" fmla="*/ 155403 w 196713"/>
                <a:gd name="connsiteY342" fmla="*/ 252580 h 275398"/>
                <a:gd name="connsiteX343" fmla="*/ 158551 w 196713"/>
                <a:gd name="connsiteY343" fmla="*/ 251006 h 275398"/>
                <a:gd name="connsiteX344" fmla="*/ 161305 w 196713"/>
                <a:gd name="connsiteY344" fmla="*/ 249432 h 275398"/>
                <a:gd name="connsiteX345" fmla="*/ 164059 w 196713"/>
                <a:gd name="connsiteY345" fmla="*/ 249039 h 275398"/>
                <a:gd name="connsiteX346" fmla="*/ 166813 w 196713"/>
                <a:gd name="connsiteY346" fmla="*/ 248645 h 275398"/>
                <a:gd name="connsiteX347" fmla="*/ 169567 w 196713"/>
                <a:gd name="connsiteY347" fmla="*/ 246678 h 275398"/>
                <a:gd name="connsiteX348" fmla="*/ 175075 w 196713"/>
                <a:gd name="connsiteY348" fmla="*/ 246678 h 275398"/>
                <a:gd name="connsiteX349" fmla="*/ 175468 w 196713"/>
                <a:gd name="connsiteY349" fmla="*/ 243531 h 275398"/>
                <a:gd name="connsiteX350" fmla="*/ 178222 w 196713"/>
                <a:gd name="connsiteY350" fmla="*/ 241957 h 275398"/>
                <a:gd name="connsiteX351" fmla="*/ 181370 w 196713"/>
                <a:gd name="connsiteY351" fmla="*/ 241170 h 275398"/>
                <a:gd name="connsiteX352" fmla="*/ 184124 w 196713"/>
                <a:gd name="connsiteY352" fmla="*/ 240777 h 275398"/>
                <a:gd name="connsiteX353" fmla="*/ 186878 w 196713"/>
                <a:gd name="connsiteY353" fmla="*/ 238023 h 275398"/>
                <a:gd name="connsiteX354" fmla="*/ 186484 w 196713"/>
                <a:gd name="connsiteY354" fmla="*/ 235269 h 275398"/>
                <a:gd name="connsiteX355" fmla="*/ 185697 w 196713"/>
                <a:gd name="connsiteY355" fmla="*/ 232515 h 275398"/>
                <a:gd name="connsiteX356" fmla="*/ 182550 w 196713"/>
                <a:gd name="connsiteY356" fmla="*/ 232515 h 275398"/>
                <a:gd name="connsiteX357" fmla="*/ 179796 w 196713"/>
                <a:gd name="connsiteY357" fmla="*/ 232908 h 275398"/>
                <a:gd name="connsiteX358" fmla="*/ 177042 w 196713"/>
                <a:gd name="connsiteY358" fmla="*/ 233302 h 275398"/>
                <a:gd name="connsiteX359" fmla="*/ 173894 w 196713"/>
                <a:gd name="connsiteY359" fmla="*/ 233695 h 275398"/>
                <a:gd name="connsiteX360" fmla="*/ 171141 w 196713"/>
                <a:gd name="connsiteY360" fmla="*/ 233302 h 275398"/>
                <a:gd name="connsiteX361" fmla="*/ 167993 w 196713"/>
                <a:gd name="connsiteY361" fmla="*/ 232122 h 275398"/>
                <a:gd name="connsiteX362" fmla="*/ 165239 w 196713"/>
                <a:gd name="connsiteY362" fmla="*/ 231728 h 275398"/>
                <a:gd name="connsiteX363" fmla="*/ 166813 w 196713"/>
                <a:gd name="connsiteY363" fmla="*/ 231335 h 275398"/>
                <a:gd name="connsiteX364" fmla="*/ 169567 w 196713"/>
                <a:gd name="connsiteY364" fmla="*/ 229761 h 275398"/>
                <a:gd name="connsiteX365" fmla="*/ 166813 w 196713"/>
                <a:gd name="connsiteY365" fmla="*/ 229368 h 275398"/>
                <a:gd name="connsiteX366" fmla="*/ 164846 w 196713"/>
                <a:gd name="connsiteY366" fmla="*/ 229368 h 275398"/>
                <a:gd name="connsiteX367" fmla="*/ 169173 w 196713"/>
                <a:gd name="connsiteY367" fmla="*/ 227794 h 275398"/>
                <a:gd name="connsiteX368" fmla="*/ 169567 w 196713"/>
                <a:gd name="connsiteY368" fmla="*/ 227794 h 275398"/>
                <a:gd name="connsiteX369" fmla="*/ 172321 w 196713"/>
                <a:gd name="connsiteY369" fmla="*/ 227400 h 275398"/>
                <a:gd name="connsiteX370" fmla="*/ 175075 w 196713"/>
                <a:gd name="connsiteY370" fmla="*/ 224646 h 275398"/>
                <a:gd name="connsiteX371" fmla="*/ 173894 w 196713"/>
                <a:gd name="connsiteY371" fmla="*/ 221892 h 275398"/>
                <a:gd name="connsiteX372" fmla="*/ 171141 w 196713"/>
                <a:gd name="connsiteY372" fmla="*/ 222286 h 275398"/>
                <a:gd name="connsiteX373" fmla="*/ 172321 w 196713"/>
                <a:gd name="connsiteY373" fmla="*/ 221106 h 275398"/>
                <a:gd name="connsiteX374" fmla="*/ 173108 w 196713"/>
                <a:gd name="connsiteY374" fmla="*/ 221106 h 275398"/>
                <a:gd name="connsiteX375" fmla="*/ 175861 w 196713"/>
                <a:gd name="connsiteY375" fmla="*/ 218745 h 275398"/>
                <a:gd name="connsiteX376" fmla="*/ 178616 w 196713"/>
                <a:gd name="connsiteY376" fmla="*/ 219925 h 275398"/>
                <a:gd name="connsiteX377" fmla="*/ 181370 w 196713"/>
                <a:gd name="connsiteY377" fmla="*/ 219532 h 275398"/>
                <a:gd name="connsiteX378" fmla="*/ 184517 w 196713"/>
                <a:gd name="connsiteY378" fmla="*/ 217565 h 275398"/>
                <a:gd name="connsiteX379" fmla="*/ 182157 w 196713"/>
                <a:gd name="connsiteY379" fmla="*/ 214811 h 275398"/>
                <a:gd name="connsiteX380" fmla="*/ 179796 w 196713"/>
                <a:gd name="connsiteY380" fmla="*/ 214417 h 275398"/>
                <a:gd name="connsiteX381" fmla="*/ 181370 w 196713"/>
                <a:gd name="connsiteY381" fmla="*/ 214024 h 275398"/>
                <a:gd name="connsiteX382" fmla="*/ 184124 w 196713"/>
                <a:gd name="connsiteY382" fmla="*/ 213631 h 275398"/>
                <a:gd name="connsiteX383" fmla="*/ 181763 w 196713"/>
                <a:gd name="connsiteY383" fmla="*/ 212450 h 275398"/>
                <a:gd name="connsiteX384" fmla="*/ 181763 w 196713"/>
                <a:gd name="connsiteY384" fmla="*/ 212450 h 275398"/>
                <a:gd name="connsiteX385" fmla="*/ 184124 w 196713"/>
                <a:gd name="connsiteY385" fmla="*/ 213237 h 275398"/>
                <a:gd name="connsiteX386" fmla="*/ 186878 w 196713"/>
                <a:gd name="connsiteY386" fmla="*/ 214024 h 275398"/>
                <a:gd name="connsiteX387" fmla="*/ 189631 w 196713"/>
                <a:gd name="connsiteY387" fmla="*/ 211270 h 275398"/>
                <a:gd name="connsiteX388" fmla="*/ 192386 w 196713"/>
                <a:gd name="connsiteY388" fmla="*/ 209696 h 275398"/>
                <a:gd name="connsiteX389" fmla="*/ 193566 w 196713"/>
                <a:gd name="connsiteY389" fmla="*/ 206549 h 275398"/>
                <a:gd name="connsiteX390" fmla="*/ 193959 w 196713"/>
                <a:gd name="connsiteY390" fmla="*/ 203795 h 275398"/>
                <a:gd name="connsiteX391" fmla="*/ 196320 w 196713"/>
                <a:gd name="connsiteY391" fmla="*/ 201041 h 275398"/>
                <a:gd name="connsiteX392" fmla="*/ 197500 w 196713"/>
                <a:gd name="connsiteY392" fmla="*/ 198287 h 275398"/>
                <a:gd name="connsiteX393" fmla="*/ 197107 w 196713"/>
                <a:gd name="connsiteY393" fmla="*/ 195926 h 275398"/>
                <a:gd name="connsiteX394" fmla="*/ 197107 w 196713"/>
                <a:gd name="connsiteY394" fmla="*/ 193959 h 275398"/>
                <a:gd name="connsiteX395" fmla="*/ 196320 w 196713"/>
                <a:gd name="connsiteY395" fmla="*/ 190812 h 275398"/>
                <a:gd name="connsiteX396" fmla="*/ 194746 w 196713"/>
                <a:gd name="connsiteY396" fmla="*/ 188058 h 275398"/>
                <a:gd name="connsiteX397" fmla="*/ 191992 w 196713"/>
                <a:gd name="connsiteY397" fmla="*/ 186484 h 275398"/>
                <a:gd name="connsiteX398" fmla="*/ 189238 w 196713"/>
                <a:gd name="connsiteY398" fmla="*/ 184517 h 275398"/>
                <a:gd name="connsiteX399" fmla="*/ 186484 w 196713"/>
                <a:gd name="connsiteY399" fmla="*/ 183337 h 275398"/>
                <a:gd name="connsiteX400" fmla="*/ 183730 w 196713"/>
                <a:gd name="connsiteY400" fmla="*/ 182943 h 275398"/>
                <a:gd name="connsiteX401" fmla="*/ 180976 w 196713"/>
                <a:gd name="connsiteY401" fmla="*/ 182550 h 275398"/>
                <a:gd name="connsiteX402" fmla="*/ 177829 w 196713"/>
                <a:gd name="connsiteY402" fmla="*/ 182943 h 275398"/>
                <a:gd name="connsiteX403" fmla="*/ 175075 w 196713"/>
                <a:gd name="connsiteY403" fmla="*/ 182550 h 275398"/>
                <a:gd name="connsiteX404" fmla="*/ 172321 w 196713"/>
                <a:gd name="connsiteY404" fmla="*/ 182156 h 275398"/>
                <a:gd name="connsiteX405" fmla="*/ 169567 w 196713"/>
                <a:gd name="connsiteY405" fmla="*/ 182550 h 275398"/>
                <a:gd name="connsiteX406" fmla="*/ 166420 w 196713"/>
                <a:gd name="connsiteY406" fmla="*/ 183337 h 275398"/>
                <a:gd name="connsiteX407" fmla="*/ 164846 w 196713"/>
                <a:gd name="connsiteY407" fmla="*/ 186091 h 275398"/>
                <a:gd name="connsiteX408" fmla="*/ 163272 w 196713"/>
                <a:gd name="connsiteY408" fmla="*/ 188845 h 275398"/>
                <a:gd name="connsiteX409" fmla="*/ 160912 w 196713"/>
                <a:gd name="connsiteY409" fmla="*/ 187664 h 275398"/>
                <a:gd name="connsiteX410" fmla="*/ 159338 w 196713"/>
                <a:gd name="connsiteY410" fmla="*/ 187271 h 275398"/>
                <a:gd name="connsiteX411" fmla="*/ 156584 w 196713"/>
                <a:gd name="connsiteY411" fmla="*/ 184910 h 275398"/>
                <a:gd name="connsiteX412" fmla="*/ 153830 w 196713"/>
                <a:gd name="connsiteY412" fmla="*/ 184910 h 275398"/>
                <a:gd name="connsiteX413" fmla="*/ 154617 w 196713"/>
                <a:gd name="connsiteY413" fmla="*/ 183337 h 275398"/>
                <a:gd name="connsiteX414" fmla="*/ 157371 w 196713"/>
                <a:gd name="connsiteY414" fmla="*/ 181763 h 275398"/>
                <a:gd name="connsiteX415" fmla="*/ 160124 w 196713"/>
                <a:gd name="connsiteY415" fmla="*/ 179402 h 275398"/>
                <a:gd name="connsiteX416" fmla="*/ 162879 w 196713"/>
                <a:gd name="connsiteY416" fmla="*/ 177042 h 275398"/>
                <a:gd name="connsiteX417" fmla="*/ 163272 w 196713"/>
                <a:gd name="connsiteY417" fmla="*/ 174288 h 275398"/>
                <a:gd name="connsiteX418" fmla="*/ 162092 w 196713"/>
                <a:gd name="connsiteY418" fmla="*/ 171534 h 275398"/>
                <a:gd name="connsiteX419" fmla="*/ 160912 w 196713"/>
                <a:gd name="connsiteY419" fmla="*/ 168780 h 275398"/>
                <a:gd name="connsiteX420" fmla="*/ 158157 w 196713"/>
                <a:gd name="connsiteY420" fmla="*/ 166026 h 275398"/>
                <a:gd name="connsiteX421" fmla="*/ 155403 w 196713"/>
                <a:gd name="connsiteY421" fmla="*/ 164452 h 275398"/>
                <a:gd name="connsiteX422" fmla="*/ 155010 w 196713"/>
                <a:gd name="connsiteY422" fmla="*/ 164059 h 275398"/>
                <a:gd name="connsiteX423" fmla="*/ 151469 w 196713"/>
                <a:gd name="connsiteY423" fmla="*/ 161698 h 275398"/>
                <a:gd name="connsiteX424" fmla="*/ 149502 w 196713"/>
                <a:gd name="connsiteY424" fmla="*/ 159731 h 275398"/>
                <a:gd name="connsiteX425" fmla="*/ 146748 w 196713"/>
                <a:gd name="connsiteY425" fmla="*/ 158157 h 275398"/>
                <a:gd name="connsiteX426" fmla="*/ 144387 w 196713"/>
                <a:gd name="connsiteY426" fmla="*/ 158551 h 275398"/>
                <a:gd name="connsiteX427" fmla="*/ 143994 w 196713"/>
                <a:gd name="connsiteY427" fmla="*/ 158157 h 275398"/>
                <a:gd name="connsiteX428" fmla="*/ 141240 w 196713"/>
                <a:gd name="connsiteY428" fmla="*/ 158157 h 275398"/>
                <a:gd name="connsiteX429" fmla="*/ 138093 w 196713"/>
                <a:gd name="connsiteY429" fmla="*/ 158551 h 275398"/>
                <a:gd name="connsiteX430" fmla="*/ 137306 w 196713"/>
                <a:gd name="connsiteY430" fmla="*/ 158157 h 275398"/>
                <a:gd name="connsiteX431" fmla="*/ 144781 w 196713"/>
                <a:gd name="connsiteY431" fmla="*/ 157764 h 275398"/>
                <a:gd name="connsiteX432" fmla="*/ 146748 w 196713"/>
                <a:gd name="connsiteY432" fmla="*/ 157371 h 275398"/>
                <a:gd name="connsiteX433" fmla="*/ 151863 w 196713"/>
                <a:gd name="connsiteY433" fmla="*/ 158944 h 275398"/>
                <a:gd name="connsiteX434" fmla="*/ 153043 w 196713"/>
                <a:gd name="connsiteY434" fmla="*/ 160125 h 275398"/>
                <a:gd name="connsiteX435" fmla="*/ 155797 w 196713"/>
                <a:gd name="connsiteY435" fmla="*/ 160125 h 275398"/>
                <a:gd name="connsiteX436" fmla="*/ 156190 w 196713"/>
                <a:gd name="connsiteY436" fmla="*/ 160125 h 275398"/>
                <a:gd name="connsiteX437" fmla="*/ 159338 w 196713"/>
                <a:gd name="connsiteY437" fmla="*/ 161698 h 275398"/>
                <a:gd name="connsiteX438" fmla="*/ 158157 w 196713"/>
                <a:gd name="connsiteY438" fmla="*/ 158944 h 275398"/>
                <a:gd name="connsiteX439" fmla="*/ 155797 w 196713"/>
                <a:gd name="connsiteY439" fmla="*/ 156190 h 275398"/>
                <a:gd name="connsiteX440" fmla="*/ 152256 w 196713"/>
                <a:gd name="connsiteY440" fmla="*/ 145961 h 275398"/>
                <a:gd name="connsiteX441" fmla="*/ 154223 w 196713"/>
                <a:gd name="connsiteY441" fmla="*/ 144781 h 275398"/>
                <a:gd name="connsiteX442" fmla="*/ 151469 w 196713"/>
                <a:gd name="connsiteY442" fmla="*/ 143601 h 275398"/>
                <a:gd name="connsiteX443" fmla="*/ 149502 w 196713"/>
                <a:gd name="connsiteY443" fmla="*/ 141633 h 275398"/>
                <a:gd name="connsiteX444" fmla="*/ 148322 w 196713"/>
                <a:gd name="connsiteY444" fmla="*/ 140847 h 275398"/>
                <a:gd name="connsiteX445" fmla="*/ 146354 w 196713"/>
                <a:gd name="connsiteY445" fmla="*/ 138880 h 275398"/>
                <a:gd name="connsiteX446" fmla="*/ 145568 w 196713"/>
                <a:gd name="connsiteY446" fmla="*/ 136519 h 275398"/>
                <a:gd name="connsiteX447" fmla="*/ 143601 w 196713"/>
                <a:gd name="connsiteY447" fmla="*/ 133765 h 275398"/>
                <a:gd name="connsiteX448" fmla="*/ 140847 w 196713"/>
                <a:gd name="connsiteY448" fmla="*/ 132191 h 275398"/>
                <a:gd name="connsiteX449" fmla="*/ 137699 w 196713"/>
                <a:gd name="connsiteY449" fmla="*/ 130618 h 275398"/>
                <a:gd name="connsiteX450" fmla="*/ 136519 w 196713"/>
                <a:gd name="connsiteY450" fmla="*/ 130618 h 275398"/>
                <a:gd name="connsiteX451" fmla="*/ 134158 w 196713"/>
                <a:gd name="connsiteY451" fmla="*/ 129831 h 275398"/>
                <a:gd name="connsiteX452" fmla="*/ 131011 w 196713"/>
                <a:gd name="connsiteY452" fmla="*/ 129044 h 275398"/>
                <a:gd name="connsiteX453" fmla="*/ 128257 w 196713"/>
                <a:gd name="connsiteY453" fmla="*/ 129437 h 275398"/>
                <a:gd name="connsiteX454" fmla="*/ 127470 w 196713"/>
                <a:gd name="connsiteY454" fmla="*/ 127077 h 275398"/>
                <a:gd name="connsiteX455" fmla="*/ 125896 w 196713"/>
                <a:gd name="connsiteY455" fmla="*/ 125503 h 275398"/>
                <a:gd name="connsiteX456" fmla="*/ 125503 w 196713"/>
                <a:gd name="connsiteY456" fmla="*/ 125110 h 275398"/>
                <a:gd name="connsiteX457" fmla="*/ 125503 w 196713"/>
                <a:gd name="connsiteY457" fmla="*/ 124716 h 275398"/>
                <a:gd name="connsiteX458" fmla="*/ 125896 w 196713"/>
                <a:gd name="connsiteY458" fmla="*/ 125503 h 275398"/>
                <a:gd name="connsiteX459" fmla="*/ 123536 w 196713"/>
                <a:gd name="connsiteY459" fmla="*/ 118815 h 275398"/>
                <a:gd name="connsiteX460" fmla="*/ 123929 w 196713"/>
                <a:gd name="connsiteY460" fmla="*/ 120388 h 275398"/>
                <a:gd name="connsiteX461" fmla="*/ 123536 w 196713"/>
                <a:gd name="connsiteY461" fmla="*/ 119208 h 275398"/>
                <a:gd name="connsiteX462" fmla="*/ 122356 w 196713"/>
                <a:gd name="connsiteY462" fmla="*/ 116454 h 275398"/>
                <a:gd name="connsiteX463" fmla="*/ 121962 w 196713"/>
                <a:gd name="connsiteY463" fmla="*/ 116061 h 275398"/>
                <a:gd name="connsiteX464" fmla="*/ 121176 w 196713"/>
                <a:gd name="connsiteY464" fmla="*/ 114487 h 275398"/>
                <a:gd name="connsiteX465" fmla="*/ 120388 w 196713"/>
                <a:gd name="connsiteY465" fmla="*/ 112520 h 275398"/>
                <a:gd name="connsiteX466" fmla="*/ 119208 w 196713"/>
                <a:gd name="connsiteY466" fmla="*/ 106225 h 275398"/>
                <a:gd name="connsiteX467" fmla="*/ 118421 w 196713"/>
                <a:gd name="connsiteY467" fmla="*/ 103865 h 275398"/>
                <a:gd name="connsiteX468" fmla="*/ 118815 w 196713"/>
                <a:gd name="connsiteY468" fmla="*/ 100717 h 275398"/>
                <a:gd name="connsiteX469" fmla="*/ 117635 w 196713"/>
                <a:gd name="connsiteY469" fmla="*/ 97963 h 275398"/>
                <a:gd name="connsiteX470" fmla="*/ 114880 w 196713"/>
                <a:gd name="connsiteY470" fmla="*/ 96389 h 275398"/>
                <a:gd name="connsiteX471" fmla="*/ 112127 w 196713"/>
                <a:gd name="connsiteY471" fmla="*/ 94422 h 275398"/>
                <a:gd name="connsiteX472" fmla="*/ 109373 w 196713"/>
                <a:gd name="connsiteY472" fmla="*/ 91668 h 275398"/>
                <a:gd name="connsiteX473" fmla="*/ 108586 w 196713"/>
                <a:gd name="connsiteY473" fmla="*/ 90488 h 275398"/>
                <a:gd name="connsiteX474" fmla="*/ 108192 w 196713"/>
                <a:gd name="connsiteY474" fmla="*/ 90095 h 275398"/>
                <a:gd name="connsiteX475" fmla="*/ 106225 w 196713"/>
                <a:gd name="connsiteY475" fmla="*/ 87341 h 275398"/>
                <a:gd name="connsiteX476" fmla="*/ 103078 w 196713"/>
                <a:gd name="connsiteY476" fmla="*/ 86947 h 275398"/>
                <a:gd name="connsiteX477" fmla="*/ 100324 w 196713"/>
                <a:gd name="connsiteY477" fmla="*/ 85767 h 275398"/>
                <a:gd name="connsiteX478" fmla="*/ 98750 w 196713"/>
                <a:gd name="connsiteY478" fmla="*/ 84980 h 275398"/>
                <a:gd name="connsiteX479" fmla="*/ 95603 w 196713"/>
                <a:gd name="connsiteY479" fmla="*/ 84587 h 275398"/>
                <a:gd name="connsiteX480" fmla="*/ 92849 w 196713"/>
                <a:gd name="connsiteY480" fmla="*/ 82620 h 275398"/>
                <a:gd name="connsiteX481" fmla="*/ 90095 w 196713"/>
                <a:gd name="connsiteY481" fmla="*/ 82620 h 275398"/>
                <a:gd name="connsiteX482" fmla="*/ 87340 w 196713"/>
                <a:gd name="connsiteY482" fmla="*/ 84980 h 275398"/>
                <a:gd name="connsiteX483" fmla="*/ 86554 w 196713"/>
                <a:gd name="connsiteY483" fmla="*/ 85374 h 275398"/>
                <a:gd name="connsiteX484" fmla="*/ 75538 w 196713"/>
                <a:gd name="connsiteY484" fmla="*/ 84980 h 275398"/>
                <a:gd name="connsiteX485" fmla="*/ 75144 w 196713"/>
                <a:gd name="connsiteY485" fmla="*/ 84980 h 275398"/>
                <a:gd name="connsiteX486" fmla="*/ 72391 w 196713"/>
                <a:gd name="connsiteY486" fmla="*/ 84587 h 275398"/>
                <a:gd name="connsiteX487" fmla="*/ 66882 w 196713"/>
                <a:gd name="connsiteY487" fmla="*/ 83013 h 275398"/>
                <a:gd name="connsiteX488" fmla="*/ 64522 w 196713"/>
                <a:gd name="connsiteY488" fmla="*/ 81046 h 275398"/>
                <a:gd name="connsiteX489" fmla="*/ 66489 w 196713"/>
                <a:gd name="connsiteY489" fmla="*/ 82226 h 275398"/>
                <a:gd name="connsiteX490" fmla="*/ 67276 w 196713"/>
                <a:gd name="connsiteY490" fmla="*/ 82620 h 275398"/>
                <a:gd name="connsiteX491" fmla="*/ 70817 w 196713"/>
                <a:gd name="connsiteY491" fmla="*/ 83406 h 275398"/>
                <a:gd name="connsiteX492" fmla="*/ 71603 w 196713"/>
                <a:gd name="connsiteY492" fmla="*/ 83406 h 275398"/>
                <a:gd name="connsiteX493" fmla="*/ 74751 w 196713"/>
                <a:gd name="connsiteY493" fmla="*/ 83800 h 275398"/>
                <a:gd name="connsiteX494" fmla="*/ 75144 w 196713"/>
                <a:gd name="connsiteY494" fmla="*/ 83800 h 275398"/>
                <a:gd name="connsiteX495" fmla="*/ 76325 w 196713"/>
                <a:gd name="connsiteY495" fmla="*/ 83406 h 275398"/>
                <a:gd name="connsiteX496" fmla="*/ 79079 w 196713"/>
                <a:gd name="connsiteY496" fmla="*/ 82620 h 275398"/>
                <a:gd name="connsiteX497" fmla="*/ 82226 w 196713"/>
                <a:gd name="connsiteY497" fmla="*/ 80259 h 275398"/>
                <a:gd name="connsiteX498" fmla="*/ 84980 w 196713"/>
                <a:gd name="connsiteY498" fmla="*/ 78685 h 275398"/>
                <a:gd name="connsiteX499" fmla="*/ 85373 w 196713"/>
                <a:gd name="connsiteY499" fmla="*/ 78292 h 275398"/>
                <a:gd name="connsiteX500" fmla="*/ 88521 w 196713"/>
                <a:gd name="connsiteY500" fmla="*/ 77898 h 275398"/>
                <a:gd name="connsiteX501" fmla="*/ 91275 w 196713"/>
                <a:gd name="connsiteY501" fmla="*/ 77898 h 275398"/>
                <a:gd name="connsiteX502" fmla="*/ 94029 w 196713"/>
                <a:gd name="connsiteY502" fmla="*/ 76718 h 275398"/>
                <a:gd name="connsiteX503" fmla="*/ 93242 w 196713"/>
                <a:gd name="connsiteY503" fmla="*/ 73964 h 275398"/>
                <a:gd name="connsiteX504" fmla="*/ 90488 w 196713"/>
                <a:gd name="connsiteY504" fmla="*/ 73177 h 275398"/>
                <a:gd name="connsiteX505" fmla="*/ 90488 w 196713"/>
                <a:gd name="connsiteY505" fmla="*/ 70423 h 275398"/>
                <a:gd name="connsiteX506" fmla="*/ 87340 w 196713"/>
                <a:gd name="connsiteY506" fmla="*/ 70423 h 275398"/>
                <a:gd name="connsiteX507" fmla="*/ 86554 w 196713"/>
                <a:gd name="connsiteY507" fmla="*/ 70817 h 275398"/>
                <a:gd name="connsiteX508" fmla="*/ 84980 w 196713"/>
                <a:gd name="connsiteY508" fmla="*/ 71210 h 275398"/>
                <a:gd name="connsiteX509" fmla="*/ 83406 w 196713"/>
                <a:gd name="connsiteY509" fmla="*/ 71997 h 275398"/>
                <a:gd name="connsiteX510" fmla="*/ 79079 w 196713"/>
                <a:gd name="connsiteY510" fmla="*/ 73177 h 275398"/>
                <a:gd name="connsiteX511" fmla="*/ 78292 w 196713"/>
                <a:gd name="connsiteY511" fmla="*/ 73177 h 275398"/>
                <a:gd name="connsiteX512" fmla="*/ 77899 w 196713"/>
                <a:gd name="connsiteY512" fmla="*/ 72784 h 275398"/>
                <a:gd name="connsiteX513" fmla="*/ 80652 w 196713"/>
                <a:gd name="connsiteY513" fmla="*/ 71997 h 275398"/>
                <a:gd name="connsiteX514" fmla="*/ 81046 w 196713"/>
                <a:gd name="connsiteY514" fmla="*/ 71604 h 275398"/>
                <a:gd name="connsiteX515" fmla="*/ 86160 w 196713"/>
                <a:gd name="connsiteY515" fmla="*/ 70030 h 275398"/>
                <a:gd name="connsiteX516" fmla="*/ 86554 w 196713"/>
                <a:gd name="connsiteY516" fmla="*/ 69636 h 275398"/>
                <a:gd name="connsiteX517" fmla="*/ 86947 w 196713"/>
                <a:gd name="connsiteY517" fmla="*/ 69636 h 275398"/>
                <a:gd name="connsiteX518" fmla="*/ 89701 w 196713"/>
                <a:gd name="connsiteY518" fmla="*/ 69243 h 275398"/>
                <a:gd name="connsiteX519" fmla="*/ 92455 w 196713"/>
                <a:gd name="connsiteY519" fmla="*/ 68850 h 275398"/>
                <a:gd name="connsiteX520" fmla="*/ 95209 w 196713"/>
                <a:gd name="connsiteY520" fmla="*/ 67276 h 275398"/>
                <a:gd name="connsiteX521" fmla="*/ 98357 w 196713"/>
                <a:gd name="connsiteY521" fmla="*/ 65309 h 275398"/>
                <a:gd name="connsiteX522" fmla="*/ 99537 w 196713"/>
                <a:gd name="connsiteY522" fmla="*/ 62555 h 275398"/>
                <a:gd name="connsiteX523" fmla="*/ 100324 w 196713"/>
                <a:gd name="connsiteY523" fmla="*/ 60981 h 275398"/>
                <a:gd name="connsiteX524" fmla="*/ 103078 w 196713"/>
                <a:gd name="connsiteY524" fmla="*/ 59407 h 275398"/>
                <a:gd name="connsiteX525" fmla="*/ 105832 w 196713"/>
                <a:gd name="connsiteY525" fmla="*/ 57047 h 275398"/>
                <a:gd name="connsiteX526" fmla="*/ 106618 w 196713"/>
                <a:gd name="connsiteY526" fmla="*/ 54293 h 275398"/>
                <a:gd name="connsiteX527" fmla="*/ 109373 w 196713"/>
                <a:gd name="connsiteY527" fmla="*/ 51145 h 275398"/>
                <a:gd name="connsiteX528" fmla="*/ 110553 w 196713"/>
                <a:gd name="connsiteY528" fmla="*/ 48785 h 275398"/>
                <a:gd name="connsiteX529" fmla="*/ 110553 w 196713"/>
                <a:gd name="connsiteY529" fmla="*/ 47211 h 275398"/>
                <a:gd name="connsiteX530" fmla="*/ 111340 w 196713"/>
                <a:gd name="connsiteY530" fmla="*/ 44457 h 275398"/>
                <a:gd name="connsiteX531" fmla="*/ 113700 w 196713"/>
                <a:gd name="connsiteY531" fmla="*/ 41703 h 275398"/>
                <a:gd name="connsiteX532" fmla="*/ 116454 w 196713"/>
                <a:gd name="connsiteY532" fmla="*/ 39736 h 275398"/>
                <a:gd name="connsiteX533" fmla="*/ 118421 w 196713"/>
                <a:gd name="connsiteY533" fmla="*/ 36982 h 275398"/>
                <a:gd name="connsiteX534" fmla="*/ 117635 w 196713"/>
                <a:gd name="connsiteY534" fmla="*/ 34228 h 275398"/>
                <a:gd name="connsiteX535" fmla="*/ 115667 w 196713"/>
                <a:gd name="connsiteY535" fmla="*/ 31474 h 275398"/>
                <a:gd name="connsiteX536" fmla="*/ 112913 w 196713"/>
                <a:gd name="connsiteY536" fmla="*/ 29900 h 275398"/>
                <a:gd name="connsiteX537" fmla="*/ 110159 w 196713"/>
                <a:gd name="connsiteY537" fmla="*/ 30294 h 275398"/>
                <a:gd name="connsiteX538" fmla="*/ 107406 w 196713"/>
                <a:gd name="connsiteY538" fmla="*/ 30687 h 275398"/>
                <a:gd name="connsiteX539" fmla="*/ 104258 w 196713"/>
                <a:gd name="connsiteY539" fmla="*/ 31081 h 275398"/>
                <a:gd name="connsiteX540" fmla="*/ 101504 w 196713"/>
                <a:gd name="connsiteY540" fmla="*/ 30687 h 275398"/>
                <a:gd name="connsiteX541" fmla="*/ 98750 w 196713"/>
                <a:gd name="connsiteY541" fmla="*/ 30294 h 275398"/>
                <a:gd name="connsiteX542" fmla="*/ 95603 w 196713"/>
                <a:gd name="connsiteY542" fmla="*/ 30687 h 275398"/>
                <a:gd name="connsiteX543" fmla="*/ 92849 w 196713"/>
                <a:gd name="connsiteY543" fmla="*/ 29900 h 275398"/>
                <a:gd name="connsiteX544" fmla="*/ 89701 w 196713"/>
                <a:gd name="connsiteY544" fmla="*/ 30687 h 275398"/>
                <a:gd name="connsiteX545" fmla="*/ 86947 w 196713"/>
                <a:gd name="connsiteY545" fmla="*/ 31081 h 275398"/>
                <a:gd name="connsiteX546" fmla="*/ 86554 w 196713"/>
                <a:gd name="connsiteY546" fmla="*/ 31081 h 275398"/>
                <a:gd name="connsiteX547" fmla="*/ 83800 w 196713"/>
                <a:gd name="connsiteY547" fmla="*/ 30294 h 275398"/>
                <a:gd name="connsiteX548" fmla="*/ 80652 w 196713"/>
                <a:gd name="connsiteY548" fmla="*/ 29507 h 275398"/>
                <a:gd name="connsiteX549" fmla="*/ 77899 w 196713"/>
                <a:gd name="connsiteY549" fmla="*/ 29900 h 275398"/>
                <a:gd name="connsiteX550" fmla="*/ 75144 w 196713"/>
                <a:gd name="connsiteY550" fmla="*/ 31474 h 275398"/>
                <a:gd name="connsiteX551" fmla="*/ 73571 w 196713"/>
                <a:gd name="connsiteY551" fmla="*/ 31474 h 275398"/>
                <a:gd name="connsiteX552" fmla="*/ 70817 w 196713"/>
                <a:gd name="connsiteY552" fmla="*/ 32654 h 275398"/>
                <a:gd name="connsiteX553" fmla="*/ 70423 w 196713"/>
                <a:gd name="connsiteY553" fmla="*/ 32654 h 275398"/>
                <a:gd name="connsiteX554" fmla="*/ 68456 w 196713"/>
                <a:gd name="connsiteY554" fmla="*/ 33441 h 275398"/>
                <a:gd name="connsiteX555" fmla="*/ 67276 w 196713"/>
                <a:gd name="connsiteY555" fmla="*/ 33835 h 275398"/>
                <a:gd name="connsiteX556" fmla="*/ 64129 w 196713"/>
                <a:gd name="connsiteY556" fmla="*/ 33835 h 275398"/>
                <a:gd name="connsiteX557" fmla="*/ 61374 w 196713"/>
                <a:gd name="connsiteY557" fmla="*/ 35802 h 275398"/>
                <a:gd name="connsiteX558" fmla="*/ 58227 w 196713"/>
                <a:gd name="connsiteY558" fmla="*/ 36982 h 275398"/>
                <a:gd name="connsiteX559" fmla="*/ 58621 w 196713"/>
                <a:gd name="connsiteY559" fmla="*/ 35408 h 275398"/>
                <a:gd name="connsiteX560" fmla="*/ 61374 w 196713"/>
                <a:gd name="connsiteY560" fmla="*/ 34228 h 275398"/>
                <a:gd name="connsiteX561" fmla="*/ 62948 w 196713"/>
                <a:gd name="connsiteY561" fmla="*/ 31474 h 275398"/>
                <a:gd name="connsiteX562" fmla="*/ 60194 w 196713"/>
                <a:gd name="connsiteY562" fmla="*/ 31474 h 275398"/>
                <a:gd name="connsiteX563" fmla="*/ 57440 w 196713"/>
                <a:gd name="connsiteY563" fmla="*/ 32654 h 275398"/>
                <a:gd name="connsiteX564" fmla="*/ 57440 w 196713"/>
                <a:gd name="connsiteY564" fmla="*/ 31474 h 275398"/>
                <a:gd name="connsiteX565" fmla="*/ 60588 w 196713"/>
                <a:gd name="connsiteY565" fmla="*/ 31081 h 275398"/>
                <a:gd name="connsiteX566" fmla="*/ 63735 w 196713"/>
                <a:gd name="connsiteY566" fmla="*/ 29507 h 275398"/>
                <a:gd name="connsiteX567" fmla="*/ 66489 w 196713"/>
                <a:gd name="connsiteY567" fmla="*/ 29507 h 275398"/>
                <a:gd name="connsiteX568" fmla="*/ 68063 w 196713"/>
                <a:gd name="connsiteY568" fmla="*/ 26753 h 275398"/>
                <a:gd name="connsiteX569" fmla="*/ 65309 w 196713"/>
                <a:gd name="connsiteY569" fmla="*/ 26360 h 275398"/>
                <a:gd name="connsiteX570" fmla="*/ 62162 w 196713"/>
                <a:gd name="connsiteY570" fmla="*/ 25966 h 275398"/>
                <a:gd name="connsiteX571" fmla="*/ 59014 w 196713"/>
                <a:gd name="connsiteY571" fmla="*/ 25573 h 275398"/>
                <a:gd name="connsiteX572" fmla="*/ 56260 w 196713"/>
                <a:gd name="connsiteY572" fmla="*/ 24392 h 275398"/>
                <a:gd name="connsiteX573" fmla="*/ 55866 w 196713"/>
                <a:gd name="connsiteY573" fmla="*/ 23999 h 275398"/>
                <a:gd name="connsiteX574" fmla="*/ 55473 w 196713"/>
                <a:gd name="connsiteY574" fmla="*/ 23606 h 275398"/>
                <a:gd name="connsiteX575" fmla="*/ 56260 w 196713"/>
                <a:gd name="connsiteY575" fmla="*/ 23606 h 275398"/>
                <a:gd name="connsiteX576" fmla="*/ 56654 w 196713"/>
                <a:gd name="connsiteY576" fmla="*/ 23999 h 275398"/>
                <a:gd name="connsiteX577" fmla="*/ 59407 w 196713"/>
                <a:gd name="connsiteY577" fmla="*/ 24392 h 275398"/>
                <a:gd name="connsiteX578" fmla="*/ 62555 w 196713"/>
                <a:gd name="connsiteY578" fmla="*/ 24786 h 275398"/>
                <a:gd name="connsiteX579" fmla="*/ 63342 w 196713"/>
                <a:gd name="connsiteY579" fmla="*/ 21638 h 275398"/>
                <a:gd name="connsiteX580" fmla="*/ 63735 w 196713"/>
                <a:gd name="connsiteY580" fmla="*/ 21245 h 275398"/>
                <a:gd name="connsiteX581" fmla="*/ 66096 w 196713"/>
                <a:gd name="connsiteY581" fmla="*/ 21245 h 275398"/>
                <a:gd name="connsiteX582" fmla="*/ 68456 w 196713"/>
                <a:gd name="connsiteY582" fmla="*/ 20065 h 275398"/>
                <a:gd name="connsiteX583" fmla="*/ 70817 w 196713"/>
                <a:gd name="connsiteY583" fmla="*/ 18491 h 275398"/>
                <a:gd name="connsiteX584" fmla="*/ 74751 w 196713"/>
                <a:gd name="connsiteY584" fmla="*/ 16524 h 275398"/>
                <a:gd name="connsiteX585" fmla="*/ 76325 w 196713"/>
                <a:gd name="connsiteY585" fmla="*/ 15737 h 275398"/>
                <a:gd name="connsiteX586" fmla="*/ 79472 w 196713"/>
                <a:gd name="connsiteY586" fmla="*/ 13770 h 275398"/>
                <a:gd name="connsiteX587" fmla="*/ 82226 w 196713"/>
                <a:gd name="connsiteY587" fmla="*/ 11409 h 275398"/>
                <a:gd name="connsiteX588" fmla="*/ 85373 w 196713"/>
                <a:gd name="connsiteY588" fmla="*/ 11016 h 275398"/>
                <a:gd name="connsiteX589" fmla="*/ 88128 w 196713"/>
                <a:gd name="connsiteY589" fmla="*/ 8655 h 275398"/>
                <a:gd name="connsiteX590" fmla="*/ 90095 w 196713"/>
                <a:gd name="connsiteY590" fmla="*/ 5901 h 275398"/>
                <a:gd name="connsiteX591" fmla="*/ 89701 w 196713"/>
                <a:gd name="connsiteY591" fmla="*/ 2754 h 275398"/>
                <a:gd name="connsiteX592" fmla="*/ 89308 w 196713"/>
                <a:gd name="connsiteY592" fmla="*/ 0 h 275398"/>
                <a:gd name="connsiteX593" fmla="*/ 83406 w 196713"/>
                <a:gd name="connsiteY593" fmla="*/ 0 h 275398"/>
                <a:gd name="connsiteX594" fmla="*/ 79079 w 196713"/>
                <a:gd name="connsiteY594" fmla="*/ 1574 h 275398"/>
                <a:gd name="connsiteX595" fmla="*/ 75931 w 196713"/>
                <a:gd name="connsiteY595" fmla="*/ 787 h 275398"/>
                <a:gd name="connsiteX596" fmla="*/ 73177 w 196713"/>
                <a:gd name="connsiteY596" fmla="*/ 2361 h 275398"/>
                <a:gd name="connsiteX597" fmla="*/ 70030 w 196713"/>
                <a:gd name="connsiteY597" fmla="*/ 2754 h 275398"/>
                <a:gd name="connsiteX598" fmla="*/ 67276 w 196713"/>
                <a:gd name="connsiteY598" fmla="*/ 2361 h 275398"/>
                <a:gd name="connsiteX599" fmla="*/ 64522 w 196713"/>
                <a:gd name="connsiteY599" fmla="*/ 2361 h 275398"/>
                <a:gd name="connsiteX600" fmla="*/ 61374 w 196713"/>
                <a:gd name="connsiteY600" fmla="*/ 3934 h 275398"/>
                <a:gd name="connsiteX601" fmla="*/ 59801 w 196713"/>
                <a:gd name="connsiteY601" fmla="*/ 3541 h 275398"/>
                <a:gd name="connsiteX602" fmla="*/ 57047 w 196713"/>
                <a:gd name="connsiteY602" fmla="*/ 5115 h 275398"/>
                <a:gd name="connsiteX603" fmla="*/ 56260 w 196713"/>
                <a:gd name="connsiteY603" fmla="*/ 4721 h 275398"/>
                <a:gd name="connsiteX604" fmla="*/ 55473 w 196713"/>
                <a:gd name="connsiteY604" fmla="*/ 2361 h 275398"/>
                <a:gd name="connsiteX605" fmla="*/ 53113 w 196713"/>
                <a:gd name="connsiteY605" fmla="*/ 3541 h 275398"/>
                <a:gd name="connsiteX606" fmla="*/ 50359 w 196713"/>
                <a:gd name="connsiteY606" fmla="*/ 2754 h 275398"/>
                <a:gd name="connsiteX607" fmla="*/ 50359 w 196713"/>
                <a:gd name="connsiteY607" fmla="*/ 2754 h 275398"/>
                <a:gd name="connsiteX608" fmla="*/ 49965 w 196713"/>
                <a:gd name="connsiteY608" fmla="*/ 2754 h 275398"/>
                <a:gd name="connsiteX609" fmla="*/ 46818 w 196713"/>
                <a:gd name="connsiteY609" fmla="*/ 1574 h 275398"/>
                <a:gd name="connsiteX610" fmla="*/ 46425 w 196713"/>
                <a:gd name="connsiteY610" fmla="*/ 787 h 275398"/>
                <a:gd name="connsiteX611" fmla="*/ 43277 w 196713"/>
                <a:gd name="connsiteY611" fmla="*/ 393 h 275398"/>
                <a:gd name="connsiteX612" fmla="*/ 41703 w 196713"/>
                <a:gd name="connsiteY612" fmla="*/ 3147 h 275398"/>
                <a:gd name="connsiteX613" fmla="*/ 42490 w 196713"/>
                <a:gd name="connsiteY613" fmla="*/ 5901 h 275398"/>
                <a:gd name="connsiteX614" fmla="*/ 42490 w 196713"/>
                <a:gd name="connsiteY614" fmla="*/ 6295 h 275398"/>
                <a:gd name="connsiteX615" fmla="*/ 41310 w 196713"/>
                <a:gd name="connsiteY615" fmla="*/ 7869 h 275398"/>
                <a:gd name="connsiteX616" fmla="*/ 38556 w 196713"/>
                <a:gd name="connsiteY616" fmla="*/ 9836 h 275398"/>
                <a:gd name="connsiteX617" fmla="*/ 41310 w 196713"/>
                <a:gd name="connsiteY617" fmla="*/ 12196 h 275398"/>
                <a:gd name="connsiteX618" fmla="*/ 41703 w 196713"/>
                <a:gd name="connsiteY618" fmla="*/ 11803 h 275398"/>
                <a:gd name="connsiteX619" fmla="*/ 41703 w 196713"/>
                <a:gd name="connsiteY619" fmla="*/ 12590 h 275398"/>
                <a:gd name="connsiteX620" fmla="*/ 41310 w 196713"/>
                <a:gd name="connsiteY620" fmla="*/ 12590 h 275398"/>
                <a:gd name="connsiteX621" fmla="*/ 38949 w 196713"/>
                <a:gd name="connsiteY621" fmla="*/ 11803 h 275398"/>
                <a:gd name="connsiteX622" fmla="*/ 36195 w 196713"/>
                <a:gd name="connsiteY622" fmla="*/ 12196 h 275398"/>
                <a:gd name="connsiteX623" fmla="*/ 33048 w 196713"/>
                <a:gd name="connsiteY623" fmla="*/ 14557 h 275398"/>
                <a:gd name="connsiteX624" fmla="*/ 34228 w 196713"/>
                <a:gd name="connsiteY624" fmla="*/ 17311 h 275398"/>
                <a:gd name="connsiteX625" fmla="*/ 31474 w 196713"/>
                <a:gd name="connsiteY625" fmla="*/ 19278 h 275398"/>
                <a:gd name="connsiteX626" fmla="*/ 33441 w 196713"/>
                <a:gd name="connsiteY626" fmla="*/ 20458 h 275398"/>
                <a:gd name="connsiteX627" fmla="*/ 30687 w 196713"/>
                <a:gd name="connsiteY627" fmla="*/ 23212 h 275398"/>
                <a:gd name="connsiteX628" fmla="*/ 30687 w 196713"/>
                <a:gd name="connsiteY628" fmla="*/ 23212 h 275398"/>
                <a:gd name="connsiteX629" fmla="*/ 27933 w 196713"/>
                <a:gd name="connsiteY629" fmla="*/ 24786 h 275398"/>
                <a:gd name="connsiteX630" fmla="*/ 24786 w 196713"/>
                <a:gd name="connsiteY630" fmla="*/ 24392 h 275398"/>
                <a:gd name="connsiteX631" fmla="*/ 24392 w 196713"/>
                <a:gd name="connsiteY631" fmla="*/ 27146 h 275398"/>
                <a:gd name="connsiteX632" fmla="*/ 23212 w 196713"/>
                <a:gd name="connsiteY632" fmla="*/ 24392 h 275398"/>
                <a:gd name="connsiteX633" fmla="*/ 20458 w 196713"/>
                <a:gd name="connsiteY633" fmla="*/ 26753 h 275398"/>
                <a:gd name="connsiteX634" fmla="*/ 20458 w 196713"/>
                <a:gd name="connsiteY634" fmla="*/ 29900 h 275398"/>
                <a:gd name="connsiteX635" fmla="*/ 21638 w 196713"/>
                <a:gd name="connsiteY635" fmla="*/ 32654 h 275398"/>
                <a:gd name="connsiteX636" fmla="*/ 21638 w 196713"/>
                <a:gd name="connsiteY636" fmla="*/ 34622 h 275398"/>
                <a:gd name="connsiteX637" fmla="*/ 21638 w 196713"/>
                <a:gd name="connsiteY637" fmla="*/ 34622 h 275398"/>
                <a:gd name="connsiteX638" fmla="*/ 44064 w 196713"/>
                <a:gd name="connsiteY638" fmla="*/ 85374 h 275398"/>
                <a:gd name="connsiteX639" fmla="*/ 44851 w 196713"/>
                <a:gd name="connsiteY639" fmla="*/ 85374 h 275398"/>
                <a:gd name="connsiteX640" fmla="*/ 45244 w 196713"/>
                <a:gd name="connsiteY640" fmla="*/ 85767 h 275398"/>
                <a:gd name="connsiteX641" fmla="*/ 44064 w 196713"/>
                <a:gd name="connsiteY641" fmla="*/ 85374 h 275398"/>
                <a:gd name="connsiteX642" fmla="*/ 83800 w 196713"/>
                <a:gd name="connsiteY642" fmla="*/ 169173 h 275398"/>
                <a:gd name="connsiteX643" fmla="*/ 84193 w 196713"/>
                <a:gd name="connsiteY643" fmla="*/ 168780 h 275398"/>
                <a:gd name="connsiteX644" fmla="*/ 84587 w 196713"/>
                <a:gd name="connsiteY644" fmla="*/ 169173 h 275398"/>
                <a:gd name="connsiteX645" fmla="*/ 83800 w 196713"/>
                <a:gd name="connsiteY645" fmla="*/ 169173 h 275398"/>
                <a:gd name="connsiteX646" fmla="*/ 83013 w 196713"/>
                <a:gd name="connsiteY646" fmla="*/ 169567 h 275398"/>
                <a:gd name="connsiteX647" fmla="*/ 83800 w 196713"/>
                <a:gd name="connsiteY647" fmla="*/ 169173 h 275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</a:cxnLst>
              <a:rect l="l" t="t" r="r" b="b"/>
              <a:pathLst>
                <a:path w="196713" h="275398">
                  <a:moveTo>
                    <a:pt x="21638" y="34622"/>
                  </a:moveTo>
                  <a:lnTo>
                    <a:pt x="18885" y="34622"/>
                  </a:lnTo>
                  <a:lnTo>
                    <a:pt x="19278" y="37376"/>
                  </a:lnTo>
                  <a:lnTo>
                    <a:pt x="21638" y="40129"/>
                  </a:lnTo>
                  <a:lnTo>
                    <a:pt x="21638" y="40129"/>
                  </a:lnTo>
                  <a:lnTo>
                    <a:pt x="21638" y="42883"/>
                  </a:lnTo>
                  <a:lnTo>
                    <a:pt x="25573" y="42490"/>
                  </a:lnTo>
                  <a:lnTo>
                    <a:pt x="26753" y="42883"/>
                  </a:lnTo>
                  <a:lnTo>
                    <a:pt x="28327" y="44851"/>
                  </a:lnTo>
                  <a:lnTo>
                    <a:pt x="25573" y="43277"/>
                  </a:lnTo>
                  <a:lnTo>
                    <a:pt x="22819" y="44457"/>
                  </a:lnTo>
                  <a:lnTo>
                    <a:pt x="22425" y="47211"/>
                  </a:lnTo>
                  <a:lnTo>
                    <a:pt x="25573" y="48391"/>
                  </a:lnTo>
                  <a:lnTo>
                    <a:pt x="27933" y="48391"/>
                  </a:lnTo>
                  <a:lnTo>
                    <a:pt x="25179" y="48785"/>
                  </a:lnTo>
                  <a:lnTo>
                    <a:pt x="22425" y="47605"/>
                  </a:lnTo>
                  <a:lnTo>
                    <a:pt x="20065" y="50359"/>
                  </a:lnTo>
                  <a:lnTo>
                    <a:pt x="22819" y="52326"/>
                  </a:lnTo>
                  <a:lnTo>
                    <a:pt x="20065" y="50752"/>
                  </a:lnTo>
                  <a:lnTo>
                    <a:pt x="17311" y="52326"/>
                  </a:lnTo>
                  <a:lnTo>
                    <a:pt x="16918" y="55080"/>
                  </a:lnTo>
                  <a:lnTo>
                    <a:pt x="19671" y="56260"/>
                  </a:lnTo>
                  <a:lnTo>
                    <a:pt x="19671" y="56260"/>
                  </a:lnTo>
                  <a:lnTo>
                    <a:pt x="17311" y="56653"/>
                  </a:lnTo>
                  <a:lnTo>
                    <a:pt x="16524" y="59407"/>
                  </a:lnTo>
                  <a:lnTo>
                    <a:pt x="15737" y="59014"/>
                  </a:lnTo>
                  <a:lnTo>
                    <a:pt x="12983" y="58620"/>
                  </a:lnTo>
                  <a:lnTo>
                    <a:pt x="9836" y="59014"/>
                  </a:lnTo>
                  <a:lnTo>
                    <a:pt x="7082" y="60588"/>
                  </a:lnTo>
                  <a:lnTo>
                    <a:pt x="9836" y="60981"/>
                  </a:lnTo>
                  <a:lnTo>
                    <a:pt x="12983" y="61375"/>
                  </a:lnTo>
                  <a:lnTo>
                    <a:pt x="15737" y="61375"/>
                  </a:lnTo>
                  <a:lnTo>
                    <a:pt x="18885" y="60194"/>
                  </a:lnTo>
                  <a:lnTo>
                    <a:pt x="21638" y="61375"/>
                  </a:lnTo>
                  <a:lnTo>
                    <a:pt x="18885" y="60981"/>
                  </a:lnTo>
                  <a:lnTo>
                    <a:pt x="16130" y="62948"/>
                  </a:lnTo>
                  <a:lnTo>
                    <a:pt x="13377" y="62555"/>
                  </a:lnTo>
                  <a:lnTo>
                    <a:pt x="14950" y="65309"/>
                  </a:lnTo>
                  <a:lnTo>
                    <a:pt x="18098" y="66096"/>
                  </a:lnTo>
                  <a:lnTo>
                    <a:pt x="20852" y="67276"/>
                  </a:lnTo>
                  <a:lnTo>
                    <a:pt x="23606" y="65702"/>
                  </a:lnTo>
                  <a:lnTo>
                    <a:pt x="26359" y="63342"/>
                  </a:lnTo>
                  <a:lnTo>
                    <a:pt x="29114" y="61375"/>
                  </a:lnTo>
                  <a:lnTo>
                    <a:pt x="32261" y="59014"/>
                  </a:lnTo>
                  <a:lnTo>
                    <a:pt x="35015" y="57440"/>
                  </a:lnTo>
                  <a:lnTo>
                    <a:pt x="33835" y="58620"/>
                  </a:lnTo>
                  <a:lnTo>
                    <a:pt x="33441" y="61375"/>
                  </a:lnTo>
                  <a:lnTo>
                    <a:pt x="35015" y="60981"/>
                  </a:lnTo>
                  <a:lnTo>
                    <a:pt x="36589" y="60588"/>
                  </a:lnTo>
                  <a:lnTo>
                    <a:pt x="33441" y="61375"/>
                  </a:lnTo>
                  <a:lnTo>
                    <a:pt x="32655" y="61375"/>
                  </a:lnTo>
                  <a:lnTo>
                    <a:pt x="29900" y="62555"/>
                  </a:lnTo>
                  <a:lnTo>
                    <a:pt x="27147" y="65309"/>
                  </a:lnTo>
                  <a:lnTo>
                    <a:pt x="27147" y="65702"/>
                  </a:lnTo>
                  <a:lnTo>
                    <a:pt x="27147" y="68063"/>
                  </a:lnTo>
                  <a:lnTo>
                    <a:pt x="27147" y="68456"/>
                  </a:lnTo>
                  <a:lnTo>
                    <a:pt x="25573" y="68456"/>
                  </a:lnTo>
                  <a:lnTo>
                    <a:pt x="24786" y="71210"/>
                  </a:lnTo>
                  <a:lnTo>
                    <a:pt x="22032" y="71997"/>
                  </a:lnTo>
                  <a:lnTo>
                    <a:pt x="22819" y="74751"/>
                  </a:lnTo>
                  <a:lnTo>
                    <a:pt x="22819" y="76325"/>
                  </a:lnTo>
                  <a:lnTo>
                    <a:pt x="20458" y="80259"/>
                  </a:lnTo>
                  <a:lnTo>
                    <a:pt x="19671" y="81046"/>
                  </a:lnTo>
                  <a:lnTo>
                    <a:pt x="18098" y="84193"/>
                  </a:lnTo>
                  <a:lnTo>
                    <a:pt x="19671" y="82620"/>
                  </a:lnTo>
                  <a:lnTo>
                    <a:pt x="19671" y="82620"/>
                  </a:lnTo>
                  <a:lnTo>
                    <a:pt x="18098" y="84193"/>
                  </a:lnTo>
                  <a:lnTo>
                    <a:pt x="18098" y="86947"/>
                  </a:lnTo>
                  <a:lnTo>
                    <a:pt x="18491" y="87341"/>
                  </a:lnTo>
                  <a:lnTo>
                    <a:pt x="16918" y="94422"/>
                  </a:lnTo>
                  <a:lnTo>
                    <a:pt x="15737" y="96389"/>
                  </a:lnTo>
                  <a:lnTo>
                    <a:pt x="15737" y="99143"/>
                  </a:lnTo>
                  <a:lnTo>
                    <a:pt x="15737" y="99537"/>
                  </a:lnTo>
                  <a:lnTo>
                    <a:pt x="13377" y="102291"/>
                  </a:lnTo>
                  <a:lnTo>
                    <a:pt x="14163" y="105045"/>
                  </a:lnTo>
                  <a:lnTo>
                    <a:pt x="17311" y="104651"/>
                  </a:lnTo>
                  <a:lnTo>
                    <a:pt x="20065" y="102291"/>
                  </a:lnTo>
                  <a:lnTo>
                    <a:pt x="19671" y="99537"/>
                  </a:lnTo>
                  <a:lnTo>
                    <a:pt x="21245" y="96389"/>
                  </a:lnTo>
                  <a:lnTo>
                    <a:pt x="21638" y="94029"/>
                  </a:lnTo>
                  <a:lnTo>
                    <a:pt x="27147" y="86160"/>
                  </a:lnTo>
                  <a:lnTo>
                    <a:pt x="29114" y="87341"/>
                  </a:lnTo>
                  <a:lnTo>
                    <a:pt x="29900" y="86160"/>
                  </a:lnTo>
                  <a:lnTo>
                    <a:pt x="31081" y="88127"/>
                  </a:lnTo>
                  <a:lnTo>
                    <a:pt x="33441" y="90882"/>
                  </a:lnTo>
                  <a:lnTo>
                    <a:pt x="33835" y="90488"/>
                  </a:lnTo>
                  <a:lnTo>
                    <a:pt x="33441" y="87734"/>
                  </a:lnTo>
                  <a:lnTo>
                    <a:pt x="31081" y="84980"/>
                  </a:lnTo>
                  <a:lnTo>
                    <a:pt x="30687" y="84980"/>
                  </a:lnTo>
                  <a:lnTo>
                    <a:pt x="31081" y="84587"/>
                  </a:lnTo>
                  <a:lnTo>
                    <a:pt x="34622" y="86554"/>
                  </a:lnTo>
                  <a:lnTo>
                    <a:pt x="37769" y="85767"/>
                  </a:lnTo>
                  <a:lnTo>
                    <a:pt x="37376" y="86947"/>
                  </a:lnTo>
                  <a:lnTo>
                    <a:pt x="37769" y="89701"/>
                  </a:lnTo>
                  <a:lnTo>
                    <a:pt x="37769" y="91668"/>
                  </a:lnTo>
                  <a:lnTo>
                    <a:pt x="32261" y="110159"/>
                  </a:lnTo>
                  <a:lnTo>
                    <a:pt x="31867" y="111733"/>
                  </a:lnTo>
                  <a:lnTo>
                    <a:pt x="31081" y="114880"/>
                  </a:lnTo>
                  <a:lnTo>
                    <a:pt x="31474" y="114880"/>
                  </a:lnTo>
                  <a:lnTo>
                    <a:pt x="31867" y="116454"/>
                  </a:lnTo>
                  <a:lnTo>
                    <a:pt x="31867" y="117634"/>
                  </a:lnTo>
                  <a:lnTo>
                    <a:pt x="29900" y="114880"/>
                  </a:lnTo>
                  <a:lnTo>
                    <a:pt x="27540" y="114880"/>
                  </a:lnTo>
                  <a:lnTo>
                    <a:pt x="27147" y="116848"/>
                  </a:lnTo>
                  <a:lnTo>
                    <a:pt x="28327" y="119995"/>
                  </a:lnTo>
                  <a:lnTo>
                    <a:pt x="31081" y="122356"/>
                  </a:lnTo>
                  <a:lnTo>
                    <a:pt x="31867" y="123929"/>
                  </a:lnTo>
                  <a:lnTo>
                    <a:pt x="34228" y="126683"/>
                  </a:lnTo>
                  <a:lnTo>
                    <a:pt x="40916" y="121962"/>
                  </a:lnTo>
                  <a:lnTo>
                    <a:pt x="41310" y="121962"/>
                  </a:lnTo>
                  <a:lnTo>
                    <a:pt x="44064" y="124323"/>
                  </a:lnTo>
                  <a:lnTo>
                    <a:pt x="47211" y="123142"/>
                  </a:lnTo>
                  <a:lnTo>
                    <a:pt x="46818" y="120388"/>
                  </a:lnTo>
                  <a:lnTo>
                    <a:pt x="46818" y="117634"/>
                  </a:lnTo>
                  <a:lnTo>
                    <a:pt x="49178" y="119602"/>
                  </a:lnTo>
                  <a:lnTo>
                    <a:pt x="51932" y="121175"/>
                  </a:lnTo>
                  <a:lnTo>
                    <a:pt x="54686" y="119995"/>
                  </a:lnTo>
                  <a:lnTo>
                    <a:pt x="55080" y="121962"/>
                  </a:lnTo>
                  <a:lnTo>
                    <a:pt x="55866" y="121962"/>
                  </a:lnTo>
                  <a:lnTo>
                    <a:pt x="58621" y="121175"/>
                  </a:lnTo>
                  <a:lnTo>
                    <a:pt x="61374" y="118815"/>
                  </a:lnTo>
                  <a:lnTo>
                    <a:pt x="64522" y="118421"/>
                  </a:lnTo>
                  <a:lnTo>
                    <a:pt x="67276" y="118028"/>
                  </a:lnTo>
                  <a:lnTo>
                    <a:pt x="67669" y="115274"/>
                  </a:lnTo>
                  <a:lnTo>
                    <a:pt x="68850" y="115667"/>
                  </a:lnTo>
                  <a:lnTo>
                    <a:pt x="71603" y="115667"/>
                  </a:lnTo>
                  <a:lnTo>
                    <a:pt x="74751" y="116061"/>
                  </a:lnTo>
                  <a:lnTo>
                    <a:pt x="77505" y="116061"/>
                  </a:lnTo>
                  <a:lnTo>
                    <a:pt x="80259" y="115667"/>
                  </a:lnTo>
                  <a:lnTo>
                    <a:pt x="81046" y="116061"/>
                  </a:lnTo>
                  <a:lnTo>
                    <a:pt x="80652" y="116848"/>
                  </a:lnTo>
                  <a:lnTo>
                    <a:pt x="77899" y="117241"/>
                  </a:lnTo>
                  <a:lnTo>
                    <a:pt x="74751" y="118421"/>
                  </a:lnTo>
                  <a:lnTo>
                    <a:pt x="73964" y="119208"/>
                  </a:lnTo>
                  <a:lnTo>
                    <a:pt x="70817" y="119995"/>
                  </a:lnTo>
                  <a:lnTo>
                    <a:pt x="69636" y="123142"/>
                  </a:lnTo>
                  <a:lnTo>
                    <a:pt x="66882" y="125896"/>
                  </a:lnTo>
                  <a:lnTo>
                    <a:pt x="65702" y="128650"/>
                  </a:lnTo>
                  <a:lnTo>
                    <a:pt x="65309" y="131404"/>
                  </a:lnTo>
                  <a:lnTo>
                    <a:pt x="68063" y="134158"/>
                  </a:lnTo>
                  <a:lnTo>
                    <a:pt x="69636" y="136912"/>
                  </a:lnTo>
                  <a:lnTo>
                    <a:pt x="71210" y="140060"/>
                  </a:lnTo>
                  <a:lnTo>
                    <a:pt x="73964" y="139273"/>
                  </a:lnTo>
                  <a:lnTo>
                    <a:pt x="74358" y="139273"/>
                  </a:lnTo>
                  <a:lnTo>
                    <a:pt x="73964" y="142027"/>
                  </a:lnTo>
                  <a:lnTo>
                    <a:pt x="75538" y="144781"/>
                  </a:lnTo>
                  <a:lnTo>
                    <a:pt x="78292" y="140847"/>
                  </a:lnTo>
                  <a:lnTo>
                    <a:pt x="78685" y="139666"/>
                  </a:lnTo>
                  <a:lnTo>
                    <a:pt x="79079" y="140847"/>
                  </a:lnTo>
                  <a:lnTo>
                    <a:pt x="80652" y="142420"/>
                  </a:lnTo>
                  <a:lnTo>
                    <a:pt x="83406" y="140847"/>
                  </a:lnTo>
                  <a:lnTo>
                    <a:pt x="84587" y="140453"/>
                  </a:lnTo>
                  <a:lnTo>
                    <a:pt x="84193" y="140847"/>
                  </a:lnTo>
                  <a:lnTo>
                    <a:pt x="83800" y="141633"/>
                  </a:lnTo>
                  <a:lnTo>
                    <a:pt x="79472" y="149502"/>
                  </a:lnTo>
                  <a:lnTo>
                    <a:pt x="77899" y="150289"/>
                  </a:lnTo>
                  <a:lnTo>
                    <a:pt x="77505" y="153436"/>
                  </a:lnTo>
                  <a:lnTo>
                    <a:pt x="78292" y="155797"/>
                  </a:lnTo>
                  <a:lnTo>
                    <a:pt x="81046" y="156190"/>
                  </a:lnTo>
                  <a:lnTo>
                    <a:pt x="79866" y="156584"/>
                  </a:lnTo>
                  <a:lnTo>
                    <a:pt x="78292" y="157764"/>
                  </a:lnTo>
                  <a:lnTo>
                    <a:pt x="75538" y="160518"/>
                  </a:lnTo>
                  <a:lnTo>
                    <a:pt x="76325" y="163272"/>
                  </a:lnTo>
                  <a:lnTo>
                    <a:pt x="77505" y="166419"/>
                  </a:lnTo>
                  <a:lnTo>
                    <a:pt x="77899" y="166813"/>
                  </a:lnTo>
                  <a:lnTo>
                    <a:pt x="79472" y="168386"/>
                  </a:lnTo>
                  <a:lnTo>
                    <a:pt x="82226" y="169173"/>
                  </a:lnTo>
                  <a:lnTo>
                    <a:pt x="79472" y="169960"/>
                  </a:lnTo>
                  <a:lnTo>
                    <a:pt x="77899" y="167206"/>
                  </a:lnTo>
                  <a:lnTo>
                    <a:pt x="77505" y="166813"/>
                  </a:lnTo>
                  <a:lnTo>
                    <a:pt x="75931" y="166026"/>
                  </a:lnTo>
                  <a:lnTo>
                    <a:pt x="72784" y="167993"/>
                  </a:lnTo>
                  <a:lnTo>
                    <a:pt x="74358" y="170747"/>
                  </a:lnTo>
                  <a:lnTo>
                    <a:pt x="75144" y="171140"/>
                  </a:lnTo>
                  <a:lnTo>
                    <a:pt x="75144" y="172321"/>
                  </a:lnTo>
                  <a:lnTo>
                    <a:pt x="72391" y="170354"/>
                  </a:lnTo>
                  <a:lnTo>
                    <a:pt x="69636" y="168780"/>
                  </a:lnTo>
                  <a:lnTo>
                    <a:pt x="66882" y="169173"/>
                  </a:lnTo>
                  <a:lnTo>
                    <a:pt x="62162" y="170747"/>
                  </a:lnTo>
                  <a:lnTo>
                    <a:pt x="58227" y="169960"/>
                  </a:lnTo>
                  <a:lnTo>
                    <a:pt x="56654" y="169567"/>
                  </a:lnTo>
                  <a:lnTo>
                    <a:pt x="53899" y="171140"/>
                  </a:lnTo>
                  <a:lnTo>
                    <a:pt x="48392" y="172714"/>
                  </a:lnTo>
                  <a:lnTo>
                    <a:pt x="47998" y="172714"/>
                  </a:lnTo>
                  <a:lnTo>
                    <a:pt x="49572" y="169960"/>
                  </a:lnTo>
                  <a:lnTo>
                    <a:pt x="46818" y="169567"/>
                  </a:lnTo>
                  <a:lnTo>
                    <a:pt x="44457" y="166813"/>
                  </a:lnTo>
                  <a:lnTo>
                    <a:pt x="41703" y="166813"/>
                  </a:lnTo>
                  <a:lnTo>
                    <a:pt x="38949" y="167993"/>
                  </a:lnTo>
                  <a:lnTo>
                    <a:pt x="38162" y="171140"/>
                  </a:lnTo>
                  <a:lnTo>
                    <a:pt x="38556" y="171534"/>
                  </a:lnTo>
                  <a:lnTo>
                    <a:pt x="40523" y="174288"/>
                  </a:lnTo>
                  <a:lnTo>
                    <a:pt x="43277" y="175862"/>
                  </a:lnTo>
                  <a:lnTo>
                    <a:pt x="46818" y="173108"/>
                  </a:lnTo>
                  <a:lnTo>
                    <a:pt x="47211" y="173108"/>
                  </a:lnTo>
                  <a:lnTo>
                    <a:pt x="35802" y="182943"/>
                  </a:lnTo>
                  <a:lnTo>
                    <a:pt x="34622" y="183730"/>
                  </a:lnTo>
                  <a:lnTo>
                    <a:pt x="31867" y="186484"/>
                  </a:lnTo>
                  <a:lnTo>
                    <a:pt x="50359" y="188845"/>
                  </a:lnTo>
                  <a:lnTo>
                    <a:pt x="50752" y="189238"/>
                  </a:lnTo>
                  <a:lnTo>
                    <a:pt x="48392" y="191599"/>
                  </a:lnTo>
                  <a:lnTo>
                    <a:pt x="49572" y="194746"/>
                  </a:lnTo>
                  <a:lnTo>
                    <a:pt x="51145" y="194746"/>
                  </a:lnTo>
                  <a:lnTo>
                    <a:pt x="52326" y="194746"/>
                  </a:lnTo>
                  <a:lnTo>
                    <a:pt x="49965" y="195926"/>
                  </a:lnTo>
                  <a:lnTo>
                    <a:pt x="33048" y="209303"/>
                  </a:lnTo>
                  <a:lnTo>
                    <a:pt x="24392" y="211663"/>
                  </a:lnTo>
                  <a:lnTo>
                    <a:pt x="23606" y="211270"/>
                  </a:lnTo>
                  <a:lnTo>
                    <a:pt x="20852" y="213631"/>
                  </a:lnTo>
                  <a:lnTo>
                    <a:pt x="18098" y="216384"/>
                  </a:lnTo>
                  <a:lnTo>
                    <a:pt x="20852" y="218745"/>
                  </a:lnTo>
                  <a:lnTo>
                    <a:pt x="19278" y="221499"/>
                  </a:lnTo>
                  <a:lnTo>
                    <a:pt x="22032" y="221892"/>
                  </a:lnTo>
                  <a:lnTo>
                    <a:pt x="23212" y="221892"/>
                  </a:lnTo>
                  <a:lnTo>
                    <a:pt x="24786" y="221499"/>
                  </a:lnTo>
                  <a:lnTo>
                    <a:pt x="25179" y="221892"/>
                  </a:lnTo>
                  <a:lnTo>
                    <a:pt x="23212" y="222286"/>
                  </a:lnTo>
                  <a:lnTo>
                    <a:pt x="20458" y="222679"/>
                  </a:lnTo>
                  <a:lnTo>
                    <a:pt x="23212" y="225040"/>
                  </a:lnTo>
                  <a:lnTo>
                    <a:pt x="25573" y="225040"/>
                  </a:lnTo>
                  <a:lnTo>
                    <a:pt x="28327" y="224253"/>
                  </a:lnTo>
                  <a:lnTo>
                    <a:pt x="31081" y="222679"/>
                  </a:lnTo>
                  <a:lnTo>
                    <a:pt x="32655" y="221892"/>
                  </a:lnTo>
                  <a:lnTo>
                    <a:pt x="35015" y="221106"/>
                  </a:lnTo>
                  <a:lnTo>
                    <a:pt x="36982" y="221106"/>
                  </a:lnTo>
                  <a:lnTo>
                    <a:pt x="39736" y="219532"/>
                  </a:lnTo>
                  <a:lnTo>
                    <a:pt x="39736" y="219925"/>
                  </a:lnTo>
                  <a:lnTo>
                    <a:pt x="40523" y="222679"/>
                  </a:lnTo>
                  <a:lnTo>
                    <a:pt x="43277" y="222679"/>
                  </a:lnTo>
                  <a:lnTo>
                    <a:pt x="46425" y="223073"/>
                  </a:lnTo>
                  <a:lnTo>
                    <a:pt x="46818" y="222679"/>
                  </a:lnTo>
                  <a:lnTo>
                    <a:pt x="46818" y="223466"/>
                  </a:lnTo>
                  <a:lnTo>
                    <a:pt x="44851" y="224253"/>
                  </a:lnTo>
                  <a:lnTo>
                    <a:pt x="42096" y="223860"/>
                  </a:lnTo>
                  <a:lnTo>
                    <a:pt x="43670" y="227007"/>
                  </a:lnTo>
                  <a:lnTo>
                    <a:pt x="46425" y="226614"/>
                  </a:lnTo>
                  <a:lnTo>
                    <a:pt x="47605" y="226614"/>
                  </a:lnTo>
                  <a:lnTo>
                    <a:pt x="50359" y="225040"/>
                  </a:lnTo>
                  <a:lnTo>
                    <a:pt x="54686" y="227400"/>
                  </a:lnTo>
                  <a:lnTo>
                    <a:pt x="56260" y="229368"/>
                  </a:lnTo>
                  <a:lnTo>
                    <a:pt x="59014" y="230941"/>
                  </a:lnTo>
                  <a:lnTo>
                    <a:pt x="60981" y="231728"/>
                  </a:lnTo>
                  <a:lnTo>
                    <a:pt x="63735" y="232122"/>
                  </a:lnTo>
                  <a:lnTo>
                    <a:pt x="66489" y="232122"/>
                  </a:lnTo>
                  <a:lnTo>
                    <a:pt x="69243" y="230941"/>
                  </a:lnTo>
                  <a:lnTo>
                    <a:pt x="71997" y="228187"/>
                  </a:lnTo>
                  <a:lnTo>
                    <a:pt x="74751" y="226614"/>
                  </a:lnTo>
                  <a:lnTo>
                    <a:pt x="75931" y="227007"/>
                  </a:lnTo>
                  <a:lnTo>
                    <a:pt x="78685" y="226614"/>
                  </a:lnTo>
                  <a:lnTo>
                    <a:pt x="81439" y="225433"/>
                  </a:lnTo>
                  <a:lnTo>
                    <a:pt x="82620" y="225040"/>
                  </a:lnTo>
                  <a:lnTo>
                    <a:pt x="83013" y="224646"/>
                  </a:lnTo>
                  <a:lnTo>
                    <a:pt x="87340" y="221892"/>
                  </a:lnTo>
                  <a:lnTo>
                    <a:pt x="87734" y="221499"/>
                  </a:lnTo>
                  <a:lnTo>
                    <a:pt x="90488" y="219532"/>
                  </a:lnTo>
                  <a:lnTo>
                    <a:pt x="86947" y="223073"/>
                  </a:lnTo>
                  <a:lnTo>
                    <a:pt x="84587" y="225433"/>
                  </a:lnTo>
                  <a:lnTo>
                    <a:pt x="84193" y="225827"/>
                  </a:lnTo>
                  <a:lnTo>
                    <a:pt x="83013" y="227400"/>
                  </a:lnTo>
                  <a:lnTo>
                    <a:pt x="81439" y="228974"/>
                  </a:lnTo>
                  <a:lnTo>
                    <a:pt x="79079" y="229368"/>
                  </a:lnTo>
                  <a:lnTo>
                    <a:pt x="76325" y="231728"/>
                  </a:lnTo>
                  <a:lnTo>
                    <a:pt x="73571" y="234482"/>
                  </a:lnTo>
                  <a:lnTo>
                    <a:pt x="73177" y="234876"/>
                  </a:lnTo>
                  <a:lnTo>
                    <a:pt x="73177" y="237629"/>
                  </a:lnTo>
                  <a:lnTo>
                    <a:pt x="54686" y="237236"/>
                  </a:lnTo>
                  <a:lnTo>
                    <a:pt x="53506" y="236843"/>
                  </a:lnTo>
                  <a:lnTo>
                    <a:pt x="50359" y="237236"/>
                  </a:lnTo>
                  <a:lnTo>
                    <a:pt x="47605" y="237629"/>
                  </a:lnTo>
                  <a:lnTo>
                    <a:pt x="44457" y="238023"/>
                  </a:lnTo>
                  <a:lnTo>
                    <a:pt x="41703" y="239597"/>
                  </a:lnTo>
                  <a:lnTo>
                    <a:pt x="41310" y="242351"/>
                  </a:lnTo>
                  <a:lnTo>
                    <a:pt x="34622" y="244318"/>
                  </a:lnTo>
                  <a:lnTo>
                    <a:pt x="33048" y="244318"/>
                  </a:lnTo>
                  <a:lnTo>
                    <a:pt x="32261" y="247072"/>
                  </a:lnTo>
                  <a:lnTo>
                    <a:pt x="19671" y="259661"/>
                  </a:lnTo>
                  <a:lnTo>
                    <a:pt x="18491" y="261235"/>
                  </a:lnTo>
                  <a:lnTo>
                    <a:pt x="17311" y="263989"/>
                  </a:lnTo>
                  <a:lnTo>
                    <a:pt x="14163" y="266350"/>
                  </a:lnTo>
                  <a:lnTo>
                    <a:pt x="11409" y="268710"/>
                  </a:lnTo>
                  <a:lnTo>
                    <a:pt x="8655" y="269890"/>
                  </a:lnTo>
                  <a:lnTo>
                    <a:pt x="5901" y="270284"/>
                  </a:lnTo>
                  <a:lnTo>
                    <a:pt x="3148" y="271464"/>
                  </a:lnTo>
                  <a:lnTo>
                    <a:pt x="0" y="273431"/>
                  </a:lnTo>
                  <a:lnTo>
                    <a:pt x="1574" y="276185"/>
                  </a:lnTo>
                  <a:lnTo>
                    <a:pt x="4328" y="275005"/>
                  </a:lnTo>
                  <a:lnTo>
                    <a:pt x="7082" y="273431"/>
                  </a:lnTo>
                  <a:lnTo>
                    <a:pt x="9836" y="274218"/>
                  </a:lnTo>
                  <a:lnTo>
                    <a:pt x="11409" y="276972"/>
                  </a:lnTo>
                  <a:lnTo>
                    <a:pt x="14163" y="276972"/>
                  </a:lnTo>
                  <a:lnTo>
                    <a:pt x="15737" y="276579"/>
                  </a:lnTo>
                  <a:lnTo>
                    <a:pt x="15737" y="275398"/>
                  </a:lnTo>
                  <a:lnTo>
                    <a:pt x="18491" y="272251"/>
                  </a:lnTo>
                  <a:lnTo>
                    <a:pt x="33441" y="265563"/>
                  </a:lnTo>
                  <a:lnTo>
                    <a:pt x="36195" y="265169"/>
                  </a:lnTo>
                  <a:lnTo>
                    <a:pt x="38949" y="263989"/>
                  </a:lnTo>
                  <a:lnTo>
                    <a:pt x="39343" y="263596"/>
                  </a:lnTo>
                  <a:lnTo>
                    <a:pt x="39736" y="262415"/>
                  </a:lnTo>
                  <a:lnTo>
                    <a:pt x="39736" y="263989"/>
                  </a:lnTo>
                  <a:lnTo>
                    <a:pt x="40129" y="264382"/>
                  </a:lnTo>
                  <a:lnTo>
                    <a:pt x="42096" y="266743"/>
                  </a:lnTo>
                  <a:lnTo>
                    <a:pt x="44851" y="267136"/>
                  </a:lnTo>
                  <a:lnTo>
                    <a:pt x="47605" y="268710"/>
                  </a:lnTo>
                  <a:lnTo>
                    <a:pt x="50359" y="270284"/>
                  </a:lnTo>
                  <a:lnTo>
                    <a:pt x="53113" y="268710"/>
                  </a:lnTo>
                  <a:lnTo>
                    <a:pt x="55866" y="265956"/>
                  </a:lnTo>
                  <a:lnTo>
                    <a:pt x="57047" y="262415"/>
                  </a:lnTo>
                  <a:lnTo>
                    <a:pt x="57833" y="260842"/>
                  </a:lnTo>
                  <a:lnTo>
                    <a:pt x="59407" y="258088"/>
                  </a:lnTo>
                  <a:lnTo>
                    <a:pt x="59801" y="255334"/>
                  </a:lnTo>
                  <a:lnTo>
                    <a:pt x="61374" y="257301"/>
                  </a:lnTo>
                  <a:lnTo>
                    <a:pt x="61768" y="257301"/>
                  </a:lnTo>
                  <a:lnTo>
                    <a:pt x="62162" y="256907"/>
                  </a:lnTo>
                  <a:lnTo>
                    <a:pt x="73177" y="253367"/>
                  </a:lnTo>
                  <a:lnTo>
                    <a:pt x="75931" y="253367"/>
                  </a:lnTo>
                  <a:lnTo>
                    <a:pt x="77899" y="253760"/>
                  </a:lnTo>
                  <a:lnTo>
                    <a:pt x="83406" y="256514"/>
                  </a:lnTo>
                  <a:lnTo>
                    <a:pt x="86160" y="258875"/>
                  </a:lnTo>
                  <a:lnTo>
                    <a:pt x="87340" y="256121"/>
                  </a:lnTo>
                  <a:lnTo>
                    <a:pt x="90488" y="256514"/>
                  </a:lnTo>
                  <a:lnTo>
                    <a:pt x="93636" y="256514"/>
                  </a:lnTo>
                  <a:lnTo>
                    <a:pt x="96389" y="257694"/>
                  </a:lnTo>
                  <a:lnTo>
                    <a:pt x="99143" y="254940"/>
                  </a:lnTo>
                  <a:lnTo>
                    <a:pt x="95996" y="253367"/>
                  </a:lnTo>
                  <a:lnTo>
                    <a:pt x="104258" y="253367"/>
                  </a:lnTo>
                  <a:lnTo>
                    <a:pt x="106618" y="252973"/>
                  </a:lnTo>
                  <a:lnTo>
                    <a:pt x="107406" y="252973"/>
                  </a:lnTo>
                  <a:lnTo>
                    <a:pt x="110159" y="252580"/>
                  </a:lnTo>
                  <a:lnTo>
                    <a:pt x="113307" y="251793"/>
                  </a:lnTo>
                  <a:lnTo>
                    <a:pt x="113307" y="251793"/>
                  </a:lnTo>
                  <a:lnTo>
                    <a:pt x="122356" y="250219"/>
                  </a:lnTo>
                  <a:lnTo>
                    <a:pt x="123143" y="250613"/>
                  </a:lnTo>
                  <a:lnTo>
                    <a:pt x="126290" y="249432"/>
                  </a:lnTo>
                  <a:lnTo>
                    <a:pt x="127864" y="252186"/>
                  </a:lnTo>
                  <a:lnTo>
                    <a:pt x="130617" y="251793"/>
                  </a:lnTo>
                  <a:lnTo>
                    <a:pt x="133372" y="251399"/>
                  </a:lnTo>
                  <a:lnTo>
                    <a:pt x="136125" y="251006"/>
                  </a:lnTo>
                  <a:lnTo>
                    <a:pt x="139273" y="250613"/>
                  </a:lnTo>
                  <a:lnTo>
                    <a:pt x="142027" y="250219"/>
                  </a:lnTo>
                  <a:lnTo>
                    <a:pt x="144781" y="249826"/>
                  </a:lnTo>
                  <a:lnTo>
                    <a:pt x="149895" y="251399"/>
                  </a:lnTo>
                  <a:lnTo>
                    <a:pt x="152650" y="252186"/>
                  </a:lnTo>
                  <a:lnTo>
                    <a:pt x="155403" y="252580"/>
                  </a:lnTo>
                  <a:lnTo>
                    <a:pt x="158551" y="251006"/>
                  </a:lnTo>
                  <a:lnTo>
                    <a:pt x="161305" y="249432"/>
                  </a:lnTo>
                  <a:lnTo>
                    <a:pt x="164059" y="249039"/>
                  </a:lnTo>
                  <a:lnTo>
                    <a:pt x="166813" y="248645"/>
                  </a:lnTo>
                  <a:lnTo>
                    <a:pt x="169567" y="246678"/>
                  </a:lnTo>
                  <a:lnTo>
                    <a:pt x="175075" y="246678"/>
                  </a:lnTo>
                  <a:lnTo>
                    <a:pt x="175468" y="243531"/>
                  </a:lnTo>
                  <a:lnTo>
                    <a:pt x="178222" y="241957"/>
                  </a:lnTo>
                  <a:lnTo>
                    <a:pt x="181370" y="241170"/>
                  </a:lnTo>
                  <a:lnTo>
                    <a:pt x="184124" y="240777"/>
                  </a:lnTo>
                  <a:lnTo>
                    <a:pt x="186878" y="238023"/>
                  </a:lnTo>
                  <a:lnTo>
                    <a:pt x="186484" y="235269"/>
                  </a:lnTo>
                  <a:lnTo>
                    <a:pt x="185697" y="232515"/>
                  </a:lnTo>
                  <a:lnTo>
                    <a:pt x="182550" y="232515"/>
                  </a:lnTo>
                  <a:lnTo>
                    <a:pt x="179796" y="232908"/>
                  </a:lnTo>
                  <a:lnTo>
                    <a:pt x="177042" y="233302"/>
                  </a:lnTo>
                  <a:lnTo>
                    <a:pt x="173894" y="233695"/>
                  </a:lnTo>
                  <a:lnTo>
                    <a:pt x="171141" y="233302"/>
                  </a:lnTo>
                  <a:lnTo>
                    <a:pt x="167993" y="232122"/>
                  </a:lnTo>
                  <a:lnTo>
                    <a:pt x="165239" y="231728"/>
                  </a:lnTo>
                  <a:lnTo>
                    <a:pt x="166813" y="231335"/>
                  </a:lnTo>
                  <a:lnTo>
                    <a:pt x="169567" y="229761"/>
                  </a:lnTo>
                  <a:lnTo>
                    <a:pt x="166813" y="229368"/>
                  </a:lnTo>
                  <a:lnTo>
                    <a:pt x="164846" y="229368"/>
                  </a:lnTo>
                  <a:lnTo>
                    <a:pt x="169173" y="227794"/>
                  </a:lnTo>
                  <a:lnTo>
                    <a:pt x="169567" y="227794"/>
                  </a:lnTo>
                  <a:lnTo>
                    <a:pt x="172321" y="227400"/>
                  </a:lnTo>
                  <a:lnTo>
                    <a:pt x="175075" y="224646"/>
                  </a:lnTo>
                  <a:lnTo>
                    <a:pt x="173894" y="221892"/>
                  </a:lnTo>
                  <a:lnTo>
                    <a:pt x="171141" y="222286"/>
                  </a:lnTo>
                  <a:lnTo>
                    <a:pt x="172321" y="221106"/>
                  </a:lnTo>
                  <a:lnTo>
                    <a:pt x="173108" y="221106"/>
                  </a:lnTo>
                  <a:lnTo>
                    <a:pt x="175861" y="218745"/>
                  </a:lnTo>
                  <a:lnTo>
                    <a:pt x="178616" y="219925"/>
                  </a:lnTo>
                  <a:lnTo>
                    <a:pt x="181370" y="219532"/>
                  </a:lnTo>
                  <a:lnTo>
                    <a:pt x="184517" y="217565"/>
                  </a:lnTo>
                  <a:lnTo>
                    <a:pt x="182157" y="214811"/>
                  </a:lnTo>
                  <a:lnTo>
                    <a:pt x="179796" y="214417"/>
                  </a:lnTo>
                  <a:lnTo>
                    <a:pt x="181370" y="214024"/>
                  </a:lnTo>
                  <a:lnTo>
                    <a:pt x="184124" y="213631"/>
                  </a:lnTo>
                  <a:lnTo>
                    <a:pt x="181763" y="212450"/>
                  </a:lnTo>
                  <a:lnTo>
                    <a:pt x="181763" y="212450"/>
                  </a:lnTo>
                  <a:lnTo>
                    <a:pt x="184124" y="213237"/>
                  </a:lnTo>
                  <a:lnTo>
                    <a:pt x="186878" y="214024"/>
                  </a:lnTo>
                  <a:lnTo>
                    <a:pt x="189631" y="211270"/>
                  </a:lnTo>
                  <a:lnTo>
                    <a:pt x="192386" y="209696"/>
                  </a:lnTo>
                  <a:lnTo>
                    <a:pt x="193566" y="206549"/>
                  </a:lnTo>
                  <a:lnTo>
                    <a:pt x="193959" y="203795"/>
                  </a:lnTo>
                  <a:lnTo>
                    <a:pt x="196320" y="201041"/>
                  </a:lnTo>
                  <a:lnTo>
                    <a:pt x="197500" y="198287"/>
                  </a:lnTo>
                  <a:lnTo>
                    <a:pt x="197107" y="195926"/>
                  </a:lnTo>
                  <a:lnTo>
                    <a:pt x="197107" y="193959"/>
                  </a:lnTo>
                  <a:lnTo>
                    <a:pt x="196320" y="190812"/>
                  </a:lnTo>
                  <a:lnTo>
                    <a:pt x="194746" y="188058"/>
                  </a:lnTo>
                  <a:lnTo>
                    <a:pt x="191992" y="186484"/>
                  </a:lnTo>
                  <a:lnTo>
                    <a:pt x="189238" y="184517"/>
                  </a:lnTo>
                  <a:lnTo>
                    <a:pt x="186484" y="183337"/>
                  </a:lnTo>
                  <a:lnTo>
                    <a:pt x="183730" y="182943"/>
                  </a:lnTo>
                  <a:lnTo>
                    <a:pt x="180976" y="182550"/>
                  </a:lnTo>
                  <a:lnTo>
                    <a:pt x="177829" y="182943"/>
                  </a:lnTo>
                  <a:lnTo>
                    <a:pt x="175075" y="182550"/>
                  </a:lnTo>
                  <a:lnTo>
                    <a:pt x="172321" y="182156"/>
                  </a:lnTo>
                  <a:lnTo>
                    <a:pt x="169567" y="182550"/>
                  </a:lnTo>
                  <a:lnTo>
                    <a:pt x="166420" y="183337"/>
                  </a:lnTo>
                  <a:lnTo>
                    <a:pt x="164846" y="186091"/>
                  </a:lnTo>
                  <a:lnTo>
                    <a:pt x="163272" y="188845"/>
                  </a:lnTo>
                  <a:lnTo>
                    <a:pt x="160912" y="187664"/>
                  </a:lnTo>
                  <a:lnTo>
                    <a:pt x="159338" y="187271"/>
                  </a:lnTo>
                  <a:lnTo>
                    <a:pt x="156584" y="184910"/>
                  </a:lnTo>
                  <a:lnTo>
                    <a:pt x="153830" y="184910"/>
                  </a:lnTo>
                  <a:lnTo>
                    <a:pt x="154617" y="183337"/>
                  </a:lnTo>
                  <a:lnTo>
                    <a:pt x="157371" y="181763"/>
                  </a:lnTo>
                  <a:lnTo>
                    <a:pt x="160124" y="179402"/>
                  </a:lnTo>
                  <a:lnTo>
                    <a:pt x="162879" y="177042"/>
                  </a:lnTo>
                  <a:lnTo>
                    <a:pt x="163272" y="174288"/>
                  </a:lnTo>
                  <a:lnTo>
                    <a:pt x="162092" y="171534"/>
                  </a:lnTo>
                  <a:lnTo>
                    <a:pt x="160912" y="168780"/>
                  </a:lnTo>
                  <a:lnTo>
                    <a:pt x="158157" y="166026"/>
                  </a:lnTo>
                  <a:lnTo>
                    <a:pt x="155403" y="164452"/>
                  </a:lnTo>
                  <a:lnTo>
                    <a:pt x="155010" y="164059"/>
                  </a:lnTo>
                  <a:lnTo>
                    <a:pt x="151469" y="161698"/>
                  </a:lnTo>
                  <a:lnTo>
                    <a:pt x="149502" y="159731"/>
                  </a:lnTo>
                  <a:lnTo>
                    <a:pt x="146748" y="158157"/>
                  </a:lnTo>
                  <a:lnTo>
                    <a:pt x="144387" y="158551"/>
                  </a:lnTo>
                  <a:lnTo>
                    <a:pt x="143994" y="158157"/>
                  </a:lnTo>
                  <a:lnTo>
                    <a:pt x="141240" y="158157"/>
                  </a:lnTo>
                  <a:lnTo>
                    <a:pt x="138093" y="158551"/>
                  </a:lnTo>
                  <a:lnTo>
                    <a:pt x="137306" y="158157"/>
                  </a:lnTo>
                  <a:lnTo>
                    <a:pt x="144781" y="157764"/>
                  </a:lnTo>
                  <a:lnTo>
                    <a:pt x="146748" y="157371"/>
                  </a:lnTo>
                  <a:lnTo>
                    <a:pt x="151863" y="158944"/>
                  </a:lnTo>
                  <a:lnTo>
                    <a:pt x="153043" y="160125"/>
                  </a:lnTo>
                  <a:lnTo>
                    <a:pt x="155797" y="160125"/>
                  </a:lnTo>
                  <a:lnTo>
                    <a:pt x="156190" y="160125"/>
                  </a:lnTo>
                  <a:lnTo>
                    <a:pt x="159338" y="161698"/>
                  </a:lnTo>
                  <a:lnTo>
                    <a:pt x="158157" y="158944"/>
                  </a:lnTo>
                  <a:lnTo>
                    <a:pt x="155797" y="156190"/>
                  </a:lnTo>
                  <a:lnTo>
                    <a:pt x="152256" y="145961"/>
                  </a:lnTo>
                  <a:lnTo>
                    <a:pt x="154223" y="144781"/>
                  </a:lnTo>
                  <a:lnTo>
                    <a:pt x="151469" y="143601"/>
                  </a:lnTo>
                  <a:lnTo>
                    <a:pt x="149502" y="141633"/>
                  </a:lnTo>
                  <a:lnTo>
                    <a:pt x="148322" y="140847"/>
                  </a:lnTo>
                  <a:lnTo>
                    <a:pt x="146354" y="138880"/>
                  </a:lnTo>
                  <a:lnTo>
                    <a:pt x="145568" y="136519"/>
                  </a:lnTo>
                  <a:lnTo>
                    <a:pt x="143601" y="133765"/>
                  </a:lnTo>
                  <a:lnTo>
                    <a:pt x="140847" y="132191"/>
                  </a:lnTo>
                  <a:lnTo>
                    <a:pt x="137699" y="130618"/>
                  </a:lnTo>
                  <a:lnTo>
                    <a:pt x="136519" y="130618"/>
                  </a:lnTo>
                  <a:lnTo>
                    <a:pt x="134158" y="129831"/>
                  </a:lnTo>
                  <a:lnTo>
                    <a:pt x="131011" y="129044"/>
                  </a:lnTo>
                  <a:lnTo>
                    <a:pt x="128257" y="129437"/>
                  </a:lnTo>
                  <a:lnTo>
                    <a:pt x="127470" y="127077"/>
                  </a:lnTo>
                  <a:lnTo>
                    <a:pt x="125896" y="125503"/>
                  </a:lnTo>
                  <a:lnTo>
                    <a:pt x="125503" y="125110"/>
                  </a:lnTo>
                  <a:lnTo>
                    <a:pt x="125503" y="124716"/>
                  </a:lnTo>
                  <a:lnTo>
                    <a:pt x="125896" y="125503"/>
                  </a:lnTo>
                  <a:lnTo>
                    <a:pt x="123536" y="118815"/>
                  </a:lnTo>
                  <a:lnTo>
                    <a:pt x="123929" y="120388"/>
                  </a:lnTo>
                  <a:lnTo>
                    <a:pt x="123536" y="119208"/>
                  </a:lnTo>
                  <a:lnTo>
                    <a:pt x="122356" y="116454"/>
                  </a:lnTo>
                  <a:lnTo>
                    <a:pt x="121962" y="116061"/>
                  </a:lnTo>
                  <a:lnTo>
                    <a:pt x="121176" y="114487"/>
                  </a:lnTo>
                  <a:lnTo>
                    <a:pt x="120388" y="112520"/>
                  </a:lnTo>
                  <a:lnTo>
                    <a:pt x="119208" y="106225"/>
                  </a:lnTo>
                  <a:lnTo>
                    <a:pt x="118421" y="103865"/>
                  </a:lnTo>
                  <a:lnTo>
                    <a:pt x="118815" y="100717"/>
                  </a:lnTo>
                  <a:lnTo>
                    <a:pt x="117635" y="97963"/>
                  </a:lnTo>
                  <a:lnTo>
                    <a:pt x="114880" y="96389"/>
                  </a:lnTo>
                  <a:lnTo>
                    <a:pt x="112127" y="94422"/>
                  </a:lnTo>
                  <a:lnTo>
                    <a:pt x="109373" y="91668"/>
                  </a:lnTo>
                  <a:lnTo>
                    <a:pt x="108586" y="90488"/>
                  </a:lnTo>
                  <a:lnTo>
                    <a:pt x="108192" y="90095"/>
                  </a:lnTo>
                  <a:lnTo>
                    <a:pt x="106225" y="87341"/>
                  </a:lnTo>
                  <a:lnTo>
                    <a:pt x="103078" y="86947"/>
                  </a:lnTo>
                  <a:lnTo>
                    <a:pt x="100324" y="85767"/>
                  </a:lnTo>
                  <a:lnTo>
                    <a:pt x="98750" y="84980"/>
                  </a:lnTo>
                  <a:lnTo>
                    <a:pt x="95603" y="84587"/>
                  </a:lnTo>
                  <a:lnTo>
                    <a:pt x="92849" y="82620"/>
                  </a:lnTo>
                  <a:lnTo>
                    <a:pt x="90095" y="82620"/>
                  </a:lnTo>
                  <a:lnTo>
                    <a:pt x="87340" y="84980"/>
                  </a:lnTo>
                  <a:lnTo>
                    <a:pt x="86554" y="85374"/>
                  </a:lnTo>
                  <a:lnTo>
                    <a:pt x="75538" y="84980"/>
                  </a:lnTo>
                  <a:lnTo>
                    <a:pt x="75144" y="84980"/>
                  </a:lnTo>
                  <a:lnTo>
                    <a:pt x="72391" y="84587"/>
                  </a:lnTo>
                  <a:lnTo>
                    <a:pt x="66882" y="83013"/>
                  </a:lnTo>
                  <a:lnTo>
                    <a:pt x="64522" y="81046"/>
                  </a:lnTo>
                  <a:lnTo>
                    <a:pt x="66489" y="82226"/>
                  </a:lnTo>
                  <a:lnTo>
                    <a:pt x="67276" y="82620"/>
                  </a:lnTo>
                  <a:lnTo>
                    <a:pt x="70817" y="83406"/>
                  </a:lnTo>
                  <a:lnTo>
                    <a:pt x="71603" y="83406"/>
                  </a:lnTo>
                  <a:lnTo>
                    <a:pt x="74751" y="83800"/>
                  </a:lnTo>
                  <a:lnTo>
                    <a:pt x="75144" y="83800"/>
                  </a:lnTo>
                  <a:lnTo>
                    <a:pt x="76325" y="83406"/>
                  </a:lnTo>
                  <a:lnTo>
                    <a:pt x="79079" y="82620"/>
                  </a:lnTo>
                  <a:lnTo>
                    <a:pt x="82226" y="80259"/>
                  </a:lnTo>
                  <a:lnTo>
                    <a:pt x="84980" y="78685"/>
                  </a:lnTo>
                  <a:lnTo>
                    <a:pt x="85373" y="78292"/>
                  </a:lnTo>
                  <a:lnTo>
                    <a:pt x="88521" y="77898"/>
                  </a:lnTo>
                  <a:lnTo>
                    <a:pt x="91275" y="77898"/>
                  </a:lnTo>
                  <a:lnTo>
                    <a:pt x="94029" y="76718"/>
                  </a:lnTo>
                  <a:lnTo>
                    <a:pt x="93242" y="73964"/>
                  </a:lnTo>
                  <a:lnTo>
                    <a:pt x="90488" y="73177"/>
                  </a:lnTo>
                  <a:lnTo>
                    <a:pt x="90488" y="70423"/>
                  </a:lnTo>
                  <a:lnTo>
                    <a:pt x="87340" y="70423"/>
                  </a:lnTo>
                  <a:lnTo>
                    <a:pt x="86554" y="70817"/>
                  </a:lnTo>
                  <a:lnTo>
                    <a:pt x="84980" y="71210"/>
                  </a:lnTo>
                  <a:lnTo>
                    <a:pt x="83406" y="71997"/>
                  </a:lnTo>
                  <a:lnTo>
                    <a:pt x="79079" y="73177"/>
                  </a:lnTo>
                  <a:lnTo>
                    <a:pt x="78292" y="73177"/>
                  </a:lnTo>
                  <a:lnTo>
                    <a:pt x="77899" y="72784"/>
                  </a:lnTo>
                  <a:lnTo>
                    <a:pt x="80652" y="71997"/>
                  </a:lnTo>
                  <a:lnTo>
                    <a:pt x="81046" y="71604"/>
                  </a:lnTo>
                  <a:lnTo>
                    <a:pt x="86160" y="70030"/>
                  </a:lnTo>
                  <a:lnTo>
                    <a:pt x="86554" y="69636"/>
                  </a:lnTo>
                  <a:lnTo>
                    <a:pt x="86947" y="69636"/>
                  </a:lnTo>
                  <a:lnTo>
                    <a:pt x="89701" y="69243"/>
                  </a:lnTo>
                  <a:lnTo>
                    <a:pt x="92455" y="68850"/>
                  </a:lnTo>
                  <a:lnTo>
                    <a:pt x="95209" y="67276"/>
                  </a:lnTo>
                  <a:lnTo>
                    <a:pt x="98357" y="65309"/>
                  </a:lnTo>
                  <a:lnTo>
                    <a:pt x="99537" y="62555"/>
                  </a:lnTo>
                  <a:lnTo>
                    <a:pt x="100324" y="60981"/>
                  </a:lnTo>
                  <a:lnTo>
                    <a:pt x="103078" y="59407"/>
                  </a:lnTo>
                  <a:lnTo>
                    <a:pt x="105832" y="57047"/>
                  </a:lnTo>
                  <a:lnTo>
                    <a:pt x="106618" y="54293"/>
                  </a:lnTo>
                  <a:lnTo>
                    <a:pt x="109373" y="51145"/>
                  </a:lnTo>
                  <a:lnTo>
                    <a:pt x="110553" y="48785"/>
                  </a:lnTo>
                  <a:lnTo>
                    <a:pt x="110553" y="47211"/>
                  </a:lnTo>
                  <a:lnTo>
                    <a:pt x="111340" y="44457"/>
                  </a:lnTo>
                  <a:lnTo>
                    <a:pt x="113700" y="41703"/>
                  </a:lnTo>
                  <a:lnTo>
                    <a:pt x="116454" y="39736"/>
                  </a:lnTo>
                  <a:lnTo>
                    <a:pt x="118421" y="36982"/>
                  </a:lnTo>
                  <a:lnTo>
                    <a:pt x="117635" y="34228"/>
                  </a:lnTo>
                  <a:lnTo>
                    <a:pt x="115667" y="31474"/>
                  </a:lnTo>
                  <a:lnTo>
                    <a:pt x="112913" y="29900"/>
                  </a:lnTo>
                  <a:lnTo>
                    <a:pt x="110159" y="30294"/>
                  </a:lnTo>
                  <a:lnTo>
                    <a:pt x="107406" y="30687"/>
                  </a:lnTo>
                  <a:lnTo>
                    <a:pt x="104258" y="31081"/>
                  </a:lnTo>
                  <a:lnTo>
                    <a:pt x="101504" y="30687"/>
                  </a:lnTo>
                  <a:lnTo>
                    <a:pt x="98750" y="30294"/>
                  </a:lnTo>
                  <a:lnTo>
                    <a:pt x="95603" y="30687"/>
                  </a:lnTo>
                  <a:lnTo>
                    <a:pt x="92849" y="29900"/>
                  </a:lnTo>
                  <a:lnTo>
                    <a:pt x="89701" y="30687"/>
                  </a:lnTo>
                  <a:lnTo>
                    <a:pt x="86947" y="31081"/>
                  </a:lnTo>
                  <a:lnTo>
                    <a:pt x="86554" y="31081"/>
                  </a:lnTo>
                  <a:lnTo>
                    <a:pt x="83800" y="30294"/>
                  </a:lnTo>
                  <a:lnTo>
                    <a:pt x="80652" y="29507"/>
                  </a:lnTo>
                  <a:lnTo>
                    <a:pt x="77899" y="29900"/>
                  </a:lnTo>
                  <a:lnTo>
                    <a:pt x="75144" y="31474"/>
                  </a:lnTo>
                  <a:lnTo>
                    <a:pt x="73571" y="31474"/>
                  </a:lnTo>
                  <a:lnTo>
                    <a:pt x="70817" y="32654"/>
                  </a:lnTo>
                  <a:lnTo>
                    <a:pt x="70423" y="32654"/>
                  </a:lnTo>
                  <a:lnTo>
                    <a:pt x="68456" y="33441"/>
                  </a:lnTo>
                  <a:lnTo>
                    <a:pt x="67276" y="33835"/>
                  </a:lnTo>
                  <a:lnTo>
                    <a:pt x="64129" y="33835"/>
                  </a:lnTo>
                  <a:lnTo>
                    <a:pt x="61374" y="35802"/>
                  </a:lnTo>
                  <a:lnTo>
                    <a:pt x="58227" y="36982"/>
                  </a:lnTo>
                  <a:lnTo>
                    <a:pt x="58621" y="35408"/>
                  </a:lnTo>
                  <a:lnTo>
                    <a:pt x="61374" y="34228"/>
                  </a:lnTo>
                  <a:lnTo>
                    <a:pt x="62948" y="31474"/>
                  </a:lnTo>
                  <a:lnTo>
                    <a:pt x="60194" y="31474"/>
                  </a:lnTo>
                  <a:lnTo>
                    <a:pt x="57440" y="32654"/>
                  </a:lnTo>
                  <a:lnTo>
                    <a:pt x="57440" y="31474"/>
                  </a:lnTo>
                  <a:lnTo>
                    <a:pt x="60588" y="31081"/>
                  </a:lnTo>
                  <a:lnTo>
                    <a:pt x="63735" y="29507"/>
                  </a:lnTo>
                  <a:lnTo>
                    <a:pt x="66489" y="29507"/>
                  </a:lnTo>
                  <a:lnTo>
                    <a:pt x="68063" y="26753"/>
                  </a:lnTo>
                  <a:lnTo>
                    <a:pt x="65309" y="26360"/>
                  </a:lnTo>
                  <a:lnTo>
                    <a:pt x="62162" y="25966"/>
                  </a:lnTo>
                  <a:lnTo>
                    <a:pt x="59014" y="25573"/>
                  </a:lnTo>
                  <a:lnTo>
                    <a:pt x="56260" y="24392"/>
                  </a:lnTo>
                  <a:lnTo>
                    <a:pt x="55866" y="23999"/>
                  </a:lnTo>
                  <a:lnTo>
                    <a:pt x="55473" y="23606"/>
                  </a:lnTo>
                  <a:lnTo>
                    <a:pt x="56260" y="23606"/>
                  </a:lnTo>
                  <a:lnTo>
                    <a:pt x="56654" y="23999"/>
                  </a:lnTo>
                  <a:lnTo>
                    <a:pt x="59407" y="24392"/>
                  </a:lnTo>
                  <a:lnTo>
                    <a:pt x="62555" y="24786"/>
                  </a:lnTo>
                  <a:lnTo>
                    <a:pt x="63342" y="21638"/>
                  </a:lnTo>
                  <a:lnTo>
                    <a:pt x="63735" y="21245"/>
                  </a:lnTo>
                  <a:lnTo>
                    <a:pt x="66096" y="21245"/>
                  </a:lnTo>
                  <a:lnTo>
                    <a:pt x="68456" y="20065"/>
                  </a:lnTo>
                  <a:lnTo>
                    <a:pt x="70817" y="18491"/>
                  </a:lnTo>
                  <a:lnTo>
                    <a:pt x="74751" y="16524"/>
                  </a:lnTo>
                  <a:lnTo>
                    <a:pt x="76325" y="15737"/>
                  </a:lnTo>
                  <a:lnTo>
                    <a:pt x="79472" y="13770"/>
                  </a:lnTo>
                  <a:lnTo>
                    <a:pt x="82226" y="11409"/>
                  </a:lnTo>
                  <a:lnTo>
                    <a:pt x="85373" y="11016"/>
                  </a:lnTo>
                  <a:lnTo>
                    <a:pt x="88128" y="8655"/>
                  </a:lnTo>
                  <a:lnTo>
                    <a:pt x="90095" y="5901"/>
                  </a:lnTo>
                  <a:lnTo>
                    <a:pt x="89701" y="2754"/>
                  </a:lnTo>
                  <a:lnTo>
                    <a:pt x="89308" y="0"/>
                  </a:lnTo>
                  <a:lnTo>
                    <a:pt x="83406" y="0"/>
                  </a:lnTo>
                  <a:lnTo>
                    <a:pt x="79079" y="1574"/>
                  </a:lnTo>
                  <a:lnTo>
                    <a:pt x="75931" y="787"/>
                  </a:lnTo>
                  <a:lnTo>
                    <a:pt x="73177" y="2361"/>
                  </a:lnTo>
                  <a:lnTo>
                    <a:pt x="70030" y="2754"/>
                  </a:lnTo>
                  <a:lnTo>
                    <a:pt x="67276" y="2361"/>
                  </a:lnTo>
                  <a:lnTo>
                    <a:pt x="64522" y="2361"/>
                  </a:lnTo>
                  <a:lnTo>
                    <a:pt x="61374" y="3934"/>
                  </a:lnTo>
                  <a:lnTo>
                    <a:pt x="59801" y="3541"/>
                  </a:lnTo>
                  <a:lnTo>
                    <a:pt x="57047" y="5115"/>
                  </a:lnTo>
                  <a:lnTo>
                    <a:pt x="56260" y="4721"/>
                  </a:lnTo>
                  <a:lnTo>
                    <a:pt x="55473" y="2361"/>
                  </a:lnTo>
                  <a:lnTo>
                    <a:pt x="53113" y="3541"/>
                  </a:lnTo>
                  <a:lnTo>
                    <a:pt x="50359" y="2754"/>
                  </a:lnTo>
                  <a:lnTo>
                    <a:pt x="50359" y="2754"/>
                  </a:lnTo>
                  <a:lnTo>
                    <a:pt x="49965" y="2754"/>
                  </a:lnTo>
                  <a:lnTo>
                    <a:pt x="46818" y="1574"/>
                  </a:lnTo>
                  <a:lnTo>
                    <a:pt x="46425" y="787"/>
                  </a:lnTo>
                  <a:lnTo>
                    <a:pt x="43277" y="393"/>
                  </a:lnTo>
                  <a:lnTo>
                    <a:pt x="41703" y="3147"/>
                  </a:lnTo>
                  <a:lnTo>
                    <a:pt x="42490" y="5901"/>
                  </a:lnTo>
                  <a:lnTo>
                    <a:pt x="42490" y="6295"/>
                  </a:lnTo>
                  <a:lnTo>
                    <a:pt x="41310" y="7869"/>
                  </a:lnTo>
                  <a:lnTo>
                    <a:pt x="38556" y="9836"/>
                  </a:lnTo>
                  <a:lnTo>
                    <a:pt x="41310" y="12196"/>
                  </a:lnTo>
                  <a:lnTo>
                    <a:pt x="41703" y="11803"/>
                  </a:lnTo>
                  <a:lnTo>
                    <a:pt x="41703" y="12590"/>
                  </a:lnTo>
                  <a:lnTo>
                    <a:pt x="41310" y="12590"/>
                  </a:lnTo>
                  <a:lnTo>
                    <a:pt x="38949" y="11803"/>
                  </a:lnTo>
                  <a:lnTo>
                    <a:pt x="36195" y="12196"/>
                  </a:lnTo>
                  <a:lnTo>
                    <a:pt x="33048" y="14557"/>
                  </a:lnTo>
                  <a:lnTo>
                    <a:pt x="34228" y="17311"/>
                  </a:lnTo>
                  <a:lnTo>
                    <a:pt x="31474" y="19278"/>
                  </a:lnTo>
                  <a:lnTo>
                    <a:pt x="33441" y="20458"/>
                  </a:lnTo>
                  <a:lnTo>
                    <a:pt x="30687" y="23212"/>
                  </a:lnTo>
                  <a:lnTo>
                    <a:pt x="30687" y="23212"/>
                  </a:lnTo>
                  <a:lnTo>
                    <a:pt x="27933" y="24786"/>
                  </a:lnTo>
                  <a:lnTo>
                    <a:pt x="24786" y="24392"/>
                  </a:lnTo>
                  <a:lnTo>
                    <a:pt x="24392" y="27146"/>
                  </a:lnTo>
                  <a:lnTo>
                    <a:pt x="23212" y="24392"/>
                  </a:lnTo>
                  <a:lnTo>
                    <a:pt x="20458" y="26753"/>
                  </a:lnTo>
                  <a:lnTo>
                    <a:pt x="20458" y="29900"/>
                  </a:lnTo>
                  <a:lnTo>
                    <a:pt x="21638" y="32654"/>
                  </a:lnTo>
                  <a:lnTo>
                    <a:pt x="21638" y="34622"/>
                  </a:lnTo>
                  <a:lnTo>
                    <a:pt x="21638" y="34622"/>
                  </a:lnTo>
                  <a:close/>
                  <a:moveTo>
                    <a:pt x="44064" y="85374"/>
                  </a:moveTo>
                  <a:lnTo>
                    <a:pt x="44851" y="85374"/>
                  </a:lnTo>
                  <a:lnTo>
                    <a:pt x="45244" y="85767"/>
                  </a:lnTo>
                  <a:lnTo>
                    <a:pt x="44064" y="85374"/>
                  </a:lnTo>
                  <a:close/>
                  <a:moveTo>
                    <a:pt x="83800" y="169173"/>
                  </a:moveTo>
                  <a:lnTo>
                    <a:pt x="84193" y="168780"/>
                  </a:lnTo>
                  <a:lnTo>
                    <a:pt x="84587" y="169173"/>
                  </a:lnTo>
                  <a:lnTo>
                    <a:pt x="83800" y="169173"/>
                  </a:lnTo>
                  <a:lnTo>
                    <a:pt x="83013" y="169567"/>
                  </a:lnTo>
                  <a:lnTo>
                    <a:pt x="83800" y="16917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17" name="Freeform: Shape 3411">
              <a:extLst>
                <a:ext uri="{FF2B5EF4-FFF2-40B4-BE49-F238E27FC236}">
                  <a16:creationId xmlns:a16="http://schemas.microsoft.com/office/drawing/2014/main" id="{C8F19454-52D7-4C99-945D-8A2960175B13}"/>
                </a:ext>
              </a:extLst>
            </p:cNvPr>
            <p:cNvSpPr/>
            <p:nvPr/>
          </p:nvSpPr>
          <p:spPr>
            <a:xfrm>
              <a:off x="5937056" y="1801831"/>
              <a:ext cx="3934" cy="3934"/>
            </a:xfrm>
            <a:custGeom>
              <a:avLst/>
              <a:gdLst>
                <a:gd name="connsiteX0" fmla="*/ 2754 w 3934"/>
                <a:gd name="connsiteY0" fmla="*/ 0 h 0"/>
                <a:gd name="connsiteX1" fmla="*/ 0 w 3934"/>
                <a:gd name="connsiteY1" fmla="*/ 1574 h 0"/>
                <a:gd name="connsiteX2" fmla="*/ 2754 w 3934"/>
                <a:gd name="connsiteY2" fmla="*/ 3541 h 0"/>
                <a:gd name="connsiteX3" fmla="*/ 4721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2754" y="0"/>
                  </a:moveTo>
                  <a:lnTo>
                    <a:pt x="0" y="1574"/>
                  </a:lnTo>
                  <a:lnTo>
                    <a:pt x="2754" y="3541"/>
                  </a:lnTo>
                  <a:lnTo>
                    <a:pt x="4721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18" name="Freeform: Shape 3412">
              <a:extLst>
                <a:ext uri="{FF2B5EF4-FFF2-40B4-BE49-F238E27FC236}">
                  <a16:creationId xmlns:a16="http://schemas.microsoft.com/office/drawing/2014/main" id="{5A23F72B-823E-4225-AE7C-AC4B730B784F}"/>
                </a:ext>
              </a:extLst>
            </p:cNvPr>
            <p:cNvSpPr/>
            <p:nvPr/>
          </p:nvSpPr>
          <p:spPr>
            <a:xfrm>
              <a:off x="5947678" y="1787274"/>
              <a:ext cx="3934" cy="3934"/>
            </a:xfrm>
            <a:custGeom>
              <a:avLst/>
              <a:gdLst>
                <a:gd name="connsiteX0" fmla="*/ 0 w 0"/>
                <a:gd name="connsiteY0" fmla="*/ 5901 h 3934"/>
                <a:gd name="connsiteX1" fmla="*/ 787 w 0"/>
                <a:gd name="connsiteY1" fmla="*/ 5901 h 3934"/>
                <a:gd name="connsiteX2" fmla="*/ 1967 w 0"/>
                <a:gd name="connsiteY2" fmla="*/ 0 h 3934"/>
                <a:gd name="connsiteX3" fmla="*/ 0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5901"/>
                  </a:moveTo>
                  <a:lnTo>
                    <a:pt x="787" y="5901"/>
                  </a:lnTo>
                  <a:lnTo>
                    <a:pt x="1967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19" name="Freeform: Shape 3413">
              <a:extLst>
                <a:ext uri="{FF2B5EF4-FFF2-40B4-BE49-F238E27FC236}">
                  <a16:creationId xmlns:a16="http://schemas.microsoft.com/office/drawing/2014/main" id="{0DF72DCC-AB9D-4BB8-A637-3010405079D2}"/>
                </a:ext>
              </a:extLst>
            </p:cNvPr>
            <p:cNvSpPr/>
            <p:nvPr/>
          </p:nvSpPr>
          <p:spPr>
            <a:xfrm>
              <a:off x="5929580" y="1817174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9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9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20" name="Freeform: Shape 3414">
              <a:extLst>
                <a:ext uri="{FF2B5EF4-FFF2-40B4-BE49-F238E27FC236}">
                  <a16:creationId xmlns:a16="http://schemas.microsoft.com/office/drawing/2014/main" id="{21E371B1-1144-4E55-BFCD-CD992DC5B1AD}"/>
                </a:ext>
              </a:extLst>
            </p:cNvPr>
            <p:cNvSpPr/>
            <p:nvPr/>
          </p:nvSpPr>
          <p:spPr>
            <a:xfrm>
              <a:off x="5929974" y="1813240"/>
              <a:ext cx="3934" cy="3934"/>
            </a:xfrm>
            <a:custGeom>
              <a:avLst/>
              <a:gdLst>
                <a:gd name="connsiteX0" fmla="*/ 0 w 3934"/>
                <a:gd name="connsiteY0" fmla="*/ 3934 h 3934"/>
                <a:gd name="connsiteX1" fmla="*/ 393 w 3934"/>
                <a:gd name="connsiteY1" fmla="*/ 3934 h 3934"/>
                <a:gd name="connsiteX2" fmla="*/ 0 w 3934"/>
                <a:gd name="connsiteY2" fmla="*/ 3934 h 3934"/>
                <a:gd name="connsiteX3" fmla="*/ 2754 w 3934"/>
                <a:gd name="connsiteY3" fmla="*/ 3147 h 3934"/>
                <a:gd name="connsiteX4" fmla="*/ 5114 w 3934"/>
                <a:gd name="connsiteY4" fmla="*/ 0 h 3934"/>
                <a:gd name="connsiteX5" fmla="*/ 1967 w 3934"/>
                <a:gd name="connsiteY5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3934"/>
                  </a:moveTo>
                  <a:lnTo>
                    <a:pt x="393" y="3934"/>
                  </a:lnTo>
                  <a:lnTo>
                    <a:pt x="0" y="3934"/>
                  </a:lnTo>
                  <a:lnTo>
                    <a:pt x="2754" y="3147"/>
                  </a:lnTo>
                  <a:lnTo>
                    <a:pt x="5114" y="0"/>
                  </a:lnTo>
                  <a:lnTo>
                    <a:pt x="196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21" name="Freeform: Shape 3415">
              <a:extLst>
                <a:ext uri="{FF2B5EF4-FFF2-40B4-BE49-F238E27FC236}">
                  <a16:creationId xmlns:a16="http://schemas.microsoft.com/office/drawing/2014/main" id="{AA2DEE6E-FD90-493E-B6A0-F2C3B7A89F10}"/>
                </a:ext>
              </a:extLst>
            </p:cNvPr>
            <p:cNvSpPr/>
            <p:nvPr/>
          </p:nvSpPr>
          <p:spPr>
            <a:xfrm>
              <a:off x="5923679" y="1818355"/>
              <a:ext cx="3934" cy="3934"/>
            </a:xfrm>
            <a:custGeom>
              <a:avLst/>
              <a:gdLst>
                <a:gd name="connsiteX0" fmla="*/ 1574 w 3934"/>
                <a:gd name="connsiteY0" fmla="*/ 0 h 0"/>
                <a:gd name="connsiteX1" fmla="*/ 0 w 3934"/>
                <a:gd name="connsiteY1" fmla="*/ 3147 h 0"/>
                <a:gd name="connsiteX2" fmla="*/ 1574 w 3934"/>
                <a:gd name="connsiteY2" fmla="*/ 1574 h 0"/>
                <a:gd name="connsiteX3" fmla="*/ 4328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574" y="0"/>
                  </a:moveTo>
                  <a:lnTo>
                    <a:pt x="0" y="3147"/>
                  </a:lnTo>
                  <a:lnTo>
                    <a:pt x="1574" y="1574"/>
                  </a:lnTo>
                  <a:lnTo>
                    <a:pt x="432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22" name="Freeform: Shape 3416">
              <a:extLst>
                <a:ext uri="{FF2B5EF4-FFF2-40B4-BE49-F238E27FC236}">
                  <a16:creationId xmlns:a16="http://schemas.microsoft.com/office/drawing/2014/main" id="{EDF8DD65-D21A-4734-8D3E-3D3CFA335624}"/>
                </a:ext>
              </a:extLst>
            </p:cNvPr>
            <p:cNvSpPr/>
            <p:nvPr/>
          </p:nvSpPr>
          <p:spPr>
            <a:xfrm>
              <a:off x="5930761" y="1838419"/>
              <a:ext cx="11803" cy="7869"/>
            </a:xfrm>
            <a:custGeom>
              <a:avLst/>
              <a:gdLst>
                <a:gd name="connsiteX0" fmla="*/ 1967 w 11802"/>
                <a:gd name="connsiteY0" fmla="*/ 1574 h 7868"/>
                <a:gd name="connsiteX1" fmla="*/ 1574 w 11802"/>
                <a:gd name="connsiteY1" fmla="*/ 4328 h 7868"/>
                <a:gd name="connsiteX2" fmla="*/ 0 w 11802"/>
                <a:gd name="connsiteY2" fmla="*/ 7475 h 7868"/>
                <a:gd name="connsiteX3" fmla="*/ 3148 w 11802"/>
                <a:gd name="connsiteY3" fmla="*/ 5901 h 7868"/>
                <a:gd name="connsiteX4" fmla="*/ 5901 w 11802"/>
                <a:gd name="connsiteY4" fmla="*/ 4721 h 7868"/>
                <a:gd name="connsiteX5" fmla="*/ 6295 w 11802"/>
                <a:gd name="connsiteY5" fmla="*/ 7475 h 7868"/>
                <a:gd name="connsiteX6" fmla="*/ 5508 w 11802"/>
                <a:gd name="connsiteY6" fmla="*/ 10622 h 7868"/>
                <a:gd name="connsiteX7" fmla="*/ 6295 w 11802"/>
                <a:gd name="connsiteY7" fmla="*/ 10229 h 7868"/>
                <a:gd name="connsiteX8" fmla="*/ 9049 w 11802"/>
                <a:gd name="connsiteY8" fmla="*/ 8655 h 7868"/>
                <a:gd name="connsiteX9" fmla="*/ 12196 w 11802"/>
                <a:gd name="connsiteY9" fmla="*/ 5901 h 7868"/>
                <a:gd name="connsiteX10" fmla="*/ 10622 w 11802"/>
                <a:gd name="connsiteY10" fmla="*/ 3147 h 7868"/>
                <a:gd name="connsiteX11" fmla="*/ 8262 w 11802"/>
                <a:gd name="connsiteY11" fmla="*/ 0 h 7868"/>
                <a:gd name="connsiteX12" fmla="*/ 5115 w 11802"/>
                <a:gd name="connsiteY12" fmla="*/ 393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7868">
                  <a:moveTo>
                    <a:pt x="1967" y="1574"/>
                  </a:moveTo>
                  <a:lnTo>
                    <a:pt x="1574" y="4328"/>
                  </a:lnTo>
                  <a:lnTo>
                    <a:pt x="0" y="7475"/>
                  </a:lnTo>
                  <a:lnTo>
                    <a:pt x="3148" y="5901"/>
                  </a:lnTo>
                  <a:lnTo>
                    <a:pt x="5901" y="4721"/>
                  </a:lnTo>
                  <a:lnTo>
                    <a:pt x="6295" y="7475"/>
                  </a:lnTo>
                  <a:lnTo>
                    <a:pt x="5508" y="10622"/>
                  </a:lnTo>
                  <a:lnTo>
                    <a:pt x="6295" y="10229"/>
                  </a:lnTo>
                  <a:lnTo>
                    <a:pt x="9049" y="8655"/>
                  </a:lnTo>
                  <a:lnTo>
                    <a:pt x="12196" y="5901"/>
                  </a:lnTo>
                  <a:lnTo>
                    <a:pt x="10622" y="3147"/>
                  </a:lnTo>
                  <a:lnTo>
                    <a:pt x="8262" y="0"/>
                  </a:lnTo>
                  <a:lnTo>
                    <a:pt x="5115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23" name="Freeform: Shape 3417">
              <a:extLst>
                <a:ext uri="{FF2B5EF4-FFF2-40B4-BE49-F238E27FC236}">
                  <a16:creationId xmlns:a16="http://schemas.microsoft.com/office/drawing/2014/main" id="{06FFA4E9-0EB0-406F-820E-C8B775C3877C}"/>
                </a:ext>
              </a:extLst>
            </p:cNvPr>
            <p:cNvSpPr/>
            <p:nvPr/>
          </p:nvSpPr>
          <p:spPr>
            <a:xfrm>
              <a:off x="5938629" y="1814814"/>
              <a:ext cx="11803" cy="11803"/>
            </a:xfrm>
            <a:custGeom>
              <a:avLst/>
              <a:gdLst>
                <a:gd name="connsiteX0" fmla="*/ 14163 w 11802"/>
                <a:gd name="connsiteY0" fmla="*/ 5115 h 11802"/>
                <a:gd name="connsiteX1" fmla="*/ 11016 w 11802"/>
                <a:gd name="connsiteY1" fmla="*/ 3934 h 11802"/>
                <a:gd name="connsiteX2" fmla="*/ 8262 w 11802"/>
                <a:gd name="connsiteY2" fmla="*/ 2361 h 11802"/>
                <a:gd name="connsiteX3" fmla="*/ 5115 w 11802"/>
                <a:gd name="connsiteY3" fmla="*/ 0 h 11802"/>
                <a:gd name="connsiteX4" fmla="*/ 2360 w 11802"/>
                <a:gd name="connsiteY4" fmla="*/ 393 h 11802"/>
                <a:gd name="connsiteX5" fmla="*/ 0 w 11802"/>
                <a:gd name="connsiteY5" fmla="*/ 3541 h 11802"/>
                <a:gd name="connsiteX6" fmla="*/ 2754 w 11802"/>
                <a:gd name="connsiteY6" fmla="*/ 3934 h 11802"/>
                <a:gd name="connsiteX7" fmla="*/ 5508 w 11802"/>
                <a:gd name="connsiteY7" fmla="*/ 6295 h 11802"/>
                <a:gd name="connsiteX8" fmla="*/ 3148 w 11802"/>
                <a:gd name="connsiteY8" fmla="*/ 9049 h 11802"/>
                <a:gd name="connsiteX9" fmla="*/ 6295 w 11802"/>
                <a:gd name="connsiteY9" fmla="*/ 9049 h 11802"/>
                <a:gd name="connsiteX10" fmla="*/ 3148 w 11802"/>
                <a:gd name="connsiteY10" fmla="*/ 9836 h 11802"/>
                <a:gd name="connsiteX11" fmla="*/ 393 w 11802"/>
                <a:gd name="connsiteY11" fmla="*/ 12196 h 11802"/>
                <a:gd name="connsiteX12" fmla="*/ 1180 w 11802"/>
                <a:gd name="connsiteY12" fmla="*/ 11803 h 11802"/>
                <a:gd name="connsiteX13" fmla="*/ 3934 w 11802"/>
                <a:gd name="connsiteY13" fmla="*/ 11409 h 11802"/>
                <a:gd name="connsiteX14" fmla="*/ 6688 w 11802"/>
                <a:gd name="connsiteY14" fmla="*/ 10622 h 11802"/>
                <a:gd name="connsiteX15" fmla="*/ 9442 w 11802"/>
                <a:gd name="connsiteY15" fmla="*/ 9442 h 11802"/>
                <a:gd name="connsiteX16" fmla="*/ 12589 w 11802"/>
                <a:gd name="connsiteY16" fmla="*/ 8655 h 11802"/>
                <a:gd name="connsiteX17" fmla="*/ 15344 w 11802"/>
                <a:gd name="connsiteY17" fmla="*/ 8262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802" h="11802">
                  <a:moveTo>
                    <a:pt x="14163" y="5115"/>
                  </a:moveTo>
                  <a:lnTo>
                    <a:pt x="11016" y="3934"/>
                  </a:lnTo>
                  <a:lnTo>
                    <a:pt x="8262" y="2361"/>
                  </a:lnTo>
                  <a:lnTo>
                    <a:pt x="5115" y="0"/>
                  </a:lnTo>
                  <a:lnTo>
                    <a:pt x="2360" y="393"/>
                  </a:lnTo>
                  <a:lnTo>
                    <a:pt x="0" y="3541"/>
                  </a:lnTo>
                  <a:lnTo>
                    <a:pt x="2754" y="3934"/>
                  </a:lnTo>
                  <a:lnTo>
                    <a:pt x="5508" y="6295"/>
                  </a:lnTo>
                  <a:lnTo>
                    <a:pt x="3148" y="9049"/>
                  </a:lnTo>
                  <a:lnTo>
                    <a:pt x="6295" y="9049"/>
                  </a:lnTo>
                  <a:lnTo>
                    <a:pt x="3148" y="9836"/>
                  </a:lnTo>
                  <a:lnTo>
                    <a:pt x="393" y="12196"/>
                  </a:lnTo>
                  <a:lnTo>
                    <a:pt x="1180" y="11803"/>
                  </a:lnTo>
                  <a:lnTo>
                    <a:pt x="3934" y="11409"/>
                  </a:lnTo>
                  <a:lnTo>
                    <a:pt x="6688" y="10622"/>
                  </a:lnTo>
                  <a:lnTo>
                    <a:pt x="9442" y="9442"/>
                  </a:lnTo>
                  <a:lnTo>
                    <a:pt x="12589" y="8655"/>
                  </a:lnTo>
                  <a:lnTo>
                    <a:pt x="15344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24" name="Freeform: Shape 3418">
              <a:extLst>
                <a:ext uri="{FF2B5EF4-FFF2-40B4-BE49-F238E27FC236}">
                  <a16:creationId xmlns:a16="http://schemas.microsoft.com/office/drawing/2014/main" id="{CC68BD8E-D712-452F-90BD-4D5B24EFF927}"/>
                </a:ext>
              </a:extLst>
            </p:cNvPr>
            <p:cNvSpPr/>
            <p:nvPr/>
          </p:nvSpPr>
          <p:spPr>
            <a:xfrm>
              <a:off x="5941777" y="1830551"/>
              <a:ext cx="7869" cy="7869"/>
            </a:xfrm>
            <a:custGeom>
              <a:avLst/>
              <a:gdLst>
                <a:gd name="connsiteX0" fmla="*/ 3147 w 7868"/>
                <a:gd name="connsiteY0" fmla="*/ 6295 h 7868"/>
                <a:gd name="connsiteX1" fmla="*/ 0 w 7868"/>
                <a:gd name="connsiteY1" fmla="*/ 8655 h 7868"/>
                <a:gd name="connsiteX2" fmla="*/ 2754 w 7868"/>
                <a:gd name="connsiteY2" fmla="*/ 11409 h 7868"/>
                <a:gd name="connsiteX3" fmla="*/ 4721 w 7868"/>
                <a:gd name="connsiteY3" fmla="*/ 8655 h 7868"/>
                <a:gd name="connsiteX4" fmla="*/ 7081 w 7868"/>
                <a:gd name="connsiteY4" fmla="*/ 5901 h 7868"/>
                <a:gd name="connsiteX5" fmla="*/ 9049 w 7868"/>
                <a:gd name="connsiteY5" fmla="*/ 3147 h 7868"/>
                <a:gd name="connsiteX6" fmla="*/ 10229 w 7868"/>
                <a:gd name="connsiteY6" fmla="*/ 0 h 7868"/>
                <a:gd name="connsiteX7" fmla="*/ 4328 w 7868"/>
                <a:gd name="connsiteY7" fmla="*/ 354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7868">
                  <a:moveTo>
                    <a:pt x="3147" y="6295"/>
                  </a:moveTo>
                  <a:lnTo>
                    <a:pt x="0" y="8655"/>
                  </a:lnTo>
                  <a:lnTo>
                    <a:pt x="2754" y="11409"/>
                  </a:lnTo>
                  <a:lnTo>
                    <a:pt x="4721" y="8655"/>
                  </a:lnTo>
                  <a:lnTo>
                    <a:pt x="7081" y="5901"/>
                  </a:lnTo>
                  <a:lnTo>
                    <a:pt x="9049" y="3147"/>
                  </a:lnTo>
                  <a:lnTo>
                    <a:pt x="10229" y="0"/>
                  </a:lnTo>
                  <a:lnTo>
                    <a:pt x="4328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25" name="Freeform: Shape 3419">
              <a:extLst>
                <a:ext uri="{FF2B5EF4-FFF2-40B4-BE49-F238E27FC236}">
                  <a16:creationId xmlns:a16="http://schemas.microsoft.com/office/drawing/2014/main" id="{6B948368-104A-400C-A731-FB09AEDAC23D}"/>
                </a:ext>
              </a:extLst>
            </p:cNvPr>
            <p:cNvSpPr/>
            <p:nvPr/>
          </p:nvSpPr>
          <p:spPr>
            <a:xfrm>
              <a:off x="5958301" y="1844321"/>
              <a:ext cx="7869" cy="7869"/>
            </a:xfrm>
            <a:custGeom>
              <a:avLst/>
              <a:gdLst>
                <a:gd name="connsiteX0" fmla="*/ 4721 w 7868"/>
                <a:gd name="connsiteY0" fmla="*/ 9442 h 7868"/>
                <a:gd name="connsiteX1" fmla="*/ 7869 w 7868"/>
                <a:gd name="connsiteY1" fmla="*/ 7082 h 7868"/>
                <a:gd name="connsiteX2" fmla="*/ 6295 w 7868"/>
                <a:gd name="connsiteY2" fmla="*/ 3934 h 7868"/>
                <a:gd name="connsiteX3" fmla="*/ 5901 w 7868"/>
                <a:gd name="connsiteY3" fmla="*/ 1180 h 7868"/>
                <a:gd name="connsiteX4" fmla="*/ 3148 w 7868"/>
                <a:gd name="connsiteY4" fmla="*/ 0 h 7868"/>
                <a:gd name="connsiteX5" fmla="*/ 0 w 7868"/>
                <a:gd name="connsiteY5" fmla="*/ 2754 h 7868"/>
                <a:gd name="connsiteX6" fmla="*/ 787 w 7868"/>
                <a:gd name="connsiteY6" fmla="*/ 5508 h 7868"/>
                <a:gd name="connsiteX7" fmla="*/ 1967 w 7868"/>
                <a:gd name="connsiteY7" fmla="*/ 865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7868">
                  <a:moveTo>
                    <a:pt x="4721" y="9442"/>
                  </a:moveTo>
                  <a:lnTo>
                    <a:pt x="7869" y="7082"/>
                  </a:lnTo>
                  <a:lnTo>
                    <a:pt x="6295" y="3934"/>
                  </a:lnTo>
                  <a:lnTo>
                    <a:pt x="5901" y="1180"/>
                  </a:lnTo>
                  <a:lnTo>
                    <a:pt x="3148" y="0"/>
                  </a:lnTo>
                  <a:lnTo>
                    <a:pt x="0" y="2754"/>
                  </a:lnTo>
                  <a:lnTo>
                    <a:pt x="787" y="5508"/>
                  </a:lnTo>
                  <a:lnTo>
                    <a:pt x="1967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26" name="Freeform: Shape 3420">
              <a:extLst>
                <a:ext uri="{FF2B5EF4-FFF2-40B4-BE49-F238E27FC236}">
                  <a16:creationId xmlns:a16="http://schemas.microsoft.com/office/drawing/2014/main" id="{FE464D5B-7312-41F8-8482-B6EDF7614DAB}"/>
                </a:ext>
              </a:extLst>
            </p:cNvPr>
            <p:cNvSpPr/>
            <p:nvPr/>
          </p:nvSpPr>
          <p:spPr>
            <a:xfrm>
              <a:off x="5817848" y="1858091"/>
              <a:ext cx="133765" cy="125896"/>
            </a:xfrm>
            <a:custGeom>
              <a:avLst/>
              <a:gdLst>
                <a:gd name="connsiteX0" fmla="*/ 112520 w 133764"/>
                <a:gd name="connsiteY0" fmla="*/ 81833 h 125896"/>
                <a:gd name="connsiteX1" fmla="*/ 114094 w 133764"/>
                <a:gd name="connsiteY1" fmla="*/ 79079 h 125896"/>
                <a:gd name="connsiteX2" fmla="*/ 116454 w 133764"/>
                <a:gd name="connsiteY2" fmla="*/ 76325 h 125896"/>
                <a:gd name="connsiteX3" fmla="*/ 116061 w 133764"/>
                <a:gd name="connsiteY3" fmla="*/ 73177 h 125896"/>
                <a:gd name="connsiteX4" fmla="*/ 116454 w 133764"/>
                <a:gd name="connsiteY4" fmla="*/ 70423 h 125896"/>
                <a:gd name="connsiteX5" fmla="*/ 115274 w 133764"/>
                <a:gd name="connsiteY5" fmla="*/ 67669 h 125896"/>
                <a:gd name="connsiteX6" fmla="*/ 114880 w 133764"/>
                <a:gd name="connsiteY6" fmla="*/ 66882 h 125896"/>
                <a:gd name="connsiteX7" fmla="*/ 113307 w 133764"/>
                <a:gd name="connsiteY7" fmla="*/ 64129 h 125896"/>
                <a:gd name="connsiteX8" fmla="*/ 115274 w 133764"/>
                <a:gd name="connsiteY8" fmla="*/ 61375 h 125896"/>
                <a:gd name="connsiteX9" fmla="*/ 114487 w 133764"/>
                <a:gd name="connsiteY9" fmla="*/ 59801 h 125896"/>
                <a:gd name="connsiteX10" fmla="*/ 114487 w 133764"/>
                <a:gd name="connsiteY10" fmla="*/ 59014 h 125896"/>
                <a:gd name="connsiteX11" fmla="*/ 115274 w 133764"/>
                <a:gd name="connsiteY11" fmla="*/ 59014 h 125896"/>
                <a:gd name="connsiteX12" fmla="*/ 115274 w 133764"/>
                <a:gd name="connsiteY12" fmla="*/ 58620 h 125896"/>
                <a:gd name="connsiteX13" fmla="*/ 115274 w 133764"/>
                <a:gd name="connsiteY13" fmla="*/ 58620 h 125896"/>
                <a:gd name="connsiteX14" fmla="*/ 116061 w 133764"/>
                <a:gd name="connsiteY14" fmla="*/ 56260 h 125896"/>
                <a:gd name="connsiteX15" fmla="*/ 113307 w 133764"/>
                <a:gd name="connsiteY15" fmla="*/ 54293 h 125896"/>
                <a:gd name="connsiteX16" fmla="*/ 112520 w 133764"/>
                <a:gd name="connsiteY16" fmla="*/ 51145 h 125896"/>
                <a:gd name="connsiteX17" fmla="*/ 112913 w 133764"/>
                <a:gd name="connsiteY17" fmla="*/ 53506 h 125896"/>
                <a:gd name="connsiteX18" fmla="*/ 112520 w 133764"/>
                <a:gd name="connsiteY18" fmla="*/ 52719 h 125896"/>
                <a:gd name="connsiteX19" fmla="*/ 112520 w 133764"/>
                <a:gd name="connsiteY19" fmla="*/ 51145 h 125896"/>
                <a:gd name="connsiteX20" fmla="*/ 112913 w 133764"/>
                <a:gd name="connsiteY20" fmla="*/ 49572 h 125896"/>
                <a:gd name="connsiteX21" fmla="*/ 112913 w 133764"/>
                <a:gd name="connsiteY21" fmla="*/ 47211 h 125896"/>
                <a:gd name="connsiteX22" fmla="*/ 113307 w 133764"/>
                <a:gd name="connsiteY22" fmla="*/ 42097 h 125896"/>
                <a:gd name="connsiteX23" fmla="*/ 113700 w 133764"/>
                <a:gd name="connsiteY23" fmla="*/ 42097 h 125896"/>
                <a:gd name="connsiteX24" fmla="*/ 116454 w 133764"/>
                <a:gd name="connsiteY24" fmla="*/ 40916 h 125896"/>
                <a:gd name="connsiteX25" fmla="*/ 113700 w 133764"/>
                <a:gd name="connsiteY25" fmla="*/ 38949 h 125896"/>
                <a:gd name="connsiteX26" fmla="*/ 113700 w 133764"/>
                <a:gd name="connsiteY26" fmla="*/ 38556 h 125896"/>
                <a:gd name="connsiteX27" fmla="*/ 114094 w 133764"/>
                <a:gd name="connsiteY27" fmla="*/ 38556 h 125896"/>
                <a:gd name="connsiteX28" fmla="*/ 116847 w 133764"/>
                <a:gd name="connsiteY28" fmla="*/ 39736 h 125896"/>
                <a:gd name="connsiteX29" fmla="*/ 119601 w 133764"/>
                <a:gd name="connsiteY29" fmla="*/ 40129 h 125896"/>
                <a:gd name="connsiteX30" fmla="*/ 122356 w 133764"/>
                <a:gd name="connsiteY30" fmla="*/ 38556 h 125896"/>
                <a:gd name="connsiteX31" fmla="*/ 123929 w 133764"/>
                <a:gd name="connsiteY31" fmla="*/ 35802 h 125896"/>
                <a:gd name="connsiteX32" fmla="*/ 126683 w 133764"/>
                <a:gd name="connsiteY32" fmla="*/ 33835 h 125896"/>
                <a:gd name="connsiteX33" fmla="*/ 128257 w 133764"/>
                <a:gd name="connsiteY33" fmla="*/ 33835 h 125896"/>
                <a:gd name="connsiteX34" fmla="*/ 131011 w 133764"/>
                <a:gd name="connsiteY34" fmla="*/ 33048 h 125896"/>
                <a:gd name="connsiteX35" fmla="*/ 132191 w 133764"/>
                <a:gd name="connsiteY35" fmla="*/ 29900 h 125896"/>
                <a:gd name="connsiteX36" fmla="*/ 130224 w 133764"/>
                <a:gd name="connsiteY36" fmla="*/ 26753 h 125896"/>
                <a:gd name="connsiteX37" fmla="*/ 132585 w 133764"/>
                <a:gd name="connsiteY37" fmla="*/ 29900 h 125896"/>
                <a:gd name="connsiteX38" fmla="*/ 132585 w 133764"/>
                <a:gd name="connsiteY38" fmla="*/ 26753 h 125896"/>
                <a:gd name="connsiteX39" fmla="*/ 132585 w 133764"/>
                <a:gd name="connsiteY39" fmla="*/ 27146 h 125896"/>
                <a:gd name="connsiteX40" fmla="*/ 132191 w 133764"/>
                <a:gd name="connsiteY40" fmla="*/ 29900 h 125896"/>
                <a:gd name="connsiteX41" fmla="*/ 134552 w 133764"/>
                <a:gd name="connsiteY41" fmla="*/ 28720 h 125896"/>
                <a:gd name="connsiteX42" fmla="*/ 134945 w 133764"/>
                <a:gd name="connsiteY42" fmla="*/ 25573 h 125896"/>
                <a:gd name="connsiteX43" fmla="*/ 134158 w 133764"/>
                <a:gd name="connsiteY43" fmla="*/ 22819 h 125896"/>
                <a:gd name="connsiteX44" fmla="*/ 132585 w 133764"/>
                <a:gd name="connsiteY44" fmla="*/ 20065 h 125896"/>
                <a:gd name="connsiteX45" fmla="*/ 127470 w 133764"/>
                <a:gd name="connsiteY45" fmla="*/ 20065 h 125896"/>
                <a:gd name="connsiteX46" fmla="*/ 124716 w 133764"/>
                <a:gd name="connsiteY46" fmla="*/ 21638 h 125896"/>
                <a:gd name="connsiteX47" fmla="*/ 123929 w 133764"/>
                <a:gd name="connsiteY47" fmla="*/ 21245 h 125896"/>
                <a:gd name="connsiteX48" fmla="*/ 124716 w 133764"/>
                <a:gd name="connsiteY48" fmla="*/ 20065 h 125896"/>
                <a:gd name="connsiteX49" fmla="*/ 127076 w 133764"/>
                <a:gd name="connsiteY49" fmla="*/ 18884 h 125896"/>
                <a:gd name="connsiteX50" fmla="*/ 129831 w 133764"/>
                <a:gd name="connsiteY50" fmla="*/ 17311 h 125896"/>
                <a:gd name="connsiteX51" fmla="*/ 129831 w 133764"/>
                <a:gd name="connsiteY51" fmla="*/ 15737 h 125896"/>
                <a:gd name="connsiteX52" fmla="*/ 128650 w 133764"/>
                <a:gd name="connsiteY52" fmla="*/ 15737 h 125896"/>
                <a:gd name="connsiteX53" fmla="*/ 126290 w 133764"/>
                <a:gd name="connsiteY53" fmla="*/ 12983 h 125896"/>
                <a:gd name="connsiteX54" fmla="*/ 126290 w 133764"/>
                <a:gd name="connsiteY54" fmla="*/ 12983 h 125896"/>
                <a:gd name="connsiteX55" fmla="*/ 123536 w 133764"/>
                <a:gd name="connsiteY55" fmla="*/ 10229 h 125896"/>
                <a:gd name="connsiteX56" fmla="*/ 123536 w 133764"/>
                <a:gd name="connsiteY56" fmla="*/ 8262 h 125896"/>
                <a:gd name="connsiteX57" fmla="*/ 122356 w 133764"/>
                <a:gd name="connsiteY57" fmla="*/ 6688 h 125896"/>
                <a:gd name="connsiteX58" fmla="*/ 121962 w 133764"/>
                <a:gd name="connsiteY58" fmla="*/ 3934 h 125896"/>
                <a:gd name="connsiteX59" fmla="*/ 119208 w 133764"/>
                <a:gd name="connsiteY59" fmla="*/ 3541 h 125896"/>
                <a:gd name="connsiteX60" fmla="*/ 116061 w 133764"/>
                <a:gd name="connsiteY60" fmla="*/ 3147 h 125896"/>
                <a:gd name="connsiteX61" fmla="*/ 113307 w 133764"/>
                <a:gd name="connsiteY61" fmla="*/ 2754 h 125896"/>
                <a:gd name="connsiteX62" fmla="*/ 110553 w 133764"/>
                <a:gd name="connsiteY62" fmla="*/ 3147 h 125896"/>
                <a:gd name="connsiteX63" fmla="*/ 108192 w 133764"/>
                <a:gd name="connsiteY63" fmla="*/ 3541 h 125896"/>
                <a:gd name="connsiteX64" fmla="*/ 105438 w 133764"/>
                <a:gd name="connsiteY64" fmla="*/ 4721 h 125896"/>
                <a:gd name="connsiteX65" fmla="*/ 102684 w 133764"/>
                <a:gd name="connsiteY65" fmla="*/ 5115 h 125896"/>
                <a:gd name="connsiteX66" fmla="*/ 99537 w 133764"/>
                <a:gd name="connsiteY66" fmla="*/ 4328 h 125896"/>
                <a:gd name="connsiteX67" fmla="*/ 94422 w 133764"/>
                <a:gd name="connsiteY67" fmla="*/ 9049 h 125896"/>
                <a:gd name="connsiteX68" fmla="*/ 91668 w 133764"/>
                <a:gd name="connsiteY68" fmla="*/ 9049 h 125896"/>
                <a:gd name="connsiteX69" fmla="*/ 91668 w 133764"/>
                <a:gd name="connsiteY69" fmla="*/ 8655 h 125896"/>
                <a:gd name="connsiteX70" fmla="*/ 93635 w 133764"/>
                <a:gd name="connsiteY70" fmla="*/ 6688 h 125896"/>
                <a:gd name="connsiteX71" fmla="*/ 96389 w 133764"/>
                <a:gd name="connsiteY71" fmla="*/ 5115 h 125896"/>
                <a:gd name="connsiteX72" fmla="*/ 99143 w 133764"/>
                <a:gd name="connsiteY72" fmla="*/ 2754 h 125896"/>
                <a:gd name="connsiteX73" fmla="*/ 96389 w 133764"/>
                <a:gd name="connsiteY73" fmla="*/ 1967 h 125896"/>
                <a:gd name="connsiteX74" fmla="*/ 93635 w 133764"/>
                <a:gd name="connsiteY74" fmla="*/ 0 h 125896"/>
                <a:gd name="connsiteX75" fmla="*/ 90881 w 133764"/>
                <a:gd name="connsiteY75" fmla="*/ 1574 h 125896"/>
                <a:gd name="connsiteX76" fmla="*/ 88127 w 133764"/>
                <a:gd name="connsiteY76" fmla="*/ 1967 h 125896"/>
                <a:gd name="connsiteX77" fmla="*/ 84980 w 133764"/>
                <a:gd name="connsiteY77" fmla="*/ 3541 h 125896"/>
                <a:gd name="connsiteX78" fmla="*/ 86947 w 133764"/>
                <a:gd name="connsiteY78" fmla="*/ 6688 h 125896"/>
                <a:gd name="connsiteX79" fmla="*/ 86160 w 133764"/>
                <a:gd name="connsiteY79" fmla="*/ 9442 h 125896"/>
                <a:gd name="connsiteX80" fmla="*/ 83406 w 133764"/>
                <a:gd name="connsiteY80" fmla="*/ 11016 h 125896"/>
                <a:gd name="connsiteX81" fmla="*/ 82226 w 133764"/>
                <a:gd name="connsiteY81" fmla="*/ 11016 h 125896"/>
                <a:gd name="connsiteX82" fmla="*/ 82226 w 133764"/>
                <a:gd name="connsiteY82" fmla="*/ 7869 h 125896"/>
                <a:gd name="connsiteX83" fmla="*/ 84980 w 133764"/>
                <a:gd name="connsiteY83" fmla="*/ 6295 h 125896"/>
                <a:gd name="connsiteX84" fmla="*/ 83800 w 133764"/>
                <a:gd name="connsiteY84" fmla="*/ 3541 h 125896"/>
                <a:gd name="connsiteX85" fmla="*/ 82226 w 133764"/>
                <a:gd name="connsiteY85" fmla="*/ 787 h 125896"/>
                <a:gd name="connsiteX86" fmla="*/ 79472 w 133764"/>
                <a:gd name="connsiteY86" fmla="*/ 1180 h 125896"/>
                <a:gd name="connsiteX87" fmla="*/ 80259 w 133764"/>
                <a:gd name="connsiteY87" fmla="*/ 3934 h 125896"/>
                <a:gd name="connsiteX88" fmla="*/ 77505 w 133764"/>
                <a:gd name="connsiteY88" fmla="*/ 3934 h 125896"/>
                <a:gd name="connsiteX89" fmla="*/ 74751 w 133764"/>
                <a:gd name="connsiteY89" fmla="*/ 2361 h 125896"/>
                <a:gd name="connsiteX90" fmla="*/ 71997 w 133764"/>
                <a:gd name="connsiteY90" fmla="*/ 3934 h 125896"/>
                <a:gd name="connsiteX91" fmla="*/ 68850 w 133764"/>
                <a:gd name="connsiteY91" fmla="*/ 4328 h 125896"/>
                <a:gd name="connsiteX92" fmla="*/ 66095 w 133764"/>
                <a:gd name="connsiteY92" fmla="*/ 4328 h 125896"/>
                <a:gd name="connsiteX93" fmla="*/ 64522 w 133764"/>
                <a:gd name="connsiteY93" fmla="*/ 7082 h 125896"/>
                <a:gd name="connsiteX94" fmla="*/ 61768 w 133764"/>
                <a:gd name="connsiteY94" fmla="*/ 9049 h 125896"/>
                <a:gd name="connsiteX95" fmla="*/ 61374 w 133764"/>
                <a:gd name="connsiteY95" fmla="*/ 11409 h 125896"/>
                <a:gd name="connsiteX96" fmla="*/ 62948 w 133764"/>
                <a:gd name="connsiteY96" fmla="*/ 14163 h 125896"/>
                <a:gd name="connsiteX97" fmla="*/ 59801 w 133764"/>
                <a:gd name="connsiteY97" fmla="*/ 13770 h 125896"/>
                <a:gd name="connsiteX98" fmla="*/ 60194 w 133764"/>
                <a:gd name="connsiteY98" fmla="*/ 16917 h 125896"/>
                <a:gd name="connsiteX99" fmla="*/ 57440 w 133764"/>
                <a:gd name="connsiteY99" fmla="*/ 16524 h 125896"/>
                <a:gd name="connsiteX100" fmla="*/ 54293 w 133764"/>
                <a:gd name="connsiteY100" fmla="*/ 17311 h 125896"/>
                <a:gd name="connsiteX101" fmla="*/ 52719 w 133764"/>
                <a:gd name="connsiteY101" fmla="*/ 20065 h 125896"/>
                <a:gd name="connsiteX102" fmla="*/ 55473 w 133764"/>
                <a:gd name="connsiteY102" fmla="*/ 21245 h 125896"/>
                <a:gd name="connsiteX103" fmla="*/ 58620 w 133764"/>
                <a:gd name="connsiteY103" fmla="*/ 21245 h 125896"/>
                <a:gd name="connsiteX104" fmla="*/ 61374 w 133764"/>
                <a:gd name="connsiteY104" fmla="*/ 22425 h 125896"/>
                <a:gd name="connsiteX105" fmla="*/ 64128 w 133764"/>
                <a:gd name="connsiteY105" fmla="*/ 22032 h 125896"/>
                <a:gd name="connsiteX106" fmla="*/ 64915 w 133764"/>
                <a:gd name="connsiteY106" fmla="*/ 22032 h 125896"/>
                <a:gd name="connsiteX107" fmla="*/ 65702 w 133764"/>
                <a:gd name="connsiteY107" fmla="*/ 25179 h 125896"/>
                <a:gd name="connsiteX108" fmla="*/ 64128 w 133764"/>
                <a:gd name="connsiteY108" fmla="*/ 25966 h 125896"/>
                <a:gd name="connsiteX109" fmla="*/ 61374 w 133764"/>
                <a:gd name="connsiteY109" fmla="*/ 26360 h 125896"/>
                <a:gd name="connsiteX110" fmla="*/ 59407 w 133764"/>
                <a:gd name="connsiteY110" fmla="*/ 26360 h 125896"/>
                <a:gd name="connsiteX111" fmla="*/ 56653 w 133764"/>
                <a:gd name="connsiteY111" fmla="*/ 28720 h 125896"/>
                <a:gd name="connsiteX112" fmla="*/ 56653 w 133764"/>
                <a:gd name="connsiteY112" fmla="*/ 29114 h 125896"/>
                <a:gd name="connsiteX113" fmla="*/ 47998 w 133764"/>
                <a:gd name="connsiteY113" fmla="*/ 33441 h 125896"/>
                <a:gd name="connsiteX114" fmla="*/ 46031 w 133764"/>
                <a:gd name="connsiteY114" fmla="*/ 32654 h 125896"/>
                <a:gd name="connsiteX115" fmla="*/ 43277 w 133764"/>
                <a:gd name="connsiteY115" fmla="*/ 33835 h 125896"/>
                <a:gd name="connsiteX116" fmla="*/ 41703 w 133764"/>
                <a:gd name="connsiteY116" fmla="*/ 36589 h 125896"/>
                <a:gd name="connsiteX117" fmla="*/ 41310 w 133764"/>
                <a:gd name="connsiteY117" fmla="*/ 37376 h 125896"/>
                <a:gd name="connsiteX118" fmla="*/ 41310 w 133764"/>
                <a:gd name="connsiteY118" fmla="*/ 36982 h 125896"/>
                <a:gd name="connsiteX119" fmla="*/ 40129 w 133764"/>
                <a:gd name="connsiteY119" fmla="*/ 34228 h 125896"/>
                <a:gd name="connsiteX120" fmla="*/ 37376 w 133764"/>
                <a:gd name="connsiteY120" fmla="*/ 31868 h 125896"/>
                <a:gd name="connsiteX121" fmla="*/ 34228 w 133764"/>
                <a:gd name="connsiteY121" fmla="*/ 32261 h 125896"/>
                <a:gd name="connsiteX122" fmla="*/ 31474 w 133764"/>
                <a:gd name="connsiteY122" fmla="*/ 31868 h 125896"/>
                <a:gd name="connsiteX123" fmla="*/ 28720 w 133764"/>
                <a:gd name="connsiteY123" fmla="*/ 31868 h 125896"/>
                <a:gd name="connsiteX124" fmla="*/ 25966 w 133764"/>
                <a:gd name="connsiteY124" fmla="*/ 33835 h 125896"/>
                <a:gd name="connsiteX125" fmla="*/ 20458 w 133764"/>
                <a:gd name="connsiteY125" fmla="*/ 32261 h 125896"/>
                <a:gd name="connsiteX126" fmla="*/ 18884 w 133764"/>
                <a:gd name="connsiteY126" fmla="*/ 35015 h 125896"/>
                <a:gd name="connsiteX127" fmla="*/ 18098 w 133764"/>
                <a:gd name="connsiteY127" fmla="*/ 37769 h 125896"/>
                <a:gd name="connsiteX128" fmla="*/ 20458 w 133764"/>
                <a:gd name="connsiteY128" fmla="*/ 35015 h 125896"/>
                <a:gd name="connsiteX129" fmla="*/ 20851 w 133764"/>
                <a:gd name="connsiteY129" fmla="*/ 39736 h 125896"/>
                <a:gd name="connsiteX130" fmla="*/ 20851 w 133764"/>
                <a:gd name="connsiteY130" fmla="*/ 39736 h 125896"/>
                <a:gd name="connsiteX131" fmla="*/ 20851 w 133764"/>
                <a:gd name="connsiteY131" fmla="*/ 39736 h 125896"/>
                <a:gd name="connsiteX132" fmla="*/ 21245 w 133764"/>
                <a:gd name="connsiteY132" fmla="*/ 44064 h 125896"/>
                <a:gd name="connsiteX133" fmla="*/ 20065 w 133764"/>
                <a:gd name="connsiteY133" fmla="*/ 41310 h 125896"/>
                <a:gd name="connsiteX134" fmla="*/ 19671 w 133764"/>
                <a:gd name="connsiteY134" fmla="*/ 41310 h 125896"/>
                <a:gd name="connsiteX135" fmla="*/ 16524 w 133764"/>
                <a:gd name="connsiteY135" fmla="*/ 41703 h 125896"/>
                <a:gd name="connsiteX136" fmla="*/ 13770 w 133764"/>
                <a:gd name="connsiteY136" fmla="*/ 42883 h 125896"/>
                <a:gd name="connsiteX137" fmla="*/ 16524 w 133764"/>
                <a:gd name="connsiteY137" fmla="*/ 43277 h 125896"/>
                <a:gd name="connsiteX138" fmla="*/ 19671 w 133764"/>
                <a:gd name="connsiteY138" fmla="*/ 45244 h 125896"/>
                <a:gd name="connsiteX139" fmla="*/ 21245 w 133764"/>
                <a:gd name="connsiteY139" fmla="*/ 44457 h 125896"/>
                <a:gd name="connsiteX140" fmla="*/ 21245 w 133764"/>
                <a:gd name="connsiteY140" fmla="*/ 45244 h 125896"/>
                <a:gd name="connsiteX141" fmla="*/ 21638 w 133764"/>
                <a:gd name="connsiteY141" fmla="*/ 46818 h 125896"/>
                <a:gd name="connsiteX142" fmla="*/ 22032 w 133764"/>
                <a:gd name="connsiteY142" fmla="*/ 46818 h 125896"/>
                <a:gd name="connsiteX143" fmla="*/ 23606 w 133764"/>
                <a:gd name="connsiteY143" fmla="*/ 49965 h 125896"/>
                <a:gd name="connsiteX144" fmla="*/ 20851 w 133764"/>
                <a:gd name="connsiteY144" fmla="*/ 51932 h 125896"/>
                <a:gd name="connsiteX145" fmla="*/ 23212 w 133764"/>
                <a:gd name="connsiteY145" fmla="*/ 54686 h 125896"/>
                <a:gd name="connsiteX146" fmla="*/ 25966 w 133764"/>
                <a:gd name="connsiteY146" fmla="*/ 55080 h 125896"/>
                <a:gd name="connsiteX147" fmla="*/ 22818 w 133764"/>
                <a:gd name="connsiteY147" fmla="*/ 55080 h 125896"/>
                <a:gd name="connsiteX148" fmla="*/ 21245 w 133764"/>
                <a:gd name="connsiteY148" fmla="*/ 54686 h 125896"/>
                <a:gd name="connsiteX149" fmla="*/ 18098 w 133764"/>
                <a:gd name="connsiteY149" fmla="*/ 55080 h 125896"/>
                <a:gd name="connsiteX150" fmla="*/ 18098 w 133764"/>
                <a:gd name="connsiteY150" fmla="*/ 56260 h 125896"/>
                <a:gd name="connsiteX151" fmla="*/ 17704 w 133764"/>
                <a:gd name="connsiteY151" fmla="*/ 57047 h 125896"/>
                <a:gd name="connsiteX152" fmla="*/ 17310 w 133764"/>
                <a:gd name="connsiteY152" fmla="*/ 56260 h 125896"/>
                <a:gd name="connsiteX153" fmla="*/ 14557 w 133764"/>
                <a:gd name="connsiteY153" fmla="*/ 57834 h 125896"/>
                <a:gd name="connsiteX154" fmla="*/ 17310 w 133764"/>
                <a:gd name="connsiteY154" fmla="*/ 59801 h 125896"/>
                <a:gd name="connsiteX155" fmla="*/ 14557 w 133764"/>
                <a:gd name="connsiteY155" fmla="*/ 61768 h 125896"/>
                <a:gd name="connsiteX156" fmla="*/ 17310 w 133764"/>
                <a:gd name="connsiteY156" fmla="*/ 62555 h 125896"/>
                <a:gd name="connsiteX157" fmla="*/ 21245 w 133764"/>
                <a:gd name="connsiteY157" fmla="*/ 63342 h 125896"/>
                <a:gd name="connsiteX158" fmla="*/ 20458 w 133764"/>
                <a:gd name="connsiteY158" fmla="*/ 64522 h 125896"/>
                <a:gd name="connsiteX159" fmla="*/ 23606 w 133764"/>
                <a:gd name="connsiteY159" fmla="*/ 64915 h 125896"/>
                <a:gd name="connsiteX160" fmla="*/ 26359 w 133764"/>
                <a:gd name="connsiteY160" fmla="*/ 64915 h 125896"/>
                <a:gd name="connsiteX161" fmla="*/ 28720 w 133764"/>
                <a:gd name="connsiteY161" fmla="*/ 67669 h 125896"/>
                <a:gd name="connsiteX162" fmla="*/ 31474 w 133764"/>
                <a:gd name="connsiteY162" fmla="*/ 67276 h 125896"/>
                <a:gd name="connsiteX163" fmla="*/ 34621 w 133764"/>
                <a:gd name="connsiteY163" fmla="*/ 66882 h 125896"/>
                <a:gd name="connsiteX164" fmla="*/ 37376 w 133764"/>
                <a:gd name="connsiteY164" fmla="*/ 66882 h 125896"/>
                <a:gd name="connsiteX165" fmla="*/ 40129 w 133764"/>
                <a:gd name="connsiteY165" fmla="*/ 66489 h 125896"/>
                <a:gd name="connsiteX166" fmla="*/ 41703 w 133764"/>
                <a:gd name="connsiteY166" fmla="*/ 70030 h 125896"/>
                <a:gd name="connsiteX167" fmla="*/ 38949 w 133764"/>
                <a:gd name="connsiteY167" fmla="*/ 70817 h 125896"/>
                <a:gd name="connsiteX168" fmla="*/ 36195 w 133764"/>
                <a:gd name="connsiteY168" fmla="*/ 70423 h 125896"/>
                <a:gd name="connsiteX169" fmla="*/ 33441 w 133764"/>
                <a:gd name="connsiteY169" fmla="*/ 71997 h 125896"/>
                <a:gd name="connsiteX170" fmla="*/ 31080 w 133764"/>
                <a:gd name="connsiteY170" fmla="*/ 74751 h 125896"/>
                <a:gd name="connsiteX171" fmla="*/ 31474 w 133764"/>
                <a:gd name="connsiteY171" fmla="*/ 77505 h 125896"/>
                <a:gd name="connsiteX172" fmla="*/ 26359 w 133764"/>
                <a:gd name="connsiteY172" fmla="*/ 83013 h 125896"/>
                <a:gd name="connsiteX173" fmla="*/ 23606 w 133764"/>
                <a:gd name="connsiteY173" fmla="*/ 84193 h 125896"/>
                <a:gd name="connsiteX174" fmla="*/ 20851 w 133764"/>
                <a:gd name="connsiteY174" fmla="*/ 86554 h 125896"/>
                <a:gd name="connsiteX175" fmla="*/ 17704 w 133764"/>
                <a:gd name="connsiteY175" fmla="*/ 88914 h 125896"/>
                <a:gd name="connsiteX176" fmla="*/ 20458 w 133764"/>
                <a:gd name="connsiteY176" fmla="*/ 88521 h 125896"/>
                <a:gd name="connsiteX177" fmla="*/ 23606 w 133764"/>
                <a:gd name="connsiteY177" fmla="*/ 87734 h 125896"/>
                <a:gd name="connsiteX178" fmla="*/ 25179 w 133764"/>
                <a:gd name="connsiteY178" fmla="*/ 87341 h 125896"/>
                <a:gd name="connsiteX179" fmla="*/ 26753 w 133764"/>
                <a:gd name="connsiteY179" fmla="*/ 86947 h 125896"/>
                <a:gd name="connsiteX180" fmla="*/ 29900 w 133764"/>
                <a:gd name="connsiteY180" fmla="*/ 87734 h 125896"/>
                <a:gd name="connsiteX181" fmla="*/ 32654 w 133764"/>
                <a:gd name="connsiteY181" fmla="*/ 88127 h 125896"/>
                <a:gd name="connsiteX182" fmla="*/ 35408 w 133764"/>
                <a:gd name="connsiteY182" fmla="*/ 87734 h 125896"/>
                <a:gd name="connsiteX183" fmla="*/ 38162 w 133764"/>
                <a:gd name="connsiteY183" fmla="*/ 84980 h 125896"/>
                <a:gd name="connsiteX184" fmla="*/ 41310 w 133764"/>
                <a:gd name="connsiteY184" fmla="*/ 82620 h 125896"/>
                <a:gd name="connsiteX185" fmla="*/ 42883 w 133764"/>
                <a:gd name="connsiteY185" fmla="*/ 84980 h 125896"/>
                <a:gd name="connsiteX186" fmla="*/ 46031 w 133764"/>
                <a:gd name="connsiteY186" fmla="*/ 85767 h 125896"/>
                <a:gd name="connsiteX187" fmla="*/ 44064 w 133764"/>
                <a:gd name="connsiteY187" fmla="*/ 86160 h 125896"/>
                <a:gd name="connsiteX188" fmla="*/ 41310 w 133764"/>
                <a:gd name="connsiteY188" fmla="*/ 86160 h 125896"/>
                <a:gd name="connsiteX189" fmla="*/ 39343 w 133764"/>
                <a:gd name="connsiteY189" fmla="*/ 87341 h 125896"/>
                <a:gd name="connsiteX190" fmla="*/ 39736 w 133764"/>
                <a:gd name="connsiteY190" fmla="*/ 87341 h 125896"/>
                <a:gd name="connsiteX191" fmla="*/ 38556 w 133764"/>
                <a:gd name="connsiteY191" fmla="*/ 87734 h 125896"/>
                <a:gd name="connsiteX192" fmla="*/ 39343 w 133764"/>
                <a:gd name="connsiteY192" fmla="*/ 87341 h 125896"/>
                <a:gd name="connsiteX193" fmla="*/ 36195 w 133764"/>
                <a:gd name="connsiteY193" fmla="*/ 88127 h 125896"/>
                <a:gd name="connsiteX194" fmla="*/ 35802 w 133764"/>
                <a:gd name="connsiteY194" fmla="*/ 88127 h 125896"/>
                <a:gd name="connsiteX195" fmla="*/ 35408 w 133764"/>
                <a:gd name="connsiteY195" fmla="*/ 88127 h 125896"/>
                <a:gd name="connsiteX196" fmla="*/ 29900 w 133764"/>
                <a:gd name="connsiteY196" fmla="*/ 89308 h 125896"/>
                <a:gd name="connsiteX197" fmla="*/ 29507 w 133764"/>
                <a:gd name="connsiteY197" fmla="*/ 89308 h 125896"/>
                <a:gd name="connsiteX198" fmla="*/ 27933 w 133764"/>
                <a:gd name="connsiteY198" fmla="*/ 89308 h 125896"/>
                <a:gd name="connsiteX199" fmla="*/ 25179 w 133764"/>
                <a:gd name="connsiteY199" fmla="*/ 89701 h 125896"/>
                <a:gd name="connsiteX200" fmla="*/ 22032 w 133764"/>
                <a:gd name="connsiteY200" fmla="*/ 89701 h 125896"/>
                <a:gd name="connsiteX201" fmla="*/ 20065 w 133764"/>
                <a:gd name="connsiteY201" fmla="*/ 92455 h 125896"/>
                <a:gd name="connsiteX202" fmla="*/ 17310 w 133764"/>
                <a:gd name="connsiteY202" fmla="*/ 94029 h 125896"/>
                <a:gd name="connsiteX203" fmla="*/ 14557 w 133764"/>
                <a:gd name="connsiteY203" fmla="*/ 94422 h 125896"/>
                <a:gd name="connsiteX204" fmla="*/ 16524 w 133764"/>
                <a:gd name="connsiteY204" fmla="*/ 97570 h 125896"/>
                <a:gd name="connsiteX205" fmla="*/ 12196 w 133764"/>
                <a:gd name="connsiteY205" fmla="*/ 100324 h 125896"/>
                <a:gd name="connsiteX206" fmla="*/ 11409 w 133764"/>
                <a:gd name="connsiteY206" fmla="*/ 98750 h 125896"/>
                <a:gd name="connsiteX207" fmla="*/ 8655 w 133764"/>
                <a:gd name="connsiteY207" fmla="*/ 101111 h 125896"/>
                <a:gd name="connsiteX208" fmla="*/ 5901 w 133764"/>
                <a:gd name="connsiteY208" fmla="*/ 99930 h 125896"/>
                <a:gd name="connsiteX209" fmla="*/ 2754 w 133764"/>
                <a:gd name="connsiteY209" fmla="*/ 101504 h 125896"/>
                <a:gd name="connsiteX210" fmla="*/ 0 w 133764"/>
                <a:gd name="connsiteY210" fmla="*/ 103078 h 125896"/>
                <a:gd name="connsiteX211" fmla="*/ 393 w 133764"/>
                <a:gd name="connsiteY211" fmla="*/ 105832 h 125896"/>
                <a:gd name="connsiteX212" fmla="*/ 3147 w 133764"/>
                <a:gd name="connsiteY212" fmla="*/ 105438 h 125896"/>
                <a:gd name="connsiteX213" fmla="*/ 5901 w 133764"/>
                <a:gd name="connsiteY213" fmla="*/ 105045 h 125896"/>
                <a:gd name="connsiteX214" fmla="*/ 8655 w 133764"/>
                <a:gd name="connsiteY214" fmla="*/ 105045 h 125896"/>
                <a:gd name="connsiteX215" fmla="*/ 11803 w 133764"/>
                <a:gd name="connsiteY215" fmla="*/ 104651 h 125896"/>
                <a:gd name="connsiteX216" fmla="*/ 11409 w 133764"/>
                <a:gd name="connsiteY216" fmla="*/ 107799 h 125896"/>
                <a:gd name="connsiteX217" fmla="*/ 11016 w 133764"/>
                <a:gd name="connsiteY217" fmla="*/ 107799 h 125896"/>
                <a:gd name="connsiteX218" fmla="*/ 8262 w 133764"/>
                <a:gd name="connsiteY218" fmla="*/ 108192 h 125896"/>
                <a:gd name="connsiteX219" fmla="*/ 5114 w 133764"/>
                <a:gd name="connsiteY219" fmla="*/ 109373 h 125896"/>
                <a:gd name="connsiteX220" fmla="*/ 3934 w 133764"/>
                <a:gd name="connsiteY220" fmla="*/ 112127 h 125896"/>
                <a:gd name="connsiteX221" fmla="*/ 1180 w 133764"/>
                <a:gd name="connsiteY221" fmla="*/ 113307 h 125896"/>
                <a:gd name="connsiteX222" fmla="*/ 1967 w 133764"/>
                <a:gd name="connsiteY222" fmla="*/ 116061 h 125896"/>
                <a:gd name="connsiteX223" fmla="*/ 4721 w 133764"/>
                <a:gd name="connsiteY223" fmla="*/ 116061 h 125896"/>
                <a:gd name="connsiteX224" fmla="*/ 7475 w 133764"/>
                <a:gd name="connsiteY224" fmla="*/ 117241 h 125896"/>
                <a:gd name="connsiteX225" fmla="*/ 10622 w 133764"/>
                <a:gd name="connsiteY225" fmla="*/ 116454 h 125896"/>
                <a:gd name="connsiteX226" fmla="*/ 12983 w 133764"/>
                <a:gd name="connsiteY226" fmla="*/ 116848 h 125896"/>
                <a:gd name="connsiteX227" fmla="*/ 10229 w 133764"/>
                <a:gd name="connsiteY227" fmla="*/ 119208 h 125896"/>
                <a:gd name="connsiteX228" fmla="*/ 9836 w 133764"/>
                <a:gd name="connsiteY228" fmla="*/ 119602 h 125896"/>
                <a:gd name="connsiteX229" fmla="*/ 7081 w 133764"/>
                <a:gd name="connsiteY229" fmla="*/ 121962 h 125896"/>
                <a:gd name="connsiteX230" fmla="*/ 9836 w 133764"/>
                <a:gd name="connsiteY230" fmla="*/ 121569 h 125896"/>
                <a:gd name="connsiteX231" fmla="*/ 18491 w 133764"/>
                <a:gd name="connsiteY231" fmla="*/ 120782 h 125896"/>
                <a:gd name="connsiteX232" fmla="*/ 18098 w 133764"/>
                <a:gd name="connsiteY232" fmla="*/ 120782 h 125896"/>
                <a:gd name="connsiteX233" fmla="*/ 14950 w 133764"/>
                <a:gd name="connsiteY233" fmla="*/ 123142 h 125896"/>
                <a:gd name="connsiteX234" fmla="*/ 18098 w 133764"/>
                <a:gd name="connsiteY234" fmla="*/ 121962 h 125896"/>
                <a:gd name="connsiteX235" fmla="*/ 20851 w 133764"/>
                <a:gd name="connsiteY235" fmla="*/ 121569 h 125896"/>
                <a:gd name="connsiteX236" fmla="*/ 18098 w 133764"/>
                <a:gd name="connsiteY236" fmla="*/ 123142 h 125896"/>
                <a:gd name="connsiteX237" fmla="*/ 15737 w 133764"/>
                <a:gd name="connsiteY237" fmla="*/ 125896 h 125896"/>
                <a:gd name="connsiteX238" fmla="*/ 18491 w 133764"/>
                <a:gd name="connsiteY238" fmla="*/ 124716 h 125896"/>
                <a:gd name="connsiteX239" fmla="*/ 21245 w 133764"/>
                <a:gd name="connsiteY239" fmla="*/ 124323 h 125896"/>
                <a:gd name="connsiteX240" fmla="*/ 24392 w 133764"/>
                <a:gd name="connsiteY240" fmla="*/ 124716 h 125896"/>
                <a:gd name="connsiteX241" fmla="*/ 27146 w 133764"/>
                <a:gd name="connsiteY241" fmla="*/ 125110 h 125896"/>
                <a:gd name="connsiteX242" fmla="*/ 32654 w 133764"/>
                <a:gd name="connsiteY242" fmla="*/ 123536 h 125896"/>
                <a:gd name="connsiteX243" fmla="*/ 35408 w 133764"/>
                <a:gd name="connsiteY243" fmla="*/ 123142 h 125896"/>
                <a:gd name="connsiteX244" fmla="*/ 38162 w 133764"/>
                <a:gd name="connsiteY244" fmla="*/ 122356 h 125896"/>
                <a:gd name="connsiteX245" fmla="*/ 41310 w 133764"/>
                <a:gd name="connsiteY245" fmla="*/ 122749 h 125896"/>
                <a:gd name="connsiteX246" fmla="*/ 44064 w 133764"/>
                <a:gd name="connsiteY246" fmla="*/ 120782 h 125896"/>
                <a:gd name="connsiteX247" fmla="*/ 46817 w 133764"/>
                <a:gd name="connsiteY247" fmla="*/ 121569 h 125896"/>
                <a:gd name="connsiteX248" fmla="*/ 48784 w 133764"/>
                <a:gd name="connsiteY248" fmla="*/ 118815 h 125896"/>
                <a:gd name="connsiteX249" fmla="*/ 50358 w 133764"/>
                <a:gd name="connsiteY249" fmla="*/ 118421 h 125896"/>
                <a:gd name="connsiteX250" fmla="*/ 53113 w 133764"/>
                <a:gd name="connsiteY250" fmla="*/ 117241 h 125896"/>
                <a:gd name="connsiteX251" fmla="*/ 53506 w 133764"/>
                <a:gd name="connsiteY251" fmla="*/ 114487 h 125896"/>
                <a:gd name="connsiteX252" fmla="*/ 50752 w 133764"/>
                <a:gd name="connsiteY252" fmla="*/ 112913 h 125896"/>
                <a:gd name="connsiteX253" fmla="*/ 51932 w 133764"/>
                <a:gd name="connsiteY253" fmla="*/ 112520 h 125896"/>
                <a:gd name="connsiteX254" fmla="*/ 54293 w 133764"/>
                <a:gd name="connsiteY254" fmla="*/ 112520 h 125896"/>
                <a:gd name="connsiteX255" fmla="*/ 57047 w 133764"/>
                <a:gd name="connsiteY255" fmla="*/ 112913 h 125896"/>
                <a:gd name="connsiteX256" fmla="*/ 55866 w 133764"/>
                <a:gd name="connsiteY256" fmla="*/ 115667 h 125896"/>
                <a:gd name="connsiteX257" fmla="*/ 59014 w 133764"/>
                <a:gd name="connsiteY257" fmla="*/ 115274 h 125896"/>
                <a:gd name="connsiteX258" fmla="*/ 61768 w 133764"/>
                <a:gd name="connsiteY258" fmla="*/ 113700 h 125896"/>
                <a:gd name="connsiteX259" fmla="*/ 64522 w 133764"/>
                <a:gd name="connsiteY259" fmla="*/ 112913 h 125896"/>
                <a:gd name="connsiteX260" fmla="*/ 65702 w 133764"/>
                <a:gd name="connsiteY260" fmla="*/ 110159 h 125896"/>
                <a:gd name="connsiteX261" fmla="*/ 66095 w 133764"/>
                <a:gd name="connsiteY261" fmla="*/ 110159 h 125896"/>
                <a:gd name="connsiteX262" fmla="*/ 67276 w 133764"/>
                <a:gd name="connsiteY262" fmla="*/ 110946 h 125896"/>
                <a:gd name="connsiteX263" fmla="*/ 70030 w 133764"/>
                <a:gd name="connsiteY263" fmla="*/ 110159 h 125896"/>
                <a:gd name="connsiteX264" fmla="*/ 72784 w 133764"/>
                <a:gd name="connsiteY264" fmla="*/ 109373 h 125896"/>
                <a:gd name="connsiteX265" fmla="*/ 72390 w 133764"/>
                <a:gd name="connsiteY265" fmla="*/ 106619 h 125896"/>
                <a:gd name="connsiteX266" fmla="*/ 73177 w 133764"/>
                <a:gd name="connsiteY266" fmla="*/ 106225 h 125896"/>
                <a:gd name="connsiteX267" fmla="*/ 74751 w 133764"/>
                <a:gd name="connsiteY267" fmla="*/ 106225 h 125896"/>
                <a:gd name="connsiteX268" fmla="*/ 77898 w 133764"/>
                <a:gd name="connsiteY268" fmla="*/ 105438 h 125896"/>
                <a:gd name="connsiteX269" fmla="*/ 80652 w 133764"/>
                <a:gd name="connsiteY269" fmla="*/ 105045 h 125896"/>
                <a:gd name="connsiteX270" fmla="*/ 83406 w 133764"/>
                <a:gd name="connsiteY270" fmla="*/ 105438 h 125896"/>
                <a:gd name="connsiteX271" fmla="*/ 86160 w 133764"/>
                <a:gd name="connsiteY271" fmla="*/ 105438 h 125896"/>
                <a:gd name="connsiteX272" fmla="*/ 88914 w 133764"/>
                <a:gd name="connsiteY272" fmla="*/ 103865 h 125896"/>
                <a:gd name="connsiteX273" fmla="*/ 88914 w 133764"/>
                <a:gd name="connsiteY273" fmla="*/ 101111 h 125896"/>
                <a:gd name="connsiteX274" fmla="*/ 88521 w 133764"/>
                <a:gd name="connsiteY274" fmla="*/ 100717 h 125896"/>
                <a:gd name="connsiteX275" fmla="*/ 88914 w 133764"/>
                <a:gd name="connsiteY275" fmla="*/ 100717 h 125896"/>
                <a:gd name="connsiteX276" fmla="*/ 88914 w 133764"/>
                <a:gd name="connsiteY276" fmla="*/ 100324 h 125896"/>
                <a:gd name="connsiteX277" fmla="*/ 89308 w 133764"/>
                <a:gd name="connsiteY277" fmla="*/ 100717 h 125896"/>
                <a:gd name="connsiteX278" fmla="*/ 89308 w 133764"/>
                <a:gd name="connsiteY278" fmla="*/ 101897 h 125896"/>
                <a:gd name="connsiteX279" fmla="*/ 91668 w 133764"/>
                <a:gd name="connsiteY279" fmla="*/ 104651 h 125896"/>
                <a:gd name="connsiteX280" fmla="*/ 94422 w 133764"/>
                <a:gd name="connsiteY280" fmla="*/ 103078 h 125896"/>
                <a:gd name="connsiteX281" fmla="*/ 97176 w 133764"/>
                <a:gd name="connsiteY281" fmla="*/ 103471 h 125896"/>
                <a:gd name="connsiteX282" fmla="*/ 100324 w 133764"/>
                <a:gd name="connsiteY282" fmla="*/ 103865 h 125896"/>
                <a:gd name="connsiteX283" fmla="*/ 103078 w 133764"/>
                <a:gd name="connsiteY283" fmla="*/ 103865 h 125896"/>
                <a:gd name="connsiteX284" fmla="*/ 105831 w 133764"/>
                <a:gd name="connsiteY284" fmla="*/ 102291 h 125896"/>
                <a:gd name="connsiteX285" fmla="*/ 104651 w 133764"/>
                <a:gd name="connsiteY285" fmla="*/ 99143 h 125896"/>
                <a:gd name="connsiteX286" fmla="*/ 101897 w 133764"/>
                <a:gd name="connsiteY286" fmla="*/ 97963 h 125896"/>
                <a:gd name="connsiteX287" fmla="*/ 104258 w 133764"/>
                <a:gd name="connsiteY287" fmla="*/ 97963 h 125896"/>
                <a:gd name="connsiteX288" fmla="*/ 105438 w 133764"/>
                <a:gd name="connsiteY288" fmla="*/ 97176 h 125896"/>
                <a:gd name="connsiteX289" fmla="*/ 107798 w 133764"/>
                <a:gd name="connsiteY289" fmla="*/ 94422 h 125896"/>
                <a:gd name="connsiteX290" fmla="*/ 110159 w 133764"/>
                <a:gd name="connsiteY290" fmla="*/ 91668 h 125896"/>
                <a:gd name="connsiteX291" fmla="*/ 109766 w 133764"/>
                <a:gd name="connsiteY291" fmla="*/ 89308 h 125896"/>
                <a:gd name="connsiteX292" fmla="*/ 112127 w 133764"/>
                <a:gd name="connsiteY292" fmla="*/ 85767 h 125896"/>
                <a:gd name="connsiteX293" fmla="*/ 112520 w 133764"/>
                <a:gd name="connsiteY293" fmla="*/ 81833 h 125896"/>
                <a:gd name="connsiteX294" fmla="*/ 20065 w 133764"/>
                <a:gd name="connsiteY294" fmla="*/ 35408 h 125896"/>
                <a:gd name="connsiteX295" fmla="*/ 20851 w 133764"/>
                <a:gd name="connsiteY295" fmla="*/ 36589 h 125896"/>
                <a:gd name="connsiteX296" fmla="*/ 20851 w 133764"/>
                <a:gd name="connsiteY296" fmla="*/ 36982 h 125896"/>
                <a:gd name="connsiteX297" fmla="*/ 20065 w 133764"/>
                <a:gd name="connsiteY297" fmla="*/ 35408 h 125896"/>
                <a:gd name="connsiteX298" fmla="*/ 21245 w 133764"/>
                <a:gd name="connsiteY298" fmla="*/ 40523 h 125896"/>
                <a:gd name="connsiteX299" fmla="*/ 21245 w 133764"/>
                <a:gd name="connsiteY299" fmla="*/ 38949 h 125896"/>
                <a:gd name="connsiteX300" fmla="*/ 22818 w 133764"/>
                <a:gd name="connsiteY300" fmla="*/ 38556 h 125896"/>
                <a:gd name="connsiteX301" fmla="*/ 22425 w 133764"/>
                <a:gd name="connsiteY301" fmla="*/ 41703 h 125896"/>
                <a:gd name="connsiteX302" fmla="*/ 23606 w 133764"/>
                <a:gd name="connsiteY302" fmla="*/ 44457 h 125896"/>
                <a:gd name="connsiteX303" fmla="*/ 23212 w 133764"/>
                <a:gd name="connsiteY303" fmla="*/ 43277 h 125896"/>
                <a:gd name="connsiteX304" fmla="*/ 21245 w 133764"/>
                <a:gd name="connsiteY304" fmla="*/ 40523 h 125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</a:cxnLst>
              <a:rect l="l" t="t" r="r" b="b"/>
              <a:pathLst>
                <a:path w="133764" h="125896">
                  <a:moveTo>
                    <a:pt x="112520" y="81833"/>
                  </a:moveTo>
                  <a:lnTo>
                    <a:pt x="114094" y="79079"/>
                  </a:lnTo>
                  <a:lnTo>
                    <a:pt x="116454" y="76325"/>
                  </a:lnTo>
                  <a:lnTo>
                    <a:pt x="116061" y="73177"/>
                  </a:lnTo>
                  <a:lnTo>
                    <a:pt x="116454" y="70423"/>
                  </a:lnTo>
                  <a:lnTo>
                    <a:pt x="115274" y="67669"/>
                  </a:lnTo>
                  <a:lnTo>
                    <a:pt x="114880" y="66882"/>
                  </a:lnTo>
                  <a:lnTo>
                    <a:pt x="113307" y="64129"/>
                  </a:lnTo>
                  <a:lnTo>
                    <a:pt x="115274" y="61375"/>
                  </a:lnTo>
                  <a:lnTo>
                    <a:pt x="114487" y="59801"/>
                  </a:lnTo>
                  <a:lnTo>
                    <a:pt x="114487" y="59014"/>
                  </a:lnTo>
                  <a:lnTo>
                    <a:pt x="115274" y="59014"/>
                  </a:lnTo>
                  <a:lnTo>
                    <a:pt x="115274" y="58620"/>
                  </a:lnTo>
                  <a:lnTo>
                    <a:pt x="115274" y="58620"/>
                  </a:lnTo>
                  <a:lnTo>
                    <a:pt x="116061" y="56260"/>
                  </a:lnTo>
                  <a:lnTo>
                    <a:pt x="113307" y="54293"/>
                  </a:lnTo>
                  <a:lnTo>
                    <a:pt x="112520" y="51145"/>
                  </a:lnTo>
                  <a:lnTo>
                    <a:pt x="112913" y="53506"/>
                  </a:lnTo>
                  <a:lnTo>
                    <a:pt x="112520" y="52719"/>
                  </a:lnTo>
                  <a:lnTo>
                    <a:pt x="112520" y="51145"/>
                  </a:lnTo>
                  <a:lnTo>
                    <a:pt x="112913" y="49572"/>
                  </a:lnTo>
                  <a:lnTo>
                    <a:pt x="112913" y="47211"/>
                  </a:lnTo>
                  <a:lnTo>
                    <a:pt x="113307" y="42097"/>
                  </a:lnTo>
                  <a:lnTo>
                    <a:pt x="113700" y="42097"/>
                  </a:lnTo>
                  <a:lnTo>
                    <a:pt x="116454" y="40916"/>
                  </a:lnTo>
                  <a:lnTo>
                    <a:pt x="113700" y="38949"/>
                  </a:lnTo>
                  <a:lnTo>
                    <a:pt x="113700" y="38556"/>
                  </a:lnTo>
                  <a:lnTo>
                    <a:pt x="114094" y="38556"/>
                  </a:lnTo>
                  <a:lnTo>
                    <a:pt x="116847" y="39736"/>
                  </a:lnTo>
                  <a:lnTo>
                    <a:pt x="119601" y="40129"/>
                  </a:lnTo>
                  <a:lnTo>
                    <a:pt x="122356" y="38556"/>
                  </a:lnTo>
                  <a:lnTo>
                    <a:pt x="123929" y="35802"/>
                  </a:lnTo>
                  <a:lnTo>
                    <a:pt x="126683" y="33835"/>
                  </a:lnTo>
                  <a:lnTo>
                    <a:pt x="128257" y="33835"/>
                  </a:lnTo>
                  <a:lnTo>
                    <a:pt x="131011" y="33048"/>
                  </a:lnTo>
                  <a:lnTo>
                    <a:pt x="132191" y="29900"/>
                  </a:lnTo>
                  <a:lnTo>
                    <a:pt x="130224" y="26753"/>
                  </a:lnTo>
                  <a:lnTo>
                    <a:pt x="132585" y="29900"/>
                  </a:lnTo>
                  <a:lnTo>
                    <a:pt x="132585" y="26753"/>
                  </a:lnTo>
                  <a:lnTo>
                    <a:pt x="132585" y="27146"/>
                  </a:lnTo>
                  <a:lnTo>
                    <a:pt x="132191" y="29900"/>
                  </a:lnTo>
                  <a:lnTo>
                    <a:pt x="134552" y="28720"/>
                  </a:lnTo>
                  <a:lnTo>
                    <a:pt x="134945" y="25573"/>
                  </a:lnTo>
                  <a:lnTo>
                    <a:pt x="134158" y="22819"/>
                  </a:lnTo>
                  <a:lnTo>
                    <a:pt x="132585" y="20065"/>
                  </a:lnTo>
                  <a:lnTo>
                    <a:pt x="127470" y="20065"/>
                  </a:lnTo>
                  <a:lnTo>
                    <a:pt x="124716" y="21638"/>
                  </a:lnTo>
                  <a:lnTo>
                    <a:pt x="123929" y="21245"/>
                  </a:lnTo>
                  <a:lnTo>
                    <a:pt x="124716" y="20065"/>
                  </a:lnTo>
                  <a:lnTo>
                    <a:pt x="127076" y="18884"/>
                  </a:lnTo>
                  <a:lnTo>
                    <a:pt x="129831" y="17311"/>
                  </a:lnTo>
                  <a:lnTo>
                    <a:pt x="129831" y="15737"/>
                  </a:lnTo>
                  <a:lnTo>
                    <a:pt x="128650" y="15737"/>
                  </a:lnTo>
                  <a:lnTo>
                    <a:pt x="126290" y="12983"/>
                  </a:lnTo>
                  <a:lnTo>
                    <a:pt x="126290" y="12983"/>
                  </a:lnTo>
                  <a:lnTo>
                    <a:pt x="123536" y="10229"/>
                  </a:lnTo>
                  <a:lnTo>
                    <a:pt x="123536" y="8262"/>
                  </a:lnTo>
                  <a:lnTo>
                    <a:pt x="122356" y="6688"/>
                  </a:lnTo>
                  <a:lnTo>
                    <a:pt x="121962" y="3934"/>
                  </a:lnTo>
                  <a:lnTo>
                    <a:pt x="119208" y="3541"/>
                  </a:lnTo>
                  <a:lnTo>
                    <a:pt x="116061" y="3147"/>
                  </a:lnTo>
                  <a:lnTo>
                    <a:pt x="113307" y="2754"/>
                  </a:lnTo>
                  <a:lnTo>
                    <a:pt x="110553" y="3147"/>
                  </a:lnTo>
                  <a:lnTo>
                    <a:pt x="108192" y="3541"/>
                  </a:lnTo>
                  <a:lnTo>
                    <a:pt x="105438" y="4721"/>
                  </a:lnTo>
                  <a:lnTo>
                    <a:pt x="102684" y="5115"/>
                  </a:lnTo>
                  <a:lnTo>
                    <a:pt x="99537" y="4328"/>
                  </a:lnTo>
                  <a:lnTo>
                    <a:pt x="94422" y="9049"/>
                  </a:lnTo>
                  <a:lnTo>
                    <a:pt x="91668" y="9049"/>
                  </a:lnTo>
                  <a:lnTo>
                    <a:pt x="91668" y="8655"/>
                  </a:lnTo>
                  <a:lnTo>
                    <a:pt x="93635" y="6688"/>
                  </a:lnTo>
                  <a:lnTo>
                    <a:pt x="96389" y="5115"/>
                  </a:lnTo>
                  <a:lnTo>
                    <a:pt x="99143" y="2754"/>
                  </a:lnTo>
                  <a:lnTo>
                    <a:pt x="96389" y="1967"/>
                  </a:lnTo>
                  <a:lnTo>
                    <a:pt x="93635" y="0"/>
                  </a:lnTo>
                  <a:lnTo>
                    <a:pt x="90881" y="1574"/>
                  </a:lnTo>
                  <a:lnTo>
                    <a:pt x="88127" y="1967"/>
                  </a:lnTo>
                  <a:lnTo>
                    <a:pt x="84980" y="3541"/>
                  </a:lnTo>
                  <a:lnTo>
                    <a:pt x="86947" y="6688"/>
                  </a:lnTo>
                  <a:lnTo>
                    <a:pt x="86160" y="9442"/>
                  </a:lnTo>
                  <a:lnTo>
                    <a:pt x="83406" y="11016"/>
                  </a:lnTo>
                  <a:lnTo>
                    <a:pt x="82226" y="11016"/>
                  </a:lnTo>
                  <a:lnTo>
                    <a:pt x="82226" y="7869"/>
                  </a:lnTo>
                  <a:lnTo>
                    <a:pt x="84980" y="6295"/>
                  </a:lnTo>
                  <a:lnTo>
                    <a:pt x="83800" y="3541"/>
                  </a:lnTo>
                  <a:lnTo>
                    <a:pt x="82226" y="787"/>
                  </a:lnTo>
                  <a:lnTo>
                    <a:pt x="79472" y="1180"/>
                  </a:lnTo>
                  <a:lnTo>
                    <a:pt x="80259" y="3934"/>
                  </a:lnTo>
                  <a:lnTo>
                    <a:pt x="77505" y="3934"/>
                  </a:lnTo>
                  <a:lnTo>
                    <a:pt x="74751" y="2361"/>
                  </a:lnTo>
                  <a:lnTo>
                    <a:pt x="71997" y="3934"/>
                  </a:lnTo>
                  <a:lnTo>
                    <a:pt x="68850" y="4328"/>
                  </a:lnTo>
                  <a:lnTo>
                    <a:pt x="66095" y="4328"/>
                  </a:lnTo>
                  <a:lnTo>
                    <a:pt x="64522" y="7082"/>
                  </a:lnTo>
                  <a:lnTo>
                    <a:pt x="61768" y="9049"/>
                  </a:lnTo>
                  <a:lnTo>
                    <a:pt x="61374" y="11409"/>
                  </a:lnTo>
                  <a:lnTo>
                    <a:pt x="62948" y="14163"/>
                  </a:lnTo>
                  <a:lnTo>
                    <a:pt x="59801" y="13770"/>
                  </a:lnTo>
                  <a:lnTo>
                    <a:pt x="60194" y="16917"/>
                  </a:lnTo>
                  <a:lnTo>
                    <a:pt x="57440" y="16524"/>
                  </a:lnTo>
                  <a:lnTo>
                    <a:pt x="54293" y="17311"/>
                  </a:lnTo>
                  <a:lnTo>
                    <a:pt x="52719" y="20065"/>
                  </a:lnTo>
                  <a:lnTo>
                    <a:pt x="55473" y="21245"/>
                  </a:lnTo>
                  <a:lnTo>
                    <a:pt x="58620" y="21245"/>
                  </a:lnTo>
                  <a:lnTo>
                    <a:pt x="61374" y="22425"/>
                  </a:lnTo>
                  <a:lnTo>
                    <a:pt x="64128" y="22032"/>
                  </a:lnTo>
                  <a:lnTo>
                    <a:pt x="64915" y="22032"/>
                  </a:lnTo>
                  <a:lnTo>
                    <a:pt x="65702" y="25179"/>
                  </a:lnTo>
                  <a:lnTo>
                    <a:pt x="64128" y="25966"/>
                  </a:lnTo>
                  <a:lnTo>
                    <a:pt x="61374" y="26360"/>
                  </a:lnTo>
                  <a:lnTo>
                    <a:pt x="59407" y="26360"/>
                  </a:lnTo>
                  <a:lnTo>
                    <a:pt x="56653" y="28720"/>
                  </a:lnTo>
                  <a:lnTo>
                    <a:pt x="56653" y="29114"/>
                  </a:lnTo>
                  <a:lnTo>
                    <a:pt x="47998" y="33441"/>
                  </a:lnTo>
                  <a:lnTo>
                    <a:pt x="46031" y="32654"/>
                  </a:lnTo>
                  <a:lnTo>
                    <a:pt x="43277" y="33835"/>
                  </a:lnTo>
                  <a:lnTo>
                    <a:pt x="41703" y="36589"/>
                  </a:lnTo>
                  <a:lnTo>
                    <a:pt x="41310" y="37376"/>
                  </a:lnTo>
                  <a:lnTo>
                    <a:pt x="41310" y="36982"/>
                  </a:lnTo>
                  <a:lnTo>
                    <a:pt x="40129" y="34228"/>
                  </a:lnTo>
                  <a:lnTo>
                    <a:pt x="37376" y="31868"/>
                  </a:lnTo>
                  <a:lnTo>
                    <a:pt x="34228" y="32261"/>
                  </a:lnTo>
                  <a:lnTo>
                    <a:pt x="31474" y="31868"/>
                  </a:lnTo>
                  <a:lnTo>
                    <a:pt x="28720" y="31868"/>
                  </a:lnTo>
                  <a:lnTo>
                    <a:pt x="25966" y="33835"/>
                  </a:lnTo>
                  <a:lnTo>
                    <a:pt x="20458" y="32261"/>
                  </a:lnTo>
                  <a:lnTo>
                    <a:pt x="18884" y="35015"/>
                  </a:lnTo>
                  <a:lnTo>
                    <a:pt x="18098" y="37769"/>
                  </a:lnTo>
                  <a:lnTo>
                    <a:pt x="20458" y="35015"/>
                  </a:lnTo>
                  <a:lnTo>
                    <a:pt x="20851" y="39736"/>
                  </a:lnTo>
                  <a:lnTo>
                    <a:pt x="20851" y="39736"/>
                  </a:lnTo>
                  <a:lnTo>
                    <a:pt x="20851" y="39736"/>
                  </a:lnTo>
                  <a:lnTo>
                    <a:pt x="21245" y="44064"/>
                  </a:lnTo>
                  <a:lnTo>
                    <a:pt x="20065" y="41310"/>
                  </a:lnTo>
                  <a:lnTo>
                    <a:pt x="19671" y="41310"/>
                  </a:lnTo>
                  <a:lnTo>
                    <a:pt x="16524" y="41703"/>
                  </a:lnTo>
                  <a:lnTo>
                    <a:pt x="13770" y="42883"/>
                  </a:lnTo>
                  <a:lnTo>
                    <a:pt x="16524" y="43277"/>
                  </a:lnTo>
                  <a:lnTo>
                    <a:pt x="19671" y="45244"/>
                  </a:lnTo>
                  <a:lnTo>
                    <a:pt x="21245" y="44457"/>
                  </a:lnTo>
                  <a:lnTo>
                    <a:pt x="21245" y="45244"/>
                  </a:lnTo>
                  <a:lnTo>
                    <a:pt x="21638" y="46818"/>
                  </a:lnTo>
                  <a:lnTo>
                    <a:pt x="22032" y="46818"/>
                  </a:lnTo>
                  <a:lnTo>
                    <a:pt x="23606" y="49965"/>
                  </a:lnTo>
                  <a:lnTo>
                    <a:pt x="20851" y="51932"/>
                  </a:lnTo>
                  <a:lnTo>
                    <a:pt x="23212" y="54686"/>
                  </a:lnTo>
                  <a:lnTo>
                    <a:pt x="25966" y="55080"/>
                  </a:lnTo>
                  <a:lnTo>
                    <a:pt x="22818" y="55080"/>
                  </a:lnTo>
                  <a:lnTo>
                    <a:pt x="21245" y="54686"/>
                  </a:lnTo>
                  <a:lnTo>
                    <a:pt x="18098" y="55080"/>
                  </a:lnTo>
                  <a:lnTo>
                    <a:pt x="18098" y="56260"/>
                  </a:lnTo>
                  <a:lnTo>
                    <a:pt x="17704" y="57047"/>
                  </a:lnTo>
                  <a:lnTo>
                    <a:pt x="17310" y="56260"/>
                  </a:lnTo>
                  <a:lnTo>
                    <a:pt x="14557" y="57834"/>
                  </a:lnTo>
                  <a:lnTo>
                    <a:pt x="17310" y="59801"/>
                  </a:lnTo>
                  <a:lnTo>
                    <a:pt x="14557" y="61768"/>
                  </a:lnTo>
                  <a:lnTo>
                    <a:pt x="17310" y="62555"/>
                  </a:lnTo>
                  <a:lnTo>
                    <a:pt x="21245" y="63342"/>
                  </a:lnTo>
                  <a:lnTo>
                    <a:pt x="20458" y="64522"/>
                  </a:lnTo>
                  <a:lnTo>
                    <a:pt x="23606" y="64915"/>
                  </a:lnTo>
                  <a:lnTo>
                    <a:pt x="26359" y="64915"/>
                  </a:lnTo>
                  <a:lnTo>
                    <a:pt x="28720" y="67669"/>
                  </a:lnTo>
                  <a:lnTo>
                    <a:pt x="31474" y="67276"/>
                  </a:lnTo>
                  <a:lnTo>
                    <a:pt x="34621" y="66882"/>
                  </a:lnTo>
                  <a:lnTo>
                    <a:pt x="37376" y="66882"/>
                  </a:lnTo>
                  <a:lnTo>
                    <a:pt x="40129" y="66489"/>
                  </a:lnTo>
                  <a:lnTo>
                    <a:pt x="41703" y="70030"/>
                  </a:lnTo>
                  <a:lnTo>
                    <a:pt x="38949" y="70817"/>
                  </a:lnTo>
                  <a:lnTo>
                    <a:pt x="36195" y="70423"/>
                  </a:lnTo>
                  <a:lnTo>
                    <a:pt x="33441" y="71997"/>
                  </a:lnTo>
                  <a:lnTo>
                    <a:pt x="31080" y="74751"/>
                  </a:lnTo>
                  <a:lnTo>
                    <a:pt x="31474" y="77505"/>
                  </a:lnTo>
                  <a:lnTo>
                    <a:pt x="26359" y="83013"/>
                  </a:lnTo>
                  <a:lnTo>
                    <a:pt x="23606" y="84193"/>
                  </a:lnTo>
                  <a:lnTo>
                    <a:pt x="20851" y="86554"/>
                  </a:lnTo>
                  <a:lnTo>
                    <a:pt x="17704" y="88914"/>
                  </a:lnTo>
                  <a:lnTo>
                    <a:pt x="20458" y="88521"/>
                  </a:lnTo>
                  <a:lnTo>
                    <a:pt x="23606" y="87734"/>
                  </a:lnTo>
                  <a:lnTo>
                    <a:pt x="25179" y="87341"/>
                  </a:lnTo>
                  <a:lnTo>
                    <a:pt x="26753" y="86947"/>
                  </a:lnTo>
                  <a:lnTo>
                    <a:pt x="29900" y="87734"/>
                  </a:lnTo>
                  <a:lnTo>
                    <a:pt x="32654" y="88127"/>
                  </a:lnTo>
                  <a:lnTo>
                    <a:pt x="35408" y="87734"/>
                  </a:lnTo>
                  <a:lnTo>
                    <a:pt x="38162" y="84980"/>
                  </a:lnTo>
                  <a:lnTo>
                    <a:pt x="41310" y="82620"/>
                  </a:lnTo>
                  <a:lnTo>
                    <a:pt x="42883" y="84980"/>
                  </a:lnTo>
                  <a:lnTo>
                    <a:pt x="46031" y="85767"/>
                  </a:lnTo>
                  <a:lnTo>
                    <a:pt x="44064" y="86160"/>
                  </a:lnTo>
                  <a:lnTo>
                    <a:pt x="41310" y="86160"/>
                  </a:lnTo>
                  <a:lnTo>
                    <a:pt x="39343" y="87341"/>
                  </a:lnTo>
                  <a:lnTo>
                    <a:pt x="39736" y="87341"/>
                  </a:lnTo>
                  <a:lnTo>
                    <a:pt x="38556" y="87734"/>
                  </a:lnTo>
                  <a:lnTo>
                    <a:pt x="39343" y="87341"/>
                  </a:lnTo>
                  <a:lnTo>
                    <a:pt x="36195" y="88127"/>
                  </a:lnTo>
                  <a:lnTo>
                    <a:pt x="35802" y="88127"/>
                  </a:lnTo>
                  <a:lnTo>
                    <a:pt x="35408" y="88127"/>
                  </a:lnTo>
                  <a:lnTo>
                    <a:pt x="29900" y="89308"/>
                  </a:lnTo>
                  <a:lnTo>
                    <a:pt x="29507" y="89308"/>
                  </a:lnTo>
                  <a:lnTo>
                    <a:pt x="27933" y="89308"/>
                  </a:lnTo>
                  <a:lnTo>
                    <a:pt x="25179" y="89701"/>
                  </a:lnTo>
                  <a:lnTo>
                    <a:pt x="22032" y="89701"/>
                  </a:lnTo>
                  <a:lnTo>
                    <a:pt x="20065" y="92455"/>
                  </a:lnTo>
                  <a:lnTo>
                    <a:pt x="17310" y="94029"/>
                  </a:lnTo>
                  <a:lnTo>
                    <a:pt x="14557" y="94422"/>
                  </a:lnTo>
                  <a:lnTo>
                    <a:pt x="16524" y="97570"/>
                  </a:lnTo>
                  <a:lnTo>
                    <a:pt x="12196" y="100324"/>
                  </a:lnTo>
                  <a:lnTo>
                    <a:pt x="11409" y="98750"/>
                  </a:lnTo>
                  <a:lnTo>
                    <a:pt x="8655" y="101111"/>
                  </a:lnTo>
                  <a:lnTo>
                    <a:pt x="5901" y="99930"/>
                  </a:lnTo>
                  <a:lnTo>
                    <a:pt x="2754" y="101504"/>
                  </a:lnTo>
                  <a:lnTo>
                    <a:pt x="0" y="103078"/>
                  </a:lnTo>
                  <a:lnTo>
                    <a:pt x="393" y="105832"/>
                  </a:lnTo>
                  <a:lnTo>
                    <a:pt x="3147" y="105438"/>
                  </a:lnTo>
                  <a:lnTo>
                    <a:pt x="5901" y="105045"/>
                  </a:lnTo>
                  <a:lnTo>
                    <a:pt x="8655" y="105045"/>
                  </a:lnTo>
                  <a:lnTo>
                    <a:pt x="11803" y="104651"/>
                  </a:lnTo>
                  <a:lnTo>
                    <a:pt x="11409" y="107799"/>
                  </a:lnTo>
                  <a:lnTo>
                    <a:pt x="11016" y="107799"/>
                  </a:lnTo>
                  <a:lnTo>
                    <a:pt x="8262" y="108192"/>
                  </a:lnTo>
                  <a:lnTo>
                    <a:pt x="5114" y="109373"/>
                  </a:lnTo>
                  <a:lnTo>
                    <a:pt x="3934" y="112127"/>
                  </a:lnTo>
                  <a:lnTo>
                    <a:pt x="1180" y="113307"/>
                  </a:lnTo>
                  <a:lnTo>
                    <a:pt x="1967" y="116061"/>
                  </a:lnTo>
                  <a:lnTo>
                    <a:pt x="4721" y="116061"/>
                  </a:lnTo>
                  <a:lnTo>
                    <a:pt x="7475" y="117241"/>
                  </a:lnTo>
                  <a:lnTo>
                    <a:pt x="10622" y="116454"/>
                  </a:lnTo>
                  <a:lnTo>
                    <a:pt x="12983" y="116848"/>
                  </a:lnTo>
                  <a:lnTo>
                    <a:pt x="10229" y="119208"/>
                  </a:lnTo>
                  <a:lnTo>
                    <a:pt x="9836" y="119602"/>
                  </a:lnTo>
                  <a:lnTo>
                    <a:pt x="7081" y="121962"/>
                  </a:lnTo>
                  <a:lnTo>
                    <a:pt x="9836" y="121569"/>
                  </a:lnTo>
                  <a:lnTo>
                    <a:pt x="18491" y="120782"/>
                  </a:lnTo>
                  <a:lnTo>
                    <a:pt x="18098" y="120782"/>
                  </a:lnTo>
                  <a:lnTo>
                    <a:pt x="14950" y="123142"/>
                  </a:lnTo>
                  <a:lnTo>
                    <a:pt x="18098" y="121962"/>
                  </a:lnTo>
                  <a:lnTo>
                    <a:pt x="20851" y="121569"/>
                  </a:lnTo>
                  <a:lnTo>
                    <a:pt x="18098" y="123142"/>
                  </a:lnTo>
                  <a:lnTo>
                    <a:pt x="15737" y="125896"/>
                  </a:lnTo>
                  <a:lnTo>
                    <a:pt x="18491" y="124716"/>
                  </a:lnTo>
                  <a:lnTo>
                    <a:pt x="21245" y="124323"/>
                  </a:lnTo>
                  <a:lnTo>
                    <a:pt x="24392" y="124716"/>
                  </a:lnTo>
                  <a:lnTo>
                    <a:pt x="27146" y="125110"/>
                  </a:lnTo>
                  <a:lnTo>
                    <a:pt x="32654" y="123536"/>
                  </a:lnTo>
                  <a:lnTo>
                    <a:pt x="35408" y="123142"/>
                  </a:lnTo>
                  <a:lnTo>
                    <a:pt x="38162" y="122356"/>
                  </a:lnTo>
                  <a:lnTo>
                    <a:pt x="41310" y="122749"/>
                  </a:lnTo>
                  <a:lnTo>
                    <a:pt x="44064" y="120782"/>
                  </a:lnTo>
                  <a:lnTo>
                    <a:pt x="46817" y="121569"/>
                  </a:lnTo>
                  <a:lnTo>
                    <a:pt x="48784" y="118815"/>
                  </a:lnTo>
                  <a:lnTo>
                    <a:pt x="50358" y="118421"/>
                  </a:lnTo>
                  <a:lnTo>
                    <a:pt x="53113" y="117241"/>
                  </a:lnTo>
                  <a:lnTo>
                    <a:pt x="53506" y="114487"/>
                  </a:lnTo>
                  <a:lnTo>
                    <a:pt x="50752" y="112913"/>
                  </a:lnTo>
                  <a:lnTo>
                    <a:pt x="51932" y="112520"/>
                  </a:lnTo>
                  <a:lnTo>
                    <a:pt x="54293" y="112520"/>
                  </a:lnTo>
                  <a:lnTo>
                    <a:pt x="57047" y="112913"/>
                  </a:lnTo>
                  <a:lnTo>
                    <a:pt x="55866" y="115667"/>
                  </a:lnTo>
                  <a:lnTo>
                    <a:pt x="59014" y="115274"/>
                  </a:lnTo>
                  <a:lnTo>
                    <a:pt x="61768" y="113700"/>
                  </a:lnTo>
                  <a:lnTo>
                    <a:pt x="64522" y="112913"/>
                  </a:lnTo>
                  <a:lnTo>
                    <a:pt x="65702" y="110159"/>
                  </a:lnTo>
                  <a:lnTo>
                    <a:pt x="66095" y="110159"/>
                  </a:lnTo>
                  <a:lnTo>
                    <a:pt x="67276" y="110946"/>
                  </a:lnTo>
                  <a:lnTo>
                    <a:pt x="70030" y="110159"/>
                  </a:lnTo>
                  <a:lnTo>
                    <a:pt x="72784" y="109373"/>
                  </a:lnTo>
                  <a:lnTo>
                    <a:pt x="72390" y="106619"/>
                  </a:lnTo>
                  <a:lnTo>
                    <a:pt x="73177" y="106225"/>
                  </a:lnTo>
                  <a:lnTo>
                    <a:pt x="74751" y="106225"/>
                  </a:lnTo>
                  <a:lnTo>
                    <a:pt x="77898" y="105438"/>
                  </a:lnTo>
                  <a:lnTo>
                    <a:pt x="80652" y="105045"/>
                  </a:lnTo>
                  <a:lnTo>
                    <a:pt x="83406" y="105438"/>
                  </a:lnTo>
                  <a:lnTo>
                    <a:pt x="86160" y="105438"/>
                  </a:lnTo>
                  <a:lnTo>
                    <a:pt x="88914" y="103865"/>
                  </a:lnTo>
                  <a:lnTo>
                    <a:pt x="88914" y="101111"/>
                  </a:lnTo>
                  <a:lnTo>
                    <a:pt x="88521" y="100717"/>
                  </a:lnTo>
                  <a:lnTo>
                    <a:pt x="88914" y="100717"/>
                  </a:lnTo>
                  <a:lnTo>
                    <a:pt x="88914" y="100324"/>
                  </a:lnTo>
                  <a:lnTo>
                    <a:pt x="89308" y="100717"/>
                  </a:lnTo>
                  <a:lnTo>
                    <a:pt x="89308" y="101897"/>
                  </a:lnTo>
                  <a:lnTo>
                    <a:pt x="91668" y="104651"/>
                  </a:lnTo>
                  <a:lnTo>
                    <a:pt x="94422" y="103078"/>
                  </a:lnTo>
                  <a:lnTo>
                    <a:pt x="97176" y="103471"/>
                  </a:lnTo>
                  <a:lnTo>
                    <a:pt x="100324" y="103865"/>
                  </a:lnTo>
                  <a:lnTo>
                    <a:pt x="103078" y="103865"/>
                  </a:lnTo>
                  <a:lnTo>
                    <a:pt x="105831" y="102291"/>
                  </a:lnTo>
                  <a:lnTo>
                    <a:pt x="104651" y="99143"/>
                  </a:lnTo>
                  <a:lnTo>
                    <a:pt x="101897" y="97963"/>
                  </a:lnTo>
                  <a:lnTo>
                    <a:pt x="104258" y="97963"/>
                  </a:lnTo>
                  <a:lnTo>
                    <a:pt x="105438" y="97176"/>
                  </a:lnTo>
                  <a:lnTo>
                    <a:pt x="107798" y="94422"/>
                  </a:lnTo>
                  <a:lnTo>
                    <a:pt x="110159" y="91668"/>
                  </a:lnTo>
                  <a:lnTo>
                    <a:pt x="109766" y="89308"/>
                  </a:lnTo>
                  <a:lnTo>
                    <a:pt x="112127" y="85767"/>
                  </a:lnTo>
                  <a:lnTo>
                    <a:pt x="112520" y="81833"/>
                  </a:lnTo>
                  <a:close/>
                  <a:moveTo>
                    <a:pt x="20065" y="35408"/>
                  </a:moveTo>
                  <a:lnTo>
                    <a:pt x="20851" y="36589"/>
                  </a:lnTo>
                  <a:lnTo>
                    <a:pt x="20851" y="36982"/>
                  </a:lnTo>
                  <a:lnTo>
                    <a:pt x="20065" y="35408"/>
                  </a:lnTo>
                  <a:close/>
                  <a:moveTo>
                    <a:pt x="21245" y="40523"/>
                  </a:moveTo>
                  <a:lnTo>
                    <a:pt x="21245" y="38949"/>
                  </a:lnTo>
                  <a:lnTo>
                    <a:pt x="22818" y="38556"/>
                  </a:lnTo>
                  <a:lnTo>
                    <a:pt x="22425" y="41703"/>
                  </a:lnTo>
                  <a:lnTo>
                    <a:pt x="23606" y="44457"/>
                  </a:lnTo>
                  <a:lnTo>
                    <a:pt x="23212" y="43277"/>
                  </a:lnTo>
                  <a:lnTo>
                    <a:pt x="21245" y="4052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27" name="Freeform: Shape 3421">
              <a:extLst>
                <a:ext uri="{FF2B5EF4-FFF2-40B4-BE49-F238E27FC236}">
                  <a16:creationId xmlns:a16="http://schemas.microsoft.com/office/drawing/2014/main" id="{B7C86362-647D-4835-ADF3-E811ABE65F9E}"/>
                </a:ext>
              </a:extLst>
            </p:cNvPr>
            <p:cNvSpPr/>
            <p:nvPr/>
          </p:nvSpPr>
          <p:spPr>
            <a:xfrm>
              <a:off x="6020069" y="1736128"/>
              <a:ext cx="11803" cy="7869"/>
            </a:xfrm>
            <a:custGeom>
              <a:avLst/>
              <a:gdLst>
                <a:gd name="connsiteX0" fmla="*/ 1967 w 11802"/>
                <a:gd name="connsiteY0" fmla="*/ 5115 h 7868"/>
                <a:gd name="connsiteX1" fmla="*/ 4328 w 11802"/>
                <a:gd name="connsiteY1" fmla="*/ 6688 h 7868"/>
                <a:gd name="connsiteX2" fmla="*/ 6295 w 11802"/>
                <a:gd name="connsiteY2" fmla="*/ 6295 h 7868"/>
                <a:gd name="connsiteX3" fmla="*/ 10229 w 11802"/>
                <a:gd name="connsiteY3" fmla="*/ 7475 h 7868"/>
                <a:gd name="connsiteX4" fmla="*/ 11803 w 11802"/>
                <a:gd name="connsiteY4" fmla="*/ 7869 h 7868"/>
                <a:gd name="connsiteX5" fmla="*/ 14950 w 11802"/>
                <a:gd name="connsiteY5" fmla="*/ 5115 h 7868"/>
                <a:gd name="connsiteX6" fmla="*/ 12197 w 11802"/>
                <a:gd name="connsiteY6" fmla="*/ 4721 h 7868"/>
                <a:gd name="connsiteX7" fmla="*/ 9442 w 11802"/>
                <a:gd name="connsiteY7" fmla="*/ 4328 h 7868"/>
                <a:gd name="connsiteX8" fmla="*/ 6295 w 11802"/>
                <a:gd name="connsiteY8" fmla="*/ 3541 h 7868"/>
                <a:gd name="connsiteX9" fmla="*/ 5508 w 11802"/>
                <a:gd name="connsiteY9" fmla="*/ 787 h 7868"/>
                <a:gd name="connsiteX10" fmla="*/ 2754 w 11802"/>
                <a:gd name="connsiteY10" fmla="*/ 0 h 7868"/>
                <a:gd name="connsiteX11" fmla="*/ 0 w 11802"/>
                <a:gd name="connsiteY11" fmla="*/ 2361 h 7868"/>
                <a:gd name="connsiteX12" fmla="*/ 1967 w 11802"/>
                <a:gd name="connsiteY12" fmla="*/ 5115 h 7868"/>
                <a:gd name="connsiteX13" fmla="*/ 1967 w 11802"/>
                <a:gd name="connsiteY13" fmla="*/ 5115 h 7868"/>
                <a:gd name="connsiteX14" fmla="*/ 9049 w 11802"/>
                <a:gd name="connsiteY14" fmla="*/ 7082 h 7868"/>
                <a:gd name="connsiteX15" fmla="*/ 6295 w 11802"/>
                <a:gd name="connsiteY15" fmla="*/ 6295 h 7868"/>
                <a:gd name="connsiteX16" fmla="*/ 7082 w 11802"/>
                <a:gd name="connsiteY16" fmla="*/ 6295 h 7868"/>
                <a:gd name="connsiteX17" fmla="*/ 9049 w 11802"/>
                <a:gd name="connsiteY17" fmla="*/ 708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802" h="7868">
                  <a:moveTo>
                    <a:pt x="1967" y="5115"/>
                  </a:moveTo>
                  <a:lnTo>
                    <a:pt x="4328" y="6688"/>
                  </a:lnTo>
                  <a:lnTo>
                    <a:pt x="6295" y="6295"/>
                  </a:lnTo>
                  <a:lnTo>
                    <a:pt x="10229" y="7475"/>
                  </a:lnTo>
                  <a:lnTo>
                    <a:pt x="11803" y="7869"/>
                  </a:lnTo>
                  <a:lnTo>
                    <a:pt x="14950" y="5115"/>
                  </a:lnTo>
                  <a:lnTo>
                    <a:pt x="12197" y="4721"/>
                  </a:lnTo>
                  <a:lnTo>
                    <a:pt x="9442" y="4328"/>
                  </a:lnTo>
                  <a:lnTo>
                    <a:pt x="6295" y="3541"/>
                  </a:lnTo>
                  <a:lnTo>
                    <a:pt x="5508" y="787"/>
                  </a:lnTo>
                  <a:lnTo>
                    <a:pt x="2754" y="0"/>
                  </a:lnTo>
                  <a:lnTo>
                    <a:pt x="0" y="2361"/>
                  </a:lnTo>
                  <a:lnTo>
                    <a:pt x="1967" y="5115"/>
                  </a:lnTo>
                  <a:lnTo>
                    <a:pt x="1967" y="5115"/>
                  </a:lnTo>
                  <a:close/>
                  <a:moveTo>
                    <a:pt x="9049" y="7082"/>
                  </a:moveTo>
                  <a:lnTo>
                    <a:pt x="6295" y="6295"/>
                  </a:lnTo>
                  <a:lnTo>
                    <a:pt x="7082" y="6295"/>
                  </a:lnTo>
                  <a:lnTo>
                    <a:pt x="9049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28" name="Freeform: Shape 3422">
              <a:extLst>
                <a:ext uri="{FF2B5EF4-FFF2-40B4-BE49-F238E27FC236}">
                  <a16:creationId xmlns:a16="http://schemas.microsoft.com/office/drawing/2014/main" id="{1525C61D-9A9A-48E6-AFB6-459C0A14AED3}"/>
                </a:ext>
              </a:extLst>
            </p:cNvPr>
            <p:cNvSpPr/>
            <p:nvPr/>
          </p:nvSpPr>
          <p:spPr>
            <a:xfrm>
              <a:off x="6036199" y="1736522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29" name="Freeform: Shape 3423">
              <a:extLst>
                <a:ext uri="{FF2B5EF4-FFF2-40B4-BE49-F238E27FC236}">
                  <a16:creationId xmlns:a16="http://schemas.microsoft.com/office/drawing/2014/main" id="{D13A221A-7E01-4856-990E-EED08B137E00}"/>
                </a:ext>
              </a:extLst>
            </p:cNvPr>
            <p:cNvSpPr/>
            <p:nvPr/>
          </p:nvSpPr>
          <p:spPr>
            <a:xfrm>
              <a:off x="6033445" y="173298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3147 h 0"/>
                <a:gd name="connsiteX2" fmla="*/ 393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3147"/>
                  </a:lnTo>
                  <a:lnTo>
                    <a:pt x="393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30" name="Freeform: Shape 3424">
              <a:extLst>
                <a:ext uri="{FF2B5EF4-FFF2-40B4-BE49-F238E27FC236}">
                  <a16:creationId xmlns:a16="http://schemas.microsoft.com/office/drawing/2014/main" id="{528BF8D8-768A-4D7F-93BA-28CC9F42DA2F}"/>
                </a:ext>
              </a:extLst>
            </p:cNvPr>
            <p:cNvSpPr/>
            <p:nvPr/>
          </p:nvSpPr>
          <p:spPr>
            <a:xfrm>
              <a:off x="6018495" y="1742423"/>
              <a:ext cx="3934" cy="3934"/>
            </a:xfrm>
            <a:custGeom>
              <a:avLst/>
              <a:gdLst>
                <a:gd name="connsiteX0" fmla="*/ 2754 w 0"/>
                <a:gd name="connsiteY0" fmla="*/ 4328 h 3934"/>
                <a:gd name="connsiteX1" fmla="*/ 3147 w 0"/>
                <a:gd name="connsiteY1" fmla="*/ 1180 h 3934"/>
                <a:gd name="connsiteX2" fmla="*/ 0 w 0"/>
                <a:gd name="connsiteY2" fmla="*/ 0 h 3934"/>
                <a:gd name="connsiteX3" fmla="*/ 0 w 0"/>
                <a:gd name="connsiteY3" fmla="*/ 3147 h 3934"/>
                <a:gd name="connsiteX4" fmla="*/ 3147 w 0"/>
                <a:gd name="connsiteY4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2754" y="4328"/>
                  </a:moveTo>
                  <a:lnTo>
                    <a:pt x="3147" y="1180"/>
                  </a:lnTo>
                  <a:lnTo>
                    <a:pt x="0" y="0"/>
                  </a:lnTo>
                  <a:lnTo>
                    <a:pt x="0" y="3147"/>
                  </a:lnTo>
                  <a:lnTo>
                    <a:pt x="3147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31" name="Freeform: Shape 3425">
              <a:extLst>
                <a:ext uri="{FF2B5EF4-FFF2-40B4-BE49-F238E27FC236}">
                  <a16:creationId xmlns:a16="http://schemas.microsoft.com/office/drawing/2014/main" id="{016CC6C7-8A80-48C5-8BE3-C58712EF760E}"/>
                </a:ext>
              </a:extLst>
            </p:cNvPr>
            <p:cNvSpPr/>
            <p:nvPr/>
          </p:nvSpPr>
          <p:spPr>
            <a:xfrm>
              <a:off x="6027150" y="1745571"/>
              <a:ext cx="3934" cy="3934"/>
            </a:xfrm>
            <a:custGeom>
              <a:avLst/>
              <a:gdLst>
                <a:gd name="connsiteX0" fmla="*/ 1967 w 0"/>
                <a:gd name="connsiteY0" fmla="*/ 2754 h 0"/>
                <a:gd name="connsiteX1" fmla="*/ 2754 w 0"/>
                <a:gd name="connsiteY1" fmla="*/ 0 h 0"/>
                <a:gd name="connsiteX2" fmla="*/ 0 w 0"/>
                <a:gd name="connsiteY2" fmla="*/ 393 h 0"/>
                <a:gd name="connsiteX3" fmla="*/ 1180 w 0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967" y="2754"/>
                  </a:moveTo>
                  <a:lnTo>
                    <a:pt x="2754" y="0"/>
                  </a:lnTo>
                  <a:lnTo>
                    <a:pt x="0" y="393"/>
                  </a:lnTo>
                  <a:lnTo>
                    <a:pt x="118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32" name="Freeform: Shape 3426">
              <a:extLst>
                <a:ext uri="{FF2B5EF4-FFF2-40B4-BE49-F238E27FC236}">
                  <a16:creationId xmlns:a16="http://schemas.microsoft.com/office/drawing/2014/main" id="{C8969ED1-439D-4629-B1A2-EF9A863554E7}"/>
                </a:ext>
              </a:extLst>
            </p:cNvPr>
            <p:cNvSpPr/>
            <p:nvPr/>
          </p:nvSpPr>
          <p:spPr>
            <a:xfrm>
              <a:off x="6028724" y="1729440"/>
              <a:ext cx="3934" cy="3934"/>
            </a:xfrm>
            <a:custGeom>
              <a:avLst/>
              <a:gdLst>
                <a:gd name="connsiteX0" fmla="*/ 3147 w 0"/>
                <a:gd name="connsiteY0" fmla="*/ 2361 h 3934"/>
                <a:gd name="connsiteX1" fmla="*/ 393 w 0"/>
                <a:gd name="connsiteY1" fmla="*/ 0 h 3934"/>
                <a:gd name="connsiteX2" fmla="*/ 0 w 0"/>
                <a:gd name="connsiteY2" fmla="*/ 2754 h 3934"/>
                <a:gd name="connsiteX3" fmla="*/ 2754 w 0"/>
                <a:gd name="connsiteY3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147" y="2361"/>
                  </a:moveTo>
                  <a:lnTo>
                    <a:pt x="393" y="0"/>
                  </a:lnTo>
                  <a:lnTo>
                    <a:pt x="0" y="2754"/>
                  </a:lnTo>
                  <a:lnTo>
                    <a:pt x="2754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33" name="Freeform: Shape 3427">
              <a:extLst>
                <a:ext uri="{FF2B5EF4-FFF2-40B4-BE49-F238E27FC236}">
                  <a16:creationId xmlns:a16="http://schemas.microsoft.com/office/drawing/2014/main" id="{70C22977-5DDD-49CF-B216-9F2E3AE855F8}"/>
                </a:ext>
              </a:extLst>
            </p:cNvPr>
            <p:cNvSpPr/>
            <p:nvPr/>
          </p:nvSpPr>
          <p:spPr>
            <a:xfrm>
              <a:off x="6035806" y="1731407"/>
              <a:ext cx="3934" cy="3934"/>
            </a:xfrm>
            <a:custGeom>
              <a:avLst/>
              <a:gdLst>
                <a:gd name="connsiteX0" fmla="*/ 5508 w 3934"/>
                <a:gd name="connsiteY0" fmla="*/ 0 h 0"/>
                <a:gd name="connsiteX1" fmla="*/ 2361 w 3934"/>
                <a:gd name="connsiteY1" fmla="*/ 0 h 0"/>
                <a:gd name="connsiteX2" fmla="*/ 0 w 3934"/>
                <a:gd name="connsiteY2" fmla="*/ 3147 h 0"/>
                <a:gd name="connsiteX3" fmla="*/ 2361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508" y="0"/>
                  </a:moveTo>
                  <a:lnTo>
                    <a:pt x="2361" y="0"/>
                  </a:lnTo>
                  <a:lnTo>
                    <a:pt x="0" y="3147"/>
                  </a:lnTo>
                  <a:lnTo>
                    <a:pt x="2361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34" name="Freeform: Shape 3428">
              <a:extLst>
                <a:ext uri="{FF2B5EF4-FFF2-40B4-BE49-F238E27FC236}">
                  <a16:creationId xmlns:a16="http://schemas.microsoft.com/office/drawing/2014/main" id="{E8378266-9F29-47D7-8187-E2B359965E5E}"/>
                </a:ext>
              </a:extLst>
            </p:cNvPr>
            <p:cNvSpPr/>
            <p:nvPr/>
          </p:nvSpPr>
          <p:spPr>
            <a:xfrm>
              <a:off x="6044068" y="2004839"/>
              <a:ext cx="7869" cy="3934"/>
            </a:xfrm>
            <a:custGeom>
              <a:avLst/>
              <a:gdLst>
                <a:gd name="connsiteX0" fmla="*/ 0 w 7868"/>
                <a:gd name="connsiteY0" fmla="*/ 3541 h 3934"/>
                <a:gd name="connsiteX1" fmla="*/ 2754 w 7868"/>
                <a:gd name="connsiteY1" fmla="*/ 4721 h 3934"/>
                <a:gd name="connsiteX2" fmla="*/ 5508 w 7868"/>
                <a:gd name="connsiteY2" fmla="*/ 6295 h 3934"/>
                <a:gd name="connsiteX3" fmla="*/ 5901 w 7868"/>
                <a:gd name="connsiteY3" fmla="*/ 6295 h 3934"/>
                <a:gd name="connsiteX4" fmla="*/ 8655 w 7868"/>
                <a:gd name="connsiteY4" fmla="*/ 5508 h 3934"/>
                <a:gd name="connsiteX5" fmla="*/ 11409 w 7868"/>
                <a:gd name="connsiteY5" fmla="*/ 2754 h 3934"/>
                <a:gd name="connsiteX6" fmla="*/ 8655 w 7868"/>
                <a:gd name="connsiteY6" fmla="*/ 1180 h 3934"/>
                <a:gd name="connsiteX7" fmla="*/ 5508 w 7868"/>
                <a:gd name="connsiteY7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0" y="3541"/>
                  </a:moveTo>
                  <a:lnTo>
                    <a:pt x="2754" y="4721"/>
                  </a:lnTo>
                  <a:lnTo>
                    <a:pt x="5508" y="6295"/>
                  </a:lnTo>
                  <a:lnTo>
                    <a:pt x="5901" y="6295"/>
                  </a:lnTo>
                  <a:lnTo>
                    <a:pt x="8655" y="5508"/>
                  </a:lnTo>
                  <a:lnTo>
                    <a:pt x="11409" y="2754"/>
                  </a:lnTo>
                  <a:lnTo>
                    <a:pt x="8655" y="1180"/>
                  </a:lnTo>
                  <a:lnTo>
                    <a:pt x="550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35" name="Freeform: Shape 3429">
              <a:extLst>
                <a:ext uri="{FF2B5EF4-FFF2-40B4-BE49-F238E27FC236}">
                  <a16:creationId xmlns:a16="http://schemas.microsoft.com/office/drawing/2014/main" id="{087A9F98-6D3A-4D2A-96ED-F8B69BCF1AD7}"/>
                </a:ext>
              </a:extLst>
            </p:cNvPr>
            <p:cNvSpPr/>
            <p:nvPr/>
          </p:nvSpPr>
          <p:spPr>
            <a:xfrm>
              <a:off x="6302156" y="1853763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967 w 0"/>
                <a:gd name="connsiteY1" fmla="*/ 3147 h 0"/>
                <a:gd name="connsiteX2" fmla="*/ 236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967" y="3147"/>
                  </a:lnTo>
                  <a:lnTo>
                    <a:pt x="236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36" name="Freeform: Shape 3430">
              <a:extLst>
                <a:ext uri="{FF2B5EF4-FFF2-40B4-BE49-F238E27FC236}">
                  <a16:creationId xmlns:a16="http://schemas.microsoft.com/office/drawing/2014/main" id="{433CF977-A954-42B1-BF47-3680E69015BA}"/>
                </a:ext>
              </a:extLst>
            </p:cNvPr>
            <p:cNvSpPr/>
            <p:nvPr/>
          </p:nvSpPr>
          <p:spPr>
            <a:xfrm>
              <a:off x="6306876" y="1804978"/>
              <a:ext cx="7869" cy="7869"/>
            </a:xfrm>
            <a:custGeom>
              <a:avLst/>
              <a:gdLst>
                <a:gd name="connsiteX0" fmla="*/ 8656 w 7868"/>
                <a:gd name="connsiteY0" fmla="*/ 2754 h 7868"/>
                <a:gd name="connsiteX1" fmla="*/ 8262 w 7868"/>
                <a:gd name="connsiteY1" fmla="*/ 0 h 7868"/>
                <a:gd name="connsiteX2" fmla="*/ 5508 w 7868"/>
                <a:gd name="connsiteY2" fmla="*/ 1574 h 7868"/>
                <a:gd name="connsiteX3" fmla="*/ 2754 w 7868"/>
                <a:gd name="connsiteY3" fmla="*/ 2361 h 7868"/>
                <a:gd name="connsiteX4" fmla="*/ 2754 w 7868"/>
                <a:gd name="connsiteY4" fmla="*/ 4721 h 7868"/>
                <a:gd name="connsiteX5" fmla="*/ 0 w 7868"/>
                <a:gd name="connsiteY5" fmla="*/ 6688 h 7868"/>
                <a:gd name="connsiteX6" fmla="*/ 2754 w 7868"/>
                <a:gd name="connsiteY6" fmla="*/ 9049 h 7868"/>
                <a:gd name="connsiteX7" fmla="*/ 4721 w 7868"/>
                <a:gd name="connsiteY7" fmla="*/ 8262 h 7868"/>
                <a:gd name="connsiteX8" fmla="*/ 7475 w 7868"/>
                <a:gd name="connsiteY8" fmla="*/ 550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7868">
                  <a:moveTo>
                    <a:pt x="8656" y="2754"/>
                  </a:moveTo>
                  <a:lnTo>
                    <a:pt x="8262" y="0"/>
                  </a:lnTo>
                  <a:lnTo>
                    <a:pt x="5508" y="1574"/>
                  </a:lnTo>
                  <a:lnTo>
                    <a:pt x="2754" y="2361"/>
                  </a:lnTo>
                  <a:lnTo>
                    <a:pt x="2754" y="4721"/>
                  </a:lnTo>
                  <a:lnTo>
                    <a:pt x="0" y="6688"/>
                  </a:lnTo>
                  <a:lnTo>
                    <a:pt x="2754" y="9049"/>
                  </a:lnTo>
                  <a:lnTo>
                    <a:pt x="4721" y="8262"/>
                  </a:lnTo>
                  <a:lnTo>
                    <a:pt x="7475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37" name="Freeform: Shape 3431">
              <a:extLst>
                <a:ext uri="{FF2B5EF4-FFF2-40B4-BE49-F238E27FC236}">
                  <a16:creationId xmlns:a16="http://schemas.microsoft.com/office/drawing/2014/main" id="{5BE711D5-1B4D-46EF-A736-44E784DA28BF}"/>
                </a:ext>
              </a:extLst>
            </p:cNvPr>
            <p:cNvSpPr/>
            <p:nvPr/>
          </p:nvSpPr>
          <p:spPr>
            <a:xfrm>
              <a:off x="6208520" y="1926547"/>
              <a:ext cx="3934" cy="3934"/>
            </a:xfrm>
            <a:custGeom>
              <a:avLst/>
              <a:gdLst>
                <a:gd name="connsiteX0" fmla="*/ 1180 w 3934"/>
                <a:gd name="connsiteY0" fmla="*/ 5508 h 3934"/>
                <a:gd name="connsiteX1" fmla="*/ 3934 w 3934"/>
                <a:gd name="connsiteY1" fmla="*/ 3147 h 3934"/>
                <a:gd name="connsiteX2" fmla="*/ 2754 w 3934"/>
                <a:gd name="connsiteY2" fmla="*/ 0 h 3934"/>
                <a:gd name="connsiteX3" fmla="*/ 0 w 3934"/>
                <a:gd name="connsiteY3" fmla="*/ 3147 h 3934"/>
                <a:gd name="connsiteX4" fmla="*/ 393 w 3934"/>
                <a:gd name="connsiteY4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1180" y="5508"/>
                  </a:moveTo>
                  <a:lnTo>
                    <a:pt x="3934" y="3147"/>
                  </a:lnTo>
                  <a:lnTo>
                    <a:pt x="2754" y="0"/>
                  </a:lnTo>
                  <a:lnTo>
                    <a:pt x="0" y="3147"/>
                  </a:lnTo>
                  <a:lnTo>
                    <a:pt x="393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38" name="Freeform: Shape 3432">
              <a:extLst>
                <a:ext uri="{FF2B5EF4-FFF2-40B4-BE49-F238E27FC236}">
                  <a16:creationId xmlns:a16="http://schemas.microsoft.com/office/drawing/2014/main" id="{ADADE7F9-D276-4270-9754-681AD45A9C9D}"/>
                </a:ext>
              </a:extLst>
            </p:cNvPr>
            <p:cNvSpPr/>
            <p:nvPr/>
          </p:nvSpPr>
          <p:spPr>
            <a:xfrm>
              <a:off x="6212847" y="1922613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2754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2754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39" name="Freeform: Shape 3433">
              <a:extLst>
                <a:ext uri="{FF2B5EF4-FFF2-40B4-BE49-F238E27FC236}">
                  <a16:creationId xmlns:a16="http://schemas.microsoft.com/office/drawing/2014/main" id="{F96E1911-3F91-4B45-AB31-4E0B6528D513}"/>
                </a:ext>
              </a:extLst>
            </p:cNvPr>
            <p:cNvSpPr/>
            <p:nvPr/>
          </p:nvSpPr>
          <p:spPr>
            <a:xfrm>
              <a:off x="6226617" y="1714490"/>
              <a:ext cx="3934" cy="3934"/>
            </a:xfrm>
            <a:custGeom>
              <a:avLst/>
              <a:gdLst>
                <a:gd name="connsiteX0" fmla="*/ 0 w 3934"/>
                <a:gd name="connsiteY0" fmla="*/ 787 h 3934"/>
                <a:gd name="connsiteX1" fmla="*/ 394 w 3934"/>
                <a:gd name="connsiteY1" fmla="*/ 3541 h 3934"/>
                <a:gd name="connsiteX2" fmla="*/ 394 w 3934"/>
                <a:gd name="connsiteY2" fmla="*/ 6688 h 3934"/>
                <a:gd name="connsiteX3" fmla="*/ 2361 w 3934"/>
                <a:gd name="connsiteY3" fmla="*/ 3541 h 3934"/>
                <a:gd name="connsiteX4" fmla="*/ 5115 w 3934"/>
                <a:gd name="connsiteY4" fmla="*/ 4328 h 3934"/>
                <a:gd name="connsiteX5" fmla="*/ 4328 w 3934"/>
                <a:gd name="connsiteY5" fmla="*/ 1574 h 3934"/>
                <a:gd name="connsiteX6" fmla="*/ 2754 w 3934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0" y="787"/>
                  </a:moveTo>
                  <a:lnTo>
                    <a:pt x="394" y="3541"/>
                  </a:lnTo>
                  <a:lnTo>
                    <a:pt x="394" y="6688"/>
                  </a:lnTo>
                  <a:lnTo>
                    <a:pt x="2361" y="3541"/>
                  </a:lnTo>
                  <a:lnTo>
                    <a:pt x="5115" y="4328"/>
                  </a:lnTo>
                  <a:lnTo>
                    <a:pt x="4328" y="157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40" name="Freeform: Shape 3434">
              <a:extLst>
                <a:ext uri="{FF2B5EF4-FFF2-40B4-BE49-F238E27FC236}">
                  <a16:creationId xmlns:a16="http://schemas.microsoft.com/office/drawing/2014/main" id="{BD20D0C5-9D5A-496B-9795-2595E3FFE86E}"/>
                </a:ext>
              </a:extLst>
            </p:cNvPr>
            <p:cNvSpPr/>
            <p:nvPr/>
          </p:nvSpPr>
          <p:spPr>
            <a:xfrm>
              <a:off x="6230552" y="1710162"/>
              <a:ext cx="3934" cy="3934"/>
            </a:xfrm>
            <a:custGeom>
              <a:avLst/>
              <a:gdLst>
                <a:gd name="connsiteX0" fmla="*/ 0 w 3934"/>
                <a:gd name="connsiteY0" fmla="*/ 3147 h 3934"/>
                <a:gd name="connsiteX1" fmla="*/ 1967 w 3934"/>
                <a:gd name="connsiteY1" fmla="*/ 5901 h 3934"/>
                <a:gd name="connsiteX2" fmla="*/ 3541 w 3934"/>
                <a:gd name="connsiteY2" fmla="*/ 7082 h 3934"/>
                <a:gd name="connsiteX3" fmla="*/ 5901 w 3934"/>
                <a:gd name="connsiteY3" fmla="*/ 3934 h 3934"/>
                <a:gd name="connsiteX4" fmla="*/ 3541 w 3934"/>
                <a:gd name="connsiteY4" fmla="*/ 787 h 3934"/>
                <a:gd name="connsiteX5" fmla="*/ 1180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3147"/>
                  </a:moveTo>
                  <a:lnTo>
                    <a:pt x="1967" y="5901"/>
                  </a:lnTo>
                  <a:lnTo>
                    <a:pt x="3541" y="7082"/>
                  </a:lnTo>
                  <a:lnTo>
                    <a:pt x="5901" y="3934"/>
                  </a:lnTo>
                  <a:lnTo>
                    <a:pt x="3541" y="787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41" name="Freeform: Shape 3435">
              <a:extLst>
                <a:ext uri="{FF2B5EF4-FFF2-40B4-BE49-F238E27FC236}">
                  <a16:creationId xmlns:a16="http://schemas.microsoft.com/office/drawing/2014/main" id="{A5DCBD02-E050-440E-A7E3-554D8DD50DA9}"/>
                </a:ext>
              </a:extLst>
            </p:cNvPr>
            <p:cNvSpPr/>
            <p:nvPr/>
          </p:nvSpPr>
          <p:spPr>
            <a:xfrm>
              <a:off x="6232519" y="1706622"/>
              <a:ext cx="7869" cy="3934"/>
            </a:xfrm>
            <a:custGeom>
              <a:avLst/>
              <a:gdLst>
                <a:gd name="connsiteX0" fmla="*/ 5901 w 7868"/>
                <a:gd name="connsiteY0" fmla="*/ 5115 h 3934"/>
                <a:gd name="connsiteX1" fmla="*/ 7869 w 7868"/>
                <a:gd name="connsiteY1" fmla="*/ 2361 h 3934"/>
                <a:gd name="connsiteX2" fmla="*/ 5901 w 7868"/>
                <a:gd name="connsiteY2" fmla="*/ 0 h 3934"/>
                <a:gd name="connsiteX3" fmla="*/ 2754 w 7868"/>
                <a:gd name="connsiteY3" fmla="*/ 2361 h 3934"/>
                <a:gd name="connsiteX4" fmla="*/ 0 w 7868"/>
                <a:gd name="connsiteY4" fmla="*/ 2754 h 3934"/>
                <a:gd name="connsiteX5" fmla="*/ 2754 w 7868"/>
                <a:gd name="connsiteY5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5901" y="5115"/>
                  </a:moveTo>
                  <a:lnTo>
                    <a:pt x="7869" y="2361"/>
                  </a:lnTo>
                  <a:lnTo>
                    <a:pt x="5901" y="0"/>
                  </a:lnTo>
                  <a:lnTo>
                    <a:pt x="2754" y="2361"/>
                  </a:lnTo>
                  <a:lnTo>
                    <a:pt x="0" y="2754"/>
                  </a:lnTo>
                  <a:lnTo>
                    <a:pt x="2754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42" name="Freeform: Shape 3436">
              <a:extLst>
                <a:ext uri="{FF2B5EF4-FFF2-40B4-BE49-F238E27FC236}">
                  <a16:creationId xmlns:a16="http://schemas.microsoft.com/office/drawing/2014/main" id="{77923048-50B8-437A-9D22-355F03754BC2}"/>
                </a:ext>
              </a:extLst>
            </p:cNvPr>
            <p:cNvSpPr/>
            <p:nvPr/>
          </p:nvSpPr>
          <p:spPr>
            <a:xfrm>
              <a:off x="6335597" y="1847862"/>
              <a:ext cx="27540" cy="15737"/>
            </a:xfrm>
            <a:custGeom>
              <a:avLst/>
              <a:gdLst>
                <a:gd name="connsiteX0" fmla="*/ 22818 w 27539"/>
                <a:gd name="connsiteY0" fmla="*/ 17704 h 15737"/>
                <a:gd name="connsiteX1" fmla="*/ 23212 w 27539"/>
                <a:gd name="connsiteY1" fmla="*/ 17704 h 15737"/>
                <a:gd name="connsiteX2" fmla="*/ 26359 w 27539"/>
                <a:gd name="connsiteY2" fmla="*/ 16131 h 15737"/>
                <a:gd name="connsiteX3" fmla="*/ 27147 w 27539"/>
                <a:gd name="connsiteY3" fmla="*/ 15737 h 15737"/>
                <a:gd name="connsiteX4" fmla="*/ 27933 w 27539"/>
                <a:gd name="connsiteY4" fmla="*/ 12983 h 15737"/>
                <a:gd name="connsiteX5" fmla="*/ 27147 w 27539"/>
                <a:gd name="connsiteY5" fmla="*/ 9836 h 15737"/>
                <a:gd name="connsiteX6" fmla="*/ 27147 w 27539"/>
                <a:gd name="connsiteY6" fmla="*/ 8655 h 15737"/>
                <a:gd name="connsiteX7" fmla="*/ 25573 w 27539"/>
                <a:gd name="connsiteY7" fmla="*/ 6295 h 15737"/>
                <a:gd name="connsiteX8" fmla="*/ 23999 w 27539"/>
                <a:gd name="connsiteY8" fmla="*/ 3541 h 15737"/>
                <a:gd name="connsiteX9" fmla="*/ 25179 w 27539"/>
                <a:gd name="connsiteY9" fmla="*/ 2754 h 15737"/>
                <a:gd name="connsiteX10" fmla="*/ 22425 w 27539"/>
                <a:gd name="connsiteY10" fmla="*/ 0 h 15737"/>
                <a:gd name="connsiteX11" fmla="*/ 16917 w 27539"/>
                <a:gd name="connsiteY11" fmla="*/ 787 h 15737"/>
                <a:gd name="connsiteX12" fmla="*/ 15737 w 27539"/>
                <a:gd name="connsiteY12" fmla="*/ 0 h 15737"/>
                <a:gd name="connsiteX13" fmla="*/ 12983 w 27539"/>
                <a:gd name="connsiteY13" fmla="*/ 393 h 15737"/>
                <a:gd name="connsiteX14" fmla="*/ 7475 w 27539"/>
                <a:gd name="connsiteY14" fmla="*/ 1967 h 15737"/>
                <a:gd name="connsiteX15" fmla="*/ 787 w 27539"/>
                <a:gd name="connsiteY15" fmla="*/ 2754 h 15737"/>
                <a:gd name="connsiteX16" fmla="*/ 0 w 27539"/>
                <a:gd name="connsiteY16" fmla="*/ 3147 h 15737"/>
                <a:gd name="connsiteX17" fmla="*/ 393 w 27539"/>
                <a:gd name="connsiteY17" fmla="*/ 5115 h 15737"/>
                <a:gd name="connsiteX18" fmla="*/ 1574 w 27539"/>
                <a:gd name="connsiteY18" fmla="*/ 5901 h 15737"/>
                <a:gd name="connsiteX19" fmla="*/ 7475 w 27539"/>
                <a:gd name="connsiteY19" fmla="*/ 15737 h 15737"/>
                <a:gd name="connsiteX20" fmla="*/ 7475 w 27539"/>
                <a:gd name="connsiteY20" fmla="*/ 14163 h 15737"/>
                <a:gd name="connsiteX21" fmla="*/ 7475 w 27539"/>
                <a:gd name="connsiteY21" fmla="*/ 13377 h 15737"/>
                <a:gd name="connsiteX22" fmla="*/ 10229 w 27539"/>
                <a:gd name="connsiteY22" fmla="*/ 14163 h 15737"/>
                <a:gd name="connsiteX23" fmla="*/ 11016 w 27539"/>
                <a:gd name="connsiteY23" fmla="*/ 16917 h 15737"/>
                <a:gd name="connsiteX24" fmla="*/ 13770 w 27539"/>
                <a:gd name="connsiteY24" fmla="*/ 16917 h 15737"/>
                <a:gd name="connsiteX25" fmla="*/ 16917 w 27539"/>
                <a:gd name="connsiteY25" fmla="*/ 18098 h 15737"/>
                <a:gd name="connsiteX26" fmla="*/ 20065 w 27539"/>
                <a:gd name="connsiteY26" fmla="*/ 18491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7539" h="15737">
                  <a:moveTo>
                    <a:pt x="22818" y="17704"/>
                  </a:moveTo>
                  <a:lnTo>
                    <a:pt x="23212" y="17704"/>
                  </a:lnTo>
                  <a:lnTo>
                    <a:pt x="26359" y="16131"/>
                  </a:lnTo>
                  <a:lnTo>
                    <a:pt x="27147" y="15737"/>
                  </a:lnTo>
                  <a:lnTo>
                    <a:pt x="27933" y="12983"/>
                  </a:lnTo>
                  <a:lnTo>
                    <a:pt x="27147" y="9836"/>
                  </a:lnTo>
                  <a:lnTo>
                    <a:pt x="27147" y="8655"/>
                  </a:lnTo>
                  <a:lnTo>
                    <a:pt x="25573" y="6295"/>
                  </a:lnTo>
                  <a:lnTo>
                    <a:pt x="23999" y="3541"/>
                  </a:lnTo>
                  <a:lnTo>
                    <a:pt x="25179" y="2754"/>
                  </a:lnTo>
                  <a:lnTo>
                    <a:pt x="22425" y="0"/>
                  </a:lnTo>
                  <a:lnTo>
                    <a:pt x="16917" y="787"/>
                  </a:lnTo>
                  <a:lnTo>
                    <a:pt x="15737" y="0"/>
                  </a:lnTo>
                  <a:lnTo>
                    <a:pt x="12983" y="393"/>
                  </a:lnTo>
                  <a:lnTo>
                    <a:pt x="7475" y="1967"/>
                  </a:lnTo>
                  <a:lnTo>
                    <a:pt x="787" y="2754"/>
                  </a:lnTo>
                  <a:lnTo>
                    <a:pt x="0" y="3147"/>
                  </a:lnTo>
                  <a:lnTo>
                    <a:pt x="393" y="5115"/>
                  </a:lnTo>
                  <a:lnTo>
                    <a:pt x="1574" y="5901"/>
                  </a:lnTo>
                  <a:lnTo>
                    <a:pt x="7475" y="15737"/>
                  </a:lnTo>
                  <a:lnTo>
                    <a:pt x="7475" y="14163"/>
                  </a:lnTo>
                  <a:lnTo>
                    <a:pt x="7475" y="13377"/>
                  </a:lnTo>
                  <a:lnTo>
                    <a:pt x="10229" y="14163"/>
                  </a:lnTo>
                  <a:lnTo>
                    <a:pt x="11016" y="16917"/>
                  </a:lnTo>
                  <a:lnTo>
                    <a:pt x="13770" y="16917"/>
                  </a:lnTo>
                  <a:lnTo>
                    <a:pt x="16917" y="18098"/>
                  </a:lnTo>
                  <a:lnTo>
                    <a:pt x="20065" y="1849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43" name="Freeform: Shape 3437">
              <a:extLst>
                <a:ext uri="{FF2B5EF4-FFF2-40B4-BE49-F238E27FC236}">
                  <a16:creationId xmlns:a16="http://schemas.microsoft.com/office/drawing/2014/main" id="{67E34401-AF05-4D8B-8BD6-F5FEB691228C}"/>
                </a:ext>
              </a:extLst>
            </p:cNvPr>
            <p:cNvSpPr/>
            <p:nvPr/>
          </p:nvSpPr>
          <p:spPr>
            <a:xfrm>
              <a:off x="6355661" y="1836059"/>
              <a:ext cx="3934" cy="3934"/>
            </a:xfrm>
            <a:custGeom>
              <a:avLst/>
              <a:gdLst>
                <a:gd name="connsiteX0" fmla="*/ 3148 w 3934"/>
                <a:gd name="connsiteY0" fmla="*/ 5508 h 3934"/>
                <a:gd name="connsiteX1" fmla="*/ 3934 w 3934"/>
                <a:gd name="connsiteY1" fmla="*/ 2754 h 3934"/>
                <a:gd name="connsiteX2" fmla="*/ 2360 w 3934"/>
                <a:gd name="connsiteY2" fmla="*/ 2754 h 3934"/>
                <a:gd name="connsiteX3" fmla="*/ 393 w 3934"/>
                <a:gd name="connsiteY3" fmla="*/ 0 h 3934"/>
                <a:gd name="connsiteX4" fmla="*/ 1967 w 3934"/>
                <a:gd name="connsiteY4" fmla="*/ 2754 h 3934"/>
                <a:gd name="connsiteX5" fmla="*/ 0 w 3934"/>
                <a:gd name="connsiteY5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148" y="5508"/>
                  </a:moveTo>
                  <a:lnTo>
                    <a:pt x="3934" y="2754"/>
                  </a:lnTo>
                  <a:lnTo>
                    <a:pt x="2360" y="2754"/>
                  </a:lnTo>
                  <a:lnTo>
                    <a:pt x="393" y="0"/>
                  </a:lnTo>
                  <a:lnTo>
                    <a:pt x="1967" y="2754"/>
                  </a:lnTo>
                  <a:lnTo>
                    <a:pt x="0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44" name="Freeform: Shape 3438">
              <a:extLst>
                <a:ext uri="{FF2B5EF4-FFF2-40B4-BE49-F238E27FC236}">
                  <a16:creationId xmlns:a16="http://schemas.microsoft.com/office/drawing/2014/main" id="{F83212D6-3DFD-459B-BB5B-D5A9A1D42C45}"/>
                </a:ext>
              </a:extLst>
            </p:cNvPr>
            <p:cNvSpPr/>
            <p:nvPr/>
          </p:nvSpPr>
          <p:spPr>
            <a:xfrm>
              <a:off x="6364317" y="1793175"/>
              <a:ext cx="3934" cy="3934"/>
            </a:xfrm>
            <a:custGeom>
              <a:avLst/>
              <a:gdLst>
                <a:gd name="connsiteX0" fmla="*/ 0 w 3934"/>
                <a:gd name="connsiteY0" fmla="*/ 2361 h 0"/>
                <a:gd name="connsiteX1" fmla="*/ 2754 w 3934"/>
                <a:gd name="connsiteY1" fmla="*/ 3147 h 0"/>
                <a:gd name="connsiteX2" fmla="*/ 4328 w 3934"/>
                <a:gd name="connsiteY2" fmla="*/ 2754 h 0"/>
                <a:gd name="connsiteX3" fmla="*/ 5508 w 3934"/>
                <a:gd name="connsiteY3" fmla="*/ 0 h 0"/>
                <a:gd name="connsiteX4" fmla="*/ 2754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2361"/>
                  </a:moveTo>
                  <a:lnTo>
                    <a:pt x="2754" y="3147"/>
                  </a:lnTo>
                  <a:lnTo>
                    <a:pt x="4328" y="2754"/>
                  </a:lnTo>
                  <a:lnTo>
                    <a:pt x="5508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45" name="Freeform: Shape 3439">
              <a:extLst>
                <a:ext uri="{FF2B5EF4-FFF2-40B4-BE49-F238E27FC236}">
                  <a16:creationId xmlns:a16="http://schemas.microsoft.com/office/drawing/2014/main" id="{C1A883CA-F072-4C08-B85B-06104B695179}"/>
                </a:ext>
              </a:extLst>
            </p:cNvPr>
            <p:cNvSpPr/>
            <p:nvPr/>
          </p:nvSpPr>
          <p:spPr>
            <a:xfrm>
              <a:off x="6365890" y="1830944"/>
              <a:ext cx="39343" cy="47211"/>
            </a:xfrm>
            <a:custGeom>
              <a:avLst/>
              <a:gdLst>
                <a:gd name="connsiteX0" fmla="*/ 10623 w 39342"/>
                <a:gd name="connsiteY0" fmla="*/ 9836 h 47211"/>
                <a:gd name="connsiteX1" fmla="*/ 9049 w 39342"/>
                <a:gd name="connsiteY1" fmla="*/ 12590 h 47211"/>
                <a:gd name="connsiteX2" fmla="*/ 5901 w 39342"/>
                <a:gd name="connsiteY2" fmla="*/ 12196 h 47211"/>
                <a:gd name="connsiteX3" fmla="*/ 2754 w 39342"/>
                <a:gd name="connsiteY3" fmla="*/ 12590 h 47211"/>
                <a:gd name="connsiteX4" fmla="*/ 0 w 39342"/>
                <a:gd name="connsiteY4" fmla="*/ 12590 h 47211"/>
                <a:gd name="connsiteX5" fmla="*/ 2754 w 39342"/>
                <a:gd name="connsiteY5" fmla="*/ 15344 h 47211"/>
                <a:gd name="connsiteX6" fmla="*/ 5901 w 39342"/>
                <a:gd name="connsiteY6" fmla="*/ 17704 h 47211"/>
                <a:gd name="connsiteX7" fmla="*/ 6689 w 39342"/>
                <a:gd name="connsiteY7" fmla="*/ 20458 h 47211"/>
                <a:gd name="connsiteX8" fmla="*/ 4721 w 39342"/>
                <a:gd name="connsiteY8" fmla="*/ 24786 h 47211"/>
                <a:gd name="connsiteX9" fmla="*/ 5115 w 39342"/>
                <a:gd name="connsiteY9" fmla="*/ 25179 h 47211"/>
                <a:gd name="connsiteX10" fmla="*/ 7082 w 39342"/>
                <a:gd name="connsiteY10" fmla="*/ 25966 h 47211"/>
                <a:gd name="connsiteX11" fmla="*/ 8262 w 39342"/>
                <a:gd name="connsiteY11" fmla="*/ 26753 h 47211"/>
                <a:gd name="connsiteX12" fmla="*/ 9049 w 39342"/>
                <a:gd name="connsiteY12" fmla="*/ 29900 h 47211"/>
                <a:gd name="connsiteX13" fmla="*/ 11803 w 39342"/>
                <a:gd name="connsiteY13" fmla="*/ 29507 h 47211"/>
                <a:gd name="connsiteX14" fmla="*/ 13377 w 39342"/>
                <a:gd name="connsiteY14" fmla="*/ 29900 h 47211"/>
                <a:gd name="connsiteX15" fmla="*/ 14950 w 39342"/>
                <a:gd name="connsiteY15" fmla="*/ 29900 h 47211"/>
                <a:gd name="connsiteX16" fmla="*/ 15737 w 39342"/>
                <a:gd name="connsiteY16" fmla="*/ 29900 h 47211"/>
                <a:gd name="connsiteX17" fmla="*/ 21245 w 39342"/>
                <a:gd name="connsiteY17" fmla="*/ 34228 h 47211"/>
                <a:gd name="connsiteX18" fmla="*/ 18491 w 39342"/>
                <a:gd name="connsiteY18" fmla="*/ 33835 h 47211"/>
                <a:gd name="connsiteX19" fmla="*/ 21245 w 39342"/>
                <a:gd name="connsiteY19" fmla="*/ 34621 h 47211"/>
                <a:gd name="connsiteX20" fmla="*/ 23999 w 39342"/>
                <a:gd name="connsiteY20" fmla="*/ 36195 h 47211"/>
                <a:gd name="connsiteX21" fmla="*/ 23212 w 39342"/>
                <a:gd name="connsiteY21" fmla="*/ 37376 h 47211"/>
                <a:gd name="connsiteX22" fmla="*/ 21245 w 39342"/>
                <a:gd name="connsiteY22" fmla="*/ 36982 h 47211"/>
                <a:gd name="connsiteX23" fmla="*/ 21638 w 39342"/>
                <a:gd name="connsiteY23" fmla="*/ 39736 h 47211"/>
                <a:gd name="connsiteX24" fmla="*/ 24393 w 39342"/>
                <a:gd name="connsiteY24" fmla="*/ 43277 h 47211"/>
                <a:gd name="connsiteX25" fmla="*/ 24393 w 39342"/>
                <a:gd name="connsiteY25" fmla="*/ 43670 h 47211"/>
                <a:gd name="connsiteX26" fmla="*/ 24786 w 39342"/>
                <a:gd name="connsiteY26" fmla="*/ 44457 h 47211"/>
                <a:gd name="connsiteX27" fmla="*/ 24786 w 39342"/>
                <a:gd name="connsiteY27" fmla="*/ 46424 h 47211"/>
                <a:gd name="connsiteX28" fmla="*/ 26360 w 39342"/>
                <a:gd name="connsiteY28" fmla="*/ 49572 h 47211"/>
                <a:gd name="connsiteX29" fmla="*/ 27147 w 39342"/>
                <a:gd name="connsiteY29" fmla="*/ 47998 h 47211"/>
                <a:gd name="connsiteX30" fmla="*/ 27933 w 39342"/>
                <a:gd name="connsiteY30" fmla="*/ 45244 h 47211"/>
                <a:gd name="connsiteX31" fmla="*/ 30687 w 39342"/>
                <a:gd name="connsiteY31" fmla="*/ 42490 h 47211"/>
                <a:gd name="connsiteX32" fmla="*/ 30294 w 39342"/>
                <a:gd name="connsiteY32" fmla="*/ 39736 h 47211"/>
                <a:gd name="connsiteX33" fmla="*/ 27540 w 39342"/>
                <a:gd name="connsiteY33" fmla="*/ 39343 h 47211"/>
                <a:gd name="connsiteX34" fmla="*/ 25573 w 39342"/>
                <a:gd name="connsiteY34" fmla="*/ 36589 h 47211"/>
                <a:gd name="connsiteX35" fmla="*/ 26360 w 39342"/>
                <a:gd name="connsiteY35" fmla="*/ 36589 h 47211"/>
                <a:gd name="connsiteX36" fmla="*/ 28720 w 39342"/>
                <a:gd name="connsiteY36" fmla="*/ 37376 h 47211"/>
                <a:gd name="connsiteX37" fmla="*/ 31474 w 39342"/>
                <a:gd name="connsiteY37" fmla="*/ 36589 h 47211"/>
                <a:gd name="connsiteX38" fmla="*/ 31867 w 39342"/>
                <a:gd name="connsiteY38" fmla="*/ 36589 h 47211"/>
                <a:gd name="connsiteX39" fmla="*/ 34228 w 39342"/>
                <a:gd name="connsiteY39" fmla="*/ 29114 h 47211"/>
                <a:gd name="connsiteX40" fmla="*/ 35408 w 39342"/>
                <a:gd name="connsiteY40" fmla="*/ 29114 h 47211"/>
                <a:gd name="connsiteX41" fmla="*/ 38556 w 39342"/>
                <a:gd name="connsiteY41" fmla="*/ 27933 h 47211"/>
                <a:gd name="connsiteX42" fmla="*/ 38163 w 39342"/>
                <a:gd name="connsiteY42" fmla="*/ 26753 h 47211"/>
                <a:gd name="connsiteX43" fmla="*/ 38556 w 39342"/>
                <a:gd name="connsiteY43" fmla="*/ 26753 h 47211"/>
                <a:gd name="connsiteX44" fmla="*/ 38163 w 39342"/>
                <a:gd name="connsiteY44" fmla="*/ 26360 h 47211"/>
                <a:gd name="connsiteX45" fmla="*/ 37769 w 39342"/>
                <a:gd name="connsiteY45" fmla="*/ 25179 h 47211"/>
                <a:gd name="connsiteX46" fmla="*/ 36589 w 39342"/>
                <a:gd name="connsiteY46" fmla="*/ 24392 h 47211"/>
                <a:gd name="connsiteX47" fmla="*/ 35802 w 39342"/>
                <a:gd name="connsiteY47" fmla="*/ 23606 h 47211"/>
                <a:gd name="connsiteX48" fmla="*/ 35802 w 39342"/>
                <a:gd name="connsiteY48" fmla="*/ 23999 h 47211"/>
                <a:gd name="connsiteX49" fmla="*/ 35015 w 39342"/>
                <a:gd name="connsiteY49" fmla="*/ 23606 h 47211"/>
                <a:gd name="connsiteX50" fmla="*/ 33835 w 39342"/>
                <a:gd name="connsiteY50" fmla="*/ 23212 h 47211"/>
                <a:gd name="connsiteX51" fmla="*/ 35802 w 39342"/>
                <a:gd name="connsiteY51" fmla="*/ 23606 h 47211"/>
                <a:gd name="connsiteX52" fmla="*/ 36196 w 39342"/>
                <a:gd name="connsiteY52" fmla="*/ 16917 h 47211"/>
                <a:gd name="connsiteX53" fmla="*/ 38949 w 39342"/>
                <a:gd name="connsiteY53" fmla="*/ 16917 h 47211"/>
                <a:gd name="connsiteX54" fmla="*/ 39736 w 39342"/>
                <a:gd name="connsiteY54" fmla="*/ 15737 h 47211"/>
                <a:gd name="connsiteX55" fmla="*/ 41310 w 39342"/>
                <a:gd name="connsiteY55" fmla="*/ 12983 h 47211"/>
                <a:gd name="connsiteX56" fmla="*/ 40916 w 39342"/>
                <a:gd name="connsiteY56" fmla="*/ 10229 h 47211"/>
                <a:gd name="connsiteX57" fmla="*/ 40523 w 39342"/>
                <a:gd name="connsiteY57" fmla="*/ 8655 h 47211"/>
                <a:gd name="connsiteX58" fmla="*/ 41703 w 39342"/>
                <a:gd name="connsiteY58" fmla="*/ 3147 h 47211"/>
                <a:gd name="connsiteX59" fmla="*/ 38949 w 39342"/>
                <a:gd name="connsiteY59" fmla="*/ 1180 h 47211"/>
                <a:gd name="connsiteX60" fmla="*/ 36196 w 39342"/>
                <a:gd name="connsiteY60" fmla="*/ 787 h 47211"/>
                <a:gd name="connsiteX61" fmla="*/ 33048 w 39342"/>
                <a:gd name="connsiteY61" fmla="*/ 0 h 47211"/>
                <a:gd name="connsiteX62" fmla="*/ 30294 w 39342"/>
                <a:gd name="connsiteY62" fmla="*/ 1180 h 47211"/>
                <a:gd name="connsiteX63" fmla="*/ 27540 w 39342"/>
                <a:gd name="connsiteY63" fmla="*/ 2754 h 47211"/>
                <a:gd name="connsiteX64" fmla="*/ 26753 w 39342"/>
                <a:gd name="connsiteY64" fmla="*/ 3147 h 47211"/>
                <a:gd name="connsiteX65" fmla="*/ 24786 w 39342"/>
                <a:gd name="connsiteY65" fmla="*/ 3934 h 47211"/>
                <a:gd name="connsiteX66" fmla="*/ 25179 w 39342"/>
                <a:gd name="connsiteY66" fmla="*/ 3934 h 47211"/>
                <a:gd name="connsiteX67" fmla="*/ 24786 w 39342"/>
                <a:gd name="connsiteY67" fmla="*/ 3934 h 47211"/>
                <a:gd name="connsiteX68" fmla="*/ 27147 w 39342"/>
                <a:gd name="connsiteY68" fmla="*/ 5114 h 47211"/>
                <a:gd name="connsiteX69" fmla="*/ 27933 w 39342"/>
                <a:gd name="connsiteY69" fmla="*/ 5508 h 47211"/>
                <a:gd name="connsiteX70" fmla="*/ 28327 w 39342"/>
                <a:gd name="connsiteY70" fmla="*/ 8655 h 47211"/>
                <a:gd name="connsiteX71" fmla="*/ 29114 w 39342"/>
                <a:gd name="connsiteY71" fmla="*/ 10229 h 47211"/>
                <a:gd name="connsiteX72" fmla="*/ 26753 w 39342"/>
                <a:gd name="connsiteY72" fmla="*/ 12196 h 47211"/>
                <a:gd name="connsiteX73" fmla="*/ 26360 w 39342"/>
                <a:gd name="connsiteY73" fmla="*/ 13770 h 47211"/>
                <a:gd name="connsiteX74" fmla="*/ 25179 w 39342"/>
                <a:gd name="connsiteY74" fmla="*/ 14163 h 47211"/>
                <a:gd name="connsiteX75" fmla="*/ 26753 w 39342"/>
                <a:gd name="connsiteY75" fmla="*/ 11803 h 47211"/>
                <a:gd name="connsiteX76" fmla="*/ 27933 w 39342"/>
                <a:gd name="connsiteY76" fmla="*/ 9049 h 47211"/>
                <a:gd name="connsiteX77" fmla="*/ 27147 w 39342"/>
                <a:gd name="connsiteY77" fmla="*/ 6295 h 47211"/>
                <a:gd name="connsiteX78" fmla="*/ 24393 w 39342"/>
                <a:gd name="connsiteY78" fmla="*/ 9049 h 47211"/>
                <a:gd name="connsiteX79" fmla="*/ 23999 w 39342"/>
                <a:gd name="connsiteY79" fmla="*/ 11409 h 47211"/>
                <a:gd name="connsiteX80" fmla="*/ 22426 w 39342"/>
                <a:gd name="connsiteY80" fmla="*/ 13770 h 47211"/>
                <a:gd name="connsiteX81" fmla="*/ 19671 w 39342"/>
                <a:gd name="connsiteY81" fmla="*/ 10622 h 47211"/>
                <a:gd name="connsiteX82" fmla="*/ 20852 w 39342"/>
                <a:gd name="connsiteY82" fmla="*/ 8655 h 47211"/>
                <a:gd name="connsiteX83" fmla="*/ 19278 w 39342"/>
                <a:gd name="connsiteY83" fmla="*/ 5901 h 47211"/>
                <a:gd name="connsiteX84" fmla="*/ 19671 w 39342"/>
                <a:gd name="connsiteY84" fmla="*/ 5508 h 47211"/>
                <a:gd name="connsiteX85" fmla="*/ 21245 w 39342"/>
                <a:gd name="connsiteY85" fmla="*/ 5508 h 47211"/>
                <a:gd name="connsiteX86" fmla="*/ 20852 w 39342"/>
                <a:gd name="connsiteY86" fmla="*/ 5114 h 47211"/>
                <a:gd name="connsiteX87" fmla="*/ 22032 w 39342"/>
                <a:gd name="connsiteY87" fmla="*/ 4328 h 47211"/>
                <a:gd name="connsiteX88" fmla="*/ 20458 w 39342"/>
                <a:gd name="connsiteY88" fmla="*/ 4328 h 47211"/>
                <a:gd name="connsiteX89" fmla="*/ 20458 w 39342"/>
                <a:gd name="connsiteY89" fmla="*/ 4328 h 47211"/>
                <a:gd name="connsiteX90" fmla="*/ 18491 w 39342"/>
                <a:gd name="connsiteY90" fmla="*/ 4328 h 47211"/>
                <a:gd name="connsiteX91" fmla="*/ 16524 w 39342"/>
                <a:gd name="connsiteY91" fmla="*/ 4328 h 47211"/>
                <a:gd name="connsiteX92" fmla="*/ 14557 w 39342"/>
                <a:gd name="connsiteY92" fmla="*/ 3934 h 47211"/>
                <a:gd name="connsiteX93" fmla="*/ 12196 w 39342"/>
                <a:gd name="connsiteY93" fmla="*/ 4328 h 47211"/>
                <a:gd name="connsiteX94" fmla="*/ 14163 w 39342"/>
                <a:gd name="connsiteY94" fmla="*/ 4721 h 47211"/>
                <a:gd name="connsiteX95" fmla="*/ 12590 w 39342"/>
                <a:gd name="connsiteY95" fmla="*/ 7869 h 47211"/>
                <a:gd name="connsiteX96" fmla="*/ 10623 w 39342"/>
                <a:gd name="connsiteY96" fmla="*/ 9836 h 47211"/>
                <a:gd name="connsiteX97" fmla="*/ 32261 w 39342"/>
                <a:gd name="connsiteY97" fmla="*/ 22032 h 47211"/>
                <a:gd name="connsiteX98" fmla="*/ 32655 w 39342"/>
                <a:gd name="connsiteY98" fmla="*/ 20852 h 47211"/>
                <a:gd name="connsiteX99" fmla="*/ 32655 w 39342"/>
                <a:gd name="connsiteY99" fmla="*/ 22425 h 47211"/>
                <a:gd name="connsiteX100" fmla="*/ 32261 w 39342"/>
                <a:gd name="connsiteY100" fmla="*/ 22032 h 47211"/>
                <a:gd name="connsiteX101" fmla="*/ 33048 w 39342"/>
                <a:gd name="connsiteY101" fmla="*/ 19278 h 47211"/>
                <a:gd name="connsiteX102" fmla="*/ 33048 w 39342"/>
                <a:gd name="connsiteY102" fmla="*/ 19278 h 47211"/>
                <a:gd name="connsiteX103" fmla="*/ 34228 w 39342"/>
                <a:gd name="connsiteY103" fmla="*/ 18491 h 47211"/>
                <a:gd name="connsiteX104" fmla="*/ 33048 w 39342"/>
                <a:gd name="connsiteY104" fmla="*/ 19278 h 4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9342" h="47211">
                  <a:moveTo>
                    <a:pt x="10623" y="9836"/>
                  </a:moveTo>
                  <a:lnTo>
                    <a:pt x="9049" y="12590"/>
                  </a:lnTo>
                  <a:lnTo>
                    <a:pt x="5901" y="12196"/>
                  </a:lnTo>
                  <a:lnTo>
                    <a:pt x="2754" y="12590"/>
                  </a:lnTo>
                  <a:lnTo>
                    <a:pt x="0" y="12590"/>
                  </a:lnTo>
                  <a:lnTo>
                    <a:pt x="2754" y="15344"/>
                  </a:lnTo>
                  <a:lnTo>
                    <a:pt x="5901" y="17704"/>
                  </a:lnTo>
                  <a:lnTo>
                    <a:pt x="6689" y="20458"/>
                  </a:lnTo>
                  <a:lnTo>
                    <a:pt x="4721" y="24786"/>
                  </a:lnTo>
                  <a:lnTo>
                    <a:pt x="5115" y="25179"/>
                  </a:lnTo>
                  <a:lnTo>
                    <a:pt x="7082" y="25966"/>
                  </a:lnTo>
                  <a:lnTo>
                    <a:pt x="8262" y="26753"/>
                  </a:lnTo>
                  <a:lnTo>
                    <a:pt x="9049" y="29900"/>
                  </a:lnTo>
                  <a:lnTo>
                    <a:pt x="11803" y="29507"/>
                  </a:lnTo>
                  <a:lnTo>
                    <a:pt x="13377" y="29900"/>
                  </a:lnTo>
                  <a:lnTo>
                    <a:pt x="14950" y="29900"/>
                  </a:lnTo>
                  <a:lnTo>
                    <a:pt x="15737" y="29900"/>
                  </a:lnTo>
                  <a:lnTo>
                    <a:pt x="21245" y="34228"/>
                  </a:lnTo>
                  <a:lnTo>
                    <a:pt x="18491" y="33835"/>
                  </a:lnTo>
                  <a:lnTo>
                    <a:pt x="21245" y="34621"/>
                  </a:lnTo>
                  <a:lnTo>
                    <a:pt x="23999" y="36195"/>
                  </a:lnTo>
                  <a:lnTo>
                    <a:pt x="23212" y="37376"/>
                  </a:lnTo>
                  <a:lnTo>
                    <a:pt x="21245" y="36982"/>
                  </a:lnTo>
                  <a:lnTo>
                    <a:pt x="21638" y="39736"/>
                  </a:lnTo>
                  <a:lnTo>
                    <a:pt x="24393" y="43277"/>
                  </a:lnTo>
                  <a:lnTo>
                    <a:pt x="24393" y="43670"/>
                  </a:lnTo>
                  <a:lnTo>
                    <a:pt x="24786" y="44457"/>
                  </a:lnTo>
                  <a:lnTo>
                    <a:pt x="24786" y="46424"/>
                  </a:lnTo>
                  <a:lnTo>
                    <a:pt x="26360" y="49572"/>
                  </a:lnTo>
                  <a:lnTo>
                    <a:pt x="27147" y="47998"/>
                  </a:lnTo>
                  <a:lnTo>
                    <a:pt x="27933" y="45244"/>
                  </a:lnTo>
                  <a:lnTo>
                    <a:pt x="30687" y="42490"/>
                  </a:lnTo>
                  <a:lnTo>
                    <a:pt x="30294" y="39736"/>
                  </a:lnTo>
                  <a:lnTo>
                    <a:pt x="27540" y="39343"/>
                  </a:lnTo>
                  <a:lnTo>
                    <a:pt x="25573" y="36589"/>
                  </a:lnTo>
                  <a:lnTo>
                    <a:pt x="26360" y="36589"/>
                  </a:lnTo>
                  <a:lnTo>
                    <a:pt x="28720" y="37376"/>
                  </a:lnTo>
                  <a:lnTo>
                    <a:pt x="31474" y="36589"/>
                  </a:lnTo>
                  <a:lnTo>
                    <a:pt x="31867" y="36589"/>
                  </a:lnTo>
                  <a:lnTo>
                    <a:pt x="34228" y="29114"/>
                  </a:lnTo>
                  <a:lnTo>
                    <a:pt x="35408" y="29114"/>
                  </a:lnTo>
                  <a:lnTo>
                    <a:pt x="38556" y="27933"/>
                  </a:lnTo>
                  <a:lnTo>
                    <a:pt x="38163" y="26753"/>
                  </a:lnTo>
                  <a:lnTo>
                    <a:pt x="38556" y="26753"/>
                  </a:lnTo>
                  <a:lnTo>
                    <a:pt x="38163" y="26360"/>
                  </a:lnTo>
                  <a:lnTo>
                    <a:pt x="37769" y="25179"/>
                  </a:lnTo>
                  <a:lnTo>
                    <a:pt x="36589" y="24392"/>
                  </a:lnTo>
                  <a:lnTo>
                    <a:pt x="35802" y="23606"/>
                  </a:lnTo>
                  <a:lnTo>
                    <a:pt x="35802" y="23999"/>
                  </a:lnTo>
                  <a:lnTo>
                    <a:pt x="35015" y="23606"/>
                  </a:lnTo>
                  <a:lnTo>
                    <a:pt x="33835" y="23212"/>
                  </a:lnTo>
                  <a:lnTo>
                    <a:pt x="35802" y="23606"/>
                  </a:lnTo>
                  <a:lnTo>
                    <a:pt x="36196" y="16917"/>
                  </a:lnTo>
                  <a:lnTo>
                    <a:pt x="38949" y="16917"/>
                  </a:lnTo>
                  <a:lnTo>
                    <a:pt x="39736" y="15737"/>
                  </a:lnTo>
                  <a:lnTo>
                    <a:pt x="41310" y="12983"/>
                  </a:lnTo>
                  <a:lnTo>
                    <a:pt x="40916" y="10229"/>
                  </a:lnTo>
                  <a:lnTo>
                    <a:pt x="40523" y="8655"/>
                  </a:lnTo>
                  <a:lnTo>
                    <a:pt x="41703" y="3147"/>
                  </a:lnTo>
                  <a:lnTo>
                    <a:pt x="38949" y="1180"/>
                  </a:lnTo>
                  <a:lnTo>
                    <a:pt x="36196" y="787"/>
                  </a:lnTo>
                  <a:lnTo>
                    <a:pt x="33048" y="0"/>
                  </a:lnTo>
                  <a:lnTo>
                    <a:pt x="30294" y="1180"/>
                  </a:lnTo>
                  <a:lnTo>
                    <a:pt x="27540" y="2754"/>
                  </a:lnTo>
                  <a:lnTo>
                    <a:pt x="26753" y="3147"/>
                  </a:lnTo>
                  <a:lnTo>
                    <a:pt x="24786" y="3934"/>
                  </a:lnTo>
                  <a:lnTo>
                    <a:pt x="25179" y="3934"/>
                  </a:lnTo>
                  <a:lnTo>
                    <a:pt x="24786" y="3934"/>
                  </a:lnTo>
                  <a:lnTo>
                    <a:pt x="27147" y="5114"/>
                  </a:lnTo>
                  <a:lnTo>
                    <a:pt x="27933" y="5508"/>
                  </a:lnTo>
                  <a:lnTo>
                    <a:pt x="28327" y="8655"/>
                  </a:lnTo>
                  <a:lnTo>
                    <a:pt x="29114" y="10229"/>
                  </a:lnTo>
                  <a:lnTo>
                    <a:pt x="26753" y="12196"/>
                  </a:lnTo>
                  <a:lnTo>
                    <a:pt x="26360" y="13770"/>
                  </a:lnTo>
                  <a:lnTo>
                    <a:pt x="25179" y="14163"/>
                  </a:lnTo>
                  <a:lnTo>
                    <a:pt x="26753" y="11803"/>
                  </a:lnTo>
                  <a:lnTo>
                    <a:pt x="27933" y="9049"/>
                  </a:lnTo>
                  <a:lnTo>
                    <a:pt x="27147" y="6295"/>
                  </a:lnTo>
                  <a:lnTo>
                    <a:pt x="24393" y="9049"/>
                  </a:lnTo>
                  <a:lnTo>
                    <a:pt x="23999" y="11409"/>
                  </a:lnTo>
                  <a:lnTo>
                    <a:pt x="22426" y="13770"/>
                  </a:lnTo>
                  <a:lnTo>
                    <a:pt x="19671" y="10622"/>
                  </a:lnTo>
                  <a:lnTo>
                    <a:pt x="20852" y="8655"/>
                  </a:lnTo>
                  <a:lnTo>
                    <a:pt x="19278" y="5901"/>
                  </a:lnTo>
                  <a:lnTo>
                    <a:pt x="19671" y="5508"/>
                  </a:lnTo>
                  <a:lnTo>
                    <a:pt x="21245" y="5508"/>
                  </a:lnTo>
                  <a:lnTo>
                    <a:pt x="20852" y="5114"/>
                  </a:lnTo>
                  <a:lnTo>
                    <a:pt x="22032" y="4328"/>
                  </a:lnTo>
                  <a:lnTo>
                    <a:pt x="20458" y="4328"/>
                  </a:lnTo>
                  <a:lnTo>
                    <a:pt x="20458" y="4328"/>
                  </a:lnTo>
                  <a:lnTo>
                    <a:pt x="18491" y="4328"/>
                  </a:lnTo>
                  <a:lnTo>
                    <a:pt x="16524" y="4328"/>
                  </a:lnTo>
                  <a:lnTo>
                    <a:pt x="14557" y="3934"/>
                  </a:lnTo>
                  <a:lnTo>
                    <a:pt x="12196" y="4328"/>
                  </a:lnTo>
                  <a:lnTo>
                    <a:pt x="14163" y="4721"/>
                  </a:lnTo>
                  <a:lnTo>
                    <a:pt x="12590" y="7869"/>
                  </a:lnTo>
                  <a:lnTo>
                    <a:pt x="10623" y="9836"/>
                  </a:lnTo>
                  <a:close/>
                  <a:moveTo>
                    <a:pt x="32261" y="22032"/>
                  </a:moveTo>
                  <a:lnTo>
                    <a:pt x="32655" y="20852"/>
                  </a:lnTo>
                  <a:lnTo>
                    <a:pt x="32655" y="22425"/>
                  </a:lnTo>
                  <a:lnTo>
                    <a:pt x="32261" y="22032"/>
                  </a:lnTo>
                  <a:close/>
                  <a:moveTo>
                    <a:pt x="33048" y="19278"/>
                  </a:moveTo>
                  <a:lnTo>
                    <a:pt x="33048" y="19278"/>
                  </a:lnTo>
                  <a:lnTo>
                    <a:pt x="34228" y="18491"/>
                  </a:lnTo>
                  <a:lnTo>
                    <a:pt x="33048" y="1927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46" name="Freeform: Shape 3440">
              <a:extLst>
                <a:ext uri="{FF2B5EF4-FFF2-40B4-BE49-F238E27FC236}">
                  <a16:creationId xmlns:a16="http://schemas.microsoft.com/office/drawing/2014/main" id="{B9F0177B-57A3-4C6F-8C02-1A351E3FEB91}"/>
                </a:ext>
              </a:extLst>
            </p:cNvPr>
            <p:cNvSpPr/>
            <p:nvPr/>
          </p:nvSpPr>
          <p:spPr>
            <a:xfrm>
              <a:off x="6396971" y="1866353"/>
              <a:ext cx="7869" cy="3934"/>
            </a:xfrm>
            <a:custGeom>
              <a:avLst/>
              <a:gdLst>
                <a:gd name="connsiteX0" fmla="*/ 6295 w 7868"/>
                <a:gd name="connsiteY0" fmla="*/ 0 h 3934"/>
                <a:gd name="connsiteX1" fmla="*/ 3148 w 7868"/>
                <a:gd name="connsiteY1" fmla="*/ 1180 h 3934"/>
                <a:gd name="connsiteX2" fmla="*/ 787 w 7868"/>
                <a:gd name="connsiteY2" fmla="*/ 1574 h 3934"/>
                <a:gd name="connsiteX3" fmla="*/ 787 w 7868"/>
                <a:gd name="connsiteY3" fmla="*/ 1574 h 3934"/>
                <a:gd name="connsiteX4" fmla="*/ 0 w 7868"/>
                <a:gd name="connsiteY4" fmla="*/ 4721 h 3934"/>
                <a:gd name="connsiteX5" fmla="*/ 3148 w 7868"/>
                <a:gd name="connsiteY5" fmla="*/ 3541 h 3934"/>
                <a:gd name="connsiteX6" fmla="*/ 5901 w 7868"/>
                <a:gd name="connsiteY6" fmla="*/ 2361 h 3934"/>
                <a:gd name="connsiteX7" fmla="*/ 8655 w 7868"/>
                <a:gd name="connsiteY7" fmla="*/ 2754 h 3934"/>
                <a:gd name="connsiteX8" fmla="*/ 9442 w 7868"/>
                <a:gd name="connsiteY8" fmla="*/ 1180 h 3934"/>
                <a:gd name="connsiteX9" fmla="*/ 9049 w 7868"/>
                <a:gd name="connsiteY9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3934">
                  <a:moveTo>
                    <a:pt x="6295" y="0"/>
                  </a:moveTo>
                  <a:lnTo>
                    <a:pt x="3148" y="1180"/>
                  </a:lnTo>
                  <a:lnTo>
                    <a:pt x="787" y="1574"/>
                  </a:lnTo>
                  <a:lnTo>
                    <a:pt x="787" y="1574"/>
                  </a:lnTo>
                  <a:lnTo>
                    <a:pt x="0" y="4721"/>
                  </a:lnTo>
                  <a:lnTo>
                    <a:pt x="3148" y="3541"/>
                  </a:lnTo>
                  <a:lnTo>
                    <a:pt x="5901" y="2361"/>
                  </a:lnTo>
                  <a:lnTo>
                    <a:pt x="8655" y="2754"/>
                  </a:lnTo>
                  <a:lnTo>
                    <a:pt x="9442" y="1180"/>
                  </a:lnTo>
                  <a:lnTo>
                    <a:pt x="9049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47" name="Freeform: Shape 3441">
              <a:extLst>
                <a:ext uri="{FF2B5EF4-FFF2-40B4-BE49-F238E27FC236}">
                  <a16:creationId xmlns:a16="http://schemas.microsoft.com/office/drawing/2014/main" id="{C3951AE8-7DA1-4F43-B641-0EBB79D125F9}"/>
                </a:ext>
              </a:extLst>
            </p:cNvPr>
            <p:cNvSpPr/>
            <p:nvPr/>
          </p:nvSpPr>
          <p:spPr>
            <a:xfrm>
              <a:off x="6406020" y="1846681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2754 w 0"/>
                <a:gd name="connsiteY1" fmla="*/ 0 h 0"/>
                <a:gd name="connsiteX2" fmla="*/ 0 w 0"/>
                <a:gd name="connsiteY2" fmla="*/ 787 h 0"/>
                <a:gd name="connsiteX3" fmla="*/ 1573 w 0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2754" y="0"/>
                  </a:lnTo>
                  <a:lnTo>
                    <a:pt x="0" y="787"/>
                  </a:lnTo>
                  <a:lnTo>
                    <a:pt x="1573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48" name="Freeform: Shape 3442">
              <a:extLst>
                <a:ext uri="{FF2B5EF4-FFF2-40B4-BE49-F238E27FC236}">
                  <a16:creationId xmlns:a16="http://schemas.microsoft.com/office/drawing/2014/main" id="{E2C879CE-5EF7-4E27-B4E4-6C8441794E1F}"/>
                </a:ext>
              </a:extLst>
            </p:cNvPr>
            <p:cNvSpPr/>
            <p:nvPr/>
          </p:nvSpPr>
          <p:spPr>
            <a:xfrm>
              <a:off x="6460706" y="1859271"/>
              <a:ext cx="7869" cy="7869"/>
            </a:xfrm>
            <a:custGeom>
              <a:avLst/>
              <a:gdLst>
                <a:gd name="connsiteX0" fmla="*/ 4721 w 7868"/>
                <a:gd name="connsiteY0" fmla="*/ 7082 h 7868"/>
                <a:gd name="connsiteX1" fmla="*/ 7869 w 7868"/>
                <a:gd name="connsiteY1" fmla="*/ 7869 h 7868"/>
                <a:gd name="connsiteX2" fmla="*/ 8262 w 7868"/>
                <a:gd name="connsiteY2" fmla="*/ 8262 h 7868"/>
                <a:gd name="connsiteX3" fmla="*/ 9442 w 7868"/>
                <a:gd name="connsiteY3" fmla="*/ 8262 h 7868"/>
                <a:gd name="connsiteX4" fmla="*/ 11016 w 7868"/>
                <a:gd name="connsiteY4" fmla="*/ 6295 h 7868"/>
                <a:gd name="connsiteX5" fmla="*/ 10229 w 7868"/>
                <a:gd name="connsiteY5" fmla="*/ 3147 h 7868"/>
                <a:gd name="connsiteX6" fmla="*/ 7475 w 7868"/>
                <a:gd name="connsiteY6" fmla="*/ 1967 h 7868"/>
                <a:gd name="connsiteX7" fmla="*/ 6295 w 7868"/>
                <a:gd name="connsiteY7" fmla="*/ 1180 h 7868"/>
                <a:gd name="connsiteX8" fmla="*/ 3148 w 7868"/>
                <a:gd name="connsiteY8" fmla="*/ 0 h 7868"/>
                <a:gd name="connsiteX9" fmla="*/ 394 w 7868"/>
                <a:gd name="connsiteY9" fmla="*/ 393 h 7868"/>
                <a:gd name="connsiteX10" fmla="*/ 0 w 7868"/>
                <a:gd name="connsiteY10" fmla="*/ 3541 h 7868"/>
                <a:gd name="connsiteX11" fmla="*/ 1967 w 7868"/>
                <a:gd name="connsiteY11" fmla="*/ 629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868" h="7868">
                  <a:moveTo>
                    <a:pt x="4721" y="7082"/>
                  </a:moveTo>
                  <a:lnTo>
                    <a:pt x="7869" y="7869"/>
                  </a:lnTo>
                  <a:lnTo>
                    <a:pt x="8262" y="8262"/>
                  </a:lnTo>
                  <a:lnTo>
                    <a:pt x="9442" y="8262"/>
                  </a:lnTo>
                  <a:lnTo>
                    <a:pt x="11016" y="6295"/>
                  </a:lnTo>
                  <a:lnTo>
                    <a:pt x="10229" y="3147"/>
                  </a:lnTo>
                  <a:lnTo>
                    <a:pt x="7475" y="1967"/>
                  </a:lnTo>
                  <a:lnTo>
                    <a:pt x="6295" y="1180"/>
                  </a:lnTo>
                  <a:lnTo>
                    <a:pt x="3148" y="0"/>
                  </a:lnTo>
                  <a:lnTo>
                    <a:pt x="394" y="393"/>
                  </a:lnTo>
                  <a:lnTo>
                    <a:pt x="0" y="3541"/>
                  </a:lnTo>
                  <a:lnTo>
                    <a:pt x="1967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49" name="Freeform: Shape 3443">
              <a:extLst>
                <a:ext uri="{FF2B5EF4-FFF2-40B4-BE49-F238E27FC236}">
                  <a16:creationId xmlns:a16="http://schemas.microsoft.com/office/drawing/2014/main" id="{D0DB53D9-72A9-49A5-8972-18962EAC7B19}"/>
                </a:ext>
              </a:extLst>
            </p:cNvPr>
            <p:cNvSpPr/>
            <p:nvPr/>
          </p:nvSpPr>
          <p:spPr>
            <a:xfrm>
              <a:off x="6180980" y="1972971"/>
              <a:ext cx="7869" cy="3934"/>
            </a:xfrm>
            <a:custGeom>
              <a:avLst/>
              <a:gdLst>
                <a:gd name="connsiteX0" fmla="*/ 5508 w 7868"/>
                <a:gd name="connsiteY0" fmla="*/ 3934 h 3934"/>
                <a:gd name="connsiteX1" fmla="*/ 8262 w 7868"/>
                <a:gd name="connsiteY1" fmla="*/ 3934 h 3934"/>
                <a:gd name="connsiteX2" fmla="*/ 9836 w 7868"/>
                <a:gd name="connsiteY2" fmla="*/ 3147 h 3934"/>
                <a:gd name="connsiteX3" fmla="*/ 9836 w 7868"/>
                <a:gd name="connsiteY3" fmla="*/ 2754 h 3934"/>
                <a:gd name="connsiteX4" fmla="*/ 9442 w 7868"/>
                <a:gd name="connsiteY4" fmla="*/ 2361 h 3934"/>
                <a:gd name="connsiteX5" fmla="*/ 6689 w 7868"/>
                <a:gd name="connsiteY5" fmla="*/ 393 h 3934"/>
                <a:gd name="connsiteX6" fmla="*/ 3541 w 7868"/>
                <a:gd name="connsiteY6" fmla="*/ 0 h 3934"/>
                <a:gd name="connsiteX7" fmla="*/ 2754 w 7868"/>
                <a:gd name="connsiteY7" fmla="*/ 0 h 3934"/>
                <a:gd name="connsiteX8" fmla="*/ 0 w 7868"/>
                <a:gd name="connsiteY8" fmla="*/ 393 h 3934"/>
                <a:gd name="connsiteX9" fmla="*/ 2754 w 7868"/>
                <a:gd name="connsiteY9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3934">
                  <a:moveTo>
                    <a:pt x="5508" y="3934"/>
                  </a:moveTo>
                  <a:lnTo>
                    <a:pt x="8262" y="3934"/>
                  </a:lnTo>
                  <a:lnTo>
                    <a:pt x="9836" y="3147"/>
                  </a:lnTo>
                  <a:lnTo>
                    <a:pt x="9836" y="2754"/>
                  </a:lnTo>
                  <a:lnTo>
                    <a:pt x="9442" y="2361"/>
                  </a:lnTo>
                  <a:lnTo>
                    <a:pt x="6689" y="393"/>
                  </a:lnTo>
                  <a:lnTo>
                    <a:pt x="3541" y="0"/>
                  </a:lnTo>
                  <a:lnTo>
                    <a:pt x="2754" y="0"/>
                  </a:lnTo>
                  <a:lnTo>
                    <a:pt x="0" y="393"/>
                  </a:lnTo>
                  <a:lnTo>
                    <a:pt x="275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50" name="Freeform: Shape 3444">
              <a:extLst>
                <a:ext uri="{FF2B5EF4-FFF2-40B4-BE49-F238E27FC236}">
                  <a16:creationId xmlns:a16="http://schemas.microsoft.com/office/drawing/2014/main" id="{C1C09A85-155B-4DE3-A9F3-0576EACD861E}"/>
                </a:ext>
              </a:extLst>
            </p:cNvPr>
            <p:cNvSpPr/>
            <p:nvPr/>
          </p:nvSpPr>
          <p:spPr>
            <a:xfrm>
              <a:off x="6501623" y="1792388"/>
              <a:ext cx="15737" cy="31474"/>
            </a:xfrm>
            <a:custGeom>
              <a:avLst/>
              <a:gdLst>
                <a:gd name="connsiteX0" fmla="*/ 3934 w 15737"/>
                <a:gd name="connsiteY0" fmla="*/ 33048 h 31474"/>
                <a:gd name="connsiteX1" fmla="*/ 4721 w 15737"/>
                <a:gd name="connsiteY1" fmla="*/ 29900 h 31474"/>
                <a:gd name="connsiteX2" fmla="*/ 5901 w 15737"/>
                <a:gd name="connsiteY2" fmla="*/ 27146 h 31474"/>
                <a:gd name="connsiteX3" fmla="*/ 7869 w 15737"/>
                <a:gd name="connsiteY3" fmla="*/ 23999 h 31474"/>
                <a:gd name="connsiteX4" fmla="*/ 8656 w 15737"/>
                <a:gd name="connsiteY4" fmla="*/ 21245 h 31474"/>
                <a:gd name="connsiteX5" fmla="*/ 9442 w 15737"/>
                <a:gd name="connsiteY5" fmla="*/ 17704 h 31474"/>
                <a:gd name="connsiteX6" fmla="*/ 11016 w 15737"/>
                <a:gd name="connsiteY6" fmla="*/ 14950 h 31474"/>
                <a:gd name="connsiteX7" fmla="*/ 11803 w 15737"/>
                <a:gd name="connsiteY7" fmla="*/ 11803 h 31474"/>
                <a:gd name="connsiteX8" fmla="*/ 13770 w 15737"/>
                <a:gd name="connsiteY8" fmla="*/ 9049 h 31474"/>
                <a:gd name="connsiteX9" fmla="*/ 14950 w 15737"/>
                <a:gd name="connsiteY9" fmla="*/ 6295 h 31474"/>
                <a:gd name="connsiteX10" fmla="*/ 15737 w 15737"/>
                <a:gd name="connsiteY10" fmla="*/ 3147 h 31474"/>
                <a:gd name="connsiteX11" fmla="*/ 16918 w 15737"/>
                <a:gd name="connsiteY11" fmla="*/ 0 h 31474"/>
                <a:gd name="connsiteX12" fmla="*/ 14163 w 15737"/>
                <a:gd name="connsiteY12" fmla="*/ 787 h 31474"/>
                <a:gd name="connsiteX13" fmla="*/ 12983 w 15737"/>
                <a:gd name="connsiteY13" fmla="*/ 3541 h 31474"/>
                <a:gd name="connsiteX14" fmla="*/ 12196 w 15737"/>
                <a:gd name="connsiteY14" fmla="*/ 6295 h 31474"/>
                <a:gd name="connsiteX15" fmla="*/ 10623 w 15737"/>
                <a:gd name="connsiteY15" fmla="*/ 9442 h 31474"/>
                <a:gd name="connsiteX16" fmla="*/ 8656 w 15737"/>
                <a:gd name="connsiteY16" fmla="*/ 12196 h 31474"/>
                <a:gd name="connsiteX17" fmla="*/ 5901 w 15737"/>
                <a:gd name="connsiteY17" fmla="*/ 14950 h 31474"/>
                <a:gd name="connsiteX18" fmla="*/ 3934 w 15737"/>
                <a:gd name="connsiteY18" fmla="*/ 18098 h 31474"/>
                <a:gd name="connsiteX19" fmla="*/ 787 w 15737"/>
                <a:gd name="connsiteY19" fmla="*/ 23999 h 31474"/>
                <a:gd name="connsiteX20" fmla="*/ 0 w 15737"/>
                <a:gd name="connsiteY20" fmla="*/ 26753 h 31474"/>
                <a:gd name="connsiteX21" fmla="*/ 393 w 15737"/>
                <a:gd name="connsiteY21" fmla="*/ 29114 h 31474"/>
                <a:gd name="connsiteX22" fmla="*/ 787 w 15737"/>
                <a:gd name="connsiteY22" fmla="*/ 31867 h 31474"/>
                <a:gd name="connsiteX23" fmla="*/ 787 w 15737"/>
                <a:gd name="connsiteY23" fmla="*/ 34228 h 3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5737" h="31474">
                  <a:moveTo>
                    <a:pt x="3934" y="33048"/>
                  </a:moveTo>
                  <a:lnTo>
                    <a:pt x="4721" y="29900"/>
                  </a:lnTo>
                  <a:lnTo>
                    <a:pt x="5901" y="27146"/>
                  </a:lnTo>
                  <a:lnTo>
                    <a:pt x="7869" y="23999"/>
                  </a:lnTo>
                  <a:lnTo>
                    <a:pt x="8656" y="21245"/>
                  </a:lnTo>
                  <a:lnTo>
                    <a:pt x="9442" y="17704"/>
                  </a:lnTo>
                  <a:lnTo>
                    <a:pt x="11016" y="14950"/>
                  </a:lnTo>
                  <a:lnTo>
                    <a:pt x="11803" y="11803"/>
                  </a:lnTo>
                  <a:lnTo>
                    <a:pt x="13770" y="9049"/>
                  </a:lnTo>
                  <a:lnTo>
                    <a:pt x="14950" y="6295"/>
                  </a:lnTo>
                  <a:lnTo>
                    <a:pt x="15737" y="3147"/>
                  </a:lnTo>
                  <a:lnTo>
                    <a:pt x="16918" y="0"/>
                  </a:lnTo>
                  <a:lnTo>
                    <a:pt x="14163" y="787"/>
                  </a:lnTo>
                  <a:lnTo>
                    <a:pt x="12983" y="3541"/>
                  </a:lnTo>
                  <a:lnTo>
                    <a:pt x="12196" y="6295"/>
                  </a:lnTo>
                  <a:lnTo>
                    <a:pt x="10623" y="9442"/>
                  </a:lnTo>
                  <a:lnTo>
                    <a:pt x="8656" y="12196"/>
                  </a:lnTo>
                  <a:lnTo>
                    <a:pt x="5901" y="14950"/>
                  </a:lnTo>
                  <a:lnTo>
                    <a:pt x="3934" y="18098"/>
                  </a:lnTo>
                  <a:lnTo>
                    <a:pt x="787" y="23999"/>
                  </a:lnTo>
                  <a:lnTo>
                    <a:pt x="0" y="26753"/>
                  </a:lnTo>
                  <a:lnTo>
                    <a:pt x="393" y="29114"/>
                  </a:lnTo>
                  <a:lnTo>
                    <a:pt x="787" y="31867"/>
                  </a:lnTo>
                  <a:lnTo>
                    <a:pt x="787" y="342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51" name="Freeform: Shape 3445">
              <a:extLst>
                <a:ext uri="{FF2B5EF4-FFF2-40B4-BE49-F238E27FC236}">
                  <a16:creationId xmlns:a16="http://schemas.microsoft.com/office/drawing/2014/main" id="{D98B284F-4170-465C-8956-7E01962AAFBC}"/>
                </a:ext>
              </a:extLst>
            </p:cNvPr>
            <p:cNvSpPr/>
            <p:nvPr/>
          </p:nvSpPr>
          <p:spPr>
            <a:xfrm>
              <a:off x="6538605" y="1739276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1574 h 0"/>
                <a:gd name="connsiteX2" fmla="*/ 3148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1574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52" name="Freeform: Shape 3446">
              <a:extLst>
                <a:ext uri="{FF2B5EF4-FFF2-40B4-BE49-F238E27FC236}">
                  <a16:creationId xmlns:a16="http://schemas.microsoft.com/office/drawing/2014/main" id="{D713A358-4DB4-4DD4-8BE1-9CD6A77EF65B}"/>
                </a:ext>
              </a:extLst>
            </p:cNvPr>
            <p:cNvSpPr/>
            <p:nvPr/>
          </p:nvSpPr>
          <p:spPr>
            <a:xfrm>
              <a:off x="6542539" y="1773897"/>
              <a:ext cx="19671" cy="31474"/>
            </a:xfrm>
            <a:custGeom>
              <a:avLst/>
              <a:gdLst>
                <a:gd name="connsiteX0" fmla="*/ 0 w 19671"/>
                <a:gd name="connsiteY0" fmla="*/ 13376 h 31474"/>
                <a:gd name="connsiteX1" fmla="*/ 787 w 19671"/>
                <a:gd name="connsiteY1" fmla="*/ 16130 h 31474"/>
                <a:gd name="connsiteX2" fmla="*/ 1967 w 19671"/>
                <a:gd name="connsiteY2" fmla="*/ 19278 h 31474"/>
                <a:gd name="connsiteX3" fmla="*/ 1180 w 19671"/>
                <a:gd name="connsiteY3" fmla="*/ 22032 h 31474"/>
                <a:gd name="connsiteX4" fmla="*/ 2360 w 19671"/>
                <a:gd name="connsiteY4" fmla="*/ 25179 h 31474"/>
                <a:gd name="connsiteX5" fmla="*/ 5115 w 19671"/>
                <a:gd name="connsiteY5" fmla="*/ 26360 h 31474"/>
                <a:gd name="connsiteX6" fmla="*/ 3148 w 19671"/>
                <a:gd name="connsiteY6" fmla="*/ 29114 h 31474"/>
                <a:gd name="connsiteX7" fmla="*/ 1180 w 19671"/>
                <a:gd name="connsiteY7" fmla="*/ 32261 h 31474"/>
                <a:gd name="connsiteX8" fmla="*/ 4328 w 19671"/>
                <a:gd name="connsiteY8" fmla="*/ 32261 h 31474"/>
                <a:gd name="connsiteX9" fmla="*/ 7082 w 19671"/>
                <a:gd name="connsiteY9" fmla="*/ 29114 h 31474"/>
                <a:gd name="connsiteX10" fmla="*/ 6295 w 19671"/>
                <a:gd name="connsiteY10" fmla="*/ 27540 h 31474"/>
                <a:gd name="connsiteX11" fmla="*/ 9442 w 19671"/>
                <a:gd name="connsiteY11" fmla="*/ 24392 h 31474"/>
                <a:gd name="connsiteX12" fmla="*/ 12196 w 19671"/>
                <a:gd name="connsiteY12" fmla="*/ 22819 h 31474"/>
                <a:gd name="connsiteX13" fmla="*/ 15344 w 19671"/>
                <a:gd name="connsiteY13" fmla="*/ 21245 h 31474"/>
                <a:gd name="connsiteX14" fmla="*/ 16524 w 19671"/>
                <a:gd name="connsiteY14" fmla="*/ 18098 h 31474"/>
                <a:gd name="connsiteX15" fmla="*/ 19278 w 19671"/>
                <a:gd name="connsiteY15" fmla="*/ 15344 h 31474"/>
                <a:gd name="connsiteX16" fmla="*/ 16524 w 19671"/>
                <a:gd name="connsiteY16" fmla="*/ 14163 h 31474"/>
                <a:gd name="connsiteX17" fmla="*/ 16524 w 19671"/>
                <a:gd name="connsiteY17" fmla="*/ 11016 h 31474"/>
                <a:gd name="connsiteX18" fmla="*/ 16524 w 19671"/>
                <a:gd name="connsiteY18" fmla="*/ 8262 h 31474"/>
                <a:gd name="connsiteX19" fmla="*/ 19278 w 19671"/>
                <a:gd name="connsiteY19" fmla="*/ 6688 h 31474"/>
                <a:gd name="connsiteX20" fmla="*/ 21245 w 19671"/>
                <a:gd name="connsiteY20" fmla="*/ 3934 h 31474"/>
                <a:gd name="connsiteX21" fmla="*/ 21245 w 19671"/>
                <a:gd name="connsiteY21" fmla="*/ 787 h 31474"/>
                <a:gd name="connsiteX22" fmla="*/ 18491 w 19671"/>
                <a:gd name="connsiteY22" fmla="*/ 0 h 31474"/>
                <a:gd name="connsiteX23" fmla="*/ 15344 w 19671"/>
                <a:gd name="connsiteY23" fmla="*/ 1180 h 31474"/>
                <a:gd name="connsiteX24" fmla="*/ 12589 w 19671"/>
                <a:gd name="connsiteY24" fmla="*/ 787 h 31474"/>
                <a:gd name="connsiteX25" fmla="*/ 9836 w 19671"/>
                <a:gd name="connsiteY25" fmla="*/ 3147 h 31474"/>
                <a:gd name="connsiteX26" fmla="*/ 6688 w 19671"/>
                <a:gd name="connsiteY26" fmla="*/ 5114 h 31474"/>
                <a:gd name="connsiteX27" fmla="*/ 5115 w 19671"/>
                <a:gd name="connsiteY27" fmla="*/ 7869 h 31474"/>
                <a:gd name="connsiteX28" fmla="*/ 2360 w 19671"/>
                <a:gd name="connsiteY28" fmla="*/ 10622 h 3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9671" h="31474">
                  <a:moveTo>
                    <a:pt x="0" y="13376"/>
                  </a:moveTo>
                  <a:lnTo>
                    <a:pt x="787" y="16130"/>
                  </a:lnTo>
                  <a:lnTo>
                    <a:pt x="1967" y="19278"/>
                  </a:lnTo>
                  <a:lnTo>
                    <a:pt x="1180" y="22032"/>
                  </a:lnTo>
                  <a:lnTo>
                    <a:pt x="2360" y="25179"/>
                  </a:lnTo>
                  <a:lnTo>
                    <a:pt x="5115" y="26360"/>
                  </a:lnTo>
                  <a:lnTo>
                    <a:pt x="3148" y="29114"/>
                  </a:lnTo>
                  <a:lnTo>
                    <a:pt x="1180" y="32261"/>
                  </a:lnTo>
                  <a:lnTo>
                    <a:pt x="4328" y="32261"/>
                  </a:lnTo>
                  <a:lnTo>
                    <a:pt x="7082" y="29114"/>
                  </a:lnTo>
                  <a:lnTo>
                    <a:pt x="6295" y="27540"/>
                  </a:lnTo>
                  <a:lnTo>
                    <a:pt x="9442" y="24392"/>
                  </a:lnTo>
                  <a:lnTo>
                    <a:pt x="12196" y="22819"/>
                  </a:lnTo>
                  <a:lnTo>
                    <a:pt x="15344" y="21245"/>
                  </a:lnTo>
                  <a:lnTo>
                    <a:pt x="16524" y="18098"/>
                  </a:lnTo>
                  <a:lnTo>
                    <a:pt x="19278" y="15344"/>
                  </a:lnTo>
                  <a:lnTo>
                    <a:pt x="16524" y="14163"/>
                  </a:lnTo>
                  <a:lnTo>
                    <a:pt x="16524" y="11016"/>
                  </a:lnTo>
                  <a:lnTo>
                    <a:pt x="16524" y="8262"/>
                  </a:lnTo>
                  <a:lnTo>
                    <a:pt x="19278" y="6688"/>
                  </a:lnTo>
                  <a:lnTo>
                    <a:pt x="21245" y="3934"/>
                  </a:lnTo>
                  <a:lnTo>
                    <a:pt x="21245" y="787"/>
                  </a:lnTo>
                  <a:lnTo>
                    <a:pt x="18491" y="0"/>
                  </a:lnTo>
                  <a:lnTo>
                    <a:pt x="15344" y="1180"/>
                  </a:lnTo>
                  <a:lnTo>
                    <a:pt x="12589" y="787"/>
                  </a:lnTo>
                  <a:lnTo>
                    <a:pt x="9836" y="3147"/>
                  </a:lnTo>
                  <a:lnTo>
                    <a:pt x="6688" y="5114"/>
                  </a:lnTo>
                  <a:lnTo>
                    <a:pt x="5115" y="7869"/>
                  </a:lnTo>
                  <a:lnTo>
                    <a:pt x="2360" y="1062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53" name="Freeform: Shape 3447">
              <a:extLst>
                <a:ext uri="{FF2B5EF4-FFF2-40B4-BE49-F238E27FC236}">
                  <a16:creationId xmlns:a16="http://schemas.microsoft.com/office/drawing/2014/main" id="{E012D835-103A-4B93-9C59-783C31205425}"/>
                </a:ext>
              </a:extLst>
            </p:cNvPr>
            <p:cNvSpPr/>
            <p:nvPr/>
          </p:nvSpPr>
          <p:spPr>
            <a:xfrm>
              <a:off x="6545687" y="1737309"/>
              <a:ext cx="3934" cy="3934"/>
            </a:xfrm>
            <a:custGeom>
              <a:avLst/>
              <a:gdLst>
                <a:gd name="connsiteX0" fmla="*/ 1967 w 0"/>
                <a:gd name="connsiteY0" fmla="*/ 0 h 0"/>
                <a:gd name="connsiteX1" fmla="*/ 0 w 0"/>
                <a:gd name="connsiteY1" fmla="*/ 2754 h 0"/>
                <a:gd name="connsiteX2" fmla="*/ 314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0"/>
                  </a:moveTo>
                  <a:lnTo>
                    <a:pt x="0" y="2754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54" name="Freeform: Shape 3448">
              <a:extLst>
                <a:ext uri="{FF2B5EF4-FFF2-40B4-BE49-F238E27FC236}">
                  <a16:creationId xmlns:a16="http://schemas.microsoft.com/office/drawing/2014/main" id="{74398929-6D86-426A-80C0-FDBAB7E07EB9}"/>
                </a:ext>
              </a:extLst>
            </p:cNvPr>
            <p:cNvSpPr/>
            <p:nvPr/>
          </p:nvSpPr>
          <p:spPr>
            <a:xfrm>
              <a:off x="6665288" y="171212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55" name="Freeform: Shape 3449">
              <a:extLst>
                <a:ext uri="{FF2B5EF4-FFF2-40B4-BE49-F238E27FC236}">
                  <a16:creationId xmlns:a16="http://schemas.microsoft.com/office/drawing/2014/main" id="{58DD4DEB-7EEF-4237-BE05-85158968BB68}"/>
                </a:ext>
              </a:extLst>
            </p:cNvPr>
            <p:cNvSpPr/>
            <p:nvPr/>
          </p:nvSpPr>
          <p:spPr>
            <a:xfrm>
              <a:off x="9525892" y="1863992"/>
              <a:ext cx="7869" cy="3934"/>
            </a:xfrm>
            <a:custGeom>
              <a:avLst/>
              <a:gdLst>
                <a:gd name="connsiteX0" fmla="*/ 4721 w 7868"/>
                <a:gd name="connsiteY0" fmla="*/ 0 h 3934"/>
                <a:gd name="connsiteX1" fmla="*/ 393 w 7868"/>
                <a:gd name="connsiteY1" fmla="*/ 3541 h 3934"/>
                <a:gd name="connsiteX2" fmla="*/ 0 w 7868"/>
                <a:gd name="connsiteY2" fmla="*/ 6295 h 3934"/>
                <a:gd name="connsiteX3" fmla="*/ 2754 w 7868"/>
                <a:gd name="connsiteY3" fmla="*/ 5508 h 3934"/>
                <a:gd name="connsiteX4" fmla="*/ 5901 w 7868"/>
                <a:gd name="connsiteY4" fmla="*/ 5508 h 3934"/>
                <a:gd name="connsiteX5" fmla="*/ 9049 w 7868"/>
                <a:gd name="connsiteY5" fmla="*/ 5901 h 3934"/>
                <a:gd name="connsiteX6" fmla="*/ 7475 w 7868"/>
                <a:gd name="connsiteY6" fmla="*/ 3541 h 3934"/>
                <a:gd name="connsiteX7" fmla="*/ 7869 w 7868"/>
                <a:gd name="connsiteY7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4721" y="0"/>
                  </a:moveTo>
                  <a:lnTo>
                    <a:pt x="393" y="3541"/>
                  </a:lnTo>
                  <a:lnTo>
                    <a:pt x="0" y="6295"/>
                  </a:lnTo>
                  <a:lnTo>
                    <a:pt x="2754" y="5508"/>
                  </a:lnTo>
                  <a:lnTo>
                    <a:pt x="5901" y="5508"/>
                  </a:lnTo>
                  <a:lnTo>
                    <a:pt x="9049" y="5901"/>
                  </a:lnTo>
                  <a:lnTo>
                    <a:pt x="7475" y="3541"/>
                  </a:lnTo>
                  <a:lnTo>
                    <a:pt x="7869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56" name="Freeform: Shape 3450">
              <a:extLst>
                <a:ext uri="{FF2B5EF4-FFF2-40B4-BE49-F238E27FC236}">
                  <a16:creationId xmlns:a16="http://schemas.microsoft.com/office/drawing/2014/main" id="{36685A8F-57BA-4E63-82B2-0E1530841E6A}"/>
                </a:ext>
              </a:extLst>
            </p:cNvPr>
            <p:cNvSpPr/>
            <p:nvPr/>
          </p:nvSpPr>
          <p:spPr>
            <a:xfrm>
              <a:off x="9541235" y="1860845"/>
              <a:ext cx="19671" cy="15737"/>
            </a:xfrm>
            <a:custGeom>
              <a:avLst/>
              <a:gdLst>
                <a:gd name="connsiteX0" fmla="*/ 0 w 19671"/>
                <a:gd name="connsiteY0" fmla="*/ 9442 h 15737"/>
                <a:gd name="connsiteX1" fmla="*/ 1574 w 19671"/>
                <a:gd name="connsiteY1" fmla="*/ 12590 h 15737"/>
                <a:gd name="connsiteX2" fmla="*/ 4721 w 19671"/>
                <a:gd name="connsiteY2" fmla="*/ 11016 h 15737"/>
                <a:gd name="connsiteX3" fmla="*/ 7476 w 19671"/>
                <a:gd name="connsiteY3" fmla="*/ 11803 h 15737"/>
                <a:gd name="connsiteX4" fmla="*/ 10229 w 19671"/>
                <a:gd name="connsiteY4" fmla="*/ 14163 h 15737"/>
                <a:gd name="connsiteX5" fmla="*/ 13377 w 19671"/>
                <a:gd name="connsiteY5" fmla="*/ 15737 h 15737"/>
                <a:gd name="connsiteX6" fmla="*/ 16524 w 19671"/>
                <a:gd name="connsiteY6" fmla="*/ 18098 h 15737"/>
                <a:gd name="connsiteX7" fmla="*/ 19278 w 19671"/>
                <a:gd name="connsiteY7" fmla="*/ 16131 h 15737"/>
                <a:gd name="connsiteX8" fmla="*/ 20852 w 19671"/>
                <a:gd name="connsiteY8" fmla="*/ 12983 h 15737"/>
                <a:gd name="connsiteX9" fmla="*/ 18491 w 19671"/>
                <a:gd name="connsiteY9" fmla="*/ 10229 h 15737"/>
                <a:gd name="connsiteX10" fmla="*/ 18098 w 19671"/>
                <a:gd name="connsiteY10" fmla="*/ 7082 h 15737"/>
                <a:gd name="connsiteX11" fmla="*/ 18491 w 19671"/>
                <a:gd name="connsiteY11" fmla="*/ 6688 h 15737"/>
                <a:gd name="connsiteX12" fmla="*/ 15344 w 19671"/>
                <a:gd name="connsiteY12" fmla="*/ 4721 h 15737"/>
                <a:gd name="connsiteX13" fmla="*/ 12983 w 19671"/>
                <a:gd name="connsiteY13" fmla="*/ 6688 h 15737"/>
                <a:gd name="connsiteX14" fmla="*/ 12589 w 19671"/>
                <a:gd name="connsiteY14" fmla="*/ 6688 h 15737"/>
                <a:gd name="connsiteX15" fmla="*/ 12589 w 19671"/>
                <a:gd name="connsiteY15" fmla="*/ 3541 h 15737"/>
                <a:gd name="connsiteX16" fmla="*/ 9836 w 19671"/>
                <a:gd name="connsiteY16" fmla="*/ 1967 h 15737"/>
                <a:gd name="connsiteX17" fmla="*/ 7082 w 19671"/>
                <a:gd name="connsiteY17" fmla="*/ 1967 h 15737"/>
                <a:gd name="connsiteX18" fmla="*/ 4328 w 19671"/>
                <a:gd name="connsiteY18" fmla="*/ 1967 h 15737"/>
                <a:gd name="connsiteX19" fmla="*/ 1180 w 19671"/>
                <a:gd name="connsiteY19" fmla="*/ 0 h 15737"/>
                <a:gd name="connsiteX20" fmla="*/ 0 w 19671"/>
                <a:gd name="connsiteY20" fmla="*/ 3147 h 15737"/>
                <a:gd name="connsiteX21" fmla="*/ 1180 w 19671"/>
                <a:gd name="connsiteY21" fmla="*/ 5901 h 15737"/>
                <a:gd name="connsiteX22" fmla="*/ 0 w 19671"/>
                <a:gd name="connsiteY22" fmla="*/ 6688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71" h="15737">
                  <a:moveTo>
                    <a:pt x="0" y="9442"/>
                  </a:moveTo>
                  <a:lnTo>
                    <a:pt x="1574" y="12590"/>
                  </a:lnTo>
                  <a:lnTo>
                    <a:pt x="4721" y="11016"/>
                  </a:lnTo>
                  <a:lnTo>
                    <a:pt x="7476" y="11803"/>
                  </a:lnTo>
                  <a:lnTo>
                    <a:pt x="10229" y="14163"/>
                  </a:lnTo>
                  <a:lnTo>
                    <a:pt x="13377" y="15737"/>
                  </a:lnTo>
                  <a:lnTo>
                    <a:pt x="16524" y="18098"/>
                  </a:lnTo>
                  <a:lnTo>
                    <a:pt x="19278" y="16131"/>
                  </a:lnTo>
                  <a:lnTo>
                    <a:pt x="20852" y="12983"/>
                  </a:lnTo>
                  <a:lnTo>
                    <a:pt x="18491" y="10229"/>
                  </a:lnTo>
                  <a:lnTo>
                    <a:pt x="18098" y="7082"/>
                  </a:lnTo>
                  <a:lnTo>
                    <a:pt x="18491" y="6688"/>
                  </a:lnTo>
                  <a:lnTo>
                    <a:pt x="15344" y="4721"/>
                  </a:lnTo>
                  <a:lnTo>
                    <a:pt x="12983" y="6688"/>
                  </a:lnTo>
                  <a:lnTo>
                    <a:pt x="12589" y="6688"/>
                  </a:lnTo>
                  <a:lnTo>
                    <a:pt x="12589" y="3541"/>
                  </a:lnTo>
                  <a:lnTo>
                    <a:pt x="9836" y="1967"/>
                  </a:lnTo>
                  <a:lnTo>
                    <a:pt x="7082" y="1967"/>
                  </a:lnTo>
                  <a:lnTo>
                    <a:pt x="4328" y="1967"/>
                  </a:lnTo>
                  <a:lnTo>
                    <a:pt x="1180" y="0"/>
                  </a:lnTo>
                  <a:lnTo>
                    <a:pt x="0" y="3147"/>
                  </a:lnTo>
                  <a:lnTo>
                    <a:pt x="1180" y="5901"/>
                  </a:lnTo>
                  <a:lnTo>
                    <a:pt x="0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57" name="Freeform: Shape 3451">
              <a:extLst>
                <a:ext uri="{FF2B5EF4-FFF2-40B4-BE49-F238E27FC236}">
                  <a16:creationId xmlns:a16="http://schemas.microsoft.com/office/drawing/2014/main" id="{12FF7686-D9B1-4507-93B0-2A1792221E03}"/>
                </a:ext>
              </a:extLst>
            </p:cNvPr>
            <p:cNvSpPr/>
            <p:nvPr/>
          </p:nvSpPr>
          <p:spPr>
            <a:xfrm>
              <a:off x="6564964" y="1771930"/>
              <a:ext cx="3934" cy="3934"/>
            </a:xfrm>
            <a:custGeom>
              <a:avLst/>
              <a:gdLst>
                <a:gd name="connsiteX0" fmla="*/ 0 w 3934"/>
                <a:gd name="connsiteY0" fmla="*/ 2754 h 0"/>
                <a:gd name="connsiteX1" fmla="*/ 2754 w 3934"/>
                <a:gd name="connsiteY1" fmla="*/ 3541 h 0"/>
                <a:gd name="connsiteX2" fmla="*/ 5508 w 3934"/>
                <a:gd name="connsiteY2" fmla="*/ 1967 h 0"/>
                <a:gd name="connsiteX3" fmla="*/ 2754 w 3934"/>
                <a:gd name="connsiteY3" fmla="*/ 0 h 0"/>
                <a:gd name="connsiteX4" fmla="*/ 0 w 3934"/>
                <a:gd name="connsiteY4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2754"/>
                  </a:moveTo>
                  <a:lnTo>
                    <a:pt x="2754" y="3541"/>
                  </a:lnTo>
                  <a:lnTo>
                    <a:pt x="5508" y="1967"/>
                  </a:lnTo>
                  <a:lnTo>
                    <a:pt x="2754" y="0"/>
                  </a:lnTo>
                  <a:lnTo>
                    <a:pt x="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58" name="Freeform: Shape 3452">
              <a:extLst>
                <a:ext uri="{FF2B5EF4-FFF2-40B4-BE49-F238E27FC236}">
                  <a16:creationId xmlns:a16="http://schemas.microsoft.com/office/drawing/2014/main" id="{03E821F8-D8F3-42F8-BF77-2A79DFAD1B7D}"/>
                </a:ext>
              </a:extLst>
            </p:cNvPr>
            <p:cNvSpPr/>
            <p:nvPr/>
          </p:nvSpPr>
          <p:spPr>
            <a:xfrm>
              <a:off x="6566931" y="175934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393 h 0"/>
                <a:gd name="connsiteX2" fmla="*/ 3148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393"/>
                  </a:lnTo>
                  <a:lnTo>
                    <a:pt x="3148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59" name="Freeform: Shape 3453">
              <a:extLst>
                <a:ext uri="{FF2B5EF4-FFF2-40B4-BE49-F238E27FC236}">
                  <a16:creationId xmlns:a16="http://schemas.microsoft.com/office/drawing/2014/main" id="{477F1E6A-979E-4B8B-A28E-F84EA9067507}"/>
                </a:ext>
              </a:extLst>
            </p:cNvPr>
            <p:cNvSpPr/>
            <p:nvPr/>
          </p:nvSpPr>
          <p:spPr>
            <a:xfrm>
              <a:off x="6590931" y="1708982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1967 w 0"/>
                <a:gd name="connsiteY1" fmla="*/ 0 h 0"/>
                <a:gd name="connsiteX2" fmla="*/ 1573 w 0"/>
                <a:gd name="connsiteY2" fmla="*/ 0 h 0"/>
                <a:gd name="connsiteX3" fmla="*/ 0 w 0"/>
                <a:gd name="connsiteY3" fmla="*/ 0 h 0"/>
                <a:gd name="connsiteX4" fmla="*/ 2754 w 0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1967" y="0"/>
                  </a:lnTo>
                  <a:lnTo>
                    <a:pt x="1573" y="0"/>
                  </a:lnTo>
                  <a:lnTo>
                    <a:pt x="0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60" name="Freeform: Shape 3454">
              <a:extLst>
                <a:ext uri="{FF2B5EF4-FFF2-40B4-BE49-F238E27FC236}">
                  <a16:creationId xmlns:a16="http://schemas.microsoft.com/office/drawing/2014/main" id="{43945FA1-3B8C-4227-A796-F040282FBAD9}"/>
                </a:ext>
              </a:extLst>
            </p:cNvPr>
            <p:cNvSpPr/>
            <p:nvPr/>
          </p:nvSpPr>
          <p:spPr>
            <a:xfrm>
              <a:off x="6651125" y="1708982"/>
              <a:ext cx="3934" cy="3934"/>
            </a:xfrm>
            <a:custGeom>
              <a:avLst/>
              <a:gdLst>
                <a:gd name="connsiteX0" fmla="*/ 2754 w 3934"/>
                <a:gd name="connsiteY0" fmla="*/ 2754 h 0"/>
                <a:gd name="connsiteX1" fmla="*/ 5901 w 3934"/>
                <a:gd name="connsiteY1" fmla="*/ 2754 h 0"/>
                <a:gd name="connsiteX2" fmla="*/ 6689 w 3934"/>
                <a:gd name="connsiteY2" fmla="*/ 0 h 0"/>
                <a:gd name="connsiteX3" fmla="*/ 4328 w 3934"/>
                <a:gd name="connsiteY3" fmla="*/ 0 h 0"/>
                <a:gd name="connsiteX4" fmla="*/ 1574 w 3934"/>
                <a:gd name="connsiteY4" fmla="*/ 787 h 0"/>
                <a:gd name="connsiteX5" fmla="*/ 0 w 3934"/>
                <a:gd name="connsiteY5" fmla="*/ 0 h 0"/>
                <a:gd name="connsiteX6" fmla="*/ 0 w 3934"/>
                <a:gd name="connsiteY6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>
                  <a:moveTo>
                    <a:pt x="2754" y="2754"/>
                  </a:moveTo>
                  <a:lnTo>
                    <a:pt x="5901" y="2754"/>
                  </a:lnTo>
                  <a:lnTo>
                    <a:pt x="6689" y="0"/>
                  </a:lnTo>
                  <a:lnTo>
                    <a:pt x="4328" y="0"/>
                  </a:lnTo>
                  <a:lnTo>
                    <a:pt x="1574" y="78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61" name="Freeform: Shape 3455">
              <a:extLst>
                <a:ext uri="{FF2B5EF4-FFF2-40B4-BE49-F238E27FC236}">
                  <a16:creationId xmlns:a16="http://schemas.microsoft.com/office/drawing/2014/main" id="{EA606AC1-A7BA-47EA-8116-73C72C0BFD68}"/>
                </a:ext>
              </a:extLst>
            </p:cNvPr>
            <p:cNvSpPr/>
            <p:nvPr/>
          </p:nvSpPr>
          <p:spPr>
            <a:xfrm>
              <a:off x="6632634" y="1752259"/>
              <a:ext cx="31474" cy="19671"/>
            </a:xfrm>
            <a:custGeom>
              <a:avLst/>
              <a:gdLst>
                <a:gd name="connsiteX0" fmla="*/ 1967 w 31474"/>
                <a:gd name="connsiteY0" fmla="*/ 6688 h 19671"/>
                <a:gd name="connsiteX1" fmla="*/ 393 w 31474"/>
                <a:gd name="connsiteY1" fmla="*/ 9836 h 19671"/>
                <a:gd name="connsiteX2" fmla="*/ 3541 w 31474"/>
                <a:gd name="connsiteY2" fmla="*/ 12590 h 19671"/>
                <a:gd name="connsiteX3" fmla="*/ 6688 w 31474"/>
                <a:gd name="connsiteY3" fmla="*/ 14557 h 19671"/>
                <a:gd name="connsiteX4" fmla="*/ 7081 w 31474"/>
                <a:gd name="connsiteY4" fmla="*/ 17311 h 19671"/>
                <a:gd name="connsiteX5" fmla="*/ 4328 w 31474"/>
                <a:gd name="connsiteY5" fmla="*/ 19278 h 19671"/>
                <a:gd name="connsiteX6" fmla="*/ 4328 w 31474"/>
                <a:gd name="connsiteY6" fmla="*/ 22032 h 19671"/>
                <a:gd name="connsiteX7" fmla="*/ 5114 w 31474"/>
                <a:gd name="connsiteY7" fmla="*/ 22425 h 19671"/>
                <a:gd name="connsiteX8" fmla="*/ 7869 w 31474"/>
                <a:gd name="connsiteY8" fmla="*/ 20458 h 19671"/>
                <a:gd name="connsiteX9" fmla="*/ 9442 w 31474"/>
                <a:gd name="connsiteY9" fmla="*/ 17704 h 19671"/>
                <a:gd name="connsiteX10" fmla="*/ 10229 w 31474"/>
                <a:gd name="connsiteY10" fmla="*/ 14557 h 19671"/>
                <a:gd name="connsiteX11" fmla="*/ 12983 w 31474"/>
                <a:gd name="connsiteY11" fmla="*/ 12590 h 19671"/>
                <a:gd name="connsiteX12" fmla="*/ 15737 w 31474"/>
                <a:gd name="connsiteY12" fmla="*/ 12590 h 19671"/>
                <a:gd name="connsiteX13" fmla="*/ 18491 w 31474"/>
                <a:gd name="connsiteY13" fmla="*/ 11409 h 19671"/>
                <a:gd name="connsiteX14" fmla="*/ 21638 w 31474"/>
                <a:gd name="connsiteY14" fmla="*/ 12590 h 19671"/>
                <a:gd name="connsiteX15" fmla="*/ 24392 w 31474"/>
                <a:gd name="connsiteY15" fmla="*/ 9836 h 19671"/>
                <a:gd name="connsiteX16" fmla="*/ 27540 w 31474"/>
                <a:gd name="connsiteY16" fmla="*/ 8262 h 19671"/>
                <a:gd name="connsiteX17" fmla="*/ 30687 w 31474"/>
                <a:gd name="connsiteY17" fmla="*/ 5508 h 19671"/>
                <a:gd name="connsiteX18" fmla="*/ 33441 w 31474"/>
                <a:gd name="connsiteY18" fmla="*/ 5901 h 19671"/>
                <a:gd name="connsiteX19" fmla="*/ 30687 w 31474"/>
                <a:gd name="connsiteY19" fmla="*/ 3541 h 19671"/>
                <a:gd name="connsiteX20" fmla="*/ 29507 w 31474"/>
                <a:gd name="connsiteY20" fmla="*/ 2361 h 19671"/>
                <a:gd name="connsiteX21" fmla="*/ 26359 w 31474"/>
                <a:gd name="connsiteY21" fmla="*/ 787 h 19671"/>
                <a:gd name="connsiteX22" fmla="*/ 23212 w 31474"/>
                <a:gd name="connsiteY22" fmla="*/ 0 h 19671"/>
                <a:gd name="connsiteX23" fmla="*/ 20458 w 31474"/>
                <a:gd name="connsiteY23" fmla="*/ 1180 h 19671"/>
                <a:gd name="connsiteX24" fmla="*/ 17704 w 31474"/>
                <a:gd name="connsiteY24" fmla="*/ 1180 h 19671"/>
                <a:gd name="connsiteX25" fmla="*/ 14950 w 31474"/>
                <a:gd name="connsiteY25" fmla="*/ 393 h 19671"/>
                <a:gd name="connsiteX26" fmla="*/ 11803 w 31474"/>
                <a:gd name="connsiteY26" fmla="*/ 1180 h 19671"/>
                <a:gd name="connsiteX27" fmla="*/ 8655 w 31474"/>
                <a:gd name="connsiteY27" fmla="*/ 3934 h 19671"/>
                <a:gd name="connsiteX28" fmla="*/ 5901 w 31474"/>
                <a:gd name="connsiteY28" fmla="*/ 3541 h 19671"/>
                <a:gd name="connsiteX29" fmla="*/ 2754 w 31474"/>
                <a:gd name="connsiteY29" fmla="*/ 3541 h 19671"/>
                <a:gd name="connsiteX30" fmla="*/ 0 w 31474"/>
                <a:gd name="connsiteY30" fmla="*/ 3934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1474" h="19671">
                  <a:moveTo>
                    <a:pt x="1967" y="6688"/>
                  </a:moveTo>
                  <a:lnTo>
                    <a:pt x="393" y="9836"/>
                  </a:lnTo>
                  <a:lnTo>
                    <a:pt x="3541" y="12590"/>
                  </a:lnTo>
                  <a:lnTo>
                    <a:pt x="6688" y="14557"/>
                  </a:lnTo>
                  <a:lnTo>
                    <a:pt x="7081" y="17311"/>
                  </a:lnTo>
                  <a:lnTo>
                    <a:pt x="4328" y="19278"/>
                  </a:lnTo>
                  <a:lnTo>
                    <a:pt x="4328" y="22032"/>
                  </a:lnTo>
                  <a:lnTo>
                    <a:pt x="5114" y="22425"/>
                  </a:lnTo>
                  <a:lnTo>
                    <a:pt x="7869" y="20458"/>
                  </a:lnTo>
                  <a:lnTo>
                    <a:pt x="9442" y="17704"/>
                  </a:lnTo>
                  <a:lnTo>
                    <a:pt x="10229" y="14557"/>
                  </a:lnTo>
                  <a:lnTo>
                    <a:pt x="12983" y="12590"/>
                  </a:lnTo>
                  <a:lnTo>
                    <a:pt x="15737" y="12590"/>
                  </a:lnTo>
                  <a:lnTo>
                    <a:pt x="18491" y="11409"/>
                  </a:lnTo>
                  <a:lnTo>
                    <a:pt x="21638" y="12590"/>
                  </a:lnTo>
                  <a:lnTo>
                    <a:pt x="24392" y="9836"/>
                  </a:lnTo>
                  <a:lnTo>
                    <a:pt x="27540" y="8262"/>
                  </a:lnTo>
                  <a:lnTo>
                    <a:pt x="30687" y="5508"/>
                  </a:lnTo>
                  <a:lnTo>
                    <a:pt x="33441" y="5901"/>
                  </a:lnTo>
                  <a:lnTo>
                    <a:pt x="30687" y="3541"/>
                  </a:lnTo>
                  <a:lnTo>
                    <a:pt x="29507" y="2361"/>
                  </a:lnTo>
                  <a:lnTo>
                    <a:pt x="26359" y="787"/>
                  </a:lnTo>
                  <a:lnTo>
                    <a:pt x="23212" y="0"/>
                  </a:lnTo>
                  <a:lnTo>
                    <a:pt x="20458" y="1180"/>
                  </a:lnTo>
                  <a:lnTo>
                    <a:pt x="17704" y="1180"/>
                  </a:lnTo>
                  <a:lnTo>
                    <a:pt x="14950" y="393"/>
                  </a:lnTo>
                  <a:lnTo>
                    <a:pt x="11803" y="1180"/>
                  </a:lnTo>
                  <a:lnTo>
                    <a:pt x="8655" y="3934"/>
                  </a:lnTo>
                  <a:lnTo>
                    <a:pt x="5901" y="3541"/>
                  </a:lnTo>
                  <a:lnTo>
                    <a:pt x="2754" y="3541"/>
                  </a:lnTo>
                  <a:lnTo>
                    <a:pt x="0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62" name="Freeform: Shape 3456">
              <a:extLst>
                <a:ext uri="{FF2B5EF4-FFF2-40B4-BE49-F238E27FC236}">
                  <a16:creationId xmlns:a16="http://schemas.microsoft.com/office/drawing/2014/main" id="{DE437C3A-A907-4882-A362-C10C5CE06462}"/>
                </a:ext>
              </a:extLst>
            </p:cNvPr>
            <p:cNvSpPr/>
            <p:nvPr/>
          </p:nvSpPr>
          <p:spPr>
            <a:xfrm>
              <a:off x="6634994" y="1737702"/>
              <a:ext cx="19671" cy="11803"/>
            </a:xfrm>
            <a:custGeom>
              <a:avLst/>
              <a:gdLst>
                <a:gd name="connsiteX0" fmla="*/ 12196 w 19671"/>
                <a:gd name="connsiteY0" fmla="*/ 1574 h 11802"/>
                <a:gd name="connsiteX1" fmla="*/ 9049 w 19671"/>
                <a:gd name="connsiteY1" fmla="*/ 3934 h 11802"/>
                <a:gd name="connsiteX2" fmla="*/ 5901 w 19671"/>
                <a:gd name="connsiteY2" fmla="*/ 3934 h 11802"/>
                <a:gd name="connsiteX3" fmla="*/ 2754 w 19671"/>
                <a:gd name="connsiteY3" fmla="*/ 4328 h 11802"/>
                <a:gd name="connsiteX4" fmla="*/ 0 w 19671"/>
                <a:gd name="connsiteY4" fmla="*/ 4721 h 11802"/>
                <a:gd name="connsiteX5" fmla="*/ 2754 w 19671"/>
                <a:gd name="connsiteY5" fmla="*/ 5901 h 11802"/>
                <a:gd name="connsiteX6" fmla="*/ 5901 w 19671"/>
                <a:gd name="connsiteY6" fmla="*/ 5901 h 11802"/>
                <a:gd name="connsiteX7" fmla="*/ 9049 w 19671"/>
                <a:gd name="connsiteY7" fmla="*/ 6688 h 11802"/>
                <a:gd name="connsiteX8" fmla="*/ 10229 w 19671"/>
                <a:gd name="connsiteY8" fmla="*/ 9442 h 11802"/>
                <a:gd name="connsiteX9" fmla="*/ 12983 w 19671"/>
                <a:gd name="connsiteY9" fmla="*/ 12590 h 11802"/>
                <a:gd name="connsiteX10" fmla="*/ 16130 w 19671"/>
                <a:gd name="connsiteY10" fmla="*/ 11409 h 11802"/>
                <a:gd name="connsiteX11" fmla="*/ 17704 w 19671"/>
                <a:gd name="connsiteY11" fmla="*/ 8655 h 11802"/>
                <a:gd name="connsiteX12" fmla="*/ 20852 w 19671"/>
                <a:gd name="connsiteY12" fmla="*/ 8262 h 11802"/>
                <a:gd name="connsiteX13" fmla="*/ 22819 w 19671"/>
                <a:gd name="connsiteY13" fmla="*/ 5508 h 11802"/>
                <a:gd name="connsiteX14" fmla="*/ 20065 w 19671"/>
                <a:gd name="connsiteY14" fmla="*/ 2754 h 11802"/>
                <a:gd name="connsiteX15" fmla="*/ 16918 w 19671"/>
                <a:gd name="connsiteY15" fmla="*/ 2754 h 11802"/>
                <a:gd name="connsiteX16" fmla="*/ 14163 w 19671"/>
                <a:gd name="connsiteY16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671" h="11802">
                  <a:moveTo>
                    <a:pt x="12196" y="1574"/>
                  </a:moveTo>
                  <a:lnTo>
                    <a:pt x="9049" y="3934"/>
                  </a:lnTo>
                  <a:lnTo>
                    <a:pt x="5901" y="3934"/>
                  </a:lnTo>
                  <a:lnTo>
                    <a:pt x="2754" y="4328"/>
                  </a:lnTo>
                  <a:lnTo>
                    <a:pt x="0" y="4721"/>
                  </a:lnTo>
                  <a:lnTo>
                    <a:pt x="2754" y="5901"/>
                  </a:lnTo>
                  <a:lnTo>
                    <a:pt x="5901" y="5901"/>
                  </a:lnTo>
                  <a:lnTo>
                    <a:pt x="9049" y="6688"/>
                  </a:lnTo>
                  <a:lnTo>
                    <a:pt x="10229" y="9442"/>
                  </a:lnTo>
                  <a:lnTo>
                    <a:pt x="12983" y="12590"/>
                  </a:lnTo>
                  <a:lnTo>
                    <a:pt x="16130" y="11409"/>
                  </a:lnTo>
                  <a:lnTo>
                    <a:pt x="17704" y="8655"/>
                  </a:lnTo>
                  <a:lnTo>
                    <a:pt x="20852" y="8262"/>
                  </a:lnTo>
                  <a:lnTo>
                    <a:pt x="22819" y="5508"/>
                  </a:lnTo>
                  <a:lnTo>
                    <a:pt x="20065" y="2754"/>
                  </a:lnTo>
                  <a:lnTo>
                    <a:pt x="16918" y="2754"/>
                  </a:lnTo>
                  <a:lnTo>
                    <a:pt x="1416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63" name="Freeform: Shape 3457">
              <a:extLst>
                <a:ext uri="{FF2B5EF4-FFF2-40B4-BE49-F238E27FC236}">
                  <a16:creationId xmlns:a16="http://schemas.microsoft.com/office/drawing/2014/main" id="{6A2D0B30-D35C-4922-8968-9ECA2448A9BA}"/>
                </a:ext>
              </a:extLst>
            </p:cNvPr>
            <p:cNvSpPr/>
            <p:nvPr/>
          </p:nvSpPr>
          <p:spPr>
            <a:xfrm>
              <a:off x="6662141" y="1750685"/>
              <a:ext cx="3934" cy="3934"/>
            </a:xfrm>
            <a:custGeom>
              <a:avLst/>
              <a:gdLst>
                <a:gd name="connsiteX0" fmla="*/ 1180 w 3934"/>
                <a:gd name="connsiteY0" fmla="*/ 3541 h 3934"/>
                <a:gd name="connsiteX1" fmla="*/ 2754 w 3934"/>
                <a:gd name="connsiteY1" fmla="*/ 4328 h 3934"/>
                <a:gd name="connsiteX2" fmla="*/ 5901 w 3934"/>
                <a:gd name="connsiteY2" fmla="*/ 2361 h 3934"/>
                <a:gd name="connsiteX3" fmla="*/ 3147 w 3934"/>
                <a:gd name="connsiteY3" fmla="*/ 0 h 3934"/>
                <a:gd name="connsiteX4" fmla="*/ 0 w 3934"/>
                <a:gd name="connsiteY4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1180" y="3541"/>
                  </a:moveTo>
                  <a:lnTo>
                    <a:pt x="2754" y="4328"/>
                  </a:lnTo>
                  <a:lnTo>
                    <a:pt x="5901" y="2361"/>
                  </a:lnTo>
                  <a:lnTo>
                    <a:pt x="3147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64" name="Freeform: Shape 3458">
              <a:extLst>
                <a:ext uri="{FF2B5EF4-FFF2-40B4-BE49-F238E27FC236}">
                  <a16:creationId xmlns:a16="http://schemas.microsoft.com/office/drawing/2014/main" id="{70479A62-3BCD-44C2-AB59-997D0E1A1EB7}"/>
                </a:ext>
              </a:extLst>
            </p:cNvPr>
            <p:cNvSpPr/>
            <p:nvPr/>
          </p:nvSpPr>
          <p:spPr>
            <a:xfrm>
              <a:off x="6662534" y="1738882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2754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2754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65" name="Freeform: Shape 3459">
              <a:extLst>
                <a:ext uri="{FF2B5EF4-FFF2-40B4-BE49-F238E27FC236}">
                  <a16:creationId xmlns:a16="http://schemas.microsoft.com/office/drawing/2014/main" id="{B89E9105-62D6-4EC5-97C4-2A3DBD2BAA37}"/>
                </a:ext>
              </a:extLst>
            </p:cNvPr>
            <p:cNvSpPr/>
            <p:nvPr/>
          </p:nvSpPr>
          <p:spPr>
            <a:xfrm>
              <a:off x="9686016" y="1886417"/>
              <a:ext cx="228187" cy="279333"/>
            </a:xfrm>
            <a:custGeom>
              <a:avLst/>
              <a:gdLst>
                <a:gd name="connsiteX0" fmla="*/ 35015 w 228187"/>
                <a:gd name="connsiteY0" fmla="*/ 68456 h 279332"/>
                <a:gd name="connsiteX1" fmla="*/ 37376 w 228187"/>
                <a:gd name="connsiteY1" fmla="*/ 71210 h 279332"/>
                <a:gd name="connsiteX2" fmla="*/ 40523 w 228187"/>
                <a:gd name="connsiteY2" fmla="*/ 74358 h 279332"/>
                <a:gd name="connsiteX3" fmla="*/ 41704 w 228187"/>
                <a:gd name="connsiteY3" fmla="*/ 76718 h 279332"/>
                <a:gd name="connsiteX4" fmla="*/ 44457 w 228187"/>
                <a:gd name="connsiteY4" fmla="*/ 79472 h 279332"/>
                <a:gd name="connsiteX5" fmla="*/ 46425 w 228187"/>
                <a:gd name="connsiteY5" fmla="*/ 82620 h 279332"/>
                <a:gd name="connsiteX6" fmla="*/ 48784 w 228187"/>
                <a:gd name="connsiteY6" fmla="*/ 83406 h 279332"/>
                <a:gd name="connsiteX7" fmla="*/ 105831 w 228187"/>
                <a:gd name="connsiteY7" fmla="*/ 143601 h 279332"/>
                <a:gd name="connsiteX8" fmla="*/ 107406 w 228187"/>
                <a:gd name="connsiteY8" fmla="*/ 146355 h 279332"/>
                <a:gd name="connsiteX9" fmla="*/ 107798 w 228187"/>
                <a:gd name="connsiteY9" fmla="*/ 146748 h 279332"/>
                <a:gd name="connsiteX10" fmla="*/ 119601 w 228187"/>
                <a:gd name="connsiteY10" fmla="*/ 166419 h 279332"/>
                <a:gd name="connsiteX11" fmla="*/ 119995 w 228187"/>
                <a:gd name="connsiteY11" fmla="*/ 166813 h 279332"/>
                <a:gd name="connsiteX12" fmla="*/ 119995 w 228187"/>
                <a:gd name="connsiteY12" fmla="*/ 167206 h 279332"/>
                <a:gd name="connsiteX13" fmla="*/ 122749 w 228187"/>
                <a:gd name="connsiteY13" fmla="*/ 171534 h 279332"/>
                <a:gd name="connsiteX14" fmla="*/ 125503 w 228187"/>
                <a:gd name="connsiteY14" fmla="*/ 177042 h 279332"/>
                <a:gd name="connsiteX15" fmla="*/ 126290 w 228187"/>
                <a:gd name="connsiteY15" fmla="*/ 180189 h 279332"/>
                <a:gd name="connsiteX16" fmla="*/ 127077 w 228187"/>
                <a:gd name="connsiteY16" fmla="*/ 182943 h 279332"/>
                <a:gd name="connsiteX17" fmla="*/ 127864 w 228187"/>
                <a:gd name="connsiteY17" fmla="*/ 185697 h 279332"/>
                <a:gd name="connsiteX18" fmla="*/ 130617 w 228187"/>
                <a:gd name="connsiteY18" fmla="*/ 188845 h 279332"/>
                <a:gd name="connsiteX19" fmla="*/ 133371 w 228187"/>
                <a:gd name="connsiteY19" fmla="*/ 190812 h 279332"/>
                <a:gd name="connsiteX20" fmla="*/ 136519 w 228187"/>
                <a:gd name="connsiteY20" fmla="*/ 193172 h 279332"/>
                <a:gd name="connsiteX21" fmla="*/ 138093 w 228187"/>
                <a:gd name="connsiteY21" fmla="*/ 194353 h 279332"/>
                <a:gd name="connsiteX22" fmla="*/ 155403 w 228187"/>
                <a:gd name="connsiteY22" fmla="*/ 219925 h 279332"/>
                <a:gd name="connsiteX23" fmla="*/ 155403 w 228187"/>
                <a:gd name="connsiteY23" fmla="*/ 220712 h 279332"/>
                <a:gd name="connsiteX24" fmla="*/ 156584 w 228187"/>
                <a:gd name="connsiteY24" fmla="*/ 223466 h 279332"/>
                <a:gd name="connsiteX25" fmla="*/ 158157 w 228187"/>
                <a:gd name="connsiteY25" fmla="*/ 226220 h 279332"/>
                <a:gd name="connsiteX26" fmla="*/ 160518 w 228187"/>
                <a:gd name="connsiteY26" fmla="*/ 229368 h 279332"/>
                <a:gd name="connsiteX27" fmla="*/ 162878 w 228187"/>
                <a:gd name="connsiteY27" fmla="*/ 232515 h 279332"/>
                <a:gd name="connsiteX28" fmla="*/ 165239 w 228187"/>
                <a:gd name="connsiteY28" fmla="*/ 234482 h 279332"/>
                <a:gd name="connsiteX29" fmla="*/ 171534 w 228187"/>
                <a:gd name="connsiteY29" fmla="*/ 244318 h 279332"/>
                <a:gd name="connsiteX30" fmla="*/ 171927 w 228187"/>
                <a:gd name="connsiteY30" fmla="*/ 246678 h 279332"/>
                <a:gd name="connsiteX31" fmla="*/ 173108 w 228187"/>
                <a:gd name="connsiteY31" fmla="*/ 249432 h 279332"/>
                <a:gd name="connsiteX32" fmla="*/ 173894 w 228187"/>
                <a:gd name="connsiteY32" fmla="*/ 252580 h 279332"/>
                <a:gd name="connsiteX33" fmla="*/ 174681 w 228187"/>
                <a:gd name="connsiteY33" fmla="*/ 255727 h 279332"/>
                <a:gd name="connsiteX34" fmla="*/ 175861 w 228187"/>
                <a:gd name="connsiteY34" fmla="*/ 258481 h 279332"/>
                <a:gd name="connsiteX35" fmla="*/ 178222 w 228187"/>
                <a:gd name="connsiteY35" fmla="*/ 261629 h 279332"/>
                <a:gd name="connsiteX36" fmla="*/ 180976 w 228187"/>
                <a:gd name="connsiteY36" fmla="*/ 264382 h 279332"/>
                <a:gd name="connsiteX37" fmla="*/ 183730 w 228187"/>
                <a:gd name="connsiteY37" fmla="*/ 267137 h 279332"/>
                <a:gd name="connsiteX38" fmla="*/ 186091 w 228187"/>
                <a:gd name="connsiteY38" fmla="*/ 269890 h 279332"/>
                <a:gd name="connsiteX39" fmla="*/ 188451 w 228187"/>
                <a:gd name="connsiteY39" fmla="*/ 273038 h 279332"/>
                <a:gd name="connsiteX40" fmla="*/ 191206 w 228187"/>
                <a:gd name="connsiteY40" fmla="*/ 275792 h 279332"/>
                <a:gd name="connsiteX41" fmla="*/ 193959 w 228187"/>
                <a:gd name="connsiteY41" fmla="*/ 277759 h 279332"/>
                <a:gd name="connsiteX42" fmla="*/ 194352 w 228187"/>
                <a:gd name="connsiteY42" fmla="*/ 278152 h 279332"/>
                <a:gd name="connsiteX43" fmla="*/ 197107 w 228187"/>
                <a:gd name="connsiteY43" fmla="*/ 280120 h 279332"/>
                <a:gd name="connsiteX44" fmla="*/ 195927 w 228187"/>
                <a:gd name="connsiteY44" fmla="*/ 276972 h 279332"/>
                <a:gd name="connsiteX45" fmla="*/ 196319 w 228187"/>
                <a:gd name="connsiteY45" fmla="*/ 274218 h 279332"/>
                <a:gd name="connsiteX46" fmla="*/ 195533 w 228187"/>
                <a:gd name="connsiteY46" fmla="*/ 271464 h 279332"/>
                <a:gd name="connsiteX47" fmla="*/ 194352 w 228187"/>
                <a:gd name="connsiteY47" fmla="*/ 268317 h 279332"/>
                <a:gd name="connsiteX48" fmla="*/ 193173 w 228187"/>
                <a:gd name="connsiteY48" fmla="*/ 265563 h 279332"/>
                <a:gd name="connsiteX49" fmla="*/ 192779 w 228187"/>
                <a:gd name="connsiteY49" fmla="*/ 262809 h 279332"/>
                <a:gd name="connsiteX50" fmla="*/ 191992 w 228187"/>
                <a:gd name="connsiteY50" fmla="*/ 259661 h 279332"/>
                <a:gd name="connsiteX51" fmla="*/ 191206 w 228187"/>
                <a:gd name="connsiteY51" fmla="*/ 256514 h 279332"/>
                <a:gd name="connsiteX52" fmla="*/ 191598 w 228187"/>
                <a:gd name="connsiteY52" fmla="*/ 253760 h 279332"/>
                <a:gd name="connsiteX53" fmla="*/ 194352 w 228187"/>
                <a:gd name="connsiteY53" fmla="*/ 252580 h 279332"/>
                <a:gd name="connsiteX54" fmla="*/ 197500 w 228187"/>
                <a:gd name="connsiteY54" fmla="*/ 253760 h 279332"/>
                <a:gd name="connsiteX55" fmla="*/ 200647 w 228187"/>
                <a:gd name="connsiteY55" fmla="*/ 256514 h 279332"/>
                <a:gd name="connsiteX56" fmla="*/ 203401 w 228187"/>
                <a:gd name="connsiteY56" fmla="*/ 256514 h 279332"/>
                <a:gd name="connsiteX57" fmla="*/ 206155 w 228187"/>
                <a:gd name="connsiteY57" fmla="*/ 256514 h 279332"/>
                <a:gd name="connsiteX58" fmla="*/ 209303 w 228187"/>
                <a:gd name="connsiteY58" fmla="*/ 256907 h 279332"/>
                <a:gd name="connsiteX59" fmla="*/ 212056 w 228187"/>
                <a:gd name="connsiteY59" fmla="*/ 257301 h 279332"/>
                <a:gd name="connsiteX60" fmla="*/ 215204 w 228187"/>
                <a:gd name="connsiteY60" fmla="*/ 258875 h 279332"/>
                <a:gd name="connsiteX61" fmla="*/ 217958 w 228187"/>
                <a:gd name="connsiteY61" fmla="*/ 258875 h 279332"/>
                <a:gd name="connsiteX62" fmla="*/ 219138 w 228187"/>
                <a:gd name="connsiteY62" fmla="*/ 261629 h 279332"/>
                <a:gd name="connsiteX63" fmla="*/ 221499 w 228187"/>
                <a:gd name="connsiteY63" fmla="*/ 264776 h 279332"/>
                <a:gd name="connsiteX64" fmla="*/ 224253 w 228187"/>
                <a:gd name="connsiteY64" fmla="*/ 267923 h 279332"/>
                <a:gd name="connsiteX65" fmla="*/ 226614 w 228187"/>
                <a:gd name="connsiteY65" fmla="*/ 270677 h 279332"/>
                <a:gd name="connsiteX66" fmla="*/ 228581 w 228187"/>
                <a:gd name="connsiteY66" fmla="*/ 273431 h 279332"/>
                <a:gd name="connsiteX67" fmla="*/ 228187 w 228187"/>
                <a:gd name="connsiteY67" fmla="*/ 270677 h 279332"/>
                <a:gd name="connsiteX68" fmla="*/ 227794 w 228187"/>
                <a:gd name="connsiteY68" fmla="*/ 267923 h 279332"/>
                <a:gd name="connsiteX69" fmla="*/ 227401 w 228187"/>
                <a:gd name="connsiteY69" fmla="*/ 264776 h 279332"/>
                <a:gd name="connsiteX70" fmla="*/ 225040 w 228187"/>
                <a:gd name="connsiteY70" fmla="*/ 262022 h 279332"/>
                <a:gd name="connsiteX71" fmla="*/ 222286 w 228187"/>
                <a:gd name="connsiteY71" fmla="*/ 258875 h 279332"/>
                <a:gd name="connsiteX72" fmla="*/ 220319 w 228187"/>
                <a:gd name="connsiteY72" fmla="*/ 256121 h 279332"/>
                <a:gd name="connsiteX73" fmla="*/ 217958 w 228187"/>
                <a:gd name="connsiteY73" fmla="*/ 253367 h 279332"/>
                <a:gd name="connsiteX74" fmla="*/ 215204 w 228187"/>
                <a:gd name="connsiteY74" fmla="*/ 250219 h 279332"/>
                <a:gd name="connsiteX75" fmla="*/ 212450 w 228187"/>
                <a:gd name="connsiteY75" fmla="*/ 248645 h 279332"/>
                <a:gd name="connsiteX76" fmla="*/ 209303 w 228187"/>
                <a:gd name="connsiteY76" fmla="*/ 249826 h 279332"/>
                <a:gd name="connsiteX77" fmla="*/ 206155 w 228187"/>
                <a:gd name="connsiteY77" fmla="*/ 248645 h 279332"/>
                <a:gd name="connsiteX78" fmla="*/ 209303 w 228187"/>
                <a:gd name="connsiteY78" fmla="*/ 250613 h 279332"/>
                <a:gd name="connsiteX79" fmla="*/ 212450 w 228187"/>
                <a:gd name="connsiteY79" fmla="*/ 251793 h 279332"/>
                <a:gd name="connsiteX80" fmla="*/ 209303 w 228187"/>
                <a:gd name="connsiteY80" fmla="*/ 252973 h 279332"/>
                <a:gd name="connsiteX81" fmla="*/ 206155 w 228187"/>
                <a:gd name="connsiteY81" fmla="*/ 251399 h 279332"/>
                <a:gd name="connsiteX82" fmla="*/ 203401 w 228187"/>
                <a:gd name="connsiteY82" fmla="*/ 249432 h 279332"/>
                <a:gd name="connsiteX83" fmla="*/ 202221 w 228187"/>
                <a:gd name="connsiteY83" fmla="*/ 246285 h 279332"/>
                <a:gd name="connsiteX84" fmla="*/ 199467 w 228187"/>
                <a:gd name="connsiteY84" fmla="*/ 243531 h 279332"/>
                <a:gd name="connsiteX85" fmla="*/ 196319 w 228187"/>
                <a:gd name="connsiteY85" fmla="*/ 240777 h 279332"/>
                <a:gd name="connsiteX86" fmla="*/ 194746 w 228187"/>
                <a:gd name="connsiteY86" fmla="*/ 238023 h 279332"/>
                <a:gd name="connsiteX87" fmla="*/ 192385 w 228187"/>
                <a:gd name="connsiteY87" fmla="*/ 235269 h 279332"/>
                <a:gd name="connsiteX88" fmla="*/ 191206 w 228187"/>
                <a:gd name="connsiteY88" fmla="*/ 234482 h 279332"/>
                <a:gd name="connsiteX89" fmla="*/ 188058 w 228187"/>
                <a:gd name="connsiteY89" fmla="*/ 232515 h 279332"/>
                <a:gd name="connsiteX90" fmla="*/ 188058 w 228187"/>
                <a:gd name="connsiteY90" fmla="*/ 232122 h 279332"/>
                <a:gd name="connsiteX91" fmla="*/ 186091 w 228187"/>
                <a:gd name="connsiteY91" fmla="*/ 230941 h 279332"/>
                <a:gd name="connsiteX92" fmla="*/ 183337 w 228187"/>
                <a:gd name="connsiteY92" fmla="*/ 229368 h 279332"/>
                <a:gd name="connsiteX93" fmla="*/ 182549 w 228187"/>
                <a:gd name="connsiteY93" fmla="*/ 229368 h 279332"/>
                <a:gd name="connsiteX94" fmla="*/ 182157 w 228187"/>
                <a:gd name="connsiteY94" fmla="*/ 229368 h 279332"/>
                <a:gd name="connsiteX95" fmla="*/ 179403 w 228187"/>
                <a:gd name="connsiteY95" fmla="*/ 227400 h 279332"/>
                <a:gd name="connsiteX96" fmla="*/ 176255 w 228187"/>
                <a:gd name="connsiteY96" fmla="*/ 225433 h 279332"/>
                <a:gd name="connsiteX97" fmla="*/ 173501 w 228187"/>
                <a:gd name="connsiteY97" fmla="*/ 223073 h 279332"/>
                <a:gd name="connsiteX98" fmla="*/ 172321 w 228187"/>
                <a:gd name="connsiteY98" fmla="*/ 221892 h 279332"/>
                <a:gd name="connsiteX99" fmla="*/ 171927 w 228187"/>
                <a:gd name="connsiteY99" fmla="*/ 221499 h 279332"/>
                <a:gd name="connsiteX100" fmla="*/ 169567 w 228187"/>
                <a:gd name="connsiteY100" fmla="*/ 219532 h 279332"/>
                <a:gd name="connsiteX101" fmla="*/ 167993 w 228187"/>
                <a:gd name="connsiteY101" fmla="*/ 217958 h 279332"/>
                <a:gd name="connsiteX102" fmla="*/ 149896 w 228187"/>
                <a:gd name="connsiteY102" fmla="*/ 169567 h 279332"/>
                <a:gd name="connsiteX103" fmla="*/ 158157 w 228187"/>
                <a:gd name="connsiteY103" fmla="*/ 166813 h 279332"/>
                <a:gd name="connsiteX104" fmla="*/ 158551 w 228187"/>
                <a:gd name="connsiteY104" fmla="*/ 166813 h 279332"/>
                <a:gd name="connsiteX105" fmla="*/ 161305 w 228187"/>
                <a:gd name="connsiteY105" fmla="*/ 166813 h 279332"/>
                <a:gd name="connsiteX106" fmla="*/ 158944 w 228187"/>
                <a:gd name="connsiteY106" fmla="*/ 166419 h 279332"/>
                <a:gd name="connsiteX107" fmla="*/ 158944 w 228187"/>
                <a:gd name="connsiteY107" fmla="*/ 165633 h 279332"/>
                <a:gd name="connsiteX108" fmla="*/ 161699 w 228187"/>
                <a:gd name="connsiteY108" fmla="*/ 165633 h 279332"/>
                <a:gd name="connsiteX109" fmla="*/ 164845 w 228187"/>
                <a:gd name="connsiteY109" fmla="*/ 166813 h 279332"/>
                <a:gd name="connsiteX110" fmla="*/ 167600 w 228187"/>
                <a:gd name="connsiteY110" fmla="*/ 167600 h 279332"/>
                <a:gd name="connsiteX111" fmla="*/ 170747 w 228187"/>
                <a:gd name="connsiteY111" fmla="*/ 167600 h 279332"/>
                <a:gd name="connsiteX112" fmla="*/ 173501 w 228187"/>
                <a:gd name="connsiteY112" fmla="*/ 168780 h 279332"/>
                <a:gd name="connsiteX113" fmla="*/ 176648 w 228187"/>
                <a:gd name="connsiteY113" fmla="*/ 169960 h 279332"/>
                <a:gd name="connsiteX114" fmla="*/ 179796 w 228187"/>
                <a:gd name="connsiteY114" fmla="*/ 171534 h 279332"/>
                <a:gd name="connsiteX115" fmla="*/ 182549 w 228187"/>
                <a:gd name="connsiteY115" fmla="*/ 173894 h 279332"/>
                <a:gd name="connsiteX116" fmla="*/ 185304 w 228187"/>
                <a:gd name="connsiteY116" fmla="*/ 175468 h 279332"/>
                <a:gd name="connsiteX117" fmla="*/ 188058 w 228187"/>
                <a:gd name="connsiteY117" fmla="*/ 176648 h 279332"/>
                <a:gd name="connsiteX118" fmla="*/ 191206 w 228187"/>
                <a:gd name="connsiteY118" fmla="*/ 178222 h 279332"/>
                <a:gd name="connsiteX119" fmla="*/ 194352 w 228187"/>
                <a:gd name="connsiteY119" fmla="*/ 179796 h 279332"/>
                <a:gd name="connsiteX120" fmla="*/ 197107 w 228187"/>
                <a:gd name="connsiteY120" fmla="*/ 181763 h 279332"/>
                <a:gd name="connsiteX121" fmla="*/ 200254 w 228187"/>
                <a:gd name="connsiteY121" fmla="*/ 184517 h 279332"/>
                <a:gd name="connsiteX122" fmla="*/ 202615 w 228187"/>
                <a:gd name="connsiteY122" fmla="*/ 187271 h 279332"/>
                <a:gd name="connsiteX123" fmla="*/ 205762 w 228187"/>
                <a:gd name="connsiteY123" fmla="*/ 188845 h 279332"/>
                <a:gd name="connsiteX124" fmla="*/ 202615 w 228187"/>
                <a:gd name="connsiteY124" fmla="*/ 186484 h 279332"/>
                <a:gd name="connsiteX125" fmla="*/ 201041 w 228187"/>
                <a:gd name="connsiteY125" fmla="*/ 183730 h 279332"/>
                <a:gd name="connsiteX126" fmla="*/ 197894 w 228187"/>
                <a:gd name="connsiteY126" fmla="*/ 180583 h 279332"/>
                <a:gd name="connsiteX127" fmla="*/ 195140 w 228187"/>
                <a:gd name="connsiteY127" fmla="*/ 179402 h 279332"/>
                <a:gd name="connsiteX128" fmla="*/ 191992 w 228187"/>
                <a:gd name="connsiteY128" fmla="*/ 177829 h 279332"/>
                <a:gd name="connsiteX129" fmla="*/ 188845 w 228187"/>
                <a:gd name="connsiteY129" fmla="*/ 176255 h 279332"/>
                <a:gd name="connsiteX130" fmla="*/ 186091 w 228187"/>
                <a:gd name="connsiteY130" fmla="*/ 174288 h 279332"/>
                <a:gd name="connsiteX131" fmla="*/ 183337 w 228187"/>
                <a:gd name="connsiteY131" fmla="*/ 171534 h 279332"/>
                <a:gd name="connsiteX132" fmla="*/ 180190 w 228187"/>
                <a:gd name="connsiteY132" fmla="*/ 169567 h 279332"/>
                <a:gd name="connsiteX133" fmla="*/ 177042 w 228187"/>
                <a:gd name="connsiteY133" fmla="*/ 166813 h 279332"/>
                <a:gd name="connsiteX134" fmla="*/ 174288 w 228187"/>
                <a:gd name="connsiteY134" fmla="*/ 163665 h 279332"/>
                <a:gd name="connsiteX135" fmla="*/ 171927 w 228187"/>
                <a:gd name="connsiteY135" fmla="*/ 160518 h 279332"/>
                <a:gd name="connsiteX136" fmla="*/ 168780 w 228187"/>
                <a:gd name="connsiteY136" fmla="*/ 157764 h 279332"/>
                <a:gd name="connsiteX137" fmla="*/ 166026 w 228187"/>
                <a:gd name="connsiteY137" fmla="*/ 155403 h 279332"/>
                <a:gd name="connsiteX138" fmla="*/ 163666 w 228187"/>
                <a:gd name="connsiteY138" fmla="*/ 152649 h 279332"/>
                <a:gd name="connsiteX139" fmla="*/ 160911 w 228187"/>
                <a:gd name="connsiteY139" fmla="*/ 149895 h 279332"/>
                <a:gd name="connsiteX140" fmla="*/ 157764 w 228187"/>
                <a:gd name="connsiteY140" fmla="*/ 147535 h 279332"/>
                <a:gd name="connsiteX141" fmla="*/ 155010 w 228187"/>
                <a:gd name="connsiteY141" fmla="*/ 144781 h 279332"/>
                <a:gd name="connsiteX142" fmla="*/ 153830 w 228187"/>
                <a:gd name="connsiteY142" fmla="*/ 143601 h 279332"/>
                <a:gd name="connsiteX143" fmla="*/ 151469 w 228187"/>
                <a:gd name="connsiteY143" fmla="*/ 141240 h 279332"/>
                <a:gd name="connsiteX144" fmla="*/ 127864 w 228187"/>
                <a:gd name="connsiteY144" fmla="*/ 120388 h 279332"/>
                <a:gd name="connsiteX145" fmla="*/ 125503 w 228187"/>
                <a:gd name="connsiteY145" fmla="*/ 118028 h 279332"/>
                <a:gd name="connsiteX146" fmla="*/ 122749 w 228187"/>
                <a:gd name="connsiteY146" fmla="*/ 114880 h 279332"/>
                <a:gd name="connsiteX147" fmla="*/ 119601 w 228187"/>
                <a:gd name="connsiteY147" fmla="*/ 112520 h 279332"/>
                <a:gd name="connsiteX148" fmla="*/ 117241 w 228187"/>
                <a:gd name="connsiteY148" fmla="*/ 109766 h 279332"/>
                <a:gd name="connsiteX149" fmla="*/ 108586 w 228187"/>
                <a:gd name="connsiteY149" fmla="*/ 101111 h 279332"/>
                <a:gd name="connsiteX150" fmla="*/ 110946 w 228187"/>
                <a:gd name="connsiteY150" fmla="*/ 103865 h 279332"/>
                <a:gd name="connsiteX151" fmla="*/ 108192 w 228187"/>
                <a:gd name="connsiteY151" fmla="*/ 101504 h 279332"/>
                <a:gd name="connsiteX152" fmla="*/ 105438 w 228187"/>
                <a:gd name="connsiteY152" fmla="*/ 100324 h 279332"/>
                <a:gd name="connsiteX153" fmla="*/ 105045 w 228187"/>
                <a:gd name="connsiteY153" fmla="*/ 99930 h 279332"/>
                <a:gd name="connsiteX154" fmla="*/ 104258 w 228187"/>
                <a:gd name="connsiteY154" fmla="*/ 97176 h 279332"/>
                <a:gd name="connsiteX155" fmla="*/ 101504 w 228187"/>
                <a:gd name="connsiteY155" fmla="*/ 94422 h 279332"/>
                <a:gd name="connsiteX156" fmla="*/ 95996 w 228187"/>
                <a:gd name="connsiteY156" fmla="*/ 90488 h 279332"/>
                <a:gd name="connsiteX157" fmla="*/ 97963 w 228187"/>
                <a:gd name="connsiteY157" fmla="*/ 93242 h 279332"/>
                <a:gd name="connsiteX158" fmla="*/ 97570 w 228187"/>
                <a:gd name="connsiteY158" fmla="*/ 93242 h 279332"/>
                <a:gd name="connsiteX159" fmla="*/ 92849 w 228187"/>
                <a:gd name="connsiteY159" fmla="*/ 88914 h 279332"/>
                <a:gd name="connsiteX160" fmla="*/ 92455 w 228187"/>
                <a:gd name="connsiteY160" fmla="*/ 87734 h 279332"/>
                <a:gd name="connsiteX161" fmla="*/ 90094 w 228187"/>
                <a:gd name="connsiteY161" fmla="*/ 84587 h 279332"/>
                <a:gd name="connsiteX162" fmla="*/ 86948 w 228187"/>
                <a:gd name="connsiteY162" fmla="*/ 82620 h 279332"/>
                <a:gd name="connsiteX163" fmla="*/ 86160 w 228187"/>
                <a:gd name="connsiteY163" fmla="*/ 83013 h 279332"/>
                <a:gd name="connsiteX164" fmla="*/ 80652 w 228187"/>
                <a:gd name="connsiteY164" fmla="*/ 77505 h 279332"/>
                <a:gd name="connsiteX165" fmla="*/ 78685 w 228187"/>
                <a:gd name="connsiteY165" fmla="*/ 75144 h 279332"/>
                <a:gd name="connsiteX166" fmla="*/ 76718 w 228187"/>
                <a:gd name="connsiteY166" fmla="*/ 72390 h 279332"/>
                <a:gd name="connsiteX167" fmla="*/ 74751 w 228187"/>
                <a:gd name="connsiteY167" fmla="*/ 69636 h 279332"/>
                <a:gd name="connsiteX168" fmla="*/ 71997 w 228187"/>
                <a:gd name="connsiteY168" fmla="*/ 67276 h 279332"/>
                <a:gd name="connsiteX169" fmla="*/ 70817 w 228187"/>
                <a:gd name="connsiteY169" fmla="*/ 64522 h 279332"/>
                <a:gd name="connsiteX170" fmla="*/ 70030 w 228187"/>
                <a:gd name="connsiteY170" fmla="*/ 61375 h 279332"/>
                <a:gd name="connsiteX171" fmla="*/ 71603 w 228187"/>
                <a:gd name="connsiteY171" fmla="*/ 64522 h 279332"/>
                <a:gd name="connsiteX172" fmla="*/ 73964 w 228187"/>
                <a:gd name="connsiteY172" fmla="*/ 67276 h 279332"/>
                <a:gd name="connsiteX173" fmla="*/ 73571 w 228187"/>
                <a:gd name="connsiteY173" fmla="*/ 64522 h 279332"/>
                <a:gd name="connsiteX174" fmla="*/ 71997 w 228187"/>
                <a:gd name="connsiteY174" fmla="*/ 61375 h 279332"/>
                <a:gd name="connsiteX175" fmla="*/ 70030 w 228187"/>
                <a:gd name="connsiteY175" fmla="*/ 58227 h 279332"/>
                <a:gd name="connsiteX176" fmla="*/ 67669 w 228187"/>
                <a:gd name="connsiteY176" fmla="*/ 55473 h 279332"/>
                <a:gd name="connsiteX177" fmla="*/ 65309 w 228187"/>
                <a:gd name="connsiteY177" fmla="*/ 52719 h 279332"/>
                <a:gd name="connsiteX178" fmla="*/ 62554 w 228187"/>
                <a:gd name="connsiteY178" fmla="*/ 49965 h 279332"/>
                <a:gd name="connsiteX179" fmla="*/ 59408 w 228187"/>
                <a:gd name="connsiteY179" fmla="*/ 49178 h 279332"/>
                <a:gd name="connsiteX180" fmla="*/ 56653 w 228187"/>
                <a:gd name="connsiteY180" fmla="*/ 46424 h 279332"/>
                <a:gd name="connsiteX181" fmla="*/ 53506 w 228187"/>
                <a:gd name="connsiteY181" fmla="*/ 45244 h 279332"/>
                <a:gd name="connsiteX182" fmla="*/ 50752 w 228187"/>
                <a:gd name="connsiteY182" fmla="*/ 42097 h 279332"/>
                <a:gd name="connsiteX183" fmla="*/ 48392 w 228187"/>
                <a:gd name="connsiteY183" fmla="*/ 39343 h 279332"/>
                <a:gd name="connsiteX184" fmla="*/ 45638 w 228187"/>
                <a:gd name="connsiteY184" fmla="*/ 36982 h 279332"/>
                <a:gd name="connsiteX185" fmla="*/ 44457 w 228187"/>
                <a:gd name="connsiteY185" fmla="*/ 34228 h 279332"/>
                <a:gd name="connsiteX186" fmla="*/ 47211 w 228187"/>
                <a:gd name="connsiteY186" fmla="*/ 35015 h 279332"/>
                <a:gd name="connsiteX187" fmla="*/ 48784 w 228187"/>
                <a:gd name="connsiteY187" fmla="*/ 38162 h 279332"/>
                <a:gd name="connsiteX188" fmla="*/ 51539 w 228187"/>
                <a:gd name="connsiteY188" fmla="*/ 39343 h 279332"/>
                <a:gd name="connsiteX189" fmla="*/ 54686 w 228187"/>
                <a:gd name="connsiteY189" fmla="*/ 41310 h 279332"/>
                <a:gd name="connsiteX190" fmla="*/ 58620 w 228187"/>
                <a:gd name="connsiteY190" fmla="*/ 45637 h 279332"/>
                <a:gd name="connsiteX191" fmla="*/ 63342 w 228187"/>
                <a:gd name="connsiteY191" fmla="*/ 50359 h 279332"/>
                <a:gd name="connsiteX192" fmla="*/ 60587 w 228187"/>
                <a:gd name="connsiteY192" fmla="*/ 47211 h 279332"/>
                <a:gd name="connsiteX193" fmla="*/ 57441 w 228187"/>
                <a:gd name="connsiteY193" fmla="*/ 44064 h 279332"/>
                <a:gd name="connsiteX194" fmla="*/ 54686 w 228187"/>
                <a:gd name="connsiteY194" fmla="*/ 41310 h 279332"/>
                <a:gd name="connsiteX195" fmla="*/ 51932 w 228187"/>
                <a:gd name="connsiteY195" fmla="*/ 38556 h 279332"/>
                <a:gd name="connsiteX196" fmla="*/ 48784 w 228187"/>
                <a:gd name="connsiteY196" fmla="*/ 35802 h 279332"/>
                <a:gd name="connsiteX197" fmla="*/ 45638 w 228187"/>
                <a:gd name="connsiteY197" fmla="*/ 33441 h 279332"/>
                <a:gd name="connsiteX198" fmla="*/ 42883 w 228187"/>
                <a:gd name="connsiteY198" fmla="*/ 32261 h 279332"/>
                <a:gd name="connsiteX199" fmla="*/ 40916 w 228187"/>
                <a:gd name="connsiteY199" fmla="*/ 29507 h 279332"/>
                <a:gd name="connsiteX200" fmla="*/ 38162 w 228187"/>
                <a:gd name="connsiteY200" fmla="*/ 27933 h 279332"/>
                <a:gd name="connsiteX201" fmla="*/ 35408 w 228187"/>
                <a:gd name="connsiteY201" fmla="*/ 25573 h 279332"/>
                <a:gd name="connsiteX202" fmla="*/ 32261 w 228187"/>
                <a:gd name="connsiteY202" fmla="*/ 23999 h 279332"/>
                <a:gd name="connsiteX203" fmla="*/ 29113 w 228187"/>
                <a:gd name="connsiteY203" fmla="*/ 21245 h 279332"/>
                <a:gd name="connsiteX204" fmla="*/ 26359 w 228187"/>
                <a:gd name="connsiteY204" fmla="*/ 19278 h 279332"/>
                <a:gd name="connsiteX205" fmla="*/ 29113 w 228187"/>
                <a:gd name="connsiteY205" fmla="*/ 20852 h 279332"/>
                <a:gd name="connsiteX206" fmla="*/ 32261 w 228187"/>
                <a:gd name="connsiteY206" fmla="*/ 22819 h 279332"/>
                <a:gd name="connsiteX207" fmla="*/ 29113 w 228187"/>
                <a:gd name="connsiteY207" fmla="*/ 20458 h 279332"/>
                <a:gd name="connsiteX208" fmla="*/ 26359 w 228187"/>
                <a:gd name="connsiteY208" fmla="*/ 18098 h 279332"/>
                <a:gd name="connsiteX209" fmla="*/ 23606 w 228187"/>
                <a:gd name="connsiteY209" fmla="*/ 16917 h 279332"/>
                <a:gd name="connsiteX210" fmla="*/ 22819 w 228187"/>
                <a:gd name="connsiteY210" fmla="*/ 13770 h 279332"/>
                <a:gd name="connsiteX211" fmla="*/ 22032 w 228187"/>
                <a:gd name="connsiteY211" fmla="*/ 11016 h 279332"/>
                <a:gd name="connsiteX212" fmla="*/ 19278 w 228187"/>
                <a:gd name="connsiteY212" fmla="*/ 8262 h 279332"/>
                <a:gd name="connsiteX213" fmla="*/ 12983 w 228187"/>
                <a:gd name="connsiteY213" fmla="*/ 4328 h 279332"/>
                <a:gd name="connsiteX214" fmla="*/ 9836 w 228187"/>
                <a:gd name="connsiteY214" fmla="*/ 2361 h 279332"/>
                <a:gd name="connsiteX215" fmla="*/ 6688 w 228187"/>
                <a:gd name="connsiteY215" fmla="*/ 0 h 279332"/>
                <a:gd name="connsiteX216" fmla="*/ 5901 w 228187"/>
                <a:gd name="connsiteY216" fmla="*/ 3147 h 279332"/>
                <a:gd name="connsiteX217" fmla="*/ 3148 w 228187"/>
                <a:gd name="connsiteY217" fmla="*/ 4721 h 279332"/>
                <a:gd name="connsiteX218" fmla="*/ 0 w 228187"/>
                <a:gd name="connsiteY218" fmla="*/ 4328 h 279332"/>
                <a:gd name="connsiteX219" fmla="*/ 3148 w 228187"/>
                <a:gd name="connsiteY219" fmla="*/ 5901 h 279332"/>
                <a:gd name="connsiteX220" fmla="*/ 6295 w 228187"/>
                <a:gd name="connsiteY220" fmla="*/ 7869 h 279332"/>
                <a:gd name="connsiteX221" fmla="*/ 9049 w 228187"/>
                <a:gd name="connsiteY221" fmla="*/ 9836 h 279332"/>
                <a:gd name="connsiteX222" fmla="*/ 12197 w 228187"/>
                <a:gd name="connsiteY222" fmla="*/ 11409 h 279332"/>
                <a:gd name="connsiteX223" fmla="*/ 14950 w 228187"/>
                <a:gd name="connsiteY223" fmla="*/ 12983 h 279332"/>
                <a:gd name="connsiteX224" fmla="*/ 14950 w 228187"/>
                <a:gd name="connsiteY224" fmla="*/ 13377 h 279332"/>
                <a:gd name="connsiteX225" fmla="*/ 16131 w 228187"/>
                <a:gd name="connsiteY225" fmla="*/ 29114 h 279332"/>
                <a:gd name="connsiteX226" fmla="*/ 13376 w 228187"/>
                <a:gd name="connsiteY226" fmla="*/ 30687 h 279332"/>
                <a:gd name="connsiteX227" fmla="*/ 10622 w 228187"/>
                <a:gd name="connsiteY227" fmla="*/ 33048 h 279332"/>
                <a:gd name="connsiteX228" fmla="*/ 12983 w 228187"/>
                <a:gd name="connsiteY228" fmla="*/ 35802 h 279332"/>
                <a:gd name="connsiteX229" fmla="*/ 15737 w 228187"/>
                <a:gd name="connsiteY229" fmla="*/ 38949 h 279332"/>
                <a:gd name="connsiteX230" fmla="*/ 17310 w 228187"/>
                <a:gd name="connsiteY230" fmla="*/ 40523 h 279332"/>
                <a:gd name="connsiteX231" fmla="*/ 33441 w 228187"/>
                <a:gd name="connsiteY231" fmla="*/ 65309 h 279332"/>
                <a:gd name="connsiteX232" fmla="*/ 33441 w 228187"/>
                <a:gd name="connsiteY232" fmla="*/ 65309 h 279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</a:cxnLst>
              <a:rect l="l" t="t" r="r" b="b"/>
              <a:pathLst>
                <a:path w="228187" h="279332">
                  <a:moveTo>
                    <a:pt x="35015" y="68456"/>
                  </a:moveTo>
                  <a:lnTo>
                    <a:pt x="37376" y="71210"/>
                  </a:lnTo>
                  <a:lnTo>
                    <a:pt x="40523" y="74358"/>
                  </a:lnTo>
                  <a:lnTo>
                    <a:pt x="41704" y="76718"/>
                  </a:lnTo>
                  <a:lnTo>
                    <a:pt x="44457" y="79472"/>
                  </a:lnTo>
                  <a:lnTo>
                    <a:pt x="46425" y="82620"/>
                  </a:lnTo>
                  <a:lnTo>
                    <a:pt x="48784" y="83406"/>
                  </a:lnTo>
                  <a:lnTo>
                    <a:pt x="105831" y="143601"/>
                  </a:lnTo>
                  <a:lnTo>
                    <a:pt x="107406" y="146355"/>
                  </a:lnTo>
                  <a:lnTo>
                    <a:pt x="107798" y="146748"/>
                  </a:lnTo>
                  <a:lnTo>
                    <a:pt x="119601" y="166419"/>
                  </a:lnTo>
                  <a:lnTo>
                    <a:pt x="119995" y="166813"/>
                  </a:lnTo>
                  <a:lnTo>
                    <a:pt x="119995" y="167206"/>
                  </a:lnTo>
                  <a:lnTo>
                    <a:pt x="122749" y="171534"/>
                  </a:lnTo>
                  <a:lnTo>
                    <a:pt x="125503" y="177042"/>
                  </a:lnTo>
                  <a:lnTo>
                    <a:pt x="126290" y="180189"/>
                  </a:lnTo>
                  <a:lnTo>
                    <a:pt x="127077" y="182943"/>
                  </a:lnTo>
                  <a:lnTo>
                    <a:pt x="127864" y="185697"/>
                  </a:lnTo>
                  <a:lnTo>
                    <a:pt x="130617" y="188845"/>
                  </a:lnTo>
                  <a:lnTo>
                    <a:pt x="133371" y="190812"/>
                  </a:lnTo>
                  <a:lnTo>
                    <a:pt x="136519" y="193172"/>
                  </a:lnTo>
                  <a:lnTo>
                    <a:pt x="138093" y="194353"/>
                  </a:lnTo>
                  <a:lnTo>
                    <a:pt x="155403" y="219925"/>
                  </a:lnTo>
                  <a:lnTo>
                    <a:pt x="155403" y="220712"/>
                  </a:lnTo>
                  <a:lnTo>
                    <a:pt x="156584" y="223466"/>
                  </a:lnTo>
                  <a:lnTo>
                    <a:pt x="158157" y="226220"/>
                  </a:lnTo>
                  <a:lnTo>
                    <a:pt x="160518" y="229368"/>
                  </a:lnTo>
                  <a:lnTo>
                    <a:pt x="162878" y="232515"/>
                  </a:lnTo>
                  <a:lnTo>
                    <a:pt x="165239" y="234482"/>
                  </a:lnTo>
                  <a:lnTo>
                    <a:pt x="171534" y="244318"/>
                  </a:lnTo>
                  <a:lnTo>
                    <a:pt x="171927" y="246678"/>
                  </a:lnTo>
                  <a:lnTo>
                    <a:pt x="173108" y="249432"/>
                  </a:lnTo>
                  <a:lnTo>
                    <a:pt x="173894" y="252580"/>
                  </a:lnTo>
                  <a:lnTo>
                    <a:pt x="174681" y="255727"/>
                  </a:lnTo>
                  <a:lnTo>
                    <a:pt x="175861" y="258481"/>
                  </a:lnTo>
                  <a:lnTo>
                    <a:pt x="178222" y="261629"/>
                  </a:lnTo>
                  <a:lnTo>
                    <a:pt x="180976" y="264382"/>
                  </a:lnTo>
                  <a:lnTo>
                    <a:pt x="183730" y="267137"/>
                  </a:lnTo>
                  <a:lnTo>
                    <a:pt x="186091" y="269890"/>
                  </a:lnTo>
                  <a:lnTo>
                    <a:pt x="188451" y="273038"/>
                  </a:lnTo>
                  <a:lnTo>
                    <a:pt x="191206" y="275792"/>
                  </a:lnTo>
                  <a:lnTo>
                    <a:pt x="193959" y="277759"/>
                  </a:lnTo>
                  <a:lnTo>
                    <a:pt x="194352" y="278152"/>
                  </a:lnTo>
                  <a:lnTo>
                    <a:pt x="197107" y="280120"/>
                  </a:lnTo>
                  <a:lnTo>
                    <a:pt x="195927" y="276972"/>
                  </a:lnTo>
                  <a:lnTo>
                    <a:pt x="196319" y="274218"/>
                  </a:lnTo>
                  <a:lnTo>
                    <a:pt x="195533" y="271464"/>
                  </a:lnTo>
                  <a:lnTo>
                    <a:pt x="194352" y="268317"/>
                  </a:lnTo>
                  <a:lnTo>
                    <a:pt x="193173" y="265563"/>
                  </a:lnTo>
                  <a:lnTo>
                    <a:pt x="192779" y="262809"/>
                  </a:lnTo>
                  <a:lnTo>
                    <a:pt x="191992" y="259661"/>
                  </a:lnTo>
                  <a:lnTo>
                    <a:pt x="191206" y="256514"/>
                  </a:lnTo>
                  <a:lnTo>
                    <a:pt x="191598" y="253760"/>
                  </a:lnTo>
                  <a:lnTo>
                    <a:pt x="194352" y="252580"/>
                  </a:lnTo>
                  <a:lnTo>
                    <a:pt x="197500" y="253760"/>
                  </a:lnTo>
                  <a:lnTo>
                    <a:pt x="200647" y="256514"/>
                  </a:lnTo>
                  <a:lnTo>
                    <a:pt x="203401" y="256514"/>
                  </a:lnTo>
                  <a:lnTo>
                    <a:pt x="206155" y="256514"/>
                  </a:lnTo>
                  <a:lnTo>
                    <a:pt x="209303" y="256907"/>
                  </a:lnTo>
                  <a:lnTo>
                    <a:pt x="212056" y="257301"/>
                  </a:lnTo>
                  <a:lnTo>
                    <a:pt x="215204" y="258875"/>
                  </a:lnTo>
                  <a:lnTo>
                    <a:pt x="217958" y="258875"/>
                  </a:lnTo>
                  <a:lnTo>
                    <a:pt x="219138" y="261629"/>
                  </a:lnTo>
                  <a:lnTo>
                    <a:pt x="221499" y="264776"/>
                  </a:lnTo>
                  <a:lnTo>
                    <a:pt x="224253" y="267923"/>
                  </a:lnTo>
                  <a:lnTo>
                    <a:pt x="226614" y="270677"/>
                  </a:lnTo>
                  <a:lnTo>
                    <a:pt x="228581" y="273431"/>
                  </a:lnTo>
                  <a:lnTo>
                    <a:pt x="228187" y="270677"/>
                  </a:lnTo>
                  <a:lnTo>
                    <a:pt x="227794" y="267923"/>
                  </a:lnTo>
                  <a:lnTo>
                    <a:pt x="227401" y="264776"/>
                  </a:lnTo>
                  <a:lnTo>
                    <a:pt x="225040" y="262022"/>
                  </a:lnTo>
                  <a:lnTo>
                    <a:pt x="222286" y="258875"/>
                  </a:lnTo>
                  <a:lnTo>
                    <a:pt x="220319" y="256121"/>
                  </a:lnTo>
                  <a:lnTo>
                    <a:pt x="217958" y="253367"/>
                  </a:lnTo>
                  <a:lnTo>
                    <a:pt x="215204" y="250219"/>
                  </a:lnTo>
                  <a:lnTo>
                    <a:pt x="212450" y="248645"/>
                  </a:lnTo>
                  <a:lnTo>
                    <a:pt x="209303" y="249826"/>
                  </a:lnTo>
                  <a:lnTo>
                    <a:pt x="206155" y="248645"/>
                  </a:lnTo>
                  <a:lnTo>
                    <a:pt x="209303" y="250613"/>
                  </a:lnTo>
                  <a:lnTo>
                    <a:pt x="212450" y="251793"/>
                  </a:lnTo>
                  <a:lnTo>
                    <a:pt x="209303" y="252973"/>
                  </a:lnTo>
                  <a:lnTo>
                    <a:pt x="206155" y="251399"/>
                  </a:lnTo>
                  <a:lnTo>
                    <a:pt x="203401" y="249432"/>
                  </a:lnTo>
                  <a:lnTo>
                    <a:pt x="202221" y="246285"/>
                  </a:lnTo>
                  <a:lnTo>
                    <a:pt x="199467" y="243531"/>
                  </a:lnTo>
                  <a:lnTo>
                    <a:pt x="196319" y="240777"/>
                  </a:lnTo>
                  <a:lnTo>
                    <a:pt x="194746" y="238023"/>
                  </a:lnTo>
                  <a:lnTo>
                    <a:pt x="192385" y="235269"/>
                  </a:lnTo>
                  <a:lnTo>
                    <a:pt x="191206" y="234482"/>
                  </a:lnTo>
                  <a:lnTo>
                    <a:pt x="188058" y="232515"/>
                  </a:lnTo>
                  <a:lnTo>
                    <a:pt x="188058" y="232122"/>
                  </a:lnTo>
                  <a:lnTo>
                    <a:pt x="186091" y="230941"/>
                  </a:lnTo>
                  <a:lnTo>
                    <a:pt x="183337" y="229368"/>
                  </a:lnTo>
                  <a:lnTo>
                    <a:pt x="182549" y="229368"/>
                  </a:lnTo>
                  <a:lnTo>
                    <a:pt x="182157" y="229368"/>
                  </a:lnTo>
                  <a:lnTo>
                    <a:pt x="179403" y="227400"/>
                  </a:lnTo>
                  <a:lnTo>
                    <a:pt x="176255" y="225433"/>
                  </a:lnTo>
                  <a:lnTo>
                    <a:pt x="173501" y="223073"/>
                  </a:lnTo>
                  <a:lnTo>
                    <a:pt x="172321" y="221892"/>
                  </a:lnTo>
                  <a:lnTo>
                    <a:pt x="171927" y="221499"/>
                  </a:lnTo>
                  <a:lnTo>
                    <a:pt x="169567" y="219532"/>
                  </a:lnTo>
                  <a:lnTo>
                    <a:pt x="167993" y="217958"/>
                  </a:lnTo>
                  <a:lnTo>
                    <a:pt x="149896" y="169567"/>
                  </a:lnTo>
                  <a:lnTo>
                    <a:pt x="158157" y="166813"/>
                  </a:lnTo>
                  <a:lnTo>
                    <a:pt x="158551" y="166813"/>
                  </a:lnTo>
                  <a:lnTo>
                    <a:pt x="161305" y="166813"/>
                  </a:lnTo>
                  <a:lnTo>
                    <a:pt x="158944" y="166419"/>
                  </a:lnTo>
                  <a:lnTo>
                    <a:pt x="158944" y="165633"/>
                  </a:lnTo>
                  <a:lnTo>
                    <a:pt x="161699" y="165633"/>
                  </a:lnTo>
                  <a:lnTo>
                    <a:pt x="164845" y="166813"/>
                  </a:lnTo>
                  <a:lnTo>
                    <a:pt x="167600" y="167600"/>
                  </a:lnTo>
                  <a:lnTo>
                    <a:pt x="170747" y="167600"/>
                  </a:lnTo>
                  <a:lnTo>
                    <a:pt x="173501" y="168780"/>
                  </a:lnTo>
                  <a:lnTo>
                    <a:pt x="176648" y="169960"/>
                  </a:lnTo>
                  <a:lnTo>
                    <a:pt x="179796" y="171534"/>
                  </a:lnTo>
                  <a:lnTo>
                    <a:pt x="182549" y="173894"/>
                  </a:lnTo>
                  <a:lnTo>
                    <a:pt x="185304" y="175468"/>
                  </a:lnTo>
                  <a:lnTo>
                    <a:pt x="188058" y="176648"/>
                  </a:lnTo>
                  <a:lnTo>
                    <a:pt x="191206" y="178222"/>
                  </a:lnTo>
                  <a:lnTo>
                    <a:pt x="194352" y="179796"/>
                  </a:lnTo>
                  <a:lnTo>
                    <a:pt x="197107" y="181763"/>
                  </a:lnTo>
                  <a:lnTo>
                    <a:pt x="200254" y="184517"/>
                  </a:lnTo>
                  <a:lnTo>
                    <a:pt x="202615" y="187271"/>
                  </a:lnTo>
                  <a:lnTo>
                    <a:pt x="205762" y="188845"/>
                  </a:lnTo>
                  <a:lnTo>
                    <a:pt x="202615" y="186484"/>
                  </a:lnTo>
                  <a:lnTo>
                    <a:pt x="201041" y="183730"/>
                  </a:lnTo>
                  <a:lnTo>
                    <a:pt x="197894" y="180583"/>
                  </a:lnTo>
                  <a:lnTo>
                    <a:pt x="195140" y="179402"/>
                  </a:lnTo>
                  <a:lnTo>
                    <a:pt x="191992" y="177829"/>
                  </a:lnTo>
                  <a:lnTo>
                    <a:pt x="188845" y="176255"/>
                  </a:lnTo>
                  <a:lnTo>
                    <a:pt x="186091" y="174288"/>
                  </a:lnTo>
                  <a:lnTo>
                    <a:pt x="183337" y="171534"/>
                  </a:lnTo>
                  <a:lnTo>
                    <a:pt x="180190" y="169567"/>
                  </a:lnTo>
                  <a:lnTo>
                    <a:pt x="177042" y="166813"/>
                  </a:lnTo>
                  <a:lnTo>
                    <a:pt x="174288" y="163665"/>
                  </a:lnTo>
                  <a:lnTo>
                    <a:pt x="171927" y="160518"/>
                  </a:lnTo>
                  <a:lnTo>
                    <a:pt x="168780" y="157764"/>
                  </a:lnTo>
                  <a:lnTo>
                    <a:pt x="166026" y="155403"/>
                  </a:lnTo>
                  <a:lnTo>
                    <a:pt x="163666" y="152649"/>
                  </a:lnTo>
                  <a:lnTo>
                    <a:pt x="160911" y="149895"/>
                  </a:lnTo>
                  <a:lnTo>
                    <a:pt x="157764" y="147535"/>
                  </a:lnTo>
                  <a:lnTo>
                    <a:pt x="155010" y="144781"/>
                  </a:lnTo>
                  <a:lnTo>
                    <a:pt x="153830" y="143601"/>
                  </a:lnTo>
                  <a:lnTo>
                    <a:pt x="151469" y="141240"/>
                  </a:lnTo>
                  <a:lnTo>
                    <a:pt x="127864" y="120388"/>
                  </a:lnTo>
                  <a:lnTo>
                    <a:pt x="125503" y="118028"/>
                  </a:lnTo>
                  <a:lnTo>
                    <a:pt x="122749" y="114880"/>
                  </a:lnTo>
                  <a:lnTo>
                    <a:pt x="119601" y="112520"/>
                  </a:lnTo>
                  <a:lnTo>
                    <a:pt x="117241" y="109766"/>
                  </a:lnTo>
                  <a:lnTo>
                    <a:pt x="108586" y="101111"/>
                  </a:lnTo>
                  <a:lnTo>
                    <a:pt x="110946" y="103865"/>
                  </a:lnTo>
                  <a:lnTo>
                    <a:pt x="108192" y="101504"/>
                  </a:lnTo>
                  <a:lnTo>
                    <a:pt x="105438" y="100324"/>
                  </a:lnTo>
                  <a:lnTo>
                    <a:pt x="105045" y="99930"/>
                  </a:lnTo>
                  <a:lnTo>
                    <a:pt x="104258" y="97176"/>
                  </a:lnTo>
                  <a:lnTo>
                    <a:pt x="101504" y="94422"/>
                  </a:lnTo>
                  <a:lnTo>
                    <a:pt x="95996" y="90488"/>
                  </a:lnTo>
                  <a:lnTo>
                    <a:pt x="97963" y="93242"/>
                  </a:lnTo>
                  <a:lnTo>
                    <a:pt x="97570" y="93242"/>
                  </a:lnTo>
                  <a:lnTo>
                    <a:pt x="92849" y="88914"/>
                  </a:lnTo>
                  <a:lnTo>
                    <a:pt x="92455" y="87734"/>
                  </a:lnTo>
                  <a:lnTo>
                    <a:pt x="90094" y="84587"/>
                  </a:lnTo>
                  <a:lnTo>
                    <a:pt x="86948" y="82620"/>
                  </a:lnTo>
                  <a:lnTo>
                    <a:pt x="86160" y="83013"/>
                  </a:lnTo>
                  <a:lnTo>
                    <a:pt x="80652" y="77505"/>
                  </a:lnTo>
                  <a:lnTo>
                    <a:pt x="78685" y="75144"/>
                  </a:lnTo>
                  <a:lnTo>
                    <a:pt x="76718" y="72390"/>
                  </a:lnTo>
                  <a:lnTo>
                    <a:pt x="74751" y="69636"/>
                  </a:lnTo>
                  <a:lnTo>
                    <a:pt x="71997" y="67276"/>
                  </a:lnTo>
                  <a:lnTo>
                    <a:pt x="70817" y="64522"/>
                  </a:lnTo>
                  <a:lnTo>
                    <a:pt x="70030" y="61375"/>
                  </a:lnTo>
                  <a:lnTo>
                    <a:pt x="71603" y="64522"/>
                  </a:lnTo>
                  <a:lnTo>
                    <a:pt x="73964" y="67276"/>
                  </a:lnTo>
                  <a:lnTo>
                    <a:pt x="73571" y="64522"/>
                  </a:lnTo>
                  <a:lnTo>
                    <a:pt x="71997" y="61375"/>
                  </a:lnTo>
                  <a:lnTo>
                    <a:pt x="70030" y="58227"/>
                  </a:lnTo>
                  <a:lnTo>
                    <a:pt x="67669" y="55473"/>
                  </a:lnTo>
                  <a:lnTo>
                    <a:pt x="65309" y="52719"/>
                  </a:lnTo>
                  <a:lnTo>
                    <a:pt x="62554" y="49965"/>
                  </a:lnTo>
                  <a:lnTo>
                    <a:pt x="59408" y="49178"/>
                  </a:lnTo>
                  <a:lnTo>
                    <a:pt x="56653" y="46424"/>
                  </a:lnTo>
                  <a:lnTo>
                    <a:pt x="53506" y="45244"/>
                  </a:lnTo>
                  <a:lnTo>
                    <a:pt x="50752" y="42097"/>
                  </a:lnTo>
                  <a:lnTo>
                    <a:pt x="48392" y="39343"/>
                  </a:lnTo>
                  <a:lnTo>
                    <a:pt x="45638" y="36982"/>
                  </a:lnTo>
                  <a:lnTo>
                    <a:pt x="44457" y="34228"/>
                  </a:lnTo>
                  <a:lnTo>
                    <a:pt x="47211" y="35015"/>
                  </a:lnTo>
                  <a:lnTo>
                    <a:pt x="48784" y="38162"/>
                  </a:lnTo>
                  <a:lnTo>
                    <a:pt x="51539" y="39343"/>
                  </a:lnTo>
                  <a:lnTo>
                    <a:pt x="54686" y="41310"/>
                  </a:lnTo>
                  <a:lnTo>
                    <a:pt x="58620" y="45637"/>
                  </a:lnTo>
                  <a:lnTo>
                    <a:pt x="63342" y="50359"/>
                  </a:lnTo>
                  <a:lnTo>
                    <a:pt x="60587" y="47211"/>
                  </a:lnTo>
                  <a:lnTo>
                    <a:pt x="57441" y="44064"/>
                  </a:lnTo>
                  <a:lnTo>
                    <a:pt x="54686" y="41310"/>
                  </a:lnTo>
                  <a:lnTo>
                    <a:pt x="51932" y="38556"/>
                  </a:lnTo>
                  <a:lnTo>
                    <a:pt x="48784" y="35802"/>
                  </a:lnTo>
                  <a:lnTo>
                    <a:pt x="45638" y="33441"/>
                  </a:lnTo>
                  <a:lnTo>
                    <a:pt x="42883" y="32261"/>
                  </a:lnTo>
                  <a:lnTo>
                    <a:pt x="40916" y="29507"/>
                  </a:lnTo>
                  <a:lnTo>
                    <a:pt x="38162" y="27933"/>
                  </a:lnTo>
                  <a:lnTo>
                    <a:pt x="35408" y="25573"/>
                  </a:lnTo>
                  <a:lnTo>
                    <a:pt x="32261" y="23999"/>
                  </a:lnTo>
                  <a:lnTo>
                    <a:pt x="29113" y="21245"/>
                  </a:lnTo>
                  <a:lnTo>
                    <a:pt x="26359" y="19278"/>
                  </a:lnTo>
                  <a:lnTo>
                    <a:pt x="29113" y="20852"/>
                  </a:lnTo>
                  <a:lnTo>
                    <a:pt x="32261" y="22819"/>
                  </a:lnTo>
                  <a:lnTo>
                    <a:pt x="29113" y="20458"/>
                  </a:lnTo>
                  <a:lnTo>
                    <a:pt x="26359" y="18098"/>
                  </a:lnTo>
                  <a:lnTo>
                    <a:pt x="23606" y="16917"/>
                  </a:lnTo>
                  <a:lnTo>
                    <a:pt x="22819" y="13770"/>
                  </a:lnTo>
                  <a:lnTo>
                    <a:pt x="22032" y="11016"/>
                  </a:lnTo>
                  <a:lnTo>
                    <a:pt x="19278" y="8262"/>
                  </a:lnTo>
                  <a:lnTo>
                    <a:pt x="12983" y="4328"/>
                  </a:lnTo>
                  <a:lnTo>
                    <a:pt x="9836" y="2361"/>
                  </a:lnTo>
                  <a:lnTo>
                    <a:pt x="6688" y="0"/>
                  </a:lnTo>
                  <a:lnTo>
                    <a:pt x="5901" y="3147"/>
                  </a:lnTo>
                  <a:lnTo>
                    <a:pt x="3148" y="4721"/>
                  </a:lnTo>
                  <a:lnTo>
                    <a:pt x="0" y="4328"/>
                  </a:lnTo>
                  <a:lnTo>
                    <a:pt x="3148" y="5901"/>
                  </a:lnTo>
                  <a:lnTo>
                    <a:pt x="6295" y="7869"/>
                  </a:lnTo>
                  <a:lnTo>
                    <a:pt x="9049" y="9836"/>
                  </a:lnTo>
                  <a:lnTo>
                    <a:pt x="12197" y="11409"/>
                  </a:lnTo>
                  <a:lnTo>
                    <a:pt x="14950" y="12983"/>
                  </a:lnTo>
                  <a:lnTo>
                    <a:pt x="14950" y="13377"/>
                  </a:lnTo>
                  <a:lnTo>
                    <a:pt x="16131" y="29114"/>
                  </a:lnTo>
                  <a:lnTo>
                    <a:pt x="13376" y="30687"/>
                  </a:lnTo>
                  <a:lnTo>
                    <a:pt x="10622" y="33048"/>
                  </a:lnTo>
                  <a:lnTo>
                    <a:pt x="12983" y="35802"/>
                  </a:lnTo>
                  <a:lnTo>
                    <a:pt x="15737" y="38949"/>
                  </a:lnTo>
                  <a:lnTo>
                    <a:pt x="17310" y="40523"/>
                  </a:lnTo>
                  <a:lnTo>
                    <a:pt x="33441" y="65309"/>
                  </a:lnTo>
                  <a:lnTo>
                    <a:pt x="33441" y="6530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66" name="Freeform: Shape 3460">
              <a:extLst>
                <a:ext uri="{FF2B5EF4-FFF2-40B4-BE49-F238E27FC236}">
                  <a16:creationId xmlns:a16="http://schemas.microsoft.com/office/drawing/2014/main" id="{41BFB430-5C35-408B-8431-7780F4473292}"/>
                </a:ext>
              </a:extLst>
            </p:cNvPr>
            <p:cNvSpPr/>
            <p:nvPr/>
          </p:nvSpPr>
          <p:spPr>
            <a:xfrm>
              <a:off x="9566415" y="1883270"/>
              <a:ext cx="3934" cy="3934"/>
            </a:xfrm>
            <a:custGeom>
              <a:avLst/>
              <a:gdLst>
                <a:gd name="connsiteX0" fmla="*/ 3147 w 0"/>
                <a:gd name="connsiteY0" fmla="*/ 1967 h 3934"/>
                <a:gd name="connsiteX1" fmla="*/ 0 w 0"/>
                <a:gd name="connsiteY1" fmla="*/ 0 h 3934"/>
                <a:gd name="connsiteX2" fmla="*/ 393 w 0"/>
                <a:gd name="connsiteY2" fmla="*/ 3147 h 3934"/>
                <a:gd name="connsiteX3" fmla="*/ 0 w 0"/>
                <a:gd name="connsiteY3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147" y="1967"/>
                  </a:moveTo>
                  <a:lnTo>
                    <a:pt x="0" y="0"/>
                  </a:lnTo>
                  <a:lnTo>
                    <a:pt x="393" y="3147"/>
                  </a:lnTo>
                  <a:lnTo>
                    <a:pt x="0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67" name="Freeform: Shape 3461">
              <a:extLst>
                <a:ext uri="{FF2B5EF4-FFF2-40B4-BE49-F238E27FC236}">
                  <a16:creationId xmlns:a16="http://schemas.microsoft.com/office/drawing/2014/main" id="{BBDB2644-A470-4F80-AC5F-2CDCEEBE17CC}"/>
                </a:ext>
              </a:extLst>
            </p:cNvPr>
            <p:cNvSpPr/>
            <p:nvPr/>
          </p:nvSpPr>
          <p:spPr>
            <a:xfrm>
              <a:off x="9558939" y="1881303"/>
              <a:ext cx="3934" cy="3934"/>
            </a:xfrm>
            <a:custGeom>
              <a:avLst/>
              <a:gdLst>
                <a:gd name="connsiteX0" fmla="*/ 3934 w 3934"/>
                <a:gd name="connsiteY0" fmla="*/ 5508 h 3934"/>
                <a:gd name="connsiteX1" fmla="*/ 5115 w 3934"/>
                <a:gd name="connsiteY1" fmla="*/ 5901 h 3934"/>
                <a:gd name="connsiteX2" fmla="*/ 2754 w 3934"/>
                <a:gd name="connsiteY2" fmla="*/ 2754 h 3934"/>
                <a:gd name="connsiteX3" fmla="*/ 0 w 3934"/>
                <a:gd name="connsiteY3" fmla="*/ 0 h 3934"/>
                <a:gd name="connsiteX4" fmla="*/ 1180 w 3934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934" y="5508"/>
                  </a:moveTo>
                  <a:lnTo>
                    <a:pt x="5115" y="5901"/>
                  </a:lnTo>
                  <a:lnTo>
                    <a:pt x="2754" y="2754"/>
                  </a:lnTo>
                  <a:lnTo>
                    <a:pt x="0" y="0"/>
                  </a:lnTo>
                  <a:lnTo>
                    <a:pt x="118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68" name="Freeform: Shape 3462">
              <a:extLst>
                <a:ext uri="{FF2B5EF4-FFF2-40B4-BE49-F238E27FC236}">
                  <a16:creationId xmlns:a16="http://schemas.microsoft.com/office/drawing/2014/main" id="{FA43D411-70D5-474E-96EE-4F7865157D86}"/>
                </a:ext>
              </a:extLst>
            </p:cNvPr>
            <p:cNvSpPr/>
            <p:nvPr/>
          </p:nvSpPr>
          <p:spPr>
            <a:xfrm>
              <a:off x="10070394" y="1732981"/>
              <a:ext cx="19671" cy="19671"/>
            </a:xfrm>
            <a:custGeom>
              <a:avLst/>
              <a:gdLst>
                <a:gd name="connsiteX0" fmla="*/ 8655 w 19671"/>
                <a:gd name="connsiteY0" fmla="*/ 23212 h 19671"/>
                <a:gd name="connsiteX1" fmla="*/ 10622 w 19671"/>
                <a:gd name="connsiteY1" fmla="*/ 20458 h 19671"/>
                <a:gd name="connsiteX2" fmla="*/ 12197 w 19671"/>
                <a:gd name="connsiteY2" fmla="*/ 17311 h 19671"/>
                <a:gd name="connsiteX3" fmla="*/ 14950 w 19671"/>
                <a:gd name="connsiteY3" fmla="*/ 14950 h 19671"/>
                <a:gd name="connsiteX4" fmla="*/ 17704 w 19671"/>
                <a:gd name="connsiteY4" fmla="*/ 13377 h 19671"/>
                <a:gd name="connsiteX5" fmla="*/ 20458 w 19671"/>
                <a:gd name="connsiteY5" fmla="*/ 11409 h 19671"/>
                <a:gd name="connsiteX6" fmla="*/ 23213 w 19671"/>
                <a:gd name="connsiteY6" fmla="*/ 11409 h 19671"/>
                <a:gd name="connsiteX7" fmla="*/ 22819 w 19671"/>
                <a:gd name="connsiteY7" fmla="*/ 8655 h 19671"/>
                <a:gd name="connsiteX8" fmla="*/ 20458 w 19671"/>
                <a:gd name="connsiteY8" fmla="*/ 5508 h 19671"/>
                <a:gd name="connsiteX9" fmla="*/ 17311 w 19671"/>
                <a:gd name="connsiteY9" fmla="*/ 3934 h 19671"/>
                <a:gd name="connsiteX10" fmla="*/ 14164 w 19671"/>
                <a:gd name="connsiteY10" fmla="*/ 1574 h 19671"/>
                <a:gd name="connsiteX11" fmla="*/ 11410 w 19671"/>
                <a:gd name="connsiteY11" fmla="*/ 0 h 19671"/>
                <a:gd name="connsiteX12" fmla="*/ 9049 w 19671"/>
                <a:gd name="connsiteY12" fmla="*/ 3147 h 19671"/>
                <a:gd name="connsiteX13" fmla="*/ 5901 w 19671"/>
                <a:gd name="connsiteY13" fmla="*/ 4721 h 19671"/>
                <a:gd name="connsiteX14" fmla="*/ 3148 w 19671"/>
                <a:gd name="connsiteY14" fmla="*/ 6295 h 19671"/>
                <a:gd name="connsiteX15" fmla="*/ 0 w 19671"/>
                <a:gd name="connsiteY15" fmla="*/ 6295 h 19671"/>
                <a:gd name="connsiteX16" fmla="*/ 2754 w 19671"/>
                <a:gd name="connsiteY16" fmla="*/ 7082 h 19671"/>
                <a:gd name="connsiteX17" fmla="*/ 3148 w 19671"/>
                <a:gd name="connsiteY17" fmla="*/ 9836 h 19671"/>
                <a:gd name="connsiteX18" fmla="*/ 5509 w 19671"/>
                <a:gd name="connsiteY18" fmla="*/ 12590 h 19671"/>
                <a:gd name="connsiteX19" fmla="*/ 7082 w 19671"/>
                <a:gd name="connsiteY19" fmla="*/ 15737 h 19671"/>
                <a:gd name="connsiteX20" fmla="*/ 7869 w 19671"/>
                <a:gd name="connsiteY20" fmla="*/ 18491 h 19671"/>
                <a:gd name="connsiteX21" fmla="*/ 5901 w 19671"/>
                <a:gd name="connsiteY21" fmla="*/ 21245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9671" h="19671">
                  <a:moveTo>
                    <a:pt x="8655" y="23212"/>
                  </a:moveTo>
                  <a:lnTo>
                    <a:pt x="10622" y="20458"/>
                  </a:lnTo>
                  <a:lnTo>
                    <a:pt x="12197" y="17311"/>
                  </a:lnTo>
                  <a:lnTo>
                    <a:pt x="14950" y="14950"/>
                  </a:lnTo>
                  <a:lnTo>
                    <a:pt x="17704" y="13377"/>
                  </a:lnTo>
                  <a:lnTo>
                    <a:pt x="20458" y="11409"/>
                  </a:lnTo>
                  <a:lnTo>
                    <a:pt x="23213" y="11409"/>
                  </a:lnTo>
                  <a:lnTo>
                    <a:pt x="22819" y="8655"/>
                  </a:lnTo>
                  <a:lnTo>
                    <a:pt x="20458" y="5508"/>
                  </a:lnTo>
                  <a:lnTo>
                    <a:pt x="17311" y="3934"/>
                  </a:lnTo>
                  <a:lnTo>
                    <a:pt x="14164" y="1574"/>
                  </a:lnTo>
                  <a:lnTo>
                    <a:pt x="11410" y="0"/>
                  </a:lnTo>
                  <a:lnTo>
                    <a:pt x="9049" y="3147"/>
                  </a:lnTo>
                  <a:lnTo>
                    <a:pt x="5901" y="4721"/>
                  </a:lnTo>
                  <a:lnTo>
                    <a:pt x="3148" y="6295"/>
                  </a:lnTo>
                  <a:lnTo>
                    <a:pt x="0" y="6295"/>
                  </a:lnTo>
                  <a:lnTo>
                    <a:pt x="2754" y="7082"/>
                  </a:lnTo>
                  <a:lnTo>
                    <a:pt x="3148" y="9836"/>
                  </a:lnTo>
                  <a:lnTo>
                    <a:pt x="5509" y="12590"/>
                  </a:lnTo>
                  <a:lnTo>
                    <a:pt x="7082" y="15737"/>
                  </a:lnTo>
                  <a:lnTo>
                    <a:pt x="7869" y="18491"/>
                  </a:lnTo>
                  <a:lnTo>
                    <a:pt x="5901" y="2124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69" name="Freeform: Shape 3463">
              <a:extLst>
                <a:ext uri="{FF2B5EF4-FFF2-40B4-BE49-F238E27FC236}">
                  <a16:creationId xmlns:a16="http://schemas.microsoft.com/office/drawing/2014/main" id="{2FD5ACE7-72D2-4DBC-BB4A-752BA49A26CA}"/>
                </a:ext>
              </a:extLst>
            </p:cNvPr>
            <p:cNvSpPr/>
            <p:nvPr/>
          </p:nvSpPr>
          <p:spPr>
            <a:xfrm>
              <a:off x="9746604" y="1735342"/>
              <a:ext cx="3934" cy="3934"/>
            </a:xfrm>
            <a:custGeom>
              <a:avLst/>
              <a:gdLst>
                <a:gd name="connsiteX0" fmla="*/ 4722 w 3934"/>
                <a:gd name="connsiteY0" fmla="*/ 1574 h 3934"/>
                <a:gd name="connsiteX1" fmla="*/ 1967 w 3934"/>
                <a:gd name="connsiteY1" fmla="*/ 0 h 3934"/>
                <a:gd name="connsiteX2" fmla="*/ 0 w 3934"/>
                <a:gd name="connsiteY2" fmla="*/ 3147 h 3934"/>
                <a:gd name="connsiteX3" fmla="*/ 394 w 3934"/>
                <a:gd name="connsiteY3" fmla="*/ 4328 h 3934"/>
                <a:gd name="connsiteX4" fmla="*/ 3148 w 3934"/>
                <a:gd name="connsiteY4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4722" y="1574"/>
                  </a:moveTo>
                  <a:lnTo>
                    <a:pt x="1967" y="0"/>
                  </a:lnTo>
                  <a:lnTo>
                    <a:pt x="0" y="3147"/>
                  </a:lnTo>
                  <a:lnTo>
                    <a:pt x="394" y="4328"/>
                  </a:lnTo>
                  <a:lnTo>
                    <a:pt x="3148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70" name="Freeform: Shape 3464">
              <a:extLst>
                <a:ext uri="{FF2B5EF4-FFF2-40B4-BE49-F238E27FC236}">
                  <a16:creationId xmlns:a16="http://schemas.microsoft.com/office/drawing/2014/main" id="{B8329B47-03D2-4457-BE32-6DB38C6E3E00}"/>
                </a:ext>
              </a:extLst>
            </p:cNvPr>
            <p:cNvSpPr/>
            <p:nvPr/>
          </p:nvSpPr>
          <p:spPr>
            <a:xfrm>
              <a:off x="10125473" y="2004445"/>
              <a:ext cx="15737" cy="23606"/>
            </a:xfrm>
            <a:custGeom>
              <a:avLst/>
              <a:gdLst>
                <a:gd name="connsiteX0" fmla="*/ 2754 w 15737"/>
                <a:gd name="connsiteY0" fmla="*/ 13770 h 23605"/>
                <a:gd name="connsiteX1" fmla="*/ 0 w 15737"/>
                <a:gd name="connsiteY1" fmla="*/ 15737 h 23605"/>
                <a:gd name="connsiteX2" fmla="*/ 2361 w 15737"/>
                <a:gd name="connsiteY2" fmla="*/ 18884 h 23605"/>
                <a:gd name="connsiteX3" fmla="*/ 4328 w 15737"/>
                <a:gd name="connsiteY3" fmla="*/ 21638 h 23605"/>
                <a:gd name="connsiteX4" fmla="*/ 7082 w 15737"/>
                <a:gd name="connsiteY4" fmla="*/ 23999 h 23605"/>
                <a:gd name="connsiteX5" fmla="*/ 10229 w 15737"/>
                <a:gd name="connsiteY5" fmla="*/ 24392 h 23605"/>
                <a:gd name="connsiteX6" fmla="*/ 12197 w 15737"/>
                <a:gd name="connsiteY6" fmla="*/ 25573 h 23605"/>
                <a:gd name="connsiteX7" fmla="*/ 11016 w 15737"/>
                <a:gd name="connsiteY7" fmla="*/ 22819 h 23605"/>
                <a:gd name="connsiteX8" fmla="*/ 12197 w 15737"/>
                <a:gd name="connsiteY8" fmla="*/ 20065 h 23605"/>
                <a:gd name="connsiteX9" fmla="*/ 15344 w 15737"/>
                <a:gd name="connsiteY9" fmla="*/ 19671 h 23605"/>
                <a:gd name="connsiteX10" fmla="*/ 17704 w 15737"/>
                <a:gd name="connsiteY10" fmla="*/ 16917 h 23605"/>
                <a:gd name="connsiteX11" fmla="*/ 17311 w 15737"/>
                <a:gd name="connsiteY11" fmla="*/ 14163 h 23605"/>
                <a:gd name="connsiteX12" fmla="*/ 16524 w 15737"/>
                <a:gd name="connsiteY12" fmla="*/ 11016 h 23605"/>
                <a:gd name="connsiteX13" fmla="*/ 16918 w 15737"/>
                <a:gd name="connsiteY13" fmla="*/ 8262 h 23605"/>
                <a:gd name="connsiteX14" fmla="*/ 13770 w 15737"/>
                <a:gd name="connsiteY14" fmla="*/ 5115 h 23605"/>
                <a:gd name="connsiteX15" fmla="*/ 11410 w 15737"/>
                <a:gd name="connsiteY15" fmla="*/ 1967 h 23605"/>
                <a:gd name="connsiteX16" fmla="*/ 8262 w 15737"/>
                <a:gd name="connsiteY16" fmla="*/ 0 h 23605"/>
                <a:gd name="connsiteX17" fmla="*/ 5901 w 15737"/>
                <a:gd name="connsiteY17" fmla="*/ 3147 h 23605"/>
                <a:gd name="connsiteX18" fmla="*/ 7476 w 15737"/>
                <a:gd name="connsiteY18" fmla="*/ 6295 h 23605"/>
                <a:gd name="connsiteX19" fmla="*/ 8655 w 15737"/>
                <a:gd name="connsiteY19" fmla="*/ 9049 h 23605"/>
                <a:gd name="connsiteX20" fmla="*/ 8655 w 15737"/>
                <a:gd name="connsiteY20" fmla="*/ 12196 h 23605"/>
                <a:gd name="connsiteX21" fmla="*/ 5901 w 15737"/>
                <a:gd name="connsiteY21" fmla="*/ 12983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5737" h="23605">
                  <a:moveTo>
                    <a:pt x="2754" y="13770"/>
                  </a:moveTo>
                  <a:lnTo>
                    <a:pt x="0" y="15737"/>
                  </a:lnTo>
                  <a:lnTo>
                    <a:pt x="2361" y="18884"/>
                  </a:lnTo>
                  <a:lnTo>
                    <a:pt x="4328" y="21638"/>
                  </a:lnTo>
                  <a:lnTo>
                    <a:pt x="7082" y="23999"/>
                  </a:lnTo>
                  <a:lnTo>
                    <a:pt x="10229" y="24392"/>
                  </a:lnTo>
                  <a:lnTo>
                    <a:pt x="12197" y="25573"/>
                  </a:lnTo>
                  <a:lnTo>
                    <a:pt x="11016" y="22819"/>
                  </a:lnTo>
                  <a:lnTo>
                    <a:pt x="12197" y="20065"/>
                  </a:lnTo>
                  <a:lnTo>
                    <a:pt x="15344" y="19671"/>
                  </a:lnTo>
                  <a:lnTo>
                    <a:pt x="17704" y="16917"/>
                  </a:lnTo>
                  <a:lnTo>
                    <a:pt x="17311" y="14163"/>
                  </a:lnTo>
                  <a:lnTo>
                    <a:pt x="16524" y="11016"/>
                  </a:lnTo>
                  <a:lnTo>
                    <a:pt x="16918" y="8262"/>
                  </a:lnTo>
                  <a:lnTo>
                    <a:pt x="13770" y="5115"/>
                  </a:lnTo>
                  <a:lnTo>
                    <a:pt x="11410" y="1967"/>
                  </a:lnTo>
                  <a:lnTo>
                    <a:pt x="8262" y="0"/>
                  </a:lnTo>
                  <a:lnTo>
                    <a:pt x="5901" y="3147"/>
                  </a:lnTo>
                  <a:lnTo>
                    <a:pt x="7476" y="6295"/>
                  </a:lnTo>
                  <a:lnTo>
                    <a:pt x="8655" y="9049"/>
                  </a:lnTo>
                  <a:lnTo>
                    <a:pt x="8655" y="12196"/>
                  </a:lnTo>
                  <a:lnTo>
                    <a:pt x="5901" y="1298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71" name="Freeform: Shape 3465">
              <a:extLst>
                <a:ext uri="{FF2B5EF4-FFF2-40B4-BE49-F238E27FC236}">
                  <a16:creationId xmlns:a16="http://schemas.microsoft.com/office/drawing/2014/main" id="{879BC63E-5467-45AF-8CDB-EC0ABCF74284}"/>
                </a:ext>
              </a:extLst>
            </p:cNvPr>
            <p:cNvSpPr/>
            <p:nvPr/>
          </p:nvSpPr>
          <p:spPr>
            <a:xfrm>
              <a:off x="10137276" y="2001691"/>
              <a:ext cx="7869" cy="7869"/>
            </a:xfrm>
            <a:custGeom>
              <a:avLst/>
              <a:gdLst>
                <a:gd name="connsiteX0" fmla="*/ 5509 w 7868"/>
                <a:gd name="connsiteY0" fmla="*/ 7082 h 7868"/>
                <a:gd name="connsiteX1" fmla="*/ 8262 w 7868"/>
                <a:gd name="connsiteY1" fmla="*/ 7869 h 7868"/>
                <a:gd name="connsiteX2" fmla="*/ 9049 w 7868"/>
                <a:gd name="connsiteY2" fmla="*/ 7869 h 7868"/>
                <a:gd name="connsiteX3" fmla="*/ 8262 w 7868"/>
                <a:gd name="connsiteY3" fmla="*/ 4721 h 7868"/>
                <a:gd name="connsiteX4" fmla="*/ 6688 w 7868"/>
                <a:gd name="connsiteY4" fmla="*/ 1967 h 7868"/>
                <a:gd name="connsiteX5" fmla="*/ 4721 w 7868"/>
                <a:gd name="connsiteY5" fmla="*/ 0 h 7868"/>
                <a:gd name="connsiteX6" fmla="*/ 1967 w 7868"/>
                <a:gd name="connsiteY6" fmla="*/ 393 h 7868"/>
                <a:gd name="connsiteX7" fmla="*/ 0 w 7868"/>
                <a:gd name="connsiteY7" fmla="*/ 3147 h 7868"/>
                <a:gd name="connsiteX8" fmla="*/ 2361 w 7868"/>
                <a:gd name="connsiteY8" fmla="*/ 629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7868">
                  <a:moveTo>
                    <a:pt x="5509" y="7082"/>
                  </a:moveTo>
                  <a:lnTo>
                    <a:pt x="8262" y="7869"/>
                  </a:lnTo>
                  <a:lnTo>
                    <a:pt x="9049" y="7869"/>
                  </a:lnTo>
                  <a:lnTo>
                    <a:pt x="8262" y="4721"/>
                  </a:lnTo>
                  <a:lnTo>
                    <a:pt x="6688" y="1967"/>
                  </a:lnTo>
                  <a:lnTo>
                    <a:pt x="4721" y="0"/>
                  </a:lnTo>
                  <a:lnTo>
                    <a:pt x="1967" y="393"/>
                  </a:lnTo>
                  <a:lnTo>
                    <a:pt x="0" y="3147"/>
                  </a:lnTo>
                  <a:lnTo>
                    <a:pt x="2361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72" name="Freeform: Shape 3466">
              <a:extLst>
                <a:ext uri="{FF2B5EF4-FFF2-40B4-BE49-F238E27FC236}">
                  <a16:creationId xmlns:a16="http://schemas.microsoft.com/office/drawing/2014/main" id="{DFD869B7-9854-49A3-BB76-AB45C343FFDF}"/>
                </a:ext>
              </a:extLst>
            </p:cNvPr>
            <p:cNvSpPr/>
            <p:nvPr/>
          </p:nvSpPr>
          <p:spPr>
            <a:xfrm>
              <a:off x="10114851" y="1999331"/>
              <a:ext cx="3934" cy="3934"/>
            </a:xfrm>
            <a:custGeom>
              <a:avLst/>
              <a:gdLst>
                <a:gd name="connsiteX0" fmla="*/ 1967 w 3934"/>
                <a:gd name="connsiteY0" fmla="*/ 0 h 3934"/>
                <a:gd name="connsiteX1" fmla="*/ 0 w 3934"/>
                <a:gd name="connsiteY1" fmla="*/ 1967 h 3934"/>
                <a:gd name="connsiteX2" fmla="*/ 3148 w 3934"/>
                <a:gd name="connsiteY2" fmla="*/ 3934 h 3934"/>
                <a:gd name="connsiteX3" fmla="*/ 6295 w 3934"/>
                <a:gd name="connsiteY3" fmla="*/ 4328 h 3934"/>
                <a:gd name="connsiteX4" fmla="*/ 5115 w 3934"/>
                <a:gd name="connsiteY4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1967" y="0"/>
                  </a:moveTo>
                  <a:lnTo>
                    <a:pt x="0" y="1967"/>
                  </a:lnTo>
                  <a:lnTo>
                    <a:pt x="3148" y="3934"/>
                  </a:lnTo>
                  <a:lnTo>
                    <a:pt x="6295" y="4328"/>
                  </a:lnTo>
                  <a:lnTo>
                    <a:pt x="5115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73" name="Freeform: Shape 3467">
              <a:extLst>
                <a:ext uri="{FF2B5EF4-FFF2-40B4-BE49-F238E27FC236}">
                  <a16:creationId xmlns:a16="http://schemas.microsoft.com/office/drawing/2014/main" id="{0DCD0B0D-D839-487F-9FF1-9547DB9357A4}"/>
                </a:ext>
              </a:extLst>
            </p:cNvPr>
            <p:cNvSpPr/>
            <p:nvPr/>
          </p:nvSpPr>
          <p:spPr>
            <a:xfrm>
              <a:off x="6038167" y="2162996"/>
              <a:ext cx="3934" cy="3934"/>
            </a:xfrm>
            <a:custGeom>
              <a:avLst/>
              <a:gdLst>
                <a:gd name="connsiteX0" fmla="*/ 0 w 3934"/>
                <a:gd name="connsiteY0" fmla="*/ 393 h 3934"/>
                <a:gd name="connsiteX1" fmla="*/ 2754 w 3934"/>
                <a:gd name="connsiteY1" fmla="*/ 3541 h 3934"/>
                <a:gd name="connsiteX2" fmla="*/ 3934 w 3934"/>
                <a:gd name="connsiteY2" fmla="*/ 6295 h 3934"/>
                <a:gd name="connsiteX3" fmla="*/ 4721 w 3934"/>
                <a:gd name="connsiteY3" fmla="*/ 5508 h 3934"/>
                <a:gd name="connsiteX4" fmla="*/ 4721 w 3934"/>
                <a:gd name="connsiteY4" fmla="*/ 2754 h 3934"/>
                <a:gd name="connsiteX5" fmla="*/ 2754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393"/>
                  </a:moveTo>
                  <a:lnTo>
                    <a:pt x="2754" y="3541"/>
                  </a:lnTo>
                  <a:lnTo>
                    <a:pt x="3934" y="6295"/>
                  </a:lnTo>
                  <a:lnTo>
                    <a:pt x="4721" y="5508"/>
                  </a:lnTo>
                  <a:lnTo>
                    <a:pt x="4721" y="275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74" name="Freeform: Shape 3468">
              <a:extLst>
                <a:ext uri="{FF2B5EF4-FFF2-40B4-BE49-F238E27FC236}">
                  <a16:creationId xmlns:a16="http://schemas.microsoft.com/office/drawing/2014/main" id="{DA1B5AF7-B228-4FF0-89E1-F13B0ECBFD65}"/>
                </a:ext>
              </a:extLst>
            </p:cNvPr>
            <p:cNvSpPr/>
            <p:nvPr/>
          </p:nvSpPr>
          <p:spPr>
            <a:xfrm>
              <a:off x="6035019" y="2155914"/>
              <a:ext cx="3934" cy="3934"/>
            </a:xfrm>
            <a:custGeom>
              <a:avLst/>
              <a:gdLst>
                <a:gd name="connsiteX0" fmla="*/ 0 w 3934"/>
                <a:gd name="connsiteY0" fmla="*/ 393 h 0"/>
                <a:gd name="connsiteX1" fmla="*/ 3148 w 3934"/>
                <a:gd name="connsiteY1" fmla="*/ 393 h 0"/>
                <a:gd name="connsiteX2" fmla="*/ 5901 w 3934"/>
                <a:gd name="connsiteY2" fmla="*/ 1574 h 0"/>
                <a:gd name="connsiteX3" fmla="*/ 5901 w 3934"/>
                <a:gd name="connsiteY3" fmla="*/ 393 h 0"/>
                <a:gd name="connsiteX4" fmla="*/ 3148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393"/>
                  </a:moveTo>
                  <a:lnTo>
                    <a:pt x="3148" y="393"/>
                  </a:lnTo>
                  <a:lnTo>
                    <a:pt x="5901" y="1574"/>
                  </a:lnTo>
                  <a:lnTo>
                    <a:pt x="5901" y="393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75" name="Freeform: Shape 3469">
              <a:extLst>
                <a:ext uri="{FF2B5EF4-FFF2-40B4-BE49-F238E27FC236}">
                  <a16:creationId xmlns:a16="http://schemas.microsoft.com/office/drawing/2014/main" id="{87D24B2F-AFC0-4CFB-8830-A2DFEDEFD3B2}"/>
                </a:ext>
              </a:extLst>
            </p:cNvPr>
            <p:cNvSpPr/>
            <p:nvPr/>
          </p:nvSpPr>
          <p:spPr>
            <a:xfrm>
              <a:off x="6012594" y="213899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147 w 0"/>
                <a:gd name="connsiteY1" fmla="*/ 787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147" y="787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76" name="Freeform: Shape 3470">
              <a:extLst>
                <a:ext uri="{FF2B5EF4-FFF2-40B4-BE49-F238E27FC236}">
                  <a16:creationId xmlns:a16="http://schemas.microsoft.com/office/drawing/2014/main" id="{4728C567-D9FA-4C58-8BD4-9F5CC8F1596E}"/>
                </a:ext>
              </a:extLst>
            </p:cNvPr>
            <p:cNvSpPr/>
            <p:nvPr/>
          </p:nvSpPr>
          <p:spPr>
            <a:xfrm>
              <a:off x="6016528" y="2130735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0 w 0"/>
                <a:gd name="connsiteY1" fmla="*/ 0 h 0"/>
                <a:gd name="connsiteX2" fmla="*/ 3147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0" y="0"/>
                  </a:lnTo>
                  <a:lnTo>
                    <a:pt x="314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77" name="Freeform: Shape 3471">
              <a:extLst>
                <a:ext uri="{FF2B5EF4-FFF2-40B4-BE49-F238E27FC236}">
                  <a16:creationId xmlns:a16="http://schemas.microsoft.com/office/drawing/2014/main" id="{5DA5F726-0234-48CB-8A41-6A0F1B083185}"/>
                </a:ext>
              </a:extLst>
            </p:cNvPr>
            <p:cNvSpPr/>
            <p:nvPr/>
          </p:nvSpPr>
          <p:spPr>
            <a:xfrm>
              <a:off x="5990955" y="2116572"/>
              <a:ext cx="3934" cy="3934"/>
            </a:xfrm>
            <a:custGeom>
              <a:avLst/>
              <a:gdLst>
                <a:gd name="connsiteX0" fmla="*/ 2754 w 3934"/>
                <a:gd name="connsiteY0" fmla="*/ 1967 h 0"/>
                <a:gd name="connsiteX1" fmla="*/ 0 w 3934"/>
                <a:gd name="connsiteY1" fmla="*/ 0 h 0"/>
                <a:gd name="connsiteX2" fmla="*/ 1573 w 3934"/>
                <a:gd name="connsiteY2" fmla="*/ 3147 h 0"/>
                <a:gd name="connsiteX3" fmla="*/ 4328 w 3934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2754" y="1967"/>
                  </a:moveTo>
                  <a:lnTo>
                    <a:pt x="0" y="0"/>
                  </a:lnTo>
                  <a:lnTo>
                    <a:pt x="1573" y="3147"/>
                  </a:lnTo>
                  <a:lnTo>
                    <a:pt x="432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78" name="Freeform: Shape 3472">
              <a:extLst>
                <a:ext uri="{FF2B5EF4-FFF2-40B4-BE49-F238E27FC236}">
                  <a16:creationId xmlns:a16="http://schemas.microsoft.com/office/drawing/2014/main" id="{C034DE09-C6F1-4E9F-88AC-6CC6C35913CE}"/>
                </a:ext>
              </a:extLst>
            </p:cNvPr>
            <p:cNvSpPr/>
            <p:nvPr/>
          </p:nvSpPr>
          <p:spPr>
            <a:xfrm>
              <a:off x="10051116" y="2234206"/>
              <a:ext cx="3934" cy="3934"/>
            </a:xfrm>
            <a:custGeom>
              <a:avLst/>
              <a:gdLst>
                <a:gd name="connsiteX0" fmla="*/ 3148 w 3934"/>
                <a:gd name="connsiteY0" fmla="*/ 5508 h 3934"/>
                <a:gd name="connsiteX1" fmla="*/ 5901 w 3934"/>
                <a:gd name="connsiteY1" fmla="*/ 3147 h 3934"/>
                <a:gd name="connsiteX2" fmla="*/ 5901 w 3934"/>
                <a:gd name="connsiteY2" fmla="*/ 0 h 3934"/>
                <a:gd name="connsiteX3" fmla="*/ 3148 w 3934"/>
                <a:gd name="connsiteY3" fmla="*/ 393 h 3934"/>
                <a:gd name="connsiteX4" fmla="*/ 0 w 3934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148" y="5508"/>
                  </a:moveTo>
                  <a:lnTo>
                    <a:pt x="5901" y="3147"/>
                  </a:lnTo>
                  <a:lnTo>
                    <a:pt x="5901" y="0"/>
                  </a:lnTo>
                  <a:lnTo>
                    <a:pt x="3148" y="393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79" name="Freeform: Shape 3473">
              <a:extLst>
                <a:ext uri="{FF2B5EF4-FFF2-40B4-BE49-F238E27FC236}">
                  <a16:creationId xmlns:a16="http://schemas.microsoft.com/office/drawing/2014/main" id="{CDD23C19-33E2-4752-8522-6053D986E865}"/>
                </a:ext>
              </a:extLst>
            </p:cNvPr>
            <p:cNvSpPr/>
            <p:nvPr/>
          </p:nvSpPr>
          <p:spPr>
            <a:xfrm>
              <a:off x="9967710" y="2223977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147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147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80" name="Freeform: Shape 3474">
              <a:extLst>
                <a:ext uri="{FF2B5EF4-FFF2-40B4-BE49-F238E27FC236}">
                  <a16:creationId xmlns:a16="http://schemas.microsoft.com/office/drawing/2014/main" id="{D399916B-3847-4C6B-A082-90E3B6FECC46}"/>
                </a:ext>
              </a:extLst>
            </p:cNvPr>
            <p:cNvSpPr/>
            <p:nvPr/>
          </p:nvSpPr>
          <p:spPr>
            <a:xfrm>
              <a:off x="9872894" y="2188175"/>
              <a:ext cx="3934" cy="3934"/>
            </a:xfrm>
            <a:custGeom>
              <a:avLst/>
              <a:gdLst>
                <a:gd name="connsiteX0" fmla="*/ 3148 w 3934"/>
                <a:gd name="connsiteY0" fmla="*/ 4328 h 3934"/>
                <a:gd name="connsiteX1" fmla="*/ 5901 w 3934"/>
                <a:gd name="connsiteY1" fmla="*/ 2754 h 3934"/>
                <a:gd name="connsiteX2" fmla="*/ 3148 w 3934"/>
                <a:gd name="connsiteY2" fmla="*/ 787 h 3934"/>
                <a:gd name="connsiteX3" fmla="*/ 0 w 3934"/>
                <a:gd name="connsiteY3" fmla="*/ 0 h 3934"/>
                <a:gd name="connsiteX4" fmla="*/ 394 w 3934"/>
                <a:gd name="connsiteY4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148" y="4328"/>
                  </a:moveTo>
                  <a:lnTo>
                    <a:pt x="5901" y="2754"/>
                  </a:lnTo>
                  <a:lnTo>
                    <a:pt x="3148" y="787"/>
                  </a:lnTo>
                  <a:lnTo>
                    <a:pt x="0" y="0"/>
                  </a:lnTo>
                  <a:lnTo>
                    <a:pt x="39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81" name="Freeform: Shape 3475">
              <a:extLst>
                <a:ext uri="{FF2B5EF4-FFF2-40B4-BE49-F238E27FC236}">
                  <a16:creationId xmlns:a16="http://schemas.microsoft.com/office/drawing/2014/main" id="{9F6E017C-6F19-4A2D-8CC2-BB18CF252043}"/>
                </a:ext>
              </a:extLst>
            </p:cNvPr>
            <p:cNvSpPr/>
            <p:nvPr/>
          </p:nvSpPr>
          <p:spPr>
            <a:xfrm>
              <a:off x="9862272" y="2180700"/>
              <a:ext cx="3934" cy="3934"/>
            </a:xfrm>
            <a:custGeom>
              <a:avLst/>
              <a:gdLst>
                <a:gd name="connsiteX0" fmla="*/ 5901 w 3934"/>
                <a:gd name="connsiteY0" fmla="*/ 4721 h 3934"/>
                <a:gd name="connsiteX1" fmla="*/ 3934 w 3934"/>
                <a:gd name="connsiteY1" fmla="*/ 1967 h 3934"/>
                <a:gd name="connsiteX2" fmla="*/ 1180 w 3934"/>
                <a:gd name="connsiteY2" fmla="*/ 787 h 3934"/>
                <a:gd name="connsiteX3" fmla="*/ 0 w 3934"/>
                <a:gd name="connsiteY3" fmla="*/ 0 h 3934"/>
                <a:gd name="connsiteX4" fmla="*/ 2754 w 3934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901" y="4721"/>
                  </a:moveTo>
                  <a:lnTo>
                    <a:pt x="3934" y="1967"/>
                  </a:lnTo>
                  <a:lnTo>
                    <a:pt x="1180" y="787"/>
                  </a:lnTo>
                  <a:lnTo>
                    <a:pt x="0" y="0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82" name="Freeform: Shape 3476">
              <a:extLst>
                <a:ext uri="{FF2B5EF4-FFF2-40B4-BE49-F238E27FC236}">
                  <a16:creationId xmlns:a16="http://schemas.microsoft.com/office/drawing/2014/main" id="{D58EA903-942B-4219-BAD3-AEBC0BD3C866}"/>
                </a:ext>
              </a:extLst>
            </p:cNvPr>
            <p:cNvSpPr/>
            <p:nvPr/>
          </p:nvSpPr>
          <p:spPr>
            <a:xfrm>
              <a:off x="10086917" y="2155521"/>
              <a:ext cx="15737" cy="19671"/>
            </a:xfrm>
            <a:custGeom>
              <a:avLst/>
              <a:gdLst>
                <a:gd name="connsiteX0" fmla="*/ 394 w 15737"/>
                <a:gd name="connsiteY0" fmla="*/ 20852 h 19671"/>
                <a:gd name="connsiteX1" fmla="*/ 3541 w 15737"/>
                <a:gd name="connsiteY1" fmla="*/ 20852 h 19671"/>
                <a:gd name="connsiteX2" fmla="*/ 6295 w 15737"/>
                <a:gd name="connsiteY2" fmla="*/ 18491 h 19671"/>
                <a:gd name="connsiteX3" fmla="*/ 7476 w 15737"/>
                <a:gd name="connsiteY3" fmla="*/ 15344 h 19671"/>
                <a:gd name="connsiteX4" fmla="*/ 9836 w 15737"/>
                <a:gd name="connsiteY4" fmla="*/ 12983 h 19671"/>
                <a:gd name="connsiteX5" fmla="*/ 12590 w 15737"/>
                <a:gd name="connsiteY5" fmla="*/ 9836 h 19671"/>
                <a:gd name="connsiteX6" fmla="*/ 11803 w 15737"/>
                <a:gd name="connsiteY6" fmla="*/ 7082 h 19671"/>
                <a:gd name="connsiteX7" fmla="*/ 13770 w 15737"/>
                <a:gd name="connsiteY7" fmla="*/ 3934 h 19671"/>
                <a:gd name="connsiteX8" fmla="*/ 15737 w 15737"/>
                <a:gd name="connsiteY8" fmla="*/ 1180 h 19671"/>
                <a:gd name="connsiteX9" fmla="*/ 12983 w 15737"/>
                <a:gd name="connsiteY9" fmla="*/ 0 h 19671"/>
                <a:gd name="connsiteX10" fmla="*/ 9836 w 15737"/>
                <a:gd name="connsiteY10" fmla="*/ 787 h 19671"/>
                <a:gd name="connsiteX11" fmla="*/ 8262 w 15737"/>
                <a:gd name="connsiteY11" fmla="*/ 3934 h 19671"/>
                <a:gd name="connsiteX12" fmla="*/ 5509 w 15737"/>
                <a:gd name="connsiteY12" fmla="*/ 5114 h 19671"/>
                <a:gd name="connsiteX13" fmla="*/ 4722 w 15737"/>
                <a:gd name="connsiteY13" fmla="*/ 5901 h 19671"/>
                <a:gd name="connsiteX14" fmla="*/ 3934 w 15737"/>
                <a:gd name="connsiteY14" fmla="*/ 8655 h 19671"/>
                <a:gd name="connsiteX15" fmla="*/ 3541 w 15737"/>
                <a:gd name="connsiteY15" fmla="*/ 11803 h 19671"/>
                <a:gd name="connsiteX16" fmla="*/ 394 w 15737"/>
                <a:gd name="connsiteY16" fmla="*/ 12196 h 19671"/>
                <a:gd name="connsiteX17" fmla="*/ 788 w 15737"/>
                <a:gd name="connsiteY17" fmla="*/ 15344 h 19671"/>
                <a:gd name="connsiteX18" fmla="*/ 0 w 15737"/>
                <a:gd name="connsiteY18" fmla="*/ 18098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5737" h="19671">
                  <a:moveTo>
                    <a:pt x="394" y="20852"/>
                  </a:moveTo>
                  <a:lnTo>
                    <a:pt x="3541" y="20852"/>
                  </a:lnTo>
                  <a:lnTo>
                    <a:pt x="6295" y="18491"/>
                  </a:lnTo>
                  <a:lnTo>
                    <a:pt x="7476" y="15344"/>
                  </a:lnTo>
                  <a:lnTo>
                    <a:pt x="9836" y="12983"/>
                  </a:lnTo>
                  <a:lnTo>
                    <a:pt x="12590" y="9836"/>
                  </a:lnTo>
                  <a:lnTo>
                    <a:pt x="11803" y="7082"/>
                  </a:lnTo>
                  <a:lnTo>
                    <a:pt x="13770" y="3934"/>
                  </a:lnTo>
                  <a:lnTo>
                    <a:pt x="15737" y="1180"/>
                  </a:lnTo>
                  <a:lnTo>
                    <a:pt x="12983" y="0"/>
                  </a:lnTo>
                  <a:lnTo>
                    <a:pt x="9836" y="787"/>
                  </a:lnTo>
                  <a:lnTo>
                    <a:pt x="8262" y="3934"/>
                  </a:lnTo>
                  <a:lnTo>
                    <a:pt x="5509" y="5114"/>
                  </a:lnTo>
                  <a:lnTo>
                    <a:pt x="4722" y="5901"/>
                  </a:lnTo>
                  <a:lnTo>
                    <a:pt x="3934" y="8655"/>
                  </a:lnTo>
                  <a:lnTo>
                    <a:pt x="3541" y="11803"/>
                  </a:lnTo>
                  <a:lnTo>
                    <a:pt x="394" y="12196"/>
                  </a:lnTo>
                  <a:lnTo>
                    <a:pt x="788" y="15344"/>
                  </a:lnTo>
                  <a:lnTo>
                    <a:pt x="0" y="1809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83" name="Freeform: Shape 3477">
              <a:extLst>
                <a:ext uri="{FF2B5EF4-FFF2-40B4-BE49-F238E27FC236}">
                  <a16:creationId xmlns:a16="http://schemas.microsoft.com/office/drawing/2014/main" id="{FA9F240A-CE0A-4E3E-8EAE-700AB7115FEE}"/>
                </a:ext>
              </a:extLst>
            </p:cNvPr>
            <p:cNvSpPr/>
            <p:nvPr/>
          </p:nvSpPr>
          <p:spPr>
            <a:xfrm>
              <a:off x="6950522" y="2161422"/>
              <a:ext cx="7869" cy="3934"/>
            </a:xfrm>
            <a:custGeom>
              <a:avLst/>
              <a:gdLst>
                <a:gd name="connsiteX0" fmla="*/ 5901 w 7868"/>
                <a:gd name="connsiteY0" fmla="*/ 787 h 0"/>
                <a:gd name="connsiteX1" fmla="*/ 8656 w 7868"/>
                <a:gd name="connsiteY1" fmla="*/ 1180 h 0"/>
                <a:gd name="connsiteX2" fmla="*/ 8656 w 7868"/>
                <a:gd name="connsiteY2" fmla="*/ 393 h 0"/>
                <a:gd name="connsiteX3" fmla="*/ 5508 w 7868"/>
                <a:gd name="connsiteY3" fmla="*/ 0 h 0"/>
                <a:gd name="connsiteX4" fmla="*/ 2754 w 7868"/>
                <a:gd name="connsiteY4" fmla="*/ 0 h 0"/>
                <a:gd name="connsiteX5" fmla="*/ 0 w 7868"/>
                <a:gd name="connsiteY5" fmla="*/ 0 h 0"/>
                <a:gd name="connsiteX6" fmla="*/ 2754 w 7868"/>
                <a:gd name="connsiteY6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5901" y="787"/>
                  </a:moveTo>
                  <a:lnTo>
                    <a:pt x="8656" y="1180"/>
                  </a:lnTo>
                  <a:lnTo>
                    <a:pt x="8656" y="393"/>
                  </a:lnTo>
                  <a:lnTo>
                    <a:pt x="5508" y="0"/>
                  </a:lnTo>
                  <a:lnTo>
                    <a:pt x="2754" y="0"/>
                  </a:lnTo>
                  <a:lnTo>
                    <a:pt x="0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84" name="Freeform: Shape 3478">
              <a:extLst>
                <a:ext uri="{FF2B5EF4-FFF2-40B4-BE49-F238E27FC236}">
                  <a16:creationId xmlns:a16="http://schemas.microsoft.com/office/drawing/2014/main" id="{9F9276E5-E266-4FD8-9D8A-D075FA715D55}"/>
                </a:ext>
              </a:extLst>
            </p:cNvPr>
            <p:cNvSpPr/>
            <p:nvPr/>
          </p:nvSpPr>
          <p:spPr>
            <a:xfrm>
              <a:off x="6918655" y="2153160"/>
              <a:ext cx="15737" cy="3934"/>
            </a:xfrm>
            <a:custGeom>
              <a:avLst/>
              <a:gdLst>
                <a:gd name="connsiteX0" fmla="*/ 5508 w 15737"/>
                <a:gd name="connsiteY0" fmla="*/ 2361 h 3934"/>
                <a:gd name="connsiteX1" fmla="*/ 8656 w 15737"/>
                <a:gd name="connsiteY1" fmla="*/ 3147 h 3934"/>
                <a:gd name="connsiteX2" fmla="*/ 11803 w 15737"/>
                <a:gd name="connsiteY2" fmla="*/ 3147 h 3934"/>
                <a:gd name="connsiteX3" fmla="*/ 14557 w 15737"/>
                <a:gd name="connsiteY3" fmla="*/ 3934 h 3934"/>
                <a:gd name="connsiteX4" fmla="*/ 17704 w 15737"/>
                <a:gd name="connsiteY4" fmla="*/ 5114 h 3934"/>
                <a:gd name="connsiteX5" fmla="*/ 17311 w 15737"/>
                <a:gd name="connsiteY5" fmla="*/ 4721 h 3934"/>
                <a:gd name="connsiteX6" fmla="*/ 14557 w 15737"/>
                <a:gd name="connsiteY6" fmla="*/ 3541 h 3934"/>
                <a:gd name="connsiteX7" fmla="*/ 11803 w 15737"/>
                <a:gd name="connsiteY7" fmla="*/ 3147 h 3934"/>
                <a:gd name="connsiteX8" fmla="*/ 8656 w 15737"/>
                <a:gd name="connsiteY8" fmla="*/ 2361 h 3934"/>
                <a:gd name="connsiteX9" fmla="*/ 5901 w 15737"/>
                <a:gd name="connsiteY9" fmla="*/ 1967 h 3934"/>
                <a:gd name="connsiteX10" fmla="*/ 2754 w 15737"/>
                <a:gd name="connsiteY10" fmla="*/ 1180 h 3934"/>
                <a:gd name="connsiteX11" fmla="*/ 0 w 15737"/>
                <a:gd name="connsiteY11" fmla="*/ 0 h 3934"/>
                <a:gd name="connsiteX12" fmla="*/ 2754 w 15737"/>
                <a:gd name="connsiteY12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3934">
                  <a:moveTo>
                    <a:pt x="5508" y="2361"/>
                  </a:moveTo>
                  <a:lnTo>
                    <a:pt x="8656" y="3147"/>
                  </a:lnTo>
                  <a:lnTo>
                    <a:pt x="11803" y="3147"/>
                  </a:lnTo>
                  <a:lnTo>
                    <a:pt x="14557" y="3934"/>
                  </a:lnTo>
                  <a:lnTo>
                    <a:pt x="17704" y="5114"/>
                  </a:lnTo>
                  <a:lnTo>
                    <a:pt x="17311" y="4721"/>
                  </a:lnTo>
                  <a:lnTo>
                    <a:pt x="14557" y="3541"/>
                  </a:lnTo>
                  <a:lnTo>
                    <a:pt x="11803" y="3147"/>
                  </a:lnTo>
                  <a:lnTo>
                    <a:pt x="8656" y="2361"/>
                  </a:lnTo>
                  <a:lnTo>
                    <a:pt x="5901" y="1967"/>
                  </a:lnTo>
                  <a:lnTo>
                    <a:pt x="2754" y="1180"/>
                  </a:lnTo>
                  <a:lnTo>
                    <a:pt x="0" y="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85" name="Freeform: Shape 3479">
              <a:extLst>
                <a:ext uri="{FF2B5EF4-FFF2-40B4-BE49-F238E27FC236}">
                  <a16:creationId xmlns:a16="http://schemas.microsoft.com/office/drawing/2014/main" id="{433CD5A7-1C99-4F61-9E42-DB171CD19377}"/>
                </a:ext>
              </a:extLst>
            </p:cNvPr>
            <p:cNvSpPr/>
            <p:nvPr/>
          </p:nvSpPr>
          <p:spPr>
            <a:xfrm>
              <a:off x="6405233" y="2185028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393 h 0"/>
                <a:gd name="connsiteX2" fmla="*/ 0 w 0"/>
                <a:gd name="connsiteY2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393"/>
                  </a:lnTo>
                  <a:lnTo>
                    <a:pt x="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86" name="Freeform: Shape 3480">
              <a:extLst>
                <a:ext uri="{FF2B5EF4-FFF2-40B4-BE49-F238E27FC236}">
                  <a16:creationId xmlns:a16="http://schemas.microsoft.com/office/drawing/2014/main" id="{083F2A6F-2958-425F-994B-11C333C87E37}"/>
                </a:ext>
              </a:extLst>
            </p:cNvPr>
            <p:cNvSpPr/>
            <p:nvPr/>
          </p:nvSpPr>
          <p:spPr>
            <a:xfrm>
              <a:off x="6023216" y="2054804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2754 w 0"/>
                <a:gd name="connsiteY1" fmla="*/ 2754 h 0"/>
                <a:gd name="connsiteX2" fmla="*/ 3541 w 0"/>
                <a:gd name="connsiteY2" fmla="*/ 393 h 0"/>
                <a:gd name="connsiteX3" fmla="*/ 787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2754" y="2754"/>
                  </a:lnTo>
                  <a:lnTo>
                    <a:pt x="3541" y="393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87" name="Freeform: Shape 3481">
              <a:extLst>
                <a:ext uri="{FF2B5EF4-FFF2-40B4-BE49-F238E27FC236}">
                  <a16:creationId xmlns:a16="http://schemas.microsoft.com/office/drawing/2014/main" id="{E51C3C0F-BA2A-4C87-87FD-460C7EE4D723}"/>
                </a:ext>
              </a:extLst>
            </p:cNvPr>
            <p:cNvSpPr/>
            <p:nvPr/>
          </p:nvSpPr>
          <p:spPr>
            <a:xfrm>
              <a:off x="9882336" y="2179913"/>
              <a:ext cx="153436" cy="133765"/>
            </a:xfrm>
            <a:custGeom>
              <a:avLst/>
              <a:gdLst>
                <a:gd name="connsiteX0" fmla="*/ 83407 w 153436"/>
                <a:gd name="connsiteY0" fmla="*/ 43670 h 133764"/>
                <a:gd name="connsiteX1" fmla="*/ 82620 w 153436"/>
                <a:gd name="connsiteY1" fmla="*/ 43277 h 133764"/>
                <a:gd name="connsiteX2" fmla="*/ 47999 w 153436"/>
                <a:gd name="connsiteY2" fmla="*/ 26753 h 133764"/>
                <a:gd name="connsiteX3" fmla="*/ 45244 w 153436"/>
                <a:gd name="connsiteY3" fmla="*/ 25179 h 133764"/>
                <a:gd name="connsiteX4" fmla="*/ 42490 w 153436"/>
                <a:gd name="connsiteY4" fmla="*/ 23212 h 133764"/>
                <a:gd name="connsiteX5" fmla="*/ 39343 w 153436"/>
                <a:gd name="connsiteY5" fmla="*/ 20852 h 133764"/>
                <a:gd name="connsiteX6" fmla="*/ 36589 w 153436"/>
                <a:gd name="connsiteY6" fmla="*/ 19278 h 133764"/>
                <a:gd name="connsiteX7" fmla="*/ 33835 w 153436"/>
                <a:gd name="connsiteY7" fmla="*/ 16917 h 133764"/>
                <a:gd name="connsiteX8" fmla="*/ 30687 w 153436"/>
                <a:gd name="connsiteY8" fmla="*/ 14557 h 133764"/>
                <a:gd name="connsiteX9" fmla="*/ 27934 w 153436"/>
                <a:gd name="connsiteY9" fmla="*/ 12983 h 133764"/>
                <a:gd name="connsiteX10" fmla="*/ 25180 w 153436"/>
                <a:gd name="connsiteY10" fmla="*/ 11409 h 133764"/>
                <a:gd name="connsiteX11" fmla="*/ 22032 w 153436"/>
                <a:gd name="connsiteY11" fmla="*/ 9442 h 133764"/>
                <a:gd name="connsiteX12" fmla="*/ 19278 w 153436"/>
                <a:gd name="connsiteY12" fmla="*/ 7475 h 133764"/>
                <a:gd name="connsiteX13" fmla="*/ 16131 w 153436"/>
                <a:gd name="connsiteY13" fmla="*/ 5508 h 133764"/>
                <a:gd name="connsiteX14" fmla="*/ 13377 w 153436"/>
                <a:gd name="connsiteY14" fmla="*/ 3934 h 133764"/>
                <a:gd name="connsiteX15" fmla="*/ 10623 w 153436"/>
                <a:gd name="connsiteY15" fmla="*/ 2361 h 133764"/>
                <a:gd name="connsiteX16" fmla="*/ 7476 w 153436"/>
                <a:gd name="connsiteY16" fmla="*/ 393 h 133764"/>
                <a:gd name="connsiteX17" fmla="*/ 4722 w 153436"/>
                <a:gd name="connsiteY17" fmla="*/ 0 h 133764"/>
                <a:gd name="connsiteX18" fmla="*/ 2755 w 153436"/>
                <a:gd name="connsiteY18" fmla="*/ 2754 h 133764"/>
                <a:gd name="connsiteX19" fmla="*/ 0 w 153436"/>
                <a:gd name="connsiteY19" fmla="*/ 1574 h 133764"/>
                <a:gd name="connsiteX20" fmla="*/ 1574 w 153436"/>
                <a:gd name="connsiteY20" fmla="*/ 4328 h 133764"/>
                <a:gd name="connsiteX21" fmla="*/ 1967 w 153436"/>
                <a:gd name="connsiteY21" fmla="*/ 7082 h 133764"/>
                <a:gd name="connsiteX22" fmla="*/ 3148 w 153436"/>
                <a:gd name="connsiteY22" fmla="*/ 9836 h 133764"/>
                <a:gd name="connsiteX23" fmla="*/ 5901 w 153436"/>
                <a:gd name="connsiteY23" fmla="*/ 12590 h 133764"/>
                <a:gd name="connsiteX24" fmla="*/ 8656 w 153436"/>
                <a:gd name="connsiteY24" fmla="*/ 14950 h 133764"/>
                <a:gd name="connsiteX25" fmla="*/ 11803 w 153436"/>
                <a:gd name="connsiteY25" fmla="*/ 17311 h 133764"/>
                <a:gd name="connsiteX26" fmla="*/ 24393 w 153436"/>
                <a:gd name="connsiteY26" fmla="*/ 38949 h 133764"/>
                <a:gd name="connsiteX27" fmla="*/ 24393 w 153436"/>
                <a:gd name="connsiteY27" fmla="*/ 39343 h 133764"/>
                <a:gd name="connsiteX28" fmla="*/ 26360 w 153436"/>
                <a:gd name="connsiteY28" fmla="*/ 42490 h 133764"/>
                <a:gd name="connsiteX29" fmla="*/ 26360 w 153436"/>
                <a:gd name="connsiteY29" fmla="*/ 42490 h 133764"/>
                <a:gd name="connsiteX30" fmla="*/ 31474 w 153436"/>
                <a:gd name="connsiteY30" fmla="*/ 51145 h 133764"/>
                <a:gd name="connsiteX31" fmla="*/ 31868 w 153436"/>
                <a:gd name="connsiteY31" fmla="*/ 51932 h 133764"/>
                <a:gd name="connsiteX32" fmla="*/ 30687 w 153436"/>
                <a:gd name="connsiteY32" fmla="*/ 54686 h 133764"/>
                <a:gd name="connsiteX33" fmla="*/ 28327 w 153436"/>
                <a:gd name="connsiteY33" fmla="*/ 57834 h 133764"/>
                <a:gd name="connsiteX34" fmla="*/ 29901 w 153436"/>
                <a:gd name="connsiteY34" fmla="*/ 60588 h 133764"/>
                <a:gd name="connsiteX35" fmla="*/ 32262 w 153436"/>
                <a:gd name="connsiteY35" fmla="*/ 63735 h 133764"/>
                <a:gd name="connsiteX36" fmla="*/ 33835 w 153436"/>
                <a:gd name="connsiteY36" fmla="*/ 66489 h 133764"/>
                <a:gd name="connsiteX37" fmla="*/ 36589 w 153436"/>
                <a:gd name="connsiteY37" fmla="*/ 68850 h 133764"/>
                <a:gd name="connsiteX38" fmla="*/ 38556 w 153436"/>
                <a:gd name="connsiteY38" fmla="*/ 74751 h 133764"/>
                <a:gd name="connsiteX39" fmla="*/ 36983 w 153436"/>
                <a:gd name="connsiteY39" fmla="*/ 77505 h 133764"/>
                <a:gd name="connsiteX40" fmla="*/ 36196 w 153436"/>
                <a:gd name="connsiteY40" fmla="*/ 77898 h 133764"/>
                <a:gd name="connsiteX41" fmla="*/ 33441 w 153436"/>
                <a:gd name="connsiteY41" fmla="*/ 77505 h 133764"/>
                <a:gd name="connsiteX42" fmla="*/ 30687 w 153436"/>
                <a:gd name="connsiteY42" fmla="*/ 77112 h 133764"/>
                <a:gd name="connsiteX43" fmla="*/ 27540 w 153436"/>
                <a:gd name="connsiteY43" fmla="*/ 75538 h 133764"/>
                <a:gd name="connsiteX44" fmla="*/ 24786 w 153436"/>
                <a:gd name="connsiteY44" fmla="*/ 76718 h 133764"/>
                <a:gd name="connsiteX45" fmla="*/ 21638 w 153436"/>
                <a:gd name="connsiteY45" fmla="*/ 75144 h 133764"/>
                <a:gd name="connsiteX46" fmla="*/ 18885 w 153436"/>
                <a:gd name="connsiteY46" fmla="*/ 73964 h 133764"/>
                <a:gd name="connsiteX47" fmla="*/ 15737 w 153436"/>
                <a:gd name="connsiteY47" fmla="*/ 72391 h 133764"/>
                <a:gd name="connsiteX48" fmla="*/ 12983 w 153436"/>
                <a:gd name="connsiteY48" fmla="*/ 70817 h 133764"/>
                <a:gd name="connsiteX49" fmla="*/ 10229 w 153436"/>
                <a:gd name="connsiteY49" fmla="*/ 72784 h 133764"/>
                <a:gd name="connsiteX50" fmla="*/ 11410 w 153436"/>
                <a:gd name="connsiteY50" fmla="*/ 75538 h 133764"/>
                <a:gd name="connsiteX51" fmla="*/ 14558 w 153436"/>
                <a:gd name="connsiteY51" fmla="*/ 77505 h 133764"/>
                <a:gd name="connsiteX52" fmla="*/ 17311 w 153436"/>
                <a:gd name="connsiteY52" fmla="*/ 79472 h 133764"/>
                <a:gd name="connsiteX53" fmla="*/ 20459 w 153436"/>
                <a:gd name="connsiteY53" fmla="*/ 81833 h 133764"/>
                <a:gd name="connsiteX54" fmla="*/ 19671 w 153436"/>
                <a:gd name="connsiteY54" fmla="*/ 84587 h 133764"/>
                <a:gd name="connsiteX55" fmla="*/ 19278 w 153436"/>
                <a:gd name="connsiteY55" fmla="*/ 87341 h 133764"/>
                <a:gd name="connsiteX56" fmla="*/ 18492 w 153436"/>
                <a:gd name="connsiteY56" fmla="*/ 89701 h 133764"/>
                <a:gd name="connsiteX57" fmla="*/ 17311 w 153436"/>
                <a:gd name="connsiteY57" fmla="*/ 90488 h 133764"/>
                <a:gd name="connsiteX58" fmla="*/ 15344 w 153436"/>
                <a:gd name="connsiteY58" fmla="*/ 90488 h 133764"/>
                <a:gd name="connsiteX59" fmla="*/ 12983 w 153436"/>
                <a:gd name="connsiteY59" fmla="*/ 93636 h 133764"/>
                <a:gd name="connsiteX60" fmla="*/ 10623 w 153436"/>
                <a:gd name="connsiteY60" fmla="*/ 93636 h 133764"/>
                <a:gd name="connsiteX61" fmla="*/ 10229 w 153436"/>
                <a:gd name="connsiteY61" fmla="*/ 96389 h 133764"/>
                <a:gd name="connsiteX62" fmla="*/ 12590 w 153436"/>
                <a:gd name="connsiteY62" fmla="*/ 99143 h 133764"/>
                <a:gd name="connsiteX63" fmla="*/ 13770 w 153436"/>
                <a:gd name="connsiteY63" fmla="*/ 101898 h 133764"/>
                <a:gd name="connsiteX64" fmla="*/ 14164 w 153436"/>
                <a:gd name="connsiteY64" fmla="*/ 105045 h 133764"/>
                <a:gd name="connsiteX65" fmla="*/ 15737 w 153436"/>
                <a:gd name="connsiteY65" fmla="*/ 107799 h 133764"/>
                <a:gd name="connsiteX66" fmla="*/ 18885 w 153436"/>
                <a:gd name="connsiteY66" fmla="*/ 109373 h 133764"/>
                <a:gd name="connsiteX67" fmla="*/ 21638 w 153436"/>
                <a:gd name="connsiteY67" fmla="*/ 111340 h 133764"/>
                <a:gd name="connsiteX68" fmla="*/ 24393 w 153436"/>
                <a:gd name="connsiteY68" fmla="*/ 112520 h 133764"/>
                <a:gd name="connsiteX69" fmla="*/ 33835 w 153436"/>
                <a:gd name="connsiteY69" fmla="*/ 129044 h 133764"/>
                <a:gd name="connsiteX70" fmla="*/ 33835 w 153436"/>
                <a:gd name="connsiteY70" fmla="*/ 129437 h 133764"/>
                <a:gd name="connsiteX71" fmla="*/ 35802 w 153436"/>
                <a:gd name="connsiteY71" fmla="*/ 132191 h 133764"/>
                <a:gd name="connsiteX72" fmla="*/ 38163 w 153436"/>
                <a:gd name="connsiteY72" fmla="*/ 134552 h 133764"/>
                <a:gd name="connsiteX73" fmla="*/ 40917 w 153436"/>
                <a:gd name="connsiteY73" fmla="*/ 135732 h 133764"/>
                <a:gd name="connsiteX74" fmla="*/ 43671 w 153436"/>
                <a:gd name="connsiteY74" fmla="*/ 134945 h 133764"/>
                <a:gd name="connsiteX75" fmla="*/ 44851 w 153436"/>
                <a:gd name="connsiteY75" fmla="*/ 133372 h 133764"/>
                <a:gd name="connsiteX76" fmla="*/ 47605 w 153436"/>
                <a:gd name="connsiteY76" fmla="*/ 131798 h 133764"/>
                <a:gd name="connsiteX77" fmla="*/ 46425 w 153436"/>
                <a:gd name="connsiteY77" fmla="*/ 130224 h 133764"/>
                <a:gd name="connsiteX78" fmla="*/ 49966 w 153436"/>
                <a:gd name="connsiteY78" fmla="*/ 123929 h 133764"/>
                <a:gd name="connsiteX79" fmla="*/ 52326 w 153436"/>
                <a:gd name="connsiteY79" fmla="*/ 124323 h 133764"/>
                <a:gd name="connsiteX80" fmla="*/ 55474 w 153436"/>
                <a:gd name="connsiteY80" fmla="*/ 124716 h 133764"/>
                <a:gd name="connsiteX81" fmla="*/ 58227 w 153436"/>
                <a:gd name="connsiteY81" fmla="*/ 125896 h 133764"/>
                <a:gd name="connsiteX82" fmla="*/ 60981 w 153436"/>
                <a:gd name="connsiteY82" fmla="*/ 124716 h 133764"/>
                <a:gd name="connsiteX83" fmla="*/ 60981 w 153436"/>
                <a:gd name="connsiteY83" fmla="*/ 122749 h 133764"/>
                <a:gd name="connsiteX84" fmla="*/ 112914 w 153436"/>
                <a:gd name="connsiteY84" fmla="*/ 116848 h 133764"/>
                <a:gd name="connsiteX85" fmla="*/ 113307 w 153436"/>
                <a:gd name="connsiteY85" fmla="*/ 117241 h 133764"/>
                <a:gd name="connsiteX86" fmla="*/ 116061 w 153436"/>
                <a:gd name="connsiteY86" fmla="*/ 116848 h 133764"/>
                <a:gd name="connsiteX87" fmla="*/ 113701 w 153436"/>
                <a:gd name="connsiteY87" fmla="*/ 93242 h 133764"/>
                <a:gd name="connsiteX88" fmla="*/ 125504 w 153436"/>
                <a:gd name="connsiteY88" fmla="*/ 83800 h 133764"/>
                <a:gd name="connsiteX89" fmla="*/ 128257 w 153436"/>
                <a:gd name="connsiteY89" fmla="*/ 85374 h 133764"/>
                <a:gd name="connsiteX90" fmla="*/ 134159 w 153436"/>
                <a:gd name="connsiteY90" fmla="*/ 85374 h 133764"/>
                <a:gd name="connsiteX91" fmla="*/ 136913 w 153436"/>
                <a:gd name="connsiteY91" fmla="*/ 85767 h 133764"/>
                <a:gd name="connsiteX92" fmla="*/ 135339 w 153436"/>
                <a:gd name="connsiteY92" fmla="*/ 83013 h 133764"/>
                <a:gd name="connsiteX93" fmla="*/ 138487 w 153436"/>
                <a:gd name="connsiteY93" fmla="*/ 83406 h 133764"/>
                <a:gd name="connsiteX94" fmla="*/ 141634 w 153436"/>
                <a:gd name="connsiteY94" fmla="*/ 83800 h 133764"/>
                <a:gd name="connsiteX95" fmla="*/ 144388 w 153436"/>
                <a:gd name="connsiteY95" fmla="*/ 81833 h 133764"/>
                <a:gd name="connsiteX96" fmla="*/ 143208 w 153436"/>
                <a:gd name="connsiteY96" fmla="*/ 79079 h 133764"/>
                <a:gd name="connsiteX97" fmla="*/ 146355 w 153436"/>
                <a:gd name="connsiteY97" fmla="*/ 77898 h 133764"/>
                <a:gd name="connsiteX98" fmla="*/ 149109 w 153436"/>
                <a:gd name="connsiteY98" fmla="*/ 77505 h 133764"/>
                <a:gd name="connsiteX99" fmla="*/ 151863 w 153436"/>
                <a:gd name="connsiteY99" fmla="*/ 77898 h 133764"/>
                <a:gd name="connsiteX100" fmla="*/ 152257 w 153436"/>
                <a:gd name="connsiteY100" fmla="*/ 74751 h 133764"/>
                <a:gd name="connsiteX101" fmla="*/ 155403 w 153436"/>
                <a:gd name="connsiteY101" fmla="*/ 72391 h 133764"/>
                <a:gd name="connsiteX102" fmla="*/ 152257 w 153436"/>
                <a:gd name="connsiteY102" fmla="*/ 70423 h 133764"/>
                <a:gd name="connsiteX103" fmla="*/ 151076 w 153436"/>
                <a:gd name="connsiteY103" fmla="*/ 71997 h 133764"/>
                <a:gd name="connsiteX104" fmla="*/ 149896 w 153436"/>
                <a:gd name="connsiteY104" fmla="*/ 74358 h 133764"/>
                <a:gd name="connsiteX105" fmla="*/ 149109 w 153436"/>
                <a:gd name="connsiteY105" fmla="*/ 74751 h 133764"/>
                <a:gd name="connsiteX106" fmla="*/ 145175 w 153436"/>
                <a:gd name="connsiteY106" fmla="*/ 72784 h 133764"/>
                <a:gd name="connsiteX107" fmla="*/ 143994 w 153436"/>
                <a:gd name="connsiteY107" fmla="*/ 71997 h 133764"/>
                <a:gd name="connsiteX108" fmla="*/ 141241 w 153436"/>
                <a:gd name="connsiteY108" fmla="*/ 69637 h 133764"/>
                <a:gd name="connsiteX109" fmla="*/ 138880 w 153436"/>
                <a:gd name="connsiteY109" fmla="*/ 66882 h 133764"/>
                <a:gd name="connsiteX110" fmla="*/ 137306 w 153436"/>
                <a:gd name="connsiteY110" fmla="*/ 64129 h 133764"/>
                <a:gd name="connsiteX111" fmla="*/ 140454 w 153436"/>
                <a:gd name="connsiteY111" fmla="*/ 64915 h 133764"/>
                <a:gd name="connsiteX112" fmla="*/ 137699 w 153436"/>
                <a:gd name="connsiteY112" fmla="*/ 63735 h 133764"/>
                <a:gd name="connsiteX113" fmla="*/ 134553 w 153436"/>
                <a:gd name="connsiteY113" fmla="*/ 62948 h 133764"/>
                <a:gd name="connsiteX114" fmla="*/ 131798 w 153436"/>
                <a:gd name="connsiteY114" fmla="*/ 60981 h 133764"/>
                <a:gd name="connsiteX115" fmla="*/ 129044 w 153436"/>
                <a:gd name="connsiteY115" fmla="*/ 58621 h 133764"/>
                <a:gd name="connsiteX116" fmla="*/ 127864 w 153436"/>
                <a:gd name="connsiteY116" fmla="*/ 55473 h 133764"/>
                <a:gd name="connsiteX117" fmla="*/ 126290 w 153436"/>
                <a:gd name="connsiteY117" fmla="*/ 52719 h 133764"/>
                <a:gd name="connsiteX118" fmla="*/ 126290 w 153436"/>
                <a:gd name="connsiteY118" fmla="*/ 44064 h 133764"/>
                <a:gd name="connsiteX119" fmla="*/ 125504 w 153436"/>
                <a:gd name="connsiteY119" fmla="*/ 41310 h 133764"/>
                <a:gd name="connsiteX120" fmla="*/ 122356 w 153436"/>
                <a:gd name="connsiteY120" fmla="*/ 38949 h 133764"/>
                <a:gd name="connsiteX121" fmla="*/ 121962 w 153436"/>
                <a:gd name="connsiteY121" fmla="*/ 41703 h 133764"/>
                <a:gd name="connsiteX122" fmla="*/ 121176 w 153436"/>
                <a:gd name="connsiteY122" fmla="*/ 44457 h 133764"/>
                <a:gd name="connsiteX123" fmla="*/ 119602 w 153436"/>
                <a:gd name="connsiteY123" fmla="*/ 47211 h 133764"/>
                <a:gd name="connsiteX124" fmla="*/ 119208 w 153436"/>
                <a:gd name="connsiteY124" fmla="*/ 49965 h 133764"/>
                <a:gd name="connsiteX125" fmla="*/ 117241 w 153436"/>
                <a:gd name="connsiteY125" fmla="*/ 52719 h 133764"/>
                <a:gd name="connsiteX126" fmla="*/ 114487 w 153436"/>
                <a:gd name="connsiteY126" fmla="*/ 52719 h 133764"/>
                <a:gd name="connsiteX127" fmla="*/ 111340 w 153436"/>
                <a:gd name="connsiteY127" fmla="*/ 52326 h 133764"/>
                <a:gd name="connsiteX128" fmla="*/ 108586 w 153436"/>
                <a:gd name="connsiteY128" fmla="*/ 51932 h 133764"/>
                <a:gd name="connsiteX129" fmla="*/ 105438 w 153436"/>
                <a:gd name="connsiteY129" fmla="*/ 51145 h 133764"/>
                <a:gd name="connsiteX130" fmla="*/ 102685 w 153436"/>
                <a:gd name="connsiteY130" fmla="*/ 49178 h 133764"/>
                <a:gd name="connsiteX131" fmla="*/ 99931 w 153436"/>
                <a:gd name="connsiteY131" fmla="*/ 46818 h 133764"/>
                <a:gd name="connsiteX132" fmla="*/ 96783 w 153436"/>
                <a:gd name="connsiteY132" fmla="*/ 48785 h 133764"/>
                <a:gd name="connsiteX133" fmla="*/ 95210 w 153436"/>
                <a:gd name="connsiteY133" fmla="*/ 46031 h 133764"/>
                <a:gd name="connsiteX134" fmla="*/ 92455 w 153436"/>
                <a:gd name="connsiteY134" fmla="*/ 45637 h 133764"/>
                <a:gd name="connsiteX135" fmla="*/ 90095 w 153436"/>
                <a:gd name="connsiteY135" fmla="*/ 46424 h 133764"/>
                <a:gd name="connsiteX136" fmla="*/ 83407 w 153436"/>
                <a:gd name="connsiteY136" fmla="*/ 43670 h 133764"/>
                <a:gd name="connsiteX137" fmla="*/ 83407 w 153436"/>
                <a:gd name="connsiteY137" fmla="*/ 43670 h 133764"/>
                <a:gd name="connsiteX138" fmla="*/ 48392 w 153436"/>
                <a:gd name="connsiteY138" fmla="*/ 103471 h 133764"/>
                <a:gd name="connsiteX139" fmla="*/ 51145 w 153436"/>
                <a:gd name="connsiteY139" fmla="*/ 100717 h 133764"/>
                <a:gd name="connsiteX140" fmla="*/ 51145 w 153436"/>
                <a:gd name="connsiteY140" fmla="*/ 100717 h 133764"/>
                <a:gd name="connsiteX141" fmla="*/ 48392 w 153436"/>
                <a:gd name="connsiteY141" fmla="*/ 103471 h 133764"/>
                <a:gd name="connsiteX142" fmla="*/ 46818 w 153436"/>
                <a:gd name="connsiteY142" fmla="*/ 106619 h 133764"/>
                <a:gd name="connsiteX143" fmla="*/ 44065 w 153436"/>
                <a:gd name="connsiteY143" fmla="*/ 105045 h 133764"/>
                <a:gd name="connsiteX144" fmla="*/ 46818 w 153436"/>
                <a:gd name="connsiteY144" fmla="*/ 106225 h 133764"/>
                <a:gd name="connsiteX145" fmla="*/ 48392 w 153436"/>
                <a:gd name="connsiteY145" fmla="*/ 103471 h 133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153436" h="133764">
                  <a:moveTo>
                    <a:pt x="83407" y="43670"/>
                  </a:moveTo>
                  <a:lnTo>
                    <a:pt x="82620" y="43277"/>
                  </a:lnTo>
                  <a:lnTo>
                    <a:pt x="47999" y="26753"/>
                  </a:lnTo>
                  <a:lnTo>
                    <a:pt x="45244" y="25179"/>
                  </a:lnTo>
                  <a:lnTo>
                    <a:pt x="42490" y="23212"/>
                  </a:lnTo>
                  <a:lnTo>
                    <a:pt x="39343" y="20852"/>
                  </a:lnTo>
                  <a:lnTo>
                    <a:pt x="36589" y="19278"/>
                  </a:lnTo>
                  <a:lnTo>
                    <a:pt x="33835" y="16917"/>
                  </a:lnTo>
                  <a:lnTo>
                    <a:pt x="30687" y="14557"/>
                  </a:lnTo>
                  <a:lnTo>
                    <a:pt x="27934" y="12983"/>
                  </a:lnTo>
                  <a:lnTo>
                    <a:pt x="25180" y="11409"/>
                  </a:lnTo>
                  <a:lnTo>
                    <a:pt x="22032" y="9442"/>
                  </a:lnTo>
                  <a:lnTo>
                    <a:pt x="19278" y="7475"/>
                  </a:lnTo>
                  <a:lnTo>
                    <a:pt x="16131" y="5508"/>
                  </a:lnTo>
                  <a:lnTo>
                    <a:pt x="13377" y="3934"/>
                  </a:lnTo>
                  <a:lnTo>
                    <a:pt x="10623" y="2361"/>
                  </a:lnTo>
                  <a:lnTo>
                    <a:pt x="7476" y="393"/>
                  </a:lnTo>
                  <a:lnTo>
                    <a:pt x="4722" y="0"/>
                  </a:lnTo>
                  <a:lnTo>
                    <a:pt x="2755" y="2754"/>
                  </a:lnTo>
                  <a:lnTo>
                    <a:pt x="0" y="1574"/>
                  </a:lnTo>
                  <a:lnTo>
                    <a:pt x="1574" y="4328"/>
                  </a:lnTo>
                  <a:lnTo>
                    <a:pt x="1967" y="7082"/>
                  </a:lnTo>
                  <a:lnTo>
                    <a:pt x="3148" y="9836"/>
                  </a:lnTo>
                  <a:lnTo>
                    <a:pt x="5901" y="12590"/>
                  </a:lnTo>
                  <a:lnTo>
                    <a:pt x="8656" y="14950"/>
                  </a:lnTo>
                  <a:lnTo>
                    <a:pt x="11803" y="17311"/>
                  </a:lnTo>
                  <a:lnTo>
                    <a:pt x="24393" y="38949"/>
                  </a:lnTo>
                  <a:lnTo>
                    <a:pt x="24393" y="39343"/>
                  </a:lnTo>
                  <a:lnTo>
                    <a:pt x="26360" y="42490"/>
                  </a:lnTo>
                  <a:lnTo>
                    <a:pt x="26360" y="42490"/>
                  </a:lnTo>
                  <a:lnTo>
                    <a:pt x="31474" y="51145"/>
                  </a:lnTo>
                  <a:lnTo>
                    <a:pt x="31868" y="51932"/>
                  </a:lnTo>
                  <a:lnTo>
                    <a:pt x="30687" y="54686"/>
                  </a:lnTo>
                  <a:lnTo>
                    <a:pt x="28327" y="57834"/>
                  </a:lnTo>
                  <a:lnTo>
                    <a:pt x="29901" y="60588"/>
                  </a:lnTo>
                  <a:lnTo>
                    <a:pt x="32262" y="63735"/>
                  </a:lnTo>
                  <a:lnTo>
                    <a:pt x="33835" y="66489"/>
                  </a:lnTo>
                  <a:lnTo>
                    <a:pt x="36589" y="68850"/>
                  </a:lnTo>
                  <a:lnTo>
                    <a:pt x="38556" y="74751"/>
                  </a:lnTo>
                  <a:lnTo>
                    <a:pt x="36983" y="77505"/>
                  </a:lnTo>
                  <a:lnTo>
                    <a:pt x="36196" y="77898"/>
                  </a:lnTo>
                  <a:lnTo>
                    <a:pt x="33441" y="77505"/>
                  </a:lnTo>
                  <a:lnTo>
                    <a:pt x="30687" y="77112"/>
                  </a:lnTo>
                  <a:lnTo>
                    <a:pt x="27540" y="75538"/>
                  </a:lnTo>
                  <a:lnTo>
                    <a:pt x="24786" y="76718"/>
                  </a:lnTo>
                  <a:lnTo>
                    <a:pt x="21638" y="75144"/>
                  </a:lnTo>
                  <a:lnTo>
                    <a:pt x="18885" y="73964"/>
                  </a:lnTo>
                  <a:lnTo>
                    <a:pt x="15737" y="72391"/>
                  </a:lnTo>
                  <a:lnTo>
                    <a:pt x="12983" y="70817"/>
                  </a:lnTo>
                  <a:lnTo>
                    <a:pt x="10229" y="72784"/>
                  </a:lnTo>
                  <a:lnTo>
                    <a:pt x="11410" y="75538"/>
                  </a:lnTo>
                  <a:lnTo>
                    <a:pt x="14558" y="77505"/>
                  </a:lnTo>
                  <a:lnTo>
                    <a:pt x="17311" y="79472"/>
                  </a:lnTo>
                  <a:lnTo>
                    <a:pt x="20459" y="81833"/>
                  </a:lnTo>
                  <a:lnTo>
                    <a:pt x="19671" y="84587"/>
                  </a:lnTo>
                  <a:lnTo>
                    <a:pt x="19278" y="87341"/>
                  </a:lnTo>
                  <a:lnTo>
                    <a:pt x="18492" y="89701"/>
                  </a:lnTo>
                  <a:lnTo>
                    <a:pt x="17311" y="90488"/>
                  </a:lnTo>
                  <a:lnTo>
                    <a:pt x="15344" y="90488"/>
                  </a:lnTo>
                  <a:lnTo>
                    <a:pt x="12983" y="93636"/>
                  </a:lnTo>
                  <a:lnTo>
                    <a:pt x="10623" y="93636"/>
                  </a:lnTo>
                  <a:lnTo>
                    <a:pt x="10229" y="96389"/>
                  </a:lnTo>
                  <a:lnTo>
                    <a:pt x="12590" y="99143"/>
                  </a:lnTo>
                  <a:lnTo>
                    <a:pt x="13770" y="101898"/>
                  </a:lnTo>
                  <a:lnTo>
                    <a:pt x="14164" y="105045"/>
                  </a:lnTo>
                  <a:lnTo>
                    <a:pt x="15737" y="107799"/>
                  </a:lnTo>
                  <a:lnTo>
                    <a:pt x="18885" y="109373"/>
                  </a:lnTo>
                  <a:lnTo>
                    <a:pt x="21638" y="111340"/>
                  </a:lnTo>
                  <a:lnTo>
                    <a:pt x="24393" y="112520"/>
                  </a:lnTo>
                  <a:lnTo>
                    <a:pt x="33835" y="129044"/>
                  </a:lnTo>
                  <a:lnTo>
                    <a:pt x="33835" y="129437"/>
                  </a:lnTo>
                  <a:lnTo>
                    <a:pt x="35802" y="132191"/>
                  </a:lnTo>
                  <a:lnTo>
                    <a:pt x="38163" y="134552"/>
                  </a:lnTo>
                  <a:lnTo>
                    <a:pt x="40917" y="135732"/>
                  </a:lnTo>
                  <a:lnTo>
                    <a:pt x="43671" y="134945"/>
                  </a:lnTo>
                  <a:lnTo>
                    <a:pt x="44851" y="133372"/>
                  </a:lnTo>
                  <a:lnTo>
                    <a:pt x="47605" y="131798"/>
                  </a:lnTo>
                  <a:lnTo>
                    <a:pt x="46425" y="130224"/>
                  </a:lnTo>
                  <a:lnTo>
                    <a:pt x="49966" y="123929"/>
                  </a:lnTo>
                  <a:lnTo>
                    <a:pt x="52326" y="124323"/>
                  </a:lnTo>
                  <a:lnTo>
                    <a:pt x="55474" y="124716"/>
                  </a:lnTo>
                  <a:lnTo>
                    <a:pt x="58227" y="125896"/>
                  </a:lnTo>
                  <a:lnTo>
                    <a:pt x="60981" y="124716"/>
                  </a:lnTo>
                  <a:lnTo>
                    <a:pt x="60981" y="122749"/>
                  </a:lnTo>
                  <a:lnTo>
                    <a:pt x="112914" y="116848"/>
                  </a:lnTo>
                  <a:lnTo>
                    <a:pt x="113307" y="117241"/>
                  </a:lnTo>
                  <a:lnTo>
                    <a:pt x="116061" y="116848"/>
                  </a:lnTo>
                  <a:lnTo>
                    <a:pt x="113701" y="93242"/>
                  </a:lnTo>
                  <a:lnTo>
                    <a:pt x="125504" y="83800"/>
                  </a:lnTo>
                  <a:lnTo>
                    <a:pt x="128257" y="85374"/>
                  </a:lnTo>
                  <a:lnTo>
                    <a:pt x="134159" y="85374"/>
                  </a:lnTo>
                  <a:lnTo>
                    <a:pt x="136913" y="85767"/>
                  </a:lnTo>
                  <a:lnTo>
                    <a:pt x="135339" y="83013"/>
                  </a:lnTo>
                  <a:lnTo>
                    <a:pt x="138487" y="83406"/>
                  </a:lnTo>
                  <a:lnTo>
                    <a:pt x="141634" y="83800"/>
                  </a:lnTo>
                  <a:lnTo>
                    <a:pt x="144388" y="81833"/>
                  </a:lnTo>
                  <a:lnTo>
                    <a:pt x="143208" y="79079"/>
                  </a:lnTo>
                  <a:lnTo>
                    <a:pt x="146355" y="77898"/>
                  </a:lnTo>
                  <a:lnTo>
                    <a:pt x="149109" y="77505"/>
                  </a:lnTo>
                  <a:lnTo>
                    <a:pt x="151863" y="77898"/>
                  </a:lnTo>
                  <a:lnTo>
                    <a:pt x="152257" y="74751"/>
                  </a:lnTo>
                  <a:lnTo>
                    <a:pt x="155403" y="72391"/>
                  </a:lnTo>
                  <a:lnTo>
                    <a:pt x="152257" y="70423"/>
                  </a:lnTo>
                  <a:lnTo>
                    <a:pt x="151076" y="71997"/>
                  </a:lnTo>
                  <a:lnTo>
                    <a:pt x="149896" y="74358"/>
                  </a:lnTo>
                  <a:lnTo>
                    <a:pt x="149109" y="74751"/>
                  </a:lnTo>
                  <a:lnTo>
                    <a:pt x="145175" y="72784"/>
                  </a:lnTo>
                  <a:lnTo>
                    <a:pt x="143994" y="71997"/>
                  </a:lnTo>
                  <a:lnTo>
                    <a:pt x="141241" y="69637"/>
                  </a:lnTo>
                  <a:lnTo>
                    <a:pt x="138880" y="66882"/>
                  </a:lnTo>
                  <a:lnTo>
                    <a:pt x="137306" y="64129"/>
                  </a:lnTo>
                  <a:lnTo>
                    <a:pt x="140454" y="64915"/>
                  </a:lnTo>
                  <a:lnTo>
                    <a:pt x="137699" y="63735"/>
                  </a:lnTo>
                  <a:lnTo>
                    <a:pt x="134553" y="62948"/>
                  </a:lnTo>
                  <a:lnTo>
                    <a:pt x="131798" y="60981"/>
                  </a:lnTo>
                  <a:lnTo>
                    <a:pt x="129044" y="58621"/>
                  </a:lnTo>
                  <a:lnTo>
                    <a:pt x="127864" y="55473"/>
                  </a:lnTo>
                  <a:lnTo>
                    <a:pt x="126290" y="52719"/>
                  </a:lnTo>
                  <a:lnTo>
                    <a:pt x="126290" y="44064"/>
                  </a:lnTo>
                  <a:lnTo>
                    <a:pt x="125504" y="41310"/>
                  </a:lnTo>
                  <a:lnTo>
                    <a:pt x="122356" y="38949"/>
                  </a:lnTo>
                  <a:lnTo>
                    <a:pt x="121962" y="41703"/>
                  </a:lnTo>
                  <a:lnTo>
                    <a:pt x="121176" y="44457"/>
                  </a:lnTo>
                  <a:lnTo>
                    <a:pt x="119602" y="47211"/>
                  </a:lnTo>
                  <a:lnTo>
                    <a:pt x="119208" y="49965"/>
                  </a:lnTo>
                  <a:lnTo>
                    <a:pt x="117241" y="52719"/>
                  </a:lnTo>
                  <a:lnTo>
                    <a:pt x="114487" y="52719"/>
                  </a:lnTo>
                  <a:lnTo>
                    <a:pt x="111340" y="52326"/>
                  </a:lnTo>
                  <a:lnTo>
                    <a:pt x="108586" y="51932"/>
                  </a:lnTo>
                  <a:lnTo>
                    <a:pt x="105438" y="51145"/>
                  </a:lnTo>
                  <a:lnTo>
                    <a:pt x="102685" y="49178"/>
                  </a:lnTo>
                  <a:lnTo>
                    <a:pt x="99931" y="46818"/>
                  </a:lnTo>
                  <a:lnTo>
                    <a:pt x="96783" y="48785"/>
                  </a:lnTo>
                  <a:lnTo>
                    <a:pt x="95210" y="46031"/>
                  </a:lnTo>
                  <a:lnTo>
                    <a:pt x="92455" y="45637"/>
                  </a:lnTo>
                  <a:lnTo>
                    <a:pt x="90095" y="46424"/>
                  </a:lnTo>
                  <a:lnTo>
                    <a:pt x="83407" y="43670"/>
                  </a:lnTo>
                  <a:lnTo>
                    <a:pt x="83407" y="43670"/>
                  </a:lnTo>
                  <a:close/>
                  <a:moveTo>
                    <a:pt x="48392" y="103471"/>
                  </a:moveTo>
                  <a:lnTo>
                    <a:pt x="51145" y="100717"/>
                  </a:lnTo>
                  <a:lnTo>
                    <a:pt x="51145" y="100717"/>
                  </a:lnTo>
                  <a:lnTo>
                    <a:pt x="48392" y="103471"/>
                  </a:lnTo>
                  <a:lnTo>
                    <a:pt x="46818" y="106619"/>
                  </a:lnTo>
                  <a:lnTo>
                    <a:pt x="44065" y="105045"/>
                  </a:lnTo>
                  <a:lnTo>
                    <a:pt x="46818" y="106225"/>
                  </a:lnTo>
                  <a:lnTo>
                    <a:pt x="48392" y="10347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88" name="Freeform: Shape 3482">
              <a:extLst>
                <a:ext uri="{FF2B5EF4-FFF2-40B4-BE49-F238E27FC236}">
                  <a16:creationId xmlns:a16="http://schemas.microsoft.com/office/drawing/2014/main" id="{F0115C40-5753-4135-8193-AC7353A57C8A}"/>
                </a:ext>
              </a:extLst>
            </p:cNvPr>
            <p:cNvSpPr/>
            <p:nvPr/>
          </p:nvSpPr>
          <p:spPr>
            <a:xfrm>
              <a:off x="10042461" y="2179127"/>
              <a:ext cx="31474" cy="35408"/>
            </a:xfrm>
            <a:custGeom>
              <a:avLst/>
              <a:gdLst>
                <a:gd name="connsiteX0" fmla="*/ 393 w 31474"/>
                <a:gd name="connsiteY0" fmla="*/ 32654 h 35408"/>
                <a:gd name="connsiteX1" fmla="*/ 0 w 31474"/>
                <a:gd name="connsiteY1" fmla="*/ 35408 h 35408"/>
                <a:gd name="connsiteX2" fmla="*/ 2754 w 31474"/>
                <a:gd name="connsiteY2" fmla="*/ 37376 h 35408"/>
                <a:gd name="connsiteX3" fmla="*/ 3934 w 31474"/>
                <a:gd name="connsiteY3" fmla="*/ 34621 h 35408"/>
                <a:gd name="connsiteX4" fmla="*/ 7081 w 31474"/>
                <a:gd name="connsiteY4" fmla="*/ 32654 h 35408"/>
                <a:gd name="connsiteX5" fmla="*/ 7869 w 31474"/>
                <a:gd name="connsiteY5" fmla="*/ 29900 h 35408"/>
                <a:gd name="connsiteX6" fmla="*/ 8655 w 31474"/>
                <a:gd name="connsiteY6" fmla="*/ 26753 h 35408"/>
                <a:gd name="connsiteX7" fmla="*/ 11409 w 31474"/>
                <a:gd name="connsiteY7" fmla="*/ 23606 h 35408"/>
                <a:gd name="connsiteX8" fmla="*/ 11409 w 31474"/>
                <a:gd name="connsiteY8" fmla="*/ 20852 h 35408"/>
                <a:gd name="connsiteX9" fmla="*/ 10229 w 31474"/>
                <a:gd name="connsiteY9" fmla="*/ 18098 h 35408"/>
                <a:gd name="connsiteX10" fmla="*/ 12982 w 31474"/>
                <a:gd name="connsiteY10" fmla="*/ 18884 h 35408"/>
                <a:gd name="connsiteX11" fmla="*/ 16130 w 31474"/>
                <a:gd name="connsiteY11" fmla="*/ 18491 h 35408"/>
                <a:gd name="connsiteX12" fmla="*/ 17704 w 31474"/>
                <a:gd name="connsiteY12" fmla="*/ 15344 h 35408"/>
                <a:gd name="connsiteX13" fmla="*/ 19671 w 31474"/>
                <a:gd name="connsiteY13" fmla="*/ 12590 h 35408"/>
                <a:gd name="connsiteX14" fmla="*/ 22818 w 31474"/>
                <a:gd name="connsiteY14" fmla="*/ 9442 h 35408"/>
                <a:gd name="connsiteX15" fmla="*/ 25573 w 31474"/>
                <a:gd name="connsiteY15" fmla="*/ 8655 h 35408"/>
                <a:gd name="connsiteX16" fmla="*/ 28719 w 31474"/>
                <a:gd name="connsiteY16" fmla="*/ 6295 h 35408"/>
                <a:gd name="connsiteX17" fmla="*/ 31474 w 31474"/>
                <a:gd name="connsiteY17" fmla="*/ 6688 h 35408"/>
                <a:gd name="connsiteX18" fmla="*/ 32261 w 31474"/>
                <a:gd name="connsiteY18" fmla="*/ 3541 h 35408"/>
                <a:gd name="connsiteX19" fmla="*/ 31080 w 31474"/>
                <a:gd name="connsiteY19" fmla="*/ 787 h 35408"/>
                <a:gd name="connsiteX20" fmla="*/ 29113 w 31474"/>
                <a:gd name="connsiteY20" fmla="*/ 0 h 35408"/>
                <a:gd name="connsiteX21" fmla="*/ 26359 w 31474"/>
                <a:gd name="connsiteY21" fmla="*/ 0 h 35408"/>
                <a:gd name="connsiteX22" fmla="*/ 23998 w 31474"/>
                <a:gd name="connsiteY22" fmla="*/ 2754 h 35408"/>
                <a:gd name="connsiteX23" fmla="*/ 22818 w 31474"/>
                <a:gd name="connsiteY23" fmla="*/ 5508 h 35408"/>
                <a:gd name="connsiteX24" fmla="*/ 19671 w 31474"/>
                <a:gd name="connsiteY24" fmla="*/ 8262 h 35408"/>
                <a:gd name="connsiteX25" fmla="*/ 16917 w 31474"/>
                <a:gd name="connsiteY25" fmla="*/ 8655 h 35408"/>
                <a:gd name="connsiteX26" fmla="*/ 13770 w 31474"/>
                <a:gd name="connsiteY26" fmla="*/ 8262 h 35408"/>
                <a:gd name="connsiteX27" fmla="*/ 11015 w 31474"/>
                <a:gd name="connsiteY27" fmla="*/ 5508 h 35408"/>
                <a:gd name="connsiteX28" fmla="*/ 7869 w 31474"/>
                <a:gd name="connsiteY28" fmla="*/ 3147 h 35408"/>
                <a:gd name="connsiteX29" fmla="*/ 7869 w 31474"/>
                <a:gd name="connsiteY29" fmla="*/ 5901 h 35408"/>
                <a:gd name="connsiteX30" fmla="*/ 10622 w 31474"/>
                <a:gd name="connsiteY30" fmla="*/ 8655 h 35408"/>
                <a:gd name="connsiteX31" fmla="*/ 8261 w 31474"/>
                <a:gd name="connsiteY31" fmla="*/ 11803 h 35408"/>
                <a:gd name="connsiteX32" fmla="*/ 8655 w 31474"/>
                <a:gd name="connsiteY32" fmla="*/ 14557 h 35408"/>
                <a:gd name="connsiteX33" fmla="*/ 5508 w 31474"/>
                <a:gd name="connsiteY33" fmla="*/ 14163 h 35408"/>
                <a:gd name="connsiteX34" fmla="*/ 5901 w 31474"/>
                <a:gd name="connsiteY34" fmla="*/ 17311 h 35408"/>
                <a:gd name="connsiteX35" fmla="*/ 4721 w 31474"/>
                <a:gd name="connsiteY35" fmla="*/ 20065 h 35408"/>
                <a:gd name="connsiteX36" fmla="*/ 2360 w 31474"/>
                <a:gd name="connsiteY36" fmla="*/ 22819 h 35408"/>
                <a:gd name="connsiteX37" fmla="*/ 787 w 31474"/>
                <a:gd name="connsiteY37" fmla="*/ 25966 h 35408"/>
                <a:gd name="connsiteX38" fmla="*/ 3934 w 31474"/>
                <a:gd name="connsiteY38" fmla="*/ 27933 h 35408"/>
                <a:gd name="connsiteX39" fmla="*/ 787 w 31474"/>
                <a:gd name="connsiteY39" fmla="*/ 29507 h 35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1474" h="35408">
                  <a:moveTo>
                    <a:pt x="393" y="32654"/>
                  </a:moveTo>
                  <a:lnTo>
                    <a:pt x="0" y="35408"/>
                  </a:lnTo>
                  <a:lnTo>
                    <a:pt x="2754" y="37376"/>
                  </a:lnTo>
                  <a:lnTo>
                    <a:pt x="3934" y="34621"/>
                  </a:lnTo>
                  <a:lnTo>
                    <a:pt x="7081" y="32654"/>
                  </a:lnTo>
                  <a:lnTo>
                    <a:pt x="7869" y="29900"/>
                  </a:lnTo>
                  <a:lnTo>
                    <a:pt x="8655" y="26753"/>
                  </a:lnTo>
                  <a:lnTo>
                    <a:pt x="11409" y="23606"/>
                  </a:lnTo>
                  <a:lnTo>
                    <a:pt x="11409" y="20852"/>
                  </a:lnTo>
                  <a:lnTo>
                    <a:pt x="10229" y="18098"/>
                  </a:lnTo>
                  <a:lnTo>
                    <a:pt x="12982" y="18884"/>
                  </a:lnTo>
                  <a:lnTo>
                    <a:pt x="16130" y="18491"/>
                  </a:lnTo>
                  <a:lnTo>
                    <a:pt x="17704" y="15344"/>
                  </a:lnTo>
                  <a:lnTo>
                    <a:pt x="19671" y="12590"/>
                  </a:lnTo>
                  <a:lnTo>
                    <a:pt x="22818" y="9442"/>
                  </a:lnTo>
                  <a:lnTo>
                    <a:pt x="25573" y="8655"/>
                  </a:lnTo>
                  <a:lnTo>
                    <a:pt x="28719" y="6295"/>
                  </a:lnTo>
                  <a:lnTo>
                    <a:pt x="31474" y="6688"/>
                  </a:lnTo>
                  <a:lnTo>
                    <a:pt x="32261" y="3541"/>
                  </a:lnTo>
                  <a:lnTo>
                    <a:pt x="31080" y="787"/>
                  </a:lnTo>
                  <a:lnTo>
                    <a:pt x="29113" y="0"/>
                  </a:lnTo>
                  <a:lnTo>
                    <a:pt x="26359" y="0"/>
                  </a:lnTo>
                  <a:lnTo>
                    <a:pt x="23998" y="2754"/>
                  </a:lnTo>
                  <a:lnTo>
                    <a:pt x="22818" y="5508"/>
                  </a:lnTo>
                  <a:lnTo>
                    <a:pt x="19671" y="8262"/>
                  </a:lnTo>
                  <a:lnTo>
                    <a:pt x="16917" y="8655"/>
                  </a:lnTo>
                  <a:lnTo>
                    <a:pt x="13770" y="8262"/>
                  </a:lnTo>
                  <a:lnTo>
                    <a:pt x="11015" y="5508"/>
                  </a:lnTo>
                  <a:lnTo>
                    <a:pt x="7869" y="3147"/>
                  </a:lnTo>
                  <a:lnTo>
                    <a:pt x="7869" y="5901"/>
                  </a:lnTo>
                  <a:lnTo>
                    <a:pt x="10622" y="8655"/>
                  </a:lnTo>
                  <a:lnTo>
                    <a:pt x="8261" y="11803"/>
                  </a:lnTo>
                  <a:lnTo>
                    <a:pt x="8655" y="14557"/>
                  </a:lnTo>
                  <a:lnTo>
                    <a:pt x="5508" y="14163"/>
                  </a:lnTo>
                  <a:lnTo>
                    <a:pt x="5901" y="17311"/>
                  </a:lnTo>
                  <a:lnTo>
                    <a:pt x="4721" y="20065"/>
                  </a:lnTo>
                  <a:lnTo>
                    <a:pt x="2360" y="22819"/>
                  </a:lnTo>
                  <a:lnTo>
                    <a:pt x="787" y="25966"/>
                  </a:lnTo>
                  <a:lnTo>
                    <a:pt x="3934" y="27933"/>
                  </a:lnTo>
                  <a:lnTo>
                    <a:pt x="787" y="2950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89" name="Freeform: Shape 3483">
              <a:extLst>
                <a:ext uri="{FF2B5EF4-FFF2-40B4-BE49-F238E27FC236}">
                  <a16:creationId xmlns:a16="http://schemas.microsoft.com/office/drawing/2014/main" id="{1C2B4682-0016-4530-B2FD-A2236C0FB435}"/>
                </a:ext>
              </a:extLst>
            </p:cNvPr>
            <p:cNvSpPr/>
            <p:nvPr/>
          </p:nvSpPr>
          <p:spPr>
            <a:xfrm>
              <a:off x="10018068" y="2212961"/>
              <a:ext cx="15737" cy="23606"/>
            </a:xfrm>
            <a:custGeom>
              <a:avLst/>
              <a:gdLst>
                <a:gd name="connsiteX0" fmla="*/ 788 w 15737"/>
                <a:gd name="connsiteY0" fmla="*/ 20065 h 23605"/>
                <a:gd name="connsiteX1" fmla="*/ 0 w 15737"/>
                <a:gd name="connsiteY1" fmla="*/ 23212 h 23605"/>
                <a:gd name="connsiteX2" fmla="*/ 2361 w 15737"/>
                <a:gd name="connsiteY2" fmla="*/ 25966 h 23605"/>
                <a:gd name="connsiteX3" fmla="*/ 5509 w 15737"/>
                <a:gd name="connsiteY3" fmla="*/ 25966 h 23605"/>
                <a:gd name="connsiteX4" fmla="*/ 4722 w 15737"/>
                <a:gd name="connsiteY4" fmla="*/ 23212 h 23605"/>
                <a:gd name="connsiteX5" fmla="*/ 4722 w 15737"/>
                <a:gd name="connsiteY5" fmla="*/ 20065 h 23605"/>
                <a:gd name="connsiteX6" fmla="*/ 6689 w 15737"/>
                <a:gd name="connsiteY6" fmla="*/ 17311 h 23605"/>
                <a:gd name="connsiteX7" fmla="*/ 7476 w 15737"/>
                <a:gd name="connsiteY7" fmla="*/ 14163 h 23605"/>
                <a:gd name="connsiteX8" fmla="*/ 8262 w 15737"/>
                <a:gd name="connsiteY8" fmla="*/ 11409 h 23605"/>
                <a:gd name="connsiteX9" fmla="*/ 9443 w 15737"/>
                <a:gd name="connsiteY9" fmla="*/ 8655 h 23605"/>
                <a:gd name="connsiteX10" fmla="*/ 12590 w 15737"/>
                <a:gd name="connsiteY10" fmla="*/ 7869 h 23605"/>
                <a:gd name="connsiteX11" fmla="*/ 14950 w 15737"/>
                <a:gd name="connsiteY11" fmla="*/ 5114 h 23605"/>
                <a:gd name="connsiteX12" fmla="*/ 18098 w 15737"/>
                <a:gd name="connsiteY12" fmla="*/ 5114 h 23605"/>
                <a:gd name="connsiteX13" fmla="*/ 17704 w 15737"/>
                <a:gd name="connsiteY13" fmla="*/ 1967 h 23605"/>
                <a:gd name="connsiteX14" fmla="*/ 14950 w 15737"/>
                <a:gd name="connsiteY14" fmla="*/ 2754 h 23605"/>
                <a:gd name="connsiteX15" fmla="*/ 11803 w 15737"/>
                <a:gd name="connsiteY15" fmla="*/ 2754 h 23605"/>
                <a:gd name="connsiteX16" fmla="*/ 8656 w 15737"/>
                <a:gd name="connsiteY16" fmla="*/ 1574 h 23605"/>
                <a:gd name="connsiteX17" fmla="*/ 5901 w 15737"/>
                <a:gd name="connsiteY17" fmla="*/ 0 h 23605"/>
                <a:gd name="connsiteX18" fmla="*/ 5115 w 15737"/>
                <a:gd name="connsiteY18" fmla="*/ 0 h 23605"/>
                <a:gd name="connsiteX19" fmla="*/ 4328 w 15737"/>
                <a:gd name="connsiteY19" fmla="*/ 3147 h 23605"/>
                <a:gd name="connsiteX20" fmla="*/ 4722 w 15737"/>
                <a:gd name="connsiteY20" fmla="*/ 5901 h 23605"/>
                <a:gd name="connsiteX21" fmla="*/ 3541 w 15737"/>
                <a:gd name="connsiteY21" fmla="*/ 8655 h 23605"/>
                <a:gd name="connsiteX22" fmla="*/ 3541 w 15737"/>
                <a:gd name="connsiteY22" fmla="*/ 11409 h 23605"/>
                <a:gd name="connsiteX23" fmla="*/ 3934 w 15737"/>
                <a:gd name="connsiteY23" fmla="*/ 14163 h 23605"/>
                <a:gd name="connsiteX24" fmla="*/ 2755 w 15737"/>
                <a:gd name="connsiteY24" fmla="*/ 17311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5737" h="23605">
                  <a:moveTo>
                    <a:pt x="788" y="20065"/>
                  </a:moveTo>
                  <a:lnTo>
                    <a:pt x="0" y="23212"/>
                  </a:lnTo>
                  <a:lnTo>
                    <a:pt x="2361" y="25966"/>
                  </a:lnTo>
                  <a:lnTo>
                    <a:pt x="5509" y="25966"/>
                  </a:lnTo>
                  <a:lnTo>
                    <a:pt x="4722" y="23212"/>
                  </a:lnTo>
                  <a:lnTo>
                    <a:pt x="4722" y="20065"/>
                  </a:lnTo>
                  <a:lnTo>
                    <a:pt x="6689" y="17311"/>
                  </a:lnTo>
                  <a:lnTo>
                    <a:pt x="7476" y="14163"/>
                  </a:lnTo>
                  <a:lnTo>
                    <a:pt x="8262" y="11409"/>
                  </a:lnTo>
                  <a:lnTo>
                    <a:pt x="9443" y="8655"/>
                  </a:lnTo>
                  <a:lnTo>
                    <a:pt x="12590" y="7869"/>
                  </a:lnTo>
                  <a:lnTo>
                    <a:pt x="14950" y="5114"/>
                  </a:lnTo>
                  <a:lnTo>
                    <a:pt x="18098" y="5114"/>
                  </a:lnTo>
                  <a:lnTo>
                    <a:pt x="17704" y="1967"/>
                  </a:lnTo>
                  <a:lnTo>
                    <a:pt x="14950" y="2754"/>
                  </a:lnTo>
                  <a:lnTo>
                    <a:pt x="11803" y="2754"/>
                  </a:lnTo>
                  <a:lnTo>
                    <a:pt x="8656" y="1574"/>
                  </a:lnTo>
                  <a:lnTo>
                    <a:pt x="5901" y="0"/>
                  </a:lnTo>
                  <a:lnTo>
                    <a:pt x="5115" y="0"/>
                  </a:lnTo>
                  <a:lnTo>
                    <a:pt x="4328" y="3147"/>
                  </a:lnTo>
                  <a:lnTo>
                    <a:pt x="4722" y="5901"/>
                  </a:lnTo>
                  <a:lnTo>
                    <a:pt x="3541" y="8655"/>
                  </a:lnTo>
                  <a:lnTo>
                    <a:pt x="3541" y="11409"/>
                  </a:lnTo>
                  <a:lnTo>
                    <a:pt x="3934" y="14163"/>
                  </a:lnTo>
                  <a:lnTo>
                    <a:pt x="2755" y="1731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90" name="Freeform: Shape 3484">
              <a:extLst>
                <a:ext uri="{FF2B5EF4-FFF2-40B4-BE49-F238E27FC236}">
                  <a16:creationId xmlns:a16="http://schemas.microsoft.com/office/drawing/2014/main" id="{30E4CDDF-C21B-4F7D-BA36-3E2FE9127AD3}"/>
                </a:ext>
              </a:extLst>
            </p:cNvPr>
            <p:cNvSpPr/>
            <p:nvPr/>
          </p:nvSpPr>
          <p:spPr>
            <a:xfrm>
              <a:off x="6291927" y="2322727"/>
              <a:ext cx="43277" cy="78685"/>
            </a:xfrm>
            <a:custGeom>
              <a:avLst/>
              <a:gdLst>
                <a:gd name="connsiteX0" fmla="*/ 1180 w 43276"/>
                <a:gd name="connsiteY0" fmla="*/ 13770 h 78685"/>
                <a:gd name="connsiteX1" fmla="*/ 0 w 43276"/>
                <a:gd name="connsiteY1" fmla="*/ 16524 h 78685"/>
                <a:gd name="connsiteX2" fmla="*/ 1180 w 43276"/>
                <a:gd name="connsiteY2" fmla="*/ 19671 h 78685"/>
                <a:gd name="connsiteX3" fmla="*/ 1967 w 43276"/>
                <a:gd name="connsiteY3" fmla="*/ 22425 h 78685"/>
                <a:gd name="connsiteX4" fmla="*/ 4721 w 43276"/>
                <a:gd name="connsiteY4" fmla="*/ 24786 h 78685"/>
                <a:gd name="connsiteX5" fmla="*/ 6295 w 43276"/>
                <a:gd name="connsiteY5" fmla="*/ 27540 h 78685"/>
                <a:gd name="connsiteX6" fmla="*/ 5901 w 43276"/>
                <a:gd name="connsiteY6" fmla="*/ 29900 h 78685"/>
                <a:gd name="connsiteX7" fmla="*/ 9049 w 43276"/>
                <a:gd name="connsiteY7" fmla="*/ 32261 h 78685"/>
                <a:gd name="connsiteX8" fmla="*/ 8655 w 43276"/>
                <a:gd name="connsiteY8" fmla="*/ 33048 h 78685"/>
                <a:gd name="connsiteX9" fmla="*/ 8655 w 43276"/>
                <a:gd name="connsiteY9" fmla="*/ 34228 h 78685"/>
                <a:gd name="connsiteX10" fmla="*/ 7081 w 43276"/>
                <a:gd name="connsiteY10" fmla="*/ 42097 h 78685"/>
                <a:gd name="connsiteX11" fmla="*/ 6688 w 43276"/>
                <a:gd name="connsiteY11" fmla="*/ 42097 h 78685"/>
                <a:gd name="connsiteX12" fmla="*/ 7869 w 43276"/>
                <a:gd name="connsiteY12" fmla="*/ 44851 h 78685"/>
                <a:gd name="connsiteX13" fmla="*/ 10622 w 43276"/>
                <a:gd name="connsiteY13" fmla="*/ 46031 h 78685"/>
                <a:gd name="connsiteX14" fmla="*/ 10622 w 43276"/>
                <a:gd name="connsiteY14" fmla="*/ 49178 h 78685"/>
                <a:gd name="connsiteX15" fmla="*/ 10622 w 43276"/>
                <a:gd name="connsiteY15" fmla="*/ 51932 h 78685"/>
                <a:gd name="connsiteX16" fmla="*/ 7869 w 43276"/>
                <a:gd name="connsiteY16" fmla="*/ 49965 h 78685"/>
                <a:gd name="connsiteX17" fmla="*/ 7869 w 43276"/>
                <a:gd name="connsiteY17" fmla="*/ 53113 h 78685"/>
                <a:gd name="connsiteX18" fmla="*/ 8262 w 43276"/>
                <a:gd name="connsiteY18" fmla="*/ 55866 h 78685"/>
                <a:gd name="connsiteX19" fmla="*/ 7081 w 43276"/>
                <a:gd name="connsiteY19" fmla="*/ 58620 h 78685"/>
                <a:gd name="connsiteX20" fmla="*/ 6688 w 43276"/>
                <a:gd name="connsiteY20" fmla="*/ 61375 h 78685"/>
                <a:gd name="connsiteX21" fmla="*/ 7081 w 43276"/>
                <a:gd name="connsiteY21" fmla="*/ 64128 h 78685"/>
                <a:gd name="connsiteX22" fmla="*/ 6295 w 43276"/>
                <a:gd name="connsiteY22" fmla="*/ 67276 h 78685"/>
                <a:gd name="connsiteX23" fmla="*/ 7081 w 43276"/>
                <a:gd name="connsiteY23" fmla="*/ 70423 h 78685"/>
                <a:gd name="connsiteX24" fmla="*/ 7869 w 43276"/>
                <a:gd name="connsiteY24" fmla="*/ 73177 h 78685"/>
                <a:gd name="connsiteX25" fmla="*/ 5114 w 43276"/>
                <a:gd name="connsiteY25" fmla="*/ 73571 h 78685"/>
                <a:gd name="connsiteX26" fmla="*/ 7475 w 43276"/>
                <a:gd name="connsiteY26" fmla="*/ 76325 h 78685"/>
                <a:gd name="connsiteX27" fmla="*/ 9836 w 43276"/>
                <a:gd name="connsiteY27" fmla="*/ 73571 h 78685"/>
                <a:gd name="connsiteX28" fmla="*/ 12589 w 43276"/>
                <a:gd name="connsiteY28" fmla="*/ 79472 h 78685"/>
                <a:gd name="connsiteX29" fmla="*/ 15343 w 43276"/>
                <a:gd name="connsiteY29" fmla="*/ 77898 h 78685"/>
                <a:gd name="connsiteX30" fmla="*/ 18098 w 43276"/>
                <a:gd name="connsiteY30" fmla="*/ 79472 h 78685"/>
                <a:gd name="connsiteX31" fmla="*/ 21245 w 43276"/>
                <a:gd name="connsiteY31" fmla="*/ 77898 h 78685"/>
                <a:gd name="connsiteX32" fmla="*/ 23999 w 43276"/>
                <a:gd name="connsiteY32" fmla="*/ 75144 h 78685"/>
                <a:gd name="connsiteX33" fmla="*/ 23606 w 43276"/>
                <a:gd name="connsiteY33" fmla="*/ 72390 h 78685"/>
                <a:gd name="connsiteX34" fmla="*/ 24786 w 43276"/>
                <a:gd name="connsiteY34" fmla="*/ 69243 h 78685"/>
                <a:gd name="connsiteX35" fmla="*/ 25573 w 43276"/>
                <a:gd name="connsiteY35" fmla="*/ 68456 h 78685"/>
                <a:gd name="connsiteX36" fmla="*/ 25179 w 43276"/>
                <a:gd name="connsiteY36" fmla="*/ 68063 h 78685"/>
                <a:gd name="connsiteX37" fmla="*/ 25966 w 43276"/>
                <a:gd name="connsiteY37" fmla="*/ 68456 h 78685"/>
                <a:gd name="connsiteX38" fmla="*/ 26359 w 43276"/>
                <a:gd name="connsiteY38" fmla="*/ 68456 h 78685"/>
                <a:gd name="connsiteX39" fmla="*/ 29507 w 43276"/>
                <a:gd name="connsiteY39" fmla="*/ 68063 h 78685"/>
                <a:gd name="connsiteX40" fmla="*/ 32261 w 43276"/>
                <a:gd name="connsiteY40" fmla="*/ 68850 h 78685"/>
                <a:gd name="connsiteX41" fmla="*/ 35408 w 43276"/>
                <a:gd name="connsiteY41" fmla="*/ 71210 h 78685"/>
                <a:gd name="connsiteX42" fmla="*/ 38162 w 43276"/>
                <a:gd name="connsiteY42" fmla="*/ 71210 h 78685"/>
                <a:gd name="connsiteX43" fmla="*/ 38949 w 43276"/>
                <a:gd name="connsiteY43" fmla="*/ 68456 h 78685"/>
                <a:gd name="connsiteX44" fmla="*/ 40523 w 43276"/>
                <a:gd name="connsiteY44" fmla="*/ 65702 h 78685"/>
                <a:gd name="connsiteX45" fmla="*/ 40129 w 43276"/>
                <a:gd name="connsiteY45" fmla="*/ 62948 h 78685"/>
                <a:gd name="connsiteX46" fmla="*/ 40916 w 43276"/>
                <a:gd name="connsiteY46" fmla="*/ 60194 h 78685"/>
                <a:gd name="connsiteX47" fmla="*/ 41310 w 43276"/>
                <a:gd name="connsiteY47" fmla="*/ 57047 h 78685"/>
                <a:gd name="connsiteX48" fmla="*/ 41310 w 43276"/>
                <a:gd name="connsiteY48" fmla="*/ 55473 h 78685"/>
                <a:gd name="connsiteX49" fmla="*/ 41310 w 43276"/>
                <a:gd name="connsiteY49" fmla="*/ 54686 h 78685"/>
                <a:gd name="connsiteX50" fmla="*/ 42883 w 43276"/>
                <a:gd name="connsiteY50" fmla="*/ 44064 h 78685"/>
                <a:gd name="connsiteX51" fmla="*/ 42490 w 43276"/>
                <a:gd name="connsiteY51" fmla="*/ 42097 h 78685"/>
                <a:gd name="connsiteX52" fmla="*/ 43277 w 43276"/>
                <a:gd name="connsiteY52" fmla="*/ 38949 h 78685"/>
                <a:gd name="connsiteX53" fmla="*/ 42490 w 43276"/>
                <a:gd name="connsiteY53" fmla="*/ 37769 h 78685"/>
                <a:gd name="connsiteX54" fmla="*/ 42096 w 43276"/>
                <a:gd name="connsiteY54" fmla="*/ 30687 h 78685"/>
                <a:gd name="connsiteX55" fmla="*/ 42490 w 43276"/>
                <a:gd name="connsiteY55" fmla="*/ 30687 h 78685"/>
                <a:gd name="connsiteX56" fmla="*/ 44850 w 43276"/>
                <a:gd name="connsiteY56" fmla="*/ 27540 h 78685"/>
                <a:gd name="connsiteX57" fmla="*/ 46031 w 43276"/>
                <a:gd name="connsiteY57" fmla="*/ 24786 h 78685"/>
                <a:gd name="connsiteX58" fmla="*/ 44457 w 43276"/>
                <a:gd name="connsiteY58" fmla="*/ 21638 h 78685"/>
                <a:gd name="connsiteX59" fmla="*/ 44064 w 43276"/>
                <a:gd name="connsiteY59" fmla="*/ 18884 h 78685"/>
                <a:gd name="connsiteX60" fmla="*/ 42490 w 43276"/>
                <a:gd name="connsiteY60" fmla="*/ 15737 h 78685"/>
                <a:gd name="connsiteX61" fmla="*/ 41703 w 43276"/>
                <a:gd name="connsiteY61" fmla="*/ 12983 h 78685"/>
                <a:gd name="connsiteX62" fmla="*/ 40523 w 43276"/>
                <a:gd name="connsiteY62" fmla="*/ 10622 h 78685"/>
                <a:gd name="connsiteX63" fmla="*/ 37769 w 43276"/>
                <a:gd name="connsiteY63" fmla="*/ 10229 h 78685"/>
                <a:gd name="connsiteX64" fmla="*/ 40523 w 43276"/>
                <a:gd name="connsiteY64" fmla="*/ 7869 h 78685"/>
                <a:gd name="connsiteX65" fmla="*/ 37769 w 43276"/>
                <a:gd name="connsiteY65" fmla="*/ 7082 h 78685"/>
                <a:gd name="connsiteX66" fmla="*/ 38556 w 43276"/>
                <a:gd name="connsiteY66" fmla="*/ 4328 h 78685"/>
                <a:gd name="connsiteX67" fmla="*/ 35408 w 43276"/>
                <a:gd name="connsiteY67" fmla="*/ 4721 h 78685"/>
                <a:gd name="connsiteX68" fmla="*/ 33835 w 43276"/>
                <a:gd name="connsiteY68" fmla="*/ 1574 h 78685"/>
                <a:gd name="connsiteX69" fmla="*/ 30687 w 43276"/>
                <a:gd name="connsiteY69" fmla="*/ 0 h 78685"/>
                <a:gd name="connsiteX70" fmla="*/ 27933 w 43276"/>
                <a:gd name="connsiteY70" fmla="*/ 787 h 78685"/>
                <a:gd name="connsiteX71" fmla="*/ 26359 w 43276"/>
                <a:gd name="connsiteY71" fmla="*/ 3541 h 78685"/>
                <a:gd name="connsiteX72" fmla="*/ 23212 w 43276"/>
                <a:gd name="connsiteY72" fmla="*/ 4328 h 78685"/>
                <a:gd name="connsiteX73" fmla="*/ 20065 w 43276"/>
                <a:gd name="connsiteY73" fmla="*/ 7475 h 78685"/>
                <a:gd name="connsiteX74" fmla="*/ 18098 w 43276"/>
                <a:gd name="connsiteY74" fmla="*/ 10229 h 78685"/>
                <a:gd name="connsiteX75" fmla="*/ 6688 w 43276"/>
                <a:gd name="connsiteY75" fmla="*/ 13770 h 78685"/>
                <a:gd name="connsiteX76" fmla="*/ 9442 w 43276"/>
                <a:gd name="connsiteY76" fmla="*/ 14163 h 78685"/>
                <a:gd name="connsiteX77" fmla="*/ 6688 w 43276"/>
                <a:gd name="connsiteY77" fmla="*/ 13770 h 78685"/>
                <a:gd name="connsiteX78" fmla="*/ 6688 w 43276"/>
                <a:gd name="connsiteY78" fmla="*/ 13770 h 78685"/>
                <a:gd name="connsiteX79" fmla="*/ 3934 w 43276"/>
                <a:gd name="connsiteY79" fmla="*/ 12983 h 78685"/>
                <a:gd name="connsiteX80" fmla="*/ 1180 w 43276"/>
                <a:gd name="connsiteY80" fmla="*/ 10622 h 7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43276" h="78685">
                  <a:moveTo>
                    <a:pt x="1180" y="13770"/>
                  </a:moveTo>
                  <a:lnTo>
                    <a:pt x="0" y="16524"/>
                  </a:lnTo>
                  <a:lnTo>
                    <a:pt x="1180" y="19671"/>
                  </a:lnTo>
                  <a:lnTo>
                    <a:pt x="1967" y="22425"/>
                  </a:lnTo>
                  <a:lnTo>
                    <a:pt x="4721" y="24786"/>
                  </a:lnTo>
                  <a:lnTo>
                    <a:pt x="6295" y="27540"/>
                  </a:lnTo>
                  <a:lnTo>
                    <a:pt x="5901" y="29900"/>
                  </a:lnTo>
                  <a:lnTo>
                    <a:pt x="9049" y="32261"/>
                  </a:lnTo>
                  <a:lnTo>
                    <a:pt x="8655" y="33048"/>
                  </a:lnTo>
                  <a:lnTo>
                    <a:pt x="8655" y="34228"/>
                  </a:lnTo>
                  <a:lnTo>
                    <a:pt x="7081" y="42097"/>
                  </a:lnTo>
                  <a:lnTo>
                    <a:pt x="6688" y="42097"/>
                  </a:lnTo>
                  <a:lnTo>
                    <a:pt x="7869" y="44851"/>
                  </a:lnTo>
                  <a:lnTo>
                    <a:pt x="10622" y="46031"/>
                  </a:lnTo>
                  <a:lnTo>
                    <a:pt x="10622" y="49178"/>
                  </a:lnTo>
                  <a:lnTo>
                    <a:pt x="10622" y="51932"/>
                  </a:lnTo>
                  <a:lnTo>
                    <a:pt x="7869" y="49965"/>
                  </a:lnTo>
                  <a:lnTo>
                    <a:pt x="7869" y="53113"/>
                  </a:lnTo>
                  <a:lnTo>
                    <a:pt x="8262" y="55866"/>
                  </a:lnTo>
                  <a:lnTo>
                    <a:pt x="7081" y="58620"/>
                  </a:lnTo>
                  <a:lnTo>
                    <a:pt x="6688" y="61375"/>
                  </a:lnTo>
                  <a:lnTo>
                    <a:pt x="7081" y="64128"/>
                  </a:lnTo>
                  <a:lnTo>
                    <a:pt x="6295" y="67276"/>
                  </a:lnTo>
                  <a:lnTo>
                    <a:pt x="7081" y="70423"/>
                  </a:lnTo>
                  <a:lnTo>
                    <a:pt x="7869" y="73177"/>
                  </a:lnTo>
                  <a:lnTo>
                    <a:pt x="5114" y="73571"/>
                  </a:lnTo>
                  <a:lnTo>
                    <a:pt x="7475" y="76325"/>
                  </a:lnTo>
                  <a:lnTo>
                    <a:pt x="9836" y="73571"/>
                  </a:lnTo>
                  <a:lnTo>
                    <a:pt x="12589" y="79472"/>
                  </a:lnTo>
                  <a:lnTo>
                    <a:pt x="15343" y="77898"/>
                  </a:lnTo>
                  <a:lnTo>
                    <a:pt x="18098" y="79472"/>
                  </a:lnTo>
                  <a:lnTo>
                    <a:pt x="21245" y="77898"/>
                  </a:lnTo>
                  <a:lnTo>
                    <a:pt x="23999" y="75144"/>
                  </a:lnTo>
                  <a:lnTo>
                    <a:pt x="23606" y="72390"/>
                  </a:lnTo>
                  <a:lnTo>
                    <a:pt x="24786" y="69243"/>
                  </a:lnTo>
                  <a:lnTo>
                    <a:pt x="25573" y="68456"/>
                  </a:lnTo>
                  <a:lnTo>
                    <a:pt x="25179" y="68063"/>
                  </a:lnTo>
                  <a:lnTo>
                    <a:pt x="25966" y="68456"/>
                  </a:lnTo>
                  <a:lnTo>
                    <a:pt x="26359" y="68456"/>
                  </a:lnTo>
                  <a:lnTo>
                    <a:pt x="29507" y="68063"/>
                  </a:lnTo>
                  <a:lnTo>
                    <a:pt x="32261" y="68850"/>
                  </a:lnTo>
                  <a:lnTo>
                    <a:pt x="35408" y="71210"/>
                  </a:lnTo>
                  <a:lnTo>
                    <a:pt x="38162" y="71210"/>
                  </a:lnTo>
                  <a:lnTo>
                    <a:pt x="38949" y="68456"/>
                  </a:lnTo>
                  <a:lnTo>
                    <a:pt x="40523" y="65702"/>
                  </a:lnTo>
                  <a:lnTo>
                    <a:pt x="40129" y="62948"/>
                  </a:lnTo>
                  <a:lnTo>
                    <a:pt x="40916" y="60194"/>
                  </a:lnTo>
                  <a:lnTo>
                    <a:pt x="41310" y="57047"/>
                  </a:lnTo>
                  <a:lnTo>
                    <a:pt x="41310" y="55473"/>
                  </a:lnTo>
                  <a:lnTo>
                    <a:pt x="41310" y="54686"/>
                  </a:lnTo>
                  <a:lnTo>
                    <a:pt x="42883" y="44064"/>
                  </a:lnTo>
                  <a:lnTo>
                    <a:pt x="42490" y="42097"/>
                  </a:lnTo>
                  <a:lnTo>
                    <a:pt x="43277" y="38949"/>
                  </a:lnTo>
                  <a:lnTo>
                    <a:pt x="42490" y="37769"/>
                  </a:lnTo>
                  <a:lnTo>
                    <a:pt x="42096" y="30687"/>
                  </a:lnTo>
                  <a:lnTo>
                    <a:pt x="42490" y="30687"/>
                  </a:lnTo>
                  <a:lnTo>
                    <a:pt x="44850" y="27540"/>
                  </a:lnTo>
                  <a:lnTo>
                    <a:pt x="46031" y="24786"/>
                  </a:lnTo>
                  <a:lnTo>
                    <a:pt x="44457" y="21638"/>
                  </a:lnTo>
                  <a:lnTo>
                    <a:pt x="44064" y="18884"/>
                  </a:lnTo>
                  <a:lnTo>
                    <a:pt x="42490" y="15737"/>
                  </a:lnTo>
                  <a:lnTo>
                    <a:pt x="41703" y="12983"/>
                  </a:lnTo>
                  <a:lnTo>
                    <a:pt x="40523" y="10622"/>
                  </a:lnTo>
                  <a:lnTo>
                    <a:pt x="37769" y="10229"/>
                  </a:lnTo>
                  <a:lnTo>
                    <a:pt x="40523" y="7869"/>
                  </a:lnTo>
                  <a:lnTo>
                    <a:pt x="37769" y="7082"/>
                  </a:lnTo>
                  <a:lnTo>
                    <a:pt x="38556" y="4328"/>
                  </a:lnTo>
                  <a:lnTo>
                    <a:pt x="35408" y="4721"/>
                  </a:lnTo>
                  <a:lnTo>
                    <a:pt x="33835" y="1574"/>
                  </a:lnTo>
                  <a:lnTo>
                    <a:pt x="30687" y="0"/>
                  </a:lnTo>
                  <a:lnTo>
                    <a:pt x="27933" y="787"/>
                  </a:lnTo>
                  <a:lnTo>
                    <a:pt x="26359" y="3541"/>
                  </a:lnTo>
                  <a:lnTo>
                    <a:pt x="23212" y="4328"/>
                  </a:lnTo>
                  <a:lnTo>
                    <a:pt x="20065" y="7475"/>
                  </a:lnTo>
                  <a:lnTo>
                    <a:pt x="18098" y="10229"/>
                  </a:lnTo>
                  <a:lnTo>
                    <a:pt x="6688" y="13770"/>
                  </a:lnTo>
                  <a:lnTo>
                    <a:pt x="9442" y="14163"/>
                  </a:lnTo>
                  <a:lnTo>
                    <a:pt x="6688" y="13770"/>
                  </a:lnTo>
                  <a:lnTo>
                    <a:pt x="6688" y="13770"/>
                  </a:lnTo>
                  <a:lnTo>
                    <a:pt x="3934" y="12983"/>
                  </a:lnTo>
                  <a:lnTo>
                    <a:pt x="1180" y="1062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91" name="Freeform: Shape 3485">
              <a:extLst>
                <a:ext uri="{FF2B5EF4-FFF2-40B4-BE49-F238E27FC236}">
                  <a16:creationId xmlns:a16="http://schemas.microsoft.com/office/drawing/2014/main" id="{CC722692-DAD5-435A-A1B5-3D725A9447DF}"/>
                </a:ext>
              </a:extLst>
            </p:cNvPr>
            <p:cNvSpPr/>
            <p:nvPr/>
          </p:nvSpPr>
          <p:spPr>
            <a:xfrm>
              <a:off x="6303729" y="2263320"/>
              <a:ext cx="23606" cy="55080"/>
            </a:xfrm>
            <a:custGeom>
              <a:avLst/>
              <a:gdLst>
                <a:gd name="connsiteX0" fmla="*/ 0 w 23605"/>
                <a:gd name="connsiteY0" fmla="*/ 26360 h 55079"/>
                <a:gd name="connsiteX1" fmla="*/ 787 w 23605"/>
                <a:gd name="connsiteY1" fmla="*/ 29507 h 55079"/>
                <a:gd name="connsiteX2" fmla="*/ 3934 w 23605"/>
                <a:gd name="connsiteY2" fmla="*/ 31081 h 55079"/>
                <a:gd name="connsiteX3" fmla="*/ 2360 w 23605"/>
                <a:gd name="connsiteY3" fmla="*/ 33835 h 55079"/>
                <a:gd name="connsiteX4" fmla="*/ 3540 w 23605"/>
                <a:gd name="connsiteY4" fmla="*/ 36589 h 55079"/>
                <a:gd name="connsiteX5" fmla="*/ 6295 w 23605"/>
                <a:gd name="connsiteY5" fmla="*/ 36589 h 55079"/>
                <a:gd name="connsiteX6" fmla="*/ 5901 w 23605"/>
                <a:gd name="connsiteY6" fmla="*/ 39736 h 55079"/>
                <a:gd name="connsiteX7" fmla="*/ 3147 w 23605"/>
                <a:gd name="connsiteY7" fmla="*/ 42490 h 55079"/>
                <a:gd name="connsiteX8" fmla="*/ 5901 w 23605"/>
                <a:gd name="connsiteY8" fmla="*/ 43670 h 55079"/>
                <a:gd name="connsiteX9" fmla="*/ 8655 w 23605"/>
                <a:gd name="connsiteY9" fmla="*/ 44851 h 55079"/>
                <a:gd name="connsiteX10" fmla="*/ 5901 w 23605"/>
                <a:gd name="connsiteY10" fmla="*/ 46818 h 55079"/>
                <a:gd name="connsiteX11" fmla="*/ 7869 w 23605"/>
                <a:gd name="connsiteY11" fmla="*/ 49572 h 55079"/>
                <a:gd name="connsiteX12" fmla="*/ 10622 w 23605"/>
                <a:gd name="connsiteY12" fmla="*/ 51145 h 55079"/>
                <a:gd name="connsiteX13" fmla="*/ 13376 w 23605"/>
                <a:gd name="connsiteY13" fmla="*/ 51932 h 55079"/>
                <a:gd name="connsiteX14" fmla="*/ 16130 w 23605"/>
                <a:gd name="connsiteY14" fmla="*/ 54686 h 55079"/>
                <a:gd name="connsiteX15" fmla="*/ 16524 w 23605"/>
                <a:gd name="connsiteY15" fmla="*/ 55080 h 55079"/>
                <a:gd name="connsiteX16" fmla="*/ 18098 w 23605"/>
                <a:gd name="connsiteY16" fmla="*/ 52326 h 55079"/>
                <a:gd name="connsiteX17" fmla="*/ 19671 w 23605"/>
                <a:gd name="connsiteY17" fmla="*/ 49572 h 55079"/>
                <a:gd name="connsiteX18" fmla="*/ 22425 w 23605"/>
                <a:gd name="connsiteY18" fmla="*/ 43670 h 55079"/>
                <a:gd name="connsiteX19" fmla="*/ 22425 w 23605"/>
                <a:gd name="connsiteY19" fmla="*/ 37769 h 55079"/>
                <a:gd name="connsiteX20" fmla="*/ 26753 w 23605"/>
                <a:gd name="connsiteY20" fmla="*/ 30294 h 55079"/>
                <a:gd name="connsiteX21" fmla="*/ 27146 w 23605"/>
                <a:gd name="connsiteY21" fmla="*/ 29114 h 55079"/>
                <a:gd name="connsiteX22" fmla="*/ 26753 w 23605"/>
                <a:gd name="connsiteY22" fmla="*/ 26360 h 55079"/>
                <a:gd name="connsiteX23" fmla="*/ 26753 w 23605"/>
                <a:gd name="connsiteY23" fmla="*/ 23212 h 55079"/>
                <a:gd name="connsiteX24" fmla="*/ 26359 w 23605"/>
                <a:gd name="connsiteY24" fmla="*/ 20458 h 55079"/>
                <a:gd name="connsiteX25" fmla="*/ 26359 w 23605"/>
                <a:gd name="connsiteY25" fmla="*/ 17311 h 55079"/>
                <a:gd name="connsiteX26" fmla="*/ 25573 w 23605"/>
                <a:gd name="connsiteY26" fmla="*/ 14557 h 55079"/>
                <a:gd name="connsiteX27" fmla="*/ 23999 w 23605"/>
                <a:gd name="connsiteY27" fmla="*/ 11803 h 55079"/>
                <a:gd name="connsiteX28" fmla="*/ 24786 w 23605"/>
                <a:gd name="connsiteY28" fmla="*/ 9049 h 55079"/>
                <a:gd name="connsiteX29" fmla="*/ 25179 w 23605"/>
                <a:gd name="connsiteY29" fmla="*/ 6295 h 55079"/>
                <a:gd name="connsiteX30" fmla="*/ 24786 w 23605"/>
                <a:gd name="connsiteY30" fmla="*/ 3147 h 55079"/>
                <a:gd name="connsiteX31" fmla="*/ 24392 w 23605"/>
                <a:gd name="connsiteY31" fmla="*/ 0 h 55079"/>
                <a:gd name="connsiteX32" fmla="*/ 21245 w 23605"/>
                <a:gd name="connsiteY32" fmla="*/ 787 h 55079"/>
                <a:gd name="connsiteX33" fmla="*/ 20458 w 23605"/>
                <a:gd name="connsiteY33" fmla="*/ 3541 h 55079"/>
                <a:gd name="connsiteX34" fmla="*/ 20851 w 23605"/>
                <a:gd name="connsiteY34" fmla="*/ 6295 h 55079"/>
                <a:gd name="connsiteX35" fmla="*/ 18491 w 23605"/>
                <a:gd name="connsiteY35" fmla="*/ 9442 h 55079"/>
                <a:gd name="connsiteX36" fmla="*/ 15737 w 23605"/>
                <a:gd name="connsiteY36" fmla="*/ 9442 h 55079"/>
                <a:gd name="connsiteX37" fmla="*/ 12589 w 23605"/>
                <a:gd name="connsiteY37" fmla="*/ 11803 h 55079"/>
                <a:gd name="connsiteX38" fmla="*/ 9836 w 23605"/>
                <a:gd name="connsiteY38" fmla="*/ 12196 h 55079"/>
                <a:gd name="connsiteX39" fmla="*/ 7081 w 23605"/>
                <a:gd name="connsiteY39" fmla="*/ 13376 h 55079"/>
                <a:gd name="connsiteX40" fmla="*/ 4328 w 23605"/>
                <a:gd name="connsiteY40" fmla="*/ 14950 h 55079"/>
                <a:gd name="connsiteX41" fmla="*/ 3147 w 23605"/>
                <a:gd name="connsiteY41" fmla="*/ 17704 h 55079"/>
                <a:gd name="connsiteX42" fmla="*/ 787 w 23605"/>
                <a:gd name="connsiteY42" fmla="*/ 20458 h 55079"/>
                <a:gd name="connsiteX43" fmla="*/ 1180 w 23605"/>
                <a:gd name="connsiteY43" fmla="*/ 22032 h 55079"/>
                <a:gd name="connsiteX44" fmla="*/ 1967 w 23605"/>
                <a:gd name="connsiteY44" fmla="*/ 23212 h 55079"/>
                <a:gd name="connsiteX45" fmla="*/ 2754 w 23605"/>
                <a:gd name="connsiteY45" fmla="*/ 25179 h 55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3605" h="55079">
                  <a:moveTo>
                    <a:pt x="0" y="26360"/>
                  </a:moveTo>
                  <a:lnTo>
                    <a:pt x="787" y="29507"/>
                  </a:lnTo>
                  <a:lnTo>
                    <a:pt x="3934" y="31081"/>
                  </a:lnTo>
                  <a:lnTo>
                    <a:pt x="2360" y="33835"/>
                  </a:lnTo>
                  <a:lnTo>
                    <a:pt x="3540" y="36589"/>
                  </a:lnTo>
                  <a:lnTo>
                    <a:pt x="6295" y="36589"/>
                  </a:lnTo>
                  <a:lnTo>
                    <a:pt x="5901" y="39736"/>
                  </a:lnTo>
                  <a:lnTo>
                    <a:pt x="3147" y="42490"/>
                  </a:lnTo>
                  <a:lnTo>
                    <a:pt x="5901" y="43670"/>
                  </a:lnTo>
                  <a:lnTo>
                    <a:pt x="8655" y="44851"/>
                  </a:lnTo>
                  <a:lnTo>
                    <a:pt x="5901" y="46818"/>
                  </a:lnTo>
                  <a:lnTo>
                    <a:pt x="7869" y="49572"/>
                  </a:lnTo>
                  <a:lnTo>
                    <a:pt x="10622" y="51145"/>
                  </a:lnTo>
                  <a:lnTo>
                    <a:pt x="13376" y="51932"/>
                  </a:lnTo>
                  <a:lnTo>
                    <a:pt x="16130" y="54686"/>
                  </a:lnTo>
                  <a:lnTo>
                    <a:pt x="16524" y="55080"/>
                  </a:lnTo>
                  <a:lnTo>
                    <a:pt x="18098" y="52326"/>
                  </a:lnTo>
                  <a:lnTo>
                    <a:pt x="19671" y="49572"/>
                  </a:lnTo>
                  <a:lnTo>
                    <a:pt x="22425" y="43670"/>
                  </a:lnTo>
                  <a:lnTo>
                    <a:pt x="22425" y="37769"/>
                  </a:lnTo>
                  <a:lnTo>
                    <a:pt x="26753" y="30294"/>
                  </a:lnTo>
                  <a:lnTo>
                    <a:pt x="27146" y="29114"/>
                  </a:lnTo>
                  <a:lnTo>
                    <a:pt x="26753" y="26360"/>
                  </a:lnTo>
                  <a:lnTo>
                    <a:pt x="26753" y="23212"/>
                  </a:lnTo>
                  <a:lnTo>
                    <a:pt x="26359" y="20458"/>
                  </a:lnTo>
                  <a:lnTo>
                    <a:pt x="26359" y="17311"/>
                  </a:lnTo>
                  <a:lnTo>
                    <a:pt x="25573" y="14557"/>
                  </a:lnTo>
                  <a:lnTo>
                    <a:pt x="23999" y="11803"/>
                  </a:lnTo>
                  <a:lnTo>
                    <a:pt x="24786" y="9049"/>
                  </a:lnTo>
                  <a:lnTo>
                    <a:pt x="25179" y="6295"/>
                  </a:lnTo>
                  <a:lnTo>
                    <a:pt x="24786" y="3147"/>
                  </a:lnTo>
                  <a:lnTo>
                    <a:pt x="24392" y="0"/>
                  </a:lnTo>
                  <a:lnTo>
                    <a:pt x="21245" y="787"/>
                  </a:lnTo>
                  <a:lnTo>
                    <a:pt x="20458" y="3541"/>
                  </a:lnTo>
                  <a:lnTo>
                    <a:pt x="20851" y="6295"/>
                  </a:lnTo>
                  <a:lnTo>
                    <a:pt x="18491" y="9442"/>
                  </a:lnTo>
                  <a:lnTo>
                    <a:pt x="15737" y="9442"/>
                  </a:lnTo>
                  <a:lnTo>
                    <a:pt x="12589" y="11803"/>
                  </a:lnTo>
                  <a:lnTo>
                    <a:pt x="9836" y="12196"/>
                  </a:lnTo>
                  <a:lnTo>
                    <a:pt x="7081" y="13376"/>
                  </a:lnTo>
                  <a:lnTo>
                    <a:pt x="4328" y="14950"/>
                  </a:lnTo>
                  <a:lnTo>
                    <a:pt x="3147" y="17704"/>
                  </a:lnTo>
                  <a:lnTo>
                    <a:pt x="787" y="20458"/>
                  </a:lnTo>
                  <a:lnTo>
                    <a:pt x="1180" y="22032"/>
                  </a:lnTo>
                  <a:lnTo>
                    <a:pt x="1967" y="23212"/>
                  </a:lnTo>
                  <a:lnTo>
                    <a:pt x="2754" y="2517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92" name="Freeform: Shape 3486">
              <a:extLst>
                <a:ext uri="{FF2B5EF4-FFF2-40B4-BE49-F238E27FC236}">
                  <a16:creationId xmlns:a16="http://schemas.microsoft.com/office/drawing/2014/main" id="{9AC90CBA-0A55-40AB-B7A8-47BFE92833D9}"/>
                </a:ext>
              </a:extLst>
            </p:cNvPr>
            <p:cNvSpPr/>
            <p:nvPr/>
          </p:nvSpPr>
          <p:spPr>
            <a:xfrm>
              <a:off x="10119179" y="2125227"/>
              <a:ext cx="7869" cy="11803"/>
            </a:xfrm>
            <a:custGeom>
              <a:avLst/>
              <a:gdLst>
                <a:gd name="connsiteX0" fmla="*/ 4721 w 7868"/>
                <a:gd name="connsiteY0" fmla="*/ 3147 h 11802"/>
                <a:gd name="connsiteX1" fmla="*/ 3147 w 7868"/>
                <a:gd name="connsiteY1" fmla="*/ 5901 h 11802"/>
                <a:gd name="connsiteX2" fmla="*/ 3147 w 7868"/>
                <a:gd name="connsiteY2" fmla="*/ 8655 h 11802"/>
                <a:gd name="connsiteX3" fmla="*/ 0 w 7868"/>
                <a:gd name="connsiteY3" fmla="*/ 8655 h 11802"/>
                <a:gd name="connsiteX4" fmla="*/ 2754 w 7868"/>
                <a:gd name="connsiteY4" fmla="*/ 11803 h 11802"/>
                <a:gd name="connsiteX5" fmla="*/ 5114 w 7868"/>
                <a:gd name="connsiteY5" fmla="*/ 8655 h 11802"/>
                <a:gd name="connsiteX6" fmla="*/ 6688 w 7868"/>
                <a:gd name="connsiteY6" fmla="*/ 5901 h 11802"/>
                <a:gd name="connsiteX7" fmla="*/ 7081 w 7868"/>
                <a:gd name="connsiteY7" fmla="*/ 3147 h 11802"/>
                <a:gd name="connsiteX8" fmla="*/ 7869 w 7868"/>
                <a:gd name="connsiteY8" fmla="*/ 0 h 11802"/>
                <a:gd name="connsiteX9" fmla="*/ 5901 w 7868"/>
                <a:gd name="connsiteY9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11802">
                  <a:moveTo>
                    <a:pt x="4721" y="3147"/>
                  </a:moveTo>
                  <a:lnTo>
                    <a:pt x="3147" y="5901"/>
                  </a:lnTo>
                  <a:lnTo>
                    <a:pt x="3147" y="8655"/>
                  </a:lnTo>
                  <a:lnTo>
                    <a:pt x="0" y="8655"/>
                  </a:lnTo>
                  <a:lnTo>
                    <a:pt x="2754" y="11803"/>
                  </a:lnTo>
                  <a:lnTo>
                    <a:pt x="5114" y="8655"/>
                  </a:lnTo>
                  <a:lnTo>
                    <a:pt x="6688" y="5901"/>
                  </a:lnTo>
                  <a:lnTo>
                    <a:pt x="7081" y="3147"/>
                  </a:lnTo>
                  <a:lnTo>
                    <a:pt x="7869" y="0"/>
                  </a:lnTo>
                  <a:lnTo>
                    <a:pt x="590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93" name="Freeform: Shape 3487">
              <a:extLst>
                <a:ext uri="{FF2B5EF4-FFF2-40B4-BE49-F238E27FC236}">
                  <a16:creationId xmlns:a16="http://schemas.microsoft.com/office/drawing/2014/main" id="{A1732D8D-B8B1-434A-9197-FD3B7C683F09}"/>
                </a:ext>
              </a:extLst>
            </p:cNvPr>
            <p:cNvSpPr/>
            <p:nvPr/>
          </p:nvSpPr>
          <p:spPr>
            <a:xfrm>
              <a:off x="10130982" y="2102802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2754 h 0"/>
                <a:gd name="connsiteX2" fmla="*/ 314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2754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94" name="Freeform: Shape 3488">
              <a:extLst>
                <a:ext uri="{FF2B5EF4-FFF2-40B4-BE49-F238E27FC236}">
                  <a16:creationId xmlns:a16="http://schemas.microsoft.com/office/drawing/2014/main" id="{905F6546-C0F9-43C3-BAAB-4A973FC1A7F0}"/>
                </a:ext>
              </a:extLst>
            </p:cNvPr>
            <p:cNvSpPr/>
            <p:nvPr/>
          </p:nvSpPr>
          <p:spPr>
            <a:xfrm>
              <a:off x="10128621" y="2092573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573 w 0"/>
                <a:gd name="connsiteY1" fmla="*/ 1967 h 0"/>
                <a:gd name="connsiteX2" fmla="*/ 3148 w 0"/>
                <a:gd name="connsiteY2" fmla="*/ 2361 h 0"/>
                <a:gd name="connsiteX3" fmla="*/ 2754 w 0"/>
                <a:gd name="connsiteY3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573" y="1967"/>
                  </a:lnTo>
                  <a:lnTo>
                    <a:pt x="3148" y="2361"/>
                  </a:lnTo>
                  <a:lnTo>
                    <a:pt x="275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95" name="Freeform: Shape 3489">
              <a:extLst>
                <a:ext uri="{FF2B5EF4-FFF2-40B4-BE49-F238E27FC236}">
                  <a16:creationId xmlns:a16="http://schemas.microsoft.com/office/drawing/2014/main" id="{27C8ADC1-10E2-4B2A-A45E-F3EC1C70BBD4}"/>
                </a:ext>
              </a:extLst>
            </p:cNvPr>
            <p:cNvSpPr/>
            <p:nvPr/>
          </p:nvSpPr>
          <p:spPr>
            <a:xfrm>
              <a:off x="10132555" y="2066213"/>
              <a:ext cx="3934" cy="3934"/>
            </a:xfrm>
            <a:custGeom>
              <a:avLst/>
              <a:gdLst>
                <a:gd name="connsiteX0" fmla="*/ 1573 w 0"/>
                <a:gd name="connsiteY0" fmla="*/ 0 h 3934"/>
                <a:gd name="connsiteX1" fmla="*/ 394 w 0"/>
                <a:gd name="connsiteY1" fmla="*/ 2754 h 3934"/>
                <a:gd name="connsiteX2" fmla="*/ 0 w 0"/>
                <a:gd name="connsiteY2" fmla="*/ 5901 h 3934"/>
                <a:gd name="connsiteX3" fmla="*/ 2754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573" y="0"/>
                  </a:moveTo>
                  <a:lnTo>
                    <a:pt x="394" y="2754"/>
                  </a:lnTo>
                  <a:lnTo>
                    <a:pt x="0" y="5901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96" name="Freeform: Shape 3490">
              <a:extLst>
                <a:ext uri="{FF2B5EF4-FFF2-40B4-BE49-F238E27FC236}">
                  <a16:creationId xmlns:a16="http://schemas.microsoft.com/office/drawing/2014/main" id="{844D0AB5-31B8-4A91-BD4F-81F368C337FE}"/>
                </a:ext>
              </a:extLst>
            </p:cNvPr>
            <p:cNvSpPr/>
            <p:nvPr/>
          </p:nvSpPr>
          <p:spPr>
            <a:xfrm>
              <a:off x="10134129" y="2057558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0 h 0"/>
                <a:gd name="connsiteX2" fmla="*/ 3148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0"/>
                  </a:lnTo>
                  <a:lnTo>
                    <a:pt x="314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97" name="Freeform: Shape 3491">
              <a:extLst>
                <a:ext uri="{FF2B5EF4-FFF2-40B4-BE49-F238E27FC236}">
                  <a16:creationId xmlns:a16="http://schemas.microsoft.com/office/drawing/2014/main" id="{40E9158A-114C-4D8E-A173-936C1C8198AB}"/>
                </a:ext>
              </a:extLst>
            </p:cNvPr>
            <p:cNvSpPr/>
            <p:nvPr/>
          </p:nvSpPr>
          <p:spPr>
            <a:xfrm>
              <a:off x="10131375" y="2041821"/>
              <a:ext cx="7869" cy="11803"/>
            </a:xfrm>
            <a:custGeom>
              <a:avLst/>
              <a:gdLst>
                <a:gd name="connsiteX0" fmla="*/ 7869 w 7868"/>
                <a:gd name="connsiteY0" fmla="*/ 9836 h 11802"/>
                <a:gd name="connsiteX1" fmla="*/ 4721 w 7868"/>
                <a:gd name="connsiteY1" fmla="*/ 7082 h 11802"/>
                <a:gd name="connsiteX2" fmla="*/ 3934 w 7868"/>
                <a:gd name="connsiteY2" fmla="*/ 4328 h 11802"/>
                <a:gd name="connsiteX3" fmla="*/ 3148 w 7868"/>
                <a:gd name="connsiteY3" fmla="*/ 1180 h 11802"/>
                <a:gd name="connsiteX4" fmla="*/ 0 w 7868"/>
                <a:gd name="connsiteY4" fmla="*/ 0 h 11802"/>
                <a:gd name="connsiteX5" fmla="*/ 787 w 7868"/>
                <a:gd name="connsiteY5" fmla="*/ 3147 h 11802"/>
                <a:gd name="connsiteX6" fmla="*/ 1574 w 7868"/>
                <a:gd name="connsiteY6" fmla="*/ 5901 h 11802"/>
                <a:gd name="connsiteX7" fmla="*/ 1574 w 7868"/>
                <a:gd name="connsiteY7" fmla="*/ 8655 h 11802"/>
                <a:gd name="connsiteX8" fmla="*/ 3148 w 7868"/>
                <a:gd name="connsiteY8" fmla="*/ 11803 h 11802"/>
                <a:gd name="connsiteX9" fmla="*/ 6295 w 7868"/>
                <a:gd name="connsiteY9" fmla="*/ 1259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11802">
                  <a:moveTo>
                    <a:pt x="7869" y="9836"/>
                  </a:moveTo>
                  <a:lnTo>
                    <a:pt x="4721" y="7082"/>
                  </a:lnTo>
                  <a:lnTo>
                    <a:pt x="3934" y="4328"/>
                  </a:lnTo>
                  <a:lnTo>
                    <a:pt x="3148" y="1180"/>
                  </a:lnTo>
                  <a:lnTo>
                    <a:pt x="0" y="0"/>
                  </a:lnTo>
                  <a:lnTo>
                    <a:pt x="787" y="3147"/>
                  </a:lnTo>
                  <a:lnTo>
                    <a:pt x="1574" y="5901"/>
                  </a:lnTo>
                  <a:lnTo>
                    <a:pt x="1574" y="8655"/>
                  </a:lnTo>
                  <a:lnTo>
                    <a:pt x="3148" y="11803"/>
                  </a:lnTo>
                  <a:lnTo>
                    <a:pt x="6295" y="1259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98" name="Freeform: Shape 3492">
              <a:extLst>
                <a:ext uri="{FF2B5EF4-FFF2-40B4-BE49-F238E27FC236}">
                  <a16:creationId xmlns:a16="http://schemas.microsoft.com/office/drawing/2014/main" id="{AB2327FA-3491-407B-893B-154CE36987B5}"/>
                </a:ext>
              </a:extLst>
            </p:cNvPr>
            <p:cNvSpPr/>
            <p:nvPr/>
          </p:nvSpPr>
          <p:spPr>
            <a:xfrm>
              <a:off x="10117605" y="2035919"/>
              <a:ext cx="3934" cy="3934"/>
            </a:xfrm>
            <a:custGeom>
              <a:avLst/>
              <a:gdLst>
                <a:gd name="connsiteX0" fmla="*/ 787 w 0"/>
                <a:gd name="connsiteY0" fmla="*/ 3147 h 0"/>
                <a:gd name="connsiteX1" fmla="*/ 1180 w 0"/>
                <a:gd name="connsiteY1" fmla="*/ 314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3147"/>
                  </a:moveTo>
                  <a:lnTo>
                    <a:pt x="1180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99" name="Freeform: Shape 3493">
              <a:extLst>
                <a:ext uri="{FF2B5EF4-FFF2-40B4-BE49-F238E27FC236}">
                  <a16:creationId xmlns:a16="http://schemas.microsoft.com/office/drawing/2014/main" id="{3CF25151-50D2-48BC-90E2-BD0E00D36369}"/>
                </a:ext>
              </a:extLst>
            </p:cNvPr>
            <p:cNvSpPr/>
            <p:nvPr/>
          </p:nvSpPr>
          <p:spPr>
            <a:xfrm>
              <a:off x="6485492" y="2229485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393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393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00" name="Freeform: Shape 3494">
              <a:extLst>
                <a:ext uri="{FF2B5EF4-FFF2-40B4-BE49-F238E27FC236}">
                  <a16:creationId xmlns:a16="http://schemas.microsoft.com/office/drawing/2014/main" id="{E8B69236-F4EE-49B0-8588-7824FED72899}"/>
                </a:ext>
              </a:extLst>
            </p:cNvPr>
            <p:cNvSpPr/>
            <p:nvPr/>
          </p:nvSpPr>
          <p:spPr>
            <a:xfrm>
              <a:off x="6345432" y="2267647"/>
              <a:ext cx="7869" cy="3934"/>
            </a:xfrm>
            <a:custGeom>
              <a:avLst/>
              <a:gdLst>
                <a:gd name="connsiteX0" fmla="*/ 5901 w 7868"/>
                <a:gd name="connsiteY0" fmla="*/ 4328 h 3934"/>
                <a:gd name="connsiteX1" fmla="*/ 9049 w 7868"/>
                <a:gd name="connsiteY1" fmla="*/ 5508 h 3934"/>
                <a:gd name="connsiteX2" fmla="*/ 9049 w 7868"/>
                <a:gd name="connsiteY2" fmla="*/ 2754 h 3934"/>
                <a:gd name="connsiteX3" fmla="*/ 9049 w 7868"/>
                <a:gd name="connsiteY3" fmla="*/ 0 h 3934"/>
                <a:gd name="connsiteX4" fmla="*/ 5901 w 7868"/>
                <a:gd name="connsiteY4" fmla="*/ 1967 h 3934"/>
                <a:gd name="connsiteX5" fmla="*/ 3147 w 7868"/>
                <a:gd name="connsiteY5" fmla="*/ 1967 h 3934"/>
                <a:gd name="connsiteX6" fmla="*/ 0 w 7868"/>
                <a:gd name="connsiteY6" fmla="*/ 3147 h 3934"/>
                <a:gd name="connsiteX7" fmla="*/ 3147 w 7868"/>
                <a:gd name="connsiteY7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901" y="4328"/>
                  </a:moveTo>
                  <a:lnTo>
                    <a:pt x="9049" y="5508"/>
                  </a:lnTo>
                  <a:lnTo>
                    <a:pt x="9049" y="2754"/>
                  </a:lnTo>
                  <a:lnTo>
                    <a:pt x="9049" y="0"/>
                  </a:lnTo>
                  <a:lnTo>
                    <a:pt x="5901" y="1967"/>
                  </a:lnTo>
                  <a:lnTo>
                    <a:pt x="3147" y="1967"/>
                  </a:lnTo>
                  <a:lnTo>
                    <a:pt x="0" y="3147"/>
                  </a:lnTo>
                  <a:lnTo>
                    <a:pt x="3147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01" name="Freeform: Shape 3495">
              <a:extLst>
                <a:ext uri="{FF2B5EF4-FFF2-40B4-BE49-F238E27FC236}">
                  <a16:creationId xmlns:a16="http://schemas.microsoft.com/office/drawing/2014/main" id="{4619BA80-A9B6-46A4-90D6-3C616D4766BB}"/>
                </a:ext>
              </a:extLst>
            </p:cNvPr>
            <p:cNvSpPr/>
            <p:nvPr/>
          </p:nvSpPr>
          <p:spPr>
            <a:xfrm>
              <a:off x="6458739" y="2190536"/>
              <a:ext cx="3934" cy="15737"/>
            </a:xfrm>
            <a:custGeom>
              <a:avLst/>
              <a:gdLst>
                <a:gd name="connsiteX0" fmla="*/ 1180 w 3934"/>
                <a:gd name="connsiteY0" fmla="*/ 10623 h 15737"/>
                <a:gd name="connsiteX1" fmla="*/ 1967 w 3934"/>
                <a:gd name="connsiteY1" fmla="*/ 13376 h 15737"/>
                <a:gd name="connsiteX2" fmla="*/ 3148 w 3934"/>
                <a:gd name="connsiteY2" fmla="*/ 16131 h 15737"/>
                <a:gd name="connsiteX3" fmla="*/ 5901 w 3934"/>
                <a:gd name="connsiteY3" fmla="*/ 17311 h 15737"/>
                <a:gd name="connsiteX4" fmla="*/ 5115 w 3934"/>
                <a:gd name="connsiteY4" fmla="*/ 14163 h 15737"/>
                <a:gd name="connsiteX5" fmla="*/ 4328 w 3934"/>
                <a:gd name="connsiteY5" fmla="*/ 11409 h 15737"/>
                <a:gd name="connsiteX6" fmla="*/ 4328 w 3934"/>
                <a:gd name="connsiteY6" fmla="*/ 8655 h 15737"/>
                <a:gd name="connsiteX7" fmla="*/ 3148 w 3934"/>
                <a:gd name="connsiteY7" fmla="*/ 5901 h 15737"/>
                <a:gd name="connsiteX8" fmla="*/ 1967 w 3934"/>
                <a:gd name="connsiteY8" fmla="*/ 3147 h 15737"/>
                <a:gd name="connsiteX9" fmla="*/ 0 w 3934"/>
                <a:gd name="connsiteY9" fmla="*/ 0 h 15737"/>
                <a:gd name="connsiteX10" fmla="*/ 0 w 3934"/>
                <a:gd name="connsiteY10" fmla="*/ 3147 h 15737"/>
                <a:gd name="connsiteX11" fmla="*/ 1574 w 3934"/>
                <a:gd name="connsiteY11" fmla="*/ 5901 h 15737"/>
                <a:gd name="connsiteX12" fmla="*/ 0 w 3934"/>
                <a:gd name="connsiteY12" fmla="*/ 7475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34" h="15737">
                  <a:moveTo>
                    <a:pt x="1180" y="10623"/>
                  </a:moveTo>
                  <a:lnTo>
                    <a:pt x="1967" y="13376"/>
                  </a:lnTo>
                  <a:lnTo>
                    <a:pt x="3148" y="16131"/>
                  </a:lnTo>
                  <a:lnTo>
                    <a:pt x="5901" y="17311"/>
                  </a:lnTo>
                  <a:lnTo>
                    <a:pt x="5115" y="14163"/>
                  </a:lnTo>
                  <a:lnTo>
                    <a:pt x="4328" y="11409"/>
                  </a:lnTo>
                  <a:lnTo>
                    <a:pt x="4328" y="8655"/>
                  </a:lnTo>
                  <a:lnTo>
                    <a:pt x="3148" y="5901"/>
                  </a:lnTo>
                  <a:lnTo>
                    <a:pt x="1967" y="3147"/>
                  </a:lnTo>
                  <a:lnTo>
                    <a:pt x="0" y="0"/>
                  </a:lnTo>
                  <a:lnTo>
                    <a:pt x="0" y="3147"/>
                  </a:lnTo>
                  <a:lnTo>
                    <a:pt x="1574" y="5901"/>
                  </a:lnTo>
                  <a:lnTo>
                    <a:pt x="0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02" name="Freeform: Shape 3496">
              <a:extLst>
                <a:ext uri="{FF2B5EF4-FFF2-40B4-BE49-F238E27FC236}">
                  <a16:creationId xmlns:a16="http://schemas.microsoft.com/office/drawing/2014/main" id="{230F7D0A-76DF-4392-B2E4-68C116D5FE1B}"/>
                </a:ext>
              </a:extLst>
            </p:cNvPr>
            <p:cNvSpPr/>
            <p:nvPr/>
          </p:nvSpPr>
          <p:spPr>
            <a:xfrm>
              <a:off x="6460313" y="2208240"/>
              <a:ext cx="3934" cy="3934"/>
            </a:xfrm>
            <a:custGeom>
              <a:avLst/>
              <a:gdLst>
                <a:gd name="connsiteX0" fmla="*/ 4721 w 3934"/>
                <a:gd name="connsiteY0" fmla="*/ 5508 h 3934"/>
                <a:gd name="connsiteX1" fmla="*/ 3148 w 3934"/>
                <a:gd name="connsiteY1" fmla="*/ 2754 h 3934"/>
                <a:gd name="connsiteX2" fmla="*/ 0 w 3934"/>
                <a:gd name="connsiteY2" fmla="*/ 0 h 3934"/>
                <a:gd name="connsiteX3" fmla="*/ 2754 w 3934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4721" y="5508"/>
                  </a:moveTo>
                  <a:lnTo>
                    <a:pt x="3148" y="2754"/>
                  </a:lnTo>
                  <a:lnTo>
                    <a:pt x="0" y="0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03" name="Freeform: Shape 3497">
              <a:extLst>
                <a:ext uri="{FF2B5EF4-FFF2-40B4-BE49-F238E27FC236}">
                  <a16:creationId xmlns:a16="http://schemas.microsoft.com/office/drawing/2014/main" id="{53E96729-7319-4CBD-AB91-8C5101643077}"/>
                </a:ext>
              </a:extLst>
            </p:cNvPr>
            <p:cNvSpPr/>
            <p:nvPr/>
          </p:nvSpPr>
          <p:spPr>
            <a:xfrm>
              <a:off x="6463067" y="2189749"/>
              <a:ext cx="7869" cy="7869"/>
            </a:xfrm>
            <a:custGeom>
              <a:avLst/>
              <a:gdLst>
                <a:gd name="connsiteX0" fmla="*/ 6295 w 7868"/>
                <a:gd name="connsiteY0" fmla="*/ 7869 h 7868"/>
                <a:gd name="connsiteX1" fmla="*/ 9049 w 7868"/>
                <a:gd name="connsiteY1" fmla="*/ 6688 h 7868"/>
                <a:gd name="connsiteX2" fmla="*/ 9049 w 7868"/>
                <a:gd name="connsiteY2" fmla="*/ 5901 h 7868"/>
                <a:gd name="connsiteX3" fmla="*/ 5901 w 7868"/>
                <a:gd name="connsiteY3" fmla="*/ 3934 h 7868"/>
                <a:gd name="connsiteX4" fmla="*/ 4721 w 7868"/>
                <a:gd name="connsiteY4" fmla="*/ 1180 h 7868"/>
                <a:gd name="connsiteX5" fmla="*/ 1967 w 7868"/>
                <a:gd name="connsiteY5" fmla="*/ 0 h 7868"/>
                <a:gd name="connsiteX6" fmla="*/ 0 w 7868"/>
                <a:gd name="connsiteY6" fmla="*/ 2754 h 7868"/>
                <a:gd name="connsiteX7" fmla="*/ 1573 w 7868"/>
                <a:gd name="connsiteY7" fmla="*/ 5508 h 7868"/>
                <a:gd name="connsiteX8" fmla="*/ 4721 w 7868"/>
                <a:gd name="connsiteY8" fmla="*/ 668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7868">
                  <a:moveTo>
                    <a:pt x="6295" y="7869"/>
                  </a:moveTo>
                  <a:lnTo>
                    <a:pt x="9049" y="6688"/>
                  </a:lnTo>
                  <a:lnTo>
                    <a:pt x="9049" y="5901"/>
                  </a:lnTo>
                  <a:lnTo>
                    <a:pt x="5901" y="3934"/>
                  </a:lnTo>
                  <a:lnTo>
                    <a:pt x="4721" y="1180"/>
                  </a:lnTo>
                  <a:lnTo>
                    <a:pt x="1967" y="0"/>
                  </a:lnTo>
                  <a:lnTo>
                    <a:pt x="0" y="2754"/>
                  </a:lnTo>
                  <a:lnTo>
                    <a:pt x="1573" y="5508"/>
                  </a:lnTo>
                  <a:lnTo>
                    <a:pt x="4721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04" name="Freeform: Shape 3498">
              <a:extLst>
                <a:ext uri="{FF2B5EF4-FFF2-40B4-BE49-F238E27FC236}">
                  <a16:creationId xmlns:a16="http://schemas.microsoft.com/office/drawing/2014/main" id="{B72FC409-B118-40B6-83FB-B961DE4737F7}"/>
                </a:ext>
              </a:extLst>
            </p:cNvPr>
            <p:cNvSpPr/>
            <p:nvPr/>
          </p:nvSpPr>
          <p:spPr>
            <a:xfrm>
              <a:off x="6469755" y="2201945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967 h 0"/>
                <a:gd name="connsiteX2" fmla="*/ 2754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967"/>
                  </a:lnTo>
                  <a:lnTo>
                    <a:pt x="275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05" name="Freeform: Shape 3499">
              <a:extLst>
                <a:ext uri="{FF2B5EF4-FFF2-40B4-BE49-F238E27FC236}">
                  <a16:creationId xmlns:a16="http://schemas.microsoft.com/office/drawing/2014/main" id="{E780EDB3-CFC4-4BCB-A7B1-30516E075CEC}"/>
                </a:ext>
              </a:extLst>
            </p:cNvPr>
            <p:cNvSpPr/>
            <p:nvPr/>
          </p:nvSpPr>
          <p:spPr>
            <a:xfrm>
              <a:off x="6470936" y="2206273"/>
              <a:ext cx="11803" cy="11803"/>
            </a:xfrm>
            <a:custGeom>
              <a:avLst/>
              <a:gdLst>
                <a:gd name="connsiteX0" fmla="*/ 7081 w 11802"/>
                <a:gd name="connsiteY0" fmla="*/ 8655 h 11802"/>
                <a:gd name="connsiteX1" fmla="*/ 7869 w 11802"/>
                <a:gd name="connsiteY1" fmla="*/ 9836 h 11802"/>
                <a:gd name="connsiteX2" fmla="*/ 10229 w 11802"/>
                <a:gd name="connsiteY2" fmla="*/ 12590 h 11802"/>
                <a:gd name="connsiteX3" fmla="*/ 12983 w 11802"/>
                <a:gd name="connsiteY3" fmla="*/ 11409 h 11802"/>
                <a:gd name="connsiteX4" fmla="*/ 10229 w 11802"/>
                <a:gd name="connsiteY4" fmla="*/ 8655 h 11802"/>
                <a:gd name="connsiteX5" fmla="*/ 7081 w 11802"/>
                <a:gd name="connsiteY5" fmla="*/ 7475 h 11802"/>
                <a:gd name="connsiteX6" fmla="*/ 7081 w 11802"/>
                <a:gd name="connsiteY6" fmla="*/ 5901 h 11802"/>
                <a:gd name="connsiteX7" fmla="*/ 7081 w 11802"/>
                <a:gd name="connsiteY7" fmla="*/ 5508 h 11802"/>
                <a:gd name="connsiteX8" fmla="*/ 5508 w 11802"/>
                <a:gd name="connsiteY8" fmla="*/ 3934 h 11802"/>
                <a:gd name="connsiteX9" fmla="*/ 2754 w 11802"/>
                <a:gd name="connsiteY9" fmla="*/ 2754 h 11802"/>
                <a:gd name="connsiteX10" fmla="*/ 0 w 11802"/>
                <a:gd name="connsiteY10" fmla="*/ 0 h 11802"/>
                <a:gd name="connsiteX11" fmla="*/ 1967 w 11802"/>
                <a:gd name="connsiteY11" fmla="*/ 3147 h 11802"/>
                <a:gd name="connsiteX12" fmla="*/ 4328 w 11802"/>
                <a:gd name="connsiteY12" fmla="*/ 5901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11802">
                  <a:moveTo>
                    <a:pt x="7081" y="8655"/>
                  </a:moveTo>
                  <a:lnTo>
                    <a:pt x="7869" y="9836"/>
                  </a:lnTo>
                  <a:lnTo>
                    <a:pt x="10229" y="12590"/>
                  </a:lnTo>
                  <a:lnTo>
                    <a:pt x="12983" y="11409"/>
                  </a:lnTo>
                  <a:lnTo>
                    <a:pt x="10229" y="8655"/>
                  </a:lnTo>
                  <a:lnTo>
                    <a:pt x="7081" y="7475"/>
                  </a:lnTo>
                  <a:lnTo>
                    <a:pt x="7081" y="5901"/>
                  </a:lnTo>
                  <a:lnTo>
                    <a:pt x="7081" y="5508"/>
                  </a:lnTo>
                  <a:lnTo>
                    <a:pt x="5508" y="3934"/>
                  </a:lnTo>
                  <a:lnTo>
                    <a:pt x="2754" y="2754"/>
                  </a:lnTo>
                  <a:lnTo>
                    <a:pt x="0" y="0"/>
                  </a:lnTo>
                  <a:lnTo>
                    <a:pt x="1967" y="3147"/>
                  </a:lnTo>
                  <a:lnTo>
                    <a:pt x="4328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06" name="Freeform: Shape 3500">
              <a:extLst>
                <a:ext uri="{FF2B5EF4-FFF2-40B4-BE49-F238E27FC236}">
                  <a16:creationId xmlns:a16="http://schemas.microsoft.com/office/drawing/2014/main" id="{1CE54162-B2D9-4EF2-BA48-F0CC4ED0D4D1}"/>
                </a:ext>
              </a:extLst>
            </p:cNvPr>
            <p:cNvSpPr/>
            <p:nvPr/>
          </p:nvSpPr>
          <p:spPr>
            <a:xfrm>
              <a:off x="6475657" y="2225944"/>
              <a:ext cx="3934" cy="3934"/>
            </a:xfrm>
            <a:custGeom>
              <a:avLst/>
              <a:gdLst>
                <a:gd name="connsiteX0" fmla="*/ 4328 w 3934"/>
                <a:gd name="connsiteY0" fmla="*/ 5114 h 3934"/>
                <a:gd name="connsiteX1" fmla="*/ 7475 w 3934"/>
                <a:gd name="connsiteY1" fmla="*/ 6295 h 3934"/>
                <a:gd name="connsiteX2" fmla="*/ 4328 w 3934"/>
                <a:gd name="connsiteY2" fmla="*/ 3934 h 3934"/>
                <a:gd name="connsiteX3" fmla="*/ 2754 w 3934"/>
                <a:gd name="connsiteY3" fmla="*/ 787 h 3934"/>
                <a:gd name="connsiteX4" fmla="*/ 0 w 3934"/>
                <a:gd name="connsiteY4" fmla="*/ 0 h 3934"/>
                <a:gd name="connsiteX5" fmla="*/ 2754 w 3934"/>
                <a:gd name="connsiteY5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4328" y="5114"/>
                  </a:moveTo>
                  <a:lnTo>
                    <a:pt x="7475" y="6295"/>
                  </a:lnTo>
                  <a:lnTo>
                    <a:pt x="4328" y="3934"/>
                  </a:lnTo>
                  <a:lnTo>
                    <a:pt x="2754" y="787"/>
                  </a:lnTo>
                  <a:lnTo>
                    <a:pt x="0" y="0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07" name="Freeform: Shape 3501">
              <a:extLst>
                <a:ext uri="{FF2B5EF4-FFF2-40B4-BE49-F238E27FC236}">
                  <a16:creationId xmlns:a16="http://schemas.microsoft.com/office/drawing/2014/main" id="{C8655E80-0D42-43D4-A179-3E0F2B1F97A4}"/>
                </a:ext>
              </a:extLst>
            </p:cNvPr>
            <p:cNvSpPr/>
            <p:nvPr/>
          </p:nvSpPr>
          <p:spPr>
            <a:xfrm>
              <a:off x="6485099" y="2234206"/>
              <a:ext cx="3934" cy="3934"/>
            </a:xfrm>
            <a:custGeom>
              <a:avLst/>
              <a:gdLst>
                <a:gd name="connsiteX0" fmla="*/ 5901 w 3934"/>
                <a:gd name="connsiteY0" fmla="*/ 4328 h 3934"/>
                <a:gd name="connsiteX1" fmla="*/ 3147 w 3934"/>
                <a:gd name="connsiteY1" fmla="*/ 1967 h 3934"/>
                <a:gd name="connsiteX2" fmla="*/ 0 w 3934"/>
                <a:gd name="connsiteY2" fmla="*/ 0 h 3934"/>
                <a:gd name="connsiteX3" fmla="*/ 0 w 3934"/>
                <a:gd name="connsiteY3" fmla="*/ 393 h 3934"/>
                <a:gd name="connsiteX4" fmla="*/ 2754 w 3934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901" y="4328"/>
                  </a:moveTo>
                  <a:lnTo>
                    <a:pt x="3147" y="1967"/>
                  </a:lnTo>
                  <a:lnTo>
                    <a:pt x="0" y="0"/>
                  </a:lnTo>
                  <a:lnTo>
                    <a:pt x="0" y="393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08" name="Freeform: Shape 3502">
              <a:extLst>
                <a:ext uri="{FF2B5EF4-FFF2-40B4-BE49-F238E27FC236}">
                  <a16:creationId xmlns:a16="http://schemas.microsoft.com/office/drawing/2014/main" id="{4B2C33A7-119E-4EDB-8F7D-75FE92C93F4C}"/>
                </a:ext>
              </a:extLst>
            </p:cNvPr>
            <p:cNvSpPr/>
            <p:nvPr/>
          </p:nvSpPr>
          <p:spPr>
            <a:xfrm>
              <a:off x="6481951" y="2227124"/>
              <a:ext cx="3934" cy="3934"/>
            </a:xfrm>
            <a:custGeom>
              <a:avLst/>
              <a:gdLst>
                <a:gd name="connsiteX0" fmla="*/ 3148 w 0"/>
                <a:gd name="connsiteY0" fmla="*/ 787 h 0"/>
                <a:gd name="connsiteX1" fmla="*/ 0 w 0"/>
                <a:gd name="connsiteY1" fmla="*/ 0 h 0"/>
                <a:gd name="connsiteX2" fmla="*/ 3148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787"/>
                  </a:moveTo>
                  <a:lnTo>
                    <a:pt x="0" y="0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09" name="Freeform: Shape 3503">
              <a:extLst>
                <a:ext uri="{FF2B5EF4-FFF2-40B4-BE49-F238E27FC236}">
                  <a16:creationId xmlns:a16="http://schemas.microsoft.com/office/drawing/2014/main" id="{4DB3A9D7-1A4D-4DD4-8933-184B96E9CE66}"/>
                </a:ext>
              </a:extLst>
            </p:cNvPr>
            <p:cNvSpPr/>
            <p:nvPr/>
          </p:nvSpPr>
          <p:spPr>
            <a:xfrm>
              <a:off x="6495721" y="2240894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148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148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10" name="Freeform: Shape 3504">
              <a:extLst>
                <a:ext uri="{FF2B5EF4-FFF2-40B4-BE49-F238E27FC236}">
                  <a16:creationId xmlns:a16="http://schemas.microsoft.com/office/drawing/2014/main" id="{20F2345C-1C14-4262-9F92-AF86718A077A}"/>
                </a:ext>
              </a:extLst>
            </p:cNvPr>
            <p:cNvSpPr/>
            <p:nvPr/>
          </p:nvSpPr>
          <p:spPr>
            <a:xfrm>
              <a:off x="6513425" y="2251124"/>
              <a:ext cx="3934" cy="3934"/>
            </a:xfrm>
            <a:custGeom>
              <a:avLst/>
              <a:gdLst>
                <a:gd name="connsiteX0" fmla="*/ 3148 w 0"/>
                <a:gd name="connsiteY0" fmla="*/ 393 h 0"/>
                <a:gd name="connsiteX1" fmla="*/ 0 w 0"/>
                <a:gd name="connsiteY1" fmla="*/ 0 h 0"/>
                <a:gd name="connsiteX2" fmla="*/ 3148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393"/>
                  </a:moveTo>
                  <a:lnTo>
                    <a:pt x="0" y="0"/>
                  </a:lnTo>
                  <a:lnTo>
                    <a:pt x="314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11" name="Freeform: Shape 3505">
              <a:extLst>
                <a:ext uri="{FF2B5EF4-FFF2-40B4-BE49-F238E27FC236}">
                  <a16:creationId xmlns:a16="http://schemas.microsoft.com/office/drawing/2014/main" id="{10100A35-F26D-4C05-A781-832035AA35DD}"/>
                </a:ext>
              </a:extLst>
            </p:cNvPr>
            <p:cNvSpPr/>
            <p:nvPr/>
          </p:nvSpPr>
          <p:spPr>
            <a:xfrm>
              <a:off x="6517753" y="2250337"/>
              <a:ext cx="11803" cy="3934"/>
            </a:xfrm>
            <a:custGeom>
              <a:avLst/>
              <a:gdLst>
                <a:gd name="connsiteX0" fmla="*/ 7082 w 11802"/>
                <a:gd name="connsiteY0" fmla="*/ 4328 h 3934"/>
                <a:gd name="connsiteX1" fmla="*/ 8656 w 11802"/>
                <a:gd name="connsiteY1" fmla="*/ 3934 h 3934"/>
                <a:gd name="connsiteX2" fmla="*/ 11803 w 11802"/>
                <a:gd name="connsiteY2" fmla="*/ 1967 h 3934"/>
                <a:gd name="connsiteX3" fmla="*/ 8656 w 11802"/>
                <a:gd name="connsiteY3" fmla="*/ 1180 h 3934"/>
                <a:gd name="connsiteX4" fmla="*/ 5901 w 11802"/>
                <a:gd name="connsiteY4" fmla="*/ 393 h 3934"/>
                <a:gd name="connsiteX5" fmla="*/ 2754 w 11802"/>
                <a:gd name="connsiteY5" fmla="*/ 0 h 3934"/>
                <a:gd name="connsiteX6" fmla="*/ 0 w 11802"/>
                <a:gd name="connsiteY6" fmla="*/ 0 h 3934"/>
                <a:gd name="connsiteX7" fmla="*/ 1180 w 11802"/>
                <a:gd name="connsiteY7" fmla="*/ 3147 h 3934"/>
                <a:gd name="connsiteX8" fmla="*/ 4328 w 11802"/>
                <a:gd name="connsiteY8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 h="3934">
                  <a:moveTo>
                    <a:pt x="7082" y="4328"/>
                  </a:moveTo>
                  <a:lnTo>
                    <a:pt x="8656" y="3934"/>
                  </a:lnTo>
                  <a:lnTo>
                    <a:pt x="11803" y="1967"/>
                  </a:lnTo>
                  <a:lnTo>
                    <a:pt x="8656" y="1180"/>
                  </a:lnTo>
                  <a:lnTo>
                    <a:pt x="5901" y="393"/>
                  </a:lnTo>
                  <a:lnTo>
                    <a:pt x="2754" y="0"/>
                  </a:lnTo>
                  <a:lnTo>
                    <a:pt x="0" y="0"/>
                  </a:lnTo>
                  <a:lnTo>
                    <a:pt x="1180" y="3147"/>
                  </a:lnTo>
                  <a:lnTo>
                    <a:pt x="4328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12" name="Freeform: Shape 3506">
              <a:extLst>
                <a:ext uri="{FF2B5EF4-FFF2-40B4-BE49-F238E27FC236}">
                  <a16:creationId xmlns:a16="http://schemas.microsoft.com/office/drawing/2014/main" id="{5C386E9C-D30C-4AFB-93A8-9C8A67A099E8}"/>
                </a:ext>
              </a:extLst>
            </p:cNvPr>
            <p:cNvSpPr/>
            <p:nvPr/>
          </p:nvSpPr>
          <p:spPr>
            <a:xfrm>
              <a:off x="6518147" y="2256238"/>
              <a:ext cx="19671" cy="3934"/>
            </a:xfrm>
            <a:custGeom>
              <a:avLst/>
              <a:gdLst>
                <a:gd name="connsiteX0" fmla="*/ 8262 w 19671"/>
                <a:gd name="connsiteY0" fmla="*/ 2754 h 0"/>
                <a:gd name="connsiteX1" fmla="*/ 11409 w 19671"/>
                <a:gd name="connsiteY1" fmla="*/ 3147 h 0"/>
                <a:gd name="connsiteX2" fmla="*/ 14163 w 19671"/>
                <a:gd name="connsiteY2" fmla="*/ 3147 h 0"/>
                <a:gd name="connsiteX3" fmla="*/ 17310 w 19671"/>
                <a:gd name="connsiteY3" fmla="*/ 3147 h 0"/>
                <a:gd name="connsiteX4" fmla="*/ 20065 w 19671"/>
                <a:gd name="connsiteY4" fmla="*/ 2360 h 0"/>
                <a:gd name="connsiteX5" fmla="*/ 16917 w 19671"/>
                <a:gd name="connsiteY5" fmla="*/ 2360 h 0"/>
                <a:gd name="connsiteX6" fmla="*/ 14163 w 19671"/>
                <a:gd name="connsiteY6" fmla="*/ 2360 h 0"/>
                <a:gd name="connsiteX7" fmla="*/ 11409 w 19671"/>
                <a:gd name="connsiteY7" fmla="*/ 1967 h 0"/>
                <a:gd name="connsiteX8" fmla="*/ 8262 w 19671"/>
                <a:gd name="connsiteY8" fmla="*/ 1574 h 0"/>
                <a:gd name="connsiteX9" fmla="*/ 5508 w 19671"/>
                <a:gd name="connsiteY9" fmla="*/ 0 h 0"/>
                <a:gd name="connsiteX10" fmla="*/ 2754 w 19671"/>
                <a:gd name="connsiteY10" fmla="*/ 393 h 0"/>
                <a:gd name="connsiteX11" fmla="*/ 0 w 19671"/>
                <a:gd name="connsiteY11" fmla="*/ 1180 h 0"/>
                <a:gd name="connsiteX12" fmla="*/ 5508 w 19671"/>
                <a:gd name="connsiteY1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671">
                  <a:moveTo>
                    <a:pt x="8262" y="2754"/>
                  </a:moveTo>
                  <a:lnTo>
                    <a:pt x="11409" y="3147"/>
                  </a:lnTo>
                  <a:lnTo>
                    <a:pt x="14163" y="3147"/>
                  </a:lnTo>
                  <a:lnTo>
                    <a:pt x="17310" y="3147"/>
                  </a:lnTo>
                  <a:lnTo>
                    <a:pt x="20065" y="2360"/>
                  </a:lnTo>
                  <a:lnTo>
                    <a:pt x="16917" y="2360"/>
                  </a:lnTo>
                  <a:lnTo>
                    <a:pt x="14163" y="2360"/>
                  </a:lnTo>
                  <a:lnTo>
                    <a:pt x="11409" y="1967"/>
                  </a:lnTo>
                  <a:lnTo>
                    <a:pt x="8262" y="1574"/>
                  </a:lnTo>
                  <a:lnTo>
                    <a:pt x="5508" y="0"/>
                  </a:lnTo>
                  <a:lnTo>
                    <a:pt x="2754" y="393"/>
                  </a:lnTo>
                  <a:lnTo>
                    <a:pt x="0" y="1180"/>
                  </a:lnTo>
                  <a:lnTo>
                    <a:pt x="550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13" name="Freeform: Shape 3507">
              <a:extLst>
                <a:ext uri="{FF2B5EF4-FFF2-40B4-BE49-F238E27FC236}">
                  <a16:creationId xmlns:a16="http://schemas.microsoft.com/office/drawing/2014/main" id="{8125AE60-7D24-47FC-99DB-C7891E8EA010}"/>
                </a:ext>
              </a:extLst>
            </p:cNvPr>
            <p:cNvSpPr/>
            <p:nvPr/>
          </p:nvSpPr>
          <p:spPr>
            <a:xfrm>
              <a:off x="6131015" y="2365611"/>
              <a:ext cx="27540" cy="23606"/>
            </a:xfrm>
            <a:custGeom>
              <a:avLst/>
              <a:gdLst>
                <a:gd name="connsiteX0" fmla="*/ 21245 w 27539"/>
                <a:gd name="connsiteY0" fmla="*/ 1180 h 23605"/>
                <a:gd name="connsiteX1" fmla="*/ 18098 w 27539"/>
                <a:gd name="connsiteY1" fmla="*/ 1574 h 23605"/>
                <a:gd name="connsiteX2" fmla="*/ 15344 w 27539"/>
                <a:gd name="connsiteY2" fmla="*/ 2361 h 23605"/>
                <a:gd name="connsiteX3" fmla="*/ 12196 w 27539"/>
                <a:gd name="connsiteY3" fmla="*/ 3934 h 23605"/>
                <a:gd name="connsiteX4" fmla="*/ 9049 w 27539"/>
                <a:gd name="connsiteY4" fmla="*/ 5901 h 23605"/>
                <a:gd name="connsiteX5" fmla="*/ 6295 w 27539"/>
                <a:gd name="connsiteY5" fmla="*/ 8262 h 23605"/>
                <a:gd name="connsiteX6" fmla="*/ 3541 w 27539"/>
                <a:gd name="connsiteY6" fmla="*/ 10229 h 23605"/>
                <a:gd name="connsiteX7" fmla="*/ 787 w 27539"/>
                <a:gd name="connsiteY7" fmla="*/ 12196 h 23605"/>
                <a:gd name="connsiteX8" fmla="*/ 0 w 27539"/>
                <a:gd name="connsiteY8" fmla="*/ 14950 h 23605"/>
                <a:gd name="connsiteX9" fmla="*/ 2754 w 27539"/>
                <a:gd name="connsiteY9" fmla="*/ 16131 h 23605"/>
                <a:gd name="connsiteX10" fmla="*/ 5901 w 27539"/>
                <a:gd name="connsiteY10" fmla="*/ 14950 h 23605"/>
                <a:gd name="connsiteX11" fmla="*/ 8655 w 27539"/>
                <a:gd name="connsiteY11" fmla="*/ 14163 h 23605"/>
                <a:gd name="connsiteX12" fmla="*/ 9836 w 27539"/>
                <a:gd name="connsiteY12" fmla="*/ 16917 h 23605"/>
                <a:gd name="connsiteX13" fmla="*/ 10622 w 27539"/>
                <a:gd name="connsiteY13" fmla="*/ 19671 h 23605"/>
                <a:gd name="connsiteX14" fmla="*/ 13377 w 27539"/>
                <a:gd name="connsiteY14" fmla="*/ 20458 h 23605"/>
                <a:gd name="connsiteX15" fmla="*/ 16524 w 27539"/>
                <a:gd name="connsiteY15" fmla="*/ 20458 h 23605"/>
                <a:gd name="connsiteX16" fmla="*/ 19278 w 27539"/>
                <a:gd name="connsiteY16" fmla="*/ 23606 h 23605"/>
                <a:gd name="connsiteX17" fmla="*/ 22425 w 27539"/>
                <a:gd name="connsiteY17" fmla="*/ 21245 h 23605"/>
                <a:gd name="connsiteX18" fmla="*/ 25179 w 27539"/>
                <a:gd name="connsiteY18" fmla="*/ 18491 h 23605"/>
                <a:gd name="connsiteX19" fmla="*/ 25966 w 27539"/>
                <a:gd name="connsiteY19" fmla="*/ 16131 h 23605"/>
                <a:gd name="connsiteX20" fmla="*/ 28327 w 27539"/>
                <a:gd name="connsiteY20" fmla="*/ 13376 h 23605"/>
                <a:gd name="connsiteX21" fmla="*/ 30294 w 27539"/>
                <a:gd name="connsiteY21" fmla="*/ 10229 h 23605"/>
                <a:gd name="connsiteX22" fmla="*/ 29900 w 27539"/>
                <a:gd name="connsiteY22" fmla="*/ 7082 h 23605"/>
                <a:gd name="connsiteX23" fmla="*/ 27147 w 27539"/>
                <a:gd name="connsiteY23" fmla="*/ 7082 h 23605"/>
                <a:gd name="connsiteX24" fmla="*/ 24392 w 27539"/>
                <a:gd name="connsiteY24" fmla="*/ 7475 h 23605"/>
                <a:gd name="connsiteX25" fmla="*/ 21245 w 27539"/>
                <a:gd name="connsiteY25" fmla="*/ 4721 h 23605"/>
                <a:gd name="connsiteX26" fmla="*/ 21245 w 27539"/>
                <a:gd name="connsiteY26" fmla="*/ 1967 h 23605"/>
                <a:gd name="connsiteX27" fmla="*/ 23999 w 27539"/>
                <a:gd name="connsiteY27" fmla="*/ 0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7539" h="23605">
                  <a:moveTo>
                    <a:pt x="21245" y="1180"/>
                  </a:moveTo>
                  <a:lnTo>
                    <a:pt x="18098" y="1574"/>
                  </a:lnTo>
                  <a:lnTo>
                    <a:pt x="15344" y="2361"/>
                  </a:lnTo>
                  <a:lnTo>
                    <a:pt x="12196" y="3934"/>
                  </a:lnTo>
                  <a:lnTo>
                    <a:pt x="9049" y="5901"/>
                  </a:lnTo>
                  <a:lnTo>
                    <a:pt x="6295" y="8262"/>
                  </a:lnTo>
                  <a:lnTo>
                    <a:pt x="3541" y="10229"/>
                  </a:lnTo>
                  <a:lnTo>
                    <a:pt x="787" y="12196"/>
                  </a:lnTo>
                  <a:lnTo>
                    <a:pt x="0" y="14950"/>
                  </a:lnTo>
                  <a:lnTo>
                    <a:pt x="2754" y="16131"/>
                  </a:lnTo>
                  <a:lnTo>
                    <a:pt x="5901" y="14950"/>
                  </a:lnTo>
                  <a:lnTo>
                    <a:pt x="8655" y="14163"/>
                  </a:lnTo>
                  <a:lnTo>
                    <a:pt x="9836" y="16917"/>
                  </a:lnTo>
                  <a:lnTo>
                    <a:pt x="10622" y="19671"/>
                  </a:lnTo>
                  <a:lnTo>
                    <a:pt x="13377" y="20458"/>
                  </a:lnTo>
                  <a:lnTo>
                    <a:pt x="16524" y="20458"/>
                  </a:lnTo>
                  <a:lnTo>
                    <a:pt x="19278" y="23606"/>
                  </a:lnTo>
                  <a:lnTo>
                    <a:pt x="22425" y="21245"/>
                  </a:lnTo>
                  <a:lnTo>
                    <a:pt x="25179" y="18491"/>
                  </a:lnTo>
                  <a:lnTo>
                    <a:pt x="25966" y="16131"/>
                  </a:lnTo>
                  <a:lnTo>
                    <a:pt x="28327" y="13376"/>
                  </a:lnTo>
                  <a:lnTo>
                    <a:pt x="30294" y="10229"/>
                  </a:lnTo>
                  <a:lnTo>
                    <a:pt x="29900" y="7082"/>
                  </a:lnTo>
                  <a:lnTo>
                    <a:pt x="27147" y="7082"/>
                  </a:lnTo>
                  <a:lnTo>
                    <a:pt x="24392" y="7475"/>
                  </a:lnTo>
                  <a:lnTo>
                    <a:pt x="21245" y="4721"/>
                  </a:lnTo>
                  <a:lnTo>
                    <a:pt x="21245" y="1967"/>
                  </a:lnTo>
                  <a:lnTo>
                    <a:pt x="23999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14" name="Freeform: Shape 3508">
              <a:extLst>
                <a:ext uri="{FF2B5EF4-FFF2-40B4-BE49-F238E27FC236}">
                  <a16:creationId xmlns:a16="http://schemas.microsoft.com/office/drawing/2014/main" id="{83158B57-521C-4320-8FC2-0D686595B4FA}"/>
                </a:ext>
              </a:extLst>
            </p:cNvPr>
            <p:cNvSpPr/>
            <p:nvPr/>
          </p:nvSpPr>
          <p:spPr>
            <a:xfrm>
              <a:off x="6171144" y="2362463"/>
              <a:ext cx="11803" cy="7869"/>
            </a:xfrm>
            <a:custGeom>
              <a:avLst/>
              <a:gdLst>
                <a:gd name="connsiteX0" fmla="*/ 5508 w 11802"/>
                <a:gd name="connsiteY0" fmla="*/ 4328 h 7868"/>
                <a:gd name="connsiteX1" fmla="*/ 8262 w 11802"/>
                <a:gd name="connsiteY1" fmla="*/ 6295 h 7868"/>
                <a:gd name="connsiteX2" fmla="*/ 11409 w 11802"/>
                <a:gd name="connsiteY2" fmla="*/ 7869 h 7868"/>
                <a:gd name="connsiteX3" fmla="*/ 14163 w 11802"/>
                <a:gd name="connsiteY3" fmla="*/ 7869 h 7868"/>
                <a:gd name="connsiteX4" fmla="*/ 13377 w 11802"/>
                <a:gd name="connsiteY4" fmla="*/ 5114 h 7868"/>
                <a:gd name="connsiteX5" fmla="*/ 11803 w 11802"/>
                <a:gd name="connsiteY5" fmla="*/ 2360 h 7868"/>
                <a:gd name="connsiteX6" fmla="*/ 11409 w 11802"/>
                <a:gd name="connsiteY6" fmla="*/ 1967 h 7868"/>
                <a:gd name="connsiteX7" fmla="*/ 8656 w 11802"/>
                <a:gd name="connsiteY7" fmla="*/ 393 h 7868"/>
                <a:gd name="connsiteX8" fmla="*/ 5901 w 11802"/>
                <a:gd name="connsiteY8" fmla="*/ 0 h 7868"/>
                <a:gd name="connsiteX9" fmla="*/ 3148 w 11802"/>
                <a:gd name="connsiteY9" fmla="*/ 0 h 7868"/>
                <a:gd name="connsiteX10" fmla="*/ 0 w 11802"/>
                <a:gd name="connsiteY10" fmla="*/ 2360 h 7868"/>
                <a:gd name="connsiteX11" fmla="*/ 2360 w 11802"/>
                <a:gd name="connsiteY11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7868">
                  <a:moveTo>
                    <a:pt x="5508" y="4328"/>
                  </a:moveTo>
                  <a:lnTo>
                    <a:pt x="8262" y="6295"/>
                  </a:lnTo>
                  <a:lnTo>
                    <a:pt x="11409" y="7869"/>
                  </a:lnTo>
                  <a:lnTo>
                    <a:pt x="14163" y="7869"/>
                  </a:lnTo>
                  <a:lnTo>
                    <a:pt x="13377" y="5114"/>
                  </a:lnTo>
                  <a:lnTo>
                    <a:pt x="11803" y="2360"/>
                  </a:lnTo>
                  <a:lnTo>
                    <a:pt x="11409" y="1967"/>
                  </a:lnTo>
                  <a:lnTo>
                    <a:pt x="8656" y="393"/>
                  </a:lnTo>
                  <a:lnTo>
                    <a:pt x="5901" y="0"/>
                  </a:lnTo>
                  <a:lnTo>
                    <a:pt x="3148" y="0"/>
                  </a:lnTo>
                  <a:lnTo>
                    <a:pt x="0" y="2360"/>
                  </a:lnTo>
                  <a:lnTo>
                    <a:pt x="2360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15" name="Freeform: Shape 3509">
              <a:extLst>
                <a:ext uri="{FF2B5EF4-FFF2-40B4-BE49-F238E27FC236}">
                  <a16:creationId xmlns:a16="http://schemas.microsoft.com/office/drawing/2014/main" id="{CB826D65-9D17-467E-8238-42D2F3058063}"/>
                </a:ext>
              </a:extLst>
            </p:cNvPr>
            <p:cNvSpPr/>
            <p:nvPr/>
          </p:nvSpPr>
          <p:spPr>
            <a:xfrm>
              <a:off x="9888631" y="2289679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787 w 0"/>
                <a:gd name="connsiteY2" fmla="*/ 3147 h 0"/>
                <a:gd name="connsiteX3" fmla="*/ 3540 w 0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787" y="3147"/>
                  </a:lnTo>
                  <a:lnTo>
                    <a:pt x="354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16" name="Freeform: Shape 3510">
              <a:extLst>
                <a:ext uri="{FF2B5EF4-FFF2-40B4-BE49-F238E27FC236}">
                  <a16:creationId xmlns:a16="http://schemas.microsoft.com/office/drawing/2014/main" id="{060C8789-7AA3-4F08-B9A7-FB250424D8FD}"/>
                </a:ext>
              </a:extLst>
            </p:cNvPr>
            <p:cNvSpPr/>
            <p:nvPr/>
          </p:nvSpPr>
          <p:spPr>
            <a:xfrm>
              <a:off x="9663984" y="2261353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788 w 3934"/>
                <a:gd name="connsiteY1" fmla="*/ 3147 h 0"/>
                <a:gd name="connsiteX2" fmla="*/ 3934 w 3934"/>
                <a:gd name="connsiteY2" fmla="*/ 1967 h 0"/>
                <a:gd name="connsiteX3" fmla="*/ 2755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788" y="3147"/>
                  </a:lnTo>
                  <a:lnTo>
                    <a:pt x="3934" y="1967"/>
                  </a:lnTo>
                  <a:lnTo>
                    <a:pt x="2755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17" name="Freeform: Shape 3511">
              <a:extLst>
                <a:ext uri="{FF2B5EF4-FFF2-40B4-BE49-F238E27FC236}">
                  <a16:creationId xmlns:a16="http://schemas.microsoft.com/office/drawing/2014/main" id="{F0F279AD-4A1D-4AF8-8DC1-78ED3C1BD111}"/>
                </a:ext>
              </a:extLst>
            </p:cNvPr>
            <p:cNvSpPr/>
            <p:nvPr/>
          </p:nvSpPr>
          <p:spPr>
            <a:xfrm>
              <a:off x="6777808" y="2356562"/>
              <a:ext cx="3934" cy="3934"/>
            </a:xfrm>
            <a:custGeom>
              <a:avLst/>
              <a:gdLst>
                <a:gd name="connsiteX0" fmla="*/ 3147 w 3934"/>
                <a:gd name="connsiteY0" fmla="*/ 787 h 3934"/>
                <a:gd name="connsiteX1" fmla="*/ 0 w 3934"/>
                <a:gd name="connsiteY1" fmla="*/ 1967 h 3934"/>
                <a:gd name="connsiteX2" fmla="*/ 787 w 3934"/>
                <a:gd name="connsiteY2" fmla="*/ 5114 h 3934"/>
                <a:gd name="connsiteX3" fmla="*/ 1573 w 3934"/>
                <a:gd name="connsiteY3" fmla="*/ 4721 h 3934"/>
                <a:gd name="connsiteX4" fmla="*/ 4328 w 3934"/>
                <a:gd name="connsiteY4" fmla="*/ 4328 h 3934"/>
                <a:gd name="connsiteX5" fmla="*/ 7081 w 3934"/>
                <a:gd name="connsiteY5" fmla="*/ 2754 h 3934"/>
                <a:gd name="connsiteX6" fmla="*/ 5901 w 3934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3147" y="787"/>
                  </a:moveTo>
                  <a:lnTo>
                    <a:pt x="0" y="1967"/>
                  </a:lnTo>
                  <a:lnTo>
                    <a:pt x="787" y="5114"/>
                  </a:lnTo>
                  <a:lnTo>
                    <a:pt x="1573" y="4721"/>
                  </a:lnTo>
                  <a:lnTo>
                    <a:pt x="4328" y="4328"/>
                  </a:lnTo>
                  <a:lnTo>
                    <a:pt x="7081" y="2754"/>
                  </a:lnTo>
                  <a:lnTo>
                    <a:pt x="590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18" name="Freeform: Shape 3512">
              <a:extLst>
                <a:ext uri="{FF2B5EF4-FFF2-40B4-BE49-F238E27FC236}">
                  <a16:creationId xmlns:a16="http://schemas.microsoft.com/office/drawing/2014/main" id="{17EBB2B2-4B24-4A8B-8D36-487640E0EF3D}"/>
                </a:ext>
              </a:extLst>
            </p:cNvPr>
            <p:cNvSpPr/>
            <p:nvPr/>
          </p:nvSpPr>
          <p:spPr>
            <a:xfrm>
              <a:off x="6771513" y="2347513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787 w 3934"/>
                <a:gd name="connsiteY1" fmla="*/ 3147 h 0"/>
                <a:gd name="connsiteX2" fmla="*/ 3934 w 3934"/>
                <a:gd name="connsiteY2" fmla="*/ 3147 h 0"/>
                <a:gd name="connsiteX3" fmla="*/ 3934 w 3934"/>
                <a:gd name="connsiteY3" fmla="*/ 393 h 0"/>
                <a:gd name="connsiteX4" fmla="*/ 2754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787" y="3147"/>
                  </a:lnTo>
                  <a:lnTo>
                    <a:pt x="3934" y="3147"/>
                  </a:lnTo>
                  <a:lnTo>
                    <a:pt x="3934" y="393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19" name="Freeform: Shape 3513">
              <a:extLst>
                <a:ext uri="{FF2B5EF4-FFF2-40B4-BE49-F238E27FC236}">
                  <a16:creationId xmlns:a16="http://schemas.microsoft.com/office/drawing/2014/main" id="{E090C49A-D822-456B-B692-92A549601236}"/>
                </a:ext>
              </a:extLst>
            </p:cNvPr>
            <p:cNvSpPr/>
            <p:nvPr/>
          </p:nvSpPr>
          <p:spPr>
            <a:xfrm>
              <a:off x="6827773" y="2342398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118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20" name="Freeform: Shape 3514">
              <a:extLst>
                <a:ext uri="{FF2B5EF4-FFF2-40B4-BE49-F238E27FC236}">
                  <a16:creationId xmlns:a16="http://schemas.microsoft.com/office/drawing/2014/main" id="{1DEC2F17-D59A-4D4F-8A62-CDDF15AC5682}"/>
                </a:ext>
              </a:extLst>
            </p:cNvPr>
            <p:cNvSpPr/>
            <p:nvPr/>
          </p:nvSpPr>
          <p:spPr>
            <a:xfrm>
              <a:off x="6743973" y="2337677"/>
              <a:ext cx="3934" cy="7869"/>
            </a:xfrm>
            <a:custGeom>
              <a:avLst/>
              <a:gdLst>
                <a:gd name="connsiteX0" fmla="*/ 4328 w 3934"/>
                <a:gd name="connsiteY0" fmla="*/ 7475 h 7868"/>
                <a:gd name="connsiteX1" fmla="*/ 7082 w 3934"/>
                <a:gd name="connsiteY1" fmla="*/ 6295 h 7868"/>
                <a:gd name="connsiteX2" fmla="*/ 7082 w 3934"/>
                <a:gd name="connsiteY2" fmla="*/ 3541 h 7868"/>
                <a:gd name="connsiteX3" fmla="*/ 5508 w 3934"/>
                <a:gd name="connsiteY3" fmla="*/ 787 h 7868"/>
                <a:gd name="connsiteX4" fmla="*/ 2754 w 3934"/>
                <a:gd name="connsiteY4" fmla="*/ 0 h 7868"/>
                <a:gd name="connsiteX5" fmla="*/ 0 w 3934"/>
                <a:gd name="connsiteY5" fmla="*/ 2754 h 7868"/>
                <a:gd name="connsiteX6" fmla="*/ 787 w 3934"/>
                <a:gd name="connsiteY6" fmla="*/ 5901 h 7868"/>
                <a:gd name="connsiteX7" fmla="*/ 3541 w 3934"/>
                <a:gd name="connsiteY7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4328" y="7475"/>
                  </a:moveTo>
                  <a:lnTo>
                    <a:pt x="7082" y="6295"/>
                  </a:lnTo>
                  <a:lnTo>
                    <a:pt x="7082" y="3541"/>
                  </a:lnTo>
                  <a:lnTo>
                    <a:pt x="5508" y="787"/>
                  </a:lnTo>
                  <a:lnTo>
                    <a:pt x="2754" y="0"/>
                  </a:lnTo>
                  <a:lnTo>
                    <a:pt x="0" y="2754"/>
                  </a:lnTo>
                  <a:lnTo>
                    <a:pt x="787" y="5901"/>
                  </a:lnTo>
                  <a:lnTo>
                    <a:pt x="3541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21" name="Freeform: Shape 3515">
              <a:extLst>
                <a:ext uri="{FF2B5EF4-FFF2-40B4-BE49-F238E27FC236}">
                  <a16:creationId xmlns:a16="http://schemas.microsoft.com/office/drawing/2014/main" id="{4ECBC4FA-0A19-4BCD-A9C3-66AC1997273A}"/>
                </a:ext>
              </a:extLst>
            </p:cNvPr>
            <p:cNvSpPr/>
            <p:nvPr/>
          </p:nvSpPr>
          <p:spPr>
            <a:xfrm>
              <a:off x="6545687" y="2271582"/>
              <a:ext cx="7869" cy="3934"/>
            </a:xfrm>
            <a:custGeom>
              <a:avLst/>
              <a:gdLst>
                <a:gd name="connsiteX0" fmla="*/ 2754 w 7868"/>
                <a:gd name="connsiteY0" fmla="*/ 0 h 0"/>
                <a:gd name="connsiteX1" fmla="*/ 0 w 7868"/>
                <a:gd name="connsiteY1" fmla="*/ 0 h 0"/>
                <a:gd name="connsiteX2" fmla="*/ 2754 w 7868"/>
                <a:gd name="connsiteY2" fmla="*/ 787 h 0"/>
                <a:gd name="connsiteX3" fmla="*/ 5901 w 7868"/>
                <a:gd name="connsiteY3" fmla="*/ 1180 h 0"/>
                <a:gd name="connsiteX4" fmla="*/ 8655 w 7868"/>
                <a:gd name="connsiteY4" fmla="*/ 1967 h 0"/>
                <a:gd name="connsiteX5" fmla="*/ 8655 w 7868"/>
                <a:gd name="connsiteY5" fmla="*/ 1967 h 0"/>
                <a:gd name="connsiteX6" fmla="*/ 5508 w 7868"/>
                <a:gd name="connsiteY6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2754" y="0"/>
                  </a:moveTo>
                  <a:lnTo>
                    <a:pt x="0" y="0"/>
                  </a:lnTo>
                  <a:lnTo>
                    <a:pt x="2754" y="787"/>
                  </a:lnTo>
                  <a:lnTo>
                    <a:pt x="5901" y="1180"/>
                  </a:lnTo>
                  <a:lnTo>
                    <a:pt x="8655" y="1967"/>
                  </a:lnTo>
                  <a:lnTo>
                    <a:pt x="8655" y="1967"/>
                  </a:lnTo>
                  <a:lnTo>
                    <a:pt x="550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22" name="Freeform: Shape 3516">
              <a:extLst>
                <a:ext uri="{FF2B5EF4-FFF2-40B4-BE49-F238E27FC236}">
                  <a16:creationId xmlns:a16="http://schemas.microsoft.com/office/drawing/2014/main" id="{A004711D-0A23-4E7B-8FA3-70AAC9BD228E}"/>
                </a:ext>
              </a:extLst>
            </p:cNvPr>
            <p:cNvSpPr/>
            <p:nvPr/>
          </p:nvSpPr>
          <p:spPr>
            <a:xfrm>
              <a:off x="6524441" y="2264107"/>
              <a:ext cx="11803" cy="3934"/>
            </a:xfrm>
            <a:custGeom>
              <a:avLst/>
              <a:gdLst>
                <a:gd name="connsiteX0" fmla="*/ 5901 w 11802"/>
                <a:gd name="connsiteY0" fmla="*/ 2754 h 0"/>
                <a:gd name="connsiteX1" fmla="*/ 8655 w 11802"/>
                <a:gd name="connsiteY1" fmla="*/ 1574 h 0"/>
                <a:gd name="connsiteX2" fmla="*/ 11803 w 11802"/>
                <a:gd name="connsiteY2" fmla="*/ 2360 h 0"/>
                <a:gd name="connsiteX3" fmla="*/ 14557 w 11802"/>
                <a:gd name="connsiteY3" fmla="*/ 1574 h 0"/>
                <a:gd name="connsiteX4" fmla="*/ 11409 w 11802"/>
                <a:gd name="connsiteY4" fmla="*/ 393 h 0"/>
                <a:gd name="connsiteX5" fmla="*/ 8655 w 11802"/>
                <a:gd name="connsiteY5" fmla="*/ 0 h 0"/>
                <a:gd name="connsiteX6" fmla="*/ 5901 w 11802"/>
                <a:gd name="connsiteY6" fmla="*/ 787 h 0"/>
                <a:gd name="connsiteX7" fmla="*/ 3147 w 11802"/>
                <a:gd name="connsiteY7" fmla="*/ 393 h 0"/>
                <a:gd name="connsiteX8" fmla="*/ 0 w 11802"/>
                <a:gd name="connsiteY8" fmla="*/ 1967 h 0"/>
                <a:gd name="connsiteX9" fmla="*/ 3147 w 11802"/>
                <a:gd name="connsiteY9" fmla="*/ 23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>
                  <a:moveTo>
                    <a:pt x="5901" y="2754"/>
                  </a:moveTo>
                  <a:lnTo>
                    <a:pt x="8655" y="1574"/>
                  </a:lnTo>
                  <a:lnTo>
                    <a:pt x="11803" y="2360"/>
                  </a:lnTo>
                  <a:lnTo>
                    <a:pt x="14557" y="1574"/>
                  </a:lnTo>
                  <a:lnTo>
                    <a:pt x="11409" y="393"/>
                  </a:lnTo>
                  <a:lnTo>
                    <a:pt x="8655" y="0"/>
                  </a:lnTo>
                  <a:lnTo>
                    <a:pt x="5901" y="787"/>
                  </a:lnTo>
                  <a:lnTo>
                    <a:pt x="3147" y="393"/>
                  </a:lnTo>
                  <a:lnTo>
                    <a:pt x="0" y="1967"/>
                  </a:lnTo>
                  <a:lnTo>
                    <a:pt x="3147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23" name="Freeform: Shape 3517">
              <a:extLst>
                <a:ext uri="{FF2B5EF4-FFF2-40B4-BE49-F238E27FC236}">
                  <a16:creationId xmlns:a16="http://schemas.microsoft.com/office/drawing/2014/main" id="{4593F325-0CF0-465E-AA38-9C26EADD8648}"/>
                </a:ext>
              </a:extLst>
            </p:cNvPr>
            <p:cNvSpPr/>
            <p:nvPr/>
          </p:nvSpPr>
          <p:spPr>
            <a:xfrm>
              <a:off x="6294680" y="2392364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0 w 0"/>
                <a:gd name="connsiteY1" fmla="*/ 0 h 0"/>
                <a:gd name="connsiteX2" fmla="*/ 393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0" y="0"/>
                  </a:lnTo>
                  <a:lnTo>
                    <a:pt x="393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24" name="Freeform: Shape 3518">
              <a:extLst>
                <a:ext uri="{FF2B5EF4-FFF2-40B4-BE49-F238E27FC236}">
                  <a16:creationId xmlns:a16="http://schemas.microsoft.com/office/drawing/2014/main" id="{A5AFC5FB-21DD-4CFE-896E-E429903205FD}"/>
                </a:ext>
              </a:extLst>
            </p:cNvPr>
            <p:cNvSpPr/>
            <p:nvPr/>
          </p:nvSpPr>
          <p:spPr>
            <a:xfrm>
              <a:off x="6465428" y="2500556"/>
              <a:ext cx="3934" cy="3934"/>
            </a:xfrm>
            <a:custGeom>
              <a:avLst/>
              <a:gdLst>
                <a:gd name="connsiteX0" fmla="*/ 393 w 3934"/>
                <a:gd name="connsiteY0" fmla="*/ 0 h 3934"/>
                <a:gd name="connsiteX1" fmla="*/ 0 w 3934"/>
                <a:gd name="connsiteY1" fmla="*/ 2754 h 3934"/>
                <a:gd name="connsiteX2" fmla="*/ 2360 w 3934"/>
                <a:gd name="connsiteY2" fmla="*/ 5901 h 3934"/>
                <a:gd name="connsiteX3" fmla="*/ 5114 w 3934"/>
                <a:gd name="connsiteY3" fmla="*/ 6688 h 3934"/>
                <a:gd name="connsiteX4" fmla="*/ 6688 w 3934"/>
                <a:gd name="connsiteY4" fmla="*/ 3541 h 3934"/>
                <a:gd name="connsiteX5" fmla="*/ 3541 w 3934"/>
                <a:gd name="connsiteY5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93" y="0"/>
                  </a:moveTo>
                  <a:lnTo>
                    <a:pt x="0" y="2754"/>
                  </a:lnTo>
                  <a:lnTo>
                    <a:pt x="2360" y="5901"/>
                  </a:lnTo>
                  <a:lnTo>
                    <a:pt x="5114" y="6688"/>
                  </a:lnTo>
                  <a:lnTo>
                    <a:pt x="6688" y="3541"/>
                  </a:lnTo>
                  <a:lnTo>
                    <a:pt x="3541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25" name="Freeform: Shape 3519">
              <a:extLst>
                <a:ext uri="{FF2B5EF4-FFF2-40B4-BE49-F238E27FC236}">
                  <a16:creationId xmlns:a16="http://schemas.microsoft.com/office/drawing/2014/main" id="{F0C31276-187A-44C5-8B24-0C62714B0D33}"/>
                </a:ext>
              </a:extLst>
            </p:cNvPr>
            <p:cNvSpPr/>
            <p:nvPr/>
          </p:nvSpPr>
          <p:spPr>
            <a:xfrm>
              <a:off x="6098360" y="2394724"/>
              <a:ext cx="7869" cy="7869"/>
            </a:xfrm>
            <a:custGeom>
              <a:avLst/>
              <a:gdLst>
                <a:gd name="connsiteX0" fmla="*/ 11409 w 7868"/>
                <a:gd name="connsiteY0" fmla="*/ 2754 h 7868"/>
                <a:gd name="connsiteX1" fmla="*/ 8262 w 7868"/>
                <a:gd name="connsiteY1" fmla="*/ 0 h 7868"/>
                <a:gd name="connsiteX2" fmla="*/ 2754 w 7868"/>
                <a:gd name="connsiteY2" fmla="*/ 2361 h 7868"/>
                <a:gd name="connsiteX3" fmla="*/ 0 w 7868"/>
                <a:gd name="connsiteY3" fmla="*/ 5115 h 7868"/>
                <a:gd name="connsiteX4" fmla="*/ 1180 w 7868"/>
                <a:gd name="connsiteY4" fmla="*/ 7869 h 7868"/>
                <a:gd name="connsiteX5" fmla="*/ 4328 w 7868"/>
                <a:gd name="connsiteY5" fmla="*/ 9442 h 7868"/>
                <a:gd name="connsiteX6" fmla="*/ 5115 w 7868"/>
                <a:gd name="connsiteY6" fmla="*/ 7475 h 7868"/>
                <a:gd name="connsiteX7" fmla="*/ 8262 w 7868"/>
                <a:gd name="connsiteY7" fmla="*/ 550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7868">
                  <a:moveTo>
                    <a:pt x="11409" y="2754"/>
                  </a:moveTo>
                  <a:lnTo>
                    <a:pt x="8262" y="0"/>
                  </a:lnTo>
                  <a:lnTo>
                    <a:pt x="2754" y="2361"/>
                  </a:lnTo>
                  <a:lnTo>
                    <a:pt x="0" y="5115"/>
                  </a:lnTo>
                  <a:lnTo>
                    <a:pt x="1180" y="7869"/>
                  </a:lnTo>
                  <a:lnTo>
                    <a:pt x="4328" y="9442"/>
                  </a:lnTo>
                  <a:lnTo>
                    <a:pt x="5115" y="7475"/>
                  </a:lnTo>
                  <a:lnTo>
                    <a:pt x="8262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26" name="Freeform: Shape 3520">
              <a:extLst>
                <a:ext uri="{FF2B5EF4-FFF2-40B4-BE49-F238E27FC236}">
                  <a16:creationId xmlns:a16="http://schemas.microsoft.com/office/drawing/2014/main" id="{36952A77-422A-4C68-BFBE-48AE3E0E03FC}"/>
                </a:ext>
              </a:extLst>
            </p:cNvPr>
            <p:cNvSpPr/>
            <p:nvPr/>
          </p:nvSpPr>
          <p:spPr>
            <a:xfrm>
              <a:off x="6611389" y="2371119"/>
              <a:ext cx="11803" cy="11803"/>
            </a:xfrm>
            <a:custGeom>
              <a:avLst/>
              <a:gdLst>
                <a:gd name="connsiteX0" fmla="*/ 5508 w 11802"/>
                <a:gd name="connsiteY0" fmla="*/ 0 h 11802"/>
                <a:gd name="connsiteX1" fmla="*/ 2754 w 11802"/>
                <a:gd name="connsiteY1" fmla="*/ 393 h 11802"/>
                <a:gd name="connsiteX2" fmla="*/ 0 w 11802"/>
                <a:gd name="connsiteY2" fmla="*/ 787 h 11802"/>
                <a:gd name="connsiteX3" fmla="*/ 393 w 11802"/>
                <a:gd name="connsiteY3" fmla="*/ 3541 h 11802"/>
                <a:gd name="connsiteX4" fmla="*/ 2360 w 11802"/>
                <a:gd name="connsiteY4" fmla="*/ 6295 h 11802"/>
                <a:gd name="connsiteX5" fmla="*/ 5115 w 11802"/>
                <a:gd name="connsiteY5" fmla="*/ 9049 h 11802"/>
                <a:gd name="connsiteX6" fmla="*/ 6688 w 11802"/>
                <a:gd name="connsiteY6" fmla="*/ 11803 h 11802"/>
                <a:gd name="connsiteX7" fmla="*/ 9442 w 11802"/>
                <a:gd name="connsiteY7" fmla="*/ 13770 h 11802"/>
                <a:gd name="connsiteX8" fmla="*/ 12196 w 11802"/>
                <a:gd name="connsiteY8" fmla="*/ 13770 h 11802"/>
                <a:gd name="connsiteX9" fmla="*/ 9049 w 11802"/>
                <a:gd name="connsiteY9" fmla="*/ 11803 h 11802"/>
                <a:gd name="connsiteX10" fmla="*/ 7475 w 11802"/>
                <a:gd name="connsiteY10" fmla="*/ 11409 h 11802"/>
                <a:gd name="connsiteX11" fmla="*/ 6688 w 11802"/>
                <a:gd name="connsiteY11" fmla="*/ 8655 h 11802"/>
                <a:gd name="connsiteX12" fmla="*/ 5508 w 11802"/>
                <a:gd name="connsiteY12" fmla="*/ 5508 h 11802"/>
                <a:gd name="connsiteX13" fmla="*/ 6688 w 11802"/>
                <a:gd name="connsiteY13" fmla="*/ 2754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802" h="11802">
                  <a:moveTo>
                    <a:pt x="5508" y="0"/>
                  </a:moveTo>
                  <a:lnTo>
                    <a:pt x="2754" y="393"/>
                  </a:lnTo>
                  <a:lnTo>
                    <a:pt x="0" y="787"/>
                  </a:lnTo>
                  <a:lnTo>
                    <a:pt x="393" y="3541"/>
                  </a:lnTo>
                  <a:lnTo>
                    <a:pt x="2360" y="6295"/>
                  </a:lnTo>
                  <a:lnTo>
                    <a:pt x="5115" y="9049"/>
                  </a:lnTo>
                  <a:lnTo>
                    <a:pt x="6688" y="11803"/>
                  </a:lnTo>
                  <a:lnTo>
                    <a:pt x="9442" y="13770"/>
                  </a:lnTo>
                  <a:lnTo>
                    <a:pt x="12196" y="13770"/>
                  </a:lnTo>
                  <a:lnTo>
                    <a:pt x="9049" y="11803"/>
                  </a:lnTo>
                  <a:lnTo>
                    <a:pt x="7475" y="11409"/>
                  </a:lnTo>
                  <a:lnTo>
                    <a:pt x="6688" y="8655"/>
                  </a:lnTo>
                  <a:lnTo>
                    <a:pt x="5508" y="5508"/>
                  </a:lnTo>
                  <a:lnTo>
                    <a:pt x="668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27" name="Freeform: Shape 3521">
              <a:extLst>
                <a:ext uri="{FF2B5EF4-FFF2-40B4-BE49-F238E27FC236}">
                  <a16:creationId xmlns:a16="http://schemas.microsoft.com/office/drawing/2014/main" id="{C2D6231E-0D47-487F-84E6-D60067FC80F2}"/>
                </a:ext>
              </a:extLst>
            </p:cNvPr>
            <p:cNvSpPr/>
            <p:nvPr/>
          </p:nvSpPr>
          <p:spPr>
            <a:xfrm>
              <a:off x="6411134" y="2422264"/>
              <a:ext cx="86554" cy="51145"/>
            </a:xfrm>
            <a:custGeom>
              <a:avLst/>
              <a:gdLst>
                <a:gd name="connsiteX0" fmla="*/ 76325 w 86553"/>
                <a:gd name="connsiteY0" fmla="*/ 25573 h 51145"/>
                <a:gd name="connsiteX1" fmla="*/ 76325 w 86553"/>
                <a:gd name="connsiteY1" fmla="*/ 25179 h 51145"/>
                <a:gd name="connsiteX2" fmla="*/ 76718 w 86553"/>
                <a:gd name="connsiteY2" fmla="*/ 23999 h 51145"/>
                <a:gd name="connsiteX3" fmla="*/ 79079 w 86553"/>
                <a:gd name="connsiteY3" fmla="*/ 16524 h 51145"/>
                <a:gd name="connsiteX4" fmla="*/ 79866 w 86553"/>
                <a:gd name="connsiteY4" fmla="*/ 15344 h 51145"/>
                <a:gd name="connsiteX5" fmla="*/ 81833 w 86553"/>
                <a:gd name="connsiteY5" fmla="*/ 12196 h 51145"/>
                <a:gd name="connsiteX6" fmla="*/ 84193 w 86553"/>
                <a:gd name="connsiteY6" fmla="*/ 9442 h 51145"/>
                <a:gd name="connsiteX7" fmla="*/ 86160 w 86553"/>
                <a:gd name="connsiteY7" fmla="*/ 6688 h 51145"/>
                <a:gd name="connsiteX8" fmla="*/ 87341 w 86553"/>
                <a:gd name="connsiteY8" fmla="*/ 3541 h 51145"/>
                <a:gd name="connsiteX9" fmla="*/ 89308 w 86553"/>
                <a:gd name="connsiteY9" fmla="*/ 787 h 51145"/>
                <a:gd name="connsiteX10" fmla="*/ 86554 w 86553"/>
                <a:gd name="connsiteY10" fmla="*/ 0 h 51145"/>
                <a:gd name="connsiteX11" fmla="*/ 83407 w 86553"/>
                <a:gd name="connsiteY11" fmla="*/ 1967 h 51145"/>
                <a:gd name="connsiteX12" fmla="*/ 80652 w 86553"/>
                <a:gd name="connsiteY12" fmla="*/ 2754 h 51145"/>
                <a:gd name="connsiteX13" fmla="*/ 77899 w 86553"/>
                <a:gd name="connsiteY13" fmla="*/ 3147 h 51145"/>
                <a:gd name="connsiteX14" fmla="*/ 75144 w 86553"/>
                <a:gd name="connsiteY14" fmla="*/ 5508 h 51145"/>
                <a:gd name="connsiteX15" fmla="*/ 71997 w 86553"/>
                <a:gd name="connsiteY15" fmla="*/ 5115 h 51145"/>
                <a:gd name="connsiteX16" fmla="*/ 68850 w 86553"/>
                <a:gd name="connsiteY16" fmla="*/ 3541 h 51145"/>
                <a:gd name="connsiteX17" fmla="*/ 66096 w 86553"/>
                <a:gd name="connsiteY17" fmla="*/ 4721 h 51145"/>
                <a:gd name="connsiteX18" fmla="*/ 63342 w 86553"/>
                <a:gd name="connsiteY18" fmla="*/ 5508 h 51145"/>
                <a:gd name="connsiteX19" fmla="*/ 60588 w 86553"/>
                <a:gd name="connsiteY19" fmla="*/ 7869 h 51145"/>
                <a:gd name="connsiteX20" fmla="*/ 57834 w 86553"/>
                <a:gd name="connsiteY20" fmla="*/ 8655 h 51145"/>
                <a:gd name="connsiteX21" fmla="*/ 54686 w 86553"/>
                <a:gd name="connsiteY21" fmla="*/ 9049 h 51145"/>
                <a:gd name="connsiteX22" fmla="*/ 51933 w 86553"/>
                <a:gd name="connsiteY22" fmla="*/ 9442 h 51145"/>
                <a:gd name="connsiteX23" fmla="*/ 48785 w 86553"/>
                <a:gd name="connsiteY23" fmla="*/ 9442 h 51145"/>
                <a:gd name="connsiteX24" fmla="*/ 46031 w 86553"/>
                <a:gd name="connsiteY24" fmla="*/ 9049 h 51145"/>
                <a:gd name="connsiteX25" fmla="*/ 43277 w 86553"/>
                <a:gd name="connsiteY25" fmla="*/ 9049 h 51145"/>
                <a:gd name="connsiteX26" fmla="*/ 42097 w 86553"/>
                <a:gd name="connsiteY26" fmla="*/ 9442 h 51145"/>
                <a:gd name="connsiteX27" fmla="*/ 32261 w 86553"/>
                <a:gd name="connsiteY27" fmla="*/ 9049 h 51145"/>
                <a:gd name="connsiteX28" fmla="*/ 31474 w 86553"/>
                <a:gd name="connsiteY28" fmla="*/ 8655 h 51145"/>
                <a:gd name="connsiteX29" fmla="*/ 28720 w 86553"/>
                <a:gd name="connsiteY29" fmla="*/ 6688 h 51145"/>
                <a:gd name="connsiteX30" fmla="*/ 25966 w 86553"/>
                <a:gd name="connsiteY30" fmla="*/ 3934 h 51145"/>
                <a:gd name="connsiteX31" fmla="*/ 23212 w 86553"/>
                <a:gd name="connsiteY31" fmla="*/ 3147 h 51145"/>
                <a:gd name="connsiteX32" fmla="*/ 20458 w 86553"/>
                <a:gd name="connsiteY32" fmla="*/ 3934 h 51145"/>
                <a:gd name="connsiteX33" fmla="*/ 17311 w 86553"/>
                <a:gd name="connsiteY33" fmla="*/ 5901 h 51145"/>
                <a:gd name="connsiteX34" fmla="*/ 15344 w 86553"/>
                <a:gd name="connsiteY34" fmla="*/ 8655 h 51145"/>
                <a:gd name="connsiteX35" fmla="*/ 13377 w 86553"/>
                <a:gd name="connsiteY35" fmla="*/ 9049 h 51145"/>
                <a:gd name="connsiteX36" fmla="*/ 10229 w 86553"/>
                <a:gd name="connsiteY36" fmla="*/ 7475 h 51145"/>
                <a:gd name="connsiteX37" fmla="*/ 7869 w 86553"/>
                <a:gd name="connsiteY37" fmla="*/ 4721 h 51145"/>
                <a:gd name="connsiteX38" fmla="*/ 5508 w 86553"/>
                <a:gd name="connsiteY38" fmla="*/ 7475 h 51145"/>
                <a:gd name="connsiteX39" fmla="*/ 2754 w 86553"/>
                <a:gd name="connsiteY39" fmla="*/ 8655 h 51145"/>
                <a:gd name="connsiteX40" fmla="*/ 1574 w 86553"/>
                <a:gd name="connsiteY40" fmla="*/ 11409 h 51145"/>
                <a:gd name="connsiteX41" fmla="*/ 1180 w 86553"/>
                <a:gd name="connsiteY41" fmla="*/ 14557 h 51145"/>
                <a:gd name="connsiteX42" fmla="*/ 0 w 86553"/>
                <a:gd name="connsiteY42" fmla="*/ 17311 h 51145"/>
                <a:gd name="connsiteX43" fmla="*/ 1180 w 86553"/>
                <a:gd name="connsiteY43" fmla="*/ 20458 h 51145"/>
                <a:gd name="connsiteX44" fmla="*/ 3934 w 86553"/>
                <a:gd name="connsiteY44" fmla="*/ 21638 h 51145"/>
                <a:gd name="connsiteX45" fmla="*/ 5901 w 86553"/>
                <a:gd name="connsiteY45" fmla="*/ 24786 h 51145"/>
                <a:gd name="connsiteX46" fmla="*/ 8656 w 86553"/>
                <a:gd name="connsiteY46" fmla="*/ 24392 h 51145"/>
                <a:gd name="connsiteX47" fmla="*/ 11409 w 86553"/>
                <a:gd name="connsiteY47" fmla="*/ 24392 h 51145"/>
                <a:gd name="connsiteX48" fmla="*/ 12983 w 86553"/>
                <a:gd name="connsiteY48" fmla="*/ 24392 h 51145"/>
                <a:gd name="connsiteX49" fmla="*/ 23606 w 86553"/>
                <a:gd name="connsiteY49" fmla="*/ 30687 h 51145"/>
                <a:gd name="connsiteX50" fmla="*/ 25573 w 86553"/>
                <a:gd name="connsiteY50" fmla="*/ 31868 h 51145"/>
                <a:gd name="connsiteX51" fmla="*/ 28327 w 86553"/>
                <a:gd name="connsiteY51" fmla="*/ 33835 h 51145"/>
                <a:gd name="connsiteX52" fmla="*/ 30294 w 86553"/>
                <a:gd name="connsiteY52" fmla="*/ 34228 h 51145"/>
                <a:gd name="connsiteX53" fmla="*/ 32261 w 86553"/>
                <a:gd name="connsiteY53" fmla="*/ 35408 h 51145"/>
                <a:gd name="connsiteX54" fmla="*/ 34228 w 86553"/>
                <a:gd name="connsiteY54" fmla="*/ 36589 h 51145"/>
                <a:gd name="connsiteX55" fmla="*/ 36982 w 86553"/>
                <a:gd name="connsiteY55" fmla="*/ 38556 h 51145"/>
                <a:gd name="connsiteX56" fmla="*/ 39736 w 86553"/>
                <a:gd name="connsiteY56" fmla="*/ 39343 h 51145"/>
                <a:gd name="connsiteX57" fmla="*/ 42490 w 86553"/>
                <a:gd name="connsiteY57" fmla="*/ 40523 h 51145"/>
                <a:gd name="connsiteX58" fmla="*/ 45244 w 86553"/>
                <a:gd name="connsiteY58" fmla="*/ 40523 h 51145"/>
                <a:gd name="connsiteX59" fmla="*/ 54293 w 86553"/>
                <a:gd name="connsiteY59" fmla="*/ 44457 h 51145"/>
                <a:gd name="connsiteX60" fmla="*/ 55080 w 86553"/>
                <a:gd name="connsiteY60" fmla="*/ 45637 h 51145"/>
                <a:gd name="connsiteX61" fmla="*/ 56654 w 86553"/>
                <a:gd name="connsiteY61" fmla="*/ 48785 h 51145"/>
                <a:gd name="connsiteX62" fmla="*/ 58227 w 86553"/>
                <a:gd name="connsiteY62" fmla="*/ 51539 h 51145"/>
                <a:gd name="connsiteX63" fmla="*/ 60981 w 86553"/>
                <a:gd name="connsiteY63" fmla="*/ 51932 h 51145"/>
                <a:gd name="connsiteX64" fmla="*/ 63735 w 86553"/>
                <a:gd name="connsiteY64" fmla="*/ 53506 h 51145"/>
                <a:gd name="connsiteX65" fmla="*/ 66882 w 86553"/>
                <a:gd name="connsiteY65" fmla="*/ 53899 h 51145"/>
                <a:gd name="connsiteX66" fmla="*/ 69637 w 86553"/>
                <a:gd name="connsiteY66" fmla="*/ 53506 h 51145"/>
                <a:gd name="connsiteX67" fmla="*/ 72784 w 86553"/>
                <a:gd name="connsiteY67" fmla="*/ 54293 h 51145"/>
                <a:gd name="connsiteX68" fmla="*/ 73177 w 86553"/>
                <a:gd name="connsiteY68" fmla="*/ 54293 h 51145"/>
                <a:gd name="connsiteX69" fmla="*/ 75931 w 86553"/>
                <a:gd name="connsiteY69" fmla="*/ 53899 h 51145"/>
                <a:gd name="connsiteX70" fmla="*/ 75144 w 86553"/>
                <a:gd name="connsiteY70" fmla="*/ 51145 h 51145"/>
                <a:gd name="connsiteX71" fmla="*/ 76325 w 86553"/>
                <a:gd name="connsiteY71" fmla="*/ 48392 h 51145"/>
                <a:gd name="connsiteX72" fmla="*/ 78292 w 86553"/>
                <a:gd name="connsiteY72" fmla="*/ 45244 h 51145"/>
                <a:gd name="connsiteX73" fmla="*/ 81046 w 86553"/>
                <a:gd name="connsiteY73" fmla="*/ 42883 h 51145"/>
                <a:gd name="connsiteX74" fmla="*/ 79079 w 86553"/>
                <a:gd name="connsiteY74" fmla="*/ 40130 h 51145"/>
                <a:gd name="connsiteX75" fmla="*/ 77111 w 86553"/>
                <a:gd name="connsiteY75" fmla="*/ 37376 h 51145"/>
                <a:gd name="connsiteX76" fmla="*/ 77505 w 86553"/>
                <a:gd name="connsiteY76" fmla="*/ 34622 h 51145"/>
                <a:gd name="connsiteX77" fmla="*/ 74751 w 86553"/>
                <a:gd name="connsiteY77" fmla="*/ 31868 h 51145"/>
                <a:gd name="connsiteX78" fmla="*/ 74751 w 86553"/>
                <a:gd name="connsiteY78" fmla="*/ 30294 h 5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86553" h="51145">
                  <a:moveTo>
                    <a:pt x="76325" y="25573"/>
                  </a:moveTo>
                  <a:lnTo>
                    <a:pt x="76325" y="25179"/>
                  </a:lnTo>
                  <a:lnTo>
                    <a:pt x="76718" y="23999"/>
                  </a:lnTo>
                  <a:lnTo>
                    <a:pt x="79079" y="16524"/>
                  </a:lnTo>
                  <a:lnTo>
                    <a:pt x="79866" y="15344"/>
                  </a:lnTo>
                  <a:lnTo>
                    <a:pt x="81833" y="12196"/>
                  </a:lnTo>
                  <a:lnTo>
                    <a:pt x="84193" y="9442"/>
                  </a:lnTo>
                  <a:lnTo>
                    <a:pt x="86160" y="6688"/>
                  </a:lnTo>
                  <a:lnTo>
                    <a:pt x="87341" y="3541"/>
                  </a:lnTo>
                  <a:lnTo>
                    <a:pt x="89308" y="787"/>
                  </a:lnTo>
                  <a:lnTo>
                    <a:pt x="86554" y="0"/>
                  </a:lnTo>
                  <a:lnTo>
                    <a:pt x="83407" y="1967"/>
                  </a:lnTo>
                  <a:lnTo>
                    <a:pt x="80652" y="2754"/>
                  </a:lnTo>
                  <a:lnTo>
                    <a:pt x="77899" y="3147"/>
                  </a:lnTo>
                  <a:lnTo>
                    <a:pt x="75144" y="5508"/>
                  </a:lnTo>
                  <a:lnTo>
                    <a:pt x="71997" y="5115"/>
                  </a:lnTo>
                  <a:lnTo>
                    <a:pt x="68850" y="3541"/>
                  </a:lnTo>
                  <a:lnTo>
                    <a:pt x="66096" y="4721"/>
                  </a:lnTo>
                  <a:lnTo>
                    <a:pt x="63342" y="5508"/>
                  </a:lnTo>
                  <a:lnTo>
                    <a:pt x="60588" y="7869"/>
                  </a:lnTo>
                  <a:lnTo>
                    <a:pt x="57834" y="8655"/>
                  </a:lnTo>
                  <a:lnTo>
                    <a:pt x="54686" y="9049"/>
                  </a:lnTo>
                  <a:lnTo>
                    <a:pt x="51933" y="9442"/>
                  </a:lnTo>
                  <a:lnTo>
                    <a:pt x="48785" y="9442"/>
                  </a:lnTo>
                  <a:lnTo>
                    <a:pt x="46031" y="9049"/>
                  </a:lnTo>
                  <a:lnTo>
                    <a:pt x="43277" y="9049"/>
                  </a:lnTo>
                  <a:lnTo>
                    <a:pt x="42097" y="9442"/>
                  </a:lnTo>
                  <a:lnTo>
                    <a:pt x="32261" y="9049"/>
                  </a:lnTo>
                  <a:lnTo>
                    <a:pt x="31474" y="8655"/>
                  </a:lnTo>
                  <a:lnTo>
                    <a:pt x="28720" y="6688"/>
                  </a:lnTo>
                  <a:lnTo>
                    <a:pt x="25966" y="3934"/>
                  </a:lnTo>
                  <a:lnTo>
                    <a:pt x="23212" y="3147"/>
                  </a:lnTo>
                  <a:lnTo>
                    <a:pt x="20458" y="3934"/>
                  </a:lnTo>
                  <a:lnTo>
                    <a:pt x="17311" y="5901"/>
                  </a:lnTo>
                  <a:lnTo>
                    <a:pt x="15344" y="8655"/>
                  </a:lnTo>
                  <a:lnTo>
                    <a:pt x="13377" y="9049"/>
                  </a:lnTo>
                  <a:lnTo>
                    <a:pt x="10229" y="7475"/>
                  </a:lnTo>
                  <a:lnTo>
                    <a:pt x="7869" y="4721"/>
                  </a:lnTo>
                  <a:lnTo>
                    <a:pt x="5508" y="7475"/>
                  </a:lnTo>
                  <a:lnTo>
                    <a:pt x="2754" y="8655"/>
                  </a:lnTo>
                  <a:lnTo>
                    <a:pt x="1574" y="11409"/>
                  </a:lnTo>
                  <a:lnTo>
                    <a:pt x="1180" y="14557"/>
                  </a:lnTo>
                  <a:lnTo>
                    <a:pt x="0" y="17311"/>
                  </a:lnTo>
                  <a:lnTo>
                    <a:pt x="1180" y="20458"/>
                  </a:lnTo>
                  <a:lnTo>
                    <a:pt x="3934" y="21638"/>
                  </a:lnTo>
                  <a:lnTo>
                    <a:pt x="5901" y="24786"/>
                  </a:lnTo>
                  <a:lnTo>
                    <a:pt x="8656" y="24392"/>
                  </a:lnTo>
                  <a:lnTo>
                    <a:pt x="11409" y="24392"/>
                  </a:lnTo>
                  <a:lnTo>
                    <a:pt x="12983" y="24392"/>
                  </a:lnTo>
                  <a:lnTo>
                    <a:pt x="23606" y="30687"/>
                  </a:lnTo>
                  <a:lnTo>
                    <a:pt x="25573" y="31868"/>
                  </a:lnTo>
                  <a:lnTo>
                    <a:pt x="28327" y="33835"/>
                  </a:lnTo>
                  <a:lnTo>
                    <a:pt x="30294" y="34228"/>
                  </a:lnTo>
                  <a:lnTo>
                    <a:pt x="32261" y="35408"/>
                  </a:lnTo>
                  <a:lnTo>
                    <a:pt x="34228" y="36589"/>
                  </a:lnTo>
                  <a:lnTo>
                    <a:pt x="36982" y="38556"/>
                  </a:lnTo>
                  <a:lnTo>
                    <a:pt x="39736" y="39343"/>
                  </a:lnTo>
                  <a:lnTo>
                    <a:pt x="42490" y="40523"/>
                  </a:lnTo>
                  <a:lnTo>
                    <a:pt x="45244" y="40523"/>
                  </a:lnTo>
                  <a:lnTo>
                    <a:pt x="54293" y="44457"/>
                  </a:lnTo>
                  <a:lnTo>
                    <a:pt x="55080" y="45637"/>
                  </a:lnTo>
                  <a:lnTo>
                    <a:pt x="56654" y="48785"/>
                  </a:lnTo>
                  <a:lnTo>
                    <a:pt x="58227" y="51539"/>
                  </a:lnTo>
                  <a:lnTo>
                    <a:pt x="60981" y="51932"/>
                  </a:lnTo>
                  <a:lnTo>
                    <a:pt x="63735" y="53506"/>
                  </a:lnTo>
                  <a:lnTo>
                    <a:pt x="66882" y="53899"/>
                  </a:lnTo>
                  <a:lnTo>
                    <a:pt x="69637" y="53506"/>
                  </a:lnTo>
                  <a:lnTo>
                    <a:pt x="72784" y="54293"/>
                  </a:lnTo>
                  <a:lnTo>
                    <a:pt x="73177" y="54293"/>
                  </a:lnTo>
                  <a:lnTo>
                    <a:pt x="75931" y="53899"/>
                  </a:lnTo>
                  <a:lnTo>
                    <a:pt x="75144" y="51145"/>
                  </a:lnTo>
                  <a:lnTo>
                    <a:pt x="76325" y="48392"/>
                  </a:lnTo>
                  <a:lnTo>
                    <a:pt x="78292" y="45244"/>
                  </a:lnTo>
                  <a:lnTo>
                    <a:pt x="81046" y="42883"/>
                  </a:lnTo>
                  <a:lnTo>
                    <a:pt x="79079" y="40130"/>
                  </a:lnTo>
                  <a:lnTo>
                    <a:pt x="77111" y="37376"/>
                  </a:lnTo>
                  <a:lnTo>
                    <a:pt x="77505" y="34622"/>
                  </a:lnTo>
                  <a:lnTo>
                    <a:pt x="74751" y="31868"/>
                  </a:lnTo>
                  <a:lnTo>
                    <a:pt x="74751" y="302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28" name="Freeform: Shape 3522">
              <a:extLst>
                <a:ext uri="{FF2B5EF4-FFF2-40B4-BE49-F238E27FC236}">
                  <a16:creationId xmlns:a16="http://schemas.microsoft.com/office/drawing/2014/main" id="{40C6B47C-66C8-4425-B949-CA2D7F5774D2}"/>
                </a:ext>
              </a:extLst>
            </p:cNvPr>
            <p:cNvSpPr/>
            <p:nvPr/>
          </p:nvSpPr>
          <p:spPr>
            <a:xfrm>
              <a:off x="6730203" y="2388823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787 w 0"/>
                <a:gd name="connsiteY1" fmla="*/ 0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787" y="0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29" name="Freeform: Shape 3523">
              <a:extLst>
                <a:ext uri="{FF2B5EF4-FFF2-40B4-BE49-F238E27FC236}">
                  <a16:creationId xmlns:a16="http://schemas.microsoft.com/office/drawing/2014/main" id="{6AE05CEF-3FA4-4C0E-B73E-334B747C0798}"/>
                </a:ext>
              </a:extLst>
            </p:cNvPr>
            <p:cNvSpPr/>
            <p:nvPr/>
          </p:nvSpPr>
          <p:spPr>
            <a:xfrm>
              <a:off x="6396971" y="2472229"/>
              <a:ext cx="3934" cy="3934"/>
            </a:xfrm>
            <a:custGeom>
              <a:avLst/>
              <a:gdLst>
                <a:gd name="connsiteX0" fmla="*/ 3148 w 0"/>
                <a:gd name="connsiteY0" fmla="*/ 787 h 0"/>
                <a:gd name="connsiteX1" fmla="*/ 0 w 0"/>
                <a:gd name="connsiteY1" fmla="*/ 0 h 0"/>
                <a:gd name="connsiteX2" fmla="*/ 236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787"/>
                  </a:moveTo>
                  <a:lnTo>
                    <a:pt x="0" y="0"/>
                  </a:lnTo>
                  <a:lnTo>
                    <a:pt x="236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30" name="Freeform: Shape 3524">
              <a:extLst>
                <a:ext uri="{FF2B5EF4-FFF2-40B4-BE49-F238E27FC236}">
                  <a16:creationId xmlns:a16="http://schemas.microsoft.com/office/drawing/2014/main" id="{6A8CFEA4-182B-4833-8A48-68DC4D183942}"/>
                </a:ext>
              </a:extLst>
            </p:cNvPr>
            <p:cNvSpPr/>
            <p:nvPr/>
          </p:nvSpPr>
          <p:spPr>
            <a:xfrm>
              <a:off x="6637355" y="2403380"/>
              <a:ext cx="3934" cy="7869"/>
            </a:xfrm>
            <a:custGeom>
              <a:avLst/>
              <a:gdLst>
                <a:gd name="connsiteX0" fmla="*/ 787 w 3934"/>
                <a:gd name="connsiteY0" fmla="*/ 2754 h 7868"/>
                <a:gd name="connsiteX1" fmla="*/ 0 w 3934"/>
                <a:gd name="connsiteY1" fmla="*/ 5901 h 7868"/>
                <a:gd name="connsiteX2" fmla="*/ 1574 w 3934"/>
                <a:gd name="connsiteY2" fmla="*/ 8655 h 7868"/>
                <a:gd name="connsiteX3" fmla="*/ 4721 w 3934"/>
                <a:gd name="connsiteY3" fmla="*/ 7475 h 7868"/>
                <a:gd name="connsiteX4" fmla="*/ 4721 w 3934"/>
                <a:gd name="connsiteY4" fmla="*/ 4721 h 7868"/>
                <a:gd name="connsiteX5" fmla="*/ 4721 w 3934"/>
                <a:gd name="connsiteY5" fmla="*/ 1574 h 7868"/>
                <a:gd name="connsiteX6" fmla="*/ 3934 w 3934"/>
                <a:gd name="connsiteY6" fmla="*/ 787 h 7868"/>
                <a:gd name="connsiteX7" fmla="*/ 3541 w 3934"/>
                <a:gd name="connsiteY7" fmla="*/ 787 h 7868"/>
                <a:gd name="connsiteX8" fmla="*/ 3934 w 3934"/>
                <a:gd name="connsiteY8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787" y="2754"/>
                  </a:moveTo>
                  <a:lnTo>
                    <a:pt x="0" y="5901"/>
                  </a:lnTo>
                  <a:lnTo>
                    <a:pt x="1574" y="8655"/>
                  </a:lnTo>
                  <a:lnTo>
                    <a:pt x="4721" y="7475"/>
                  </a:lnTo>
                  <a:lnTo>
                    <a:pt x="4721" y="4721"/>
                  </a:lnTo>
                  <a:lnTo>
                    <a:pt x="4721" y="1574"/>
                  </a:lnTo>
                  <a:lnTo>
                    <a:pt x="3934" y="787"/>
                  </a:lnTo>
                  <a:lnTo>
                    <a:pt x="3541" y="787"/>
                  </a:lnTo>
                  <a:lnTo>
                    <a:pt x="393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31" name="Freeform: Shape 3525">
              <a:extLst>
                <a:ext uri="{FF2B5EF4-FFF2-40B4-BE49-F238E27FC236}">
                  <a16:creationId xmlns:a16="http://schemas.microsoft.com/office/drawing/2014/main" id="{4B267A13-828B-4786-9F96-3020904A08BD}"/>
                </a:ext>
              </a:extLst>
            </p:cNvPr>
            <p:cNvSpPr/>
            <p:nvPr/>
          </p:nvSpPr>
          <p:spPr>
            <a:xfrm>
              <a:off x="6721941" y="2393544"/>
              <a:ext cx="3934" cy="3934"/>
            </a:xfrm>
            <a:custGeom>
              <a:avLst/>
              <a:gdLst>
                <a:gd name="connsiteX0" fmla="*/ 2754 w 0"/>
                <a:gd name="connsiteY0" fmla="*/ 2361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361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32" name="Freeform: Shape 3526">
              <a:extLst>
                <a:ext uri="{FF2B5EF4-FFF2-40B4-BE49-F238E27FC236}">
                  <a16:creationId xmlns:a16="http://schemas.microsoft.com/office/drawing/2014/main" id="{F27AD822-7690-4F92-A747-E7EAD0BA990E}"/>
                </a:ext>
              </a:extLst>
            </p:cNvPr>
            <p:cNvSpPr/>
            <p:nvPr/>
          </p:nvSpPr>
          <p:spPr>
            <a:xfrm>
              <a:off x="6725876" y="2511178"/>
              <a:ext cx="74751" cy="23606"/>
            </a:xfrm>
            <a:custGeom>
              <a:avLst/>
              <a:gdLst>
                <a:gd name="connsiteX0" fmla="*/ 12590 w 74751"/>
                <a:gd name="connsiteY0" fmla="*/ 5508 h 23605"/>
                <a:gd name="connsiteX1" fmla="*/ 9836 w 74751"/>
                <a:gd name="connsiteY1" fmla="*/ 5114 h 23605"/>
                <a:gd name="connsiteX2" fmla="*/ 6689 w 74751"/>
                <a:gd name="connsiteY2" fmla="*/ 3147 h 23605"/>
                <a:gd name="connsiteX3" fmla="*/ 5115 w 74751"/>
                <a:gd name="connsiteY3" fmla="*/ 0 h 23605"/>
                <a:gd name="connsiteX4" fmla="*/ 5115 w 74751"/>
                <a:gd name="connsiteY4" fmla="*/ 3147 h 23605"/>
                <a:gd name="connsiteX5" fmla="*/ 3934 w 74751"/>
                <a:gd name="connsiteY5" fmla="*/ 6295 h 23605"/>
                <a:gd name="connsiteX6" fmla="*/ 787 w 74751"/>
                <a:gd name="connsiteY6" fmla="*/ 4328 h 23605"/>
                <a:gd name="connsiteX7" fmla="*/ 787 w 74751"/>
                <a:gd name="connsiteY7" fmla="*/ 7475 h 23605"/>
                <a:gd name="connsiteX8" fmla="*/ 0 w 74751"/>
                <a:gd name="connsiteY8" fmla="*/ 10229 h 23605"/>
                <a:gd name="connsiteX9" fmla="*/ 0 w 74751"/>
                <a:gd name="connsiteY9" fmla="*/ 13376 h 23605"/>
                <a:gd name="connsiteX10" fmla="*/ 3148 w 74751"/>
                <a:gd name="connsiteY10" fmla="*/ 15344 h 23605"/>
                <a:gd name="connsiteX11" fmla="*/ 5901 w 74751"/>
                <a:gd name="connsiteY11" fmla="*/ 15344 h 23605"/>
                <a:gd name="connsiteX12" fmla="*/ 8656 w 74751"/>
                <a:gd name="connsiteY12" fmla="*/ 14557 h 23605"/>
                <a:gd name="connsiteX13" fmla="*/ 11803 w 74751"/>
                <a:gd name="connsiteY13" fmla="*/ 15344 h 23605"/>
                <a:gd name="connsiteX14" fmla="*/ 14557 w 74751"/>
                <a:gd name="connsiteY14" fmla="*/ 16524 h 23605"/>
                <a:gd name="connsiteX15" fmla="*/ 17311 w 74751"/>
                <a:gd name="connsiteY15" fmla="*/ 16131 h 23605"/>
                <a:gd name="connsiteX16" fmla="*/ 22426 w 74751"/>
                <a:gd name="connsiteY16" fmla="*/ 16917 h 23605"/>
                <a:gd name="connsiteX17" fmla="*/ 29900 w 74751"/>
                <a:gd name="connsiteY17" fmla="*/ 18884 h 23605"/>
                <a:gd name="connsiteX18" fmla="*/ 31474 w 74751"/>
                <a:gd name="connsiteY18" fmla="*/ 19671 h 23605"/>
                <a:gd name="connsiteX19" fmla="*/ 34228 w 74751"/>
                <a:gd name="connsiteY19" fmla="*/ 20065 h 23605"/>
                <a:gd name="connsiteX20" fmla="*/ 35408 w 74751"/>
                <a:gd name="connsiteY20" fmla="*/ 23212 h 23605"/>
                <a:gd name="connsiteX21" fmla="*/ 36196 w 74751"/>
                <a:gd name="connsiteY21" fmla="*/ 25573 h 23605"/>
                <a:gd name="connsiteX22" fmla="*/ 39343 w 74751"/>
                <a:gd name="connsiteY22" fmla="*/ 25573 h 23605"/>
                <a:gd name="connsiteX23" fmla="*/ 42490 w 74751"/>
                <a:gd name="connsiteY23" fmla="*/ 25573 h 23605"/>
                <a:gd name="connsiteX24" fmla="*/ 58621 w 74751"/>
                <a:gd name="connsiteY24" fmla="*/ 23212 h 23605"/>
                <a:gd name="connsiteX25" fmla="*/ 58621 w 74751"/>
                <a:gd name="connsiteY25" fmla="*/ 22819 h 23605"/>
                <a:gd name="connsiteX26" fmla="*/ 64522 w 74751"/>
                <a:gd name="connsiteY26" fmla="*/ 23212 h 23605"/>
                <a:gd name="connsiteX27" fmla="*/ 65309 w 74751"/>
                <a:gd name="connsiteY27" fmla="*/ 23212 h 23605"/>
                <a:gd name="connsiteX28" fmla="*/ 73571 w 74751"/>
                <a:gd name="connsiteY28" fmla="*/ 23212 h 23605"/>
                <a:gd name="connsiteX29" fmla="*/ 74751 w 74751"/>
                <a:gd name="connsiteY29" fmla="*/ 23212 h 23605"/>
                <a:gd name="connsiteX30" fmla="*/ 74751 w 74751"/>
                <a:gd name="connsiteY30" fmla="*/ 22819 h 23605"/>
                <a:gd name="connsiteX31" fmla="*/ 77899 w 74751"/>
                <a:gd name="connsiteY31" fmla="*/ 20458 h 23605"/>
                <a:gd name="connsiteX32" fmla="*/ 78292 w 74751"/>
                <a:gd name="connsiteY32" fmla="*/ 17311 h 23605"/>
                <a:gd name="connsiteX33" fmla="*/ 76718 w 74751"/>
                <a:gd name="connsiteY33" fmla="*/ 14557 h 23605"/>
                <a:gd name="connsiteX34" fmla="*/ 73964 w 74751"/>
                <a:gd name="connsiteY34" fmla="*/ 16524 h 23605"/>
                <a:gd name="connsiteX35" fmla="*/ 70817 w 74751"/>
                <a:gd name="connsiteY35" fmla="*/ 15344 h 23605"/>
                <a:gd name="connsiteX36" fmla="*/ 67670 w 74751"/>
                <a:gd name="connsiteY36" fmla="*/ 16917 h 23605"/>
                <a:gd name="connsiteX37" fmla="*/ 66096 w 74751"/>
                <a:gd name="connsiteY37" fmla="*/ 18098 h 23605"/>
                <a:gd name="connsiteX38" fmla="*/ 62555 w 74751"/>
                <a:gd name="connsiteY38" fmla="*/ 16131 h 23605"/>
                <a:gd name="connsiteX39" fmla="*/ 62948 w 74751"/>
                <a:gd name="connsiteY39" fmla="*/ 14163 h 23605"/>
                <a:gd name="connsiteX40" fmla="*/ 61768 w 74751"/>
                <a:gd name="connsiteY40" fmla="*/ 11409 h 23605"/>
                <a:gd name="connsiteX41" fmla="*/ 59014 w 74751"/>
                <a:gd name="connsiteY41" fmla="*/ 11803 h 23605"/>
                <a:gd name="connsiteX42" fmla="*/ 56260 w 74751"/>
                <a:gd name="connsiteY42" fmla="*/ 12590 h 23605"/>
                <a:gd name="connsiteX43" fmla="*/ 41703 w 74751"/>
                <a:gd name="connsiteY43" fmla="*/ 9049 h 23605"/>
                <a:gd name="connsiteX44" fmla="*/ 40130 w 74751"/>
                <a:gd name="connsiteY44" fmla="*/ 9442 h 23605"/>
                <a:gd name="connsiteX45" fmla="*/ 37376 w 74751"/>
                <a:gd name="connsiteY45" fmla="*/ 9442 h 23605"/>
                <a:gd name="connsiteX46" fmla="*/ 34228 w 74751"/>
                <a:gd name="connsiteY46" fmla="*/ 8655 h 23605"/>
                <a:gd name="connsiteX47" fmla="*/ 31474 w 74751"/>
                <a:gd name="connsiteY47" fmla="*/ 9049 h 23605"/>
                <a:gd name="connsiteX48" fmla="*/ 28720 w 74751"/>
                <a:gd name="connsiteY48" fmla="*/ 10229 h 23605"/>
                <a:gd name="connsiteX49" fmla="*/ 25966 w 74751"/>
                <a:gd name="connsiteY49" fmla="*/ 10623 h 23605"/>
                <a:gd name="connsiteX50" fmla="*/ 23212 w 74751"/>
                <a:gd name="connsiteY50" fmla="*/ 11016 h 23605"/>
                <a:gd name="connsiteX51" fmla="*/ 20852 w 74751"/>
                <a:gd name="connsiteY51" fmla="*/ 10229 h 23605"/>
                <a:gd name="connsiteX52" fmla="*/ 18098 w 74751"/>
                <a:gd name="connsiteY52" fmla="*/ 7475 h 23605"/>
                <a:gd name="connsiteX53" fmla="*/ 15344 w 74751"/>
                <a:gd name="connsiteY53" fmla="*/ 5508 h 23605"/>
                <a:gd name="connsiteX54" fmla="*/ 18098 w 74751"/>
                <a:gd name="connsiteY54" fmla="*/ 3541 h 23605"/>
                <a:gd name="connsiteX55" fmla="*/ 15344 w 74751"/>
                <a:gd name="connsiteY55" fmla="*/ 4328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74751" h="23605">
                  <a:moveTo>
                    <a:pt x="12590" y="5508"/>
                  </a:moveTo>
                  <a:lnTo>
                    <a:pt x="9836" y="5114"/>
                  </a:lnTo>
                  <a:lnTo>
                    <a:pt x="6689" y="3147"/>
                  </a:lnTo>
                  <a:lnTo>
                    <a:pt x="5115" y="0"/>
                  </a:lnTo>
                  <a:lnTo>
                    <a:pt x="5115" y="3147"/>
                  </a:lnTo>
                  <a:lnTo>
                    <a:pt x="3934" y="6295"/>
                  </a:lnTo>
                  <a:lnTo>
                    <a:pt x="787" y="4328"/>
                  </a:lnTo>
                  <a:lnTo>
                    <a:pt x="787" y="7475"/>
                  </a:lnTo>
                  <a:lnTo>
                    <a:pt x="0" y="10229"/>
                  </a:lnTo>
                  <a:lnTo>
                    <a:pt x="0" y="13376"/>
                  </a:lnTo>
                  <a:lnTo>
                    <a:pt x="3148" y="15344"/>
                  </a:lnTo>
                  <a:lnTo>
                    <a:pt x="5901" y="15344"/>
                  </a:lnTo>
                  <a:lnTo>
                    <a:pt x="8656" y="14557"/>
                  </a:lnTo>
                  <a:lnTo>
                    <a:pt x="11803" y="15344"/>
                  </a:lnTo>
                  <a:lnTo>
                    <a:pt x="14557" y="16524"/>
                  </a:lnTo>
                  <a:lnTo>
                    <a:pt x="17311" y="16131"/>
                  </a:lnTo>
                  <a:lnTo>
                    <a:pt x="22426" y="16917"/>
                  </a:lnTo>
                  <a:lnTo>
                    <a:pt x="29900" y="18884"/>
                  </a:lnTo>
                  <a:lnTo>
                    <a:pt x="31474" y="19671"/>
                  </a:lnTo>
                  <a:lnTo>
                    <a:pt x="34228" y="20065"/>
                  </a:lnTo>
                  <a:lnTo>
                    <a:pt x="35408" y="23212"/>
                  </a:lnTo>
                  <a:lnTo>
                    <a:pt x="36196" y="25573"/>
                  </a:lnTo>
                  <a:lnTo>
                    <a:pt x="39343" y="25573"/>
                  </a:lnTo>
                  <a:lnTo>
                    <a:pt x="42490" y="25573"/>
                  </a:lnTo>
                  <a:lnTo>
                    <a:pt x="58621" y="23212"/>
                  </a:lnTo>
                  <a:lnTo>
                    <a:pt x="58621" y="22819"/>
                  </a:lnTo>
                  <a:lnTo>
                    <a:pt x="64522" y="23212"/>
                  </a:lnTo>
                  <a:lnTo>
                    <a:pt x="65309" y="23212"/>
                  </a:lnTo>
                  <a:lnTo>
                    <a:pt x="73571" y="23212"/>
                  </a:lnTo>
                  <a:lnTo>
                    <a:pt x="74751" y="23212"/>
                  </a:lnTo>
                  <a:lnTo>
                    <a:pt x="74751" y="22819"/>
                  </a:lnTo>
                  <a:lnTo>
                    <a:pt x="77899" y="20458"/>
                  </a:lnTo>
                  <a:lnTo>
                    <a:pt x="78292" y="17311"/>
                  </a:lnTo>
                  <a:lnTo>
                    <a:pt x="76718" y="14557"/>
                  </a:lnTo>
                  <a:lnTo>
                    <a:pt x="73964" y="16524"/>
                  </a:lnTo>
                  <a:lnTo>
                    <a:pt x="70817" y="15344"/>
                  </a:lnTo>
                  <a:lnTo>
                    <a:pt x="67670" y="16917"/>
                  </a:lnTo>
                  <a:lnTo>
                    <a:pt x="66096" y="18098"/>
                  </a:lnTo>
                  <a:lnTo>
                    <a:pt x="62555" y="16131"/>
                  </a:lnTo>
                  <a:lnTo>
                    <a:pt x="62948" y="14163"/>
                  </a:lnTo>
                  <a:lnTo>
                    <a:pt x="61768" y="11409"/>
                  </a:lnTo>
                  <a:lnTo>
                    <a:pt x="59014" y="11803"/>
                  </a:lnTo>
                  <a:lnTo>
                    <a:pt x="56260" y="12590"/>
                  </a:lnTo>
                  <a:lnTo>
                    <a:pt x="41703" y="9049"/>
                  </a:lnTo>
                  <a:lnTo>
                    <a:pt x="40130" y="9442"/>
                  </a:lnTo>
                  <a:lnTo>
                    <a:pt x="37376" y="9442"/>
                  </a:lnTo>
                  <a:lnTo>
                    <a:pt x="34228" y="8655"/>
                  </a:lnTo>
                  <a:lnTo>
                    <a:pt x="31474" y="9049"/>
                  </a:lnTo>
                  <a:lnTo>
                    <a:pt x="28720" y="10229"/>
                  </a:lnTo>
                  <a:lnTo>
                    <a:pt x="25966" y="10623"/>
                  </a:lnTo>
                  <a:lnTo>
                    <a:pt x="23212" y="11016"/>
                  </a:lnTo>
                  <a:lnTo>
                    <a:pt x="20852" y="10229"/>
                  </a:lnTo>
                  <a:lnTo>
                    <a:pt x="18098" y="7475"/>
                  </a:lnTo>
                  <a:lnTo>
                    <a:pt x="15344" y="5508"/>
                  </a:lnTo>
                  <a:lnTo>
                    <a:pt x="18098" y="3541"/>
                  </a:lnTo>
                  <a:lnTo>
                    <a:pt x="15344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33" name="Freeform: Shape 3527">
              <a:extLst>
                <a:ext uri="{FF2B5EF4-FFF2-40B4-BE49-F238E27FC236}">
                  <a16:creationId xmlns:a16="http://schemas.microsoft.com/office/drawing/2014/main" id="{03884824-AE88-496A-9431-E9631729B7ED}"/>
                </a:ext>
              </a:extLst>
            </p:cNvPr>
            <p:cNvSpPr/>
            <p:nvPr/>
          </p:nvSpPr>
          <p:spPr>
            <a:xfrm>
              <a:off x="6745154" y="2399839"/>
              <a:ext cx="3934" cy="3934"/>
            </a:xfrm>
            <a:custGeom>
              <a:avLst/>
              <a:gdLst>
                <a:gd name="connsiteX0" fmla="*/ 3934 w 3934"/>
                <a:gd name="connsiteY0" fmla="*/ 6688 h 3934"/>
                <a:gd name="connsiteX1" fmla="*/ 6295 w 3934"/>
                <a:gd name="connsiteY1" fmla="*/ 6295 h 3934"/>
                <a:gd name="connsiteX2" fmla="*/ 5115 w 3934"/>
                <a:gd name="connsiteY2" fmla="*/ 3541 h 3934"/>
                <a:gd name="connsiteX3" fmla="*/ 3148 w 3934"/>
                <a:gd name="connsiteY3" fmla="*/ 787 h 3934"/>
                <a:gd name="connsiteX4" fmla="*/ 393 w 3934"/>
                <a:gd name="connsiteY4" fmla="*/ 0 h 3934"/>
                <a:gd name="connsiteX5" fmla="*/ 0 w 3934"/>
                <a:gd name="connsiteY5" fmla="*/ 2754 h 3934"/>
                <a:gd name="connsiteX6" fmla="*/ 3148 w 3934"/>
                <a:gd name="connsiteY6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3934" y="6688"/>
                  </a:moveTo>
                  <a:lnTo>
                    <a:pt x="6295" y="6295"/>
                  </a:lnTo>
                  <a:lnTo>
                    <a:pt x="5115" y="3541"/>
                  </a:lnTo>
                  <a:lnTo>
                    <a:pt x="3148" y="787"/>
                  </a:lnTo>
                  <a:lnTo>
                    <a:pt x="393" y="0"/>
                  </a:lnTo>
                  <a:lnTo>
                    <a:pt x="0" y="2754"/>
                  </a:lnTo>
                  <a:lnTo>
                    <a:pt x="3148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34" name="Freeform: Shape 3528">
              <a:extLst>
                <a:ext uri="{FF2B5EF4-FFF2-40B4-BE49-F238E27FC236}">
                  <a16:creationId xmlns:a16="http://schemas.microsoft.com/office/drawing/2014/main" id="{478D92BD-60B5-4D00-BA4C-A0D3D8E195CC}"/>
                </a:ext>
              </a:extLst>
            </p:cNvPr>
            <p:cNvSpPr/>
            <p:nvPr/>
          </p:nvSpPr>
          <p:spPr>
            <a:xfrm>
              <a:off x="6749088" y="2459639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0 w 0"/>
                <a:gd name="connsiteY1" fmla="*/ 0 h 0"/>
                <a:gd name="connsiteX2" fmla="*/ 118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0" y="0"/>
                  </a:lnTo>
                  <a:lnTo>
                    <a:pt x="118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35" name="Freeform: Shape 3529">
              <a:extLst>
                <a:ext uri="{FF2B5EF4-FFF2-40B4-BE49-F238E27FC236}">
                  <a16:creationId xmlns:a16="http://schemas.microsoft.com/office/drawing/2014/main" id="{F5BD4C24-90C1-4C0D-B401-0DF02262062E}"/>
                </a:ext>
              </a:extLst>
            </p:cNvPr>
            <p:cNvSpPr/>
            <p:nvPr/>
          </p:nvSpPr>
          <p:spPr>
            <a:xfrm>
              <a:off x="6747121" y="245019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180 w 0"/>
                <a:gd name="connsiteY1" fmla="*/ 2754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180" y="2754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36" name="Freeform: Shape 3530">
              <a:extLst>
                <a:ext uri="{FF2B5EF4-FFF2-40B4-BE49-F238E27FC236}">
                  <a16:creationId xmlns:a16="http://schemas.microsoft.com/office/drawing/2014/main" id="{8E869949-1A6C-4FE4-8C5E-92A798DFDDE2}"/>
                </a:ext>
              </a:extLst>
            </p:cNvPr>
            <p:cNvSpPr/>
            <p:nvPr/>
          </p:nvSpPr>
          <p:spPr>
            <a:xfrm>
              <a:off x="6632240" y="2416756"/>
              <a:ext cx="11803" cy="11803"/>
            </a:xfrm>
            <a:custGeom>
              <a:avLst/>
              <a:gdLst>
                <a:gd name="connsiteX0" fmla="*/ 4721 w 11802"/>
                <a:gd name="connsiteY0" fmla="*/ 2754 h 11802"/>
                <a:gd name="connsiteX1" fmla="*/ 3934 w 11802"/>
                <a:gd name="connsiteY1" fmla="*/ 4721 h 11802"/>
                <a:gd name="connsiteX2" fmla="*/ 1180 w 11802"/>
                <a:gd name="connsiteY2" fmla="*/ 4721 h 11802"/>
                <a:gd name="connsiteX3" fmla="*/ 0 w 11802"/>
                <a:gd name="connsiteY3" fmla="*/ 7475 h 11802"/>
                <a:gd name="connsiteX4" fmla="*/ 787 w 11802"/>
                <a:gd name="connsiteY4" fmla="*/ 10623 h 11802"/>
                <a:gd name="connsiteX5" fmla="*/ 3540 w 11802"/>
                <a:gd name="connsiteY5" fmla="*/ 8655 h 11802"/>
                <a:gd name="connsiteX6" fmla="*/ 4328 w 11802"/>
                <a:gd name="connsiteY6" fmla="*/ 11803 h 11802"/>
                <a:gd name="connsiteX7" fmla="*/ 7081 w 11802"/>
                <a:gd name="connsiteY7" fmla="*/ 11803 h 11802"/>
                <a:gd name="connsiteX8" fmla="*/ 9836 w 11802"/>
                <a:gd name="connsiteY8" fmla="*/ 12983 h 11802"/>
                <a:gd name="connsiteX9" fmla="*/ 12589 w 11802"/>
                <a:gd name="connsiteY9" fmla="*/ 12590 h 11802"/>
                <a:gd name="connsiteX10" fmla="*/ 11409 w 11802"/>
                <a:gd name="connsiteY10" fmla="*/ 9442 h 11802"/>
                <a:gd name="connsiteX11" fmla="*/ 8655 w 11802"/>
                <a:gd name="connsiteY11" fmla="*/ 6688 h 11802"/>
                <a:gd name="connsiteX12" fmla="*/ 7081 w 11802"/>
                <a:gd name="connsiteY12" fmla="*/ 5508 h 11802"/>
                <a:gd name="connsiteX13" fmla="*/ 7081 w 11802"/>
                <a:gd name="connsiteY13" fmla="*/ 2754 h 11802"/>
                <a:gd name="connsiteX14" fmla="*/ 4721 w 11802"/>
                <a:gd name="connsiteY14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802" h="11802">
                  <a:moveTo>
                    <a:pt x="4721" y="2754"/>
                  </a:moveTo>
                  <a:lnTo>
                    <a:pt x="3934" y="4721"/>
                  </a:lnTo>
                  <a:lnTo>
                    <a:pt x="1180" y="4721"/>
                  </a:lnTo>
                  <a:lnTo>
                    <a:pt x="0" y="7475"/>
                  </a:lnTo>
                  <a:lnTo>
                    <a:pt x="787" y="10623"/>
                  </a:lnTo>
                  <a:lnTo>
                    <a:pt x="3540" y="8655"/>
                  </a:lnTo>
                  <a:lnTo>
                    <a:pt x="4328" y="11803"/>
                  </a:lnTo>
                  <a:lnTo>
                    <a:pt x="7081" y="11803"/>
                  </a:lnTo>
                  <a:lnTo>
                    <a:pt x="9836" y="12983"/>
                  </a:lnTo>
                  <a:lnTo>
                    <a:pt x="12589" y="12590"/>
                  </a:lnTo>
                  <a:lnTo>
                    <a:pt x="11409" y="9442"/>
                  </a:lnTo>
                  <a:lnTo>
                    <a:pt x="8655" y="6688"/>
                  </a:lnTo>
                  <a:lnTo>
                    <a:pt x="7081" y="5508"/>
                  </a:lnTo>
                  <a:lnTo>
                    <a:pt x="7081" y="2754"/>
                  </a:lnTo>
                  <a:lnTo>
                    <a:pt x="472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37" name="Freeform: Shape 3531">
              <a:extLst>
                <a:ext uri="{FF2B5EF4-FFF2-40B4-BE49-F238E27FC236}">
                  <a16:creationId xmlns:a16="http://schemas.microsoft.com/office/drawing/2014/main" id="{A83A83C1-8799-46A3-AD22-8FE270EDD7FF}"/>
                </a:ext>
              </a:extLst>
            </p:cNvPr>
            <p:cNvSpPr/>
            <p:nvPr/>
          </p:nvSpPr>
          <p:spPr>
            <a:xfrm>
              <a:off x="6639322" y="2416363"/>
              <a:ext cx="3934" cy="3934"/>
            </a:xfrm>
            <a:custGeom>
              <a:avLst/>
              <a:gdLst>
                <a:gd name="connsiteX0" fmla="*/ 1967 w 0"/>
                <a:gd name="connsiteY0" fmla="*/ 2754 h 3934"/>
                <a:gd name="connsiteX1" fmla="*/ 0 w 0"/>
                <a:gd name="connsiteY1" fmla="*/ 0 h 3934"/>
                <a:gd name="connsiteX2" fmla="*/ 1180 w 0"/>
                <a:gd name="connsiteY2" fmla="*/ 2754 h 3934"/>
                <a:gd name="connsiteX3" fmla="*/ 3148 w 0"/>
                <a:gd name="connsiteY3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967" y="2754"/>
                  </a:moveTo>
                  <a:lnTo>
                    <a:pt x="0" y="0"/>
                  </a:lnTo>
                  <a:lnTo>
                    <a:pt x="1180" y="2754"/>
                  </a:lnTo>
                  <a:lnTo>
                    <a:pt x="3148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38" name="Freeform: Shape 3532">
              <a:extLst>
                <a:ext uri="{FF2B5EF4-FFF2-40B4-BE49-F238E27FC236}">
                  <a16:creationId xmlns:a16="http://schemas.microsoft.com/office/drawing/2014/main" id="{36B0FD0C-FA1F-454D-BAEA-0C4E37306DAD}"/>
                </a:ext>
              </a:extLst>
            </p:cNvPr>
            <p:cNvSpPr/>
            <p:nvPr/>
          </p:nvSpPr>
          <p:spPr>
            <a:xfrm>
              <a:off x="6640896" y="2436427"/>
              <a:ext cx="7869" cy="7869"/>
            </a:xfrm>
            <a:custGeom>
              <a:avLst/>
              <a:gdLst>
                <a:gd name="connsiteX0" fmla="*/ 0 w 7868"/>
                <a:gd name="connsiteY0" fmla="*/ 2754 h 7868"/>
                <a:gd name="connsiteX1" fmla="*/ 2754 w 7868"/>
                <a:gd name="connsiteY1" fmla="*/ 5508 h 7868"/>
                <a:gd name="connsiteX2" fmla="*/ 5901 w 7868"/>
                <a:gd name="connsiteY2" fmla="*/ 7869 h 7868"/>
                <a:gd name="connsiteX3" fmla="*/ 5901 w 7868"/>
                <a:gd name="connsiteY3" fmla="*/ 7082 h 7868"/>
                <a:gd name="connsiteX4" fmla="*/ 8262 w 7868"/>
                <a:gd name="connsiteY4" fmla="*/ 3934 h 7868"/>
                <a:gd name="connsiteX5" fmla="*/ 5508 w 7868"/>
                <a:gd name="connsiteY5" fmla="*/ 1574 h 7868"/>
                <a:gd name="connsiteX6" fmla="*/ 2754 w 7868"/>
                <a:gd name="connsiteY6" fmla="*/ 0 h 7868"/>
                <a:gd name="connsiteX7" fmla="*/ 0 w 7868"/>
                <a:gd name="connsiteY7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7868">
                  <a:moveTo>
                    <a:pt x="0" y="2754"/>
                  </a:moveTo>
                  <a:lnTo>
                    <a:pt x="2754" y="5508"/>
                  </a:lnTo>
                  <a:lnTo>
                    <a:pt x="5901" y="7869"/>
                  </a:lnTo>
                  <a:lnTo>
                    <a:pt x="5901" y="7082"/>
                  </a:lnTo>
                  <a:lnTo>
                    <a:pt x="8262" y="3934"/>
                  </a:lnTo>
                  <a:lnTo>
                    <a:pt x="5508" y="1574"/>
                  </a:ln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39" name="Freeform: Shape 3533">
              <a:extLst>
                <a:ext uri="{FF2B5EF4-FFF2-40B4-BE49-F238E27FC236}">
                  <a16:creationId xmlns:a16="http://schemas.microsoft.com/office/drawing/2014/main" id="{212488A8-007D-4B0F-BAB2-AB375996B97D}"/>
                </a:ext>
              </a:extLst>
            </p:cNvPr>
            <p:cNvSpPr/>
            <p:nvPr/>
          </p:nvSpPr>
          <p:spPr>
            <a:xfrm>
              <a:off x="6706598" y="2487179"/>
              <a:ext cx="3934" cy="7869"/>
            </a:xfrm>
            <a:custGeom>
              <a:avLst/>
              <a:gdLst>
                <a:gd name="connsiteX0" fmla="*/ 4721 w 3934"/>
                <a:gd name="connsiteY0" fmla="*/ 5901 h 7868"/>
                <a:gd name="connsiteX1" fmla="*/ 3541 w 3934"/>
                <a:gd name="connsiteY1" fmla="*/ 2754 h 7868"/>
                <a:gd name="connsiteX2" fmla="*/ 1574 w 3934"/>
                <a:gd name="connsiteY2" fmla="*/ 0 h 7868"/>
                <a:gd name="connsiteX3" fmla="*/ 0 w 3934"/>
                <a:gd name="connsiteY3" fmla="*/ 1967 h 7868"/>
                <a:gd name="connsiteX4" fmla="*/ 787 w 3934"/>
                <a:gd name="connsiteY4" fmla="*/ 4721 h 7868"/>
                <a:gd name="connsiteX5" fmla="*/ 1574 w 3934"/>
                <a:gd name="connsiteY5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4721" y="5901"/>
                  </a:moveTo>
                  <a:lnTo>
                    <a:pt x="3541" y="2754"/>
                  </a:lnTo>
                  <a:lnTo>
                    <a:pt x="1574" y="0"/>
                  </a:lnTo>
                  <a:lnTo>
                    <a:pt x="0" y="1967"/>
                  </a:lnTo>
                  <a:lnTo>
                    <a:pt x="787" y="4721"/>
                  </a:lnTo>
                  <a:lnTo>
                    <a:pt x="1574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40" name="Freeform: Shape 3534">
              <a:extLst>
                <a:ext uri="{FF2B5EF4-FFF2-40B4-BE49-F238E27FC236}">
                  <a16:creationId xmlns:a16="http://schemas.microsoft.com/office/drawing/2014/main" id="{4BFE20AD-3724-4A00-A40C-68973E96F3F5}"/>
                </a:ext>
              </a:extLst>
            </p:cNvPr>
            <p:cNvSpPr/>
            <p:nvPr/>
          </p:nvSpPr>
          <p:spPr>
            <a:xfrm>
              <a:off x="6718794" y="2440362"/>
              <a:ext cx="3934" cy="3934"/>
            </a:xfrm>
            <a:custGeom>
              <a:avLst/>
              <a:gdLst>
                <a:gd name="connsiteX0" fmla="*/ 1967 w 0"/>
                <a:gd name="connsiteY0" fmla="*/ 3147 h 0"/>
                <a:gd name="connsiteX1" fmla="*/ 2360 w 0"/>
                <a:gd name="connsiteY1" fmla="*/ 2754 h 0"/>
                <a:gd name="connsiteX2" fmla="*/ 3147 w 0"/>
                <a:gd name="connsiteY2" fmla="*/ 0 h 0"/>
                <a:gd name="connsiteX3" fmla="*/ 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967" y="3147"/>
                  </a:moveTo>
                  <a:lnTo>
                    <a:pt x="2360" y="2754"/>
                  </a:lnTo>
                  <a:lnTo>
                    <a:pt x="314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41" name="Freeform: Shape 3535">
              <a:extLst>
                <a:ext uri="{FF2B5EF4-FFF2-40B4-BE49-F238E27FC236}">
                  <a16:creationId xmlns:a16="http://schemas.microsoft.com/office/drawing/2014/main" id="{AE613189-FF37-4C65-B307-3AA3D49833C9}"/>
                </a:ext>
              </a:extLst>
            </p:cNvPr>
            <p:cNvSpPr/>
            <p:nvPr/>
          </p:nvSpPr>
          <p:spPr>
            <a:xfrm>
              <a:off x="6743187" y="2443509"/>
              <a:ext cx="3934" cy="3934"/>
            </a:xfrm>
            <a:custGeom>
              <a:avLst/>
              <a:gdLst>
                <a:gd name="connsiteX0" fmla="*/ 2754 w 0"/>
                <a:gd name="connsiteY0" fmla="*/ 0 h 3934"/>
                <a:gd name="connsiteX1" fmla="*/ 0 w 0"/>
                <a:gd name="connsiteY1" fmla="*/ 1967 h 3934"/>
                <a:gd name="connsiteX2" fmla="*/ 393 w 0"/>
                <a:gd name="connsiteY2" fmla="*/ 5115 h 3934"/>
                <a:gd name="connsiteX3" fmla="*/ 2754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2754" y="0"/>
                  </a:moveTo>
                  <a:lnTo>
                    <a:pt x="0" y="1967"/>
                  </a:lnTo>
                  <a:lnTo>
                    <a:pt x="393" y="5115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42" name="Freeform: Shape 3536">
              <a:extLst>
                <a:ext uri="{FF2B5EF4-FFF2-40B4-BE49-F238E27FC236}">
                  <a16:creationId xmlns:a16="http://schemas.microsoft.com/office/drawing/2014/main" id="{92B2F51A-3AEC-4BFB-B46D-88BFA3825BED}"/>
                </a:ext>
              </a:extLst>
            </p:cNvPr>
            <p:cNvSpPr/>
            <p:nvPr/>
          </p:nvSpPr>
          <p:spPr>
            <a:xfrm>
              <a:off x="6746334" y="2474590"/>
              <a:ext cx="3934" cy="3934"/>
            </a:xfrm>
            <a:custGeom>
              <a:avLst/>
              <a:gdLst>
                <a:gd name="connsiteX0" fmla="*/ 0 w 3934"/>
                <a:gd name="connsiteY0" fmla="*/ 3541 h 0"/>
                <a:gd name="connsiteX1" fmla="*/ 2754 w 3934"/>
                <a:gd name="connsiteY1" fmla="*/ 3147 h 0"/>
                <a:gd name="connsiteX2" fmla="*/ 5508 w 3934"/>
                <a:gd name="connsiteY2" fmla="*/ 2754 h 0"/>
                <a:gd name="connsiteX3" fmla="*/ 5901 w 3934"/>
                <a:gd name="connsiteY3" fmla="*/ 0 h 0"/>
                <a:gd name="connsiteX4" fmla="*/ 3147 w 3934"/>
                <a:gd name="connsiteY4" fmla="*/ 2360 h 0"/>
                <a:gd name="connsiteX5" fmla="*/ 0 w 3934"/>
                <a:gd name="connsiteY5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0" y="3541"/>
                  </a:moveTo>
                  <a:lnTo>
                    <a:pt x="2754" y="3147"/>
                  </a:lnTo>
                  <a:lnTo>
                    <a:pt x="5508" y="2754"/>
                  </a:lnTo>
                  <a:lnTo>
                    <a:pt x="5901" y="0"/>
                  </a:lnTo>
                  <a:lnTo>
                    <a:pt x="3147" y="236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43" name="Freeform: Shape 3537">
              <a:extLst>
                <a:ext uri="{FF2B5EF4-FFF2-40B4-BE49-F238E27FC236}">
                  <a16:creationId xmlns:a16="http://schemas.microsoft.com/office/drawing/2014/main" id="{AF84F243-6537-417F-86E1-2EE11EFAEF53}"/>
                </a:ext>
              </a:extLst>
            </p:cNvPr>
            <p:cNvSpPr/>
            <p:nvPr/>
          </p:nvSpPr>
          <p:spPr>
            <a:xfrm>
              <a:off x="6755383" y="2466721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2754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2754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44" name="Freeform: Shape 3538">
              <a:extLst>
                <a:ext uri="{FF2B5EF4-FFF2-40B4-BE49-F238E27FC236}">
                  <a16:creationId xmlns:a16="http://schemas.microsoft.com/office/drawing/2014/main" id="{7153512E-5066-41E0-A2E2-13DC84987A9E}"/>
                </a:ext>
              </a:extLst>
            </p:cNvPr>
            <p:cNvSpPr/>
            <p:nvPr/>
          </p:nvSpPr>
          <p:spPr>
            <a:xfrm>
              <a:off x="6754203" y="2432493"/>
              <a:ext cx="7869" cy="7869"/>
            </a:xfrm>
            <a:custGeom>
              <a:avLst/>
              <a:gdLst>
                <a:gd name="connsiteX0" fmla="*/ 2754 w 7868"/>
                <a:gd name="connsiteY0" fmla="*/ 0 h 7868"/>
                <a:gd name="connsiteX1" fmla="*/ 0 w 7868"/>
                <a:gd name="connsiteY1" fmla="*/ 2361 h 7868"/>
                <a:gd name="connsiteX2" fmla="*/ 2754 w 7868"/>
                <a:gd name="connsiteY2" fmla="*/ 4721 h 7868"/>
                <a:gd name="connsiteX3" fmla="*/ 5114 w 7868"/>
                <a:gd name="connsiteY3" fmla="*/ 7869 h 7868"/>
                <a:gd name="connsiteX4" fmla="*/ 7869 w 7868"/>
                <a:gd name="connsiteY4" fmla="*/ 10623 h 7868"/>
                <a:gd name="connsiteX5" fmla="*/ 8655 w 7868"/>
                <a:gd name="connsiteY5" fmla="*/ 9049 h 7868"/>
                <a:gd name="connsiteX6" fmla="*/ 7869 w 7868"/>
                <a:gd name="connsiteY6" fmla="*/ 5901 h 7868"/>
                <a:gd name="connsiteX7" fmla="*/ 7081 w 7868"/>
                <a:gd name="connsiteY7" fmla="*/ 3147 h 7868"/>
                <a:gd name="connsiteX8" fmla="*/ 4328 w 7868"/>
                <a:gd name="connsiteY8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7868">
                  <a:moveTo>
                    <a:pt x="2754" y="0"/>
                  </a:moveTo>
                  <a:lnTo>
                    <a:pt x="0" y="2361"/>
                  </a:lnTo>
                  <a:lnTo>
                    <a:pt x="2754" y="4721"/>
                  </a:lnTo>
                  <a:lnTo>
                    <a:pt x="5114" y="7869"/>
                  </a:lnTo>
                  <a:lnTo>
                    <a:pt x="7869" y="10623"/>
                  </a:lnTo>
                  <a:lnTo>
                    <a:pt x="8655" y="9049"/>
                  </a:lnTo>
                  <a:lnTo>
                    <a:pt x="7869" y="5901"/>
                  </a:lnTo>
                  <a:lnTo>
                    <a:pt x="7081" y="3147"/>
                  </a:lnTo>
                  <a:lnTo>
                    <a:pt x="432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45" name="Freeform: Shape 3539">
              <a:extLst>
                <a:ext uri="{FF2B5EF4-FFF2-40B4-BE49-F238E27FC236}">
                  <a16:creationId xmlns:a16="http://schemas.microsoft.com/office/drawing/2014/main" id="{0C5C42A8-A22D-45F0-AD0D-BCE8402335C9}"/>
                </a:ext>
              </a:extLst>
            </p:cNvPr>
            <p:cNvSpPr/>
            <p:nvPr/>
          </p:nvSpPr>
          <p:spPr>
            <a:xfrm>
              <a:off x="6760891" y="2478524"/>
              <a:ext cx="3934" cy="3934"/>
            </a:xfrm>
            <a:custGeom>
              <a:avLst/>
              <a:gdLst>
                <a:gd name="connsiteX0" fmla="*/ 3148 w 0"/>
                <a:gd name="connsiteY0" fmla="*/ 393 h 0"/>
                <a:gd name="connsiteX1" fmla="*/ 0 w 0"/>
                <a:gd name="connsiteY1" fmla="*/ 0 h 0"/>
                <a:gd name="connsiteX2" fmla="*/ 3148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393"/>
                  </a:moveTo>
                  <a:lnTo>
                    <a:pt x="0" y="0"/>
                  </a:lnTo>
                  <a:lnTo>
                    <a:pt x="3148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46" name="Freeform: Shape 3540">
              <a:extLst>
                <a:ext uri="{FF2B5EF4-FFF2-40B4-BE49-F238E27FC236}">
                  <a16:creationId xmlns:a16="http://schemas.microsoft.com/office/drawing/2014/main" id="{51059E11-BF6D-4DFB-8A51-FFD36B2E909B}"/>
                </a:ext>
              </a:extLst>
            </p:cNvPr>
            <p:cNvSpPr/>
            <p:nvPr/>
          </p:nvSpPr>
          <p:spPr>
            <a:xfrm>
              <a:off x="6760104" y="2364430"/>
              <a:ext cx="7869" cy="3934"/>
            </a:xfrm>
            <a:custGeom>
              <a:avLst/>
              <a:gdLst>
                <a:gd name="connsiteX0" fmla="*/ 3934 w 7868"/>
                <a:gd name="connsiteY0" fmla="*/ 393 h 3934"/>
                <a:gd name="connsiteX1" fmla="*/ 3540 w 7868"/>
                <a:gd name="connsiteY1" fmla="*/ 393 h 3934"/>
                <a:gd name="connsiteX2" fmla="*/ 2754 w 7868"/>
                <a:gd name="connsiteY2" fmla="*/ 393 h 3934"/>
                <a:gd name="connsiteX3" fmla="*/ 1180 w 7868"/>
                <a:gd name="connsiteY3" fmla="*/ 393 h 3934"/>
                <a:gd name="connsiteX4" fmla="*/ 393 w 7868"/>
                <a:gd name="connsiteY4" fmla="*/ 2754 h 3934"/>
                <a:gd name="connsiteX5" fmla="*/ 0 w 7868"/>
                <a:gd name="connsiteY5" fmla="*/ 5508 h 3934"/>
                <a:gd name="connsiteX6" fmla="*/ 3147 w 7868"/>
                <a:gd name="connsiteY6" fmla="*/ 6295 h 3934"/>
                <a:gd name="connsiteX7" fmla="*/ 5901 w 7868"/>
                <a:gd name="connsiteY7" fmla="*/ 5114 h 3934"/>
                <a:gd name="connsiteX8" fmla="*/ 9049 w 7868"/>
                <a:gd name="connsiteY8" fmla="*/ 5901 h 3934"/>
                <a:gd name="connsiteX9" fmla="*/ 9442 w 7868"/>
                <a:gd name="connsiteY9" fmla="*/ 3147 h 3934"/>
                <a:gd name="connsiteX10" fmla="*/ 10622 w 7868"/>
                <a:gd name="connsiteY10" fmla="*/ 393 h 3934"/>
                <a:gd name="connsiteX11" fmla="*/ 10622 w 7868"/>
                <a:gd name="connsiteY11" fmla="*/ 0 h 3934"/>
                <a:gd name="connsiteX12" fmla="*/ 8262 w 7868"/>
                <a:gd name="connsiteY12" fmla="*/ 393 h 3934"/>
                <a:gd name="connsiteX13" fmla="*/ 7869 w 7868"/>
                <a:gd name="connsiteY13" fmla="*/ 1180 h 3934"/>
                <a:gd name="connsiteX14" fmla="*/ 5114 w 7868"/>
                <a:gd name="connsiteY14" fmla="*/ 393 h 3934"/>
                <a:gd name="connsiteX15" fmla="*/ 4328 w 7868"/>
                <a:gd name="connsiteY15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68" h="3934">
                  <a:moveTo>
                    <a:pt x="3934" y="393"/>
                  </a:moveTo>
                  <a:lnTo>
                    <a:pt x="3540" y="393"/>
                  </a:lnTo>
                  <a:lnTo>
                    <a:pt x="2754" y="393"/>
                  </a:lnTo>
                  <a:lnTo>
                    <a:pt x="1180" y="393"/>
                  </a:lnTo>
                  <a:lnTo>
                    <a:pt x="393" y="2754"/>
                  </a:lnTo>
                  <a:lnTo>
                    <a:pt x="0" y="5508"/>
                  </a:lnTo>
                  <a:lnTo>
                    <a:pt x="3147" y="6295"/>
                  </a:lnTo>
                  <a:lnTo>
                    <a:pt x="5901" y="5114"/>
                  </a:lnTo>
                  <a:lnTo>
                    <a:pt x="9049" y="5901"/>
                  </a:lnTo>
                  <a:lnTo>
                    <a:pt x="9442" y="3147"/>
                  </a:lnTo>
                  <a:lnTo>
                    <a:pt x="10622" y="393"/>
                  </a:lnTo>
                  <a:lnTo>
                    <a:pt x="10622" y="0"/>
                  </a:lnTo>
                  <a:lnTo>
                    <a:pt x="8262" y="393"/>
                  </a:lnTo>
                  <a:lnTo>
                    <a:pt x="7869" y="1180"/>
                  </a:lnTo>
                  <a:lnTo>
                    <a:pt x="5114" y="393"/>
                  </a:lnTo>
                  <a:lnTo>
                    <a:pt x="4328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47" name="Freeform: Shape 3541">
              <a:extLst>
                <a:ext uri="{FF2B5EF4-FFF2-40B4-BE49-F238E27FC236}">
                  <a16:creationId xmlns:a16="http://schemas.microsoft.com/office/drawing/2014/main" id="{CF899611-62F7-4B63-9DDB-5C876B18040B}"/>
                </a:ext>
              </a:extLst>
            </p:cNvPr>
            <p:cNvSpPr/>
            <p:nvPr/>
          </p:nvSpPr>
          <p:spPr>
            <a:xfrm>
              <a:off x="6763251" y="2443509"/>
              <a:ext cx="3934" cy="3934"/>
            </a:xfrm>
            <a:custGeom>
              <a:avLst/>
              <a:gdLst>
                <a:gd name="connsiteX0" fmla="*/ 6689 w 3934"/>
                <a:gd name="connsiteY0" fmla="*/ 3934 h 3934"/>
                <a:gd name="connsiteX1" fmla="*/ 5901 w 3934"/>
                <a:gd name="connsiteY1" fmla="*/ 1180 h 3934"/>
                <a:gd name="connsiteX2" fmla="*/ 3148 w 3934"/>
                <a:gd name="connsiteY2" fmla="*/ 787 h 3934"/>
                <a:gd name="connsiteX3" fmla="*/ 0 w 3934"/>
                <a:gd name="connsiteY3" fmla="*/ 0 h 3934"/>
                <a:gd name="connsiteX4" fmla="*/ 0 w 3934"/>
                <a:gd name="connsiteY4" fmla="*/ 1180 h 3934"/>
                <a:gd name="connsiteX5" fmla="*/ 787 w 3934"/>
                <a:gd name="connsiteY5" fmla="*/ 1574 h 3934"/>
                <a:gd name="connsiteX6" fmla="*/ 3934 w 3934"/>
                <a:gd name="connsiteY6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6689" y="3934"/>
                  </a:moveTo>
                  <a:lnTo>
                    <a:pt x="5901" y="1180"/>
                  </a:lnTo>
                  <a:lnTo>
                    <a:pt x="3148" y="787"/>
                  </a:lnTo>
                  <a:lnTo>
                    <a:pt x="0" y="0"/>
                  </a:lnTo>
                  <a:lnTo>
                    <a:pt x="0" y="1180"/>
                  </a:lnTo>
                  <a:lnTo>
                    <a:pt x="787" y="1574"/>
                  </a:lnTo>
                  <a:lnTo>
                    <a:pt x="3934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48" name="Freeform: Shape 3542">
              <a:extLst>
                <a:ext uri="{FF2B5EF4-FFF2-40B4-BE49-F238E27FC236}">
                  <a16:creationId xmlns:a16="http://schemas.microsoft.com/office/drawing/2014/main" id="{6BE8F2A7-E5EB-41EF-B326-956686FAC5CB}"/>
                </a:ext>
              </a:extLst>
            </p:cNvPr>
            <p:cNvSpPr/>
            <p:nvPr/>
          </p:nvSpPr>
          <p:spPr>
            <a:xfrm>
              <a:off x="6767579" y="2461607"/>
              <a:ext cx="3934" cy="3934"/>
            </a:xfrm>
            <a:custGeom>
              <a:avLst/>
              <a:gdLst>
                <a:gd name="connsiteX0" fmla="*/ 0 w 3934"/>
                <a:gd name="connsiteY0" fmla="*/ 2361 h 3934"/>
                <a:gd name="connsiteX1" fmla="*/ 2361 w 3934"/>
                <a:gd name="connsiteY1" fmla="*/ 5508 h 3934"/>
                <a:gd name="connsiteX2" fmla="*/ 4328 w 3934"/>
                <a:gd name="connsiteY2" fmla="*/ 2754 h 3934"/>
                <a:gd name="connsiteX3" fmla="*/ 2754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0" y="2361"/>
                  </a:moveTo>
                  <a:lnTo>
                    <a:pt x="2361" y="5508"/>
                  </a:lnTo>
                  <a:lnTo>
                    <a:pt x="4328" y="275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49" name="Freeform: Shape 3543">
              <a:extLst>
                <a:ext uri="{FF2B5EF4-FFF2-40B4-BE49-F238E27FC236}">
                  <a16:creationId xmlns:a16="http://schemas.microsoft.com/office/drawing/2014/main" id="{59DD5A74-6911-4E46-8092-A8AEB74DBB30}"/>
                </a:ext>
              </a:extLst>
            </p:cNvPr>
            <p:cNvSpPr/>
            <p:nvPr/>
          </p:nvSpPr>
          <p:spPr>
            <a:xfrm>
              <a:off x="6772300" y="2449804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180 w 0"/>
                <a:gd name="connsiteY1" fmla="*/ 2754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180" y="275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50" name="Freeform: Shape 3544">
              <a:extLst>
                <a:ext uri="{FF2B5EF4-FFF2-40B4-BE49-F238E27FC236}">
                  <a16:creationId xmlns:a16="http://schemas.microsoft.com/office/drawing/2014/main" id="{1008ED87-593A-45B6-B304-A0B545E54EA8}"/>
                </a:ext>
              </a:extLst>
            </p:cNvPr>
            <p:cNvSpPr/>
            <p:nvPr/>
          </p:nvSpPr>
          <p:spPr>
            <a:xfrm>
              <a:off x="6784890" y="2412035"/>
              <a:ext cx="7869" cy="11803"/>
            </a:xfrm>
            <a:custGeom>
              <a:avLst/>
              <a:gdLst>
                <a:gd name="connsiteX0" fmla="*/ 5901 w 7868"/>
                <a:gd name="connsiteY0" fmla="*/ 0 h 11802"/>
                <a:gd name="connsiteX1" fmla="*/ 3148 w 7868"/>
                <a:gd name="connsiteY1" fmla="*/ 0 h 11802"/>
                <a:gd name="connsiteX2" fmla="*/ 0 w 7868"/>
                <a:gd name="connsiteY2" fmla="*/ 2754 h 11802"/>
                <a:gd name="connsiteX3" fmla="*/ 3148 w 7868"/>
                <a:gd name="connsiteY3" fmla="*/ 4721 h 11802"/>
                <a:gd name="connsiteX4" fmla="*/ 4721 w 7868"/>
                <a:gd name="connsiteY4" fmla="*/ 7475 h 11802"/>
                <a:gd name="connsiteX5" fmla="*/ 2754 w 7868"/>
                <a:gd name="connsiteY5" fmla="*/ 10229 h 11802"/>
                <a:gd name="connsiteX6" fmla="*/ 2754 w 7868"/>
                <a:gd name="connsiteY6" fmla="*/ 13377 h 11802"/>
                <a:gd name="connsiteX7" fmla="*/ 5901 w 7868"/>
                <a:gd name="connsiteY7" fmla="*/ 15344 h 11802"/>
                <a:gd name="connsiteX8" fmla="*/ 7869 w 7868"/>
                <a:gd name="connsiteY8" fmla="*/ 13377 h 11802"/>
                <a:gd name="connsiteX9" fmla="*/ 8656 w 7868"/>
                <a:gd name="connsiteY9" fmla="*/ 10229 h 11802"/>
                <a:gd name="connsiteX10" fmla="*/ 8656 w 7868"/>
                <a:gd name="connsiteY10" fmla="*/ 7475 h 11802"/>
                <a:gd name="connsiteX11" fmla="*/ 8656 w 7868"/>
                <a:gd name="connsiteY11" fmla="*/ 4328 h 11802"/>
                <a:gd name="connsiteX12" fmla="*/ 8656 w 7868"/>
                <a:gd name="connsiteY12" fmla="*/ 1574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868" h="11802">
                  <a:moveTo>
                    <a:pt x="5901" y="0"/>
                  </a:moveTo>
                  <a:lnTo>
                    <a:pt x="3148" y="0"/>
                  </a:lnTo>
                  <a:lnTo>
                    <a:pt x="0" y="2754"/>
                  </a:lnTo>
                  <a:lnTo>
                    <a:pt x="3148" y="4721"/>
                  </a:lnTo>
                  <a:lnTo>
                    <a:pt x="4721" y="7475"/>
                  </a:lnTo>
                  <a:lnTo>
                    <a:pt x="2754" y="10229"/>
                  </a:lnTo>
                  <a:lnTo>
                    <a:pt x="2754" y="13377"/>
                  </a:lnTo>
                  <a:lnTo>
                    <a:pt x="5901" y="15344"/>
                  </a:lnTo>
                  <a:lnTo>
                    <a:pt x="7869" y="13377"/>
                  </a:lnTo>
                  <a:lnTo>
                    <a:pt x="8656" y="10229"/>
                  </a:lnTo>
                  <a:lnTo>
                    <a:pt x="8656" y="7475"/>
                  </a:lnTo>
                  <a:lnTo>
                    <a:pt x="8656" y="4328"/>
                  </a:lnTo>
                  <a:lnTo>
                    <a:pt x="8656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51" name="Freeform: Shape 3545">
              <a:extLst>
                <a:ext uri="{FF2B5EF4-FFF2-40B4-BE49-F238E27FC236}">
                  <a16:creationId xmlns:a16="http://schemas.microsoft.com/office/drawing/2014/main" id="{48D08F47-FED1-4FAE-92B4-757392CDD41A}"/>
                </a:ext>
              </a:extLst>
            </p:cNvPr>
            <p:cNvSpPr/>
            <p:nvPr/>
          </p:nvSpPr>
          <p:spPr>
            <a:xfrm>
              <a:off x="6791184" y="2443116"/>
              <a:ext cx="7869" cy="3934"/>
            </a:xfrm>
            <a:custGeom>
              <a:avLst/>
              <a:gdLst>
                <a:gd name="connsiteX0" fmla="*/ 3934 w 7868"/>
                <a:gd name="connsiteY0" fmla="*/ 1574 h 3934"/>
                <a:gd name="connsiteX1" fmla="*/ 787 w 7868"/>
                <a:gd name="connsiteY1" fmla="*/ 3147 h 3934"/>
                <a:gd name="connsiteX2" fmla="*/ 0 w 7868"/>
                <a:gd name="connsiteY2" fmla="*/ 5901 h 3934"/>
                <a:gd name="connsiteX3" fmla="*/ 2361 w 7868"/>
                <a:gd name="connsiteY3" fmla="*/ 5508 h 3934"/>
                <a:gd name="connsiteX4" fmla="*/ 7869 w 7868"/>
                <a:gd name="connsiteY4" fmla="*/ 2754 h 3934"/>
                <a:gd name="connsiteX5" fmla="*/ 9836 w 7868"/>
                <a:gd name="connsiteY5" fmla="*/ 0 h 3934"/>
                <a:gd name="connsiteX6" fmla="*/ 6689 w 7868"/>
                <a:gd name="connsiteY6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3934" y="1574"/>
                  </a:moveTo>
                  <a:lnTo>
                    <a:pt x="787" y="3147"/>
                  </a:lnTo>
                  <a:lnTo>
                    <a:pt x="0" y="5901"/>
                  </a:lnTo>
                  <a:lnTo>
                    <a:pt x="2361" y="5508"/>
                  </a:lnTo>
                  <a:lnTo>
                    <a:pt x="7869" y="2754"/>
                  </a:lnTo>
                  <a:lnTo>
                    <a:pt x="9836" y="0"/>
                  </a:lnTo>
                  <a:lnTo>
                    <a:pt x="6689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52" name="Freeform: Shape 3546">
              <a:extLst>
                <a:ext uri="{FF2B5EF4-FFF2-40B4-BE49-F238E27FC236}">
                  <a16:creationId xmlns:a16="http://schemas.microsoft.com/office/drawing/2014/main" id="{918D8A01-8019-4002-A81E-C813C18372F2}"/>
                </a:ext>
              </a:extLst>
            </p:cNvPr>
            <p:cNvSpPr/>
            <p:nvPr/>
          </p:nvSpPr>
          <p:spPr>
            <a:xfrm>
              <a:off x="6783710" y="2385675"/>
              <a:ext cx="19671" cy="11803"/>
            </a:xfrm>
            <a:custGeom>
              <a:avLst/>
              <a:gdLst>
                <a:gd name="connsiteX0" fmla="*/ 19278 w 19671"/>
                <a:gd name="connsiteY0" fmla="*/ 11409 h 11802"/>
                <a:gd name="connsiteX1" fmla="*/ 22032 w 19671"/>
                <a:gd name="connsiteY1" fmla="*/ 12196 h 11802"/>
                <a:gd name="connsiteX2" fmla="*/ 20065 w 19671"/>
                <a:gd name="connsiteY2" fmla="*/ 9442 h 11802"/>
                <a:gd name="connsiteX3" fmla="*/ 18098 w 19671"/>
                <a:gd name="connsiteY3" fmla="*/ 6295 h 11802"/>
                <a:gd name="connsiteX4" fmla="*/ 15343 w 19671"/>
                <a:gd name="connsiteY4" fmla="*/ 3934 h 11802"/>
                <a:gd name="connsiteX5" fmla="*/ 14557 w 19671"/>
                <a:gd name="connsiteY5" fmla="*/ 1180 h 11802"/>
                <a:gd name="connsiteX6" fmla="*/ 11803 w 19671"/>
                <a:gd name="connsiteY6" fmla="*/ 0 h 11802"/>
                <a:gd name="connsiteX7" fmla="*/ 9049 w 19671"/>
                <a:gd name="connsiteY7" fmla="*/ 1967 h 11802"/>
                <a:gd name="connsiteX8" fmla="*/ 5901 w 19671"/>
                <a:gd name="connsiteY8" fmla="*/ 3147 h 11802"/>
                <a:gd name="connsiteX9" fmla="*/ 2754 w 19671"/>
                <a:gd name="connsiteY9" fmla="*/ 3147 h 11802"/>
                <a:gd name="connsiteX10" fmla="*/ 0 w 19671"/>
                <a:gd name="connsiteY10" fmla="*/ 5114 h 11802"/>
                <a:gd name="connsiteX11" fmla="*/ 1967 w 19671"/>
                <a:gd name="connsiteY11" fmla="*/ 8262 h 11802"/>
                <a:gd name="connsiteX12" fmla="*/ 5114 w 19671"/>
                <a:gd name="connsiteY12" fmla="*/ 9442 h 11802"/>
                <a:gd name="connsiteX13" fmla="*/ 7869 w 19671"/>
                <a:gd name="connsiteY13" fmla="*/ 8262 h 11802"/>
                <a:gd name="connsiteX14" fmla="*/ 10622 w 19671"/>
                <a:gd name="connsiteY14" fmla="*/ 8262 h 11802"/>
                <a:gd name="connsiteX15" fmla="*/ 7869 w 19671"/>
                <a:gd name="connsiteY15" fmla="*/ 10229 h 11802"/>
                <a:gd name="connsiteX16" fmla="*/ 10622 w 19671"/>
                <a:gd name="connsiteY16" fmla="*/ 12196 h 11802"/>
                <a:gd name="connsiteX17" fmla="*/ 13770 w 19671"/>
                <a:gd name="connsiteY17" fmla="*/ 13376 h 11802"/>
                <a:gd name="connsiteX18" fmla="*/ 16524 w 19671"/>
                <a:gd name="connsiteY18" fmla="*/ 14163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71" h="11802">
                  <a:moveTo>
                    <a:pt x="19278" y="11409"/>
                  </a:moveTo>
                  <a:lnTo>
                    <a:pt x="22032" y="12196"/>
                  </a:lnTo>
                  <a:lnTo>
                    <a:pt x="20065" y="9442"/>
                  </a:lnTo>
                  <a:lnTo>
                    <a:pt x="18098" y="6295"/>
                  </a:lnTo>
                  <a:lnTo>
                    <a:pt x="15343" y="3934"/>
                  </a:lnTo>
                  <a:lnTo>
                    <a:pt x="14557" y="1180"/>
                  </a:lnTo>
                  <a:lnTo>
                    <a:pt x="11803" y="0"/>
                  </a:lnTo>
                  <a:lnTo>
                    <a:pt x="9049" y="1967"/>
                  </a:lnTo>
                  <a:lnTo>
                    <a:pt x="5901" y="3147"/>
                  </a:lnTo>
                  <a:lnTo>
                    <a:pt x="2754" y="3147"/>
                  </a:lnTo>
                  <a:lnTo>
                    <a:pt x="0" y="5114"/>
                  </a:lnTo>
                  <a:lnTo>
                    <a:pt x="1967" y="8262"/>
                  </a:lnTo>
                  <a:lnTo>
                    <a:pt x="5114" y="9442"/>
                  </a:lnTo>
                  <a:lnTo>
                    <a:pt x="7869" y="8262"/>
                  </a:lnTo>
                  <a:lnTo>
                    <a:pt x="10622" y="8262"/>
                  </a:lnTo>
                  <a:lnTo>
                    <a:pt x="7869" y="10229"/>
                  </a:lnTo>
                  <a:lnTo>
                    <a:pt x="10622" y="12196"/>
                  </a:lnTo>
                  <a:lnTo>
                    <a:pt x="13770" y="13376"/>
                  </a:lnTo>
                  <a:lnTo>
                    <a:pt x="16524" y="1416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53" name="Freeform: Shape 3547">
              <a:extLst>
                <a:ext uri="{FF2B5EF4-FFF2-40B4-BE49-F238E27FC236}">
                  <a16:creationId xmlns:a16="http://schemas.microsoft.com/office/drawing/2014/main" id="{FB6D08A7-1A1A-49A9-8EA6-6F708326BEB7}"/>
                </a:ext>
              </a:extLst>
            </p:cNvPr>
            <p:cNvSpPr/>
            <p:nvPr/>
          </p:nvSpPr>
          <p:spPr>
            <a:xfrm>
              <a:off x="6808102" y="2438788"/>
              <a:ext cx="11803" cy="3934"/>
            </a:xfrm>
            <a:custGeom>
              <a:avLst/>
              <a:gdLst>
                <a:gd name="connsiteX0" fmla="*/ 5901 w 11802"/>
                <a:gd name="connsiteY0" fmla="*/ 0 h 3934"/>
                <a:gd name="connsiteX1" fmla="*/ 2754 w 11802"/>
                <a:gd name="connsiteY1" fmla="*/ 0 h 3934"/>
                <a:gd name="connsiteX2" fmla="*/ 0 w 11802"/>
                <a:gd name="connsiteY2" fmla="*/ 1574 h 3934"/>
                <a:gd name="connsiteX3" fmla="*/ 393 w 11802"/>
                <a:gd name="connsiteY3" fmla="*/ 4328 h 3934"/>
                <a:gd name="connsiteX4" fmla="*/ 3148 w 11802"/>
                <a:gd name="connsiteY4" fmla="*/ 3934 h 3934"/>
                <a:gd name="connsiteX5" fmla="*/ 5901 w 11802"/>
                <a:gd name="connsiteY5" fmla="*/ 5901 h 3934"/>
                <a:gd name="connsiteX6" fmla="*/ 6688 w 11802"/>
                <a:gd name="connsiteY6" fmla="*/ 5901 h 3934"/>
                <a:gd name="connsiteX7" fmla="*/ 9836 w 11802"/>
                <a:gd name="connsiteY7" fmla="*/ 3934 h 3934"/>
                <a:gd name="connsiteX8" fmla="*/ 11803 w 11802"/>
                <a:gd name="connsiteY8" fmla="*/ 1180 h 3934"/>
                <a:gd name="connsiteX9" fmla="*/ 8655 w 11802"/>
                <a:gd name="connsiteY9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5901" y="0"/>
                  </a:moveTo>
                  <a:lnTo>
                    <a:pt x="2754" y="0"/>
                  </a:lnTo>
                  <a:lnTo>
                    <a:pt x="0" y="1574"/>
                  </a:lnTo>
                  <a:lnTo>
                    <a:pt x="393" y="4328"/>
                  </a:lnTo>
                  <a:lnTo>
                    <a:pt x="3148" y="3934"/>
                  </a:lnTo>
                  <a:lnTo>
                    <a:pt x="5901" y="5901"/>
                  </a:lnTo>
                  <a:lnTo>
                    <a:pt x="6688" y="5901"/>
                  </a:lnTo>
                  <a:lnTo>
                    <a:pt x="9836" y="3934"/>
                  </a:lnTo>
                  <a:lnTo>
                    <a:pt x="11803" y="1180"/>
                  </a:lnTo>
                  <a:lnTo>
                    <a:pt x="8655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54" name="Freeform: Shape 3548">
              <a:extLst>
                <a:ext uri="{FF2B5EF4-FFF2-40B4-BE49-F238E27FC236}">
                  <a16:creationId xmlns:a16="http://schemas.microsoft.com/office/drawing/2014/main" id="{6CA8A093-4236-4F51-9FE3-7DA578F9FEB1}"/>
                </a:ext>
              </a:extLst>
            </p:cNvPr>
            <p:cNvSpPr/>
            <p:nvPr/>
          </p:nvSpPr>
          <p:spPr>
            <a:xfrm>
              <a:off x="6826199" y="2506457"/>
              <a:ext cx="3934" cy="11803"/>
            </a:xfrm>
            <a:custGeom>
              <a:avLst/>
              <a:gdLst>
                <a:gd name="connsiteX0" fmla="*/ 2754 w 3934"/>
                <a:gd name="connsiteY0" fmla="*/ 0 h 11802"/>
                <a:gd name="connsiteX1" fmla="*/ 1967 w 3934"/>
                <a:gd name="connsiteY1" fmla="*/ 2754 h 11802"/>
                <a:gd name="connsiteX2" fmla="*/ 787 w 3934"/>
                <a:gd name="connsiteY2" fmla="*/ 5508 h 11802"/>
                <a:gd name="connsiteX3" fmla="*/ 0 w 3934"/>
                <a:gd name="connsiteY3" fmla="*/ 8262 h 11802"/>
                <a:gd name="connsiteX4" fmla="*/ 787 w 3934"/>
                <a:gd name="connsiteY4" fmla="*/ 11016 h 11802"/>
                <a:gd name="connsiteX5" fmla="*/ 1967 w 3934"/>
                <a:gd name="connsiteY5" fmla="*/ 14163 h 11802"/>
                <a:gd name="connsiteX6" fmla="*/ 4328 w 3934"/>
                <a:gd name="connsiteY6" fmla="*/ 11409 h 11802"/>
                <a:gd name="connsiteX7" fmla="*/ 3148 w 3934"/>
                <a:gd name="connsiteY7" fmla="*/ 8262 h 11802"/>
                <a:gd name="connsiteX8" fmla="*/ 1967 w 3934"/>
                <a:gd name="connsiteY8" fmla="*/ 5508 h 11802"/>
                <a:gd name="connsiteX9" fmla="*/ 3148 w 3934"/>
                <a:gd name="connsiteY9" fmla="*/ 2754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11802">
                  <a:moveTo>
                    <a:pt x="2754" y="0"/>
                  </a:moveTo>
                  <a:lnTo>
                    <a:pt x="1967" y="2754"/>
                  </a:lnTo>
                  <a:lnTo>
                    <a:pt x="787" y="5508"/>
                  </a:lnTo>
                  <a:lnTo>
                    <a:pt x="0" y="8262"/>
                  </a:lnTo>
                  <a:lnTo>
                    <a:pt x="787" y="11016"/>
                  </a:lnTo>
                  <a:lnTo>
                    <a:pt x="1967" y="14163"/>
                  </a:lnTo>
                  <a:lnTo>
                    <a:pt x="4328" y="11409"/>
                  </a:lnTo>
                  <a:lnTo>
                    <a:pt x="3148" y="8262"/>
                  </a:lnTo>
                  <a:lnTo>
                    <a:pt x="1967" y="5508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55" name="Freeform: Shape 3549">
              <a:extLst>
                <a:ext uri="{FF2B5EF4-FFF2-40B4-BE49-F238E27FC236}">
                  <a16:creationId xmlns:a16="http://schemas.microsoft.com/office/drawing/2014/main" id="{D970AA67-75DF-4385-99F8-59E2FE070495}"/>
                </a:ext>
              </a:extLst>
            </p:cNvPr>
            <p:cNvSpPr/>
            <p:nvPr/>
          </p:nvSpPr>
          <p:spPr>
            <a:xfrm>
              <a:off x="6830134" y="2485999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56" name="Freeform: Shape 3550">
              <a:extLst>
                <a:ext uri="{FF2B5EF4-FFF2-40B4-BE49-F238E27FC236}">
                  <a16:creationId xmlns:a16="http://schemas.microsoft.com/office/drawing/2014/main" id="{13782E5A-F45C-4937-AA33-D43CEC58AD82}"/>
                </a:ext>
              </a:extLst>
            </p:cNvPr>
            <p:cNvSpPr/>
            <p:nvPr/>
          </p:nvSpPr>
          <p:spPr>
            <a:xfrm>
              <a:off x="6843904" y="2479311"/>
              <a:ext cx="3934" cy="3934"/>
            </a:xfrm>
            <a:custGeom>
              <a:avLst/>
              <a:gdLst>
                <a:gd name="connsiteX0" fmla="*/ 1574 w 0"/>
                <a:gd name="connsiteY0" fmla="*/ 2754 h 0"/>
                <a:gd name="connsiteX1" fmla="*/ 0 w 0"/>
                <a:gd name="connsiteY1" fmla="*/ 0 h 0"/>
                <a:gd name="connsiteX2" fmla="*/ 118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2754"/>
                  </a:moveTo>
                  <a:lnTo>
                    <a:pt x="0" y="0"/>
                  </a:lnTo>
                  <a:lnTo>
                    <a:pt x="118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57" name="Freeform: Shape 3551">
              <a:extLst>
                <a:ext uri="{FF2B5EF4-FFF2-40B4-BE49-F238E27FC236}">
                  <a16:creationId xmlns:a16="http://schemas.microsoft.com/office/drawing/2014/main" id="{1DE95969-840C-4E03-ADF3-B9DF29D7CB79}"/>
                </a:ext>
              </a:extLst>
            </p:cNvPr>
            <p:cNvSpPr/>
            <p:nvPr/>
          </p:nvSpPr>
          <p:spPr>
            <a:xfrm>
              <a:off x="6800627" y="2480098"/>
              <a:ext cx="3934" cy="3934"/>
            </a:xfrm>
            <a:custGeom>
              <a:avLst/>
              <a:gdLst>
                <a:gd name="connsiteX0" fmla="*/ 5901 w 3934"/>
                <a:gd name="connsiteY0" fmla="*/ 393 h 0"/>
                <a:gd name="connsiteX1" fmla="*/ 5901 w 3934"/>
                <a:gd name="connsiteY1" fmla="*/ 0 h 0"/>
                <a:gd name="connsiteX2" fmla="*/ 3148 w 3934"/>
                <a:gd name="connsiteY2" fmla="*/ 393 h 0"/>
                <a:gd name="connsiteX3" fmla="*/ 0 w 3934"/>
                <a:gd name="connsiteY3" fmla="*/ 393 h 0"/>
                <a:gd name="connsiteX4" fmla="*/ 3148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393"/>
                  </a:moveTo>
                  <a:lnTo>
                    <a:pt x="5901" y="0"/>
                  </a:lnTo>
                  <a:lnTo>
                    <a:pt x="3148" y="393"/>
                  </a:lnTo>
                  <a:lnTo>
                    <a:pt x="0" y="393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58" name="Freeform: Shape 3552">
              <a:extLst>
                <a:ext uri="{FF2B5EF4-FFF2-40B4-BE49-F238E27FC236}">
                  <a16:creationId xmlns:a16="http://schemas.microsoft.com/office/drawing/2014/main" id="{3AEBFDD9-9775-41F9-88A4-AEC3C2C2F69B}"/>
                </a:ext>
              </a:extLst>
            </p:cNvPr>
            <p:cNvSpPr/>
            <p:nvPr/>
          </p:nvSpPr>
          <p:spPr>
            <a:xfrm>
              <a:off x="6766005" y="2465147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0 w 0"/>
                <a:gd name="connsiteY1" fmla="*/ 0 h 0"/>
                <a:gd name="connsiteX2" fmla="*/ 393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0" y="0"/>
                  </a:lnTo>
                  <a:lnTo>
                    <a:pt x="393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59" name="Freeform: Shape 3553">
              <a:extLst>
                <a:ext uri="{FF2B5EF4-FFF2-40B4-BE49-F238E27FC236}">
                  <a16:creationId xmlns:a16="http://schemas.microsoft.com/office/drawing/2014/main" id="{1A08A322-0DA4-419C-9F72-8A3F8B24EF9F}"/>
                </a:ext>
              </a:extLst>
            </p:cNvPr>
            <p:cNvSpPr/>
            <p:nvPr/>
          </p:nvSpPr>
          <p:spPr>
            <a:xfrm>
              <a:off x="6819118" y="2469869"/>
              <a:ext cx="7869" cy="3934"/>
            </a:xfrm>
            <a:custGeom>
              <a:avLst/>
              <a:gdLst>
                <a:gd name="connsiteX0" fmla="*/ 5508 w 7868"/>
                <a:gd name="connsiteY0" fmla="*/ 1180 h 3934"/>
                <a:gd name="connsiteX1" fmla="*/ 2754 w 7868"/>
                <a:gd name="connsiteY1" fmla="*/ 3147 h 3934"/>
                <a:gd name="connsiteX2" fmla="*/ 0 w 7868"/>
                <a:gd name="connsiteY2" fmla="*/ 4721 h 3934"/>
                <a:gd name="connsiteX3" fmla="*/ 1573 w 7868"/>
                <a:gd name="connsiteY3" fmla="*/ 7475 h 3934"/>
                <a:gd name="connsiteX4" fmla="*/ 2754 w 7868"/>
                <a:gd name="connsiteY4" fmla="*/ 4328 h 3934"/>
                <a:gd name="connsiteX5" fmla="*/ 5901 w 7868"/>
                <a:gd name="connsiteY5" fmla="*/ 4721 h 3934"/>
                <a:gd name="connsiteX6" fmla="*/ 11409 w 7868"/>
                <a:gd name="connsiteY6" fmla="*/ 0 h 3934"/>
                <a:gd name="connsiteX7" fmla="*/ 8655 w 7868"/>
                <a:gd name="connsiteY7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508" y="1180"/>
                  </a:moveTo>
                  <a:lnTo>
                    <a:pt x="2754" y="3147"/>
                  </a:lnTo>
                  <a:lnTo>
                    <a:pt x="0" y="4721"/>
                  </a:lnTo>
                  <a:lnTo>
                    <a:pt x="1573" y="7475"/>
                  </a:lnTo>
                  <a:lnTo>
                    <a:pt x="2754" y="4328"/>
                  </a:lnTo>
                  <a:lnTo>
                    <a:pt x="5901" y="4721"/>
                  </a:lnTo>
                  <a:lnTo>
                    <a:pt x="11409" y="0"/>
                  </a:lnTo>
                  <a:lnTo>
                    <a:pt x="865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60" name="Freeform: Shape 3554">
              <a:extLst>
                <a:ext uri="{FF2B5EF4-FFF2-40B4-BE49-F238E27FC236}">
                  <a16:creationId xmlns:a16="http://schemas.microsoft.com/office/drawing/2014/main" id="{FE2404ED-2117-49A8-A4C7-B9294200DEAD}"/>
                </a:ext>
              </a:extLst>
            </p:cNvPr>
            <p:cNvSpPr/>
            <p:nvPr/>
          </p:nvSpPr>
          <p:spPr>
            <a:xfrm>
              <a:off x="6772300" y="2474983"/>
              <a:ext cx="3934" cy="3934"/>
            </a:xfrm>
            <a:custGeom>
              <a:avLst/>
              <a:gdLst>
                <a:gd name="connsiteX0" fmla="*/ 3147 w 3934"/>
                <a:gd name="connsiteY0" fmla="*/ 3147 h 0"/>
                <a:gd name="connsiteX1" fmla="*/ 3934 w 3934"/>
                <a:gd name="connsiteY1" fmla="*/ 3147 h 0"/>
                <a:gd name="connsiteX2" fmla="*/ 3147 w 3934"/>
                <a:gd name="connsiteY2" fmla="*/ 0 h 0"/>
                <a:gd name="connsiteX3" fmla="*/ 0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147" y="3147"/>
                  </a:moveTo>
                  <a:lnTo>
                    <a:pt x="3934" y="3147"/>
                  </a:ln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61" name="Freeform: Shape 3555">
              <a:extLst>
                <a:ext uri="{FF2B5EF4-FFF2-40B4-BE49-F238E27FC236}">
                  <a16:creationId xmlns:a16="http://schemas.microsoft.com/office/drawing/2014/main" id="{463EC108-66C9-427C-A3AA-5B6AC09E3F4F}"/>
                </a:ext>
              </a:extLst>
            </p:cNvPr>
            <p:cNvSpPr/>
            <p:nvPr/>
          </p:nvSpPr>
          <p:spPr>
            <a:xfrm>
              <a:off x="6774267" y="2460033"/>
              <a:ext cx="3934" cy="7869"/>
            </a:xfrm>
            <a:custGeom>
              <a:avLst/>
              <a:gdLst>
                <a:gd name="connsiteX0" fmla="*/ 0 w 3934"/>
                <a:gd name="connsiteY0" fmla="*/ 3147 h 7868"/>
                <a:gd name="connsiteX1" fmla="*/ 1180 w 3934"/>
                <a:gd name="connsiteY1" fmla="*/ 5901 h 7868"/>
                <a:gd name="connsiteX2" fmla="*/ 3147 w 3934"/>
                <a:gd name="connsiteY2" fmla="*/ 9049 h 7868"/>
                <a:gd name="connsiteX3" fmla="*/ 4328 w 3934"/>
                <a:gd name="connsiteY3" fmla="*/ 8655 h 7868"/>
                <a:gd name="connsiteX4" fmla="*/ 6295 w 3934"/>
                <a:gd name="connsiteY4" fmla="*/ 5901 h 7868"/>
                <a:gd name="connsiteX5" fmla="*/ 6688 w 3934"/>
                <a:gd name="connsiteY5" fmla="*/ 2754 h 7868"/>
                <a:gd name="connsiteX6" fmla="*/ 5508 w 3934"/>
                <a:gd name="connsiteY6" fmla="*/ 0 h 7868"/>
                <a:gd name="connsiteX7" fmla="*/ 2754 w 3934"/>
                <a:gd name="connsiteY7" fmla="*/ 118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0" y="3147"/>
                  </a:moveTo>
                  <a:lnTo>
                    <a:pt x="1180" y="5901"/>
                  </a:lnTo>
                  <a:lnTo>
                    <a:pt x="3147" y="9049"/>
                  </a:lnTo>
                  <a:lnTo>
                    <a:pt x="4328" y="8655"/>
                  </a:lnTo>
                  <a:lnTo>
                    <a:pt x="6295" y="5901"/>
                  </a:lnTo>
                  <a:lnTo>
                    <a:pt x="6688" y="2754"/>
                  </a:lnTo>
                  <a:lnTo>
                    <a:pt x="5508" y="0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62" name="Freeform: Shape 3556">
              <a:extLst>
                <a:ext uri="{FF2B5EF4-FFF2-40B4-BE49-F238E27FC236}">
                  <a16:creationId xmlns:a16="http://schemas.microsoft.com/office/drawing/2014/main" id="{BCC66D49-C32A-424B-9648-A65FD8D91A6F}"/>
                </a:ext>
              </a:extLst>
            </p:cNvPr>
            <p:cNvSpPr/>
            <p:nvPr/>
          </p:nvSpPr>
          <p:spPr>
            <a:xfrm>
              <a:off x="6787250" y="2469869"/>
              <a:ext cx="3934" cy="3934"/>
            </a:xfrm>
            <a:custGeom>
              <a:avLst/>
              <a:gdLst>
                <a:gd name="connsiteX0" fmla="*/ 4328 w 3934"/>
                <a:gd name="connsiteY0" fmla="*/ 1180 h 3934"/>
                <a:gd name="connsiteX1" fmla="*/ 7475 w 3934"/>
                <a:gd name="connsiteY1" fmla="*/ 0 h 3934"/>
                <a:gd name="connsiteX2" fmla="*/ 4328 w 3934"/>
                <a:gd name="connsiteY2" fmla="*/ 0 h 3934"/>
                <a:gd name="connsiteX3" fmla="*/ 1574 w 3934"/>
                <a:gd name="connsiteY3" fmla="*/ 1574 h 3934"/>
                <a:gd name="connsiteX4" fmla="*/ 0 w 3934"/>
                <a:gd name="connsiteY4" fmla="*/ 4328 h 3934"/>
                <a:gd name="connsiteX5" fmla="*/ 1574 w 3934"/>
                <a:gd name="connsiteY5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4328" y="1180"/>
                  </a:moveTo>
                  <a:lnTo>
                    <a:pt x="7475" y="0"/>
                  </a:lnTo>
                  <a:lnTo>
                    <a:pt x="4328" y="0"/>
                  </a:lnTo>
                  <a:lnTo>
                    <a:pt x="1574" y="1574"/>
                  </a:lnTo>
                  <a:lnTo>
                    <a:pt x="0" y="4328"/>
                  </a:lnTo>
                  <a:lnTo>
                    <a:pt x="1574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63" name="Freeform: Shape 3557">
              <a:extLst>
                <a:ext uri="{FF2B5EF4-FFF2-40B4-BE49-F238E27FC236}">
                  <a16:creationId xmlns:a16="http://schemas.microsoft.com/office/drawing/2014/main" id="{6BF360B8-2025-4198-923F-5111BE3A8168}"/>
                </a:ext>
              </a:extLst>
            </p:cNvPr>
            <p:cNvSpPr/>
            <p:nvPr/>
          </p:nvSpPr>
          <p:spPr>
            <a:xfrm>
              <a:off x="6819118" y="2465934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64" name="Freeform: Shape 3558">
              <a:extLst>
                <a:ext uri="{FF2B5EF4-FFF2-40B4-BE49-F238E27FC236}">
                  <a16:creationId xmlns:a16="http://schemas.microsoft.com/office/drawing/2014/main" id="{DD97FD5E-FCEB-4E07-AD48-AEC32E008459}"/>
                </a:ext>
              </a:extLst>
            </p:cNvPr>
            <p:cNvSpPr/>
            <p:nvPr/>
          </p:nvSpPr>
          <p:spPr>
            <a:xfrm>
              <a:off x="6842330" y="2485212"/>
              <a:ext cx="11803" cy="15737"/>
            </a:xfrm>
            <a:custGeom>
              <a:avLst/>
              <a:gdLst>
                <a:gd name="connsiteX0" fmla="*/ 1967 w 11802"/>
                <a:gd name="connsiteY0" fmla="*/ 12196 h 15737"/>
                <a:gd name="connsiteX1" fmla="*/ 1180 w 11802"/>
                <a:gd name="connsiteY1" fmla="*/ 14950 h 15737"/>
                <a:gd name="connsiteX2" fmla="*/ 1574 w 11802"/>
                <a:gd name="connsiteY2" fmla="*/ 18098 h 15737"/>
                <a:gd name="connsiteX3" fmla="*/ 4328 w 11802"/>
                <a:gd name="connsiteY3" fmla="*/ 18098 h 15737"/>
                <a:gd name="connsiteX4" fmla="*/ 6295 w 11802"/>
                <a:gd name="connsiteY4" fmla="*/ 14950 h 15737"/>
                <a:gd name="connsiteX5" fmla="*/ 7869 w 11802"/>
                <a:gd name="connsiteY5" fmla="*/ 13376 h 15737"/>
                <a:gd name="connsiteX6" fmla="*/ 11016 w 11802"/>
                <a:gd name="connsiteY6" fmla="*/ 12983 h 15737"/>
                <a:gd name="connsiteX7" fmla="*/ 6295 w 11802"/>
                <a:gd name="connsiteY7" fmla="*/ 14950 h 15737"/>
                <a:gd name="connsiteX8" fmla="*/ 11016 w 11802"/>
                <a:gd name="connsiteY8" fmla="*/ 12983 h 15737"/>
                <a:gd name="connsiteX9" fmla="*/ 11016 w 11802"/>
                <a:gd name="connsiteY9" fmla="*/ 11409 h 15737"/>
                <a:gd name="connsiteX10" fmla="*/ 12197 w 11802"/>
                <a:gd name="connsiteY10" fmla="*/ 8655 h 15737"/>
                <a:gd name="connsiteX11" fmla="*/ 12983 w 11802"/>
                <a:gd name="connsiteY11" fmla="*/ 5901 h 15737"/>
                <a:gd name="connsiteX12" fmla="*/ 14164 w 11802"/>
                <a:gd name="connsiteY12" fmla="*/ 2754 h 15737"/>
                <a:gd name="connsiteX13" fmla="*/ 13770 w 11802"/>
                <a:gd name="connsiteY13" fmla="*/ 0 h 15737"/>
                <a:gd name="connsiteX14" fmla="*/ 10623 w 11802"/>
                <a:gd name="connsiteY14" fmla="*/ 787 h 15737"/>
                <a:gd name="connsiteX15" fmla="*/ 4721 w 11802"/>
                <a:gd name="connsiteY15" fmla="*/ 3934 h 15737"/>
                <a:gd name="connsiteX16" fmla="*/ 1967 w 11802"/>
                <a:gd name="connsiteY16" fmla="*/ 6688 h 15737"/>
                <a:gd name="connsiteX17" fmla="*/ 0 w 11802"/>
                <a:gd name="connsiteY17" fmla="*/ 9442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802" h="15737">
                  <a:moveTo>
                    <a:pt x="1967" y="12196"/>
                  </a:moveTo>
                  <a:lnTo>
                    <a:pt x="1180" y="14950"/>
                  </a:lnTo>
                  <a:lnTo>
                    <a:pt x="1574" y="18098"/>
                  </a:lnTo>
                  <a:lnTo>
                    <a:pt x="4328" y="18098"/>
                  </a:lnTo>
                  <a:lnTo>
                    <a:pt x="6295" y="14950"/>
                  </a:lnTo>
                  <a:lnTo>
                    <a:pt x="7869" y="13376"/>
                  </a:lnTo>
                  <a:lnTo>
                    <a:pt x="11016" y="12983"/>
                  </a:lnTo>
                  <a:lnTo>
                    <a:pt x="6295" y="14950"/>
                  </a:lnTo>
                  <a:lnTo>
                    <a:pt x="11016" y="12983"/>
                  </a:lnTo>
                  <a:lnTo>
                    <a:pt x="11016" y="11409"/>
                  </a:lnTo>
                  <a:lnTo>
                    <a:pt x="12197" y="8655"/>
                  </a:lnTo>
                  <a:lnTo>
                    <a:pt x="12983" y="5901"/>
                  </a:lnTo>
                  <a:lnTo>
                    <a:pt x="14164" y="2754"/>
                  </a:lnTo>
                  <a:lnTo>
                    <a:pt x="13770" y="0"/>
                  </a:lnTo>
                  <a:lnTo>
                    <a:pt x="10623" y="787"/>
                  </a:lnTo>
                  <a:lnTo>
                    <a:pt x="4721" y="3934"/>
                  </a:lnTo>
                  <a:lnTo>
                    <a:pt x="1967" y="6688"/>
                  </a:lnTo>
                  <a:lnTo>
                    <a:pt x="0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65" name="Freeform: Shape 3559">
              <a:extLst>
                <a:ext uri="{FF2B5EF4-FFF2-40B4-BE49-F238E27FC236}">
                  <a16:creationId xmlns:a16="http://schemas.microsoft.com/office/drawing/2014/main" id="{5CCAA26B-B901-4BAA-8758-D66F2E393362}"/>
                </a:ext>
              </a:extLst>
            </p:cNvPr>
            <p:cNvSpPr/>
            <p:nvPr/>
          </p:nvSpPr>
          <p:spPr>
            <a:xfrm>
              <a:off x="9602216" y="2438788"/>
              <a:ext cx="3934" cy="3934"/>
            </a:xfrm>
            <a:custGeom>
              <a:avLst/>
              <a:gdLst>
                <a:gd name="connsiteX0" fmla="*/ 3934 w 3934"/>
                <a:gd name="connsiteY0" fmla="*/ 7082 h 3934"/>
                <a:gd name="connsiteX1" fmla="*/ 6688 w 3934"/>
                <a:gd name="connsiteY1" fmla="*/ 5901 h 3934"/>
                <a:gd name="connsiteX2" fmla="*/ 4721 w 3934"/>
                <a:gd name="connsiteY2" fmla="*/ 2754 h 3934"/>
                <a:gd name="connsiteX3" fmla="*/ 4721 w 3934"/>
                <a:gd name="connsiteY3" fmla="*/ 1967 h 3934"/>
                <a:gd name="connsiteX4" fmla="*/ 1967 w 3934"/>
                <a:gd name="connsiteY4" fmla="*/ 0 h 3934"/>
                <a:gd name="connsiteX5" fmla="*/ 0 w 3934"/>
                <a:gd name="connsiteY5" fmla="*/ 1574 h 3934"/>
                <a:gd name="connsiteX6" fmla="*/ 1967 w 3934"/>
                <a:gd name="connsiteY6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3934" y="7082"/>
                  </a:moveTo>
                  <a:lnTo>
                    <a:pt x="6688" y="5901"/>
                  </a:lnTo>
                  <a:lnTo>
                    <a:pt x="4721" y="2754"/>
                  </a:lnTo>
                  <a:lnTo>
                    <a:pt x="4721" y="1967"/>
                  </a:lnTo>
                  <a:lnTo>
                    <a:pt x="1967" y="0"/>
                  </a:lnTo>
                  <a:lnTo>
                    <a:pt x="0" y="1574"/>
                  </a:lnTo>
                  <a:lnTo>
                    <a:pt x="1967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66" name="Freeform: Shape 3560">
              <a:extLst>
                <a:ext uri="{FF2B5EF4-FFF2-40B4-BE49-F238E27FC236}">
                  <a16:creationId xmlns:a16="http://schemas.microsoft.com/office/drawing/2014/main" id="{A432FCB9-B3E3-4CD1-B7C2-767BCB923297}"/>
                </a:ext>
              </a:extLst>
            </p:cNvPr>
            <p:cNvSpPr/>
            <p:nvPr/>
          </p:nvSpPr>
          <p:spPr>
            <a:xfrm>
              <a:off x="9657690" y="2583569"/>
              <a:ext cx="19671" cy="11803"/>
            </a:xfrm>
            <a:custGeom>
              <a:avLst/>
              <a:gdLst>
                <a:gd name="connsiteX0" fmla="*/ 2360 w 19671"/>
                <a:gd name="connsiteY0" fmla="*/ 10623 h 11802"/>
                <a:gd name="connsiteX1" fmla="*/ 5115 w 19671"/>
                <a:gd name="connsiteY1" fmla="*/ 12196 h 11802"/>
                <a:gd name="connsiteX2" fmla="*/ 8261 w 19671"/>
                <a:gd name="connsiteY2" fmla="*/ 10623 h 11802"/>
                <a:gd name="connsiteX3" fmla="*/ 11016 w 19671"/>
                <a:gd name="connsiteY3" fmla="*/ 11016 h 11802"/>
                <a:gd name="connsiteX4" fmla="*/ 13770 w 19671"/>
                <a:gd name="connsiteY4" fmla="*/ 10623 h 11802"/>
                <a:gd name="connsiteX5" fmla="*/ 16918 w 19671"/>
                <a:gd name="connsiteY5" fmla="*/ 9442 h 11802"/>
                <a:gd name="connsiteX6" fmla="*/ 19671 w 19671"/>
                <a:gd name="connsiteY6" fmla="*/ 7869 h 11802"/>
                <a:gd name="connsiteX7" fmla="*/ 20852 w 19671"/>
                <a:gd name="connsiteY7" fmla="*/ 4721 h 11802"/>
                <a:gd name="connsiteX8" fmla="*/ 19278 w 19671"/>
                <a:gd name="connsiteY8" fmla="*/ 1574 h 11802"/>
                <a:gd name="connsiteX9" fmla="*/ 16524 w 19671"/>
                <a:gd name="connsiteY9" fmla="*/ 393 h 11802"/>
                <a:gd name="connsiteX10" fmla="*/ 16130 w 19671"/>
                <a:gd name="connsiteY10" fmla="*/ 0 h 11802"/>
                <a:gd name="connsiteX11" fmla="*/ 13376 w 19671"/>
                <a:gd name="connsiteY11" fmla="*/ 393 h 11802"/>
                <a:gd name="connsiteX12" fmla="*/ 10622 w 19671"/>
                <a:gd name="connsiteY12" fmla="*/ 787 h 11802"/>
                <a:gd name="connsiteX13" fmla="*/ 7475 w 19671"/>
                <a:gd name="connsiteY13" fmla="*/ 1574 h 11802"/>
                <a:gd name="connsiteX14" fmla="*/ 4721 w 19671"/>
                <a:gd name="connsiteY14" fmla="*/ 2754 h 11802"/>
                <a:gd name="connsiteX15" fmla="*/ 1573 w 19671"/>
                <a:gd name="connsiteY15" fmla="*/ 4721 h 11802"/>
                <a:gd name="connsiteX16" fmla="*/ 0 w 19671"/>
                <a:gd name="connsiteY16" fmla="*/ 786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671" h="11802">
                  <a:moveTo>
                    <a:pt x="2360" y="10623"/>
                  </a:moveTo>
                  <a:lnTo>
                    <a:pt x="5115" y="12196"/>
                  </a:lnTo>
                  <a:lnTo>
                    <a:pt x="8261" y="10623"/>
                  </a:lnTo>
                  <a:lnTo>
                    <a:pt x="11016" y="11016"/>
                  </a:lnTo>
                  <a:lnTo>
                    <a:pt x="13770" y="10623"/>
                  </a:lnTo>
                  <a:lnTo>
                    <a:pt x="16918" y="9442"/>
                  </a:lnTo>
                  <a:lnTo>
                    <a:pt x="19671" y="7869"/>
                  </a:lnTo>
                  <a:lnTo>
                    <a:pt x="20852" y="4721"/>
                  </a:lnTo>
                  <a:lnTo>
                    <a:pt x="19278" y="1574"/>
                  </a:lnTo>
                  <a:lnTo>
                    <a:pt x="16524" y="393"/>
                  </a:lnTo>
                  <a:lnTo>
                    <a:pt x="16130" y="0"/>
                  </a:lnTo>
                  <a:lnTo>
                    <a:pt x="13376" y="393"/>
                  </a:lnTo>
                  <a:lnTo>
                    <a:pt x="10622" y="787"/>
                  </a:lnTo>
                  <a:lnTo>
                    <a:pt x="7475" y="1574"/>
                  </a:lnTo>
                  <a:lnTo>
                    <a:pt x="4721" y="2754"/>
                  </a:lnTo>
                  <a:lnTo>
                    <a:pt x="1573" y="4721"/>
                  </a:lnTo>
                  <a:lnTo>
                    <a:pt x="0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67" name="Freeform: Shape 3561">
              <a:extLst>
                <a:ext uri="{FF2B5EF4-FFF2-40B4-BE49-F238E27FC236}">
                  <a16:creationId xmlns:a16="http://schemas.microsoft.com/office/drawing/2014/main" id="{DF61299F-D675-4B6B-8B6E-49991E5E2878}"/>
                </a:ext>
              </a:extLst>
            </p:cNvPr>
            <p:cNvSpPr/>
            <p:nvPr/>
          </p:nvSpPr>
          <p:spPr>
            <a:xfrm>
              <a:off x="9643133" y="2548947"/>
              <a:ext cx="3934" cy="3934"/>
            </a:xfrm>
            <a:custGeom>
              <a:avLst/>
              <a:gdLst>
                <a:gd name="connsiteX0" fmla="*/ 3540 w 3934"/>
                <a:gd name="connsiteY0" fmla="*/ 1180 h 3934"/>
                <a:gd name="connsiteX1" fmla="*/ 393 w 3934"/>
                <a:gd name="connsiteY1" fmla="*/ 0 h 3934"/>
                <a:gd name="connsiteX2" fmla="*/ 0 w 3934"/>
                <a:gd name="connsiteY2" fmla="*/ 2754 h 3934"/>
                <a:gd name="connsiteX3" fmla="*/ 0 w 3934"/>
                <a:gd name="connsiteY3" fmla="*/ 5901 h 3934"/>
                <a:gd name="connsiteX4" fmla="*/ 2754 w 3934"/>
                <a:gd name="connsiteY4" fmla="*/ 7082 h 3934"/>
                <a:gd name="connsiteX5" fmla="*/ 5901 w 3934"/>
                <a:gd name="connsiteY5" fmla="*/ 5508 h 3934"/>
                <a:gd name="connsiteX6" fmla="*/ 5508 w 3934"/>
                <a:gd name="connsiteY6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3540" y="1180"/>
                  </a:moveTo>
                  <a:lnTo>
                    <a:pt x="393" y="0"/>
                  </a:lnTo>
                  <a:lnTo>
                    <a:pt x="0" y="2754"/>
                  </a:lnTo>
                  <a:lnTo>
                    <a:pt x="0" y="5901"/>
                  </a:lnTo>
                  <a:lnTo>
                    <a:pt x="2754" y="7082"/>
                  </a:lnTo>
                  <a:lnTo>
                    <a:pt x="5901" y="5508"/>
                  </a:lnTo>
                  <a:lnTo>
                    <a:pt x="550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68" name="Freeform: Shape 3562">
              <a:extLst>
                <a:ext uri="{FF2B5EF4-FFF2-40B4-BE49-F238E27FC236}">
                  <a16:creationId xmlns:a16="http://schemas.microsoft.com/office/drawing/2014/main" id="{6C81F2E4-BE79-4093-BDFE-50617CE3BAE8}"/>
                </a:ext>
              </a:extLst>
            </p:cNvPr>
            <p:cNvSpPr/>
            <p:nvPr/>
          </p:nvSpPr>
          <p:spPr>
            <a:xfrm>
              <a:off x="9632510" y="2529669"/>
              <a:ext cx="3934" cy="3934"/>
            </a:xfrm>
            <a:custGeom>
              <a:avLst/>
              <a:gdLst>
                <a:gd name="connsiteX0" fmla="*/ 788 w 0"/>
                <a:gd name="connsiteY0" fmla="*/ 0 h 0"/>
                <a:gd name="connsiteX1" fmla="*/ 0 w 0"/>
                <a:gd name="connsiteY1" fmla="*/ 0 h 0"/>
                <a:gd name="connsiteX2" fmla="*/ 788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8" y="0"/>
                  </a:moveTo>
                  <a:lnTo>
                    <a:pt x="0" y="0"/>
                  </a:lnTo>
                  <a:lnTo>
                    <a:pt x="78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69" name="Freeform: Shape 3563">
              <a:extLst>
                <a:ext uri="{FF2B5EF4-FFF2-40B4-BE49-F238E27FC236}">
                  <a16:creationId xmlns:a16="http://schemas.microsoft.com/office/drawing/2014/main" id="{5C74AF52-43D6-47D8-A716-DF96F5D4C1EF}"/>
                </a:ext>
              </a:extLst>
            </p:cNvPr>
            <p:cNvSpPr/>
            <p:nvPr/>
          </p:nvSpPr>
          <p:spPr>
            <a:xfrm>
              <a:off x="9550284" y="2432887"/>
              <a:ext cx="3934" cy="3934"/>
            </a:xfrm>
            <a:custGeom>
              <a:avLst/>
              <a:gdLst>
                <a:gd name="connsiteX0" fmla="*/ 3148 w 0"/>
                <a:gd name="connsiteY0" fmla="*/ 393 h 0"/>
                <a:gd name="connsiteX1" fmla="*/ 3148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393"/>
                  </a:moveTo>
                  <a:lnTo>
                    <a:pt x="3148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70" name="Freeform: Shape 3564">
              <a:extLst>
                <a:ext uri="{FF2B5EF4-FFF2-40B4-BE49-F238E27FC236}">
                  <a16:creationId xmlns:a16="http://schemas.microsoft.com/office/drawing/2014/main" id="{A447C65B-134C-4E10-BE5D-D13E5C803775}"/>
                </a:ext>
              </a:extLst>
            </p:cNvPr>
            <p:cNvSpPr/>
            <p:nvPr/>
          </p:nvSpPr>
          <p:spPr>
            <a:xfrm>
              <a:off x="9574676" y="2699630"/>
              <a:ext cx="7869" cy="3934"/>
            </a:xfrm>
            <a:custGeom>
              <a:avLst/>
              <a:gdLst>
                <a:gd name="connsiteX0" fmla="*/ 1574 w 7868"/>
                <a:gd name="connsiteY0" fmla="*/ 4721 h 3934"/>
                <a:gd name="connsiteX1" fmla="*/ 2361 w 7868"/>
                <a:gd name="connsiteY1" fmla="*/ 4721 h 3934"/>
                <a:gd name="connsiteX2" fmla="*/ 5115 w 7868"/>
                <a:gd name="connsiteY2" fmla="*/ 4721 h 3934"/>
                <a:gd name="connsiteX3" fmla="*/ 7476 w 7868"/>
                <a:gd name="connsiteY3" fmla="*/ 5508 h 3934"/>
                <a:gd name="connsiteX4" fmla="*/ 10622 w 7868"/>
                <a:gd name="connsiteY4" fmla="*/ 4721 h 3934"/>
                <a:gd name="connsiteX5" fmla="*/ 8655 w 7868"/>
                <a:gd name="connsiteY5" fmla="*/ 2361 h 3934"/>
                <a:gd name="connsiteX6" fmla="*/ 5901 w 7868"/>
                <a:gd name="connsiteY6" fmla="*/ 1574 h 3934"/>
                <a:gd name="connsiteX7" fmla="*/ 3148 w 7868"/>
                <a:gd name="connsiteY7" fmla="*/ 0 h 3934"/>
                <a:gd name="connsiteX8" fmla="*/ 0 w 7868"/>
                <a:gd name="connsiteY8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1574" y="4721"/>
                  </a:moveTo>
                  <a:lnTo>
                    <a:pt x="2361" y="4721"/>
                  </a:lnTo>
                  <a:lnTo>
                    <a:pt x="5115" y="4721"/>
                  </a:lnTo>
                  <a:lnTo>
                    <a:pt x="7476" y="5508"/>
                  </a:lnTo>
                  <a:lnTo>
                    <a:pt x="10622" y="4721"/>
                  </a:lnTo>
                  <a:lnTo>
                    <a:pt x="8655" y="2361"/>
                  </a:lnTo>
                  <a:lnTo>
                    <a:pt x="5901" y="1574"/>
                  </a:lnTo>
                  <a:lnTo>
                    <a:pt x="3148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71" name="Freeform: Shape 3565">
              <a:extLst>
                <a:ext uri="{FF2B5EF4-FFF2-40B4-BE49-F238E27FC236}">
                  <a16:creationId xmlns:a16="http://schemas.microsoft.com/office/drawing/2014/main" id="{E9692708-992A-4A3B-81FB-602CA12B7AF9}"/>
                </a:ext>
              </a:extLst>
            </p:cNvPr>
            <p:cNvSpPr/>
            <p:nvPr/>
          </p:nvSpPr>
          <p:spPr>
            <a:xfrm>
              <a:off x="9575463" y="2692941"/>
              <a:ext cx="3934" cy="3934"/>
            </a:xfrm>
            <a:custGeom>
              <a:avLst/>
              <a:gdLst>
                <a:gd name="connsiteX0" fmla="*/ 0 w 3934"/>
                <a:gd name="connsiteY0" fmla="*/ 1180 h 0"/>
                <a:gd name="connsiteX1" fmla="*/ 1180 w 3934"/>
                <a:gd name="connsiteY1" fmla="*/ 2360 h 0"/>
                <a:gd name="connsiteX2" fmla="*/ 3934 w 3934"/>
                <a:gd name="connsiteY2" fmla="*/ 2754 h 0"/>
                <a:gd name="connsiteX3" fmla="*/ 2755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180"/>
                  </a:moveTo>
                  <a:lnTo>
                    <a:pt x="1180" y="2360"/>
                  </a:lnTo>
                  <a:lnTo>
                    <a:pt x="3934" y="2754"/>
                  </a:lnTo>
                  <a:lnTo>
                    <a:pt x="275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72" name="Freeform: Shape 3566">
              <a:extLst>
                <a:ext uri="{FF2B5EF4-FFF2-40B4-BE49-F238E27FC236}">
                  <a16:creationId xmlns:a16="http://schemas.microsoft.com/office/drawing/2014/main" id="{ACF3F4E9-57EC-4D18-96C4-B923DE997E7B}"/>
                </a:ext>
              </a:extLst>
            </p:cNvPr>
            <p:cNvSpPr/>
            <p:nvPr/>
          </p:nvSpPr>
          <p:spPr>
            <a:xfrm>
              <a:off x="9555399" y="2657926"/>
              <a:ext cx="3934" cy="3934"/>
            </a:xfrm>
            <a:custGeom>
              <a:avLst/>
              <a:gdLst>
                <a:gd name="connsiteX0" fmla="*/ 3148 w 0"/>
                <a:gd name="connsiteY0" fmla="*/ 1180 h 0"/>
                <a:gd name="connsiteX1" fmla="*/ 0 w 0"/>
                <a:gd name="connsiteY1" fmla="*/ 0 h 0"/>
                <a:gd name="connsiteX2" fmla="*/ 3148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1180"/>
                  </a:moveTo>
                  <a:lnTo>
                    <a:pt x="0" y="0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73" name="Freeform: Shape 3567">
              <a:extLst>
                <a:ext uri="{FF2B5EF4-FFF2-40B4-BE49-F238E27FC236}">
                  <a16:creationId xmlns:a16="http://schemas.microsoft.com/office/drawing/2014/main" id="{2CB9EAEA-D83F-46E4-A976-4F6EA48F4496}"/>
                </a:ext>
              </a:extLst>
            </p:cNvPr>
            <p:cNvSpPr/>
            <p:nvPr/>
          </p:nvSpPr>
          <p:spPr>
            <a:xfrm>
              <a:off x="9835125" y="2557996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788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78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74" name="Freeform: Shape 3568">
              <a:extLst>
                <a:ext uri="{FF2B5EF4-FFF2-40B4-BE49-F238E27FC236}">
                  <a16:creationId xmlns:a16="http://schemas.microsoft.com/office/drawing/2014/main" id="{64ED02EB-0906-402A-A22C-86C3D25C90AB}"/>
                </a:ext>
              </a:extLst>
            </p:cNvPr>
            <p:cNvSpPr/>
            <p:nvPr/>
          </p:nvSpPr>
          <p:spPr>
            <a:xfrm>
              <a:off x="9778078" y="2618190"/>
              <a:ext cx="3934" cy="7869"/>
            </a:xfrm>
            <a:custGeom>
              <a:avLst/>
              <a:gdLst>
                <a:gd name="connsiteX0" fmla="*/ 2755 w 3934"/>
                <a:gd name="connsiteY0" fmla="*/ 0 h 7868"/>
                <a:gd name="connsiteX1" fmla="*/ 0 w 3934"/>
                <a:gd name="connsiteY1" fmla="*/ 393 h 7868"/>
                <a:gd name="connsiteX2" fmla="*/ 394 w 3934"/>
                <a:gd name="connsiteY2" fmla="*/ 3541 h 7868"/>
                <a:gd name="connsiteX3" fmla="*/ 394 w 3934"/>
                <a:gd name="connsiteY3" fmla="*/ 4721 h 7868"/>
                <a:gd name="connsiteX4" fmla="*/ 1967 w 3934"/>
                <a:gd name="connsiteY4" fmla="*/ 7082 h 7868"/>
                <a:gd name="connsiteX5" fmla="*/ 2361 w 3934"/>
                <a:gd name="connsiteY5" fmla="*/ 8655 h 7868"/>
                <a:gd name="connsiteX6" fmla="*/ 2755 w 3934"/>
                <a:gd name="connsiteY6" fmla="*/ 9836 h 7868"/>
                <a:gd name="connsiteX7" fmla="*/ 3148 w 3934"/>
                <a:gd name="connsiteY7" fmla="*/ 11016 h 7868"/>
                <a:gd name="connsiteX8" fmla="*/ 3541 w 3934"/>
                <a:gd name="connsiteY8" fmla="*/ 11409 h 7868"/>
                <a:gd name="connsiteX9" fmla="*/ 5115 w 3934"/>
                <a:gd name="connsiteY9" fmla="*/ 10622 h 7868"/>
                <a:gd name="connsiteX10" fmla="*/ 6295 w 3934"/>
                <a:gd name="connsiteY10" fmla="*/ 7869 h 7868"/>
                <a:gd name="connsiteX11" fmla="*/ 6689 w 3934"/>
                <a:gd name="connsiteY11" fmla="*/ 4721 h 7868"/>
                <a:gd name="connsiteX12" fmla="*/ 5901 w 3934"/>
                <a:gd name="connsiteY12" fmla="*/ 196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34" h="7868">
                  <a:moveTo>
                    <a:pt x="2755" y="0"/>
                  </a:moveTo>
                  <a:lnTo>
                    <a:pt x="0" y="393"/>
                  </a:lnTo>
                  <a:lnTo>
                    <a:pt x="394" y="3541"/>
                  </a:lnTo>
                  <a:lnTo>
                    <a:pt x="394" y="4721"/>
                  </a:lnTo>
                  <a:lnTo>
                    <a:pt x="1967" y="7082"/>
                  </a:lnTo>
                  <a:lnTo>
                    <a:pt x="2361" y="8655"/>
                  </a:lnTo>
                  <a:lnTo>
                    <a:pt x="2755" y="9836"/>
                  </a:lnTo>
                  <a:lnTo>
                    <a:pt x="3148" y="11016"/>
                  </a:lnTo>
                  <a:lnTo>
                    <a:pt x="3541" y="11409"/>
                  </a:lnTo>
                  <a:lnTo>
                    <a:pt x="5115" y="10622"/>
                  </a:lnTo>
                  <a:lnTo>
                    <a:pt x="6295" y="7869"/>
                  </a:lnTo>
                  <a:lnTo>
                    <a:pt x="6689" y="4721"/>
                  </a:lnTo>
                  <a:lnTo>
                    <a:pt x="590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75" name="Freeform: Shape 3569">
              <a:extLst>
                <a:ext uri="{FF2B5EF4-FFF2-40B4-BE49-F238E27FC236}">
                  <a16:creationId xmlns:a16="http://schemas.microsoft.com/office/drawing/2014/main" id="{40FED280-3BAD-4894-A1C3-F00680EA79DB}"/>
                </a:ext>
              </a:extLst>
            </p:cNvPr>
            <p:cNvSpPr/>
            <p:nvPr/>
          </p:nvSpPr>
          <p:spPr>
            <a:xfrm>
              <a:off x="9784373" y="2618584"/>
              <a:ext cx="3934" cy="3934"/>
            </a:xfrm>
            <a:custGeom>
              <a:avLst/>
              <a:gdLst>
                <a:gd name="connsiteX0" fmla="*/ 6688 w 3934"/>
                <a:gd name="connsiteY0" fmla="*/ 0 h 3934"/>
                <a:gd name="connsiteX1" fmla="*/ 3540 w 3934"/>
                <a:gd name="connsiteY1" fmla="*/ 0 h 3934"/>
                <a:gd name="connsiteX2" fmla="*/ 787 w 3934"/>
                <a:gd name="connsiteY2" fmla="*/ 1967 h 3934"/>
                <a:gd name="connsiteX3" fmla="*/ 0 w 3934"/>
                <a:gd name="connsiteY3" fmla="*/ 2754 h 3934"/>
                <a:gd name="connsiteX4" fmla="*/ 2754 w 3934"/>
                <a:gd name="connsiteY4" fmla="*/ 3934 h 3934"/>
                <a:gd name="connsiteX5" fmla="*/ 5901 w 3934"/>
                <a:gd name="connsiteY5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6688" y="0"/>
                  </a:moveTo>
                  <a:lnTo>
                    <a:pt x="3540" y="0"/>
                  </a:lnTo>
                  <a:lnTo>
                    <a:pt x="787" y="1967"/>
                  </a:lnTo>
                  <a:lnTo>
                    <a:pt x="0" y="2754"/>
                  </a:lnTo>
                  <a:lnTo>
                    <a:pt x="2754" y="3934"/>
                  </a:lnTo>
                  <a:lnTo>
                    <a:pt x="590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76" name="Freeform: Shape 3570">
              <a:extLst>
                <a:ext uri="{FF2B5EF4-FFF2-40B4-BE49-F238E27FC236}">
                  <a16:creationId xmlns:a16="http://schemas.microsoft.com/office/drawing/2014/main" id="{270F9F88-6C5C-4D0D-8CC0-9C615B7D2474}"/>
                </a:ext>
              </a:extLst>
            </p:cNvPr>
            <p:cNvSpPr/>
            <p:nvPr/>
          </p:nvSpPr>
          <p:spPr>
            <a:xfrm>
              <a:off x="9822929" y="2570586"/>
              <a:ext cx="3934" cy="3934"/>
            </a:xfrm>
            <a:custGeom>
              <a:avLst/>
              <a:gdLst>
                <a:gd name="connsiteX0" fmla="*/ 2754 w 3934"/>
                <a:gd name="connsiteY0" fmla="*/ 1967 h 0"/>
                <a:gd name="connsiteX1" fmla="*/ 5901 w 3934"/>
                <a:gd name="connsiteY1" fmla="*/ 1180 h 0"/>
                <a:gd name="connsiteX2" fmla="*/ 5901 w 3934"/>
                <a:gd name="connsiteY2" fmla="*/ 0 h 0"/>
                <a:gd name="connsiteX3" fmla="*/ 2754 w 3934"/>
                <a:gd name="connsiteY3" fmla="*/ 1180 h 0"/>
                <a:gd name="connsiteX4" fmla="*/ 0 w 3934"/>
                <a:gd name="connsiteY4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2754" y="1967"/>
                  </a:moveTo>
                  <a:lnTo>
                    <a:pt x="5901" y="1180"/>
                  </a:lnTo>
                  <a:lnTo>
                    <a:pt x="5901" y="0"/>
                  </a:lnTo>
                  <a:lnTo>
                    <a:pt x="2754" y="1180"/>
                  </a:lnTo>
                  <a:lnTo>
                    <a:pt x="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77" name="Freeform: Shape 3571">
              <a:extLst>
                <a:ext uri="{FF2B5EF4-FFF2-40B4-BE49-F238E27FC236}">
                  <a16:creationId xmlns:a16="http://schemas.microsoft.com/office/drawing/2014/main" id="{B6DFA341-5D5C-4A7C-93B9-F0BBF156FA59}"/>
                </a:ext>
              </a:extLst>
            </p:cNvPr>
            <p:cNvSpPr/>
            <p:nvPr/>
          </p:nvSpPr>
          <p:spPr>
            <a:xfrm>
              <a:off x="9827256" y="2562717"/>
              <a:ext cx="3934" cy="3934"/>
            </a:xfrm>
            <a:custGeom>
              <a:avLst/>
              <a:gdLst>
                <a:gd name="connsiteX0" fmla="*/ 1574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2754 h 0"/>
                <a:gd name="connsiteX3" fmla="*/ 3148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574" y="0"/>
                  </a:moveTo>
                  <a:lnTo>
                    <a:pt x="0" y="0"/>
                  </a:lnTo>
                  <a:lnTo>
                    <a:pt x="0" y="2754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78" name="Freeform: Shape 3572">
              <a:extLst>
                <a:ext uri="{FF2B5EF4-FFF2-40B4-BE49-F238E27FC236}">
                  <a16:creationId xmlns:a16="http://schemas.microsoft.com/office/drawing/2014/main" id="{445F0B43-4E22-4B77-B98A-DCDCCE6A2985}"/>
                </a:ext>
              </a:extLst>
            </p:cNvPr>
            <p:cNvSpPr/>
            <p:nvPr/>
          </p:nvSpPr>
          <p:spPr>
            <a:xfrm>
              <a:off x="9839453" y="2558783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573 w 0"/>
                <a:gd name="connsiteY1" fmla="*/ 2754 h 0"/>
                <a:gd name="connsiteX2" fmla="*/ 157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573" y="2754"/>
                  </a:lnTo>
                  <a:lnTo>
                    <a:pt x="157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79" name="Freeform: Shape 3573">
              <a:extLst>
                <a:ext uri="{FF2B5EF4-FFF2-40B4-BE49-F238E27FC236}">
                  <a16:creationId xmlns:a16="http://schemas.microsoft.com/office/drawing/2014/main" id="{C7497399-C803-4AB6-BAD8-76AE2195A53D}"/>
                </a:ext>
              </a:extLst>
            </p:cNvPr>
            <p:cNvSpPr/>
            <p:nvPr/>
          </p:nvSpPr>
          <p:spPr>
            <a:xfrm>
              <a:off x="10014527" y="2541866"/>
              <a:ext cx="3934" cy="3934"/>
            </a:xfrm>
            <a:custGeom>
              <a:avLst/>
              <a:gdLst>
                <a:gd name="connsiteX0" fmla="*/ 0 w 0"/>
                <a:gd name="connsiteY0" fmla="*/ 2361 h 0"/>
                <a:gd name="connsiteX1" fmla="*/ 2754 w 0"/>
                <a:gd name="connsiteY1" fmla="*/ 2754 h 0"/>
                <a:gd name="connsiteX2" fmla="*/ 39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361"/>
                  </a:moveTo>
                  <a:lnTo>
                    <a:pt x="2754" y="2754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80" name="Freeform: Shape 3574">
              <a:extLst>
                <a:ext uri="{FF2B5EF4-FFF2-40B4-BE49-F238E27FC236}">
                  <a16:creationId xmlns:a16="http://schemas.microsoft.com/office/drawing/2014/main" id="{2EB414C0-1BC4-4520-8B65-3B531BB952C0}"/>
                </a:ext>
              </a:extLst>
            </p:cNvPr>
            <p:cNvSpPr/>
            <p:nvPr/>
          </p:nvSpPr>
          <p:spPr>
            <a:xfrm>
              <a:off x="9813880" y="2496228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3147 h 0"/>
                <a:gd name="connsiteX2" fmla="*/ 196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3147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81" name="Freeform: Shape 3575">
              <a:extLst>
                <a:ext uri="{FF2B5EF4-FFF2-40B4-BE49-F238E27FC236}">
                  <a16:creationId xmlns:a16="http://schemas.microsoft.com/office/drawing/2014/main" id="{08DF368D-90AE-4365-BD5F-1DD4BB2BBF59}"/>
                </a:ext>
              </a:extLst>
            </p:cNvPr>
            <p:cNvSpPr/>
            <p:nvPr/>
          </p:nvSpPr>
          <p:spPr>
            <a:xfrm>
              <a:off x="9816634" y="2489146"/>
              <a:ext cx="3934" cy="3934"/>
            </a:xfrm>
            <a:custGeom>
              <a:avLst/>
              <a:gdLst>
                <a:gd name="connsiteX0" fmla="*/ 5115 w 3934"/>
                <a:gd name="connsiteY0" fmla="*/ 5115 h 3934"/>
                <a:gd name="connsiteX1" fmla="*/ 4721 w 3934"/>
                <a:gd name="connsiteY1" fmla="*/ 1967 h 3934"/>
                <a:gd name="connsiteX2" fmla="*/ 1967 w 3934"/>
                <a:gd name="connsiteY2" fmla="*/ 0 h 3934"/>
                <a:gd name="connsiteX3" fmla="*/ 0 w 3934"/>
                <a:gd name="connsiteY3" fmla="*/ 1967 h 3934"/>
                <a:gd name="connsiteX4" fmla="*/ 2361 w 3934"/>
                <a:gd name="connsiteY4" fmla="*/ 511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115" y="5115"/>
                  </a:moveTo>
                  <a:lnTo>
                    <a:pt x="4721" y="1967"/>
                  </a:lnTo>
                  <a:lnTo>
                    <a:pt x="1967" y="0"/>
                  </a:lnTo>
                  <a:lnTo>
                    <a:pt x="0" y="1967"/>
                  </a:lnTo>
                  <a:lnTo>
                    <a:pt x="2361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82" name="Freeform: Shape 3576">
              <a:extLst>
                <a:ext uri="{FF2B5EF4-FFF2-40B4-BE49-F238E27FC236}">
                  <a16:creationId xmlns:a16="http://schemas.microsoft.com/office/drawing/2014/main" id="{EBCA6F96-1F99-46B2-81A0-6A85BCAB7DD8}"/>
                </a:ext>
              </a:extLst>
            </p:cNvPr>
            <p:cNvSpPr/>
            <p:nvPr/>
          </p:nvSpPr>
          <p:spPr>
            <a:xfrm>
              <a:off x="9929941" y="2422657"/>
              <a:ext cx="7869" cy="15737"/>
            </a:xfrm>
            <a:custGeom>
              <a:avLst/>
              <a:gdLst>
                <a:gd name="connsiteX0" fmla="*/ 3934 w 7868"/>
                <a:gd name="connsiteY0" fmla="*/ 0 h 15737"/>
                <a:gd name="connsiteX1" fmla="*/ 1573 w 7868"/>
                <a:gd name="connsiteY1" fmla="*/ 1574 h 15737"/>
                <a:gd name="connsiteX2" fmla="*/ 394 w 7868"/>
                <a:gd name="connsiteY2" fmla="*/ 4328 h 15737"/>
                <a:gd name="connsiteX3" fmla="*/ 0 w 7868"/>
                <a:gd name="connsiteY3" fmla="*/ 7475 h 15737"/>
                <a:gd name="connsiteX4" fmla="*/ 1180 w 7868"/>
                <a:gd name="connsiteY4" fmla="*/ 10229 h 15737"/>
                <a:gd name="connsiteX5" fmla="*/ 4328 w 7868"/>
                <a:gd name="connsiteY5" fmla="*/ 10623 h 15737"/>
                <a:gd name="connsiteX6" fmla="*/ 4328 w 7868"/>
                <a:gd name="connsiteY6" fmla="*/ 13770 h 15737"/>
                <a:gd name="connsiteX7" fmla="*/ 3934 w 7868"/>
                <a:gd name="connsiteY7" fmla="*/ 16524 h 15737"/>
                <a:gd name="connsiteX8" fmla="*/ 7082 w 7868"/>
                <a:gd name="connsiteY8" fmla="*/ 15737 h 15737"/>
                <a:gd name="connsiteX9" fmla="*/ 9836 w 7868"/>
                <a:gd name="connsiteY9" fmla="*/ 12983 h 15737"/>
                <a:gd name="connsiteX10" fmla="*/ 9836 w 7868"/>
                <a:gd name="connsiteY10" fmla="*/ 10229 h 15737"/>
                <a:gd name="connsiteX11" fmla="*/ 7869 w 7868"/>
                <a:gd name="connsiteY11" fmla="*/ 7475 h 15737"/>
                <a:gd name="connsiteX12" fmla="*/ 5115 w 7868"/>
                <a:gd name="connsiteY12" fmla="*/ 6295 h 15737"/>
                <a:gd name="connsiteX13" fmla="*/ 5115 w 7868"/>
                <a:gd name="connsiteY13" fmla="*/ 314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68" h="15737">
                  <a:moveTo>
                    <a:pt x="3934" y="0"/>
                  </a:moveTo>
                  <a:lnTo>
                    <a:pt x="1573" y="1574"/>
                  </a:lnTo>
                  <a:lnTo>
                    <a:pt x="394" y="4328"/>
                  </a:lnTo>
                  <a:lnTo>
                    <a:pt x="0" y="7475"/>
                  </a:lnTo>
                  <a:lnTo>
                    <a:pt x="1180" y="10229"/>
                  </a:lnTo>
                  <a:lnTo>
                    <a:pt x="4328" y="10623"/>
                  </a:lnTo>
                  <a:lnTo>
                    <a:pt x="4328" y="13770"/>
                  </a:lnTo>
                  <a:lnTo>
                    <a:pt x="3934" y="16524"/>
                  </a:lnTo>
                  <a:lnTo>
                    <a:pt x="7082" y="15737"/>
                  </a:lnTo>
                  <a:lnTo>
                    <a:pt x="9836" y="12983"/>
                  </a:lnTo>
                  <a:lnTo>
                    <a:pt x="9836" y="10229"/>
                  </a:lnTo>
                  <a:lnTo>
                    <a:pt x="7869" y="7475"/>
                  </a:lnTo>
                  <a:lnTo>
                    <a:pt x="5115" y="6295"/>
                  </a:lnTo>
                  <a:lnTo>
                    <a:pt x="5115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83" name="Freeform: Shape 3577">
              <a:extLst>
                <a:ext uri="{FF2B5EF4-FFF2-40B4-BE49-F238E27FC236}">
                  <a16:creationId xmlns:a16="http://schemas.microsoft.com/office/drawing/2014/main" id="{AACD208A-03EA-460E-AA13-48ACF5FAEA3A}"/>
                </a:ext>
              </a:extLst>
            </p:cNvPr>
            <p:cNvSpPr/>
            <p:nvPr/>
          </p:nvSpPr>
          <p:spPr>
            <a:xfrm>
              <a:off x="9824896" y="2555242"/>
              <a:ext cx="66882" cy="55080"/>
            </a:xfrm>
            <a:custGeom>
              <a:avLst/>
              <a:gdLst>
                <a:gd name="connsiteX0" fmla="*/ 55866 w 66882"/>
                <a:gd name="connsiteY0" fmla="*/ 33441 h 55079"/>
                <a:gd name="connsiteX1" fmla="*/ 58620 w 66882"/>
                <a:gd name="connsiteY1" fmla="*/ 35802 h 55079"/>
                <a:gd name="connsiteX2" fmla="*/ 61374 w 66882"/>
                <a:gd name="connsiteY2" fmla="*/ 37769 h 55079"/>
                <a:gd name="connsiteX3" fmla="*/ 61768 w 66882"/>
                <a:gd name="connsiteY3" fmla="*/ 34621 h 55079"/>
                <a:gd name="connsiteX4" fmla="*/ 61374 w 66882"/>
                <a:gd name="connsiteY4" fmla="*/ 31867 h 55079"/>
                <a:gd name="connsiteX5" fmla="*/ 61768 w 66882"/>
                <a:gd name="connsiteY5" fmla="*/ 29114 h 55079"/>
                <a:gd name="connsiteX6" fmla="*/ 61768 w 66882"/>
                <a:gd name="connsiteY6" fmla="*/ 28720 h 55079"/>
                <a:gd name="connsiteX7" fmla="*/ 63735 w 66882"/>
                <a:gd name="connsiteY7" fmla="*/ 24786 h 55079"/>
                <a:gd name="connsiteX8" fmla="*/ 66489 w 66882"/>
                <a:gd name="connsiteY8" fmla="*/ 22032 h 55079"/>
                <a:gd name="connsiteX9" fmla="*/ 69242 w 66882"/>
                <a:gd name="connsiteY9" fmla="*/ 19671 h 55079"/>
                <a:gd name="connsiteX10" fmla="*/ 67669 w 66882"/>
                <a:gd name="connsiteY10" fmla="*/ 16917 h 55079"/>
                <a:gd name="connsiteX11" fmla="*/ 65702 w 66882"/>
                <a:gd name="connsiteY11" fmla="*/ 13770 h 55079"/>
                <a:gd name="connsiteX12" fmla="*/ 62948 w 66882"/>
                <a:gd name="connsiteY12" fmla="*/ 11016 h 55079"/>
                <a:gd name="connsiteX13" fmla="*/ 62554 w 66882"/>
                <a:gd name="connsiteY13" fmla="*/ 8262 h 55079"/>
                <a:gd name="connsiteX14" fmla="*/ 62162 w 66882"/>
                <a:gd name="connsiteY14" fmla="*/ 5114 h 55079"/>
                <a:gd name="connsiteX15" fmla="*/ 59014 w 66882"/>
                <a:gd name="connsiteY15" fmla="*/ 5508 h 55079"/>
                <a:gd name="connsiteX16" fmla="*/ 56653 w 66882"/>
                <a:gd name="connsiteY16" fmla="*/ 5901 h 55079"/>
                <a:gd name="connsiteX17" fmla="*/ 53505 w 66882"/>
                <a:gd name="connsiteY17" fmla="*/ 4328 h 55079"/>
                <a:gd name="connsiteX18" fmla="*/ 50752 w 66882"/>
                <a:gd name="connsiteY18" fmla="*/ 3147 h 55079"/>
                <a:gd name="connsiteX19" fmla="*/ 47604 w 66882"/>
                <a:gd name="connsiteY19" fmla="*/ 1180 h 55079"/>
                <a:gd name="connsiteX20" fmla="*/ 44850 w 66882"/>
                <a:gd name="connsiteY20" fmla="*/ 393 h 55079"/>
                <a:gd name="connsiteX21" fmla="*/ 43277 w 66882"/>
                <a:gd name="connsiteY21" fmla="*/ 787 h 55079"/>
                <a:gd name="connsiteX22" fmla="*/ 40523 w 66882"/>
                <a:gd name="connsiteY22" fmla="*/ 0 h 55079"/>
                <a:gd name="connsiteX23" fmla="*/ 37768 w 66882"/>
                <a:gd name="connsiteY23" fmla="*/ 2360 h 55079"/>
                <a:gd name="connsiteX24" fmla="*/ 35801 w 66882"/>
                <a:gd name="connsiteY24" fmla="*/ 4328 h 55079"/>
                <a:gd name="connsiteX25" fmla="*/ 33047 w 66882"/>
                <a:gd name="connsiteY25" fmla="*/ 4721 h 55079"/>
                <a:gd name="connsiteX26" fmla="*/ 32261 w 66882"/>
                <a:gd name="connsiteY26" fmla="*/ 4328 h 55079"/>
                <a:gd name="connsiteX27" fmla="*/ 34622 w 66882"/>
                <a:gd name="connsiteY27" fmla="*/ 7475 h 55079"/>
                <a:gd name="connsiteX28" fmla="*/ 35408 w 66882"/>
                <a:gd name="connsiteY28" fmla="*/ 9836 h 55079"/>
                <a:gd name="connsiteX29" fmla="*/ 35408 w 66882"/>
                <a:gd name="connsiteY29" fmla="*/ 10622 h 55079"/>
                <a:gd name="connsiteX30" fmla="*/ 35015 w 66882"/>
                <a:gd name="connsiteY30" fmla="*/ 12196 h 55079"/>
                <a:gd name="connsiteX31" fmla="*/ 22425 w 66882"/>
                <a:gd name="connsiteY31" fmla="*/ 14950 h 55079"/>
                <a:gd name="connsiteX32" fmla="*/ 20458 w 66882"/>
                <a:gd name="connsiteY32" fmla="*/ 12983 h 55079"/>
                <a:gd name="connsiteX33" fmla="*/ 17310 w 66882"/>
                <a:gd name="connsiteY33" fmla="*/ 10229 h 55079"/>
                <a:gd name="connsiteX34" fmla="*/ 14557 w 66882"/>
                <a:gd name="connsiteY34" fmla="*/ 9442 h 55079"/>
                <a:gd name="connsiteX35" fmla="*/ 14163 w 66882"/>
                <a:gd name="connsiteY35" fmla="*/ 12196 h 55079"/>
                <a:gd name="connsiteX36" fmla="*/ 13376 w 66882"/>
                <a:gd name="connsiteY36" fmla="*/ 14950 h 55079"/>
                <a:gd name="connsiteX37" fmla="*/ 12589 w 66882"/>
                <a:gd name="connsiteY37" fmla="*/ 16917 h 55079"/>
                <a:gd name="connsiteX38" fmla="*/ 10229 w 66882"/>
                <a:gd name="connsiteY38" fmla="*/ 25573 h 55079"/>
                <a:gd name="connsiteX39" fmla="*/ 8655 w 66882"/>
                <a:gd name="connsiteY39" fmla="*/ 28327 h 55079"/>
                <a:gd name="connsiteX40" fmla="*/ 5901 w 66882"/>
                <a:gd name="connsiteY40" fmla="*/ 30687 h 55079"/>
                <a:gd name="connsiteX41" fmla="*/ 2754 w 66882"/>
                <a:gd name="connsiteY41" fmla="*/ 32261 h 55079"/>
                <a:gd name="connsiteX42" fmla="*/ 0 w 66882"/>
                <a:gd name="connsiteY42" fmla="*/ 35015 h 55079"/>
                <a:gd name="connsiteX43" fmla="*/ 2754 w 66882"/>
                <a:gd name="connsiteY43" fmla="*/ 34621 h 55079"/>
                <a:gd name="connsiteX44" fmla="*/ 5901 w 66882"/>
                <a:gd name="connsiteY44" fmla="*/ 32261 h 55079"/>
                <a:gd name="connsiteX45" fmla="*/ 8655 w 66882"/>
                <a:gd name="connsiteY45" fmla="*/ 30687 h 55079"/>
                <a:gd name="connsiteX46" fmla="*/ 10229 w 66882"/>
                <a:gd name="connsiteY46" fmla="*/ 33835 h 55079"/>
                <a:gd name="connsiteX47" fmla="*/ 11803 w 66882"/>
                <a:gd name="connsiteY47" fmla="*/ 36589 h 55079"/>
                <a:gd name="connsiteX48" fmla="*/ 14950 w 66882"/>
                <a:gd name="connsiteY48" fmla="*/ 36195 h 55079"/>
                <a:gd name="connsiteX49" fmla="*/ 16130 w 66882"/>
                <a:gd name="connsiteY49" fmla="*/ 39343 h 55079"/>
                <a:gd name="connsiteX50" fmla="*/ 13376 w 66882"/>
                <a:gd name="connsiteY50" fmla="*/ 39736 h 55079"/>
                <a:gd name="connsiteX51" fmla="*/ 16130 w 66882"/>
                <a:gd name="connsiteY51" fmla="*/ 41703 h 55079"/>
                <a:gd name="connsiteX52" fmla="*/ 15343 w 66882"/>
                <a:gd name="connsiteY52" fmla="*/ 44851 h 55079"/>
                <a:gd name="connsiteX53" fmla="*/ 18097 w 66882"/>
                <a:gd name="connsiteY53" fmla="*/ 46424 h 55079"/>
                <a:gd name="connsiteX54" fmla="*/ 18491 w 66882"/>
                <a:gd name="connsiteY54" fmla="*/ 49178 h 55079"/>
                <a:gd name="connsiteX55" fmla="*/ 21245 w 66882"/>
                <a:gd name="connsiteY55" fmla="*/ 48785 h 55079"/>
                <a:gd name="connsiteX56" fmla="*/ 22819 w 66882"/>
                <a:gd name="connsiteY56" fmla="*/ 49178 h 55079"/>
                <a:gd name="connsiteX57" fmla="*/ 24392 w 66882"/>
                <a:gd name="connsiteY57" fmla="*/ 51932 h 55079"/>
                <a:gd name="connsiteX58" fmla="*/ 27540 w 66882"/>
                <a:gd name="connsiteY58" fmla="*/ 53899 h 55079"/>
                <a:gd name="connsiteX59" fmla="*/ 30294 w 66882"/>
                <a:gd name="connsiteY59" fmla="*/ 54293 h 55079"/>
                <a:gd name="connsiteX60" fmla="*/ 33047 w 66882"/>
                <a:gd name="connsiteY60" fmla="*/ 53899 h 55079"/>
                <a:gd name="connsiteX61" fmla="*/ 36195 w 66882"/>
                <a:gd name="connsiteY61" fmla="*/ 55866 h 55079"/>
                <a:gd name="connsiteX62" fmla="*/ 33834 w 66882"/>
                <a:gd name="connsiteY62" fmla="*/ 53113 h 55079"/>
                <a:gd name="connsiteX63" fmla="*/ 33834 w 66882"/>
                <a:gd name="connsiteY63" fmla="*/ 50359 h 55079"/>
                <a:gd name="connsiteX64" fmla="*/ 32655 w 66882"/>
                <a:gd name="connsiteY64" fmla="*/ 47211 h 55079"/>
                <a:gd name="connsiteX65" fmla="*/ 34228 w 66882"/>
                <a:gd name="connsiteY65" fmla="*/ 44457 h 55079"/>
                <a:gd name="connsiteX66" fmla="*/ 35015 w 66882"/>
                <a:gd name="connsiteY66" fmla="*/ 41703 h 55079"/>
                <a:gd name="connsiteX67" fmla="*/ 35801 w 66882"/>
                <a:gd name="connsiteY67" fmla="*/ 39343 h 55079"/>
                <a:gd name="connsiteX68" fmla="*/ 35801 w 66882"/>
                <a:gd name="connsiteY68" fmla="*/ 40916 h 55079"/>
                <a:gd name="connsiteX69" fmla="*/ 34228 w 66882"/>
                <a:gd name="connsiteY69" fmla="*/ 44064 h 55079"/>
                <a:gd name="connsiteX70" fmla="*/ 54686 w 66882"/>
                <a:gd name="connsiteY70" fmla="*/ 32261 h 55079"/>
                <a:gd name="connsiteX71" fmla="*/ 55866 w 66882"/>
                <a:gd name="connsiteY71" fmla="*/ 33441 h 55079"/>
                <a:gd name="connsiteX72" fmla="*/ 36195 w 66882"/>
                <a:gd name="connsiteY72" fmla="*/ 38162 h 55079"/>
                <a:gd name="connsiteX73" fmla="*/ 36589 w 66882"/>
                <a:gd name="connsiteY73" fmla="*/ 38556 h 55079"/>
                <a:gd name="connsiteX74" fmla="*/ 36589 w 66882"/>
                <a:gd name="connsiteY74" fmla="*/ 38556 h 55079"/>
                <a:gd name="connsiteX75" fmla="*/ 36195 w 66882"/>
                <a:gd name="connsiteY75" fmla="*/ 38162 h 55079"/>
                <a:gd name="connsiteX76" fmla="*/ 46817 w 66882"/>
                <a:gd name="connsiteY76" fmla="*/ 29507 h 55079"/>
                <a:gd name="connsiteX77" fmla="*/ 46817 w 66882"/>
                <a:gd name="connsiteY77" fmla="*/ 29507 h 55079"/>
                <a:gd name="connsiteX78" fmla="*/ 49965 w 66882"/>
                <a:gd name="connsiteY78" fmla="*/ 30294 h 55079"/>
                <a:gd name="connsiteX79" fmla="*/ 46817 w 66882"/>
                <a:gd name="connsiteY79" fmla="*/ 29507 h 55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66882" h="55079">
                  <a:moveTo>
                    <a:pt x="55866" y="33441"/>
                  </a:moveTo>
                  <a:lnTo>
                    <a:pt x="58620" y="35802"/>
                  </a:lnTo>
                  <a:lnTo>
                    <a:pt x="61374" y="37769"/>
                  </a:lnTo>
                  <a:lnTo>
                    <a:pt x="61768" y="34621"/>
                  </a:lnTo>
                  <a:lnTo>
                    <a:pt x="61374" y="31867"/>
                  </a:lnTo>
                  <a:lnTo>
                    <a:pt x="61768" y="29114"/>
                  </a:lnTo>
                  <a:lnTo>
                    <a:pt x="61768" y="28720"/>
                  </a:lnTo>
                  <a:lnTo>
                    <a:pt x="63735" y="24786"/>
                  </a:lnTo>
                  <a:lnTo>
                    <a:pt x="66489" y="22032"/>
                  </a:lnTo>
                  <a:lnTo>
                    <a:pt x="69242" y="19671"/>
                  </a:lnTo>
                  <a:lnTo>
                    <a:pt x="67669" y="16917"/>
                  </a:lnTo>
                  <a:lnTo>
                    <a:pt x="65702" y="13770"/>
                  </a:lnTo>
                  <a:lnTo>
                    <a:pt x="62948" y="11016"/>
                  </a:lnTo>
                  <a:lnTo>
                    <a:pt x="62554" y="8262"/>
                  </a:lnTo>
                  <a:lnTo>
                    <a:pt x="62162" y="5114"/>
                  </a:lnTo>
                  <a:lnTo>
                    <a:pt x="59014" y="5508"/>
                  </a:lnTo>
                  <a:lnTo>
                    <a:pt x="56653" y="5901"/>
                  </a:lnTo>
                  <a:lnTo>
                    <a:pt x="53505" y="4328"/>
                  </a:lnTo>
                  <a:lnTo>
                    <a:pt x="50752" y="3147"/>
                  </a:lnTo>
                  <a:lnTo>
                    <a:pt x="47604" y="1180"/>
                  </a:lnTo>
                  <a:lnTo>
                    <a:pt x="44850" y="393"/>
                  </a:lnTo>
                  <a:lnTo>
                    <a:pt x="43277" y="787"/>
                  </a:lnTo>
                  <a:lnTo>
                    <a:pt x="40523" y="0"/>
                  </a:lnTo>
                  <a:lnTo>
                    <a:pt x="37768" y="2360"/>
                  </a:lnTo>
                  <a:lnTo>
                    <a:pt x="35801" y="4328"/>
                  </a:lnTo>
                  <a:lnTo>
                    <a:pt x="33047" y="4721"/>
                  </a:lnTo>
                  <a:lnTo>
                    <a:pt x="32261" y="4328"/>
                  </a:lnTo>
                  <a:lnTo>
                    <a:pt x="34622" y="7475"/>
                  </a:lnTo>
                  <a:lnTo>
                    <a:pt x="35408" y="9836"/>
                  </a:lnTo>
                  <a:lnTo>
                    <a:pt x="35408" y="10622"/>
                  </a:lnTo>
                  <a:lnTo>
                    <a:pt x="35015" y="12196"/>
                  </a:lnTo>
                  <a:lnTo>
                    <a:pt x="22425" y="14950"/>
                  </a:lnTo>
                  <a:lnTo>
                    <a:pt x="20458" y="12983"/>
                  </a:lnTo>
                  <a:lnTo>
                    <a:pt x="17310" y="10229"/>
                  </a:lnTo>
                  <a:lnTo>
                    <a:pt x="14557" y="9442"/>
                  </a:lnTo>
                  <a:lnTo>
                    <a:pt x="14163" y="12196"/>
                  </a:lnTo>
                  <a:lnTo>
                    <a:pt x="13376" y="14950"/>
                  </a:lnTo>
                  <a:lnTo>
                    <a:pt x="12589" y="16917"/>
                  </a:lnTo>
                  <a:lnTo>
                    <a:pt x="10229" y="25573"/>
                  </a:lnTo>
                  <a:lnTo>
                    <a:pt x="8655" y="28327"/>
                  </a:lnTo>
                  <a:lnTo>
                    <a:pt x="5901" y="30687"/>
                  </a:lnTo>
                  <a:lnTo>
                    <a:pt x="2754" y="32261"/>
                  </a:lnTo>
                  <a:lnTo>
                    <a:pt x="0" y="35015"/>
                  </a:lnTo>
                  <a:lnTo>
                    <a:pt x="2754" y="34621"/>
                  </a:lnTo>
                  <a:lnTo>
                    <a:pt x="5901" y="32261"/>
                  </a:lnTo>
                  <a:lnTo>
                    <a:pt x="8655" y="30687"/>
                  </a:lnTo>
                  <a:lnTo>
                    <a:pt x="10229" y="33835"/>
                  </a:lnTo>
                  <a:lnTo>
                    <a:pt x="11803" y="36589"/>
                  </a:lnTo>
                  <a:lnTo>
                    <a:pt x="14950" y="36195"/>
                  </a:lnTo>
                  <a:lnTo>
                    <a:pt x="16130" y="39343"/>
                  </a:lnTo>
                  <a:lnTo>
                    <a:pt x="13376" y="39736"/>
                  </a:lnTo>
                  <a:lnTo>
                    <a:pt x="16130" y="41703"/>
                  </a:lnTo>
                  <a:lnTo>
                    <a:pt x="15343" y="44851"/>
                  </a:lnTo>
                  <a:lnTo>
                    <a:pt x="18097" y="46424"/>
                  </a:lnTo>
                  <a:lnTo>
                    <a:pt x="18491" y="49178"/>
                  </a:lnTo>
                  <a:lnTo>
                    <a:pt x="21245" y="48785"/>
                  </a:lnTo>
                  <a:lnTo>
                    <a:pt x="22819" y="49178"/>
                  </a:lnTo>
                  <a:lnTo>
                    <a:pt x="24392" y="51932"/>
                  </a:lnTo>
                  <a:lnTo>
                    <a:pt x="27540" y="53899"/>
                  </a:lnTo>
                  <a:lnTo>
                    <a:pt x="30294" y="54293"/>
                  </a:lnTo>
                  <a:lnTo>
                    <a:pt x="33047" y="53899"/>
                  </a:lnTo>
                  <a:lnTo>
                    <a:pt x="36195" y="55866"/>
                  </a:lnTo>
                  <a:lnTo>
                    <a:pt x="33834" y="53113"/>
                  </a:lnTo>
                  <a:lnTo>
                    <a:pt x="33834" y="50359"/>
                  </a:lnTo>
                  <a:lnTo>
                    <a:pt x="32655" y="47211"/>
                  </a:lnTo>
                  <a:lnTo>
                    <a:pt x="34228" y="44457"/>
                  </a:lnTo>
                  <a:lnTo>
                    <a:pt x="35015" y="41703"/>
                  </a:lnTo>
                  <a:lnTo>
                    <a:pt x="35801" y="39343"/>
                  </a:lnTo>
                  <a:lnTo>
                    <a:pt x="35801" y="40916"/>
                  </a:lnTo>
                  <a:lnTo>
                    <a:pt x="34228" y="44064"/>
                  </a:lnTo>
                  <a:lnTo>
                    <a:pt x="54686" y="32261"/>
                  </a:lnTo>
                  <a:lnTo>
                    <a:pt x="55866" y="33441"/>
                  </a:lnTo>
                  <a:close/>
                  <a:moveTo>
                    <a:pt x="36195" y="38162"/>
                  </a:moveTo>
                  <a:lnTo>
                    <a:pt x="36589" y="38556"/>
                  </a:lnTo>
                  <a:lnTo>
                    <a:pt x="36589" y="38556"/>
                  </a:lnTo>
                  <a:lnTo>
                    <a:pt x="36195" y="38162"/>
                  </a:lnTo>
                  <a:close/>
                  <a:moveTo>
                    <a:pt x="46817" y="29507"/>
                  </a:moveTo>
                  <a:lnTo>
                    <a:pt x="46817" y="29507"/>
                  </a:lnTo>
                  <a:lnTo>
                    <a:pt x="49965" y="30294"/>
                  </a:lnTo>
                  <a:lnTo>
                    <a:pt x="46817" y="2950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84" name="Freeform: Shape 3578">
              <a:extLst>
                <a:ext uri="{FF2B5EF4-FFF2-40B4-BE49-F238E27FC236}">
                  <a16:creationId xmlns:a16="http://schemas.microsoft.com/office/drawing/2014/main" id="{E08110C0-6094-4D9B-BE44-F308CF792A7E}"/>
                </a:ext>
              </a:extLst>
            </p:cNvPr>
            <p:cNvSpPr/>
            <p:nvPr/>
          </p:nvSpPr>
          <p:spPr>
            <a:xfrm>
              <a:off x="9887450" y="2547767"/>
              <a:ext cx="3934" cy="11803"/>
            </a:xfrm>
            <a:custGeom>
              <a:avLst/>
              <a:gdLst>
                <a:gd name="connsiteX0" fmla="*/ 2754 w 3934"/>
                <a:gd name="connsiteY0" fmla="*/ 2754 h 11802"/>
                <a:gd name="connsiteX1" fmla="*/ 2754 w 3934"/>
                <a:gd name="connsiteY1" fmla="*/ 2754 h 11802"/>
                <a:gd name="connsiteX2" fmla="*/ 2361 w 3934"/>
                <a:gd name="connsiteY2" fmla="*/ 3147 h 11802"/>
                <a:gd name="connsiteX3" fmla="*/ 2361 w 3934"/>
                <a:gd name="connsiteY3" fmla="*/ 3147 h 11802"/>
                <a:gd name="connsiteX4" fmla="*/ 1967 w 3934"/>
                <a:gd name="connsiteY4" fmla="*/ 3934 h 11802"/>
                <a:gd name="connsiteX5" fmla="*/ 1180 w 3934"/>
                <a:gd name="connsiteY5" fmla="*/ 5901 h 11802"/>
                <a:gd name="connsiteX6" fmla="*/ 787 w 3934"/>
                <a:gd name="connsiteY6" fmla="*/ 8655 h 11802"/>
                <a:gd name="connsiteX7" fmla="*/ 0 w 3934"/>
                <a:gd name="connsiteY7" fmla="*/ 11409 h 11802"/>
                <a:gd name="connsiteX8" fmla="*/ 394 w 3934"/>
                <a:gd name="connsiteY8" fmla="*/ 11803 h 11802"/>
                <a:gd name="connsiteX9" fmla="*/ 394 w 3934"/>
                <a:gd name="connsiteY9" fmla="*/ 12196 h 11802"/>
                <a:gd name="connsiteX10" fmla="*/ 394 w 3934"/>
                <a:gd name="connsiteY10" fmla="*/ 12196 h 11802"/>
                <a:gd name="connsiteX11" fmla="*/ 394 w 3934"/>
                <a:gd name="connsiteY11" fmla="*/ 11803 h 11802"/>
                <a:gd name="connsiteX12" fmla="*/ 787 w 3934"/>
                <a:gd name="connsiteY12" fmla="*/ 11803 h 11802"/>
                <a:gd name="connsiteX13" fmla="*/ 394 w 3934"/>
                <a:gd name="connsiteY13" fmla="*/ 12196 h 11802"/>
                <a:gd name="connsiteX14" fmla="*/ 3541 w 3934"/>
                <a:gd name="connsiteY14" fmla="*/ 14163 h 11802"/>
                <a:gd name="connsiteX15" fmla="*/ 6295 w 3934"/>
                <a:gd name="connsiteY15" fmla="*/ 12590 h 11802"/>
                <a:gd name="connsiteX16" fmla="*/ 6295 w 3934"/>
                <a:gd name="connsiteY16" fmla="*/ 9442 h 11802"/>
                <a:gd name="connsiteX17" fmla="*/ 4721 w 3934"/>
                <a:gd name="connsiteY17" fmla="*/ 6688 h 11802"/>
                <a:gd name="connsiteX18" fmla="*/ 5509 w 3934"/>
                <a:gd name="connsiteY18" fmla="*/ 3934 h 11802"/>
                <a:gd name="connsiteX19" fmla="*/ 5509 w 3934"/>
                <a:gd name="connsiteY19" fmla="*/ 3934 h 11802"/>
                <a:gd name="connsiteX20" fmla="*/ 5509 w 3934"/>
                <a:gd name="connsiteY20" fmla="*/ 1967 h 11802"/>
                <a:gd name="connsiteX21" fmla="*/ 4328 w 3934"/>
                <a:gd name="connsiteY21" fmla="*/ 2361 h 11802"/>
                <a:gd name="connsiteX22" fmla="*/ 5115 w 3934"/>
                <a:gd name="connsiteY22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934" h="11802">
                  <a:moveTo>
                    <a:pt x="2754" y="2754"/>
                  </a:moveTo>
                  <a:lnTo>
                    <a:pt x="2754" y="2754"/>
                  </a:lnTo>
                  <a:lnTo>
                    <a:pt x="2361" y="3147"/>
                  </a:lnTo>
                  <a:lnTo>
                    <a:pt x="2361" y="3147"/>
                  </a:lnTo>
                  <a:lnTo>
                    <a:pt x="1967" y="3934"/>
                  </a:lnTo>
                  <a:lnTo>
                    <a:pt x="1180" y="5901"/>
                  </a:lnTo>
                  <a:lnTo>
                    <a:pt x="787" y="8655"/>
                  </a:lnTo>
                  <a:lnTo>
                    <a:pt x="0" y="11409"/>
                  </a:lnTo>
                  <a:lnTo>
                    <a:pt x="394" y="11803"/>
                  </a:lnTo>
                  <a:lnTo>
                    <a:pt x="394" y="12196"/>
                  </a:lnTo>
                  <a:lnTo>
                    <a:pt x="394" y="12196"/>
                  </a:lnTo>
                  <a:lnTo>
                    <a:pt x="394" y="11803"/>
                  </a:lnTo>
                  <a:lnTo>
                    <a:pt x="787" y="11803"/>
                  </a:lnTo>
                  <a:lnTo>
                    <a:pt x="394" y="12196"/>
                  </a:lnTo>
                  <a:lnTo>
                    <a:pt x="3541" y="14163"/>
                  </a:lnTo>
                  <a:lnTo>
                    <a:pt x="6295" y="12590"/>
                  </a:lnTo>
                  <a:lnTo>
                    <a:pt x="6295" y="9442"/>
                  </a:lnTo>
                  <a:lnTo>
                    <a:pt x="4721" y="6688"/>
                  </a:lnTo>
                  <a:lnTo>
                    <a:pt x="5509" y="3934"/>
                  </a:lnTo>
                  <a:lnTo>
                    <a:pt x="5509" y="3934"/>
                  </a:lnTo>
                  <a:lnTo>
                    <a:pt x="5509" y="1967"/>
                  </a:lnTo>
                  <a:lnTo>
                    <a:pt x="4328" y="2361"/>
                  </a:lnTo>
                  <a:lnTo>
                    <a:pt x="511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85" name="Freeform: Shape 3579">
              <a:extLst>
                <a:ext uri="{FF2B5EF4-FFF2-40B4-BE49-F238E27FC236}">
                  <a16:creationId xmlns:a16="http://schemas.microsoft.com/office/drawing/2014/main" id="{DBA63908-B3F3-49E0-B52A-F4447725C130}"/>
                </a:ext>
              </a:extLst>
            </p:cNvPr>
            <p:cNvSpPr/>
            <p:nvPr/>
          </p:nvSpPr>
          <p:spPr>
            <a:xfrm>
              <a:off x="6363530" y="2572159"/>
              <a:ext cx="7869" cy="7869"/>
            </a:xfrm>
            <a:custGeom>
              <a:avLst/>
              <a:gdLst>
                <a:gd name="connsiteX0" fmla="*/ 3148 w 7868"/>
                <a:gd name="connsiteY0" fmla="*/ 0 h 7868"/>
                <a:gd name="connsiteX1" fmla="*/ 393 w 7868"/>
                <a:gd name="connsiteY1" fmla="*/ 0 h 7868"/>
                <a:gd name="connsiteX2" fmla="*/ 0 w 7868"/>
                <a:gd name="connsiteY2" fmla="*/ 2754 h 7868"/>
                <a:gd name="connsiteX3" fmla="*/ 393 w 7868"/>
                <a:gd name="connsiteY3" fmla="*/ 5901 h 7868"/>
                <a:gd name="connsiteX4" fmla="*/ 3148 w 7868"/>
                <a:gd name="connsiteY4" fmla="*/ 5508 h 7868"/>
                <a:gd name="connsiteX5" fmla="*/ 4328 w 7868"/>
                <a:gd name="connsiteY5" fmla="*/ 8262 h 7868"/>
                <a:gd name="connsiteX6" fmla="*/ 5115 w 7868"/>
                <a:gd name="connsiteY6" fmla="*/ 6688 h 7868"/>
                <a:gd name="connsiteX7" fmla="*/ 7082 w 7868"/>
                <a:gd name="connsiteY7" fmla="*/ 5114 h 7868"/>
                <a:gd name="connsiteX8" fmla="*/ 9049 w 7868"/>
                <a:gd name="connsiteY8" fmla="*/ 1967 h 7868"/>
                <a:gd name="connsiteX9" fmla="*/ 5901 w 7868"/>
                <a:gd name="connsiteY9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7868">
                  <a:moveTo>
                    <a:pt x="3148" y="0"/>
                  </a:moveTo>
                  <a:lnTo>
                    <a:pt x="393" y="0"/>
                  </a:lnTo>
                  <a:lnTo>
                    <a:pt x="0" y="2754"/>
                  </a:lnTo>
                  <a:lnTo>
                    <a:pt x="393" y="5901"/>
                  </a:lnTo>
                  <a:lnTo>
                    <a:pt x="3148" y="5508"/>
                  </a:lnTo>
                  <a:lnTo>
                    <a:pt x="4328" y="8262"/>
                  </a:lnTo>
                  <a:lnTo>
                    <a:pt x="5115" y="6688"/>
                  </a:lnTo>
                  <a:lnTo>
                    <a:pt x="7082" y="5114"/>
                  </a:lnTo>
                  <a:lnTo>
                    <a:pt x="9049" y="1967"/>
                  </a:lnTo>
                  <a:lnTo>
                    <a:pt x="590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86" name="Freeform: Shape 3580">
              <a:extLst>
                <a:ext uri="{FF2B5EF4-FFF2-40B4-BE49-F238E27FC236}">
                  <a16:creationId xmlns:a16="http://schemas.microsoft.com/office/drawing/2014/main" id="{097531F1-0C1B-4497-A042-77A93237F509}"/>
                </a:ext>
              </a:extLst>
            </p:cNvPr>
            <p:cNvSpPr/>
            <p:nvPr/>
          </p:nvSpPr>
          <p:spPr>
            <a:xfrm>
              <a:off x="6374546" y="2541866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3147 h 0"/>
                <a:gd name="connsiteX2" fmla="*/ 393 w 0"/>
                <a:gd name="connsiteY2" fmla="*/ 3541 h 0"/>
                <a:gd name="connsiteX3" fmla="*/ 1180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3147"/>
                  </a:lnTo>
                  <a:lnTo>
                    <a:pt x="393" y="3541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87" name="Freeform: Shape 3581">
              <a:extLst>
                <a:ext uri="{FF2B5EF4-FFF2-40B4-BE49-F238E27FC236}">
                  <a16:creationId xmlns:a16="http://schemas.microsoft.com/office/drawing/2014/main" id="{C690E98D-2512-4AA2-9422-7162767F8E20}"/>
                </a:ext>
              </a:extLst>
            </p:cNvPr>
            <p:cNvSpPr/>
            <p:nvPr/>
          </p:nvSpPr>
          <p:spPr>
            <a:xfrm>
              <a:off x="9782406" y="2317219"/>
              <a:ext cx="255727" cy="267530"/>
            </a:xfrm>
            <a:custGeom>
              <a:avLst/>
              <a:gdLst>
                <a:gd name="connsiteX0" fmla="*/ 238810 w 255727"/>
                <a:gd name="connsiteY0" fmla="*/ 152649 h 267529"/>
                <a:gd name="connsiteX1" fmla="*/ 241957 w 255727"/>
                <a:gd name="connsiteY1" fmla="*/ 150682 h 267529"/>
                <a:gd name="connsiteX2" fmla="*/ 241171 w 255727"/>
                <a:gd name="connsiteY2" fmla="*/ 147535 h 267529"/>
                <a:gd name="connsiteX3" fmla="*/ 240384 w 255727"/>
                <a:gd name="connsiteY3" fmla="*/ 144781 h 267529"/>
                <a:gd name="connsiteX4" fmla="*/ 238810 w 255727"/>
                <a:gd name="connsiteY4" fmla="*/ 141633 h 267529"/>
                <a:gd name="connsiteX5" fmla="*/ 238023 w 255727"/>
                <a:gd name="connsiteY5" fmla="*/ 138879 h 267529"/>
                <a:gd name="connsiteX6" fmla="*/ 236843 w 255727"/>
                <a:gd name="connsiteY6" fmla="*/ 136125 h 267529"/>
                <a:gd name="connsiteX7" fmla="*/ 235269 w 255727"/>
                <a:gd name="connsiteY7" fmla="*/ 132978 h 267529"/>
                <a:gd name="connsiteX8" fmla="*/ 233695 w 255727"/>
                <a:gd name="connsiteY8" fmla="*/ 129831 h 267529"/>
                <a:gd name="connsiteX9" fmla="*/ 232122 w 255727"/>
                <a:gd name="connsiteY9" fmla="*/ 127077 h 267529"/>
                <a:gd name="connsiteX10" fmla="*/ 230548 w 255727"/>
                <a:gd name="connsiteY10" fmla="*/ 124323 h 267529"/>
                <a:gd name="connsiteX11" fmla="*/ 227401 w 255727"/>
                <a:gd name="connsiteY11" fmla="*/ 121962 h 267529"/>
                <a:gd name="connsiteX12" fmla="*/ 225040 w 255727"/>
                <a:gd name="connsiteY12" fmla="*/ 119208 h 267529"/>
                <a:gd name="connsiteX13" fmla="*/ 222286 w 255727"/>
                <a:gd name="connsiteY13" fmla="*/ 103471 h 267529"/>
                <a:gd name="connsiteX14" fmla="*/ 224647 w 255727"/>
                <a:gd name="connsiteY14" fmla="*/ 103078 h 267529"/>
                <a:gd name="connsiteX15" fmla="*/ 227401 w 255727"/>
                <a:gd name="connsiteY15" fmla="*/ 102291 h 267529"/>
                <a:gd name="connsiteX16" fmla="*/ 228581 w 255727"/>
                <a:gd name="connsiteY16" fmla="*/ 102291 h 267529"/>
                <a:gd name="connsiteX17" fmla="*/ 229761 w 255727"/>
                <a:gd name="connsiteY17" fmla="*/ 103078 h 267529"/>
                <a:gd name="connsiteX18" fmla="*/ 232515 w 255727"/>
                <a:gd name="connsiteY18" fmla="*/ 104651 h 267529"/>
                <a:gd name="connsiteX19" fmla="*/ 235269 w 255727"/>
                <a:gd name="connsiteY19" fmla="*/ 106225 h 267529"/>
                <a:gd name="connsiteX20" fmla="*/ 232908 w 255727"/>
                <a:gd name="connsiteY20" fmla="*/ 103471 h 267529"/>
                <a:gd name="connsiteX21" fmla="*/ 231335 w 255727"/>
                <a:gd name="connsiteY21" fmla="*/ 100324 h 267529"/>
                <a:gd name="connsiteX22" fmla="*/ 229761 w 255727"/>
                <a:gd name="connsiteY22" fmla="*/ 97570 h 267529"/>
                <a:gd name="connsiteX23" fmla="*/ 229368 w 255727"/>
                <a:gd name="connsiteY23" fmla="*/ 94816 h 267529"/>
                <a:gd name="connsiteX24" fmla="*/ 228974 w 255727"/>
                <a:gd name="connsiteY24" fmla="*/ 92062 h 267529"/>
                <a:gd name="connsiteX25" fmla="*/ 227401 w 255727"/>
                <a:gd name="connsiteY25" fmla="*/ 89308 h 267529"/>
                <a:gd name="connsiteX26" fmla="*/ 228974 w 255727"/>
                <a:gd name="connsiteY26" fmla="*/ 86160 h 267529"/>
                <a:gd name="connsiteX27" fmla="*/ 226614 w 255727"/>
                <a:gd name="connsiteY27" fmla="*/ 83406 h 267529"/>
                <a:gd name="connsiteX28" fmla="*/ 228581 w 255727"/>
                <a:gd name="connsiteY28" fmla="*/ 81439 h 267529"/>
                <a:gd name="connsiteX29" fmla="*/ 231728 w 255727"/>
                <a:gd name="connsiteY29" fmla="*/ 80259 h 267529"/>
                <a:gd name="connsiteX30" fmla="*/ 229761 w 255727"/>
                <a:gd name="connsiteY30" fmla="*/ 77505 h 267529"/>
                <a:gd name="connsiteX31" fmla="*/ 231335 w 255727"/>
                <a:gd name="connsiteY31" fmla="*/ 74751 h 267529"/>
                <a:gd name="connsiteX32" fmla="*/ 230548 w 255727"/>
                <a:gd name="connsiteY32" fmla="*/ 71997 h 267529"/>
                <a:gd name="connsiteX33" fmla="*/ 228581 w 255727"/>
                <a:gd name="connsiteY33" fmla="*/ 69243 h 267529"/>
                <a:gd name="connsiteX34" fmla="*/ 228187 w 255727"/>
                <a:gd name="connsiteY34" fmla="*/ 66096 h 267529"/>
                <a:gd name="connsiteX35" fmla="*/ 227007 w 255727"/>
                <a:gd name="connsiteY35" fmla="*/ 63342 h 267529"/>
                <a:gd name="connsiteX36" fmla="*/ 224253 w 255727"/>
                <a:gd name="connsiteY36" fmla="*/ 60588 h 267529"/>
                <a:gd name="connsiteX37" fmla="*/ 223466 w 255727"/>
                <a:gd name="connsiteY37" fmla="*/ 57834 h 267529"/>
                <a:gd name="connsiteX38" fmla="*/ 221105 w 255727"/>
                <a:gd name="connsiteY38" fmla="*/ 54686 h 267529"/>
                <a:gd name="connsiteX39" fmla="*/ 218745 w 255727"/>
                <a:gd name="connsiteY39" fmla="*/ 51932 h 267529"/>
                <a:gd name="connsiteX40" fmla="*/ 217171 w 255727"/>
                <a:gd name="connsiteY40" fmla="*/ 49178 h 267529"/>
                <a:gd name="connsiteX41" fmla="*/ 213237 w 255727"/>
                <a:gd name="connsiteY41" fmla="*/ 45244 h 267529"/>
                <a:gd name="connsiteX42" fmla="*/ 212844 w 255727"/>
                <a:gd name="connsiteY42" fmla="*/ 44457 h 267529"/>
                <a:gd name="connsiteX43" fmla="*/ 210089 w 255727"/>
                <a:gd name="connsiteY43" fmla="*/ 41703 h 267529"/>
                <a:gd name="connsiteX44" fmla="*/ 207336 w 255727"/>
                <a:gd name="connsiteY44" fmla="*/ 39343 h 267529"/>
                <a:gd name="connsiteX45" fmla="*/ 204188 w 255727"/>
                <a:gd name="connsiteY45" fmla="*/ 36982 h 267529"/>
                <a:gd name="connsiteX46" fmla="*/ 201434 w 255727"/>
                <a:gd name="connsiteY46" fmla="*/ 34621 h 267529"/>
                <a:gd name="connsiteX47" fmla="*/ 185697 w 255727"/>
                <a:gd name="connsiteY47" fmla="*/ 19671 h 267529"/>
                <a:gd name="connsiteX48" fmla="*/ 184517 w 255727"/>
                <a:gd name="connsiteY48" fmla="*/ 17704 h 267529"/>
                <a:gd name="connsiteX49" fmla="*/ 182943 w 255727"/>
                <a:gd name="connsiteY49" fmla="*/ 14950 h 267529"/>
                <a:gd name="connsiteX50" fmla="*/ 180976 w 255727"/>
                <a:gd name="connsiteY50" fmla="*/ 11803 h 267529"/>
                <a:gd name="connsiteX51" fmla="*/ 180190 w 255727"/>
                <a:gd name="connsiteY51" fmla="*/ 9049 h 267529"/>
                <a:gd name="connsiteX52" fmla="*/ 179009 w 255727"/>
                <a:gd name="connsiteY52" fmla="*/ 5901 h 267529"/>
                <a:gd name="connsiteX53" fmla="*/ 178222 w 255727"/>
                <a:gd name="connsiteY53" fmla="*/ 3147 h 267529"/>
                <a:gd name="connsiteX54" fmla="*/ 175469 w 255727"/>
                <a:gd name="connsiteY54" fmla="*/ 4721 h 267529"/>
                <a:gd name="connsiteX55" fmla="*/ 172714 w 255727"/>
                <a:gd name="connsiteY55" fmla="*/ 4328 h 267529"/>
                <a:gd name="connsiteX56" fmla="*/ 169960 w 255727"/>
                <a:gd name="connsiteY56" fmla="*/ 2360 h 267529"/>
                <a:gd name="connsiteX57" fmla="*/ 167206 w 255727"/>
                <a:gd name="connsiteY57" fmla="*/ 787 h 267529"/>
                <a:gd name="connsiteX58" fmla="*/ 164059 w 255727"/>
                <a:gd name="connsiteY58" fmla="*/ 0 h 267529"/>
                <a:gd name="connsiteX59" fmla="*/ 161305 w 255727"/>
                <a:gd name="connsiteY59" fmla="*/ 393 h 267529"/>
                <a:gd name="connsiteX60" fmla="*/ 160911 w 255727"/>
                <a:gd name="connsiteY60" fmla="*/ 3541 h 267529"/>
                <a:gd name="connsiteX61" fmla="*/ 161699 w 255727"/>
                <a:gd name="connsiteY61" fmla="*/ 6295 h 267529"/>
                <a:gd name="connsiteX62" fmla="*/ 162878 w 255727"/>
                <a:gd name="connsiteY62" fmla="*/ 9049 h 267529"/>
                <a:gd name="connsiteX63" fmla="*/ 165633 w 255727"/>
                <a:gd name="connsiteY63" fmla="*/ 11803 h 267529"/>
                <a:gd name="connsiteX64" fmla="*/ 168387 w 255727"/>
                <a:gd name="connsiteY64" fmla="*/ 10229 h 267529"/>
                <a:gd name="connsiteX65" fmla="*/ 171141 w 255727"/>
                <a:gd name="connsiteY65" fmla="*/ 10229 h 267529"/>
                <a:gd name="connsiteX66" fmla="*/ 172714 w 255727"/>
                <a:gd name="connsiteY66" fmla="*/ 7475 h 267529"/>
                <a:gd name="connsiteX67" fmla="*/ 175861 w 255727"/>
                <a:gd name="connsiteY67" fmla="*/ 9442 h 267529"/>
                <a:gd name="connsiteX68" fmla="*/ 178222 w 255727"/>
                <a:gd name="connsiteY68" fmla="*/ 12196 h 267529"/>
                <a:gd name="connsiteX69" fmla="*/ 179009 w 255727"/>
                <a:gd name="connsiteY69" fmla="*/ 15344 h 267529"/>
                <a:gd name="connsiteX70" fmla="*/ 179796 w 255727"/>
                <a:gd name="connsiteY70" fmla="*/ 18098 h 267529"/>
                <a:gd name="connsiteX71" fmla="*/ 178615 w 255727"/>
                <a:gd name="connsiteY71" fmla="*/ 20852 h 267529"/>
                <a:gd name="connsiteX72" fmla="*/ 175861 w 255727"/>
                <a:gd name="connsiteY72" fmla="*/ 19278 h 267529"/>
                <a:gd name="connsiteX73" fmla="*/ 173108 w 255727"/>
                <a:gd name="connsiteY73" fmla="*/ 17704 h 267529"/>
                <a:gd name="connsiteX74" fmla="*/ 169960 w 255727"/>
                <a:gd name="connsiteY74" fmla="*/ 16130 h 267529"/>
                <a:gd name="connsiteX75" fmla="*/ 171141 w 255727"/>
                <a:gd name="connsiteY75" fmla="*/ 18884 h 267529"/>
                <a:gd name="connsiteX76" fmla="*/ 169960 w 255727"/>
                <a:gd name="connsiteY76" fmla="*/ 22032 h 267529"/>
                <a:gd name="connsiteX77" fmla="*/ 164845 w 255727"/>
                <a:gd name="connsiteY77" fmla="*/ 18098 h 267529"/>
                <a:gd name="connsiteX78" fmla="*/ 162878 w 255727"/>
                <a:gd name="connsiteY78" fmla="*/ 15344 h 267529"/>
                <a:gd name="connsiteX79" fmla="*/ 160911 w 255727"/>
                <a:gd name="connsiteY79" fmla="*/ 12590 h 267529"/>
                <a:gd name="connsiteX80" fmla="*/ 159338 w 255727"/>
                <a:gd name="connsiteY80" fmla="*/ 9836 h 267529"/>
                <a:gd name="connsiteX81" fmla="*/ 156584 w 255727"/>
                <a:gd name="connsiteY81" fmla="*/ 8655 h 267529"/>
                <a:gd name="connsiteX82" fmla="*/ 153436 w 255727"/>
                <a:gd name="connsiteY82" fmla="*/ 9049 h 267529"/>
                <a:gd name="connsiteX83" fmla="*/ 150683 w 255727"/>
                <a:gd name="connsiteY83" fmla="*/ 7475 h 267529"/>
                <a:gd name="connsiteX84" fmla="*/ 150683 w 255727"/>
                <a:gd name="connsiteY84" fmla="*/ 24786 h 267529"/>
                <a:gd name="connsiteX85" fmla="*/ 150683 w 255727"/>
                <a:gd name="connsiteY85" fmla="*/ 27540 h 267529"/>
                <a:gd name="connsiteX86" fmla="*/ 150289 w 255727"/>
                <a:gd name="connsiteY86" fmla="*/ 30294 h 267529"/>
                <a:gd name="connsiteX87" fmla="*/ 153436 w 255727"/>
                <a:gd name="connsiteY87" fmla="*/ 31867 h 267529"/>
                <a:gd name="connsiteX88" fmla="*/ 155010 w 255727"/>
                <a:gd name="connsiteY88" fmla="*/ 35015 h 267529"/>
                <a:gd name="connsiteX89" fmla="*/ 157764 w 255727"/>
                <a:gd name="connsiteY89" fmla="*/ 37376 h 267529"/>
                <a:gd name="connsiteX90" fmla="*/ 161305 w 255727"/>
                <a:gd name="connsiteY90" fmla="*/ 43277 h 267529"/>
                <a:gd name="connsiteX91" fmla="*/ 162092 w 255727"/>
                <a:gd name="connsiteY91" fmla="*/ 49572 h 267529"/>
                <a:gd name="connsiteX92" fmla="*/ 159338 w 255727"/>
                <a:gd name="connsiteY92" fmla="*/ 50752 h 267529"/>
                <a:gd name="connsiteX93" fmla="*/ 156584 w 255727"/>
                <a:gd name="connsiteY93" fmla="*/ 49572 h 267529"/>
                <a:gd name="connsiteX94" fmla="*/ 158157 w 255727"/>
                <a:gd name="connsiteY94" fmla="*/ 52719 h 267529"/>
                <a:gd name="connsiteX95" fmla="*/ 161305 w 255727"/>
                <a:gd name="connsiteY95" fmla="*/ 54293 h 267529"/>
                <a:gd name="connsiteX96" fmla="*/ 164059 w 255727"/>
                <a:gd name="connsiteY96" fmla="*/ 53113 h 267529"/>
                <a:gd name="connsiteX97" fmla="*/ 167206 w 255727"/>
                <a:gd name="connsiteY97" fmla="*/ 54686 h 267529"/>
                <a:gd name="connsiteX98" fmla="*/ 173894 w 255727"/>
                <a:gd name="connsiteY98" fmla="*/ 64128 h 267529"/>
                <a:gd name="connsiteX99" fmla="*/ 176255 w 255727"/>
                <a:gd name="connsiteY99" fmla="*/ 72390 h 267529"/>
                <a:gd name="connsiteX100" fmla="*/ 175861 w 255727"/>
                <a:gd name="connsiteY100" fmla="*/ 73964 h 267529"/>
                <a:gd name="connsiteX101" fmla="*/ 175861 w 255727"/>
                <a:gd name="connsiteY101" fmla="*/ 76718 h 267529"/>
                <a:gd name="connsiteX102" fmla="*/ 177042 w 255727"/>
                <a:gd name="connsiteY102" fmla="*/ 79472 h 267529"/>
                <a:gd name="connsiteX103" fmla="*/ 178615 w 255727"/>
                <a:gd name="connsiteY103" fmla="*/ 86554 h 267529"/>
                <a:gd name="connsiteX104" fmla="*/ 177829 w 255727"/>
                <a:gd name="connsiteY104" fmla="*/ 95209 h 267529"/>
                <a:gd name="connsiteX105" fmla="*/ 177436 w 255727"/>
                <a:gd name="connsiteY105" fmla="*/ 95996 h 267529"/>
                <a:gd name="connsiteX106" fmla="*/ 177436 w 255727"/>
                <a:gd name="connsiteY106" fmla="*/ 98750 h 267529"/>
                <a:gd name="connsiteX107" fmla="*/ 174288 w 255727"/>
                <a:gd name="connsiteY107" fmla="*/ 119602 h 267529"/>
                <a:gd name="connsiteX108" fmla="*/ 173894 w 255727"/>
                <a:gd name="connsiteY108" fmla="*/ 119602 h 267529"/>
                <a:gd name="connsiteX109" fmla="*/ 173501 w 255727"/>
                <a:gd name="connsiteY109" fmla="*/ 119995 h 267529"/>
                <a:gd name="connsiteX110" fmla="*/ 170747 w 255727"/>
                <a:gd name="connsiteY110" fmla="*/ 122355 h 267529"/>
                <a:gd name="connsiteX111" fmla="*/ 169960 w 255727"/>
                <a:gd name="connsiteY111" fmla="*/ 125503 h 267529"/>
                <a:gd name="connsiteX112" fmla="*/ 170747 w 255727"/>
                <a:gd name="connsiteY112" fmla="*/ 128257 h 267529"/>
                <a:gd name="connsiteX113" fmla="*/ 149502 w 255727"/>
                <a:gd name="connsiteY113" fmla="*/ 151862 h 267529"/>
                <a:gd name="connsiteX114" fmla="*/ 133765 w 255727"/>
                <a:gd name="connsiteY114" fmla="*/ 152256 h 267529"/>
                <a:gd name="connsiteX115" fmla="*/ 132192 w 255727"/>
                <a:gd name="connsiteY115" fmla="*/ 149502 h 267529"/>
                <a:gd name="connsiteX116" fmla="*/ 129044 w 255727"/>
                <a:gd name="connsiteY116" fmla="*/ 149109 h 267529"/>
                <a:gd name="connsiteX117" fmla="*/ 126290 w 255727"/>
                <a:gd name="connsiteY117" fmla="*/ 147535 h 267529"/>
                <a:gd name="connsiteX118" fmla="*/ 127077 w 255727"/>
                <a:gd name="connsiteY118" fmla="*/ 144781 h 267529"/>
                <a:gd name="connsiteX119" fmla="*/ 130225 w 255727"/>
                <a:gd name="connsiteY119" fmla="*/ 144387 h 267529"/>
                <a:gd name="connsiteX120" fmla="*/ 130617 w 255727"/>
                <a:gd name="connsiteY120" fmla="*/ 141633 h 267529"/>
                <a:gd name="connsiteX121" fmla="*/ 133371 w 255727"/>
                <a:gd name="connsiteY121" fmla="*/ 139666 h 267529"/>
                <a:gd name="connsiteX122" fmla="*/ 131798 w 255727"/>
                <a:gd name="connsiteY122" fmla="*/ 136912 h 267529"/>
                <a:gd name="connsiteX123" fmla="*/ 132585 w 255727"/>
                <a:gd name="connsiteY123" fmla="*/ 134158 h 267529"/>
                <a:gd name="connsiteX124" fmla="*/ 129831 w 255727"/>
                <a:gd name="connsiteY124" fmla="*/ 133765 h 267529"/>
                <a:gd name="connsiteX125" fmla="*/ 126683 w 255727"/>
                <a:gd name="connsiteY125" fmla="*/ 135339 h 267529"/>
                <a:gd name="connsiteX126" fmla="*/ 123929 w 255727"/>
                <a:gd name="connsiteY126" fmla="*/ 137306 h 267529"/>
                <a:gd name="connsiteX127" fmla="*/ 121176 w 255727"/>
                <a:gd name="connsiteY127" fmla="*/ 138093 h 267529"/>
                <a:gd name="connsiteX128" fmla="*/ 118815 w 255727"/>
                <a:gd name="connsiteY128" fmla="*/ 140847 h 267529"/>
                <a:gd name="connsiteX129" fmla="*/ 119208 w 255727"/>
                <a:gd name="connsiteY129" fmla="*/ 143601 h 267529"/>
                <a:gd name="connsiteX130" fmla="*/ 121176 w 255727"/>
                <a:gd name="connsiteY130" fmla="*/ 146748 h 267529"/>
                <a:gd name="connsiteX131" fmla="*/ 122749 w 255727"/>
                <a:gd name="connsiteY131" fmla="*/ 149502 h 267529"/>
                <a:gd name="connsiteX132" fmla="*/ 125503 w 255727"/>
                <a:gd name="connsiteY132" fmla="*/ 152649 h 267529"/>
                <a:gd name="connsiteX133" fmla="*/ 127077 w 255727"/>
                <a:gd name="connsiteY133" fmla="*/ 155403 h 267529"/>
                <a:gd name="connsiteX134" fmla="*/ 127470 w 255727"/>
                <a:gd name="connsiteY134" fmla="*/ 158551 h 267529"/>
                <a:gd name="connsiteX135" fmla="*/ 127470 w 255727"/>
                <a:gd name="connsiteY135" fmla="*/ 161305 h 267529"/>
                <a:gd name="connsiteX136" fmla="*/ 127077 w 255727"/>
                <a:gd name="connsiteY136" fmla="*/ 164452 h 267529"/>
                <a:gd name="connsiteX137" fmla="*/ 125896 w 255727"/>
                <a:gd name="connsiteY137" fmla="*/ 167206 h 267529"/>
                <a:gd name="connsiteX138" fmla="*/ 125110 w 255727"/>
                <a:gd name="connsiteY138" fmla="*/ 169173 h 267529"/>
                <a:gd name="connsiteX139" fmla="*/ 121568 w 255727"/>
                <a:gd name="connsiteY139" fmla="*/ 175468 h 267529"/>
                <a:gd name="connsiteX140" fmla="*/ 119208 w 255727"/>
                <a:gd name="connsiteY140" fmla="*/ 176648 h 267529"/>
                <a:gd name="connsiteX141" fmla="*/ 119601 w 255727"/>
                <a:gd name="connsiteY141" fmla="*/ 179796 h 267529"/>
                <a:gd name="connsiteX142" fmla="*/ 118815 w 255727"/>
                <a:gd name="connsiteY142" fmla="*/ 182550 h 267529"/>
                <a:gd name="connsiteX143" fmla="*/ 118815 w 255727"/>
                <a:gd name="connsiteY143" fmla="*/ 182943 h 267529"/>
                <a:gd name="connsiteX144" fmla="*/ 111340 w 255727"/>
                <a:gd name="connsiteY144" fmla="*/ 200647 h 267529"/>
                <a:gd name="connsiteX145" fmla="*/ 110946 w 255727"/>
                <a:gd name="connsiteY145" fmla="*/ 200254 h 267529"/>
                <a:gd name="connsiteX146" fmla="*/ 109766 w 255727"/>
                <a:gd name="connsiteY146" fmla="*/ 200254 h 267529"/>
                <a:gd name="connsiteX147" fmla="*/ 103471 w 255727"/>
                <a:gd name="connsiteY147" fmla="*/ 199074 h 267529"/>
                <a:gd name="connsiteX148" fmla="*/ 103471 w 255727"/>
                <a:gd name="connsiteY148" fmla="*/ 198287 h 267529"/>
                <a:gd name="connsiteX149" fmla="*/ 103864 w 255727"/>
                <a:gd name="connsiteY149" fmla="*/ 195533 h 267529"/>
                <a:gd name="connsiteX150" fmla="*/ 100718 w 255727"/>
                <a:gd name="connsiteY150" fmla="*/ 193172 h 267529"/>
                <a:gd name="connsiteX151" fmla="*/ 97963 w 255727"/>
                <a:gd name="connsiteY151" fmla="*/ 193566 h 267529"/>
                <a:gd name="connsiteX152" fmla="*/ 95209 w 255727"/>
                <a:gd name="connsiteY152" fmla="*/ 195926 h 267529"/>
                <a:gd name="connsiteX153" fmla="*/ 92455 w 255727"/>
                <a:gd name="connsiteY153" fmla="*/ 196713 h 267529"/>
                <a:gd name="connsiteX154" fmla="*/ 90882 w 255727"/>
                <a:gd name="connsiteY154" fmla="*/ 196713 h 267529"/>
                <a:gd name="connsiteX155" fmla="*/ 87734 w 255727"/>
                <a:gd name="connsiteY155" fmla="*/ 197106 h 267529"/>
                <a:gd name="connsiteX156" fmla="*/ 82226 w 255727"/>
                <a:gd name="connsiteY156" fmla="*/ 197106 h 267529"/>
                <a:gd name="connsiteX157" fmla="*/ 79472 w 255727"/>
                <a:gd name="connsiteY157" fmla="*/ 198680 h 267529"/>
                <a:gd name="connsiteX158" fmla="*/ 48784 w 255727"/>
                <a:gd name="connsiteY158" fmla="*/ 200647 h 267529"/>
                <a:gd name="connsiteX159" fmla="*/ 48392 w 255727"/>
                <a:gd name="connsiteY159" fmla="*/ 200254 h 267529"/>
                <a:gd name="connsiteX160" fmla="*/ 45638 w 255727"/>
                <a:gd name="connsiteY160" fmla="*/ 200254 h 267529"/>
                <a:gd name="connsiteX161" fmla="*/ 42883 w 255727"/>
                <a:gd name="connsiteY161" fmla="*/ 201041 h 267529"/>
                <a:gd name="connsiteX162" fmla="*/ 39736 w 255727"/>
                <a:gd name="connsiteY162" fmla="*/ 202221 h 267529"/>
                <a:gd name="connsiteX163" fmla="*/ 36982 w 255727"/>
                <a:gd name="connsiteY163" fmla="*/ 203401 h 267529"/>
                <a:gd name="connsiteX164" fmla="*/ 34228 w 255727"/>
                <a:gd name="connsiteY164" fmla="*/ 204582 h 267529"/>
                <a:gd name="connsiteX165" fmla="*/ 35802 w 255727"/>
                <a:gd name="connsiteY165" fmla="*/ 207336 h 267529"/>
                <a:gd name="connsiteX166" fmla="*/ 34228 w 255727"/>
                <a:gd name="connsiteY166" fmla="*/ 210090 h 267529"/>
                <a:gd name="connsiteX167" fmla="*/ 31474 w 255727"/>
                <a:gd name="connsiteY167" fmla="*/ 212844 h 267529"/>
                <a:gd name="connsiteX168" fmla="*/ 30294 w 255727"/>
                <a:gd name="connsiteY168" fmla="*/ 215598 h 267529"/>
                <a:gd name="connsiteX169" fmla="*/ 27934 w 255727"/>
                <a:gd name="connsiteY169" fmla="*/ 218352 h 267529"/>
                <a:gd name="connsiteX170" fmla="*/ 17310 w 255727"/>
                <a:gd name="connsiteY170" fmla="*/ 230154 h 267529"/>
                <a:gd name="connsiteX171" fmla="*/ 14950 w 255727"/>
                <a:gd name="connsiteY171" fmla="*/ 232515 h 267529"/>
                <a:gd name="connsiteX172" fmla="*/ 13376 w 255727"/>
                <a:gd name="connsiteY172" fmla="*/ 235662 h 267529"/>
                <a:gd name="connsiteX173" fmla="*/ 12589 w 255727"/>
                <a:gd name="connsiteY173" fmla="*/ 238416 h 267529"/>
                <a:gd name="connsiteX174" fmla="*/ 9442 w 255727"/>
                <a:gd name="connsiteY174" fmla="*/ 239597 h 267529"/>
                <a:gd name="connsiteX175" fmla="*/ 6688 w 255727"/>
                <a:gd name="connsiteY175" fmla="*/ 239990 h 267529"/>
                <a:gd name="connsiteX176" fmla="*/ 3934 w 255727"/>
                <a:gd name="connsiteY176" fmla="*/ 238416 h 267529"/>
                <a:gd name="connsiteX177" fmla="*/ 787 w 255727"/>
                <a:gd name="connsiteY177" fmla="*/ 240383 h 267529"/>
                <a:gd name="connsiteX178" fmla="*/ 0 w 255727"/>
                <a:gd name="connsiteY178" fmla="*/ 243137 h 267529"/>
                <a:gd name="connsiteX179" fmla="*/ 2754 w 255727"/>
                <a:gd name="connsiteY179" fmla="*/ 246285 h 267529"/>
                <a:gd name="connsiteX180" fmla="*/ 1967 w 255727"/>
                <a:gd name="connsiteY180" fmla="*/ 249039 h 267529"/>
                <a:gd name="connsiteX181" fmla="*/ 4328 w 255727"/>
                <a:gd name="connsiteY181" fmla="*/ 252186 h 267529"/>
                <a:gd name="connsiteX182" fmla="*/ 5901 w 255727"/>
                <a:gd name="connsiteY182" fmla="*/ 254940 h 267529"/>
                <a:gd name="connsiteX183" fmla="*/ 7082 w 255727"/>
                <a:gd name="connsiteY183" fmla="*/ 252580 h 267529"/>
                <a:gd name="connsiteX184" fmla="*/ 7082 w 255727"/>
                <a:gd name="connsiteY184" fmla="*/ 252973 h 267529"/>
                <a:gd name="connsiteX185" fmla="*/ 10229 w 255727"/>
                <a:gd name="connsiteY185" fmla="*/ 252186 h 267529"/>
                <a:gd name="connsiteX186" fmla="*/ 12983 w 255727"/>
                <a:gd name="connsiteY186" fmla="*/ 254940 h 267529"/>
                <a:gd name="connsiteX187" fmla="*/ 15737 w 255727"/>
                <a:gd name="connsiteY187" fmla="*/ 254940 h 267529"/>
                <a:gd name="connsiteX188" fmla="*/ 18885 w 255727"/>
                <a:gd name="connsiteY188" fmla="*/ 253367 h 267529"/>
                <a:gd name="connsiteX189" fmla="*/ 21638 w 255727"/>
                <a:gd name="connsiteY189" fmla="*/ 252973 h 267529"/>
                <a:gd name="connsiteX190" fmla="*/ 24392 w 255727"/>
                <a:gd name="connsiteY190" fmla="*/ 252186 h 267529"/>
                <a:gd name="connsiteX191" fmla="*/ 27146 w 255727"/>
                <a:gd name="connsiteY191" fmla="*/ 251006 h 267529"/>
                <a:gd name="connsiteX192" fmla="*/ 30294 w 255727"/>
                <a:gd name="connsiteY192" fmla="*/ 253367 h 267529"/>
                <a:gd name="connsiteX193" fmla="*/ 33047 w 255727"/>
                <a:gd name="connsiteY193" fmla="*/ 254153 h 267529"/>
                <a:gd name="connsiteX194" fmla="*/ 35802 w 255727"/>
                <a:gd name="connsiteY194" fmla="*/ 255727 h 267529"/>
                <a:gd name="connsiteX195" fmla="*/ 38949 w 255727"/>
                <a:gd name="connsiteY195" fmla="*/ 256514 h 267529"/>
                <a:gd name="connsiteX196" fmla="*/ 41704 w 255727"/>
                <a:gd name="connsiteY196" fmla="*/ 258088 h 267529"/>
                <a:gd name="connsiteX197" fmla="*/ 39343 w 255727"/>
                <a:gd name="connsiteY197" fmla="*/ 254940 h 267529"/>
                <a:gd name="connsiteX198" fmla="*/ 40916 w 255727"/>
                <a:gd name="connsiteY198" fmla="*/ 252186 h 267529"/>
                <a:gd name="connsiteX199" fmla="*/ 40916 w 255727"/>
                <a:gd name="connsiteY199" fmla="*/ 252186 h 267529"/>
                <a:gd name="connsiteX200" fmla="*/ 40916 w 255727"/>
                <a:gd name="connsiteY200" fmla="*/ 252186 h 267529"/>
                <a:gd name="connsiteX201" fmla="*/ 39343 w 255727"/>
                <a:gd name="connsiteY201" fmla="*/ 249432 h 267529"/>
                <a:gd name="connsiteX202" fmla="*/ 39343 w 255727"/>
                <a:gd name="connsiteY202" fmla="*/ 249039 h 267529"/>
                <a:gd name="connsiteX203" fmla="*/ 38949 w 255727"/>
                <a:gd name="connsiteY203" fmla="*/ 246285 h 267529"/>
                <a:gd name="connsiteX204" fmla="*/ 38556 w 255727"/>
                <a:gd name="connsiteY204" fmla="*/ 246285 h 267529"/>
                <a:gd name="connsiteX205" fmla="*/ 38556 w 255727"/>
                <a:gd name="connsiteY205" fmla="*/ 246285 h 267529"/>
                <a:gd name="connsiteX206" fmla="*/ 38162 w 255727"/>
                <a:gd name="connsiteY206" fmla="*/ 244711 h 267529"/>
                <a:gd name="connsiteX207" fmla="*/ 38949 w 255727"/>
                <a:gd name="connsiteY207" fmla="*/ 243137 h 267529"/>
                <a:gd name="connsiteX208" fmla="*/ 39736 w 255727"/>
                <a:gd name="connsiteY208" fmla="*/ 241564 h 267529"/>
                <a:gd name="connsiteX209" fmla="*/ 41310 w 255727"/>
                <a:gd name="connsiteY209" fmla="*/ 240777 h 267529"/>
                <a:gd name="connsiteX210" fmla="*/ 47998 w 255727"/>
                <a:gd name="connsiteY210" fmla="*/ 245105 h 267529"/>
                <a:gd name="connsiteX211" fmla="*/ 49178 w 255727"/>
                <a:gd name="connsiteY211" fmla="*/ 245105 h 267529"/>
                <a:gd name="connsiteX212" fmla="*/ 51932 w 255727"/>
                <a:gd name="connsiteY212" fmla="*/ 245105 h 267529"/>
                <a:gd name="connsiteX213" fmla="*/ 51932 w 255727"/>
                <a:gd name="connsiteY213" fmla="*/ 244711 h 267529"/>
                <a:gd name="connsiteX214" fmla="*/ 51932 w 255727"/>
                <a:gd name="connsiteY214" fmla="*/ 244711 h 267529"/>
                <a:gd name="connsiteX215" fmla="*/ 54686 w 255727"/>
                <a:gd name="connsiteY215" fmla="*/ 242351 h 267529"/>
                <a:gd name="connsiteX216" fmla="*/ 53113 w 255727"/>
                <a:gd name="connsiteY216" fmla="*/ 243137 h 267529"/>
                <a:gd name="connsiteX217" fmla="*/ 53899 w 255727"/>
                <a:gd name="connsiteY217" fmla="*/ 241957 h 267529"/>
                <a:gd name="connsiteX218" fmla="*/ 56653 w 255727"/>
                <a:gd name="connsiteY218" fmla="*/ 241564 h 267529"/>
                <a:gd name="connsiteX219" fmla="*/ 55866 w 255727"/>
                <a:gd name="connsiteY219" fmla="*/ 241957 h 267529"/>
                <a:gd name="connsiteX220" fmla="*/ 57047 w 255727"/>
                <a:gd name="connsiteY220" fmla="*/ 241564 h 267529"/>
                <a:gd name="connsiteX221" fmla="*/ 59408 w 255727"/>
                <a:gd name="connsiteY221" fmla="*/ 241170 h 267529"/>
                <a:gd name="connsiteX222" fmla="*/ 62162 w 255727"/>
                <a:gd name="connsiteY222" fmla="*/ 239203 h 267529"/>
                <a:gd name="connsiteX223" fmla="*/ 62554 w 255727"/>
                <a:gd name="connsiteY223" fmla="*/ 241564 h 267529"/>
                <a:gd name="connsiteX224" fmla="*/ 63735 w 255727"/>
                <a:gd name="connsiteY224" fmla="*/ 242351 h 267529"/>
                <a:gd name="connsiteX225" fmla="*/ 64522 w 255727"/>
                <a:gd name="connsiteY225" fmla="*/ 241564 h 267529"/>
                <a:gd name="connsiteX226" fmla="*/ 64129 w 255727"/>
                <a:gd name="connsiteY226" fmla="*/ 238416 h 267529"/>
                <a:gd name="connsiteX227" fmla="*/ 65702 w 255727"/>
                <a:gd name="connsiteY227" fmla="*/ 239203 h 267529"/>
                <a:gd name="connsiteX228" fmla="*/ 68456 w 255727"/>
                <a:gd name="connsiteY228" fmla="*/ 239203 h 267529"/>
                <a:gd name="connsiteX229" fmla="*/ 68850 w 255727"/>
                <a:gd name="connsiteY229" fmla="*/ 236056 h 267529"/>
                <a:gd name="connsiteX230" fmla="*/ 71603 w 255727"/>
                <a:gd name="connsiteY230" fmla="*/ 236843 h 267529"/>
                <a:gd name="connsiteX231" fmla="*/ 72784 w 255727"/>
                <a:gd name="connsiteY231" fmla="*/ 235662 h 267529"/>
                <a:gd name="connsiteX232" fmla="*/ 77899 w 255727"/>
                <a:gd name="connsiteY232" fmla="*/ 235269 h 267529"/>
                <a:gd name="connsiteX233" fmla="*/ 80259 w 255727"/>
                <a:gd name="connsiteY233" fmla="*/ 236056 h 267529"/>
                <a:gd name="connsiteX234" fmla="*/ 83013 w 255727"/>
                <a:gd name="connsiteY234" fmla="*/ 234875 h 267529"/>
                <a:gd name="connsiteX235" fmla="*/ 86554 w 255727"/>
                <a:gd name="connsiteY235" fmla="*/ 230548 h 267529"/>
                <a:gd name="connsiteX236" fmla="*/ 86554 w 255727"/>
                <a:gd name="connsiteY236" fmla="*/ 230548 h 267529"/>
                <a:gd name="connsiteX237" fmla="*/ 88915 w 255727"/>
                <a:gd name="connsiteY237" fmla="*/ 227794 h 267529"/>
                <a:gd name="connsiteX238" fmla="*/ 89308 w 255727"/>
                <a:gd name="connsiteY238" fmla="*/ 227794 h 267529"/>
                <a:gd name="connsiteX239" fmla="*/ 89701 w 255727"/>
                <a:gd name="connsiteY239" fmla="*/ 228187 h 267529"/>
                <a:gd name="connsiteX240" fmla="*/ 90882 w 255727"/>
                <a:gd name="connsiteY240" fmla="*/ 227794 h 267529"/>
                <a:gd name="connsiteX241" fmla="*/ 109373 w 255727"/>
                <a:gd name="connsiteY241" fmla="*/ 230548 h 267529"/>
                <a:gd name="connsiteX242" fmla="*/ 109373 w 255727"/>
                <a:gd name="connsiteY242" fmla="*/ 230548 h 267529"/>
                <a:gd name="connsiteX243" fmla="*/ 110159 w 255727"/>
                <a:gd name="connsiteY243" fmla="*/ 230548 h 267529"/>
                <a:gd name="connsiteX244" fmla="*/ 111340 w 255727"/>
                <a:gd name="connsiteY244" fmla="*/ 230548 h 267529"/>
                <a:gd name="connsiteX245" fmla="*/ 110946 w 255727"/>
                <a:gd name="connsiteY245" fmla="*/ 230548 h 267529"/>
                <a:gd name="connsiteX246" fmla="*/ 111733 w 255727"/>
                <a:gd name="connsiteY246" fmla="*/ 230548 h 267529"/>
                <a:gd name="connsiteX247" fmla="*/ 111340 w 255727"/>
                <a:gd name="connsiteY247" fmla="*/ 230548 h 267529"/>
                <a:gd name="connsiteX248" fmla="*/ 112127 w 255727"/>
                <a:gd name="connsiteY248" fmla="*/ 230548 h 267529"/>
                <a:gd name="connsiteX249" fmla="*/ 112913 w 255727"/>
                <a:gd name="connsiteY249" fmla="*/ 230154 h 267529"/>
                <a:gd name="connsiteX250" fmla="*/ 121176 w 255727"/>
                <a:gd name="connsiteY250" fmla="*/ 228187 h 267529"/>
                <a:gd name="connsiteX251" fmla="*/ 121568 w 255727"/>
                <a:gd name="connsiteY251" fmla="*/ 228581 h 267529"/>
                <a:gd name="connsiteX252" fmla="*/ 117634 w 255727"/>
                <a:gd name="connsiteY252" fmla="*/ 241564 h 267529"/>
                <a:gd name="connsiteX253" fmla="*/ 117241 w 255727"/>
                <a:gd name="connsiteY253" fmla="*/ 241957 h 267529"/>
                <a:gd name="connsiteX254" fmla="*/ 119995 w 255727"/>
                <a:gd name="connsiteY254" fmla="*/ 244318 h 267529"/>
                <a:gd name="connsiteX255" fmla="*/ 121962 w 255727"/>
                <a:gd name="connsiteY255" fmla="*/ 247072 h 267529"/>
                <a:gd name="connsiteX256" fmla="*/ 122356 w 255727"/>
                <a:gd name="connsiteY256" fmla="*/ 249826 h 267529"/>
                <a:gd name="connsiteX257" fmla="*/ 121962 w 255727"/>
                <a:gd name="connsiteY257" fmla="*/ 252580 h 267529"/>
                <a:gd name="connsiteX258" fmla="*/ 123929 w 255727"/>
                <a:gd name="connsiteY258" fmla="*/ 255727 h 267529"/>
                <a:gd name="connsiteX259" fmla="*/ 126683 w 255727"/>
                <a:gd name="connsiteY259" fmla="*/ 257694 h 267529"/>
                <a:gd name="connsiteX260" fmla="*/ 129437 w 255727"/>
                <a:gd name="connsiteY260" fmla="*/ 259268 h 267529"/>
                <a:gd name="connsiteX261" fmla="*/ 132192 w 255727"/>
                <a:gd name="connsiteY261" fmla="*/ 260842 h 267529"/>
                <a:gd name="connsiteX262" fmla="*/ 133765 w 255727"/>
                <a:gd name="connsiteY262" fmla="*/ 263596 h 267529"/>
                <a:gd name="connsiteX263" fmla="*/ 136519 w 255727"/>
                <a:gd name="connsiteY263" fmla="*/ 266350 h 267529"/>
                <a:gd name="connsiteX264" fmla="*/ 139666 w 255727"/>
                <a:gd name="connsiteY264" fmla="*/ 267530 h 267529"/>
                <a:gd name="connsiteX265" fmla="*/ 142420 w 255727"/>
                <a:gd name="connsiteY265" fmla="*/ 268710 h 267529"/>
                <a:gd name="connsiteX266" fmla="*/ 145568 w 255727"/>
                <a:gd name="connsiteY266" fmla="*/ 269497 h 267529"/>
                <a:gd name="connsiteX267" fmla="*/ 148322 w 255727"/>
                <a:gd name="connsiteY267" fmla="*/ 271071 h 267529"/>
                <a:gd name="connsiteX268" fmla="*/ 149896 w 255727"/>
                <a:gd name="connsiteY268" fmla="*/ 268317 h 267529"/>
                <a:gd name="connsiteX269" fmla="*/ 150683 w 255727"/>
                <a:gd name="connsiteY269" fmla="*/ 265563 h 267529"/>
                <a:gd name="connsiteX270" fmla="*/ 151075 w 255727"/>
                <a:gd name="connsiteY270" fmla="*/ 262809 h 267529"/>
                <a:gd name="connsiteX271" fmla="*/ 151469 w 255727"/>
                <a:gd name="connsiteY271" fmla="*/ 262415 h 267529"/>
                <a:gd name="connsiteX272" fmla="*/ 151469 w 255727"/>
                <a:gd name="connsiteY272" fmla="*/ 259661 h 267529"/>
                <a:gd name="connsiteX273" fmla="*/ 151863 w 255727"/>
                <a:gd name="connsiteY273" fmla="*/ 256514 h 267529"/>
                <a:gd name="connsiteX274" fmla="*/ 154617 w 255727"/>
                <a:gd name="connsiteY274" fmla="*/ 254153 h 267529"/>
                <a:gd name="connsiteX275" fmla="*/ 154223 w 255727"/>
                <a:gd name="connsiteY275" fmla="*/ 251399 h 267529"/>
                <a:gd name="connsiteX276" fmla="*/ 154617 w 255727"/>
                <a:gd name="connsiteY276" fmla="*/ 248252 h 267529"/>
                <a:gd name="connsiteX277" fmla="*/ 154223 w 255727"/>
                <a:gd name="connsiteY277" fmla="*/ 245498 h 267529"/>
                <a:gd name="connsiteX278" fmla="*/ 156977 w 255727"/>
                <a:gd name="connsiteY278" fmla="*/ 244318 h 267529"/>
                <a:gd name="connsiteX279" fmla="*/ 160124 w 255727"/>
                <a:gd name="connsiteY279" fmla="*/ 243531 h 267529"/>
                <a:gd name="connsiteX280" fmla="*/ 162878 w 255727"/>
                <a:gd name="connsiteY280" fmla="*/ 242351 h 267529"/>
                <a:gd name="connsiteX281" fmla="*/ 165633 w 255727"/>
                <a:gd name="connsiteY281" fmla="*/ 243531 h 267529"/>
                <a:gd name="connsiteX282" fmla="*/ 168387 w 255727"/>
                <a:gd name="connsiteY282" fmla="*/ 242744 h 267529"/>
                <a:gd name="connsiteX283" fmla="*/ 166420 w 255727"/>
                <a:gd name="connsiteY283" fmla="*/ 239990 h 267529"/>
                <a:gd name="connsiteX284" fmla="*/ 164845 w 255727"/>
                <a:gd name="connsiteY284" fmla="*/ 237236 h 267529"/>
                <a:gd name="connsiteX285" fmla="*/ 162092 w 255727"/>
                <a:gd name="connsiteY285" fmla="*/ 235662 h 267529"/>
                <a:gd name="connsiteX286" fmla="*/ 158944 w 255727"/>
                <a:gd name="connsiteY286" fmla="*/ 234089 h 267529"/>
                <a:gd name="connsiteX287" fmla="*/ 156190 w 255727"/>
                <a:gd name="connsiteY287" fmla="*/ 232515 h 267529"/>
                <a:gd name="connsiteX288" fmla="*/ 153436 w 255727"/>
                <a:gd name="connsiteY288" fmla="*/ 232122 h 267529"/>
                <a:gd name="connsiteX289" fmla="*/ 152256 w 255727"/>
                <a:gd name="connsiteY289" fmla="*/ 217958 h 267529"/>
                <a:gd name="connsiteX290" fmla="*/ 153436 w 255727"/>
                <a:gd name="connsiteY290" fmla="*/ 217958 h 267529"/>
                <a:gd name="connsiteX291" fmla="*/ 156977 w 255727"/>
                <a:gd name="connsiteY291" fmla="*/ 219925 h 267529"/>
                <a:gd name="connsiteX292" fmla="*/ 156584 w 255727"/>
                <a:gd name="connsiteY292" fmla="*/ 221106 h 267529"/>
                <a:gd name="connsiteX293" fmla="*/ 158944 w 255727"/>
                <a:gd name="connsiteY293" fmla="*/ 224253 h 267529"/>
                <a:gd name="connsiteX294" fmla="*/ 159732 w 255727"/>
                <a:gd name="connsiteY294" fmla="*/ 227007 h 267529"/>
                <a:gd name="connsiteX295" fmla="*/ 162878 w 255727"/>
                <a:gd name="connsiteY295" fmla="*/ 227400 h 267529"/>
                <a:gd name="connsiteX296" fmla="*/ 160911 w 255727"/>
                <a:gd name="connsiteY296" fmla="*/ 224646 h 267529"/>
                <a:gd name="connsiteX297" fmla="*/ 161305 w 255727"/>
                <a:gd name="connsiteY297" fmla="*/ 222679 h 267529"/>
                <a:gd name="connsiteX298" fmla="*/ 162092 w 255727"/>
                <a:gd name="connsiteY298" fmla="*/ 223073 h 267529"/>
                <a:gd name="connsiteX299" fmla="*/ 162878 w 255727"/>
                <a:gd name="connsiteY299" fmla="*/ 225040 h 267529"/>
                <a:gd name="connsiteX300" fmla="*/ 165633 w 255727"/>
                <a:gd name="connsiteY300" fmla="*/ 226613 h 267529"/>
                <a:gd name="connsiteX301" fmla="*/ 168387 w 255727"/>
                <a:gd name="connsiteY301" fmla="*/ 226613 h 267529"/>
                <a:gd name="connsiteX302" fmla="*/ 173501 w 255727"/>
                <a:gd name="connsiteY302" fmla="*/ 228581 h 267529"/>
                <a:gd name="connsiteX303" fmla="*/ 173501 w 255727"/>
                <a:gd name="connsiteY303" fmla="*/ 228581 h 267529"/>
                <a:gd name="connsiteX304" fmla="*/ 170354 w 255727"/>
                <a:gd name="connsiteY304" fmla="*/ 230154 h 267529"/>
                <a:gd name="connsiteX305" fmla="*/ 169960 w 255727"/>
                <a:gd name="connsiteY305" fmla="*/ 232908 h 267529"/>
                <a:gd name="connsiteX306" fmla="*/ 172714 w 255727"/>
                <a:gd name="connsiteY306" fmla="*/ 231335 h 267529"/>
                <a:gd name="connsiteX307" fmla="*/ 175469 w 255727"/>
                <a:gd name="connsiteY307" fmla="*/ 230548 h 267529"/>
                <a:gd name="connsiteX308" fmla="*/ 178222 w 255727"/>
                <a:gd name="connsiteY308" fmla="*/ 230154 h 267529"/>
                <a:gd name="connsiteX309" fmla="*/ 178615 w 255727"/>
                <a:gd name="connsiteY309" fmla="*/ 230154 h 267529"/>
                <a:gd name="connsiteX310" fmla="*/ 181370 w 255727"/>
                <a:gd name="connsiteY310" fmla="*/ 229761 h 267529"/>
                <a:gd name="connsiteX311" fmla="*/ 181763 w 255727"/>
                <a:gd name="connsiteY311" fmla="*/ 230154 h 267529"/>
                <a:gd name="connsiteX312" fmla="*/ 187271 w 255727"/>
                <a:gd name="connsiteY312" fmla="*/ 230941 h 267529"/>
                <a:gd name="connsiteX313" fmla="*/ 188845 w 255727"/>
                <a:gd name="connsiteY313" fmla="*/ 230941 h 267529"/>
                <a:gd name="connsiteX314" fmla="*/ 191598 w 255727"/>
                <a:gd name="connsiteY314" fmla="*/ 230548 h 267529"/>
                <a:gd name="connsiteX315" fmla="*/ 194352 w 255727"/>
                <a:gd name="connsiteY315" fmla="*/ 230941 h 267529"/>
                <a:gd name="connsiteX316" fmla="*/ 197500 w 255727"/>
                <a:gd name="connsiteY316" fmla="*/ 232122 h 267529"/>
                <a:gd name="connsiteX317" fmla="*/ 200254 w 255727"/>
                <a:gd name="connsiteY317" fmla="*/ 232515 h 267529"/>
                <a:gd name="connsiteX318" fmla="*/ 198680 w 255727"/>
                <a:gd name="connsiteY318" fmla="*/ 229761 h 267529"/>
                <a:gd name="connsiteX319" fmla="*/ 199861 w 255727"/>
                <a:gd name="connsiteY319" fmla="*/ 227007 h 267529"/>
                <a:gd name="connsiteX320" fmla="*/ 199861 w 255727"/>
                <a:gd name="connsiteY320" fmla="*/ 226613 h 267529"/>
                <a:gd name="connsiteX321" fmla="*/ 211270 w 255727"/>
                <a:gd name="connsiteY321" fmla="*/ 222679 h 267529"/>
                <a:gd name="connsiteX322" fmla="*/ 210483 w 255727"/>
                <a:gd name="connsiteY322" fmla="*/ 220319 h 267529"/>
                <a:gd name="connsiteX323" fmla="*/ 210483 w 255727"/>
                <a:gd name="connsiteY323" fmla="*/ 220319 h 267529"/>
                <a:gd name="connsiteX324" fmla="*/ 211664 w 255727"/>
                <a:gd name="connsiteY324" fmla="*/ 222286 h 267529"/>
                <a:gd name="connsiteX325" fmla="*/ 211664 w 255727"/>
                <a:gd name="connsiteY325" fmla="*/ 222679 h 267529"/>
                <a:gd name="connsiteX326" fmla="*/ 211270 w 255727"/>
                <a:gd name="connsiteY326" fmla="*/ 222679 h 267529"/>
                <a:gd name="connsiteX327" fmla="*/ 211664 w 255727"/>
                <a:gd name="connsiteY327" fmla="*/ 223466 h 267529"/>
                <a:gd name="connsiteX328" fmla="*/ 212450 w 255727"/>
                <a:gd name="connsiteY328" fmla="*/ 225040 h 267529"/>
                <a:gd name="connsiteX329" fmla="*/ 212450 w 255727"/>
                <a:gd name="connsiteY329" fmla="*/ 225040 h 267529"/>
                <a:gd name="connsiteX330" fmla="*/ 213237 w 255727"/>
                <a:gd name="connsiteY330" fmla="*/ 227400 h 267529"/>
                <a:gd name="connsiteX331" fmla="*/ 213631 w 255727"/>
                <a:gd name="connsiteY331" fmla="*/ 228974 h 267529"/>
                <a:gd name="connsiteX332" fmla="*/ 214811 w 255727"/>
                <a:gd name="connsiteY332" fmla="*/ 230154 h 267529"/>
                <a:gd name="connsiteX333" fmla="*/ 215204 w 255727"/>
                <a:gd name="connsiteY333" fmla="*/ 230941 h 267529"/>
                <a:gd name="connsiteX334" fmla="*/ 215598 w 255727"/>
                <a:gd name="connsiteY334" fmla="*/ 230941 h 267529"/>
                <a:gd name="connsiteX335" fmla="*/ 216385 w 255727"/>
                <a:gd name="connsiteY335" fmla="*/ 231728 h 267529"/>
                <a:gd name="connsiteX336" fmla="*/ 217171 w 255727"/>
                <a:gd name="connsiteY336" fmla="*/ 231728 h 267529"/>
                <a:gd name="connsiteX337" fmla="*/ 218352 w 255727"/>
                <a:gd name="connsiteY337" fmla="*/ 232122 h 267529"/>
                <a:gd name="connsiteX338" fmla="*/ 218745 w 255727"/>
                <a:gd name="connsiteY338" fmla="*/ 231335 h 267529"/>
                <a:gd name="connsiteX339" fmla="*/ 219138 w 255727"/>
                <a:gd name="connsiteY339" fmla="*/ 231335 h 267529"/>
                <a:gd name="connsiteX340" fmla="*/ 219138 w 255727"/>
                <a:gd name="connsiteY340" fmla="*/ 230548 h 267529"/>
                <a:gd name="connsiteX341" fmla="*/ 219925 w 255727"/>
                <a:gd name="connsiteY341" fmla="*/ 229368 h 267529"/>
                <a:gd name="connsiteX342" fmla="*/ 221105 w 255727"/>
                <a:gd name="connsiteY342" fmla="*/ 226220 h 267529"/>
                <a:gd name="connsiteX343" fmla="*/ 221105 w 255727"/>
                <a:gd name="connsiteY343" fmla="*/ 223860 h 267529"/>
                <a:gd name="connsiteX344" fmla="*/ 221499 w 255727"/>
                <a:gd name="connsiteY344" fmla="*/ 222286 h 267529"/>
                <a:gd name="connsiteX345" fmla="*/ 221105 w 255727"/>
                <a:gd name="connsiteY345" fmla="*/ 221499 h 267529"/>
                <a:gd name="connsiteX346" fmla="*/ 221105 w 255727"/>
                <a:gd name="connsiteY346" fmla="*/ 219925 h 267529"/>
                <a:gd name="connsiteX347" fmla="*/ 218352 w 255727"/>
                <a:gd name="connsiteY347" fmla="*/ 216778 h 267529"/>
                <a:gd name="connsiteX348" fmla="*/ 217171 w 255727"/>
                <a:gd name="connsiteY348" fmla="*/ 214024 h 267529"/>
                <a:gd name="connsiteX349" fmla="*/ 223466 w 255727"/>
                <a:gd name="connsiteY349" fmla="*/ 207729 h 267529"/>
                <a:gd name="connsiteX350" fmla="*/ 226220 w 255727"/>
                <a:gd name="connsiteY350" fmla="*/ 208123 h 267529"/>
                <a:gd name="connsiteX351" fmla="*/ 228974 w 255727"/>
                <a:gd name="connsiteY351" fmla="*/ 209696 h 267529"/>
                <a:gd name="connsiteX352" fmla="*/ 231728 w 255727"/>
                <a:gd name="connsiteY352" fmla="*/ 212057 h 267529"/>
                <a:gd name="connsiteX353" fmla="*/ 232515 w 255727"/>
                <a:gd name="connsiteY353" fmla="*/ 208909 h 267529"/>
                <a:gd name="connsiteX354" fmla="*/ 229761 w 255727"/>
                <a:gd name="connsiteY354" fmla="*/ 207336 h 267529"/>
                <a:gd name="connsiteX355" fmla="*/ 228187 w 255727"/>
                <a:gd name="connsiteY355" fmla="*/ 204582 h 267529"/>
                <a:gd name="connsiteX356" fmla="*/ 227401 w 255727"/>
                <a:gd name="connsiteY356" fmla="*/ 203008 h 267529"/>
                <a:gd name="connsiteX357" fmla="*/ 230154 w 255727"/>
                <a:gd name="connsiteY357" fmla="*/ 200254 h 267529"/>
                <a:gd name="connsiteX358" fmla="*/ 230548 w 255727"/>
                <a:gd name="connsiteY358" fmla="*/ 195926 h 267529"/>
                <a:gd name="connsiteX359" fmla="*/ 230941 w 255727"/>
                <a:gd name="connsiteY359" fmla="*/ 196320 h 267529"/>
                <a:gd name="connsiteX360" fmla="*/ 234089 w 255727"/>
                <a:gd name="connsiteY360" fmla="*/ 195139 h 267529"/>
                <a:gd name="connsiteX361" fmla="*/ 236843 w 255727"/>
                <a:gd name="connsiteY361" fmla="*/ 201828 h 267529"/>
                <a:gd name="connsiteX362" fmla="*/ 236056 w 255727"/>
                <a:gd name="connsiteY362" fmla="*/ 204582 h 267529"/>
                <a:gd name="connsiteX363" fmla="*/ 234483 w 255727"/>
                <a:gd name="connsiteY363" fmla="*/ 207336 h 267529"/>
                <a:gd name="connsiteX364" fmla="*/ 237236 w 255727"/>
                <a:gd name="connsiteY364" fmla="*/ 209696 h 267529"/>
                <a:gd name="connsiteX365" fmla="*/ 237629 w 255727"/>
                <a:gd name="connsiteY365" fmla="*/ 212450 h 267529"/>
                <a:gd name="connsiteX366" fmla="*/ 239203 w 255727"/>
                <a:gd name="connsiteY366" fmla="*/ 215204 h 267529"/>
                <a:gd name="connsiteX367" fmla="*/ 238417 w 255727"/>
                <a:gd name="connsiteY367" fmla="*/ 218352 h 267529"/>
                <a:gd name="connsiteX368" fmla="*/ 241563 w 255727"/>
                <a:gd name="connsiteY368" fmla="*/ 220319 h 267529"/>
                <a:gd name="connsiteX369" fmla="*/ 244318 w 255727"/>
                <a:gd name="connsiteY369" fmla="*/ 219138 h 267529"/>
                <a:gd name="connsiteX370" fmla="*/ 243924 w 255727"/>
                <a:gd name="connsiteY370" fmla="*/ 216384 h 267529"/>
                <a:gd name="connsiteX371" fmla="*/ 245105 w 255727"/>
                <a:gd name="connsiteY371" fmla="*/ 215204 h 267529"/>
                <a:gd name="connsiteX372" fmla="*/ 247859 w 255727"/>
                <a:gd name="connsiteY372" fmla="*/ 213237 h 267529"/>
                <a:gd name="connsiteX373" fmla="*/ 250612 w 255727"/>
                <a:gd name="connsiteY373" fmla="*/ 212844 h 267529"/>
                <a:gd name="connsiteX374" fmla="*/ 252187 w 255727"/>
                <a:gd name="connsiteY374" fmla="*/ 209696 h 267529"/>
                <a:gd name="connsiteX375" fmla="*/ 251399 w 255727"/>
                <a:gd name="connsiteY375" fmla="*/ 206942 h 267529"/>
                <a:gd name="connsiteX376" fmla="*/ 250220 w 255727"/>
                <a:gd name="connsiteY376" fmla="*/ 204975 h 267529"/>
                <a:gd name="connsiteX377" fmla="*/ 257301 w 255727"/>
                <a:gd name="connsiteY377" fmla="*/ 191992 h 267529"/>
                <a:gd name="connsiteX378" fmla="*/ 237629 w 255727"/>
                <a:gd name="connsiteY378" fmla="*/ 154223 h 267529"/>
                <a:gd name="connsiteX379" fmla="*/ 238810 w 255727"/>
                <a:gd name="connsiteY379" fmla="*/ 152649 h 267529"/>
                <a:gd name="connsiteX380" fmla="*/ 36982 w 255727"/>
                <a:gd name="connsiteY380" fmla="*/ 240777 h 267529"/>
                <a:gd name="connsiteX381" fmla="*/ 36982 w 255727"/>
                <a:gd name="connsiteY381" fmla="*/ 240383 h 267529"/>
                <a:gd name="connsiteX382" fmla="*/ 37376 w 255727"/>
                <a:gd name="connsiteY382" fmla="*/ 240383 h 267529"/>
                <a:gd name="connsiteX383" fmla="*/ 36982 w 255727"/>
                <a:gd name="connsiteY383" fmla="*/ 240777 h 267529"/>
                <a:gd name="connsiteX384" fmla="*/ 95996 w 255727"/>
                <a:gd name="connsiteY384" fmla="*/ 225040 h 267529"/>
                <a:gd name="connsiteX385" fmla="*/ 95209 w 255727"/>
                <a:gd name="connsiteY385" fmla="*/ 225040 h 267529"/>
                <a:gd name="connsiteX386" fmla="*/ 96783 w 255727"/>
                <a:gd name="connsiteY386" fmla="*/ 224646 h 267529"/>
                <a:gd name="connsiteX387" fmla="*/ 99143 w 255727"/>
                <a:gd name="connsiteY387" fmla="*/ 224646 h 267529"/>
                <a:gd name="connsiteX388" fmla="*/ 99930 w 255727"/>
                <a:gd name="connsiteY388" fmla="*/ 224646 h 267529"/>
                <a:gd name="connsiteX389" fmla="*/ 101504 w 255727"/>
                <a:gd name="connsiteY389" fmla="*/ 225433 h 267529"/>
                <a:gd name="connsiteX390" fmla="*/ 98750 w 255727"/>
                <a:gd name="connsiteY390" fmla="*/ 224646 h 267529"/>
                <a:gd name="connsiteX391" fmla="*/ 95996 w 255727"/>
                <a:gd name="connsiteY391" fmla="*/ 225040 h 267529"/>
                <a:gd name="connsiteX392" fmla="*/ 214024 w 255727"/>
                <a:gd name="connsiteY392" fmla="*/ 216384 h 267529"/>
                <a:gd name="connsiteX393" fmla="*/ 214024 w 255727"/>
                <a:gd name="connsiteY393" fmla="*/ 216384 h 267529"/>
                <a:gd name="connsiteX394" fmla="*/ 213631 w 255727"/>
                <a:gd name="connsiteY394" fmla="*/ 216778 h 267529"/>
                <a:gd name="connsiteX395" fmla="*/ 214024 w 255727"/>
                <a:gd name="connsiteY395" fmla="*/ 216384 h 267529"/>
                <a:gd name="connsiteX396" fmla="*/ 219138 w 255727"/>
                <a:gd name="connsiteY396" fmla="*/ 208516 h 267529"/>
                <a:gd name="connsiteX397" fmla="*/ 218745 w 255727"/>
                <a:gd name="connsiteY397" fmla="*/ 211270 h 267529"/>
                <a:gd name="connsiteX398" fmla="*/ 219138 w 255727"/>
                <a:gd name="connsiteY398" fmla="*/ 208516 h 267529"/>
                <a:gd name="connsiteX399" fmla="*/ 221892 w 255727"/>
                <a:gd name="connsiteY399" fmla="*/ 206942 h 267529"/>
                <a:gd name="connsiteX400" fmla="*/ 219138 w 255727"/>
                <a:gd name="connsiteY400" fmla="*/ 208516 h 26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</a:cxnLst>
              <a:rect l="l" t="t" r="r" b="b"/>
              <a:pathLst>
                <a:path w="255727" h="267529">
                  <a:moveTo>
                    <a:pt x="238810" y="152649"/>
                  </a:moveTo>
                  <a:lnTo>
                    <a:pt x="241957" y="150682"/>
                  </a:lnTo>
                  <a:lnTo>
                    <a:pt x="241171" y="147535"/>
                  </a:lnTo>
                  <a:lnTo>
                    <a:pt x="240384" y="144781"/>
                  </a:lnTo>
                  <a:lnTo>
                    <a:pt x="238810" y="141633"/>
                  </a:lnTo>
                  <a:lnTo>
                    <a:pt x="238023" y="138879"/>
                  </a:lnTo>
                  <a:lnTo>
                    <a:pt x="236843" y="136125"/>
                  </a:lnTo>
                  <a:lnTo>
                    <a:pt x="235269" y="132978"/>
                  </a:lnTo>
                  <a:lnTo>
                    <a:pt x="233695" y="129831"/>
                  </a:lnTo>
                  <a:lnTo>
                    <a:pt x="232122" y="127077"/>
                  </a:lnTo>
                  <a:lnTo>
                    <a:pt x="230548" y="124323"/>
                  </a:lnTo>
                  <a:lnTo>
                    <a:pt x="227401" y="121962"/>
                  </a:lnTo>
                  <a:lnTo>
                    <a:pt x="225040" y="119208"/>
                  </a:lnTo>
                  <a:lnTo>
                    <a:pt x="222286" y="103471"/>
                  </a:lnTo>
                  <a:lnTo>
                    <a:pt x="224647" y="103078"/>
                  </a:lnTo>
                  <a:lnTo>
                    <a:pt x="227401" y="102291"/>
                  </a:lnTo>
                  <a:lnTo>
                    <a:pt x="228581" y="102291"/>
                  </a:lnTo>
                  <a:lnTo>
                    <a:pt x="229761" y="103078"/>
                  </a:lnTo>
                  <a:lnTo>
                    <a:pt x="232515" y="104651"/>
                  </a:lnTo>
                  <a:lnTo>
                    <a:pt x="235269" y="106225"/>
                  </a:lnTo>
                  <a:lnTo>
                    <a:pt x="232908" y="103471"/>
                  </a:lnTo>
                  <a:lnTo>
                    <a:pt x="231335" y="100324"/>
                  </a:lnTo>
                  <a:lnTo>
                    <a:pt x="229761" y="97570"/>
                  </a:lnTo>
                  <a:lnTo>
                    <a:pt x="229368" y="94816"/>
                  </a:lnTo>
                  <a:lnTo>
                    <a:pt x="228974" y="92062"/>
                  </a:lnTo>
                  <a:lnTo>
                    <a:pt x="227401" y="89308"/>
                  </a:lnTo>
                  <a:lnTo>
                    <a:pt x="228974" y="86160"/>
                  </a:lnTo>
                  <a:lnTo>
                    <a:pt x="226614" y="83406"/>
                  </a:lnTo>
                  <a:lnTo>
                    <a:pt x="228581" y="81439"/>
                  </a:lnTo>
                  <a:lnTo>
                    <a:pt x="231728" y="80259"/>
                  </a:lnTo>
                  <a:lnTo>
                    <a:pt x="229761" y="77505"/>
                  </a:lnTo>
                  <a:lnTo>
                    <a:pt x="231335" y="74751"/>
                  </a:lnTo>
                  <a:lnTo>
                    <a:pt x="230548" y="71997"/>
                  </a:lnTo>
                  <a:lnTo>
                    <a:pt x="228581" y="69243"/>
                  </a:lnTo>
                  <a:lnTo>
                    <a:pt x="228187" y="66096"/>
                  </a:lnTo>
                  <a:lnTo>
                    <a:pt x="227007" y="63342"/>
                  </a:lnTo>
                  <a:lnTo>
                    <a:pt x="224253" y="60588"/>
                  </a:lnTo>
                  <a:lnTo>
                    <a:pt x="223466" y="57834"/>
                  </a:lnTo>
                  <a:lnTo>
                    <a:pt x="221105" y="54686"/>
                  </a:lnTo>
                  <a:lnTo>
                    <a:pt x="218745" y="51932"/>
                  </a:lnTo>
                  <a:lnTo>
                    <a:pt x="217171" y="49178"/>
                  </a:lnTo>
                  <a:lnTo>
                    <a:pt x="213237" y="45244"/>
                  </a:lnTo>
                  <a:lnTo>
                    <a:pt x="212844" y="44457"/>
                  </a:lnTo>
                  <a:lnTo>
                    <a:pt x="210089" y="41703"/>
                  </a:lnTo>
                  <a:lnTo>
                    <a:pt x="207336" y="39343"/>
                  </a:lnTo>
                  <a:lnTo>
                    <a:pt x="204188" y="36982"/>
                  </a:lnTo>
                  <a:lnTo>
                    <a:pt x="201434" y="34621"/>
                  </a:lnTo>
                  <a:lnTo>
                    <a:pt x="185697" y="19671"/>
                  </a:lnTo>
                  <a:lnTo>
                    <a:pt x="184517" y="17704"/>
                  </a:lnTo>
                  <a:lnTo>
                    <a:pt x="182943" y="14950"/>
                  </a:lnTo>
                  <a:lnTo>
                    <a:pt x="180976" y="11803"/>
                  </a:lnTo>
                  <a:lnTo>
                    <a:pt x="180190" y="9049"/>
                  </a:lnTo>
                  <a:lnTo>
                    <a:pt x="179009" y="5901"/>
                  </a:lnTo>
                  <a:lnTo>
                    <a:pt x="178222" y="3147"/>
                  </a:lnTo>
                  <a:lnTo>
                    <a:pt x="175469" y="4721"/>
                  </a:lnTo>
                  <a:lnTo>
                    <a:pt x="172714" y="4328"/>
                  </a:lnTo>
                  <a:lnTo>
                    <a:pt x="169960" y="2360"/>
                  </a:lnTo>
                  <a:lnTo>
                    <a:pt x="167206" y="787"/>
                  </a:lnTo>
                  <a:lnTo>
                    <a:pt x="164059" y="0"/>
                  </a:lnTo>
                  <a:lnTo>
                    <a:pt x="161305" y="393"/>
                  </a:lnTo>
                  <a:lnTo>
                    <a:pt x="160911" y="3541"/>
                  </a:lnTo>
                  <a:lnTo>
                    <a:pt x="161699" y="6295"/>
                  </a:lnTo>
                  <a:lnTo>
                    <a:pt x="162878" y="9049"/>
                  </a:lnTo>
                  <a:lnTo>
                    <a:pt x="165633" y="11803"/>
                  </a:lnTo>
                  <a:lnTo>
                    <a:pt x="168387" y="10229"/>
                  </a:lnTo>
                  <a:lnTo>
                    <a:pt x="171141" y="10229"/>
                  </a:lnTo>
                  <a:lnTo>
                    <a:pt x="172714" y="7475"/>
                  </a:lnTo>
                  <a:lnTo>
                    <a:pt x="175861" y="9442"/>
                  </a:lnTo>
                  <a:lnTo>
                    <a:pt x="178222" y="12196"/>
                  </a:lnTo>
                  <a:lnTo>
                    <a:pt x="179009" y="15344"/>
                  </a:lnTo>
                  <a:lnTo>
                    <a:pt x="179796" y="18098"/>
                  </a:lnTo>
                  <a:lnTo>
                    <a:pt x="178615" y="20852"/>
                  </a:lnTo>
                  <a:lnTo>
                    <a:pt x="175861" y="19278"/>
                  </a:lnTo>
                  <a:lnTo>
                    <a:pt x="173108" y="17704"/>
                  </a:lnTo>
                  <a:lnTo>
                    <a:pt x="169960" y="16130"/>
                  </a:lnTo>
                  <a:lnTo>
                    <a:pt x="171141" y="18884"/>
                  </a:lnTo>
                  <a:lnTo>
                    <a:pt x="169960" y="22032"/>
                  </a:lnTo>
                  <a:lnTo>
                    <a:pt x="164845" y="18098"/>
                  </a:lnTo>
                  <a:lnTo>
                    <a:pt x="162878" y="15344"/>
                  </a:lnTo>
                  <a:lnTo>
                    <a:pt x="160911" y="12590"/>
                  </a:lnTo>
                  <a:lnTo>
                    <a:pt x="159338" y="9836"/>
                  </a:lnTo>
                  <a:lnTo>
                    <a:pt x="156584" y="8655"/>
                  </a:lnTo>
                  <a:lnTo>
                    <a:pt x="153436" y="9049"/>
                  </a:lnTo>
                  <a:lnTo>
                    <a:pt x="150683" y="7475"/>
                  </a:lnTo>
                  <a:lnTo>
                    <a:pt x="150683" y="24786"/>
                  </a:lnTo>
                  <a:lnTo>
                    <a:pt x="150683" y="27540"/>
                  </a:lnTo>
                  <a:lnTo>
                    <a:pt x="150289" y="30294"/>
                  </a:lnTo>
                  <a:lnTo>
                    <a:pt x="153436" y="31867"/>
                  </a:lnTo>
                  <a:lnTo>
                    <a:pt x="155010" y="35015"/>
                  </a:lnTo>
                  <a:lnTo>
                    <a:pt x="157764" y="37376"/>
                  </a:lnTo>
                  <a:lnTo>
                    <a:pt x="161305" y="43277"/>
                  </a:lnTo>
                  <a:lnTo>
                    <a:pt x="162092" y="49572"/>
                  </a:lnTo>
                  <a:lnTo>
                    <a:pt x="159338" y="50752"/>
                  </a:lnTo>
                  <a:lnTo>
                    <a:pt x="156584" y="49572"/>
                  </a:lnTo>
                  <a:lnTo>
                    <a:pt x="158157" y="52719"/>
                  </a:lnTo>
                  <a:lnTo>
                    <a:pt x="161305" y="54293"/>
                  </a:lnTo>
                  <a:lnTo>
                    <a:pt x="164059" y="53113"/>
                  </a:lnTo>
                  <a:lnTo>
                    <a:pt x="167206" y="54686"/>
                  </a:lnTo>
                  <a:lnTo>
                    <a:pt x="173894" y="64128"/>
                  </a:lnTo>
                  <a:lnTo>
                    <a:pt x="176255" y="72390"/>
                  </a:lnTo>
                  <a:lnTo>
                    <a:pt x="175861" y="73964"/>
                  </a:lnTo>
                  <a:lnTo>
                    <a:pt x="175861" y="76718"/>
                  </a:lnTo>
                  <a:lnTo>
                    <a:pt x="177042" y="79472"/>
                  </a:lnTo>
                  <a:lnTo>
                    <a:pt x="178615" y="86554"/>
                  </a:lnTo>
                  <a:lnTo>
                    <a:pt x="177829" y="95209"/>
                  </a:lnTo>
                  <a:lnTo>
                    <a:pt x="177436" y="95996"/>
                  </a:lnTo>
                  <a:lnTo>
                    <a:pt x="177436" y="98750"/>
                  </a:lnTo>
                  <a:lnTo>
                    <a:pt x="174288" y="119602"/>
                  </a:lnTo>
                  <a:lnTo>
                    <a:pt x="173894" y="119602"/>
                  </a:lnTo>
                  <a:lnTo>
                    <a:pt x="173501" y="119995"/>
                  </a:lnTo>
                  <a:lnTo>
                    <a:pt x="170747" y="122355"/>
                  </a:lnTo>
                  <a:lnTo>
                    <a:pt x="169960" y="125503"/>
                  </a:lnTo>
                  <a:lnTo>
                    <a:pt x="170747" y="128257"/>
                  </a:lnTo>
                  <a:lnTo>
                    <a:pt x="149502" y="151862"/>
                  </a:lnTo>
                  <a:lnTo>
                    <a:pt x="133765" y="152256"/>
                  </a:lnTo>
                  <a:lnTo>
                    <a:pt x="132192" y="149502"/>
                  </a:lnTo>
                  <a:lnTo>
                    <a:pt x="129044" y="149109"/>
                  </a:lnTo>
                  <a:lnTo>
                    <a:pt x="126290" y="147535"/>
                  </a:lnTo>
                  <a:lnTo>
                    <a:pt x="127077" y="144781"/>
                  </a:lnTo>
                  <a:lnTo>
                    <a:pt x="130225" y="144387"/>
                  </a:lnTo>
                  <a:lnTo>
                    <a:pt x="130617" y="141633"/>
                  </a:lnTo>
                  <a:lnTo>
                    <a:pt x="133371" y="139666"/>
                  </a:lnTo>
                  <a:lnTo>
                    <a:pt x="131798" y="136912"/>
                  </a:lnTo>
                  <a:lnTo>
                    <a:pt x="132585" y="134158"/>
                  </a:lnTo>
                  <a:lnTo>
                    <a:pt x="129831" y="133765"/>
                  </a:lnTo>
                  <a:lnTo>
                    <a:pt x="126683" y="135339"/>
                  </a:lnTo>
                  <a:lnTo>
                    <a:pt x="123929" y="137306"/>
                  </a:lnTo>
                  <a:lnTo>
                    <a:pt x="121176" y="138093"/>
                  </a:lnTo>
                  <a:lnTo>
                    <a:pt x="118815" y="140847"/>
                  </a:lnTo>
                  <a:lnTo>
                    <a:pt x="119208" y="143601"/>
                  </a:lnTo>
                  <a:lnTo>
                    <a:pt x="121176" y="146748"/>
                  </a:lnTo>
                  <a:lnTo>
                    <a:pt x="122749" y="149502"/>
                  </a:lnTo>
                  <a:lnTo>
                    <a:pt x="125503" y="152649"/>
                  </a:lnTo>
                  <a:lnTo>
                    <a:pt x="127077" y="155403"/>
                  </a:lnTo>
                  <a:lnTo>
                    <a:pt x="127470" y="158551"/>
                  </a:lnTo>
                  <a:lnTo>
                    <a:pt x="127470" y="161305"/>
                  </a:lnTo>
                  <a:lnTo>
                    <a:pt x="127077" y="164452"/>
                  </a:lnTo>
                  <a:lnTo>
                    <a:pt x="125896" y="167206"/>
                  </a:lnTo>
                  <a:lnTo>
                    <a:pt x="125110" y="169173"/>
                  </a:lnTo>
                  <a:lnTo>
                    <a:pt x="121568" y="175468"/>
                  </a:lnTo>
                  <a:lnTo>
                    <a:pt x="119208" y="176648"/>
                  </a:lnTo>
                  <a:lnTo>
                    <a:pt x="119601" y="179796"/>
                  </a:lnTo>
                  <a:lnTo>
                    <a:pt x="118815" y="182550"/>
                  </a:lnTo>
                  <a:lnTo>
                    <a:pt x="118815" y="182943"/>
                  </a:lnTo>
                  <a:lnTo>
                    <a:pt x="111340" y="200647"/>
                  </a:lnTo>
                  <a:lnTo>
                    <a:pt x="110946" y="200254"/>
                  </a:lnTo>
                  <a:lnTo>
                    <a:pt x="109766" y="200254"/>
                  </a:lnTo>
                  <a:lnTo>
                    <a:pt x="103471" y="199074"/>
                  </a:lnTo>
                  <a:lnTo>
                    <a:pt x="103471" y="198287"/>
                  </a:lnTo>
                  <a:lnTo>
                    <a:pt x="103864" y="195533"/>
                  </a:lnTo>
                  <a:lnTo>
                    <a:pt x="100718" y="193172"/>
                  </a:lnTo>
                  <a:lnTo>
                    <a:pt x="97963" y="193566"/>
                  </a:lnTo>
                  <a:lnTo>
                    <a:pt x="95209" y="195926"/>
                  </a:lnTo>
                  <a:lnTo>
                    <a:pt x="92455" y="196713"/>
                  </a:lnTo>
                  <a:lnTo>
                    <a:pt x="90882" y="196713"/>
                  </a:lnTo>
                  <a:lnTo>
                    <a:pt x="87734" y="197106"/>
                  </a:lnTo>
                  <a:lnTo>
                    <a:pt x="82226" y="197106"/>
                  </a:lnTo>
                  <a:lnTo>
                    <a:pt x="79472" y="198680"/>
                  </a:lnTo>
                  <a:lnTo>
                    <a:pt x="48784" y="200647"/>
                  </a:lnTo>
                  <a:lnTo>
                    <a:pt x="48392" y="200254"/>
                  </a:lnTo>
                  <a:lnTo>
                    <a:pt x="45638" y="200254"/>
                  </a:lnTo>
                  <a:lnTo>
                    <a:pt x="42883" y="201041"/>
                  </a:lnTo>
                  <a:lnTo>
                    <a:pt x="39736" y="202221"/>
                  </a:lnTo>
                  <a:lnTo>
                    <a:pt x="36982" y="203401"/>
                  </a:lnTo>
                  <a:lnTo>
                    <a:pt x="34228" y="204582"/>
                  </a:lnTo>
                  <a:lnTo>
                    <a:pt x="35802" y="207336"/>
                  </a:lnTo>
                  <a:lnTo>
                    <a:pt x="34228" y="210090"/>
                  </a:lnTo>
                  <a:lnTo>
                    <a:pt x="31474" y="212844"/>
                  </a:lnTo>
                  <a:lnTo>
                    <a:pt x="30294" y="215598"/>
                  </a:lnTo>
                  <a:lnTo>
                    <a:pt x="27934" y="218352"/>
                  </a:lnTo>
                  <a:lnTo>
                    <a:pt x="17310" y="230154"/>
                  </a:lnTo>
                  <a:lnTo>
                    <a:pt x="14950" y="232515"/>
                  </a:lnTo>
                  <a:lnTo>
                    <a:pt x="13376" y="235662"/>
                  </a:lnTo>
                  <a:lnTo>
                    <a:pt x="12589" y="238416"/>
                  </a:lnTo>
                  <a:lnTo>
                    <a:pt x="9442" y="239597"/>
                  </a:lnTo>
                  <a:lnTo>
                    <a:pt x="6688" y="239990"/>
                  </a:lnTo>
                  <a:lnTo>
                    <a:pt x="3934" y="238416"/>
                  </a:lnTo>
                  <a:lnTo>
                    <a:pt x="787" y="240383"/>
                  </a:lnTo>
                  <a:lnTo>
                    <a:pt x="0" y="243137"/>
                  </a:lnTo>
                  <a:lnTo>
                    <a:pt x="2754" y="246285"/>
                  </a:lnTo>
                  <a:lnTo>
                    <a:pt x="1967" y="249039"/>
                  </a:lnTo>
                  <a:lnTo>
                    <a:pt x="4328" y="252186"/>
                  </a:lnTo>
                  <a:lnTo>
                    <a:pt x="5901" y="254940"/>
                  </a:lnTo>
                  <a:lnTo>
                    <a:pt x="7082" y="252580"/>
                  </a:lnTo>
                  <a:lnTo>
                    <a:pt x="7082" y="252973"/>
                  </a:lnTo>
                  <a:lnTo>
                    <a:pt x="10229" y="252186"/>
                  </a:lnTo>
                  <a:lnTo>
                    <a:pt x="12983" y="254940"/>
                  </a:lnTo>
                  <a:lnTo>
                    <a:pt x="15737" y="254940"/>
                  </a:lnTo>
                  <a:lnTo>
                    <a:pt x="18885" y="253367"/>
                  </a:lnTo>
                  <a:lnTo>
                    <a:pt x="21638" y="252973"/>
                  </a:lnTo>
                  <a:lnTo>
                    <a:pt x="24392" y="252186"/>
                  </a:lnTo>
                  <a:lnTo>
                    <a:pt x="27146" y="251006"/>
                  </a:lnTo>
                  <a:lnTo>
                    <a:pt x="30294" y="253367"/>
                  </a:lnTo>
                  <a:lnTo>
                    <a:pt x="33047" y="254153"/>
                  </a:lnTo>
                  <a:lnTo>
                    <a:pt x="35802" y="255727"/>
                  </a:lnTo>
                  <a:lnTo>
                    <a:pt x="38949" y="256514"/>
                  </a:lnTo>
                  <a:lnTo>
                    <a:pt x="41704" y="258088"/>
                  </a:lnTo>
                  <a:lnTo>
                    <a:pt x="39343" y="254940"/>
                  </a:lnTo>
                  <a:lnTo>
                    <a:pt x="40916" y="252186"/>
                  </a:lnTo>
                  <a:lnTo>
                    <a:pt x="40916" y="252186"/>
                  </a:lnTo>
                  <a:lnTo>
                    <a:pt x="40916" y="252186"/>
                  </a:lnTo>
                  <a:lnTo>
                    <a:pt x="39343" y="249432"/>
                  </a:lnTo>
                  <a:lnTo>
                    <a:pt x="39343" y="249039"/>
                  </a:lnTo>
                  <a:lnTo>
                    <a:pt x="38949" y="246285"/>
                  </a:lnTo>
                  <a:lnTo>
                    <a:pt x="38556" y="246285"/>
                  </a:lnTo>
                  <a:lnTo>
                    <a:pt x="38556" y="246285"/>
                  </a:lnTo>
                  <a:lnTo>
                    <a:pt x="38162" y="244711"/>
                  </a:lnTo>
                  <a:lnTo>
                    <a:pt x="38949" y="243137"/>
                  </a:lnTo>
                  <a:lnTo>
                    <a:pt x="39736" y="241564"/>
                  </a:lnTo>
                  <a:lnTo>
                    <a:pt x="41310" y="240777"/>
                  </a:lnTo>
                  <a:lnTo>
                    <a:pt x="47998" y="245105"/>
                  </a:lnTo>
                  <a:lnTo>
                    <a:pt x="49178" y="245105"/>
                  </a:lnTo>
                  <a:lnTo>
                    <a:pt x="51932" y="245105"/>
                  </a:lnTo>
                  <a:lnTo>
                    <a:pt x="51932" y="244711"/>
                  </a:lnTo>
                  <a:lnTo>
                    <a:pt x="51932" y="244711"/>
                  </a:lnTo>
                  <a:lnTo>
                    <a:pt x="54686" y="242351"/>
                  </a:lnTo>
                  <a:lnTo>
                    <a:pt x="53113" y="243137"/>
                  </a:lnTo>
                  <a:lnTo>
                    <a:pt x="53899" y="241957"/>
                  </a:lnTo>
                  <a:lnTo>
                    <a:pt x="56653" y="241564"/>
                  </a:lnTo>
                  <a:lnTo>
                    <a:pt x="55866" y="241957"/>
                  </a:lnTo>
                  <a:lnTo>
                    <a:pt x="57047" y="241564"/>
                  </a:lnTo>
                  <a:lnTo>
                    <a:pt x="59408" y="241170"/>
                  </a:lnTo>
                  <a:lnTo>
                    <a:pt x="62162" y="239203"/>
                  </a:lnTo>
                  <a:lnTo>
                    <a:pt x="62554" y="241564"/>
                  </a:lnTo>
                  <a:lnTo>
                    <a:pt x="63735" y="242351"/>
                  </a:lnTo>
                  <a:lnTo>
                    <a:pt x="64522" y="241564"/>
                  </a:lnTo>
                  <a:lnTo>
                    <a:pt x="64129" y="238416"/>
                  </a:lnTo>
                  <a:lnTo>
                    <a:pt x="65702" y="239203"/>
                  </a:lnTo>
                  <a:lnTo>
                    <a:pt x="68456" y="239203"/>
                  </a:lnTo>
                  <a:lnTo>
                    <a:pt x="68850" y="236056"/>
                  </a:lnTo>
                  <a:lnTo>
                    <a:pt x="71603" y="236843"/>
                  </a:lnTo>
                  <a:lnTo>
                    <a:pt x="72784" y="235662"/>
                  </a:lnTo>
                  <a:lnTo>
                    <a:pt x="77899" y="235269"/>
                  </a:lnTo>
                  <a:lnTo>
                    <a:pt x="80259" y="236056"/>
                  </a:lnTo>
                  <a:lnTo>
                    <a:pt x="83013" y="234875"/>
                  </a:lnTo>
                  <a:lnTo>
                    <a:pt x="86554" y="230548"/>
                  </a:lnTo>
                  <a:lnTo>
                    <a:pt x="86554" y="230548"/>
                  </a:lnTo>
                  <a:lnTo>
                    <a:pt x="88915" y="227794"/>
                  </a:lnTo>
                  <a:lnTo>
                    <a:pt x="89308" y="227794"/>
                  </a:lnTo>
                  <a:lnTo>
                    <a:pt x="89701" y="228187"/>
                  </a:lnTo>
                  <a:lnTo>
                    <a:pt x="90882" y="227794"/>
                  </a:lnTo>
                  <a:lnTo>
                    <a:pt x="109373" y="230548"/>
                  </a:lnTo>
                  <a:lnTo>
                    <a:pt x="109373" y="230548"/>
                  </a:lnTo>
                  <a:lnTo>
                    <a:pt x="110159" y="230548"/>
                  </a:lnTo>
                  <a:lnTo>
                    <a:pt x="111340" y="230548"/>
                  </a:lnTo>
                  <a:lnTo>
                    <a:pt x="110946" y="230548"/>
                  </a:lnTo>
                  <a:lnTo>
                    <a:pt x="111733" y="230548"/>
                  </a:lnTo>
                  <a:lnTo>
                    <a:pt x="111340" y="230548"/>
                  </a:lnTo>
                  <a:lnTo>
                    <a:pt x="112127" y="230548"/>
                  </a:lnTo>
                  <a:lnTo>
                    <a:pt x="112913" y="230154"/>
                  </a:lnTo>
                  <a:lnTo>
                    <a:pt x="121176" y="228187"/>
                  </a:lnTo>
                  <a:lnTo>
                    <a:pt x="121568" y="228581"/>
                  </a:lnTo>
                  <a:lnTo>
                    <a:pt x="117634" y="241564"/>
                  </a:lnTo>
                  <a:lnTo>
                    <a:pt x="117241" y="241957"/>
                  </a:lnTo>
                  <a:lnTo>
                    <a:pt x="119995" y="244318"/>
                  </a:lnTo>
                  <a:lnTo>
                    <a:pt x="121962" y="247072"/>
                  </a:lnTo>
                  <a:lnTo>
                    <a:pt x="122356" y="249826"/>
                  </a:lnTo>
                  <a:lnTo>
                    <a:pt x="121962" y="252580"/>
                  </a:lnTo>
                  <a:lnTo>
                    <a:pt x="123929" y="255727"/>
                  </a:lnTo>
                  <a:lnTo>
                    <a:pt x="126683" y="257694"/>
                  </a:lnTo>
                  <a:lnTo>
                    <a:pt x="129437" y="259268"/>
                  </a:lnTo>
                  <a:lnTo>
                    <a:pt x="132192" y="260842"/>
                  </a:lnTo>
                  <a:lnTo>
                    <a:pt x="133765" y="263596"/>
                  </a:lnTo>
                  <a:lnTo>
                    <a:pt x="136519" y="266350"/>
                  </a:lnTo>
                  <a:lnTo>
                    <a:pt x="139666" y="267530"/>
                  </a:lnTo>
                  <a:lnTo>
                    <a:pt x="142420" y="268710"/>
                  </a:lnTo>
                  <a:lnTo>
                    <a:pt x="145568" y="269497"/>
                  </a:lnTo>
                  <a:lnTo>
                    <a:pt x="148322" y="271071"/>
                  </a:lnTo>
                  <a:lnTo>
                    <a:pt x="149896" y="268317"/>
                  </a:lnTo>
                  <a:lnTo>
                    <a:pt x="150683" y="265563"/>
                  </a:lnTo>
                  <a:lnTo>
                    <a:pt x="151075" y="262809"/>
                  </a:lnTo>
                  <a:lnTo>
                    <a:pt x="151469" y="262415"/>
                  </a:lnTo>
                  <a:lnTo>
                    <a:pt x="151469" y="259661"/>
                  </a:lnTo>
                  <a:lnTo>
                    <a:pt x="151863" y="256514"/>
                  </a:lnTo>
                  <a:lnTo>
                    <a:pt x="154617" y="254153"/>
                  </a:lnTo>
                  <a:lnTo>
                    <a:pt x="154223" y="251399"/>
                  </a:lnTo>
                  <a:lnTo>
                    <a:pt x="154617" y="248252"/>
                  </a:lnTo>
                  <a:lnTo>
                    <a:pt x="154223" y="245498"/>
                  </a:lnTo>
                  <a:lnTo>
                    <a:pt x="156977" y="244318"/>
                  </a:lnTo>
                  <a:lnTo>
                    <a:pt x="160124" y="243531"/>
                  </a:lnTo>
                  <a:lnTo>
                    <a:pt x="162878" y="242351"/>
                  </a:lnTo>
                  <a:lnTo>
                    <a:pt x="165633" y="243531"/>
                  </a:lnTo>
                  <a:lnTo>
                    <a:pt x="168387" y="242744"/>
                  </a:lnTo>
                  <a:lnTo>
                    <a:pt x="166420" y="239990"/>
                  </a:lnTo>
                  <a:lnTo>
                    <a:pt x="164845" y="237236"/>
                  </a:lnTo>
                  <a:lnTo>
                    <a:pt x="162092" y="235662"/>
                  </a:lnTo>
                  <a:lnTo>
                    <a:pt x="158944" y="234089"/>
                  </a:lnTo>
                  <a:lnTo>
                    <a:pt x="156190" y="232515"/>
                  </a:lnTo>
                  <a:lnTo>
                    <a:pt x="153436" y="232122"/>
                  </a:lnTo>
                  <a:lnTo>
                    <a:pt x="152256" y="217958"/>
                  </a:lnTo>
                  <a:lnTo>
                    <a:pt x="153436" y="217958"/>
                  </a:lnTo>
                  <a:lnTo>
                    <a:pt x="156977" y="219925"/>
                  </a:lnTo>
                  <a:lnTo>
                    <a:pt x="156584" y="221106"/>
                  </a:lnTo>
                  <a:lnTo>
                    <a:pt x="158944" y="224253"/>
                  </a:lnTo>
                  <a:lnTo>
                    <a:pt x="159732" y="227007"/>
                  </a:lnTo>
                  <a:lnTo>
                    <a:pt x="162878" y="227400"/>
                  </a:lnTo>
                  <a:lnTo>
                    <a:pt x="160911" y="224646"/>
                  </a:lnTo>
                  <a:lnTo>
                    <a:pt x="161305" y="222679"/>
                  </a:lnTo>
                  <a:lnTo>
                    <a:pt x="162092" y="223073"/>
                  </a:lnTo>
                  <a:lnTo>
                    <a:pt x="162878" y="225040"/>
                  </a:lnTo>
                  <a:lnTo>
                    <a:pt x="165633" y="226613"/>
                  </a:lnTo>
                  <a:lnTo>
                    <a:pt x="168387" y="226613"/>
                  </a:lnTo>
                  <a:lnTo>
                    <a:pt x="173501" y="228581"/>
                  </a:lnTo>
                  <a:lnTo>
                    <a:pt x="173501" y="228581"/>
                  </a:lnTo>
                  <a:lnTo>
                    <a:pt x="170354" y="230154"/>
                  </a:lnTo>
                  <a:lnTo>
                    <a:pt x="169960" y="232908"/>
                  </a:lnTo>
                  <a:lnTo>
                    <a:pt x="172714" y="231335"/>
                  </a:lnTo>
                  <a:lnTo>
                    <a:pt x="175469" y="230548"/>
                  </a:lnTo>
                  <a:lnTo>
                    <a:pt x="178222" y="230154"/>
                  </a:lnTo>
                  <a:lnTo>
                    <a:pt x="178615" y="230154"/>
                  </a:lnTo>
                  <a:lnTo>
                    <a:pt x="181370" y="229761"/>
                  </a:lnTo>
                  <a:lnTo>
                    <a:pt x="181763" y="230154"/>
                  </a:lnTo>
                  <a:lnTo>
                    <a:pt x="187271" y="230941"/>
                  </a:lnTo>
                  <a:lnTo>
                    <a:pt x="188845" y="230941"/>
                  </a:lnTo>
                  <a:lnTo>
                    <a:pt x="191598" y="230548"/>
                  </a:lnTo>
                  <a:lnTo>
                    <a:pt x="194352" y="230941"/>
                  </a:lnTo>
                  <a:lnTo>
                    <a:pt x="197500" y="232122"/>
                  </a:lnTo>
                  <a:lnTo>
                    <a:pt x="200254" y="232515"/>
                  </a:lnTo>
                  <a:lnTo>
                    <a:pt x="198680" y="229761"/>
                  </a:lnTo>
                  <a:lnTo>
                    <a:pt x="199861" y="227007"/>
                  </a:lnTo>
                  <a:lnTo>
                    <a:pt x="199861" y="226613"/>
                  </a:lnTo>
                  <a:lnTo>
                    <a:pt x="211270" y="222679"/>
                  </a:lnTo>
                  <a:lnTo>
                    <a:pt x="210483" y="220319"/>
                  </a:lnTo>
                  <a:lnTo>
                    <a:pt x="210483" y="220319"/>
                  </a:lnTo>
                  <a:lnTo>
                    <a:pt x="211664" y="222286"/>
                  </a:lnTo>
                  <a:lnTo>
                    <a:pt x="211664" y="222679"/>
                  </a:lnTo>
                  <a:lnTo>
                    <a:pt x="211270" y="222679"/>
                  </a:lnTo>
                  <a:lnTo>
                    <a:pt x="211664" y="223466"/>
                  </a:lnTo>
                  <a:lnTo>
                    <a:pt x="212450" y="225040"/>
                  </a:lnTo>
                  <a:lnTo>
                    <a:pt x="212450" y="225040"/>
                  </a:lnTo>
                  <a:lnTo>
                    <a:pt x="213237" y="227400"/>
                  </a:lnTo>
                  <a:lnTo>
                    <a:pt x="213631" y="228974"/>
                  </a:lnTo>
                  <a:lnTo>
                    <a:pt x="214811" y="230154"/>
                  </a:lnTo>
                  <a:lnTo>
                    <a:pt x="215204" y="230941"/>
                  </a:lnTo>
                  <a:lnTo>
                    <a:pt x="215598" y="230941"/>
                  </a:lnTo>
                  <a:lnTo>
                    <a:pt x="216385" y="231728"/>
                  </a:lnTo>
                  <a:lnTo>
                    <a:pt x="217171" y="231728"/>
                  </a:lnTo>
                  <a:lnTo>
                    <a:pt x="218352" y="232122"/>
                  </a:lnTo>
                  <a:lnTo>
                    <a:pt x="218745" y="231335"/>
                  </a:lnTo>
                  <a:lnTo>
                    <a:pt x="219138" y="231335"/>
                  </a:lnTo>
                  <a:lnTo>
                    <a:pt x="219138" y="230548"/>
                  </a:lnTo>
                  <a:lnTo>
                    <a:pt x="219925" y="229368"/>
                  </a:lnTo>
                  <a:lnTo>
                    <a:pt x="221105" y="226220"/>
                  </a:lnTo>
                  <a:lnTo>
                    <a:pt x="221105" y="223860"/>
                  </a:lnTo>
                  <a:lnTo>
                    <a:pt x="221499" y="222286"/>
                  </a:lnTo>
                  <a:lnTo>
                    <a:pt x="221105" y="221499"/>
                  </a:lnTo>
                  <a:lnTo>
                    <a:pt x="221105" y="219925"/>
                  </a:lnTo>
                  <a:lnTo>
                    <a:pt x="218352" y="216778"/>
                  </a:lnTo>
                  <a:lnTo>
                    <a:pt x="217171" y="214024"/>
                  </a:lnTo>
                  <a:lnTo>
                    <a:pt x="223466" y="207729"/>
                  </a:lnTo>
                  <a:lnTo>
                    <a:pt x="226220" y="208123"/>
                  </a:lnTo>
                  <a:lnTo>
                    <a:pt x="228974" y="209696"/>
                  </a:lnTo>
                  <a:lnTo>
                    <a:pt x="231728" y="212057"/>
                  </a:lnTo>
                  <a:lnTo>
                    <a:pt x="232515" y="208909"/>
                  </a:lnTo>
                  <a:lnTo>
                    <a:pt x="229761" y="207336"/>
                  </a:lnTo>
                  <a:lnTo>
                    <a:pt x="228187" y="204582"/>
                  </a:lnTo>
                  <a:lnTo>
                    <a:pt x="227401" y="203008"/>
                  </a:lnTo>
                  <a:lnTo>
                    <a:pt x="230154" y="200254"/>
                  </a:lnTo>
                  <a:lnTo>
                    <a:pt x="230548" y="195926"/>
                  </a:lnTo>
                  <a:lnTo>
                    <a:pt x="230941" y="196320"/>
                  </a:lnTo>
                  <a:lnTo>
                    <a:pt x="234089" y="195139"/>
                  </a:lnTo>
                  <a:lnTo>
                    <a:pt x="236843" y="201828"/>
                  </a:lnTo>
                  <a:lnTo>
                    <a:pt x="236056" y="204582"/>
                  </a:lnTo>
                  <a:lnTo>
                    <a:pt x="234483" y="207336"/>
                  </a:lnTo>
                  <a:lnTo>
                    <a:pt x="237236" y="209696"/>
                  </a:lnTo>
                  <a:lnTo>
                    <a:pt x="237629" y="212450"/>
                  </a:lnTo>
                  <a:lnTo>
                    <a:pt x="239203" y="215204"/>
                  </a:lnTo>
                  <a:lnTo>
                    <a:pt x="238417" y="218352"/>
                  </a:lnTo>
                  <a:lnTo>
                    <a:pt x="241563" y="220319"/>
                  </a:lnTo>
                  <a:lnTo>
                    <a:pt x="244318" y="219138"/>
                  </a:lnTo>
                  <a:lnTo>
                    <a:pt x="243924" y="216384"/>
                  </a:lnTo>
                  <a:lnTo>
                    <a:pt x="245105" y="215204"/>
                  </a:lnTo>
                  <a:lnTo>
                    <a:pt x="247859" y="213237"/>
                  </a:lnTo>
                  <a:lnTo>
                    <a:pt x="250612" y="212844"/>
                  </a:lnTo>
                  <a:lnTo>
                    <a:pt x="252187" y="209696"/>
                  </a:lnTo>
                  <a:lnTo>
                    <a:pt x="251399" y="206942"/>
                  </a:lnTo>
                  <a:lnTo>
                    <a:pt x="250220" y="204975"/>
                  </a:lnTo>
                  <a:lnTo>
                    <a:pt x="257301" y="191992"/>
                  </a:lnTo>
                  <a:lnTo>
                    <a:pt x="237629" y="154223"/>
                  </a:lnTo>
                  <a:lnTo>
                    <a:pt x="238810" y="152649"/>
                  </a:lnTo>
                  <a:close/>
                  <a:moveTo>
                    <a:pt x="36982" y="240777"/>
                  </a:moveTo>
                  <a:lnTo>
                    <a:pt x="36982" y="240383"/>
                  </a:lnTo>
                  <a:lnTo>
                    <a:pt x="37376" y="240383"/>
                  </a:lnTo>
                  <a:lnTo>
                    <a:pt x="36982" y="240777"/>
                  </a:lnTo>
                  <a:close/>
                  <a:moveTo>
                    <a:pt x="95996" y="225040"/>
                  </a:moveTo>
                  <a:lnTo>
                    <a:pt x="95209" y="225040"/>
                  </a:lnTo>
                  <a:lnTo>
                    <a:pt x="96783" y="224646"/>
                  </a:lnTo>
                  <a:lnTo>
                    <a:pt x="99143" y="224646"/>
                  </a:lnTo>
                  <a:lnTo>
                    <a:pt x="99930" y="224646"/>
                  </a:lnTo>
                  <a:lnTo>
                    <a:pt x="101504" y="225433"/>
                  </a:lnTo>
                  <a:lnTo>
                    <a:pt x="98750" y="224646"/>
                  </a:lnTo>
                  <a:lnTo>
                    <a:pt x="95996" y="225040"/>
                  </a:lnTo>
                  <a:close/>
                  <a:moveTo>
                    <a:pt x="214024" y="216384"/>
                  </a:moveTo>
                  <a:lnTo>
                    <a:pt x="214024" y="216384"/>
                  </a:lnTo>
                  <a:lnTo>
                    <a:pt x="213631" y="216778"/>
                  </a:lnTo>
                  <a:lnTo>
                    <a:pt x="214024" y="216384"/>
                  </a:lnTo>
                  <a:close/>
                  <a:moveTo>
                    <a:pt x="219138" y="208516"/>
                  </a:moveTo>
                  <a:lnTo>
                    <a:pt x="218745" y="211270"/>
                  </a:lnTo>
                  <a:lnTo>
                    <a:pt x="219138" y="208516"/>
                  </a:lnTo>
                  <a:lnTo>
                    <a:pt x="221892" y="206942"/>
                  </a:lnTo>
                  <a:lnTo>
                    <a:pt x="219138" y="20851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88" name="Freeform: Shape 3582">
              <a:extLst>
                <a:ext uri="{FF2B5EF4-FFF2-40B4-BE49-F238E27FC236}">
                  <a16:creationId xmlns:a16="http://schemas.microsoft.com/office/drawing/2014/main" id="{8C620B38-AFA7-4AAE-AF3D-714477E45B81}"/>
                </a:ext>
              </a:extLst>
            </p:cNvPr>
            <p:cNvSpPr/>
            <p:nvPr/>
          </p:nvSpPr>
          <p:spPr>
            <a:xfrm>
              <a:off x="7490697" y="2794445"/>
              <a:ext cx="3934" cy="3934"/>
            </a:xfrm>
            <a:custGeom>
              <a:avLst/>
              <a:gdLst>
                <a:gd name="connsiteX0" fmla="*/ 3148 w 3934"/>
                <a:gd name="connsiteY0" fmla="*/ 0 h 0"/>
                <a:gd name="connsiteX1" fmla="*/ 1180 w 3934"/>
                <a:gd name="connsiteY1" fmla="*/ 1574 h 0"/>
                <a:gd name="connsiteX2" fmla="*/ 393 w 3934"/>
                <a:gd name="connsiteY2" fmla="*/ 1180 h 0"/>
                <a:gd name="connsiteX3" fmla="*/ 0 w 3934"/>
                <a:gd name="connsiteY3" fmla="*/ 2361 h 0"/>
                <a:gd name="connsiteX4" fmla="*/ 6295 w 3934"/>
                <a:gd name="connsiteY4" fmla="*/ 1574 h 0"/>
                <a:gd name="connsiteX5" fmla="*/ 5901 w 3934"/>
                <a:gd name="connsiteY5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3148" y="0"/>
                  </a:moveTo>
                  <a:lnTo>
                    <a:pt x="1180" y="1574"/>
                  </a:lnTo>
                  <a:lnTo>
                    <a:pt x="393" y="1180"/>
                  </a:lnTo>
                  <a:lnTo>
                    <a:pt x="0" y="2361"/>
                  </a:lnTo>
                  <a:lnTo>
                    <a:pt x="6295" y="1574"/>
                  </a:lnTo>
                  <a:lnTo>
                    <a:pt x="590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89" name="Freeform: Shape 3583">
              <a:extLst>
                <a:ext uri="{FF2B5EF4-FFF2-40B4-BE49-F238E27FC236}">
                  <a16:creationId xmlns:a16="http://schemas.microsoft.com/office/drawing/2014/main" id="{AFB8619C-4D24-4DD4-B911-22CF951CA380}"/>
                </a:ext>
              </a:extLst>
            </p:cNvPr>
            <p:cNvSpPr/>
            <p:nvPr/>
          </p:nvSpPr>
          <p:spPr>
            <a:xfrm>
              <a:off x="7450174" y="2723629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0 w 0"/>
                <a:gd name="connsiteY1" fmla="*/ 0 h 0"/>
                <a:gd name="connsiteX2" fmla="*/ 2754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0" y="0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90" name="Freeform: Shape 3584">
              <a:extLst>
                <a:ext uri="{FF2B5EF4-FFF2-40B4-BE49-F238E27FC236}">
                  <a16:creationId xmlns:a16="http://schemas.microsoft.com/office/drawing/2014/main" id="{D001A832-9B20-441D-8823-36F91437FB49}"/>
                </a:ext>
              </a:extLst>
            </p:cNvPr>
            <p:cNvSpPr/>
            <p:nvPr/>
          </p:nvSpPr>
          <p:spPr>
            <a:xfrm>
              <a:off x="7442305" y="2705137"/>
              <a:ext cx="7869" cy="11803"/>
            </a:xfrm>
            <a:custGeom>
              <a:avLst/>
              <a:gdLst>
                <a:gd name="connsiteX0" fmla="*/ 0 w 7868"/>
                <a:gd name="connsiteY0" fmla="*/ 5901 h 11802"/>
                <a:gd name="connsiteX1" fmla="*/ 1574 w 7868"/>
                <a:gd name="connsiteY1" fmla="*/ 8655 h 11802"/>
                <a:gd name="connsiteX2" fmla="*/ 3541 w 7868"/>
                <a:gd name="connsiteY2" fmla="*/ 11803 h 11802"/>
                <a:gd name="connsiteX3" fmla="*/ 3934 w 7868"/>
                <a:gd name="connsiteY3" fmla="*/ 12590 h 11802"/>
                <a:gd name="connsiteX4" fmla="*/ 6689 w 7868"/>
                <a:gd name="connsiteY4" fmla="*/ 12196 h 11802"/>
                <a:gd name="connsiteX5" fmla="*/ 8656 w 7868"/>
                <a:gd name="connsiteY5" fmla="*/ 9442 h 11802"/>
                <a:gd name="connsiteX6" fmla="*/ 9049 w 7868"/>
                <a:gd name="connsiteY6" fmla="*/ 8655 h 11802"/>
                <a:gd name="connsiteX7" fmla="*/ 8656 w 7868"/>
                <a:gd name="connsiteY7" fmla="*/ 7869 h 11802"/>
                <a:gd name="connsiteX8" fmla="*/ 8656 w 7868"/>
                <a:gd name="connsiteY8" fmla="*/ 7475 h 11802"/>
                <a:gd name="connsiteX9" fmla="*/ 7869 w 7868"/>
                <a:gd name="connsiteY9" fmla="*/ 5901 h 11802"/>
                <a:gd name="connsiteX10" fmla="*/ 7475 w 7868"/>
                <a:gd name="connsiteY10" fmla="*/ 5508 h 11802"/>
                <a:gd name="connsiteX11" fmla="*/ 7082 w 7868"/>
                <a:gd name="connsiteY11" fmla="*/ 5115 h 11802"/>
                <a:gd name="connsiteX12" fmla="*/ 6689 w 7868"/>
                <a:gd name="connsiteY12" fmla="*/ 4328 h 11802"/>
                <a:gd name="connsiteX13" fmla="*/ 6689 w 7868"/>
                <a:gd name="connsiteY13" fmla="*/ 4721 h 11802"/>
                <a:gd name="connsiteX14" fmla="*/ 2754 w 7868"/>
                <a:gd name="connsiteY14" fmla="*/ 0 h 11802"/>
                <a:gd name="connsiteX15" fmla="*/ 3541 w 7868"/>
                <a:gd name="connsiteY15" fmla="*/ 2361 h 11802"/>
                <a:gd name="connsiteX16" fmla="*/ 394 w 7868"/>
                <a:gd name="connsiteY16" fmla="*/ 3147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868" h="11802">
                  <a:moveTo>
                    <a:pt x="0" y="5901"/>
                  </a:moveTo>
                  <a:lnTo>
                    <a:pt x="1574" y="8655"/>
                  </a:lnTo>
                  <a:lnTo>
                    <a:pt x="3541" y="11803"/>
                  </a:lnTo>
                  <a:lnTo>
                    <a:pt x="3934" y="12590"/>
                  </a:lnTo>
                  <a:lnTo>
                    <a:pt x="6689" y="12196"/>
                  </a:lnTo>
                  <a:lnTo>
                    <a:pt x="8656" y="9442"/>
                  </a:lnTo>
                  <a:lnTo>
                    <a:pt x="9049" y="8655"/>
                  </a:lnTo>
                  <a:lnTo>
                    <a:pt x="8656" y="7869"/>
                  </a:lnTo>
                  <a:lnTo>
                    <a:pt x="8656" y="7475"/>
                  </a:lnTo>
                  <a:lnTo>
                    <a:pt x="7869" y="5901"/>
                  </a:lnTo>
                  <a:lnTo>
                    <a:pt x="7475" y="5508"/>
                  </a:lnTo>
                  <a:lnTo>
                    <a:pt x="7082" y="5115"/>
                  </a:lnTo>
                  <a:lnTo>
                    <a:pt x="6689" y="4328"/>
                  </a:lnTo>
                  <a:lnTo>
                    <a:pt x="6689" y="4721"/>
                  </a:lnTo>
                  <a:lnTo>
                    <a:pt x="2754" y="0"/>
                  </a:lnTo>
                  <a:lnTo>
                    <a:pt x="3541" y="2361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91" name="Freeform: Shape 3585">
              <a:extLst>
                <a:ext uri="{FF2B5EF4-FFF2-40B4-BE49-F238E27FC236}">
                  <a16:creationId xmlns:a16="http://schemas.microsoft.com/office/drawing/2014/main" id="{34AF44DC-BEB1-41B8-88B1-C4C94A5F3B32}"/>
                </a:ext>
              </a:extLst>
            </p:cNvPr>
            <p:cNvSpPr/>
            <p:nvPr/>
          </p:nvSpPr>
          <p:spPr>
            <a:xfrm>
              <a:off x="7445059" y="2705137"/>
              <a:ext cx="3934" cy="3934"/>
            </a:xfrm>
            <a:custGeom>
              <a:avLst/>
              <a:gdLst>
                <a:gd name="connsiteX0" fmla="*/ 3934 w 3934"/>
                <a:gd name="connsiteY0" fmla="*/ 4328 h 3934"/>
                <a:gd name="connsiteX1" fmla="*/ 0 w 3934"/>
                <a:gd name="connsiteY1" fmla="*/ 0 h 3934"/>
                <a:gd name="connsiteX2" fmla="*/ 2360 w 3934"/>
                <a:gd name="connsiteY2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3934" y="4328"/>
                  </a:moveTo>
                  <a:lnTo>
                    <a:pt x="0" y="0"/>
                  </a:lnTo>
                  <a:lnTo>
                    <a:pt x="236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92" name="Freeform: Shape 3586">
              <a:extLst>
                <a:ext uri="{FF2B5EF4-FFF2-40B4-BE49-F238E27FC236}">
                  <a16:creationId xmlns:a16="http://schemas.microsoft.com/office/drawing/2014/main" id="{5D4B28BA-B54C-4A4A-8D88-B4812F15E07B}"/>
                </a:ext>
              </a:extLst>
            </p:cNvPr>
            <p:cNvSpPr/>
            <p:nvPr/>
          </p:nvSpPr>
          <p:spPr>
            <a:xfrm>
              <a:off x="7119695" y="2855426"/>
              <a:ext cx="3934" cy="3934"/>
            </a:xfrm>
            <a:custGeom>
              <a:avLst/>
              <a:gdLst>
                <a:gd name="connsiteX0" fmla="*/ 0 w 0"/>
                <a:gd name="connsiteY0" fmla="*/ 0 h 3934"/>
                <a:gd name="connsiteX1" fmla="*/ 2754 w 0"/>
                <a:gd name="connsiteY1" fmla="*/ 4721 h 3934"/>
                <a:gd name="connsiteX2" fmla="*/ 1967 w 0"/>
                <a:gd name="connsiteY2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0" y="0"/>
                  </a:moveTo>
                  <a:lnTo>
                    <a:pt x="2754" y="4721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93" name="Freeform: Shape 3587">
              <a:extLst>
                <a:ext uri="{FF2B5EF4-FFF2-40B4-BE49-F238E27FC236}">
                  <a16:creationId xmlns:a16="http://schemas.microsoft.com/office/drawing/2014/main" id="{8B6C97E8-8B4C-4AE0-A880-8A26B57F380E}"/>
                </a:ext>
              </a:extLst>
            </p:cNvPr>
            <p:cNvSpPr/>
            <p:nvPr/>
          </p:nvSpPr>
          <p:spPr>
            <a:xfrm>
              <a:off x="7039043" y="2789724"/>
              <a:ext cx="3934" cy="3934"/>
            </a:xfrm>
            <a:custGeom>
              <a:avLst/>
              <a:gdLst>
                <a:gd name="connsiteX0" fmla="*/ 3148 w 0"/>
                <a:gd name="connsiteY0" fmla="*/ 1967 h 0"/>
                <a:gd name="connsiteX1" fmla="*/ 2754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1967"/>
                  </a:moveTo>
                  <a:lnTo>
                    <a:pt x="2754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94" name="Freeform: Shape 3588">
              <a:extLst>
                <a:ext uri="{FF2B5EF4-FFF2-40B4-BE49-F238E27FC236}">
                  <a16:creationId xmlns:a16="http://schemas.microsoft.com/office/drawing/2014/main" id="{2D06B713-E0CC-43CE-828B-AD8A7EFFB300}"/>
                </a:ext>
              </a:extLst>
            </p:cNvPr>
            <p:cNvSpPr/>
            <p:nvPr/>
          </p:nvSpPr>
          <p:spPr>
            <a:xfrm>
              <a:off x="7054780" y="2772020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2754 w 0"/>
                <a:gd name="connsiteY1" fmla="*/ 275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2754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95" name="Freeform: Shape 3589">
              <a:extLst>
                <a:ext uri="{FF2B5EF4-FFF2-40B4-BE49-F238E27FC236}">
                  <a16:creationId xmlns:a16="http://schemas.microsoft.com/office/drawing/2014/main" id="{AC04D41D-D5E8-4010-A49D-0101C0FD1344}"/>
                </a:ext>
              </a:extLst>
            </p:cNvPr>
            <p:cNvSpPr/>
            <p:nvPr/>
          </p:nvSpPr>
          <p:spPr>
            <a:xfrm>
              <a:off x="9579791" y="2713399"/>
              <a:ext cx="3934" cy="3934"/>
            </a:xfrm>
            <a:custGeom>
              <a:avLst/>
              <a:gdLst>
                <a:gd name="connsiteX0" fmla="*/ 3148 w 0"/>
                <a:gd name="connsiteY0" fmla="*/ 1574 h 0"/>
                <a:gd name="connsiteX1" fmla="*/ 3148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1574"/>
                  </a:moveTo>
                  <a:lnTo>
                    <a:pt x="3148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96" name="Freeform: Shape 3590">
              <a:extLst>
                <a:ext uri="{FF2B5EF4-FFF2-40B4-BE49-F238E27FC236}">
                  <a16:creationId xmlns:a16="http://schemas.microsoft.com/office/drawing/2014/main" id="{A6F48F8E-EFA6-4A9C-B33E-CC129606EA29}"/>
                </a:ext>
              </a:extLst>
            </p:cNvPr>
            <p:cNvSpPr/>
            <p:nvPr/>
          </p:nvSpPr>
          <p:spPr>
            <a:xfrm>
              <a:off x="9644313" y="3032862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0 w 0"/>
                <a:gd name="connsiteY1" fmla="*/ 0 h 0"/>
                <a:gd name="connsiteX2" fmla="*/ 118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0" y="0"/>
                  </a:lnTo>
                  <a:lnTo>
                    <a:pt x="118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97" name="Freeform: Shape 3591">
              <a:extLst>
                <a:ext uri="{FF2B5EF4-FFF2-40B4-BE49-F238E27FC236}">
                  <a16:creationId xmlns:a16="http://schemas.microsoft.com/office/drawing/2014/main" id="{AAE9BD06-05A8-4D07-95C6-033F435F9700}"/>
                </a:ext>
              </a:extLst>
            </p:cNvPr>
            <p:cNvSpPr/>
            <p:nvPr/>
          </p:nvSpPr>
          <p:spPr>
            <a:xfrm>
              <a:off x="9647067" y="3028534"/>
              <a:ext cx="3934" cy="3934"/>
            </a:xfrm>
            <a:custGeom>
              <a:avLst/>
              <a:gdLst>
                <a:gd name="connsiteX0" fmla="*/ 393 w 0"/>
                <a:gd name="connsiteY0" fmla="*/ 4721 h 3934"/>
                <a:gd name="connsiteX1" fmla="*/ 787 w 0"/>
                <a:gd name="connsiteY1" fmla="*/ 3541 h 3934"/>
                <a:gd name="connsiteX2" fmla="*/ 2360 w 0"/>
                <a:gd name="connsiteY2" fmla="*/ 787 h 3934"/>
                <a:gd name="connsiteX3" fmla="*/ 1967 w 0"/>
                <a:gd name="connsiteY3" fmla="*/ 0 h 3934"/>
                <a:gd name="connsiteX4" fmla="*/ 0 w 0"/>
                <a:gd name="connsiteY4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393" y="4721"/>
                  </a:moveTo>
                  <a:lnTo>
                    <a:pt x="787" y="3541"/>
                  </a:lnTo>
                  <a:lnTo>
                    <a:pt x="2360" y="787"/>
                  </a:lnTo>
                  <a:lnTo>
                    <a:pt x="1967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98" name="Freeform: Shape 3592">
              <a:extLst>
                <a:ext uri="{FF2B5EF4-FFF2-40B4-BE49-F238E27FC236}">
                  <a16:creationId xmlns:a16="http://schemas.microsoft.com/office/drawing/2014/main" id="{40C44E1C-BEE6-4394-B81E-1743E28EE4FE}"/>
                </a:ext>
              </a:extLst>
            </p:cNvPr>
            <p:cNvSpPr/>
            <p:nvPr/>
          </p:nvSpPr>
          <p:spPr>
            <a:xfrm>
              <a:off x="9641166" y="3018305"/>
              <a:ext cx="3934" cy="3934"/>
            </a:xfrm>
            <a:custGeom>
              <a:avLst/>
              <a:gdLst>
                <a:gd name="connsiteX0" fmla="*/ 1573 w 0"/>
                <a:gd name="connsiteY0" fmla="*/ 0 h 0"/>
                <a:gd name="connsiteX1" fmla="*/ 0 w 0"/>
                <a:gd name="connsiteY1" fmla="*/ 2754 h 0"/>
                <a:gd name="connsiteX2" fmla="*/ 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3" y="0"/>
                  </a:moveTo>
                  <a:lnTo>
                    <a:pt x="0" y="2754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99" name="Freeform: Shape 3593">
              <a:extLst>
                <a:ext uri="{FF2B5EF4-FFF2-40B4-BE49-F238E27FC236}">
                  <a16:creationId xmlns:a16="http://schemas.microsoft.com/office/drawing/2014/main" id="{86A67FEC-7F1F-4C98-A574-31B61BD1FCD3}"/>
                </a:ext>
              </a:extLst>
            </p:cNvPr>
            <p:cNvSpPr/>
            <p:nvPr/>
          </p:nvSpPr>
          <p:spPr>
            <a:xfrm>
              <a:off x="7662231" y="2806642"/>
              <a:ext cx="27540" cy="11803"/>
            </a:xfrm>
            <a:custGeom>
              <a:avLst/>
              <a:gdLst>
                <a:gd name="connsiteX0" fmla="*/ 6295 w 27539"/>
                <a:gd name="connsiteY0" fmla="*/ 10229 h 11802"/>
                <a:gd name="connsiteX1" fmla="*/ 3148 w 27539"/>
                <a:gd name="connsiteY1" fmla="*/ 11803 h 11802"/>
                <a:gd name="connsiteX2" fmla="*/ 0 w 27539"/>
                <a:gd name="connsiteY2" fmla="*/ 11803 h 11802"/>
                <a:gd name="connsiteX3" fmla="*/ 393 w 27539"/>
                <a:gd name="connsiteY3" fmla="*/ 14950 h 11802"/>
                <a:gd name="connsiteX4" fmla="*/ 3541 w 27539"/>
                <a:gd name="connsiteY4" fmla="*/ 14557 h 11802"/>
                <a:gd name="connsiteX5" fmla="*/ 6689 w 27539"/>
                <a:gd name="connsiteY5" fmla="*/ 13770 h 11802"/>
                <a:gd name="connsiteX6" fmla="*/ 9442 w 27539"/>
                <a:gd name="connsiteY6" fmla="*/ 12196 h 11802"/>
                <a:gd name="connsiteX7" fmla="*/ 12590 w 27539"/>
                <a:gd name="connsiteY7" fmla="*/ 10229 h 11802"/>
                <a:gd name="connsiteX8" fmla="*/ 15737 w 27539"/>
                <a:gd name="connsiteY8" fmla="*/ 9836 h 11802"/>
                <a:gd name="connsiteX9" fmla="*/ 18491 w 27539"/>
                <a:gd name="connsiteY9" fmla="*/ 10229 h 11802"/>
                <a:gd name="connsiteX10" fmla="*/ 21638 w 27539"/>
                <a:gd name="connsiteY10" fmla="*/ 8262 h 11802"/>
                <a:gd name="connsiteX11" fmla="*/ 24393 w 27539"/>
                <a:gd name="connsiteY11" fmla="*/ 5508 h 11802"/>
                <a:gd name="connsiteX12" fmla="*/ 25573 w 27539"/>
                <a:gd name="connsiteY12" fmla="*/ 2754 h 11802"/>
                <a:gd name="connsiteX13" fmla="*/ 28720 w 27539"/>
                <a:gd name="connsiteY13" fmla="*/ 1574 h 11802"/>
                <a:gd name="connsiteX14" fmla="*/ 27147 w 27539"/>
                <a:gd name="connsiteY14" fmla="*/ 393 h 11802"/>
                <a:gd name="connsiteX15" fmla="*/ 24393 w 27539"/>
                <a:gd name="connsiteY15" fmla="*/ 0 h 11802"/>
                <a:gd name="connsiteX16" fmla="*/ 21245 w 27539"/>
                <a:gd name="connsiteY16" fmla="*/ 787 h 11802"/>
                <a:gd name="connsiteX17" fmla="*/ 19278 w 27539"/>
                <a:gd name="connsiteY17" fmla="*/ 2361 h 11802"/>
                <a:gd name="connsiteX18" fmla="*/ 15344 w 27539"/>
                <a:gd name="connsiteY18" fmla="*/ 2361 h 11802"/>
                <a:gd name="connsiteX19" fmla="*/ 13770 w 27539"/>
                <a:gd name="connsiteY19" fmla="*/ 4328 h 11802"/>
                <a:gd name="connsiteX20" fmla="*/ 12590 w 27539"/>
                <a:gd name="connsiteY20" fmla="*/ 7082 h 11802"/>
                <a:gd name="connsiteX21" fmla="*/ 9442 w 27539"/>
                <a:gd name="connsiteY21" fmla="*/ 904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7539" h="11802">
                  <a:moveTo>
                    <a:pt x="6295" y="10229"/>
                  </a:moveTo>
                  <a:lnTo>
                    <a:pt x="3148" y="11803"/>
                  </a:lnTo>
                  <a:lnTo>
                    <a:pt x="0" y="11803"/>
                  </a:lnTo>
                  <a:lnTo>
                    <a:pt x="393" y="14950"/>
                  </a:lnTo>
                  <a:lnTo>
                    <a:pt x="3541" y="14557"/>
                  </a:lnTo>
                  <a:lnTo>
                    <a:pt x="6689" y="13770"/>
                  </a:lnTo>
                  <a:lnTo>
                    <a:pt x="9442" y="12196"/>
                  </a:lnTo>
                  <a:lnTo>
                    <a:pt x="12590" y="10229"/>
                  </a:lnTo>
                  <a:lnTo>
                    <a:pt x="15737" y="9836"/>
                  </a:lnTo>
                  <a:lnTo>
                    <a:pt x="18491" y="10229"/>
                  </a:lnTo>
                  <a:lnTo>
                    <a:pt x="21638" y="8262"/>
                  </a:lnTo>
                  <a:lnTo>
                    <a:pt x="24393" y="5508"/>
                  </a:lnTo>
                  <a:lnTo>
                    <a:pt x="25573" y="2754"/>
                  </a:lnTo>
                  <a:lnTo>
                    <a:pt x="28720" y="1574"/>
                  </a:lnTo>
                  <a:lnTo>
                    <a:pt x="27147" y="393"/>
                  </a:lnTo>
                  <a:lnTo>
                    <a:pt x="24393" y="0"/>
                  </a:lnTo>
                  <a:lnTo>
                    <a:pt x="21245" y="787"/>
                  </a:lnTo>
                  <a:lnTo>
                    <a:pt x="19278" y="2361"/>
                  </a:lnTo>
                  <a:lnTo>
                    <a:pt x="15344" y="2361"/>
                  </a:lnTo>
                  <a:lnTo>
                    <a:pt x="13770" y="4328"/>
                  </a:lnTo>
                  <a:lnTo>
                    <a:pt x="12590" y="7082"/>
                  </a:lnTo>
                  <a:lnTo>
                    <a:pt x="9442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00" name="Freeform: Shape 3594">
              <a:extLst>
                <a:ext uri="{FF2B5EF4-FFF2-40B4-BE49-F238E27FC236}">
                  <a16:creationId xmlns:a16="http://schemas.microsoft.com/office/drawing/2014/main" id="{523FC616-3D2F-4FEA-8FA3-BF1F85F0977E}"/>
                </a:ext>
              </a:extLst>
            </p:cNvPr>
            <p:cNvSpPr/>
            <p:nvPr/>
          </p:nvSpPr>
          <p:spPr>
            <a:xfrm>
              <a:off x="7623675" y="2822379"/>
              <a:ext cx="3934" cy="3934"/>
            </a:xfrm>
            <a:custGeom>
              <a:avLst/>
              <a:gdLst>
                <a:gd name="connsiteX0" fmla="*/ 2754 w 0"/>
                <a:gd name="connsiteY0" fmla="*/ 1574 h 0"/>
                <a:gd name="connsiteX1" fmla="*/ 2754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574"/>
                  </a:moveTo>
                  <a:lnTo>
                    <a:pt x="2754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01" name="Freeform: Shape 3595">
              <a:extLst>
                <a:ext uri="{FF2B5EF4-FFF2-40B4-BE49-F238E27FC236}">
                  <a16:creationId xmlns:a16="http://schemas.microsoft.com/office/drawing/2014/main" id="{FB9F544D-22BA-40FA-8090-6260105ABE67}"/>
                </a:ext>
              </a:extLst>
            </p:cNvPr>
            <p:cNvSpPr/>
            <p:nvPr/>
          </p:nvSpPr>
          <p:spPr>
            <a:xfrm>
              <a:off x="7600856" y="2812149"/>
              <a:ext cx="3934" cy="3934"/>
            </a:xfrm>
            <a:custGeom>
              <a:avLst/>
              <a:gdLst>
                <a:gd name="connsiteX0" fmla="*/ 0 w 3934"/>
                <a:gd name="connsiteY0" fmla="*/ 787 h 0"/>
                <a:gd name="connsiteX1" fmla="*/ 3148 w 3934"/>
                <a:gd name="connsiteY1" fmla="*/ 1574 h 0"/>
                <a:gd name="connsiteX2" fmla="*/ 3541 w 3934"/>
                <a:gd name="connsiteY2" fmla="*/ 1180 h 0"/>
                <a:gd name="connsiteX3" fmla="*/ 5901 w 3934"/>
                <a:gd name="connsiteY3" fmla="*/ 1180 h 0"/>
                <a:gd name="connsiteX4" fmla="*/ 3148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787"/>
                  </a:moveTo>
                  <a:lnTo>
                    <a:pt x="3148" y="1574"/>
                  </a:lnTo>
                  <a:lnTo>
                    <a:pt x="3541" y="1180"/>
                  </a:lnTo>
                  <a:lnTo>
                    <a:pt x="5901" y="1180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02" name="Freeform: Shape 3596">
              <a:extLst>
                <a:ext uri="{FF2B5EF4-FFF2-40B4-BE49-F238E27FC236}">
                  <a16:creationId xmlns:a16="http://schemas.microsoft.com/office/drawing/2014/main" id="{C8025655-1E0D-48E8-89E8-C0C4BF73487C}"/>
                </a:ext>
              </a:extLst>
            </p:cNvPr>
            <p:cNvSpPr/>
            <p:nvPr/>
          </p:nvSpPr>
          <p:spPr>
            <a:xfrm>
              <a:off x="9568775" y="2766119"/>
              <a:ext cx="3934" cy="3934"/>
            </a:xfrm>
            <a:custGeom>
              <a:avLst/>
              <a:gdLst>
                <a:gd name="connsiteX0" fmla="*/ 2754 w 0"/>
                <a:gd name="connsiteY0" fmla="*/ 0 h 3934"/>
                <a:gd name="connsiteX1" fmla="*/ 787 w 0"/>
                <a:gd name="connsiteY1" fmla="*/ 0 h 3934"/>
                <a:gd name="connsiteX2" fmla="*/ 0 w 0"/>
                <a:gd name="connsiteY2" fmla="*/ 3147 h 3934"/>
                <a:gd name="connsiteX3" fmla="*/ 787 w 0"/>
                <a:gd name="connsiteY3" fmla="*/ 4328 h 3934"/>
                <a:gd name="connsiteX4" fmla="*/ 3541 w 0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2754" y="0"/>
                  </a:moveTo>
                  <a:lnTo>
                    <a:pt x="787" y="0"/>
                  </a:lnTo>
                  <a:lnTo>
                    <a:pt x="0" y="3147"/>
                  </a:lnTo>
                  <a:lnTo>
                    <a:pt x="787" y="4328"/>
                  </a:lnTo>
                  <a:lnTo>
                    <a:pt x="3541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03" name="Freeform: Shape 3597">
              <a:extLst>
                <a:ext uri="{FF2B5EF4-FFF2-40B4-BE49-F238E27FC236}">
                  <a16:creationId xmlns:a16="http://schemas.microsoft.com/office/drawing/2014/main" id="{1A74F941-8A0B-48F7-8A7A-00EDB3589A8E}"/>
                </a:ext>
              </a:extLst>
            </p:cNvPr>
            <p:cNvSpPr/>
            <p:nvPr/>
          </p:nvSpPr>
          <p:spPr>
            <a:xfrm>
              <a:off x="7187365" y="2960078"/>
              <a:ext cx="7869" cy="27540"/>
            </a:xfrm>
            <a:custGeom>
              <a:avLst/>
              <a:gdLst>
                <a:gd name="connsiteX0" fmla="*/ 1967 w 7868"/>
                <a:gd name="connsiteY0" fmla="*/ 23606 h 27539"/>
                <a:gd name="connsiteX1" fmla="*/ 3934 w 7868"/>
                <a:gd name="connsiteY1" fmla="*/ 26753 h 27539"/>
                <a:gd name="connsiteX2" fmla="*/ 7081 w 7868"/>
                <a:gd name="connsiteY2" fmla="*/ 28720 h 27539"/>
                <a:gd name="connsiteX3" fmla="*/ 9836 w 7868"/>
                <a:gd name="connsiteY3" fmla="*/ 27933 h 27539"/>
                <a:gd name="connsiteX4" fmla="*/ 9442 w 7868"/>
                <a:gd name="connsiteY4" fmla="*/ 25179 h 27539"/>
                <a:gd name="connsiteX5" fmla="*/ 7869 w 7868"/>
                <a:gd name="connsiteY5" fmla="*/ 22425 h 27539"/>
                <a:gd name="connsiteX6" fmla="*/ 5901 w 7868"/>
                <a:gd name="connsiteY6" fmla="*/ 19671 h 27539"/>
                <a:gd name="connsiteX7" fmla="*/ 7081 w 7868"/>
                <a:gd name="connsiteY7" fmla="*/ 18884 h 27539"/>
                <a:gd name="connsiteX8" fmla="*/ 9836 w 7868"/>
                <a:gd name="connsiteY8" fmla="*/ 0 h 27539"/>
                <a:gd name="connsiteX9" fmla="*/ 9442 w 7868"/>
                <a:gd name="connsiteY9" fmla="*/ 2754 h 27539"/>
                <a:gd name="connsiteX10" fmla="*/ 6688 w 7868"/>
                <a:gd name="connsiteY10" fmla="*/ 4328 h 27539"/>
                <a:gd name="connsiteX11" fmla="*/ 5901 w 7868"/>
                <a:gd name="connsiteY11" fmla="*/ 7475 h 27539"/>
                <a:gd name="connsiteX12" fmla="*/ 5901 w 7868"/>
                <a:gd name="connsiteY12" fmla="*/ 10622 h 27539"/>
                <a:gd name="connsiteX13" fmla="*/ 2754 w 7868"/>
                <a:gd name="connsiteY13" fmla="*/ 12983 h 27539"/>
                <a:gd name="connsiteX14" fmla="*/ 0 w 7868"/>
                <a:gd name="connsiteY14" fmla="*/ 14950 h 27539"/>
                <a:gd name="connsiteX15" fmla="*/ 787 w 7868"/>
                <a:gd name="connsiteY15" fmla="*/ 17704 h 27539"/>
                <a:gd name="connsiteX16" fmla="*/ 787 w 7868"/>
                <a:gd name="connsiteY16" fmla="*/ 20852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868" h="27539">
                  <a:moveTo>
                    <a:pt x="1967" y="23606"/>
                  </a:moveTo>
                  <a:lnTo>
                    <a:pt x="3934" y="26753"/>
                  </a:lnTo>
                  <a:lnTo>
                    <a:pt x="7081" y="28720"/>
                  </a:lnTo>
                  <a:lnTo>
                    <a:pt x="9836" y="27933"/>
                  </a:lnTo>
                  <a:lnTo>
                    <a:pt x="9442" y="25179"/>
                  </a:lnTo>
                  <a:lnTo>
                    <a:pt x="7869" y="22425"/>
                  </a:lnTo>
                  <a:lnTo>
                    <a:pt x="5901" y="19671"/>
                  </a:lnTo>
                  <a:lnTo>
                    <a:pt x="7081" y="18884"/>
                  </a:lnTo>
                  <a:lnTo>
                    <a:pt x="9836" y="0"/>
                  </a:lnTo>
                  <a:lnTo>
                    <a:pt x="9442" y="2754"/>
                  </a:lnTo>
                  <a:lnTo>
                    <a:pt x="6688" y="4328"/>
                  </a:lnTo>
                  <a:lnTo>
                    <a:pt x="5901" y="7475"/>
                  </a:lnTo>
                  <a:lnTo>
                    <a:pt x="5901" y="10622"/>
                  </a:lnTo>
                  <a:lnTo>
                    <a:pt x="2754" y="12983"/>
                  </a:lnTo>
                  <a:lnTo>
                    <a:pt x="0" y="14950"/>
                  </a:lnTo>
                  <a:lnTo>
                    <a:pt x="787" y="17704"/>
                  </a:lnTo>
                  <a:lnTo>
                    <a:pt x="787" y="2085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04" name="Freeform: Shape 3598">
              <a:extLst>
                <a:ext uri="{FF2B5EF4-FFF2-40B4-BE49-F238E27FC236}">
                  <a16:creationId xmlns:a16="http://schemas.microsoft.com/office/drawing/2014/main" id="{5A1C25B9-29F4-461F-A1D3-9255FF6FF13C}"/>
                </a:ext>
              </a:extLst>
            </p:cNvPr>
            <p:cNvSpPr/>
            <p:nvPr/>
          </p:nvSpPr>
          <p:spPr>
            <a:xfrm>
              <a:off x="7190512" y="2950242"/>
              <a:ext cx="3934" cy="11803"/>
            </a:xfrm>
            <a:custGeom>
              <a:avLst/>
              <a:gdLst>
                <a:gd name="connsiteX0" fmla="*/ 0 w 3934"/>
                <a:gd name="connsiteY0" fmla="*/ 11803 h 11802"/>
                <a:gd name="connsiteX1" fmla="*/ 0 w 3934"/>
                <a:gd name="connsiteY1" fmla="*/ 14950 h 11802"/>
                <a:gd name="connsiteX2" fmla="*/ 2754 w 3934"/>
                <a:gd name="connsiteY2" fmla="*/ 13376 h 11802"/>
                <a:gd name="connsiteX3" fmla="*/ 4721 w 3934"/>
                <a:gd name="connsiteY3" fmla="*/ 10622 h 11802"/>
                <a:gd name="connsiteX4" fmla="*/ 4721 w 3934"/>
                <a:gd name="connsiteY4" fmla="*/ 7869 h 11802"/>
                <a:gd name="connsiteX5" fmla="*/ 5115 w 3934"/>
                <a:gd name="connsiteY5" fmla="*/ 5114 h 11802"/>
                <a:gd name="connsiteX6" fmla="*/ 2754 w 3934"/>
                <a:gd name="connsiteY6" fmla="*/ 0 h 11802"/>
                <a:gd name="connsiteX7" fmla="*/ 1967 w 3934"/>
                <a:gd name="connsiteY7" fmla="*/ 3147 h 11802"/>
                <a:gd name="connsiteX8" fmla="*/ 2361 w 3934"/>
                <a:gd name="connsiteY8" fmla="*/ 6295 h 11802"/>
                <a:gd name="connsiteX9" fmla="*/ 1180 w 3934"/>
                <a:gd name="connsiteY9" fmla="*/ 904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11802">
                  <a:moveTo>
                    <a:pt x="0" y="11803"/>
                  </a:moveTo>
                  <a:lnTo>
                    <a:pt x="0" y="14950"/>
                  </a:lnTo>
                  <a:lnTo>
                    <a:pt x="2754" y="13376"/>
                  </a:lnTo>
                  <a:lnTo>
                    <a:pt x="4721" y="10622"/>
                  </a:lnTo>
                  <a:lnTo>
                    <a:pt x="4721" y="7869"/>
                  </a:lnTo>
                  <a:lnTo>
                    <a:pt x="5115" y="5114"/>
                  </a:lnTo>
                  <a:lnTo>
                    <a:pt x="2754" y="0"/>
                  </a:lnTo>
                  <a:lnTo>
                    <a:pt x="1967" y="3147"/>
                  </a:lnTo>
                  <a:lnTo>
                    <a:pt x="2361" y="6295"/>
                  </a:lnTo>
                  <a:lnTo>
                    <a:pt x="1180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05" name="Freeform: Shape 3599">
              <a:extLst>
                <a:ext uri="{FF2B5EF4-FFF2-40B4-BE49-F238E27FC236}">
                  <a16:creationId xmlns:a16="http://schemas.microsoft.com/office/drawing/2014/main" id="{C4A9D9BE-AB46-4552-B8FF-D5A947670574}"/>
                </a:ext>
              </a:extLst>
            </p:cNvPr>
            <p:cNvSpPr/>
            <p:nvPr/>
          </p:nvSpPr>
          <p:spPr>
            <a:xfrm>
              <a:off x="7183037" y="2940406"/>
              <a:ext cx="3934" cy="7869"/>
            </a:xfrm>
            <a:custGeom>
              <a:avLst/>
              <a:gdLst>
                <a:gd name="connsiteX0" fmla="*/ 3147 w 3934"/>
                <a:gd name="connsiteY0" fmla="*/ 393 h 7868"/>
                <a:gd name="connsiteX1" fmla="*/ 0 w 3934"/>
                <a:gd name="connsiteY1" fmla="*/ 0 h 7868"/>
                <a:gd name="connsiteX2" fmla="*/ 0 w 3934"/>
                <a:gd name="connsiteY2" fmla="*/ 2754 h 7868"/>
                <a:gd name="connsiteX3" fmla="*/ 1180 w 3934"/>
                <a:gd name="connsiteY3" fmla="*/ 5508 h 7868"/>
                <a:gd name="connsiteX4" fmla="*/ 3147 w 3934"/>
                <a:gd name="connsiteY4" fmla="*/ 8655 h 7868"/>
                <a:gd name="connsiteX5" fmla="*/ 3540 w 3934"/>
                <a:gd name="connsiteY5" fmla="*/ 9049 h 7868"/>
                <a:gd name="connsiteX6" fmla="*/ 6295 w 3934"/>
                <a:gd name="connsiteY6" fmla="*/ 5901 h 7868"/>
                <a:gd name="connsiteX7" fmla="*/ 5114 w 3934"/>
                <a:gd name="connsiteY7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3147" y="393"/>
                  </a:moveTo>
                  <a:lnTo>
                    <a:pt x="0" y="0"/>
                  </a:lnTo>
                  <a:lnTo>
                    <a:pt x="0" y="2754"/>
                  </a:lnTo>
                  <a:lnTo>
                    <a:pt x="1180" y="5508"/>
                  </a:lnTo>
                  <a:lnTo>
                    <a:pt x="3147" y="8655"/>
                  </a:lnTo>
                  <a:lnTo>
                    <a:pt x="3540" y="9049"/>
                  </a:lnTo>
                  <a:lnTo>
                    <a:pt x="6295" y="5901"/>
                  </a:lnTo>
                  <a:lnTo>
                    <a:pt x="511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06" name="Freeform: Shape 3600">
              <a:extLst>
                <a:ext uri="{FF2B5EF4-FFF2-40B4-BE49-F238E27FC236}">
                  <a16:creationId xmlns:a16="http://schemas.microsoft.com/office/drawing/2014/main" id="{6B38DCAA-DFB6-41D5-AE7A-F94A90D4D3BB}"/>
                </a:ext>
              </a:extLst>
            </p:cNvPr>
            <p:cNvSpPr/>
            <p:nvPr/>
          </p:nvSpPr>
          <p:spPr>
            <a:xfrm>
              <a:off x="7179497" y="2924276"/>
              <a:ext cx="7869" cy="15737"/>
            </a:xfrm>
            <a:custGeom>
              <a:avLst/>
              <a:gdLst>
                <a:gd name="connsiteX0" fmla="*/ 393 w 7868"/>
                <a:gd name="connsiteY0" fmla="*/ 3934 h 15737"/>
                <a:gd name="connsiteX1" fmla="*/ 1574 w 7868"/>
                <a:gd name="connsiteY1" fmla="*/ 7082 h 15737"/>
                <a:gd name="connsiteX2" fmla="*/ 2754 w 7868"/>
                <a:gd name="connsiteY2" fmla="*/ 9836 h 15737"/>
                <a:gd name="connsiteX3" fmla="*/ 4721 w 7868"/>
                <a:gd name="connsiteY3" fmla="*/ 12590 h 15737"/>
                <a:gd name="connsiteX4" fmla="*/ 7475 w 7868"/>
                <a:gd name="connsiteY4" fmla="*/ 15344 h 15737"/>
                <a:gd name="connsiteX5" fmla="*/ 7869 w 7868"/>
                <a:gd name="connsiteY5" fmla="*/ 16131 h 15737"/>
                <a:gd name="connsiteX6" fmla="*/ 0 w 7868"/>
                <a:gd name="connsiteY6" fmla="*/ 0 h 15737"/>
                <a:gd name="connsiteX7" fmla="*/ 0 w 7868"/>
                <a:gd name="connsiteY7" fmla="*/ 78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15737">
                  <a:moveTo>
                    <a:pt x="393" y="3934"/>
                  </a:moveTo>
                  <a:lnTo>
                    <a:pt x="1574" y="7082"/>
                  </a:lnTo>
                  <a:lnTo>
                    <a:pt x="2754" y="9836"/>
                  </a:lnTo>
                  <a:lnTo>
                    <a:pt x="4721" y="12590"/>
                  </a:lnTo>
                  <a:lnTo>
                    <a:pt x="7475" y="15344"/>
                  </a:lnTo>
                  <a:lnTo>
                    <a:pt x="7869" y="16131"/>
                  </a:lnTo>
                  <a:lnTo>
                    <a:pt x="0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07" name="Freeform: Shape 3601">
              <a:extLst>
                <a:ext uri="{FF2B5EF4-FFF2-40B4-BE49-F238E27FC236}">
                  <a16:creationId xmlns:a16="http://schemas.microsoft.com/office/drawing/2014/main" id="{E1844B20-1D86-4CFE-B3E4-EC373CA37478}"/>
                </a:ext>
              </a:extLst>
            </p:cNvPr>
            <p:cNvSpPr/>
            <p:nvPr/>
          </p:nvSpPr>
          <p:spPr>
            <a:xfrm>
              <a:off x="7172415" y="2918768"/>
              <a:ext cx="3934" cy="7869"/>
            </a:xfrm>
            <a:custGeom>
              <a:avLst/>
              <a:gdLst>
                <a:gd name="connsiteX0" fmla="*/ 3541 w 3934"/>
                <a:gd name="connsiteY0" fmla="*/ 8655 h 7868"/>
                <a:gd name="connsiteX1" fmla="*/ 5115 w 3934"/>
                <a:gd name="connsiteY1" fmla="*/ 5901 h 7868"/>
                <a:gd name="connsiteX2" fmla="*/ 4328 w 3934"/>
                <a:gd name="connsiteY2" fmla="*/ 2754 h 7868"/>
                <a:gd name="connsiteX3" fmla="*/ 3541 w 3934"/>
                <a:gd name="connsiteY3" fmla="*/ 0 h 7868"/>
                <a:gd name="connsiteX4" fmla="*/ 787 w 3934"/>
                <a:gd name="connsiteY4" fmla="*/ 393 h 7868"/>
                <a:gd name="connsiteX5" fmla="*/ 0 w 3934"/>
                <a:gd name="connsiteY5" fmla="*/ 3147 h 7868"/>
                <a:gd name="connsiteX6" fmla="*/ 1574 w 3934"/>
                <a:gd name="connsiteY6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3541" y="8655"/>
                  </a:moveTo>
                  <a:lnTo>
                    <a:pt x="5115" y="5901"/>
                  </a:lnTo>
                  <a:lnTo>
                    <a:pt x="4328" y="2754"/>
                  </a:lnTo>
                  <a:lnTo>
                    <a:pt x="3541" y="0"/>
                  </a:lnTo>
                  <a:lnTo>
                    <a:pt x="787" y="393"/>
                  </a:lnTo>
                  <a:lnTo>
                    <a:pt x="0" y="3147"/>
                  </a:lnTo>
                  <a:lnTo>
                    <a:pt x="1574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08" name="Freeform: Shape 3602">
              <a:extLst>
                <a:ext uri="{FF2B5EF4-FFF2-40B4-BE49-F238E27FC236}">
                  <a16:creationId xmlns:a16="http://schemas.microsoft.com/office/drawing/2014/main" id="{D8ADEC69-B684-4409-8F0A-D23C014CAC6E}"/>
                </a:ext>
              </a:extLst>
            </p:cNvPr>
            <p:cNvSpPr/>
            <p:nvPr/>
          </p:nvSpPr>
          <p:spPr>
            <a:xfrm>
              <a:off x="7162186" y="2908539"/>
              <a:ext cx="7869" cy="7869"/>
            </a:xfrm>
            <a:custGeom>
              <a:avLst/>
              <a:gdLst>
                <a:gd name="connsiteX0" fmla="*/ 3541 w 7868"/>
                <a:gd name="connsiteY0" fmla="*/ 5114 h 7868"/>
                <a:gd name="connsiteX1" fmla="*/ 6688 w 7868"/>
                <a:gd name="connsiteY1" fmla="*/ 6688 h 7868"/>
                <a:gd name="connsiteX2" fmla="*/ 9442 w 7868"/>
                <a:gd name="connsiteY2" fmla="*/ 8262 h 7868"/>
                <a:gd name="connsiteX3" fmla="*/ 10229 w 7868"/>
                <a:gd name="connsiteY3" fmla="*/ 5114 h 7868"/>
                <a:gd name="connsiteX4" fmla="*/ 9836 w 7868"/>
                <a:gd name="connsiteY4" fmla="*/ 4328 h 7868"/>
                <a:gd name="connsiteX5" fmla="*/ 0 w 7868"/>
                <a:gd name="connsiteY5" fmla="*/ 0 h 7868"/>
                <a:gd name="connsiteX6" fmla="*/ 787 w 7868"/>
                <a:gd name="connsiteY6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7868">
                  <a:moveTo>
                    <a:pt x="3541" y="5114"/>
                  </a:moveTo>
                  <a:lnTo>
                    <a:pt x="6688" y="6688"/>
                  </a:lnTo>
                  <a:lnTo>
                    <a:pt x="9442" y="8262"/>
                  </a:lnTo>
                  <a:lnTo>
                    <a:pt x="10229" y="5114"/>
                  </a:lnTo>
                  <a:lnTo>
                    <a:pt x="9836" y="4328"/>
                  </a:lnTo>
                  <a:lnTo>
                    <a:pt x="0" y="0"/>
                  </a:lnTo>
                  <a:lnTo>
                    <a:pt x="78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09" name="Freeform: Shape 3603">
              <a:extLst>
                <a:ext uri="{FF2B5EF4-FFF2-40B4-BE49-F238E27FC236}">
                  <a16:creationId xmlns:a16="http://schemas.microsoft.com/office/drawing/2014/main" id="{FEEAA8A6-F3D8-4C5E-BDC0-F7457254B95C}"/>
                </a:ext>
              </a:extLst>
            </p:cNvPr>
            <p:cNvSpPr/>
            <p:nvPr/>
          </p:nvSpPr>
          <p:spPr>
            <a:xfrm>
              <a:off x="9573496" y="2865262"/>
              <a:ext cx="43277" cy="110159"/>
            </a:xfrm>
            <a:custGeom>
              <a:avLst/>
              <a:gdLst>
                <a:gd name="connsiteX0" fmla="*/ 7869 w 43276"/>
                <a:gd name="connsiteY0" fmla="*/ 32261 h 110159"/>
                <a:gd name="connsiteX1" fmla="*/ 7476 w 43276"/>
                <a:gd name="connsiteY1" fmla="*/ 35015 h 110159"/>
                <a:gd name="connsiteX2" fmla="*/ 7082 w 43276"/>
                <a:gd name="connsiteY2" fmla="*/ 36589 h 110159"/>
                <a:gd name="connsiteX3" fmla="*/ 5509 w 43276"/>
                <a:gd name="connsiteY3" fmla="*/ 39736 h 110159"/>
                <a:gd name="connsiteX4" fmla="*/ 4328 w 43276"/>
                <a:gd name="connsiteY4" fmla="*/ 42490 h 110159"/>
                <a:gd name="connsiteX5" fmla="*/ 3541 w 43276"/>
                <a:gd name="connsiteY5" fmla="*/ 45244 h 110159"/>
                <a:gd name="connsiteX6" fmla="*/ 2361 w 43276"/>
                <a:gd name="connsiteY6" fmla="*/ 48391 h 110159"/>
                <a:gd name="connsiteX7" fmla="*/ 2361 w 43276"/>
                <a:gd name="connsiteY7" fmla="*/ 49178 h 110159"/>
                <a:gd name="connsiteX8" fmla="*/ 1180 w 43276"/>
                <a:gd name="connsiteY8" fmla="*/ 51932 h 110159"/>
                <a:gd name="connsiteX9" fmla="*/ 0 w 43276"/>
                <a:gd name="connsiteY9" fmla="*/ 54686 h 110159"/>
                <a:gd name="connsiteX10" fmla="*/ 394 w 43276"/>
                <a:gd name="connsiteY10" fmla="*/ 57834 h 110159"/>
                <a:gd name="connsiteX11" fmla="*/ 788 w 43276"/>
                <a:gd name="connsiteY11" fmla="*/ 59801 h 110159"/>
                <a:gd name="connsiteX12" fmla="*/ 2361 w 43276"/>
                <a:gd name="connsiteY12" fmla="*/ 66882 h 110159"/>
                <a:gd name="connsiteX13" fmla="*/ 1574 w 43276"/>
                <a:gd name="connsiteY13" fmla="*/ 69637 h 110159"/>
                <a:gd name="connsiteX14" fmla="*/ 1180 w 43276"/>
                <a:gd name="connsiteY14" fmla="*/ 72390 h 110159"/>
                <a:gd name="connsiteX15" fmla="*/ 2361 w 43276"/>
                <a:gd name="connsiteY15" fmla="*/ 74751 h 110159"/>
                <a:gd name="connsiteX16" fmla="*/ 5901 w 43276"/>
                <a:gd name="connsiteY16" fmla="*/ 80652 h 110159"/>
                <a:gd name="connsiteX17" fmla="*/ 7476 w 43276"/>
                <a:gd name="connsiteY17" fmla="*/ 83406 h 110159"/>
                <a:gd name="connsiteX18" fmla="*/ 7869 w 43276"/>
                <a:gd name="connsiteY18" fmla="*/ 84587 h 110159"/>
                <a:gd name="connsiteX19" fmla="*/ 9443 w 43276"/>
                <a:gd name="connsiteY19" fmla="*/ 87341 h 110159"/>
                <a:gd name="connsiteX20" fmla="*/ 10229 w 43276"/>
                <a:gd name="connsiteY20" fmla="*/ 90095 h 110159"/>
                <a:gd name="connsiteX21" fmla="*/ 12983 w 43276"/>
                <a:gd name="connsiteY21" fmla="*/ 93242 h 110159"/>
                <a:gd name="connsiteX22" fmla="*/ 14164 w 43276"/>
                <a:gd name="connsiteY22" fmla="*/ 94422 h 110159"/>
                <a:gd name="connsiteX23" fmla="*/ 16131 w 43276"/>
                <a:gd name="connsiteY23" fmla="*/ 95209 h 110159"/>
                <a:gd name="connsiteX24" fmla="*/ 18885 w 43276"/>
                <a:gd name="connsiteY24" fmla="*/ 97176 h 110159"/>
                <a:gd name="connsiteX25" fmla="*/ 21638 w 43276"/>
                <a:gd name="connsiteY25" fmla="*/ 99930 h 110159"/>
                <a:gd name="connsiteX26" fmla="*/ 23999 w 43276"/>
                <a:gd name="connsiteY26" fmla="*/ 102684 h 110159"/>
                <a:gd name="connsiteX27" fmla="*/ 25573 w 43276"/>
                <a:gd name="connsiteY27" fmla="*/ 105832 h 110159"/>
                <a:gd name="connsiteX28" fmla="*/ 26360 w 43276"/>
                <a:gd name="connsiteY28" fmla="*/ 108586 h 110159"/>
                <a:gd name="connsiteX29" fmla="*/ 27147 w 43276"/>
                <a:gd name="connsiteY29" fmla="*/ 111340 h 110159"/>
                <a:gd name="connsiteX30" fmla="*/ 29901 w 43276"/>
                <a:gd name="connsiteY30" fmla="*/ 113307 h 110159"/>
                <a:gd name="connsiteX31" fmla="*/ 32262 w 43276"/>
                <a:gd name="connsiteY31" fmla="*/ 110553 h 110159"/>
                <a:gd name="connsiteX32" fmla="*/ 31474 w 43276"/>
                <a:gd name="connsiteY32" fmla="*/ 107405 h 110159"/>
                <a:gd name="connsiteX33" fmla="*/ 31081 w 43276"/>
                <a:gd name="connsiteY33" fmla="*/ 104258 h 110159"/>
                <a:gd name="connsiteX34" fmla="*/ 31081 w 43276"/>
                <a:gd name="connsiteY34" fmla="*/ 103865 h 110159"/>
                <a:gd name="connsiteX35" fmla="*/ 36589 w 43276"/>
                <a:gd name="connsiteY35" fmla="*/ 84980 h 110159"/>
                <a:gd name="connsiteX36" fmla="*/ 36983 w 43276"/>
                <a:gd name="connsiteY36" fmla="*/ 82226 h 110159"/>
                <a:gd name="connsiteX37" fmla="*/ 38556 w 43276"/>
                <a:gd name="connsiteY37" fmla="*/ 79472 h 110159"/>
                <a:gd name="connsiteX38" fmla="*/ 39343 w 43276"/>
                <a:gd name="connsiteY38" fmla="*/ 76325 h 110159"/>
                <a:gd name="connsiteX39" fmla="*/ 40523 w 43276"/>
                <a:gd name="connsiteY39" fmla="*/ 73571 h 110159"/>
                <a:gd name="connsiteX40" fmla="*/ 40130 w 43276"/>
                <a:gd name="connsiteY40" fmla="*/ 70817 h 110159"/>
                <a:gd name="connsiteX41" fmla="*/ 40523 w 43276"/>
                <a:gd name="connsiteY41" fmla="*/ 67669 h 110159"/>
                <a:gd name="connsiteX42" fmla="*/ 41310 w 43276"/>
                <a:gd name="connsiteY42" fmla="*/ 64915 h 110159"/>
                <a:gd name="connsiteX43" fmla="*/ 41310 w 43276"/>
                <a:gd name="connsiteY43" fmla="*/ 62948 h 110159"/>
                <a:gd name="connsiteX44" fmla="*/ 41310 w 43276"/>
                <a:gd name="connsiteY44" fmla="*/ 48785 h 110159"/>
                <a:gd name="connsiteX45" fmla="*/ 41704 w 43276"/>
                <a:gd name="connsiteY45" fmla="*/ 48391 h 110159"/>
                <a:gd name="connsiteX46" fmla="*/ 41704 w 43276"/>
                <a:gd name="connsiteY46" fmla="*/ 46031 h 110159"/>
                <a:gd name="connsiteX47" fmla="*/ 44065 w 43276"/>
                <a:gd name="connsiteY47" fmla="*/ 33441 h 110159"/>
                <a:gd name="connsiteX48" fmla="*/ 43671 w 43276"/>
                <a:gd name="connsiteY48" fmla="*/ 30294 h 110159"/>
                <a:gd name="connsiteX49" fmla="*/ 44851 w 43276"/>
                <a:gd name="connsiteY49" fmla="*/ 27540 h 110159"/>
                <a:gd name="connsiteX50" fmla="*/ 44851 w 43276"/>
                <a:gd name="connsiteY50" fmla="*/ 24392 h 110159"/>
                <a:gd name="connsiteX51" fmla="*/ 43277 w 43276"/>
                <a:gd name="connsiteY51" fmla="*/ 21638 h 110159"/>
                <a:gd name="connsiteX52" fmla="*/ 42884 w 43276"/>
                <a:gd name="connsiteY52" fmla="*/ 19671 h 110159"/>
                <a:gd name="connsiteX53" fmla="*/ 44851 w 43276"/>
                <a:gd name="connsiteY53" fmla="*/ 10229 h 110159"/>
                <a:gd name="connsiteX54" fmla="*/ 42884 w 43276"/>
                <a:gd name="connsiteY54" fmla="*/ 7082 h 110159"/>
                <a:gd name="connsiteX55" fmla="*/ 40130 w 43276"/>
                <a:gd name="connsiteY55" fmla="*/ 5114 h 110159"/>
                <a:gd name="connsiteX56" fmla="*/ 39343 w 43276"/>
                <a:gd name="connsiteY56" fmla="*/ 5114 h 110159"/>
                <a:gd name="connsiteX57" fmla="*/ 35802 w 43276"/>
                <a:gd name="connsiteY57" fmla="*/ 3541 h 110159"/>
                <a:gd name="connsiteX58" fmla="*/ 33048 w 43276"/>
                <a:gd name="connsiteY58" fmla="*/ 787 h 110159"/>
                <a:gd name="connsiteX59" fmla="*/ 30295 w 43276"/>
                <a:gd name="connsiteY59" fmla="*/ 0 h 110159"/>
                <a:gd name="connsiteX60" fmla="*/ 27540 w 43276"/>
                <a:gd name="connsiteY60" fmla="*/ 2754 h 110159"/>
                <a:gd name="connsiteX61" fmla="*/ 24786 w 43276"/>
                <a:gd name="connsiteY61" fmla="*/ 5114 h 110159"/>
                <a:gd name="connsiteX62" fmla="*/ 23999 w 43276"/>
                <a:gd name="connsiteY62" fmla="*/ 5114 h 110159"/>
                <a:gd name="connsiteX63" fmla="*/ 21246 w 43276"/>
                <a:gd name="connsiteY63" fmla="*/ 6688 h 110159"/>
                <a:gd name="connsiteX64" fmla="*/ 18098 w 43276"/>
                <a:gd name="connsiteY64" fmla="*/ 8262 h 110159"/>
                <a:gd name="connsiteX65" fmla="*/ 16525 w 43276"/>
                <a:gd name="connsiteY65" fmla="*/ 11016 h 110159"/>
                <a:gd name="connsiteX66" fmla="*/ 16525 w 43276"/>
                <a:gd name="connsiteY66" fmla="*/ 11409 h 110159"/>
                <a:gd name="connsiteX67" fmla="*/ 15344 w 43276"/>
                <a:gd name="connsiteY67" fmla="*/ 14557 h 110159"/>
                <a:gd name="connsiteX68" fmla="*/ 14950 w 43276"/>
                <a:gd name="connsiteY68" fmla="*/ 18098 h 110159"/>
                <a:gd name="connsiteX69" fmla="*/ 14164 w 43276"/>
                <a:gd name="connsiteY69" fmla="*/ 20458 h 110159"/>
                <a:gd name="connsiteX70" fmla="*/ 11410 w 43276"/>
                <a:gd name="connsiteY70" fmla="*/ 22425 h 110159"/>
                <a:gd name="connsiteX71" fmla="*/ 10229 w 43276"/>
                <a:gd name="connsiteY71" fmla="*/ 25573 h 110159"/>
                <a:gd name="connsiteX72" fmla="*/ 9443 w 43276"/>
                <a:gd name="connsiteY72" fmla="*/ 28327 h 110159"/>
                <a:gd name="connsiteX73" fmla="*/ 8262 w 43276"/>
                <a:gd name="connsiteY73" fmla="*/ 31081 h 11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276" h="110159">
                  <a:moveTo>
                    <a:pt x="7869" y="32261"/>
                  </a:moveTo>
                  <a:lnTo>
                    <a:pt x="7476" y="35015"/>
                  </a:lnTo>
                  <a:lnTo>
                    <a:pt x="7082" y="36589"/>
                  </a:lnTo>
                  <a:lnTo>
                    <a:pt x="5509" y="39736"/>
                  </a:lnTo>
                  <a:lnTo>
                    <a:pt x="4328" y="42490"/>
                  </a:lnTo>
                  <a:lnTo>
                    <a:pt x="3541" y="45244"/>
                  </a:lnTo>
                  <a:lnTo>
                    <a:pt x="2361" y="48391"/>
                  </a:lnTo>
                  <a:lnTo>
                    <a:pt x="2361" y="49178"/>
                  </a:lnTo>
                  <a:lnTo>
                    <a:pt x="1180" y="51932"/>
                  </a:lnTo>
                  <a:lnTo>
                    <a:pt x="0" y="54686"/>
                  </a:lnTo>
                  <a:lnTo>
                    <a:pt x="394" y="57834"/>
                  </a:lnTo>
                  <a:lnTo>
                    <a:pt x="788" y="59801"/>
                  </a:lnTo>
                  <a:lnTo>
                    <a:pt x="2361" y="66882"/>
                  </a:lnTo>
                  <a:lnTo>
                    <a:pt x="1574" y="69637"/>
                  </a:lnTo>
                  <a:lnTo>
                    <a:pt x="1180" y="72390"/>
                  </a:lnTo>
                  <a:lnTo>
                    <a:pt x="2361" y="74751"/>
                  </a:lnTo>
                  <a:lnTo>
                    <a:pt x="5901" y="80652"/>
                  </a:lnTo>
                  <a:lnTo>
                    <a:pt x="7476" y="83406"/>
                  </a:lnTo>
                  <a:lnTo>
                    <a:pt x="7869" y="84587"/>
                  </a:lnTo>
                  <a:lnTo>
                    <a:pt x="9443" y="87341"/>
                  </a:lnTo>
                  <a:lnTo>
                    <a:pt x="10229" y="90095"/>
                  </a:lnTo>
                  <a:lnTo>
                    <a:pt x="12983" y="93242"/>
                  </a:lnTo>
                  <a:lnTo>
                    <a:pt x="14164" y="94422"/>
                  </a:lnTo>
                  <a:lnTo>
                    <a:pt x="16131" y="95209"/>
                  </a:lnTo>
                  <a:lnTo>
                    <a:pt x="18885" y="97176"/>
                  </a:lnTo>
                  <a:lnTo>
                    <a:pt x="21638" y="99930"/>
                  </a:lnTo>
                  <a:lnTo>
                    <a:pt x="23999" y="102684"/>
                  </a:lnTo>
                  <a:lnTo>
                    <a:pt x="25573" y="105832"/>
                  </a:lnTo>
                  <a:lnTo>
                    <a:pt x="26360" y="108586"/>
                  </a:lnTo>
                  <a:lnTo>
                    <a:pt x="27147" y="111340"/>
                  </a:lnTo>
                  <a:lnTo>
                    <a:pt x="29901" y="113307"/>
                  </a:lnTo>
                  <a:lnTo>
                    <a:pt x="32262" y="110553"/>
                  </a:lnTo>
                  <a:lnTo>
                    <a:pt x="31474" y="107405"/>
                  </a:lnTo>
                  <a:lnTo>
                    <a:pt x="31081" y="104258"/>
                  </a:lnTo>
                  <a:lnTo>
                    <a:pt x="31081" y="103865"/>
                  </a:lnTo>
                  <a:lnTo>
                    <a:pt x="36589" y="84980"/>
                  </a:lnTo>
                  <a:lnTo>
                    <a:pt x="36983" y="82226"/>
                  </a:lnTo>
                  <a:lnTo>
                    <a:pt x="38556" y="79472"/>
                  </a:lnTo>
                  <a:lnTo>
                    <a:pt x="39343" y="76325"/>
                  </a:lnTo>
                  <a:lnTo>
                    <a:pt x="40523" y="73571"/>
                  </a:lnTo>
                  <a:lnTo>
                    <a:pt x="40130" y="70817"/>
                  </a:lnTo>
                  <a:lnTo>
                    <a:pt x="40523" y="67669"/>
                  </a:lnTo>
                  <a:lnTo>
                    <a:pt x="41310" y="64915"/>
                  </a:lnTo>
                  <a:lnTo>
                    <a:pt x="41310" y="62948"/>
                  </a:lnTo>
                  <a:lnTo>
                    <a:pt x="41310" y="48785"/>
                  </a:lnTo>
                  <a:lnTo>
                    <a:pt x="41704" y="48391"/>
                  </a:lnTo>
                  <a:lnTo>
                    <a:pt x="41704" y="46031"/>
                  </a:lnTo>
                  <a:lnTo>
                    <a:pt x="44065" y="33441"/>
                  </a:lnTo>
                  <a:lnTo>
                    <a:pt x="43671" y="30294"/>
                  </a:lnTo>
                  <a:lnTo>
                    <a:pt x="44851" y="27540"/>
                  </a:lnTo>
                  <a:lnTo>
                    <a:pt x="44851" y="24392"/>
                  </a:lnTo>
                  <a:lnTo>
                    <a:pt x="43277" y="21638"/>
                  </a:lnTo>
                  <a:lnTo>
                    <a:pt x="42884" y="19671"/>
                  </a:lnTo>
                  <a:lnTo>
                    <a:pt x="44851" y="10229"/>
                  </a:lnTo>
                  <a:lnTo>
                    <a:pt x="42884" y="7082"/>
                  </a:lnTo>
                  <a:lnTo>
                    <a:pt x="40130" y="5114"/>
                  </a:lnTo>
                  <a:lnTo>
                    <a:pt x="39343" y="5114"/>
                  </a:lnTo>
                  <a:lnTo>
                    <a:pt x="35802" y="3541"/>
                  </a:lnTo>
                  <a:lnTo>
                    <a:pt x="33048" y="787"/>
                  </a:lnTo>
                  <a:lnTo>
                    <a:pt x="30295" y="0"/>
                  </a:lnTo>
                  <a:lnTo>
                    <a:pt x="27540" y="2754"/>
                  </a:lnTo>
                  <a:lnTo>
                    <a:pt x="24786" y="5114"/>
                  </a:lnTo>
                  <a:lnTo>
                    <a:pt x="23999" y="5114"/>
                  </a:lnTo>
                  <a:lnTo>
                    <a:pt x="21246" y="6688"/>
                  </a:lnTo>
                  <a:lnTo>
                    <a:pt x="18098" y="8262"/>
                  </a:lnTo>
                  <a:lnTo>
                    <a:pt x="16525" y="11016"/>
                  </a:lnTo>
                  <a:lnTo>
                    <a:pt x="16525" y="11409"/>
                  </a:lnTo>
                  <a:lnTo>
                    <a:pt x="15344" y="14557"/>
                  </a:lnTo>
                  <a:lnTo>
                    <a:pt x="14950" y="18098"/>
                  </a:lnTo>
                  <a:lnTo>
                    <a:pt x="14164" y="20458"/>
                  </a:lnTo>
                  <a:lnTo>
                    <a:pt x="11410" y="22425"/>
                  </a:lnTo>
                  <a:lnTo>
                    <a:pt x="10229" y="25573"/>
                  </a:lnTo>
                  <a:lnTo>
                    <a:pt x="9443" y="28327"/>
                  </a:lnTo>
                  <a:lnTo>
                    <a:pt x="8262" y="3108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10" name="Freeform: Shape 3604">
              <a:extLst>
                <a:ext uri="{FF2B5EF4-FFF2-40B4-BE49-F238E27FC236}">
                  <a16:creationId xmlns:a16="http://schemas.microsoft.com/office/drawing/2014/main" id="{07A80E51-CA4B-4A0A-B0E9-E519C187D0BD}"/>
                </a:ext>
              </a:extLst>
            </p:cNvPr>
            <p:cNvSpPr/>
            <p:nvPr/>
          </p:nvSpPr>
          <p:spPr>
            <a:xfrm>
              <a:off x="8736285" y="2956144"/>
              <a:ext cx="3934" cy="7869"/>
            </a:xfrm>
            <a:custGeom>
              <a:avLst/>
              <a:gdLst>
                <a:gd name="connsiteX0" fmla="*/ 393 w 3934"/>
                <a:gd name="connsiteY0" fmla="*/ 0 h 7868"/>
                <a:gd name="connsiteX1" fmla="*/ 0 w 3934"/>
                <a:gd name="connsiteY1" fmla="*/ 3147 h 7868"/>
                <a:gd name="connsiteX2" fmla="*/ 1180 w 3934"/>
                <a:gd name="connsiteY2" fmla="*/ 5901 h 7868"/>
                <a:gd name="connsiteX3" fmla="*/ 3934 w 3934"/>
                <a:gd name="connsiteY3" fmla="*/ 8655 h 7868"/>
                <a:gd name="connsiteX4" fmla="*/ 4721 w 3934"/>
                <a:gd name="connsiteY4" fmla="*/ 8262 h 7868"/>
                <a:gd name="connsiteX5" fmla="*/ 4721 w 3934"/>
                <a:gd name="connsiteY5" fmla="*/ 5508 h 7868"/>
                <a:gd name="connsiteX6" fmla="*/ 3148 w 3934"/>
                <a:gd name="connsiteY6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393" y="0"/>
                  </a:moveTo>
                  <a:lnTo>
                    <a:pt x="0" y="3147"/>
                  </a:lnTo>
                  <a:lnTo>
                    <a:pt x="1180" y="5901"/>
                  </a:lnTo>
                  <a:lnTo>
                    <a:pt x="3934" y="8655"/>
                  </a:lnTo>
                  <a:lnTo>
                    <a:pt x="4721" y="8262"/>
                  </a:lnTo>
                  <a:lnTo>
                    <a:pt x="4721" y="5508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11" name="Freeform: Shape 3605">
              <a:extLst>
                <a:ext uri="{FF2B5EF4-FFF2-40B4-BE49-F238E27FC236}">
                  <a16:creationId xmlns:a16="http://schemas.microsoft.com/office/drawing/2014/main" id="{DEF567F3-D703-4064-BE91-4C789C3B8D9F}"/>
                </a:ext>
              </a:extLst>
            </p:cNvPr>
            <p:cNvSpPr/>
            <p:nvPr/>
          </p:nvSpPr>
          <p:spPr>
            <a:xfrm>
              <a:off x="8703631" y="2930177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2754 w 3934"/>
                <a:gd name="connsiteY1" fmla="*/ 1574 h 0"/>
                <a:gd name="connsiteX2" fmla="*/ 5114 w 3934"/>
                <a:gd name="connsiteY2" fmla="*/ 1967 h 0"/>
                <a:gd name="connsiteX3" fmla="*/ 2360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2754" y="1574"/>
                  </a:lnTo>
                  <a:lnTo>
                    <a:pt x="5114" y="1967"/>
                  </a:lnTo>
                  <a:lnTo>
                    <a:pt x="236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12" name="Freeform: Shape 3606">
              <a:extLst>
                <a:ext uri="{FF2B5EF4-FFF2-40B4-BE49-F238E27FC236}">
                  <a16:creationId xmlns:a16="http://schemas.microsoft.com/office/drawing/2014/main" id="{D787FC37-AAE1-4467-B10D-885A161539F9}"/>
                </a:ext>
              </a:extLst>
            </p:cNvPr>
            <p:cNvSpPr/>
            <p:nvPr/>
          </p:nvSpPr>
          <p:spPr>
            <a:xfrm>
              <a:off x="8641469" y="2980929"/>
              <a:ext cx="3934" cy="3934"/>
            </a:xfrm>
            <a:custGeom>
              <a:avLst/>
              <a:gdLst>
                <a:gd name="connsiteX0" fmla="*/ 1180 w 0"/>
                <a:gd name="connsiteY0" fmla="*/ 0 h 3934"/>
                <a:gd name="connsiteX1" fmla="*/ 393 w 0"/>
                <a:gd name="connsiteY1" fmla="*/ 2754 h 3934"/>
                <a:gd name="connsiteX2" fmla="*/ 0 w 0"/>
                <a:gd name="connsiteY2" fmla="*/ 3934 h 3934"/>
                <a:gd name="connsiteX3" fmla="*/ 2360 w 0"/>
                <a:gd name="connsiteY3" fmla="*/ 6688 h 3934"/>
                <a:gd name="connsiteX4" fmla="*/ 2754 w 0"/>
                <a:gd name="connsiteY4" fmla="*/ 5901 h 3934"/>
                <a:gd name="connsiteX5" fmla="*/ 2754 w 0"/>
                <a:gd name="connsiteY5" fmla="*/ 3147 h 3934"/>
                <a:gd name="connsiteX6" fmla="*/ 1574 w 0"/>
                <a:gd name="connsiteY6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3934">
                  <a:moveTo>
                    <a:pt x="1180" y="0"/>
                  </a:moveTo>
                  <a:lnTo>
                    <a:pt x="393" y="2754"/>
                  </a:lnTo>
                  <a:lnTo>
                    <a:pt x="0" y="3934"/>
                  </a:lnTo>
                  <a:lnTo>
                    <a:pt x="2360" y="6688"/>
                  </a:lnTo>
                  <a:lnTo>
                    <a:pt x="2754" y="5901"/>
                  </a:lnTo>
                  <a:lnTo>
                    <a:pt x="2754" y="3147"/>
                  </a:lnTo>
                  <a:lnTo>
                    <a:pt x="157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13" name="Freeform: Shape 3607">
              <a:extLst>
                <a:ext uri="{FF2B5EF4-FFF2-40B4-BE49-F238E27FC236}">
                  <a16:creationId xmlns:a16="http://schemas.microsoft.com/office/drawing/2014/main" id="{9633CF77-3DBC-4727-A879-35A7B6B9C622}"/>
                </a:ext>
              </a:extLst>
            </p:cNvPr>
            <p:cNvSpPr/>
            <p:nvPr/>
          </p:nvSpPr>
          <p:spPr>
            <a:xfrm>
              <a:off x="7778685" y="3021452"/>
              <a:ext cx="7869" cy="15737"/>
            </a:xfrm>
            <a:custGeom>
              <a:avLst/>
              <a:gdLst>
                <a:gd name="connsiteX0" fmla="*/ 6295 w 7868"/>
                <a:gd name="connsiteY0" fmla="*/ 0 h 15737"/>
                <a:gd name="connsiteX1" fmla="*/ 5508 w 7868"/>
                <a:gd name="connsiteY1" fmla="*/ 2754 h 15737"/>
                <a:gd name="connsiteX2" fmla="*/ 3934 w 7868"/>
                <a:gd name="connsiteY2" fmla="*/ 5901 h 15737"/>
                <a:gd name="connsiteX3" fmla="*/ 1574 w 7868"/>
                <a:gd name="connsiteY3" fmla="*/ 9049 h 15737"/>
                <a:gd name="connsiteX4" fmla="*/ 0 w 7868"/>
                <a:gd name="connsiteY4" fmla="*/ 11803 h 15737"/>
                <a:gd name="connsiteX5" fmla="*/ 0 w 7868"/>
                <a:gd name="connsiteY5" fmla="*/ 14557 h 15737"/>
                <a:gd name="connsiteX6" fmla="*/ 787 w 7868"/>
                <a:gd name="connsiteY6" fmla="*/ 17704 h 15737"/>
                <a:gd name="connsiteX7" fmla="*/ 1574 w 7868"/>
                <a:gd name="connsiteY7" fmla="*/ 16917 h 15737"/>
                <a:gd name="connsiteX8" fmla="*/ 4328 w 7868"/>
                <a:gd name="connsiteY8" fmla="*/ 13770 h 15737"/>
                <a:gd name="connsiteX9" fmla="*/ 4721 w 7868"/>
                <a:gd name="connsiteY9" fmla="*/ 11016 h 15737"/>
                <a:gd name="connsiteX10" fmla="*/ 5901 w 7868"/>
                <a:gd name="connsiteY10" fmla="*/ 8262 h 15737"/>
                <a:gd name="connsiteX11" fmla="*/ 8656 w 7868"/>
                <a:gd name="connsiteY11" fmla="*/ 5901 h 15737"/>
                <a:gd name="connsiteX12" fmla="*/ 7082 w 7868"/>
                <a:gd name="connsiteY12" fmla="*/ 2754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868" h="15737">
                  <a:moveTo>
                    <a:pt x="6295" y="0"/>
                  </a:moveTo>
                  <a:lnTo>
                    <a:pt x="5508" y="2754"/>
                  </a:lnTo>
                  <a:lnTo>
                    <a:pt x="3934" y="5901"/>
                  </a:lnTo>
                  <a:lnTo>
                    <a:pt x="1574" y="9049"/>
                  </a:lnTo>
                  <a:lnTo>
                    <a:pt x="0" y="11803"/>
                  </a:lnTo>
                  <a:lnTo>
                    <a:pt x="0" y="14557"/>
                  </a:lnTo>
                  <a:lnTo>
                    <a:pt x="787" y="17704"/>
                  </a:lnTo>
                  <a:lnTo>
                    <a:pt x="1574" y="16917"/>
                  </a:lnTo>
                  <a:lnTo>
                    <a:pt x="4328" y="13770"/>
                  </a:lnTo>
                  <a:lnTo>
                    <a:pt x="4721" y="11016"/>
                  </a:lnTo>
                  <a:lnTo>
                    <a:pt x="5901" y="8262"/>
                  </a:lnTo>
                  <a:lnTo>
                    <a:pt x="8656" y="5901"/>
                  </a:lnTo>
                  <a:lnTo>
                    <a:pt x="7082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14" name="Freeform: Shape 3608">
              <a:extLst>
                <a:ext uri="{FF2B5EF4-FFF2-40B4-BE49-F238E27FC236}">
                  <a16:creationId xmlns:a16="http://schemas.microsoft.com/office/drawing/2014/main" id="{2DBAB8DC-5166-4466-85E2-2A33F1A396BE}"/>
                </a:ext>
              </a:extLst>
            </p:cNvPr>
            <p:cNvSpPr/>
            <p:nvPr/>
          </p:nvSpPr>
          <p:spPr>
            <a:xfrm>
              <a:off x="7590234" y="2896736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1573 w 0"/>
                <a:gd name="connsiteY1" fmla="*/ 275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1573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15" name="Freeform: Shape 3609">
              <a:extLst>
                <a:ext uri="{FF2B5EF4-FFF2-40B4-BE49-F238E27FC236}">
                  <a16:creationId xmlns:a16="http://schemas.microsoft.com/office/drawing/2014/main" id="{082577F7-FB4D-4151-B08E-7FFC3A7ABE86}"/>
                </a:ext>
              </a:extLst>
            </p:cNvPr>
            <p:cNvSpPr/>
            <p:nvPr/>
          </p:nvSpPr>
          <p:spPr>
            <a:xfrm>
              <a:off x="7641773" y="2893195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3541 w 0"/>
                <a:gd name="connsiteY1" fmla="*/ 1180 h 0"/>
                <a:gd name="connsiteX2" fmla="*/ 2754 w 0"/>
                <a:gd name="connsiteY2" fmla="*/ 0 h 0"/>
                <a:gd name="connsiteX3" fmla="*/ 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3541" y="1180"/>
                  </a:ln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16" name="Freeform: Shape 3610">
              <a:extLst>
                <a:ext uri="{FF2B5EF4-FFF2-40B4-BE49-F238E27FC236}">
                  <a16:creationId xmlns:a16="http://schemas.microsoft.com/office/drawing/2014/main" id="{3E677688-CCAB-4FD0-A077-CB4C457992F7}"/>
                </a:ext>
              </a:extLst>
            </p:cNvPr>
            <p:cNvSpPr/>
            <p:nvPr/>
          </p:nvSpPr>
          <p:spPr>
            <a:xfrm>
              <a:off x="7644526" y="2888868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2754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2754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17" name="Freeform: Shape 3611">
              <a:extLst>
                <a:ext uri="{FF2B5EF4-FFF2-40B4-BE49-F238E27FC236}">
                  <a16:creationId xmlns:a16="http://schemas.microsoft.com/office/drawing/2014/main" id="{B559972F-18B8-4D2F-AB0C-5C167EC9D3EE}"/>
                </a:ext>
              </a:extLst>
            </p:cNvPr>
            <p:cNvSpPr/>
            <p:nvPr/>
          </p:nvSpPr>
          <p:spPr>
            <a:xfrm>
              <a:off x="7235756" y="3040337"/>
              <a:ext cx="3934" cy="3934"/>
            </a:xfrm>
            <a:custGeom>
              <a:avLst/>
              <a:gdLst>
                <a:gd name="connsiteX0" fmla="*/ 787 w 3934"/>
                <a:gd name="connsiteY0" fmla="*/ 2754 h 3934"/>
                <a:gd name="connsiteX1" fmla="*/ 3541 w 3934"/>
                <a:gd name="connsiteY1" fmla="*/ 3934 h 3934"/>
                <a:gd name="connsiteX2" fmla="*/ 3934 w 3934"/>
                <a:gd name="connsiteY2" fmla="*/ 4328 h 3934"/>
                <a:gd name="connsiteX3" fmla="*/ 0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787" y="2754"/>
                  </a:moveTo>
                  <a:lnTo>
                    <a:pt x="3541" y="3934"/>
                  </a:lnTo>
                  <a:lnTo>
                    <a:pt x="3934" y="43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18" name="Freeform: Shape 3612">
              <a:extLst>
                <a:ext uri="{FF2B5EF4-FFF2-40B4-BE49-F238E27FC236}">
                  <a16:creationId xmlns:a16="http://schemas.microsoft.com/office/drawing/2014/main" id="{96B8EC47-C0FC-42FC-A7F2-D244A90106E9}"/>
                </a:ext>
              </a:extLst>
            </p:cNvPr>
            <p:cNvSpPr/>
            <p:nvPr/>
          </p:nvSpPr>
          <p:spPr>
            <a:xfrm>
              <a:off x="7228675" y="3038763"/>
              <a:ext cx="3934" cy="3934"/>
            </a:xfrm>
            <a:custGeom>
              <a:avLst/>
              <a:gdLst>
                <a:gd name="connsiteX0" fmla="*/ 3147 w 3934"/>
                <a:gd name="connsiteY0" fmla="*/ 787 h 0"/>
                <a:gd name="connsiteX1" fmla="*/ 3934 w 3934"/>
                <a:gd name="connsiteY1" fmla="*/ 787 h 0"/>
                <a:gd name="connsiteX2" fmla="*/ 0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3147" y="787"/>
                  </a:moveTo>
                  <a:lnTo>
                    <a:pt x="3934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19" name="Freeform: Shape 3613">
              <a:extLst>
                <a:ext uri="{FF2B5EF4-FFF2-40B4-BE49-F238E27FC236}">
                  <a16:creationId xmlns:a16="http://schemas.microsoft.com/office/drawing/2014/main" id="{49EB2099-3987-414B-B81A-B0168A5792D0}"/>
                </a:ext>
              </a:extLst>
            </p:cNvPr>
            <p:cNvSpPr/>
            <p:nvPr/>
          </p:nvSpPr>
          <p:spPr>
            <a:xfrm>
              <a:off x="7161792" y="2905785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393 w 0"/>
                <a:gd name="connsiteY1" fmla="*/ 2754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393" y="2754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20" name="Freeform: Shape 3614">
              <a:extLst>
                <a:ext uri="{FF2B5EF4-FFF2-40B4-BE49-F238E27FC236}">
                  <a16:creationId xmlns:a16="http://schemas.microsoft.com/office/drawing/2014/main" id="{8E199214-8BCC-475C-9F83-2949B7801D2C}"/>
                </a:ext>
              </a:extLst>
            </p:cNvPr>
            <p:cNvSpPr/>
            <p:nvPr/>
          </p:nvSpPr>
          <p:spPr>
            <a:xfrm>
              <a:off x="7217265" y="3032075"/>
              <a:ext cx="3934" cy="3934"/>
            </a:xfrm>
            <a:custGeom>
              <a:avLst/>
              <a:gdLst>
                <a:gd name="connsiteX0" fmla="*/ 2754 w 3934"/>
                <a:gd name="connsiteY0" fmla="*/ 2361 h 0"/>
                <a:gd name="connsiteX1" fmla="*/ 4328 w 3934"/>
                <a:gd name="connsiteY1" fmla="*/ 2361 h 0"/>
                <a:gd name="connsiteX2" fmla="*/ 0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2754" y="2361"/>
                  </a:moveTo>
                  <a:lnTo>
                    <a:pt x="4328" y="236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21" name="Freeform: Shape 3615">
              <a:extLst>
                <a:ext uri="{FF2B5EF4-FFF2-40B4-BE49-F238E27FC236}">
                  <a16:creationId xmlns:a16="http://schemas.microsoft.com/office/drawing/2014/main" id="{40FD91BE-86E6-4DEE-9699-B18D96A422E1}"/>
                </a:ext>
              </a:extLst>
            </p:cNvPr>
            <p:cNvSpPr/>
            <p:nvPr/>
          </p:nvSpPr>
          <p:spPr>
            <a:xfrm>
              <a:off x="7195234" y="3003748"/>
              <a:ext cx="7869" cy="7869"/>
            </a:xfrm>
            <a:custGeom>
              <a:avLst/>
              <a:gdLst>
                <a:gd name="connsiteX0" fmla="*/ 5901 w 7868"/>
                <a:gd name="connsiteY0" fmla="*/ 7475 h 7868"/>
                <a:gd name="connsiteX1" fmla="*/ 8262 w 7868"/>
                <a:gd name="connsiteY1" fmla="*/ 10622 h 7868"/>
                <a:gd name="connsiteX2" fmla="*/ 9442 w 7868"/>
                <a:gd name="connsiteY2" fmla="*/ 8262 h 7868"/>
                <a:gd name="connsiteX3" fmla="*/ 7475 w 7868"/>
                <a:gd name="connsiteY3" fmla="*/ 5508 h 7868"/>
                <a:gd name="connsiteX4" fmla="*/ 5508 w 7868"/>
                <a:gd name="connsiteY4" fmla="*/ 2754 h 7868"/>
                <a:gd name="connsiteX5" fmla="*/ 3934 w 7868"/>
                <a:gd name="connsiteY5" fmla="*/ 0 h 7868"/>
                <a:gd name="connsiteX6" fmla="*/ 1180 w 7868"/>
                <a:gd name="connsiteY6" fmla="*/ 787 h 7868"/>
                <a:gd name="connsiteX7" fmla="*/ 0 w 7868"/>
                <a:gd name="connsiteY7" fmla="*/ 3541 h 7868"/>
                <a:gd name="connsiteX8" fmla="*/ 3147 w 7868"/>
                <a:gd name="connsiteY8" fmla="*/ 550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7868">
                  <a:moveTo>
                    <a:pt x="5901" y="7475"/>
                  </a:moveTo>
                  <a:lnTo>
                    <a:pt x="8262" y="10622"/>
                  </a:lnTo>
                  <a:lnTo>
                    <a:pt x="9442" y="8262"/>
                  </a:lnTo>
                  <a:lnTo>
                    <a:pt x="7475" y="5508"/>
                  </a:lnTo>
                  <a:lnTo>
                    <a:pt x="5508" y="2754"/>
                  </a:lnTo>
                  <a:lnTo>
                    <a:pt x="3934" y="0"/>
                  </a:lnTo>
                  <a:lnTo>
                    <a:pt x="1180" y="787"/>
                  </a:lnTo>
                  <a:lnTo>
                    <a:pt x="0" y="3541"/>
                  </a:lnTo>
                  <a:lnTo>
                    <a:pt x="3147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22" name="Freeform: Shape 3616">
              <a:extLst>
                <a:ext uri="{FF2B5EF4-FFF2-40B4-BE49-F238E27FC236}">
                  <a16:creationId xmlns:a16="http://schemas.microsoft.com/office/drawing/2014/main" id="{67A75635-A8C6-4BCA-B260-D4ED5EAAFD82}"/>
                </a:ext>
              </a:extLst>
            </p:cNvPr>
            <p:cNvSpPr/>
            <p:nvPr/>
          </p:nvSpPr>
          <p:spPr>
            <a:xfrm>
              <a:off x="9226494" y="2997060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787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787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23" name="Freeform: Shape 3617">
              <a:extLst>
                <a:ext uri="{FF2B5EF4-FFF2-40B4-BE49-F238E27FC236}">
                  <a16:creationId xmlns:a16="http://schemas.microsoft.com/office/drawing/2014/main" id="{84375478-2FC7-450B-9B1F-6E98CE3A9E98}"/>
                </a:ext>
              </a:extLst>
            </p:cNvPr>
            <p:cNvSpPr/>
            <p:nvPr/>
          </p:nvSpPr>
          <p:spPr>
            <a:xfrm>
              <a:off x="8707171" y="2947095"/>
              <a:ext cx="3934" cy="3934"/>
            </a:xfrm>
            <a:custGeom>
              <a:avLst/>
              <a:gdLst>
                <a:gd name="connsiteX0" fmla="*/ 0 w 3934"/>
                <a:gd name="connsiteY0" fmla="*/ 1967 h 3934"/>
                <a:gd name="connsiteX1" fmla="*/ 0 w 3934"/>
                <a:gd name="connsiteY1" fmla="*/ 3147 h 3934"/>
                <a:gd name="connsiteX2" fmla="*/ 2361 w 3934"/>
                <a:gd name="connsiteY2" fmla="*/ 6295 h 3934"/>
                <a:gd name="connsiteX3" fmla="*/ 2754 w 3934"/>
                <a:gd name="connsiteY3" fmla="*/ 5901 h 3934"/>
                <a:gd name="connsiteX4" fmla="*/ 2754 w 3934"/>
                <a:gd name="connsiteY4" fmla="*/ 3147 h 3934"/>
                <a:gd name="connsiteX5" fmla="*/ 3541 w 3934"/>
                <a:gd name="connsiteY5" fmla="*/ 2754 h 3934"/>
                <a:gd name="connsiteX6" fmla="*/ 5901 w 3934"/>
                <a:gd name="connsiteY6" fmla="*/ 2361 h 3934"/>
                <a:gd name="connsiteX7" fmla="*/ 5508 w 3934"/>
                <a:gd name="connsiteY7" fmla="*/ 393 h 3934"/>
                <a:gd name="connsiteX8" fmla="*/ 2754 w 3934"/>
                <a:gd name="connsiteY8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3934">
                  <a:moveTo>
                    <a:pt x="0" y="1967"/>
                  </a:moveTo>
                  <a:lnTo>
                    <a:pt x="0" y="3147"/>
                  </a:lnTo>
                  <a:lnTo>
                    <a:pt x="2361" y="6295"/>
                  </a:lnTo>
                  <a:lnTo>
                    <a:pt x="2754" y="5901"/>
                  </a:lnTo>
                  <a:lnTo>
                    <a:pt x="2754" y="3147"/>
                  </a:lnTo>
                  <a:lnTo>
                    <a:pt x="3541" y="2754"/>
                  </a:lnTo>
                  <a:lnTo>
                    <a:pt x="5901" y="2361"/>
                  </a:lnTo>
                  <a:lnTo>
                    <a:pt x="5508" y="393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24" name="Freeform: Shape 3618">
              <a:extLst>
                <a:ext uri="{FF2B5EF4-FFF2-40B4-BE49-F238E27FC236}">
                  <a16:creationId xmlns:a16="http://schemas.microsoft.com/office/drawing/2014/main" id="{FEBAF09D-8072-4C69-8795-19D9F4221D64}"/>
                </a:ext>
              </a:extLst>
            </p:cNvPr>
            <p:cNvSpPr/>
            <p:nvPr/>
          </p:nvSpPr>
          <p:spPr>
            <a:xfrm>
              <a:off x="8710712" y="2950242"/>
              <a:ext cx="7869" cy="23606"/>
            </a:xfrm>
            <a:custGeom>
              <a:avLst/>
              <a:gdLst>
                <a:gd name="connsiteX0" fmla="*/ 9049 w 7868"/>
                <a:gd name="connsiteY0" fmla="*/ 9049 h 23605"/>
                <a:gd name="connsiteX1" fmla="*/ 7082 w 7868"/>
                <a:gd name="connsiteY1" fmla="*/ 6295 h 23605"/>
                <a:gd name="connsiteX2" fmla="*/ 4721 w 7868"/>
                <a:gd name="connsiteY2" fmla="*/ 3934 h 23605"/>
                <a:gd name="connsiteX3" fmla="*/ 3541 w 7868"/>
                <a:gd name="connsiteY3" fmla="*/ 1574 h 23605"/>
                <a:gd name="connsiteX4" fmla="*/ 3148 w 7868"/>
                <a:gd name="connsiteY4" fmla="*/ 0 h 23605"/>
                <a:gd name="connsiteX5" fmla="*/ 3148 w 7868"/>
                <a:gd name="connsiteY5" fmla="*/ 0 h 23605"/>
                <a:gd name="connsiteX6" fmla="*/ 0 w 7868"/>
                <a:gd name="connsiteY6" fmla="*/ 393 h 23605"/>
                <a:gd name="connsiteX7" fmla="*/ 0 w 7868"/>
                <a:gd name="connsiteY7" fmla="*/ 3147 h 23605"/>
                <a:gd name="connsiteX8" fmla="*/ 0 w 7868"/>
                <a:gd name="connsiteY8" fmla="*/ 4328 h 23605"/>
                <a:gd name="connsiteX9" fmla="*/ 0 w 7868"/>
                <a:gd name="connsiteY9" fmla="*/ 5901 h 23605"/>
                <a:gd name="connsiteX10" fmla="*/ 787 w 7868"/>
                <a:gd name="connsiteY10" fmla="*/ 5901 h 23605"/>
                <a:gd name="connsiteX11" fmla="*/ 1180 w 7868"/>
                <a:gd name="connsiteY11" fmla="*/ 6295 h 23605"/>
                <a:gd name="connsiteX12" fmla="*/ 3541 w 7868"/>
                <a:gd name="connsiteY12" fmla="*/ 9049 h 23605"/>
                <a:gd name="connsiteX13" fmla="*/ 3934 w 7868"/>
                <a:gd name="connsiteY13" fmla="*/ 10229 h 23605"/>
                <a:gd name="connsiteX14" fmla="*/ 5115 w 7868"/>
                <a:gd name="connsiteY14" fmla="*/ 13376 h 23605"/>
                <a:gd name="connsiteX15" fmla="*/ 4721 w 7868"/>
                <a:gd name="connsiteY15" fmla="*/ 19671 h 23605"/>
                <a:gd name="connsiteX16" fmla="*/ 3934 w 7868"/>
                <a:gd name="connsiteY16" fmla="*/ 22032 h 23605"/>
                <a:gd name="connsiteX17" fmla="*/ 4328 w 7868"/>
                <a:gd name="connsiteY17" fmla="*/ 22425 h 23605"/>
                <a:gd name="connsiteX18" fmla="*/ 3934 w 7868"/>
                <a:gd name="connsiteY18" fmla="*/ 25573 h 23605"/>
                <a:gd name="connsiteX19" fmla="*/ 5901 w 7868"/>
                <a:gd name="connsiteY19" fmla="*/ 23212 h 23605"/>
                <a:gd name="connsiteX20" fmla="*/ 5115 w 7868"/>
                <a:gd name="connsiteY20" fmla="*/ 25966 h 23605"/>
                <a:gd name="connsiteX21" fmla="*/ 6295 w 7868"/>
                <a:gd name="connsiteY21" fmla="*/ 26753 h 23605"/>
                <a:gd name="connsiteX22" fmla="*/ 9049 w 7868"/>
                <a:gd name="connsiteY22" fmla="*/ 23999 h 23605"/>
                <a:gd name="connsiteX23" fmla="*/ 10229 w 7868"/>
                <a:gd name="connsiteY23" fmla="*/ 21245 h 23605"/>
                <a:gd name="connsiteX24" fmla="*/ 10229 w 7868"/>
                <a:gd name="connsiteY24" fmla="*/ 18491 h 23605"/>
                <a:gd name="connsiteX25" fmla="*/ 10229 w 7868"/>
                <a:gd name="connsiteY25" fmla="*/ 15344 h 23605"/>
                <a:gd name="connsiteX26" fmla="*/ 10229 w 7868"/>
                <a:gd name="connsiteY26" fmla="*/ 14557 h 23605"/>
                <a:gd name="connsiteX27" fmla="*/ 10229 w 7868"/>
                <a:gd name="connsiteY27" fmla="*/ 11803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7868" h="23605">
                  <a:moveTo>
                    <a:pt x="9049" y="9049"/>
                  </a:moveTo>
                  <a:lnTo>
                    <a:pt x="7082" y="6295"/>
                  </a:lnTo>
                  <a:lnTo>
                    <a:pt x="4721" y="3934"/>
                  </a:lnTo>
                  <a:lnTo>
                    <a:pt x="3541" y="1574"/>
                  </a:lnTo>
                  <a:lnTo>
                    <a:pt x="3148" y="0"/>
                  </a:lnTo>
                  <a:lnTo>
                    <a:pt x="3148" y="0"/>
                  </a:lnTo>
                  <a:lnTo>
                    <a:pt x="0" y="393"/>
                  </a:lnTo>
                  <a:lnTo>
                    <a:pt x="0" y="3147"/>
                  </a:lnTo>
                  <a:lnTo>
                    <a:pt x="0" y="4328"/>
                  </a:lnTo>
                  <a:lnTo>
                    <a:pt x="0" y="5901"/>
                  </a:lnTo>
                  <a:lnTo>
                    <a:pt x="787" y="5901"/>
                  </a:lnTo>
                  <a:lnTo>
                    <a:pt x="1180" y="6295"/>
                  </a:lnTo>
                  <a:lnTo>
                    <a:pt x="3541" y="9049"/>
                  </a:lnTo>
                  <a:lnTo>
                    <a:pt x="3934" y="10229"/>
                  </a:lnTo>
                  <a:lnTo>
                    <a:pt x="5115" y="13376"/>
                  </a:lnTo>
                  <a:lnTo>
                    <a:pt x="4721" y="19671"/>
                  </a:lnTo>
                  <a:lnTo>
                    <a:pt x="3934" y="22032"/>
                  </a:lnTo>
                  <a:lnTo>
                    <a:pt x="4328" y="22425"/>
                  </a:lnTo>
                  <a:lnTo>
                    <a:pt x="3934" y="25573"/>
                  </a:lnTo>
                  <a:lnTo>
                    <a:pt x="5901" y="23212"/>
                  </a:lnTo>
                  <a:lnTo>
                    <a:pt x="5115" y="25966"/>
                  </a:lnTo>
                  <a:lnTo>
                    <a:pt x="6295" y="26753"/>
                  </a:lnTo>
                  <a:lnTo>
                    <a:pt x="9049" y="23999"/>
                  </a:lnTo>
                  <a:lnTo>
                    <a:pt x="10229" y="21245"/>
                  </a:lnTo>
                  <a:lnTo>
                    <a:pt x="10229" y="18491"/>
                  </a:lnTo>
                  <a:lnTo>
                    <a:pt x="10229" y="15344"/>
                  </a:lnTo>
                  <a:lnTo>
                    <a:pt x="10229" y="14557"/>
                  </a:lnTo>
                  <a:lnTo>
                    <a:pt x="10229" y="1180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25" name="Freeform: Shape 3619">
              <a:extLst>
                <a:ext uri="{FF2B5EF4-FFF2-40B4-BE49-F238E27FC236}">
                  <a16:creationId xmlns:a16="http://schemas.microsoft.com/office/drawing/2014/main" id="{A09C4F02-65E1-4E4B-9923-D2EA70BE564A}"/>
                </a:ext>
              </a:extLst>
            </p:cNvPr>
            <p:cNvSpPr/>
            <p:nvPr/>
          </p:nvSpPr>
          <p:spPr>
            <a:xfrm>
              <a:off x="8753202" y="2985650"/>
              <a:ext cx="3934" cy="7869"/>
            </a:xfrm>
            <a:custGeom>
              <a:avLst/>
              <a:gdLst>
                <a:gd name="connsiteX0" fmla="*/ 2754 w 3934"/>
                <a:gd name="connsiteY0" fmla="*/ 1967 h 7868"/>
                <a:gd name="connsiteX1" fmla="*/ 0 w 3934"/>
                <a:gd name="connsiteY1" fmla="*/ 0 h 7868"/>
                <a:gd name="connsiteX2" fmla="*/ 0 w 3934"/>
                <a:gd name="connsiteY2" fmla="*/ 393 h 7868"/>
                <a:gd name="connsiteX3" fmla="*/ 0 w 3934"/>
                <a:gd name="connsiteY3" fmla="*/ 393 h 7868"/>
                <a:gd name="connsiteX4" fmla="*/ 393 w 3934"/>
                <a:gd name="connsiteY4" fmla="*/ 3147 h 7868"/>
                <a:gd name="connsiteX5" fmla="*/ 1180 w 3934"/>
                <a:gd name="connsiteY5" fmla="*/ 6295 h 7868"/>
                <a:gd name="connsiteX6" fmla="*/ 1967 w 3934"/>
                <a:gd name="connsiteY6" fmla="*/ 9049 h 7868"/>
                <a:gd name="connsiteX7" fmla="*/ 3934 w 3934"/>
                <a:gd name="connsiteY7" fmla="*/ 7869 h 7868"/>
                <a:gd name="connsiteX8" fmla="*/ 3934 w 3934"/>
                <a:gd name="connsiteY8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2754" y="1967"/>
                  </a:moveTo>
                  <a:lnTo>
                    <a:pt x="0" y="0"/>
                  </a:lnTo>
                  <a:lnTo>
                    <a:pt x="0" y="393"/>
                  </a:lnTo>
                  <a:lnTo>
                    <a:pt x="0" y="393"/>
                  </a:lnTo>
                  <a:lnTo>
                    <a:pt x="393" y="3147"/>
                  </a:lnTo>
                  <a:lnTo>
                    <a:pt x="1180" y="6295"/>
                  </a:lnTo>
                  <a:lnTo>
                    <a:pt x="1967" y="9049"/>
                  </a:lnTo>
                  <a:lnTo>
                    <a:pt x="3934" y="7869"/>
                  </a:lnTo>
                  <a:lnTo>
                    <a:pt x="3934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26" name="Freeform: Shape 3620">
              <a:extLst>
                <a:ext uri="{FF2B5EF4-FFF2-40B4-BE49-F238E27FC236}">
                  <a16:creationId xmlns:a16="http://schemas.microsoft.com/office/drawing/2014/main" id="{663BDB77-C9D1-4F9E-97DB-7DDE8BAA80E8}"/>
                </a:ext>
              </a:extLst>
            </p:cNvPr>
            <p:cNvSpPr/>
            <p:nvPr/>
          </p:nvSpPr>
          <p:spPr>
            <a:xfrm>
              <a:off x="8752022" y="2979749"/>
              <a:ext cx="3934" cy="3934"/>
            </a:xfrm>
            <a:custGeom>
              <a:avLst/>
              <a:gdLst>
                <a:gd name="connsiteX0" fmla="*/ 787 w 0"/>
                <a:gd name="connsiteY0" fmla="*/ 0 h 3934"/>
                <a:gd name="connsiteX1" fmla="*/ 0 w 0"/>
                <a:gd name="connsiteY1" fmla="*/ 0 h 3934"/>
                <a:gd name="connsiteX2" fmla="*/ 393 w 0"/>
                <a:gd name="connsiteY2" fmla="*/ 5901 h 3934"/>
                <a:gd name="connsiteX3" fmla="*/ 1180 w 0"/>
                <a:gd name="connsiteY3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787" y="0"/>
                  </a:moveTo>
                  <a:lnTo>
                    <a:pt x="0" y="0"/>
                  </a:lnTo>
                  <a:lnTo>
                    <a:pt x="393" y="5901"/>
                  </a:lnTo>
                  <a:lnTo>
                    <a:pt x="118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27" name="Freeform: Shape 3621">
              <a:extLst>
                <a:ext uri="{FF2B5EF4-FFF2-40B4-BE49-F238E27FC236}">
                  <a16:creationId xmlns:a16="http://schemas.microsoft.com/office/drawing/2014/main" id="{C82BD43D-0DF5-4F48-A297-379978FE9A29}"/>
                </a:ext>
              </a:extLst>
            </p:cNvPr>
            <p:cNvSpPr/>
            <p:nvPr/>
          </p:nvSpPr>
          <p:spPr>
            <a:xfrm>
              <a:off x="8712679" y="2978569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393 w 0"/>
                <a:gd name="connsiteY1" fmla="*/ 314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393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28" name="Freeform: Shape 3622">
              <a:extLst>
                <a:ext uri="{FF2B5EF4-FFF2-40B4-BE49-F238E27FC236}">
                  <a16:creationId xmlns:a16="http://schemas.microsoft.com/office/drawing/2014/main" id="{628B0FF2-2397-4E5F-837E-48189F8260E5}"/>
                </a:ext>
              </a:extLst>
            </p:cNvPr>
            <p:cNvSpPr/>
            <p:nvPr/>
          </p:nvSpPr>
          <p:spPr>
            <a:xfrm>
              <a:off x="8726449" y="2959291"/>
              <a:ext cx="3934" cy="11803"/>
            </a:xfrm>
            <a:custGeom>
              <a:avLst/>
              <a:gdLst>
                <a:gd name="connsiteX0" fmla="*/ 1967 w 3934"/>
                <a:gd name="connsiteY0" fmla="*/ 3147 h 11802"/>
                <a:gd name="connsiteX1" fmla="*/ 0 w 3934"/>
                <a:gd name="connsiteY1" fmla="*/ 0 h 11802"/>
                <a:gd name="connsiteX2" fmla="*/ 393 w 3934"/>
                <a:gd name="connsiteY2" fmla="*/ 2754 h 11802"/>
                <a:gd name="connsiteX3" fmla="*/ 393 w 3934"/>
                <a:gd name="connsiteY3" fmla="*/ 5901 h 11802"/>
                <a:gd name="connsiteX4" fmla="*/ 787 w 3934"/>
                <a:gd name="connsiteY4" fmla="*/ 8655 h 11802"/>
                <a:gd name="connsiteX5" fmla="*/ 787 w 3934"/>
                <a:gd name="connsiteY5" fmla="*/ 11409 h 11802"/>
                <a:gd name="connsiteX6" fmla="*/ 393 w 3934"/>
                <a:gd name="connsiteY6" fmla="*/ 14557 h 11802"/>
                <a:gd name="connsiteX7" fmla="*/ 1180 w 3934"/>
                <a:gd name="connsiteY7" fmla="*/ 14557 h 11802"/>
                <a:gd name="connsiteX8" fmla="*/ 3934 w 3934"/>
                <a:gd name="connsiteY8" fmla="*/ 11409 h 11802"/>
                <a:gd name="connsiteX9" fmla="*/ 4328 w 3934"/>
                <a:gd name="connsiteY9" fmla="*/ 8655 h 11802"/>
                <a:gd name="connsiteX10" fmla="*/ 3541 w 3934"/>
                <a:gd name="connsiteY10" fmla="*/ 5901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4" h="11802">
                  <a:moveTo>
                    <a:pt x="1967" y="3147"/>
                  </a:moveTo>
                  <a:lnTo>
                    <a:pt x="0" y="0"/>
                  </a:lnTo>
                  <a:lnTo>
                    <a:pt x="393" y="2754"/>
                  </a:lnTo>
                  <a:lnTo>
                    <a:pt x="393" y="5901"/>
                  </a:lnTo>
                  <a:lnTo>
                    <a:pt x="787" y="8655"/>
                  </a:lnTo>
                  <a:lnTo>
                    <a:pt x="787" y="11409"/>
                  </a:lnTo>
                  <a:lnTo>
                    <a:pt x="393" y="14557"/>
                  </a:lnTo>
                  <a:lnTo>
                    <a:pt x="1180" y="14557"/>
                  </a:lnTo>
                  <a:lnTo>
                    <a:pt x="3934" y="11409"/>
                  </a:lnTo>
                  <a:lnTo>
                    <a:pt x="4328" y="8655"/>
                  </a:lnTo>
                  <a:lnTo>
                    <a:pt x="3541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29" name="Freeform: Shape 3623">
              <a:extLst>
                <a:ext uri="{FF2B5EF4-FFF2-40B4-BE49-F238E27FC236}">
                  <a16:creationId xmlns:a16="http://schemas.microsoft.com/office/drawing/2014/main" id="{C03AE916-67D4-49B3-8E43-7D81E52317E9}"/>
                </a:ext>
              </a:extLst>
            </p:cNvPr>
            <p:cNvSpPr/>
            <p:nvPr/>
          </p:nvSpPr>
          <p:spPr>
            <a:xfrm>
              <a:off x="9304393" y="3004141"/>
              <a:ext cx="3934" cy="3934"/>
            </a:xfrm>
            <a:custGeom>
              <a:avLst/>
              <a:gdLst>
                <a:gd name="connsiteX0" fmla="*/ 0 w 0"/>
                <a:gd name="connsiteY0" fmla="*/ 1180 h 0"/>
                <a:gd name="connsiteX1" fmla="*/ 2754 w 0"/>
                <a:gd name="connsiteY1" fmla="*/ 2754 h 0"/>
                <a:gd name="connsiteX2" fmla="*/ 118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180"/>
                  </a:moveTo>
                  <a:lnTo>
                    <a:pt x="2754" y="2754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30" name="Freeform: Shape 3624">
              <a:extLst>
                <a:ext uri="{FF2B5EF4-FFF2-40B4-BE49-F238E27FC236}">
                  <a16:creationId xmlns:a16="http://schemas.microsoft.com/office/drawing/2014/main" id="{AA4F8AF7-2997-4A8A-9508-A1C84508751A}"/>
                </a:ext>
              </a:extLst>
            </p:cNvPr>
            <p:cNvSpPr/>
            <p:nvPr/>
          </p:nvSpPr>
          <p:spPr>
            <a:xfrm>
              <a:off x="9341768" y="2988011"/>
              <a:ext cx="3934" cy="3934"/>
            </a:xfrm>
            <a:custGeom>
              <a:avLst/>
              <a:gdLst>
                <a:gd name="connsiteX0" fmla="*/ 394 w 0"/>
                <a:gd name="connsiteY0" fmla="*/ 787 h 3934"/>
                <a:gd name="connsiteX1" fmla="*/ 0 w 0"/>
                <a:gd name="connsiteY1" fmla="*/ 3934 h 3934"/>
                <a:gd name="connsiteX2" fmla="*/ 1180 w 0"/>
                <a:gd name="connsiteY2" fmla="*/ 3147 h 3934"/>
                <a:gd name="connsiteX3" fmla="*/ 2361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94" y="787"/>
                  </a:moveTo>
                  <a:lnTo>
                    <a:pt x="0" y="3934"/>
                  </a:lnTo>
                  <a:lnTo>
                    <a:pt x="1180" y="3147"/>
                  </a:lnTo>
                  <a:lnTo>
                    <a:pt x="236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31" name="Freeform: Shape 3625">
              <a:extLst>
                <a:ext uri="{FF2B5EF4-FFF2-40B4-BE49-F238E27FC236}">
                  <a16:creationId xmlns:a16="http://schemas.microsoft.com/office/drawing/2014/main" id="{887B263C-7BE7-4F14-8C4F-CE690F0F6B0D}"/>
                </a:ext>
              </a:extLst>
            </p:cNvPr>
            <p:cNvSpPr/>
            <p:nvPr/>
          </p:nvSpPr>
          <p:spPr>
            <a:xfrm>
              <a:off x="9368521" y="2985257"/>
              <a:ext cx="3934" cy="3934"/>
            </a:xfrm>
            <a:custGeom>
              <a:avLst/>
              <a:gdLst>
                <a:gd name="connsiteX0" fmla="*/ 1967 w 0"/>
                <a:gd name="connsiteY0" fmla="*/ 5901 h 3934"/>
                <a:gd name="connsiteX1" fmla="*/ 1967 w 0"/>
                <a:gd name="connsiteY1" fmla="*/ 5901 h 3934"/>
                <a:gd name="connsiteX2" fmla="*/ 1967 w 0"/>
                <a:gd name="connsiteY2" fmla="*/ 3147 h 3934"/>
                <a:gd name="connsiteX3" fmla="*/ 0 w 0"/>
                <a:gd name="connsiteY3" fmla="*/ 0 h 3934"/>
                <a:gd name="connsiteX4" fmla="*/ 787 w 0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1967" y="5901"/>
                  </a:moveTo>
                  <a:lnTo>
                    <a:pt x="1967" y="5901"/>
                  </a:lnTo>
                  <a:lnTo>
                    <a:pt x="1967" y="3147"/>
                  </a:lnTo>
                  <a:lnTo>
                    <a:pt x="0" y="0"/>
                  </a:lnTo>
                  <a:lnTo>
                    <a:pt x="78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32" name="Freeform: Shape 3626">
              <a:extLst>
                <a:ext uri="{FF2B5EF4-FFF2-40B4-BE49-F238E27FC236}">
                  <a16:creationId xmlns:a16="http://schemas.microsoft.com/office/drawing/2014/main" id="{A3D30EF3-344D-4FF5-B487-18F0424F49EA}"/>
                </a:ext>
              </a:extLst>
            </p:cNvPr>
            <p:cNvSpPr/>
            <p:nvPr/>
          </p:nvSpPr>
          <p:spPr>
            <a:xfrm>
              <a:off x="9362226" y="2986831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1180 w 0"/>
                <a:gd name="connsiteY1" fmla="*/ 393 h 0"/>
                <a:gd name="connsiteX2" fmla="*/ 0 w 0"/>
                <a:gd name="connsiteY2" fmla="*/ 3147 h 0"/>
                <a:gd name="connsiteX3" fmla="*/ 2754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1180" y="393"/>
                  </a:lnTo>
                  <a:lnTo>
                    <a:pt x="0" y="3147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33" name="Freeform: Shape 3627">
              <a:extLst>
                <a:ext uri="{FF2B5EF4-FFF2-40B4-BE49-F238E27FC236}">
                  <a16:creationId xmlns:a16="http://schemas.microsoft.com/office/drawing/2014/main" id="{22F1D0BE-9884-49B3-B62F-1C13F2414E6D}"/>
                </a:ext>
              </a:extLst>
            </p:cNvPr>
            <p:cNvSpPr/>
            <p:nvPr/>
          </p:nvSpPr>
          <p:spPr>
            <a:xfrm>
              <a:off x="9384651" y="2973848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2754 h 0"/>
                <a:gd name="connsiteX2" fmla="*/ 39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2754"/>
                  </a:lnTo>
                  <a:lnTo>
                    <a:pt x="39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34" name="Freeform: Shape 3628">
              <a:extLst>
                <a:ext uri="{FF2B5EF4-FFF2-40B4-BE49-F238E27FC236}">
                  <a16:creationId xmlns:a16="http://schemas.microsoft.com/office/drawing/2014/main" id="{79A3202F-3179-4C82-825E-AFD4C1699528}"/>
                </a:ext>
              </a:extLst>
            </p:cNvPr>
            <p:cNvSpPr/>
            <p:nvPr/>
          </p:nvSpPr>
          <p:spPr>
            <a:xfrm>
              <a:off x="9196594" y="3013190"/>
              <a:ext cx="3934" cy="3934"/>
            </a:xfrm>
            <a:custGeom>
              <a:avLst/>
              <a:gdLst>
                <a:gd name="connsiteX0" fmla="*/ 2754 w 0"/>
                <a:gd name="connsiteY0" fmla="*/ 2361 h 0"/>
                <a:gd name="connsiteX1" fmla="*/ 0 w 0"/>
                <a:gd name="connsiteY1" fmla="*/ 0 h 0"/>
                <a:gd name="connsiteX2" fmla="*/ 1967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361"/>
                  </a:moveTo>
                  <a:lnTo>
                    <a:pt x="0" y="0"/>
                  </a:lnTo>
                  <a:lnTo>
                    <a:pt x="196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35" name="Freeform: Shape 3629">
              <a:extLst>
                <a:ext uri="{FF2B5EF4-FFF2-40B4-BE49-F238E27FC236}">
                  <a16:creationId xmlns:a16="http://schemas.microsoft.com/office/drawing/2014/main" id="{28289278-CC98-4ECF-91AE-9922ACFF1FDB}"/>
                </a:ext>
              </a:extLst>
            </p:cNvPr>
            <p:cNvSpPr/>
            <p:nvPr/>
          </p:nvSpPr>
          <p:spPr>
            <a:xfrm>
              <a:off x="9200921" y="3016338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1967 w 3934"/>
                <a:gd name="connsiteY1" fmla="*/ 2361 h 3934"/>
                <a:gd name="connsiteX2" fmla="*/ 4721 w 3934"/>
                <a:gd name="connsiteY2" fmla="*/ 3934 h 3934"/>
                <a:gd name="connsiteX3" fmla="*/ 5509 w 3934"/>
                <a:gd name="connsiteY3" fmla="*/ 1180 h 3934"/>
                <a:gd name="connsiteX4" fmla="*/ 2754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1967" y="2361"/>
                  </a:lnTo>
                  <a:lnTo>
                    <a:pt x="4721" y="3934"/>
                  </a:lnTo>
                  <a:lnTo>
                    <a:pt x="5509" y="118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36" name="Freeform: Shape 3630">
              <a:extLst>
                <a:ext uri="{FF2B5EF4-FFF2-40B4-BE49-F238E27FC236}">
                  <a16:creationId xmlns:a16="http://schemas.microsoft.com/office/drawing/2014/main" id="{929A1F05-AEB5-4E28-AD10-3A58E139B3AC}"/>
                </a:ext>
              </a:extLst>
            </p:cNvPr>
            <p:cNvSpPr/>
            <p:nvPr/>
          </p:nvSpPr>
          <p:spPr>
            <a:xfrm>
              <a:off x="9218626" y="3012010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3147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3147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37" name="Freeform: Shape 3631">
              <a:extLst>
                <a:ext uri="{FF2B5EF4-FFF2-40B4-BE49-F238E27FC236}">
                  <a16:creationId xmlns:a16="http://schemas.microsoft.com/office/drawing/2014/main" id="{9C2FCD98-4DAC-4F9D-81DA-243ADF180662}"/>
                </a:ext>
              </a:extLst>
            </p:cNvPr>
            <p:cNvSpPr/>
            <p:nvPr/>
          </p:nvSpPr>
          <p:spPr>
            <a:xfrm>
              <a:off x="9215478" y="3009650"/>
              <a:ext cx="3934" cy="3934"/>
            </a:xfrm>
            <a:custGeom>
              <a:avLst/>
              <a:gdLst>
                <a:gd name="connsiteX0" fmla="*/ 1967 w 0"/>
                <a:gd name="connsiteY0" fmla="*/ 1574 h 3934"/>
                <a:gd name="connsiteX1" fmla="*/ 0 w 0"/>
                <a:gd name="connsiteY1" fmla="*/ 4328 h 3934"/>
                <a:gd name="connsiteX2" fmla="*/ 3148 w 0"/>
                <a:gd name="connsiteY2" fmla="*/ 2754 h 3934"/>
                <a:gd name="connsiteX3" fmla="*/ 3541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967" y="1574"/>
                  </a:moveTo>
                  <a:lnTo>
                    <a:pt x="0" y="4328"/>
                  </a:lnTo>
                  <a:lnTo>
                    <a:pt x="3148" y="2754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38" name="Freeform: Shape 3632">
              <a:extLst>
                <a:ext uri="{FF2B5EF4-FFF2-40B4-BE49-F238E27FC236}">
                  <a16:creationId xmlns:a16="http://schemas.microsoft.com/office/drawing/2014/main" id="{AB784108-70DC-4410-BAC8-C10292DFF8AF}"/>
                </a:ext>
              </a:extLst>
            </p:cNvPr>
            <p:cNvSpPr/>
            <p:nvPr/>
          </p:nvSpPr>
          <p:spPr>
            <a:xfrm>
              <a:off x="7285328" y="3141841"/>
              <a:ext cx="7869" cy="7869"/>
            </a:xfrm>
            <a:custGeom>
              <a:avLst/>
              <a:gdLst>
                <a:gd name="connsiteX0" fmla="*/ 2754 w 7868"/>
                <a:gd name="connsiteY0" fmla="*/ 6688 h 7868"/>
                <a:gd name="connsiteX1" fmla="*/ 1967 w 7868"/>
                <a:gd name="connsiteY1" fmla="*/ 9049 h 7868"/>
                <a:gd name="connsiteX2" fmla="*/ 4721 w 7868"/>
                <a:gd name="connsiteY2" fmla="*/ 6688 h 7868"/>
                <a:gd name="connsiteX3" fmla="*/ 5114 w 7868"/>
                <a:gd name="connsiteY3" fmla="*/ 6688 h 7868"/>
                <a:gd name="connsiteX4" fmla="*/ 5114 w 7868"/>
                <a:gd name="connsiteY4" fmla="*/ 6688 h 7868"/>
                <a:gd name="connsiteX5" fmla="*/ 5114 w 7868"/>
                <a:gd name="connsiteY5" fmla="*/ 6688 h 7868"/>
                <a:gd name="connsiteX6" fmla="*/ 5508 w 7868"/>
                <a:gd name="connsiteY6" fmla="*/ 6295 h 7868"/>
                <a:gd name="connsiteX7" fmla="*/ 5114 w 7868"/>
                <a:gd name="connsiteY7" fmla="*/ 5901 h 7868"/>
                <a:gd name="connsiteX8" fmla="*/ 5508 w 7868"/>
                <a:gd name="connsiteY8" fmla="*/ 5901 h 7868"/>
                <a:gd name="connsiteX9" fmla="*/ 6688 w 7868"/>
                <a:gd name="connsiteY9" fmla="*/ 7869 h 7868"/>
                <a:gd name="connsiteX10" fmla="*/ 7869 w 7868"/>
                <a:gd name="connsiteY10" fmla="*/ 6688 h 7868"/>
                <a:gd name="connsiteX11" fmla="*/ 7475 w 7868"/>
                <a:gd name="connsiteY11" fmla="*/ 3541 h 7868"/>
                <a:gd name="connsiteX12" fmla="*/ 4721 w 7868"/>
                <a:gd name="connsiteY12" fmla="*/ 787 h 7868"/>
                <a:gd name="connsiteX13" fmla="*/ 1573 w 7868"/>
                <a:gd name="connsiteY13" fmla="*/ 0 h 7868"/>
                <a:gd name="connsiteX14" fmla="*/ 3934 w 7868"/>
                <a:gd name="connsiteY14" fmla="*/ 3541 h 7868"/>
                <a:gd name="connsiteX15" fmla="*/ 3147 w 7868"/>
                <a:gd name="connsiteY15" fmla="*/ 2754 h 7868"/>
                <a:gd name="connsiteX16" fmla="*/ 0 w 7868"/>
                <a:gd name="connsiteY16" fmla="*/ 787 h 7868"/>
                <a:gd name="connsiteX17" fmla="*/ 1967 w 7868"/>
                <a:gd name="connsiteY17" fmla="*/ 3541 h 7868"/>
                <a:gd name="connsiteX18" fmla="*/ 0 w 7868"/>
                <a:gd name="connsiteY18" fmla="*/ 668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868" h="7868">
                  <a:moveTo>
                    <a:pt x="2754" y="6688"/>
                  </a:moveTo>
                  <a:lnTo>
                    <a:pt x="1967" y="9049"/>
                  </a:lnTo>
                  <a:lnTo>
                    <a:pt x="4721" y="6688"/>
                  </a:lnTo>
                  <a:lnTo>
                    <a:pt x="5114" y="6688"/>
                  </a:lnTo>
                  <a:lnTo>
                    <a:pt x="5114" y="6688"/>
                  </a:lnTo>
                  <a:lnTo>
                    <a:pt x="5114" y="6688"/>
                  </a:lnTo>
                  <a:lnTo>
                    <a:pt x="5508" y="6295"/>
                  </a:lnTo>
                  <a:lnTo>
                    <a:pt x="5114" y="5901"/>
                  </a:lnTo>
                  <a:lnTo>
                    <a:pt x="5508" y="5901"/>
                  </a:lnTo>
                  <a:lnTo>
                    <a:pt x="6688" y="7869"/>
                  </a:lnTo>
                  <a:lnTo>
                    <a:pt x="7869" y="6688"/>
                  </a:lnTo>
                  <a:lnTo>
                    <a:pt x="7475" y="3541"/>
                  </a:lnTo>
                  <a:lnTo>
                    <a:pt x="4721" y="787"/>
                  </a:lnTo>
                  <a:lnTo>
                    <a:pt x="1573" y="0"/>
                  </a:lnTo>
                  <a:lnTo>
                    <a:pt x="3934" y="3541"/>
                  </a:lnTo>
                  <a:lnTo>
                    <a:pt x="3147" y="2754"/>
                  </a:lnTo>
                  <a:lnTo>
                    <a:pt x="0" y="787"/>
                  </a:lnTo>
                  <a:lnTo>
                    <a:pt x="1967" y="3541"/>
                  </a:lnTo>
                  <a:lnTo>
                    <a:pt x="0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39" name="Freeform: Shape 3633">
              <a:extLst>
                <a:ext uri="{FF2B5EF4-FFF2-40B4-BE49-F238E27FC236}">
                  <a16:creationId xmlns:a16="http://schemas.microsoft.com/office/drawing/2014/main" id="{83EE23C8-CC2F-4D5A-B9DD-F02D21F6D8A1}"/>
                </a:ext>
              </a:extLst>
            </p:cNvPr>
            <p:cNvSpPr/>
            <p:nvPr/>
          </p:nvSpPr>
          <p:spPr>
            <a:xfrm>
              <a:off x="7281394" y="3140660"/>
              <a:ext cx="3934" cy="3934"/>
            </a:xfrm>
            <a:custGeom>
              <a:avLst/>
              <a:gdLst>
                <a:gd name="connsiteX0" fmla="*/ 787 w 0"/>
                <a:gd name="connsiteY0" fmla="*/ 2754 h 3934"/>
                <a:gd name="connsiteX1" fmla="*/ 0 w 0"/>
                <a:gd name="connsiteY1" fmla="*/ 5508 h 3934"/>
                <a:gd name="connsiteX2" fmla="*/ 787 w 0"/>
                <a:gd name="connsiteY2" fmla="*/ 6688 h 3934"/>
                <a:gd name="connsiteX3" fmla="*/ 1573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787" y="2754"/>
                  </a:moveTo>
                  <a:lnTo>
                    <a:pt x="0" y="5508"/>
                  </a:lnTo>
                  <a:lnTo>
                    <a:pt x="787" y="6688"/>
                  </a:lnTo>
                  <a:lnTo>
                    <a:pt x="157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40" name="Freeform: Shape 3634">
              <a:extLst>
                <a:ext uri="{FF2B5EF4-FFF2-40B4-BE49-F238E27FC236}">
                  <a16:creationId xmlns:a16="http://schemas.microsoft.com/office/drawing/2014/main" id="{08B95D76-89D1-4413-9ED4-85369B9BA512}"/>
                </a:ext>
              </a:extLst>
            </p:cNvPr>
            <p:cNvSpPr/>
            <p:nvPr/>
          </p:nvSpPr>
          <p:spPr>
            <a:xfrm>
              <a:off x="7269591" y="3102105"/>
              <a:ext cx="3934" cy="7869"/>
            </a:xfrm>
            <a:custGeom>
              <a:avLst/>
              <a:gdLst>
                <a:gd name="connsiteX0" fmla="*/ 3147 w 3934"/>
                <a:gd name="connsiteY0" fmla="*/ 6688 h 7868"/>
                <a:gd name="connsiteX1" fmla="*/ 4721 w 3934"/>
                <a:gd name="connsiteY1" fmla="*/ 8262 h 7868"/>
                <a:gd name="connsiteX2" fmla="*/ 2754 w 3934"/>
                <a:gd name="connsiteY2" fmla="*/ 0 h 7868"/>
                <a:gd name="connsiteX3" fmla="*/ 0 w 3934"/>
                <a:gd name="connsiteY3" fmla="*/ 3147 h 7868"/>
                <a:gd name="connsiteX4" fmla="*/ 2754 w 3934"/>
                <a:gd name="connsiteY4" fmla="*/ 393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7868">
                  <a:moveTo>
                    <a:pt x="3147" y="6688"/>
                  </a:moveTo>
                  <a:lnTo>
                    <a:pt x="4721" y="8262"/>
                  </a:lnTo>
                  <a:lnTo>
                    <a:pt x="2754" y="0"/>
                  </a:lnTo>
                  <a:lnTo>
                    <a:pt x="0" y="3147"/>
                  </a:lnTo>
                  <a:lnTo>
                    <a:pt x="2754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41" name="Freeform: Shape 3635">
              <a:extLst>
                <a:ext uri="{FF2B5EF4-FFF2-40B4-BE49-F238E27FC236}">
                  <a16:creationId xmlns:a16="http://schemas.microsoft.com/office/drawing/2014/main" id="{398C5A8D-BDDF-4E07-99C0-BAC0079AD97E}"/>
                </a:ext>
              </a:extLst>
            </p:cNvPr>
            <p:cNvSpPr/>
            <p:nvPr/>
          </p:nvSpPr>
          <p:spPr>
            <a:xfrm>
              <a:off x="7245986" y="3054894"/>
              <a:ext cx="3934" cy="3934"/>
            </a:xfrm>
            <a:custGeom>
              <a:avLst/>
              <a:gdLst>
                <a:gd name="connsiteX0" fmla="*/ 1573 w 0"/>
                <a:gd name="connsiteY0" fmla="*/ 0 h 0"/>
                <a:gd name="connsiteX1" fmla="*/ 0 w 0"/>
                <a:gd name="connsiteY1" fmla="*/ 3147 h 0"/>
                <a:gd name="connsiteX2" fmla="*/ 3147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3" y="0"/>
                  </a:moveTo>
                  <a:lnTo>
                    <a:pt x="0" y="3147"/>
                  </a:lnTo>
                  <a:lnTo>
                    <a:pt x="314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42" name="Freeform: Shape 3636">
              <a:extLst>
                <a:ext uri="{FF2B5EF4-FFF2-40B4-BE49-F238E27FC236}">
                  <a16:creationId xmlns:a16="http://schemas.microsoft.com/office/drawing/2014/main" id="{83F489B2-0C85-4E0D-BA2A-E30C2E65B1D2}"/>
                </a:ext>
              </a:extLst>
            </p:cNvPr>
            <p:cNvSpPr/>
            <p:nvPr/>
          </p:nvSpPr>
          <p:spPr>
            <a:xfrm>
              <a:off x="7233396" y="3184724"/>
              <a:ext cx="11803" cy="7869"/>
            </a:xfrm>
            <a:custGeom>
              <a:avLst/>
              <a:gdLst>
                <a:gd name="connsiteX0" fmla="*/ 0 w 11802"/>
                <a:gd name="connsiteY0" fmla="*/ 6688 h 7868"/>
                <a:gd name="connsiteX1" fmla="*/ 1967 w 11802"/>
                <a:gd name="connsiteY1" fmla="*/ 9442 h 7868"/>
                <a:gd name="connsiteX2" fmla="*/ 2360 w 11802"/>
                <a:gd name="connsiteY2" fmla="*/ 9836 h 7868"/>
                <a:gd name="connsiteX3" fmla="*/ 5508 w 11802"/>
                <a:gd name="connsiteY3" fmla="*/ 9442 h 7868"/>
                <a:gd name="connsiteX4" fmla="*/ 8656 w 11802"/>
                <a:gd name="connsiteY4" fmla="*/ 9836 h 7868"/>
                <a:gd name="connsiteX5" fmla="*/ 11409 w 11802"/>
                <a:gd name="connsiteY5" fmla="*/ 10623 h 7868"/>
                <a:gd name="connsiteX6" fmla="*/ 14557 w 11802"/>
                <a:gd name="connsiteY6" fmla="*/ 10623 h 7868"/>
                <a:gd name="connsiteX7" fmla="*/ 11803 w 11802"/>
                <a:gd name="connsiteY7" fmla="*/ 7869 h 7868"/>
                <a:gd name="connsiteX8" fmla="*/ 9049 w 11802"/>
                <a:gd name="connsiteY8" fmla="*/ 8655 h 7868"/>
                <a:gd name="connsiteX9" fmla="*/ 5901 w 11802"/>
                <a:gd name="connsiteY9" fmla="*/ 7475 h 7868"/>
                <a:gd name="connsiteX10" fmla="*/ 5508 w 11802"/>
                <a:gd name="connsiteY10" fmla="*/ 4328 h 7868"/>
                <a:gd name="connsiteX11" fmla="*/ 4328 w 11802"/>
                <a:gd name="connsiteY11" fmla="*/ 1574 h 7868"/>
                <a:gd name="connsiteX12" fmla="*/ 1180 w 11802"/>
                <a:gd name="connsiteY12" fmla="*/ 0 h 7868"/>
                <a:gd name="connsiteX13" fmla="*/ 1180 w 11802"/>
                <a:gd name="connsiteY13" fmla="*/ 393 h 7868"/>
                <a:gd name="connsiteX14" fmla="*/ 1180 w 11802"/>
                <a:gd name="connsiteY14" fmla="*/ 787 h 7868"/>
                <a:gd name="connsiteX15" fmla="*/ 1574 w 11802"/>
                <a:gd name="connsiteY15" fmla="*/ 1180 h 7868"/>
                <a:gd name="connsiteX16" fmla="*/ 1574 w 11802"/>
                <a:gd name="connsiteY16" fmla="*/ 1967 h 7868"/>
                <a:gd name="connsiteX17" fmla="*/ 1180 w 11802"/>
                <a:gd name="connsiteY17" fmla="*/ 2360 h 7868"/>
                <a:gd name="connsiteX18" fmla="*/ 1574 w 11802"/>
                <a:gd name="connsiteY18" fmla="*/ 5114 h 7868"/>
                <a:gd name="connsiteX19" fmla="*/ 1574 w 11802"/>
                <a:gd name="connsiteY19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802" h="7868">
                  <a:moveTo>
                    <a:pt x="0" y="6688"/>
                  </a:moveTo>
                  <a:lnTo>
                    <a:pt x="1967" y="9442"/>
                  </a:lnTo>
                  <a:lnTo>
                    <a:pt x="2360" y="9836"/>
                  </a:lnTo>
                  <a:lnTo>
                    <a:pt x="5508" y="9442"/>
                  </a:lnTo>
                  <a:lnTo>
                    <a:pt x="8656" y="9836"/>
                  </a:lnTo>
                  <a:lnTo>
                    <a:pt x="11409" y="10623"/>
                  </a:lnTo>
                  <a:lnTo>
                    <a:pt x="14557" y="10623"/>
                  </a:lnTo>
                  <a:lnTo>
                    <a:pt x="11803" y="7869"/>
                  </a:lnTo>
                  <a:lnTo>
                    <a:pt x="9049" y="8655"/>
                  </a:lnTo>
                  <a:lnTo>
                    <a:pt x="5901" y="7475"/>
                  </a:lnTo>
                  <a:lnTo>
                    <a:pt x="5508" y="4328"/>
                  </a:lnTo>
                  <a:lnTo>
                    <a:pt x="4328" y="1574"/>
                  </a:lnTo>
                  <a:lnTo>
                    <a:pt x="1180" y="0"/>
                  </a:lnTo>
                  <a:lnTo>
                    <a:pt x="1180" y="393"/>
                  </a:lnTo>
                  <a:lnTo>
                    <a:pt x="1180" y="787"/>
                  </a:lnTo>
                  <a:lnTo>
                    <a:pt x="1574" y="1180"/>
                  </a:lnTo>
                  <a:lnTo>
                    <a:pt x="1574" y="1967"/>
                  </a:lnTo>
                  <a:lnTo>
                    <a:pt x="1180" y="2360"/>
                  </a:lnTo>
                  <a:lnTo>
                    <a:pt x="1574" y="5114"/>
                  </a:lnTo>
                  <a:lnTo>
                    <a:pt x="1574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43" name="Freeform: Shape 3637">
              <a:extLst>
                <a:ext uri="{FF2B5EF4-FFF2-40B4-BE49-F238E27FC236}">
                  <a16:creationId xmlns:a16="http://schemas.microsoft.com/office/drawing/2014/main" id="{06DAAD67-92DE-4173-89AB-978CFA8CDE2D}"/>
                </a:ext>
              </a:extLst>
            </p:cNvPr>
            <p:cNvSpPr/>
            <p:nvPr/>
          </p:nvSpPr>
          <p:spPr>
            <a:xfrm>
              <a:off x="5560940" y="3049385"/>
              <a:ext cx="3934" cy="7869"/>
            </a:xfrm>
            <a:custGeom>
              <a:avLst/>
              <a:gdLst>
                <a:gd name="connsiteX0" fmla="*/ 2754 w 0"/>
                <a:gd name="connsiteY0" fmla="*/ 6295 h 7868"/>
                <a:gd name="connsiteX1" fmla="*/ 3148 w 0"/>
                <a:gd name="connsiteY1" fmla="*/ 3147 h 7868"/>
                <a:gd name="connsiteX2" fmla="*/ 3541 w 0"/>
                <a:gd name="connsiteY2" fmla="*/ 0 h 7868"/>
                <a:gd name="connsiteX3" fmla="*/ 1180 w 0"/>
                <a:gd name="connsiteY3" fmla="*/ 3147 h 7868"/>
                <a:gd name="connsiteX4" fmla="*/ 0 w 0"/>
                <a:gd name="connsiteY4" fmla="*/ 6295 h 7868"/>
                <a:gd name="connsiteX5" fmla="*/ 787 w 0"/>
                <a:gd name="connsiteY5" fmla="*/ 904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7868">
                  <a:moveTo>
                    <a:pt x="2754" y="6295"/>
                  </a:moveTo>
                  <a:lnTo>
                    <a:pt x="3148" y="3147"/>
                  </a:lnTo>
                  <a:lnTo>
                    <a:pt x="3541" y="0"/>
                  </a:lnTo>
                  <a:lnTo>
                    <a:pt x="1180" y="3147"/>
                  </a:lnTo>
                  <a:lnTo>
                    <a:pt x="0" y="6295"/>
                  </a:lnTo>
                  <a:lnTo>
                    <a:pt x="787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44" name="Freeform: Shape 3638">
              <a:extLst>
                <a:ext uri="{FF2B5EF4-FFF2-40B4-BE49-F238E27FC236}">
                  <a16:creationId xmlns:a16="http://schemas.microsoft.com/office/drawing/2014/main" id="{D496AD1F-7CB1-4C4E-A393-119272F715F7}"/>
                </a:ext>
              </a:extLst>
            </p:cNvPr>
            <p:cNvSpPr/>
            <p:nvPr/>
          </p:nvSpPr>
          <p:spPr>
            <a:xfrm>
              <a:off x="9508581" y="2890048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394 w 0"/>
                <a:gd name="connsiteY1" fmla="*/ 393 h 0"/>
                <a:gd name="connsiteX2" fmla="*/ 0 w 0"/>
                <a:gd name="connsiteY2" fmla="*/ 3541 h 0"/>
                <a:gd name="connsiteX3" fmla="*/ 2755 w 0"/>
                <a:gd name="connsiteY3" fmla="*/ 3541 h 0"/>
                <a:gd name="connsiteX4" fmla="*/ 2755 w 0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394" y="393"/>
                  </a:lnTo>
                  <a:lnTo>
                    <a:pt x="0" y="3541"/>
                  </a:lnTo>
                  <a:lnTo>
                    <a:pt x="2755" y="3541"/>
                  </a:lnTo>
                  <a:lnTo>
                    <a:pt x="2755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45" name="Freeform: Shape 3639">
              <a:extLst>
                <a:ext uri="{FF2B5EF4-FFF2-40B4-BE49-F238E27FC236}">
                  <a16:creationId xmlns:a16="http://schemas.microsoft.com/office/drawing/2014/main" id="{0B95F8D0-4470-4928-A6AD-CDA01FBD3F4A}"/>
                </a:ext>
              </a:extLst>
            </p:cNvPr>
            <p:cNvSpPr/>
            <p:nvPr/>
          </p:nvSpPr>
          <p:spPr>
            <a:xfrm>
              <a:off x="9515270" y="2891228"/>
              <a:ext cx="3934" cy="3934"/>
            </a:xfrm>
            <a:custGeom>
              <a:avLst/>
              <a:gdLst>
                <a:gd name="connsiteX0" fmla="*/ 3147 w 3934"/>
                <a:gd name="connsiteY0" fmla="*/ 0 h 0"/>
                <a:gd name="connsiteX1" fmla="*/ 2754 w 3934"/>
                <a:gd name="connsiteY1" fmla="*/ 787 h 0"/>
                <a:gd name="connsiteX2" fmla="*/ 0 w 3934"/>
                <a:gd name="connsiteY2" fmla="*/ 1967 h 0"/>
                <a:gd name="connsiteX3" fmla="*/ 2754 w 3934"/>
                <a:gd name="connsiteY3" fmla="*/ 3147 h 0"/>
                <a:gd name="connsiteX4" fmla="*/ 5508 w 3934"/>
                <a:gd name="connsiteY4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147" y="0"/>
                  </a:moveTo>
                  <a:lnTo>
                    <a:pt x="2754" y="787"/>
                  </a:lnTo>
                  <a:lnTo>
                    <a:pt x="0" y="1967"/>
                  </a:lnTo>
                  <a:lnTo>
                    <a:pt x="2754" y="3147"/>
                  </a:lnTo>
                  <a:lnTo>
                    <a:pt x="550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46" name="Freeform: Shape 3640">
              <a:extLst>
                <a:ext uri="{FF2B5EF4-FFF2-40B4-BE49-F238E27FC236}">
                  <a16:creationId xmlns:a16="http://schemas.microsoft.com/office/drawing/2014/main" id="{5650ABD5-2560-492E-9C6F-49AF26F3B1FE}"/>
                </a:ext>
              </a:extLst>
            </p:cNvPr>
            <p:cNvSpPr/>
            <p:nvPr/>
          </p:nvSpPr>
          <p:spPr>
            <a:xfrm>
              <a:off x="9381505" y="2945914"/>
              <a:ext cx="3934" cy="3934"/>
            </a:xfrm>
            <a:custGeom>
              <a:avLst/>
              <a:gdLst>
                <a:gd name="connsiteX0" fmla="*/ 5901 w 3934"/>
                <a:gd name="connsiteY0" fmla="*/ 4721 h 3934"/>
                <a:gd name="connsiteX1" fmla="*/ 5114 w 3934"/>
                <a:gd name="connsiteY1" fmla="*/ 3541 h 3934"/>
                <a:gd name="connsiteX2" fmla="*/ 1967 w 3934"/>
                <a:gd name="connsiteY2" fmla="*/ 393 h 3934"/>
                <a:gd name="connsiteX3" fmla="*/ 0 w 3934"/>
                <a:gd name="connsiteY3" fmla="*/ 0 h 3934"/>
                <a:gd name="connsiteX4" fmla="*/ 1180 w 3934"/>
                <a:gd name="connsiteY4" fmla="*/ 2754 h 3934"/>
                <a:gd name="connsiteX5" fmla="*/ 1573 w 3934"/>
                <a:gd name="connsiteY5" fmla="*/ 1967 h 3934"/>
                <a:gd name="connsiteX6" fmla="*/ 1967 w 3934"/>
                <a:gd name="connsiteY6" fmla="*/ 2361 h 3934"/>
                <a:gd name="connsiteX7" fmla="*/ 2754 w 3934"/>
                <a:gd name="connsiteY7" fmla="*/ 3541 h 3934"/>
                <a:gd name="connsiteX8" fmla="*/ 5508 w 3934"/>
                <a:gd name="connsiteY8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3934">
                  <a:moveTo>
                    <a:pt x="5901" y="4721"/>
                  </a:moveTo>
                  <a:lnTo>
                    <a:pt x="5114" y="3541"/>
                  </a:lnTo>
                  <a:lnTo>
                    <a:pt x="1967" y="393"/>
                  </a:lnTo>
                  <a:lnTo>
                    <a:pt x="0" y="0"/>
                  </a:lnTo>
                  <a:lnTo>
                    <a:pt x="1180" y="2754"/>
                  </a:lnTo>
                  <a:lnTo>
                    <a:pt x="1573" y="1967"/>
                  </a:lnTo>
                  <a:lnTo>
                    <a:pt x="1967" y="2361"/>
                  </a:lnTo>
                  <a:lnTo>
                    <a:pt x="2754" y="3541"/>
                  </a:lnTo>
                  <a:lnTo>
                    <a:pt x="5508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47" name="Freeform: Shape 3641">
              <a:extLst>
                <a:ext uri="{FF2B5EF4-FFF2-40B4-BE49-F238E27FC236}">
                  <a16:creationId xmlns:a16="http://schemas.microsoft.com/office/drawing/2014/main" id="{4623AB07-A26C-4410-9E11-8A7447C1EA23}"/>
                </a:ext>
              </a:extLst>
            </p:cNvPr>
            <p:cNvSpPr/>
            <p:nvPr/>
          </p:nvSpPr>
          <p:spPr>
            <a:xfrm>
              <a:off x="7289263" y="3170954"/>
              <a:ext cx="11803" cy="11803"/>
            </a:xfrm>
            <a:custGeom>
              <a:avLst/>
              <a:gdLst>
                <a:gd name="connsiteX0" fmla="*/ 2360 w 11802"/>
                <a:gd name="connsiteY0" fmla="*/ 10229 h 11802"/>
                <a:gd name="connsiteX1" fmla="*/ 14557 w 11802"/>
                <a:gd name="connsiteY1" fmla="*/ 14163 h 11802"/>
                <a:gd name="connsiteX2" fmla="*/ 13376 w 11802"/>
                <a:gd name="connsiteY2" fmla="*/ 11016 h 11802"/>
                <a:gd name="connsiteX3" fmla="*/ 12589 w 11802"/>
                <a:gd name="connsiteY3" fmla="*/ 8262 h 11802"/>
                <a:gd name="connsiteX4" fmla="*/ 11016 w 11802"/>
                <a:gd name="connsiteY4" fmla="*/ 5114 h 11802"/>
                <a:gd name="connsiteX5" fmla="*/ 8655 w 11802"/>
                <a:gd name="connsiteY5" fmla="*/ 2360 h 11802"/>
                <a:gd name="connsiteX6" fmla="*/ 5901 w 11802"/>
                <a:gd name="connsiteY6" fmla="*/ 393 h 11802"/>
                <a:gd name="connsiteX7" fmla="*/ 3147 w 11802"/>
                <a:gd name="connsiteY7" fmla="*/ 0 h 11802"/>
                <a:gd name="connsiteX8" fmla="*/ 1967 w 11802"/>
                <a:gd name="connsiteY8" fmla="*/ 2754 h 11802"/>
                <a:gd name="connsiteX9" fmla="*/ 0 w 11802"/>
                <a:gd name="connsiteY9" fmla="*/ 5901 h 11802"/>
                <a:gd name="connsiteX10" fmla="*/ 1967 w 11802"/>
                <a:gd name="connsiteY10" fmla="*/ 865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11802">
                  <a:moveTo>
                    <a:pt x="2360" y="10229"/>
                  </a:moveTo>
                  <a:lnTo>
                    <a:pt x="14557" y="14163"/>
                  </a:lnTo>
                  <a:lnTo>
                    <a:pt x="13376" y="11016"/>
                  </a:lnTo>
                  <a:lnTo>
                    <a:pt x="12589" y="8262"/>
                  </a:lnTo>
                  <a:lnTo>
                    <a:pt x="11016" y="5114"/>
                  </a:lnTo>
                  <a:lnTo>
                    <a:pt x="8655" y="2360"/>
                  </a:lnTo>
                  <a:lnTo>
                    <a:pt x="5901" y="393"/>
                  </a:lnTo>
                  <a:lnTo>
                    <a:pt x="3147" y="0"/>
                  </a:lnTo>
                  <a:lnTo>
                    <a:pt x="1967" y="2754"/>
                  </a:lnTo>
                  <a:lnTo>
                    <a:pt x="0" y="5901"/>
                  </a:lnTo>
                  <a:lnTo>
                    <a:pt x="1967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48" name="Freeform: Shape 3642">
              <a:extLst>
                <a:ext uri="{FF2B5EF4-FFF2-40B4-BE49-F238E27FC236}">
                  <a16:creationId xmlns:a16="http://schemas.microsoft.com/office/drawing/2014/main" id="{605C238F-E4F0-4C15-AE3A-3A200D19DD04}"/>
                </a:ext>
              </a:extLst>
            </p:cNvPr>
            <p:cNvSpPr/>
            <p:nvPr/>
          </p:nvSpPr>
          <p:spPr>
            <a:xfrm>
              <a:off x="7299098" y="3170167"/>
              <a:ext cx="3934" cy="3934"/>
            </a:xfrm>
            <a:custGeom>
              <a:avLst/>
              <a:gdLst>
                <a:gd name="connsiteX0" fmla="*/ 2754 w 0"/>
                <a:gd name="connsiteY0" fmla="*/ 2360 h 0"/>
                <a:gd name="connsiteX1" fmla="*/ 1967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360"/>
                  </a:moveTo>
                  <a:lnTo>
                    <a:pt x="196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49" name="Freeform: Shape 3643">
              <a:extLst>
                <a:ext uri="{FF2B5EF4-FFF2-40B4-BE49-F238E27FC236}">
                  <a16:creationId xmlns:a16="http://schemas.microsoft.com/office/drawing/2014/main" id="{317D5933-EAC3-4360-B23D-394266D3E784}"/>
                </a:ext>
              </a:extLst>
            </p:cNvPr>
            <p:cNvSpPr/>
            <p:nvPr/>
          </p:nvSpPr>
          <p:spPr>
            <a:xfrm>
              <a:off x="7300278" y="3167020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3147 h 0"/>
                <a:gd name="connsiteX2" fmla="*/ 157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3147"/>
                  </a:lnTo>
                  <a:lnTo>
                    <a:pt x="157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50" name="Freeform: Shape 3644">
              <a:extLst>
                <a:ext uri="{FF2B5EF4-FFF2-40B4-BE49-F238E27FC236}">
                  <a16:creationId xmlns:a16="http://schemas.microsoft.com/office/drawing/2014/main" id="{30A47BEA-AD7A-4174-B168-5FD58ABEE3E1}"/>
                </a:ext>
              </a:extLst>
            </p:cNvPr>
            <p:cNvSpPr/>
            <p:nvPr/>
          </p:nvSpPr>
          <p:spPr>
            <a:xfrm>
              <a:off x="7270378" y="3144595"/>
              <a:ext cx="19671" cy="23606"/>
            </a:xfrm>
            <a:custGeom>
              <a:avLst/>
              <a:gdLst>
                <a:gd name="connsiteX0" fmla="*/ 3934 w 19671"/>
                <a:gd name="connsiteY0" fmla="*/ 8655 h 23605"/>
                <a:gd name="connsiteX1" fmla="*/ 5901 w 19671"/>
                <a:gd name="connsiteY1" fmla="*/ 11803 h 23605"/>
                <a:gd name="connsiteX2" fmla="*/ 7869 w 19671"/>
                <a:gd name="connsiteY2" fmla="*/ 14557 h 23605"/>
                <a:gd name="connsiteX3" fmla="*/ 9836 w 19671"/>
                <a:gd name="connsiteY3" fmla="*/ 17311 h 23605"/>
                <a:gd name="connsiteX4" fmla="*/ 11016 w 19671"/>
                <a:gd name="connsiteY4" fmla="*/ 20458 h 23605"/>
                <a:gd name="connsiteX5" fmla="*/ 14163 w 19671"/>
                <a:gd name="connsiteY5" fmla="*/ 22819 h 23605"/>
                <a:gd name="connsiteX6" fmla="*/ 15344 w 19671"/>
                <a:gd name="connsiteY6" fmla="*/ 25573 h 23605"/>
                <a:gd name="connsiteX7" fmla="*/ 18098 w 19671"/>
                <a:gd name="connsiteY7" fmla="*/ 26753 h 23605"/>
                <a:gd name="connsiteX8" fmla="*/ 21245 w 19671"/>
                <a:gd name="connsiteY8" fmla="*/ 24392 h 23605"/>
                <a:gd name="connsiteX9" fmla="*/ 22819 w 19671"/>
                <a:gd name="connsiteY9" fmla="*/ 21245 h 23605"/>
                <a:gd name="connsiteX10" fmla="*/ 20065 w 19671"/>
                <a:gd name="connsiteY10" fmla="*/ 18491 h 23605"/>
                <a:gd name="connsiteX11" fmla="*/ 17311 w 19671"/>
                <a:gd name="connsiteY11" fmla="*/ 16917 h 23605"/>
                <a:gd name="connsiteX12" fmla="*/ 14557 w 19671"/>
                <a:gd name="connsiteY12" fmla="*/ 14163 h 23605"/>
                <a:gd name="connsiteX13" fmla="*/ 12196 w 19671"/>
                <a:gd name="connsiteY13" fmla="*/ 11409 h 23605"/>
                <a:gd name="connsiteX14" fmla="*/ 11016 w 19671"/>
                <a:gd name="connsiteY14" fmla="*/ 8655 h 23605"/>
                <a:gd name="connsiteX15" fmla="*/ 9442 w 19671"/>
                <a:gd name="connsiteY15" fmla="*/ 5901 h 23605"/>
                <a:gd name="connsiteX16" fmla="*/ 6688 w 19671"/>
                <a:gd name="connsiteY16" fmla="*/ 4721 h 23605"/>
                <a:gd name="connsiteX17" fmla="*/ 4721 w 19671"/>
                <a:gd name="connsiteY17" fmla="*/ 1967 h 23605"/>
                <a:gd name="connsiteX18" fmla="*/ 1967 w 19671"/>
                <a:gd name="connsiteY18" fmla="*/ 0 h 23605"/>
                <a:gd name="connsiteX19" fmla="*/ 0 w 19671"/>
                <a:gd name="connsiteY19" fmla="*/ 3147 h 23605"/>
                <a:gd name="connsiteX20" fmla="*/ 1967 w 19671"/>
                <a:gd name="connsiteY20" fmla="*/ 5901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671" h="23605">
                  <a:moveTo>
                    <a:pt x="3934" y="8655"/>
                  </a:moveTo>
                  <a:lnTo>
                    <a:pt x="5901" y="11803"/>
                  </a:lnTo>
                  <a:lnTo>
                    <a:pt x="7869" y="14557"/>
                  </a:lnTo>
                  <a:lnTo>
                    <a:pt x="9836" y="17311"/>
                  </a:lnTo>
                  <a:lnTo>
                    <a:pt x="11016" y="20458"/>
                  </a:lnTo>
                  <a:lnTo>
                    <a:pt x="14163" y="22819"/>
                  </a:lnTo>
                  <a:lnTo>
                    <a:pt x="15344" y="25573"/>
                  </a:lnTo>
                  <a:lnTo>
                    <a:pt x="18098" y="26753"/>
                  </a:lnTo>
                  <a:lnTo>
                    <a:pt x="21245" y="24392"/>
                  </a:lnTo>
                  <a:lnTo>
                    <a:pt x="22819" y="21245"/>
                  </a:lnTo>
                  <a:lnTo>
                    <a:pt x="20065" y="18491"/>
                  </a:lnTo>
                  <a:lnTo>
                    <a:pt x="17311" y="16917"/>
                  </a:lnTo>
                  <a:lnTo>
                    <a:pt x="14557" y="14163"/>
                  </a:lnTo>
                  <a:lnTo>
                    <a:pt x="12196" y="11409"/>
                  </a:lnTo>
                  <a:lnTo>
                    <a:pt x="11016" y="8655"/>
                  </a:lnTo>
                  <a:lnTo>
                    <a:pt x="9442" y="5901"/>
                  </a:lnTo>
                  <a:lnTo>
                    <a:pt x="6688" y="4721"/>
                  </a:lnTo>
                  <a:lnTo>
                    <a:pt x="4721" y="1967"/>
                  </a:lnTo>
                  <a:lnTo>
                    <a:pt x="1967" y="0"/>
                  </a:lnTo>
                  <a:lnTo>
                    <a:pt x="0" y="3147"/>
                  </a:lnTo>
                  <a:lnTo>
                    <a:pt x="196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51" name="Freeform: Shape 3645">
              <a:extLst>
                <a:ext uri="{FF2B5EF4-FFF2-40B4-BE49-F238E27FC236}">
                  <a16:creationId xmlns:a16="http://schemas.microsoft.com/office/drawing/2014/main" id="{2FC1C8FB-BB97-400F-80BF-FFEF09954CA6}"/>
                </a:ext>
              </a:extLst>
            </p:cNvPr>
            <p:cNvSpPr/>
            <p:nvPr/>
          </p:nvSpPr>
          <p:spPr>
            <a:xfrm>
              <a:off x="7301852" y="3159938"/>
              <a:ext cx="3934" cy="7869"/>
            </a:xfrm>
            <a:custGeom>
              <a:avLst/>
              <a:gdLst>
                <a:gd name="connsiteX0" fmla="*/ 2360 w 0"/>
                <a:gd name="connsiteY0" fmla="*/ 9049 h 7868"/>
                <a:gd name="connsiteX1" fmla="*/ 3541 w 0"/>
                <a:gd name="connsiteY1" fmla="*/ 5901 h 7868"/>
                <a:gd name="connsiteX2" fmla="*/ 3148 w 0"/>
                <a:gd name="connsiteY2" fmla="*/ 2754 h 7868"/>
                <a:gd name="connsiteX3" fmla="*/ 1180 w 0"/>
                <a:gd name="connsiteY3" fmla="*/ 0 h 7868"/>
                <a:gd name="connsiteX4" fmla="*/ 787 w 0"/>
                <a:gd name="connsiteY4" fmla="*/ 3147 h 7868"/>
                <a:gd name="connsiteX5" fmla="*/ 0 w 0"/>
                <a:gd name="connsiteY5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7868">
                  <a:moveTo>
                    <a:pt x="2360" y="9049"/>
                  </a:moveTo>
                  <a:lnTo>
                    <a:pt x="3541" y="5901"/>
                  </a:lnTo>
                  <a:lnTo>
                    <a:pt x="3148" y="2754"/>
                  </a:lnTo>
                  <a:lnTo>
                    <a:pt x="1180" y="0"/>
                  </a:lnTo>
                  <a:lnTo>
                    <a:pt x="787" y="3147"/>
                  </a:lnTo>
                  <a:lnTo>
                    <a:pt x="0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52" name="Freeform: Shape 3646">
              <a:extLst>
                <a:ext uri="{FF2B5EF4-FFF2-40B4-BE49-F238E27FC236}">
                  <a16:creationId xmlns:a16="http://schemas.microsoft.com/office/drawing/2014/main" id="{E9DCA963-D531-4453-A68C-7A3DA1A6846B}"/>
                </a:ext>
              </a:extLst>
            </p:cNvPr>
            <p:cNvSpPr/>
            <p:nvPr/>
          </p:nvSpPr>
          <p:spPr>
            <a:xfrm>
              <a:off x="7285722" y="3152070"/>
              <a:ext cx="11803" cy="7869"/>
            </a:xfrm>
            <a:custGeom>
              <a:avLst/>
              <a:gdLst>
                <a:gd name="connsiteX0" fmla="*/ 2754 w 11802"/>
                <a:gd name="connsiteY0" fmla="*/ 1574 h 7868"/>
                <a:gd name="connsiteX1" fmla="*/ 0 w 11802"/>
                <a:gd name="connsiteY1" fmla="*/ 0 h 7868"/>
                <a:gd name="connsiteX2" fmla="*/ 1967 w 11802"/>
                <a:gd name="connsiteY2" fmla="*/ 2754 h 7868"/>
                <a:gd name="connsiteX3" fmla="*/ 4721 w 11802"/>
                <a:gd name="connsiteY3" fmla="*/ 5901 h 7868"/>
                <a:gd name="connsiteX4" fmla="*/ 7475 w 11802"/>
                <a:gd name="connsiteY4" fmla="*/ 6295 h 7868"/>
                <a:gd name="connsiteX5" fmla="*/ 10622 w 11802"/>
                <a:gd name="connsiteY5" fmla="*/ 6688 h 7868"/>
                <a:gd name="connsiteX6" fmla="*/ 12983 w 11802"/>
                <a:gd name="connsiteY6" fmla="*/ 9836 h 7868"/>
                <a:gd name="connsiteX7" fmla="*/ 12589 w 11802"/>
                <a:gd name="connsiteY7" fmla="*/ 7082 h 7868"/>
                <a:gd name="connsiteX8" fmla="*/ 11409 w 11802"/>
                <a:gd name="connsiteY8" fmla="*/ 4328 h 7868"/>
                <a:gd name="connsiteX9" fmla="*/ 8655 w 11802"/>
                <a:gd name="connsiteY9" fmla="*/ 1574 h 7868"/>
                <a:gd name="connsiteX10" fmla="*/ 8262 w 11802"/>
                <a:gd name="connsiteY10" fmla="*/ 4721 h 7868"/>
                <a:gd name="connsiteX11" fmla="*/ 5114 w 11802"/>
                <a:gd name="connsiteY11" fmla="*/ 432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7868">
                  <a:moveTo>
                    <a:pt x="2754" y="1574"/>
                  </a:moveTo>
                  <a:lnTo>
                    <a:pt x="0" y="0"/>
                  </a:lnTo>
                  <a:lnTo>
                    <a:pt x="1967" y="2754"/>
                  </a:lnTo>
                  <a:lnTo>
                    <a:pt x="4721" y="5901"/>
                  </a:lnTo>
                  <a:lnTo>
                    <a:pt x="7475" y="6295"/>
                  </a:lnTo>
                  <a:lnTo>
                    <a:pt x="10622" y="6688"/>
                  </a:lnTo>
                  <a:lnTo>
                    <a:pt x="12983" y="9836"/>
                  </a:lnTo>
                  <a:lnTo>
                    <a:pt x="12589" y="7082"/>
                  </a:lnTo>
                  <a:lnTo>
                    <a:pt x="11409" y="4328"/>
                  </a:lnTo>
                  <a:lnTo>
                    <a:pt x="8655" y="1574"/>
                  </a:lnTo>
                  <a:lnTo>
                    <a:pt x="8262" y="4721"/>
                  </a:lnTo>
                  <a:lnTo>
                    <a:pt x="5114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53" name="Freeform: Shape 3647">
              <a:extLst>
                <a:ext uri="{FF2B5EF4-FFF2-40B4-BE49-F238E27FC236}">
                  <a16:creationId xmlns:a16="http://schemas.microsoft.com/office/drawing/2014/main" id="{C82301BA-7BEA-4D6A-AB72-DB9CDD362DEC}"/>
                </a:ext>
              </a:extLst>
            </p:cNvPr>
            <p:cNvSpPr/>
            <p:nvPr/>
          </p:nvSpPr>
          <p:spPr>
            <a:xfrm>
              <a:off x="7300672" y="3148922"/>
              <a:ext cx="3934" cy="3934"/>
            </a:xfrm>
            <a:custGeom>
              <a:avLst/>
              <a:gdLst>
                <a:gd name="connsiteX0" fmla="*/ 0 w 0"/>
                <a:gd name="connsiteY0" fmla="*/ 0 h 3934"/>
                <a:gd name="connsiteX1" fmla="*/ 1180 w 0"/>
                <a:gd name="connsiteY1" fmla="*/ 6688 h 3934"/>
                <a:gd name="connsiteX2" fmla="*/ 1180 w 0"/>
                <a:gd name="connsiteY2" fmla="*/ 5901 h 3934"/>
                <a:gd name="connsiteX3" fmla="*/ 787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0"/>
                  </a:moveTo>
                  <a:lnTo>
                    <a:pt x="1180" y="6688"/>
                  </a:lnTo>
                  <a:lnTo>
                    <a:pt x="1180" y="5901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54" name="Freeform: Shape 3648">
              <a:extLst>
                <a:ext uri="{FF2B5EF4-FFF2-40B4-BE49-F238E27FC236}">
                  <a16:creationId xmlns:a16="http://schemas.microsoft.com/office/drawing/2014/main" id="{C67CC01A-6219-4D0E-8250-100B6A84DEC2}"/>
                </a:ext>
              </a:extLst>
            </p:cNvPr>
            <p:cNvSpPr/>
            <p:nvPr/>
          </p:nvSpPr>
          <p:spPr>
            <a:xfrm>
              <a:off x="8941260" y="3163873"/>
              <a:ext cx="3934" cy="3934"/>
            </a:xfrm>
            <a:custGeom>
              <a:avLst/>
              <a:gdLst>
                <a:gd name="connsiteX0" fmla="*/ 3934 w 3934"/>
                <a:gd name="connsiteY0" fmla="*/ 6688 h 3934"/>
                <a:gd name="connsiteX1" fmla="*/ 3934 w 3934"/>
                <a:gd name="connsiteY1" fmla="*/ 3934 h 3934"/>
                <a:gd name="connsiteX2" fmla="*/ 4328 w 3934"/>
                <a:gd name="connsiteY2" fmla="*/ 1180 h 3934"/>
                <a:gd name="connsiteX3" fmla="*/ 1574 w 3934"/>
                <a:gd name="connsiteY3" fmla="*/ 0 h 3934"/>
                <a:gd name="connsiteX4" fmla="*/ 0 w 3934"/>
                <a:gd name="connsiteY4" fmla="*/ 787 h 3934"/>
                <a:gd name="connsiteX5" fmla="*/ 787 w 3934"/>
                <a:gd name="connsiteY5" fmla="*/ 3541 h 3934"/>
                <a:gd name="connsiteX6" fmla="*/ 787 w 3934"/>
                <a:gd name="connsiteY6" fmla="*/ 668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3934" y="6688"/>
                  </a:moveTo>
                  <a:lnTo>
                    <a:pt x="3934" y="3934"/>
                  </a:lnTo>
                  <a:lnTo>
                    <a:pt x="4328" y="1180"/>
                  </a:lnTo>
                  <a:lnTo>
                    <a:pt x="1574" y="0"/>
                  </a:lnTo>
                  <a:lnTo>
                    <a:pt x="0" y="787"/>
                  </a:lnTo>
                  <a:lnTo>
                    <a:pt x="787" y="3541"/>
                  </a:lnTo>
                  <a:lnTo>
                    <a:pt x="787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55" name="Freeform: Shape 3649">
              <a:extLst>
                <a:ext uri="{FF2B5EF4-FFF2-40B4-BE49-F238E27FC236}">
                  <a16:creationId xmlns:a16="http://schemas.microsoft.com/office/drawing/2014/main" id="{D1E0BD31-8698-4459-A733-B775B5DB9C7B}"/>
                </a:ext>
              </a:extLst>
            </p:cNvPr>
            <p:cNvSpPr/>
            <p:nvPr/>
          </p:nvSpPr>
          <p:spPr>
            <a:xfrm>
              <a:off x="8851559" y="3172528"/>
              <a:ext cx="7869" cy="11803"/>
            </a:xfrm>
            <a:custGeom>
              <a:avLst/>
              <a:gdLst>
                <a:gd name="connsiteX0" fmla="*/ 7869 w 7868"/>
                <a:gd name="connsiteY0" fmla="*/ 3148 h 11802"/>
                <a:gd name="connsiteX1" fmla="*/ 6688 w 7868"/>
                <a:gd name="connsiteY1" fmla="*/ 0 h 11802"/>
                <a:gd name="connsiteX2" fmla="*/ 6295 w 7868"/>
                <a:gd name="connsiteY2" fmla="*/ 394 h 11802"/>
                <a:gd name="connsiteX3" fmla="*/ 4328 w 7868"/>
                <a:gd name="connsiteY3" fmla="*/ 3541 h 11802"/>
                <a:gd name="connsiteX4" fmla="*/ 2754 w 7868"/>
                <a:gd name="connsiteY4" fmla="*/ 6295 h 11802"/>
                <a:gd name="connsiteX5" fmla="*/ 0 w 7868"/>
                <a:gd name="connsiteY5" fmla="*/ 8655 h 11802"/>
                <a:gd name="connsiteX6" fmla="*/ 1967 w 7868"/>
                <a:gd name="connsiteY6" fmla="*/ 11803 h 11802"/>
                <a:gd name="connsiteX7" fmla="*/ 4721 w 7868"/>
                <a:gd name="connsiteY7" fmla="*/ 8655 h 11802"/>
                <a:gd name="connsiteX8" fmla="*/ 6688 w 7868"/>
                <a:gd name="connsiteY8" fmla="*/ 5901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11802">
                  <a:moveTo>
                    <a:pt x="7869" y="3148"/>
                  </a:moveTo>
                  <a:lnTo>
                    <a:pt x="6688" y="0"/>
                  </a:lnTo>
                  <a:lnTo>
                    <a:pt x="6295" y="394"/>
                  </a:lnTo>
                  <a:lnTo>
                    <a:pt x="4328" y="3541"/>
                  </a:lnTo>
                  <a:lnTo>
                    <a:pt x="2754" y="6295"/>
                  </a:lnTo>
                  <a:lnTo>
                    <a:pt x="0" y="8655"/>
                  </a:lnTo>
                  <a:lnTo>
                    <a:pt x="1967" y="11803"/>
                  </a:lnTo>
                  <a:lnTo>
                    <a:pt x="4721" y="8655"/>
                  </a:lnTo>
                  <a:lnTo>
                    <a:pt x="6688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56" name="Freeform: Shape 3650">
              <a:extLst>
                <a:ext uri="{FF2B5EF4-FFF2-40B4-BE49-F238E27FC236}">
                  <a16:creationId xmlns:a16="http://schemas.microsoft.com/office/drawing/2014/main" id="{BD11C2CE-C505-468A-9755-6DC46A8BDFA5}"/>
                </a:ext>
              </a:extLst>
            </p:cNvPr>
            <p:cNvSpPr/>
            <p:nvPr/>
          </p:nvSpPr>
          <p:spPr>
            <a:xfrm>
              <a:off x="8816151" y="3060008"/>
              <a:ext cx="7869" cy="7869"/>
            </a:xfrm>
            <a:custGeom>
              <a:avLst/>
              <a:gdLst>
                <a:gd name="connsiteX0" fmla="*/ 4328 w 7868"/>
                <a:gd name="connsiteY0" fmla="*/ 8655 h 7868"/>
                <a:gd name="connsiteX1" fmla="*/ 7081 w 7868"/>
                <a:gd name="connsiteY1" fmla="*/ 8655 h 7868"/>
                <a:gd name="connsiteX2" fmla="*/ 9442 w 7868"/>
                <a:gd name="connsiteY2" fmla="*/ 6295 h 7868"/>
                <a:gd name="connsiteX3" fmla="*/ 7081 w 7868"/>
                <a:gd name="connsiteY3" fmla="*/ 3541 h 7868"/>
                <a:gd name="connsiteX4" fmla="*/ 4328 w 7868"/>
                <a:gd name="connsiteY4" fmla="*/ 2754 h 7868"/>
                <a:gd name="connsiteX5" fmla="*/ 1574 w 7868"/>
                <a:gd name="connsiteY5" fmla="*/ 0 h 7868"/>
                <a:gd name="connsiteX6" fmla="*/ 0 w 7868"/>
                <a:gd name="connsiteY6" fmla="*/ 3147 h 7868"/>
                <a:gd name="connsiteX7" fmla="*/ 2360 w 7868"/>
                <a:gd name="connsiteY7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7868">
                  <a:moveTo>
                    <a:pt x="4328" y="8655"/>
                  </a:moveTo>
                  <a:lnTo>
                    <a:pt x="7081" y="8655"/>
                  </a:lnTo>
                  <a:lnTo>
                    <a:pt x="9442" y="6295"/>
                  </a:lnTo>
                  <a:lnTo>
                    <a:pt x="7081" y="3541"/>
                  </a:lnTo>
                  <a:lnTo>
                    <a:pt x="4328" y="2754"/>
                  </a:lnTo>
                  <a:lnTo>
                    <a:pt x="1574" y="0"/>
                  </a:lnTo>
                  <a:lnTo>
                    <a:pt x="0" y="3147"/>
                  </a:lnTo>
                  <a:lnTo>
                    <a:pt x="2360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57" name="Freeform: Shape 3651">
              <a:extLst>
                <a:ext uri="{FF2B5EF4-FFF2-40B4-BE49-F238E27FC236}">
                  <a16:creationId xmlns:a16="http://schemas.microsoft.com/office/drawing/2014/main" id="{F5282191-76D0-4142-B4BE-68298DC99616}"/>
                </a:ext>
              </a:extLst>
            </p:cNvPr>
            <p:cNvSpPr/>
            <p:nvPr/>
          </p:nvSpPr>
          <p:spPr>
            <a:xfrm>
              <a:off x="8863755" y="3183544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118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118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58" name="Freeform: Shape 3652">
              <a:extLst>
                <a:ext uri="{FF2B5EF4-FFF2-40B4-BE49-F238E27FC236}">
                  <a16:creationId xmlns:a16="http://schemas.microsoft.com/office/drawing/2014/main" id="{5BCCD130-85A5-4AFB-99F5-CD211B6CFCBB}"/>
                </a:ext>
              </a:extLst>
            </p:cNvPr>
            <p:cNvSpPr/>
            <p:nvPr/>
          </p:nvSpPr>
          <p:spPr>
            <a:xfrm>
              <a:off x="8813790" y="3082827"/>
              <a:ext cx="7869" cy="3934"/>
            </a:xfrm>
            <a:custGeom>
              <a:avLst/>
              <a:gdLst>
                <a:gd name="connsiteX0" fmla="*/ 7081 w 7868"/>
                <a:gd name="connsiteY0" fmla="*/ 393 h 3934"/>
                <a:gd name="connsiteX1" fmla="*/ 4328 w 7868"/>
                <a:gd name="connsiteY1" fmla="*/ 0 h 3934"/>
                <a:gd name="connsiteX2" fmla="*/ 3147 w 7868"/>
                <a:gd name="connsiteY2" fmla="*/ 0 h 3934"/>
                <a:gd name="connsiteX3" fmla="*/ 0 w 7868"/>
                <a:gd name="connsiteY3" fmla="*/ 1180 h 3934"/>
                <a:gd name="connsiteX4" fmla="*/ 2360 w 7868"/>
                <a:gd name="connsiteY4" fmla="*/ 4328 h 3934"/>
                <a:gd name="connsiteX5" fmla="*/ 5114 w 7868"/>
                <a:gd name="connsiteY5" fmla="*/ 7082 h 3934"/>
                <a:gd name="connsiteX6" fmla="*/ 8262 w 7868"/>
                <a:gd name="connsiteY6" fmla="*/ 6295 h 3934"/>
                <a:gd name="connsiteX7" fmla="*/ 7869 w 7868"/>
                <a:gd name="connsiteY7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7081" y="393"/>
                  </a:moveTo>
                  <a:lnTo>
                    <a:pt x="4328" y="0"/>
                  </a:lnTo>
                  <a:lnTo>
                    <a:pt x="3147" y="0"/>
                  </a:lnTo>
                  <a:lnTo>
                    <a:pt x="0" y="1180"/>
                  </a:lnTo>
                  <a:lnTo>
                    <a:pt x="2360" y="4328"/>
                  </a:lnTo>
                  <a:lnTo>
                    <a:pt x="5114" y="7082"/>
                  </a:lnTo>
                  <a:lnTo>
                    <a:pt x="8262" y="6295"/>
                  </a:lnTo>
                  <a:lnTo>
                    <a:pt x="7869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59" name="Freeform: Shape 3653">
              <a:extLst>
                <a:ext uri="{FF2B5EF4-FFF2-40B4-BE49-F238E27FC236}">
                  <a16:creationId xmlns:a16="http://schemas.microsoft.com/office/drawing/2014/main" id="{70270DBB-866D-4F66-A0BF-E2A3C663B0C7}"/>
                </a:ext>
              </a:extLst>
            </p:cNvPr>
            <p:cNvSpPr/>
            <p:nvPr/>
          </p:nvSpPr>
          <p:spPr>
            <a:xfrm>
              <a:off x="8805922" y="3046632"/>
              <a:ext cx="3934" cy="3934"/>
            </a:xfrm>
            <a:custGeom>
              <a:avLst/>
              <a:gdLst>
                <a:gd name="connsiteX0" fmla="*/ 1180 w 3934"/>
                <a:gd name="connsiteY0" fmla="*/ 0 h 3934"/>
                <a:gd name="connsiteX1" fmla="*/ 0 w 3934"/>
                <a:gd name="connsiteY1" fmla="*/ 0 h 3934"/>
                <a:gd name="connsiteX2" fmla="*/ 1573 w 3934"/>
                <a:gd name="connsiteY2" fmla="*/ 2754 h 3934"/>
                <a:gd name="connsiteX3" fmla="*/ 4328 w 3934"/>
                <a:gd name="connsiteY3" fmla="*/ 5901 h 3934"/>
                <a:gd name="connsiteX4" fmla="*/ 3934 w 3934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1180" y="0"/>
                  </a:moveTo>
                  <a:lnTo>
                    <a:pt x="0" y="0"/>
                  </a:lnTo>
                  <a:lnTo>
                    <a:pt x="1573" y="2754"/>
                  </a:lnTo>
                  <a:lnTo>
                    <a:pt x="4328" y="5901"/>
                  </a:lnTo>
                  <a:lnTo>
                    <a:pt x="393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60" name="Freeform: Shape 3654">
              <a:extLst>
                <a:ext uri="{FF2B5EF4-FFF2-40B4-BE49-F238E27FC236}">
                  <a16:creationId xmlns:a16="http://schemas.microsoft.com/office/drawing/2014/main" id="{155F1E05-2075-436B-A386-1607C5B54370}"/>
                </a:ext>
              </a:extLst>
            </p:cNvPr>
            <p:cNvSpPr/>
            <p:nvPr/>
          </p:nvSpPr>
          <p:spPr>
            <a:xfrm>
              <a:off x="8791364" y="3041910"/>
              <a:ext cx="3934" cy="7869"/>
            </a:xfrm>
            <a:custGeom>
              <a:avLst/>
              <a:gdLst>
                <a:gd name="connsiteX0" fmla="*/ 2360 w 3934"/>
                <a:gd name="connsiteY0" fmla="*/ 2754 h 7868"/>
                <a:gd name="connsiteX1" fmla="*/ 0 w 3934"/>
                <a:gd name="connsiteY1" fmla="*/ 0 h 7868"/>
                <a:gd name="connsiteX2" fmla="*/ 1180 w 3934"/>
                <a:gd name="connsiteY2" fmla="*/ 2754 h 7868"/>
                <a:gd name="connsiteX3" fmla="*/ 1180 w 3934"/>
                <a:gd name="connsiteY3" fmla="*/ 3147 h 7868"/>
                <a:gd name="connsiteX4" fmla="*/ 3148 w 3934"/>
                <a:gd name="connsiteY4" fmla="*/ 5901 h 7868"/>
                <a:gd name="connsiteX5" fmla="*/ 4328 w 3934"/>
                <a:gd name="connsiteY5" fmla="*/ 8655 h 7868"/>
                <a:gd name="connsiteX6" fmla="*/ 3541 w 3934"/>
                <a:gd name="connsiteY6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2360" y="2754"/>
                  </a:moveTo>
                  <a:lnTo>
                    <a:pt x="0" y="0"/>
                  </a:lnTo>
                  <a:lnTo>
                    <a:pt x="1180" y="2754"/>
                  </a:lnTo>
                  <a:lnTo>
                    <a:pt x="1180" y="3147"/>
                  </a:lnTo>
                  <a:lnTo>
                    <a:pt x="3148" y="5901"/>
                  </a:lnTo>
                  <a:lnTo>
                    <a:pt x="4328" y="8655"/>
                  </a:lnTo>
                  <a:lnTo>
                    <a:pt x="3541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61" name="Freeform: Shape 3655">
              <a:extLst>
                <a:ext uri="{FF2B5EF4-FFF2-40B4-BE49-F238E27FC236}">
                  <a16:creationId xmlns:a16="http://schemas.microsoft.com/office/drawing/2014/main" id="{B56A0006-C546-4FC1-978A-8782FE0BA5A0}"/>
                </a:ext>
              </a:extLst>
            </p:cNvPr>
            <p:cNvSpPr/>
            <p:nvPr/>
          </p:nvSpPr>
          <p:spPr>
            <a:xfrm>
              <a:off x="8451051" y="3186298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967 h 0"/>
                <a:gd name="connsiteX2" fmla="*/ 2754 w 0"/>
                <a:gd name="connsiteY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967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62" name="Freeform: Shape 3656">
              <a:extLst>
                <a:ext uri="{FF2B5EF4-FFF2-40B4-BE49-F238E27FC236}">
                  <a16:creationId xmlns:a16="http://schemas.microsoft.com/office/drawing/2014/main" id="{EEE86541-9003-4078-825E-73646D3C746A}"/>
                </a:ext>
              </a:extLst>
            </p:cNvPr>
            <p:cNvSpPr/>
            <p:nvPr/>
          </p:nvSpPr>
          <p:spPr>
            <a:xfrm>
              <a:off x="9608511" y="3165053"/>
              <a:ext cx="3934" cy="3934"/>
            </a:xfrm>
            <a:custGeom>
              <a:avLst/>
              <a:gdLst>
                <a:gd name="connsiteX0" fmla="*/ 2360 w 0"/>
                <a:gd name="connsiteY0" fmla="*/ 3147 h 0"/>
                <a:gd name="connsiteX1" fmla="*/ 2754 w 0"/>
                <a:gd name="connsiteY1" fmla="*/ 275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0" y="3147"/>
                  </a:moveTo>
                  <a:lnTo>
                    <a:pt x="2754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63" name="Freeform: Shape 3657">
              <a:extLst>
                <a:ext uri="{FF2B5EF4-FFF2-40B4-BE49-F238E27FC236}">
                  <a16:creationId xmlns:a16="http://schemas.microsoft.com/office/drawing/2014/main" id="{D80BEBD3-DE50-4984-8B4E-B1A9848C3AC7}"/>
                </a:ext>
              </a:extLst>
            </p:cNvPr>
            <p:cNvSpPr/>
            <p:nvPr/>
          </p:nvSpPr>
          <p:spPr>
            <a:xfrm>
              <a:off x="9626216" y="3364127"/>
              <a:ext cx="3934" cy="3934"/>
            </a:xfrm>
            <a:custGeom>
              <a:avLst/>
              <a:gdLst>
                <a:gd name="connsiteX0" fmla="*/ 7475 w 3934"/>
                <a:gd name="connsiteY0" fmla="*/ 787 h 3934"/>
                <a:gd name="connsiteX1" fmla="*/ 4327 w 3934"/>
                <a:gd name="connsiteY1" fmla="*/ 0 h 3934"/>
                <a:gd name="connsiteX2" fmla="*/ 1967 w 3934"/>
                <a:gd name="connsiteY2" fmla="*/ 1967 h 3934"/>
                <a:gd name="connsiteX3" fmla="*/ 1967 w 3934"/>
                <a:gd name="connsiteY3" fmla="*/ 394 h 3934"/>
                <a:gd name="connsiteX4" fmla="*/ 0 w 3934"/>
                <a:gd name="connsiteY4" fmla="*/ 3541 h 3934"/>
                <a:gd name="connsiteX5" fmla="*/ 787 w 3934"/>
                <a:gd name="connsiteY5" fmla="*/ 4721 h 3934"/>
                <a:gd name="connsiteX6" fmla="*/ 787 w 3934"/>
                <a:gd name="connsiteY6" fmla="*/ 5114 h 3934"/>
                <a:gd name="connsiteX7" fmla="*/ 1180 w 3934"/>
                <a:gd name="connsiteY7" fmla="*/ 5114 h 3934"/>
                <a:gd name="connsiteX8" fmla="*/ 1967 w 3934"/>
                <a:gd name="connsiteY8" fmla="*/ 6295 h 3934"/>
                <a:gd name="connsiteX9" fmla="*/ 1967 w 3934"/>
                <a:gd name="connsiteY9" fmla="*/ 5508 h 3934"/>
                <a:gd name="connsiteX10" fmla="*/ 3934 w 3934"/>
                <a:gd name="connsiteY10" fmla="*/ 5508 h 3934"/>
                <a:gd name="connsiteX11" fmla="*/ 4721 w 3934"/>
                <a:gd name="connsiteY11" fmla="*/ 2754 h 3934"/>
                <a:gd name="connsiteX12" fmla="*/ 7475 w 3934"/>
                <a:gd name="connsiteY12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34" h="3934">
                  <a:moveTo>
                    <a:pt x="7475" y="787"/>
                  </a:moveTo>
                  <a:lnTo>
                    <a:pt x="4327" y="0"/>
                  </a:lnTo>
                  <a:lnTo>
                    <a:pt x="1967" y="1967"/>
                  </a:lnTo>
                  <a:lnTo>
                    <a:pt x="1967" y="394"/>
                  </a:lnTo>
                  <a:lnTo>
                    <a:pt x="0" y="3541"/>
                  </a:lnTo>
                  <a:lnTo>
                    <a:pt x="787" y="4721"/>
                  </a:lnTo>
                  <a:lnTo>
                    <a:pt x="787" y="5114"/>
                  </a:lnTo>
                  <a:lnTo>
                    <a:pt x="1180" y="5114"/>
                  </a:lnTo>
                  <a:lnTo>
                    <a:pt x="1967" y="6295"/>
                  </a:lnTo>
                  <a:lnTo>
                    <a:pt x="1967" y="5508"/>
                  </a:lnTo>
                  <a:lnTo>
                    <a:pt x="3934" y="5508"/>
                  </a:lnTo>
                  <a:lnTo>
                    <a:pt x="4721" y="2754"/>
                  </a:lnTo>
                  <a:lnTo>
                    <a:pt x="7475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64" name="Freeform: Shape 3658">
              <a:extLst>
                <a:ext uri="{FF2B5EF4-FFF2-40B4-BE49-F238E27FC236}">
                  <a16:creationId xmlns:a16="http://schemas.microsoft.com/office/drawing/2014/main" id="{5FB87C83-0E55-4CDF-9FFD-0B0BD3504160}"/>
                </a:ext>
              </a:extLst>
            </p:cNvPr>
            <p:cNvSpPr/>
            <p:nvPr/>
          </p:nvSpPr>
          <p:spPr>
            <a:xfrm>
              <a:off x="9623068" y="3335800"/>
              <a:ext cx="3934" cy="3934"/>
            </a:xfrm>
            <a:custGeom>
              <a:avLst/>
              <a:gdLst>
                <a:gd name="connsiteX0" fmla="*/ 3148 w 0"/>
                <a:gd name="connsiteY0" fmla="*/ 2361 h 0"/>
                <a:gd name="connsiteX1" fmla="*/ 3148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2361"/>
                  </a:moveTo>
                  <a:lnTo>
                    <a:pt x="3148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65" name="Freeform: Shape 3659">
              <a:extLst>
                <a:ext uri="{FF2B5EF4-FFF2-40B4-BE49-F238E27FC236}">
                  <a16:creationId xmlns:a16="http://schemas.microsoft.com/office/drawing/2014/main" id="{2B78B175-DF24-4A70-9C55-455F8C449B6E}"/>
                </a:ext>
              </a:extLst>
            </p:cNvPr>
            <p:cNvSpPr/>
            <p:nvPr/>
          </p:nvSpPr>
          <p:spPr>
            <a:xfrm>
              <a:off x="9624249" y="3305506"/>
              <a:ext cx="11803" cy="7869"/>
            </a:xfrm>
            <a:custGeom>
              <a:avLst/>
              <a:gdLst>
                <a:gd name="connsiteX0" fmla="*/ 787 w 11802"/>
                <a:gd name="connsiteY0" fmla="*/ 787 h 7868"/>
                <a:gd name="connsiteX1" fmla="*/ 0 w 11802"/>
                <a:gd name="connsiteY1" fmla="*/ 3541 h 7868"/>
                <a:gd name="connsiteX2" fmla="*/ 0 w 11802"/>
                <a:gd name="connsiteY2" fmla="*/ 6295 h 7868"/>
                <a:gd name="connsiteX3" fmla="*/ 3148 w 11802"/>
                <a:gd name="connsiteY3" fmla="*/ 9049 h 7868"/>
                <a:gd name="connsiteX4" fmla="*/ 4721 w 11802"/>
                <a:gd name="connsiteY4" fmla="*/ 11409 h 7868"/>
                <a:gd name="connsiteX5" fmla="*/ 5115 w 11802"/>
                <a:gd name="connsiteY5" fmla="*/ 11409 h 7868"/>
                <a:gd name="connsiteX6" fmla="*/ 6294 w 11802"/>
                <a:gd name="connsiteY6" fmla="*/ 11409 h 7868"/>
                <a:gd name="connsiteX7" fmla="*/ 7082 w 11802"/>
                <a:gd name="connsiteY7" fmla="*/ 11409 h 7868"/>
                <a:gd name="connsiteX8" fmla="*/ 7869 w 11802"/>
                <a:gd name="connsiteY8" fmla="*/ 11409 h 7868"/>
                <a:gd name="connsiteX9" fmla="*/ 8261 w 11802"/>
                <a:gd name="connsiteY9" fmla="*/ 11409 h 7868"/>
                <a:gd name="connsiteX10" fmla="*/ 8655 w 11802"/>
                <a:gd name="connsiteY10" fmla="*/ 11409 h 7868"/>
                <a:gd name="connsiteX11" fmla="*/ 11016 w 11802"/>
                <a:gd name="connsiteY11" fmla="*/ 11409 h 7868"/>
                <a:gd name="connsiteX12" fmla="*/ 12196 w 11802"/>
                <a:gd name="connsiteY12" fmla="*/ 11409 h 7868"/>
                <a:gd name="connsiteX13" fmla="*/ 12983 w 11802"/>
                <a:gd name="connsiteY13" fmla="*/ 11409 h 7868"/>
                <a:gd name="connsiteX14" fmla="*/ 14950 w 11802"/>
                <a:gd name="connsiteY14" fmla="*/ 11409 h 7868"/>
                <a:gd name="connsiteX15" fmla="*/ 14557 w 11802"/>
                <a:gd name="connsiteY15" fmla="*/ 9442 h 7868"/>
                <a:gd name="connsiteX16" fmla="*/ 15343 w 11802"/>
                <a:gd name="connsiteY16" fmla="*/ 10229 h 7868"/>
                <a:gd name="connsiteX17" fmla="*/ 14557 w 11802"/>
                <a:gd name="connsiteY17" fmla="*/ 9049 h 7868"/>
                <a:gd name="connsiteX18" fmla="*/ 14557 w 11802"/>
                <a:gd name="connsiteY18" fmla="*/ 8655 h 7868"/>
                <a:gd name="connsiteX19" fmla="*/ 14163 w 11802"/>
                <a:gd name="connsiteY19" fmla="*/ 8262 h 7868"/>
                <a:gd name="connsiteX20" fmla="*/ 13376 w 11802"/>
                <a:gd name="connsiteY20" fmla="*/ 7082 h 7868"/>
                <a:gd name="connsiteX21" fmla="*/ 11409 w 11802"/>
                <a:gd name="connsiteY21" fmla="*/ 6295 h 7868"/>
                <a:gd name="connsiteX22" fmla="*/ 11409 w 11802"/>
                <a:gd name="connsiteY22" fmla="*/ 6295 h 7868"/>
                <a:gd name="connsiteX23" fmla="*/ 11409 w 11802"/>
                <a:gd name="connsiteY23" fmla="*/ 6295 h 7868"/>
                <a:gd name="connsiteX24" fmla="*/ 10229 w 11802"/>
                <a:gd name="connsiteY24" fmla="*/ 5508 h 7868"/>
                <a:gd name="connsiteX25" fmla="*/ 11016 w 11802"/>
                <a:gd name="connsiteY25" fmla="*/ 6295 h 7868"/>
                <a:gd name="connsiteX26" fmla="*/ 9442 w 11802"/>
                <a:gd name="connsiteY26" fmla="*/ 6688 h 7868"/>
                <a:gd name="connsiteX27" fmla="*/ 9049 w 11802"/>
                <a:gd name="connsiteY27" fmla="*/ 6295 h 7868"/>
                <a:gd name="connsiteX28" fmla="*/ 6294 w 11802"/>
                <a:gd name="connsiteY28" fmla="*/ 3934 h 7868"/>
                <a:gd name="connsiteX29" fmla="*/ 9442 w 11802"/>
                <a:gd name="connsiteY29" fmla="*/ 6688 h 7868"/>
                <a:gd name="connsiteX30" fmla="*/ 9049 w 11802"/>
                <a:gd name="connsiteY30" fmla="*/ 6688 h 7868"/>
                <a:gd name="connsiteX31" fmla="*/ 3934 w 11802"/>
                <a:gd name="connsiteY31" fmla="*/ 2754 h 7868"/>
                <a:gd name="connsiteX32" fmla="*/ 2754 w 11802"/>
                <a:gd name="connsiteY32" fmla="*/ 1967 h 7868"/>
                <a:gd name="connsiteX33" fmla="*/ 3934 w 11802"/>
                <a:gd name="connsiteY33" fmla="*/ 1967 h 7868"/>
                <a:gd name="connsiteX34" fmla="*/ 1573 w 11802"/>
                <a:gd name="connsiteY34" fmla="*/ 787 h 7868"/>
                <a:gd name="connsiteX35" fmla="*/ 1180 w 11802"/>
                <a:gd name="connsiteY35" fmla="*/ 393 h 7868"/>
                <a:gd name="connsiteX36" fmla="*/ 787 w 11802"/>
                <a:gd name="connsiteY36" fmla="*/ 787 h 7868"/>
                <a:gd name="connsiteX37" fmla="*/ 0 w 11802"/>
                <a:gd name="connsiteY37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1802" h="7868">
                  <a:moveTo>
                    <a:pt x="787" y="787"/>
                  </a:moveTo>
                  <a:lnTo>
                    <a:pt x="0" y="3541"/>
                  </a:lnTo>
                  <a:lnTo>
                    <a:pt x="0" y="6295"/>
                  </a:lnTo>
                  <a:lnTo>
                    <a:pt x="3148" y="9049"/>
                  </a:lnTo>
                  <a:lnTo>
                    <a:pt x="4721" y="11409"/>
                  </a:lnTo>
                  <a:lnTo>
                    <a:pt x="5115" y="11409"/>
                  </a:lnTo>
                  <a:lnTo>
                    <a:pt x="6294" y="11409"/>
                  </a:lnTo>
                  <a:lnTo>
                    <a:pt x="7082" y="11409"/>
                  </a:lnTo>
                  <a:lnTo>
                    <a:pt x="7869" y="11409"/>
                  </a:lnTo>
                  <a:lnTo>
                    <a:pt x="8261" y="11409"/>
                  </a:lnTo>
                  <a:lnTo>
                    <a:pt x="8655" y="11409"/>
                  </a:lnTo>
                  <a:lnTo>
                    <a:pt x="11016" y="11409"/>
                  </a:lnTo>
                  <a:lnTo>
                    <a:pt x="12196" y="11409"/>
                  </a:lnTo>
                  <a:lnTo>
                    <a:pt x="12983" y="11409"/>
                  </a:lnTo>
                  <a:lnTo>
                    <a:pt x="14950" y="11409"/>
                  </a:lnTo>
                  <a:lnTo>
                    <a:pt x="14557" y="9442"/>
                  </a:lnTo>
                  <a:lnTo>
                    <a:pt x="15343" y="10229"/>
                  </a:lnTo>
                  <a:lnTo>
                    <a:pt x="14557" y="9049"/>
                  </a:lnTo>
                  <a:lnTo>
                    <a:pt x="14557" y="8655"/>
                  </a:lnTo>
                  <a:lnTo>
                    <a:pt x="14163" y="8262"/>
                  </a:lnTo>
                  <a:lnTo>
                    <a:pt x="13376" y="7082"/>
                  </a:lnTo>
                  <a:lnTo>
                    <a:pt x="11409" y="6295"/>
                  </a:lnTo>
                  <a:lnTo>
                    <a:pt x="11409" y="6295"/>
                  </a:lnTo>
                  <a:lnTo>
                    <a:pt x="11409" y="6295"/>
                  </a:lnTo>
                  <a:lnTo>
                    <a:pt x="10229" y="5508"/>
                  </a:lnTo>
                  <a:lnTo>
                    <a:pt x="11016" y="6295"/>
                  </a:lnTo>
                  <a:lnTo>
                    <a:pt x="9442" y="6688"/>
                  </a:lnTo>
                  <a:lnTo>
                    <a:pt x="9049" y="6295"/>
                  </a:lnTo>
                  <a:lnTo>
                    <a:pt x="6294" y="3934"/>
                  </a:lnTo>
                  <a:lnTo>
                    <a:pt x="9442" y="6688"/>
                  </a:lnTo>
                  <a:lnTo>
                    <a:pt x="9049" y="6688"/>
                  </a:lnTo>
                  <a:lnTo>
                    <a:pt x="3934" y="2754"/>
                  </a:lnTo>
                  <a:lnTo>
                    <a:pt x="2754" y="1967"/>
                  </a:lnTo>
                  <a:lnTo>
                    <a:pt x="3934" y="1967"/>
                  </a:lnTo>
                  <a:lnTo>
                    <a:pt x="1573" y="787"/>
                  </a:lnTo>
                  <a:lnTo>
                    <a:pt x="1180" y="393"/>
                  </a:lnTo>
                  <a:lnTo>
                    <a:pt x="787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66" name="Freeform: Shape 3660">
              <a:extLst>
                <a:ext uri="{FF2B5EF4-FFF2-40B4-BE49-F238E27FC236}">
                  <a16:creationId xmlns:a16="http://schemas.microsoft.com/office/drawing/2014/main" id="{70B52628-4BBE-4237-973A-EDBE27564392}"/>
                </a:ext>
              </a:extLst>
            </p:cNvPr>
            <p:cNvSpPr/>
            <p:nvPr/>
          </p:nvSpPr>
          <p:spPr>
            <a:xfrm>
              <a:off x="9760374" y="3327145"/>
              <a:ext cx="3934" cy="7869"/>
            </a:xfrm>
            <a:custGeom>
              <a:avLst/>
              <a:gdLst>
                <a:gd name="connsiteX0" fmla="*/ 2755 w 3934"/>
                <a:gd name="connsiteY0" fmla="*/ 6688 h 7868"/>
                <a:gd name="connsiteX1" fmla="*/ 4722 w 3934"/>
                <a:gd name="connsiteY1" fmla="*/ 8262 h 7868"/>
                <a:gd name="connsiteX2" fmla="*/ 7476 w 3934"/>
                <a:gd name="connsiteY2" fmla="*/ 7869 h 7868"/>
                <a:gd name="connsiteX3" fmla="*/ 7476 w 3934"/>
                <a:gd name="connsiteY3" fmla="*/ 5114 h 7868"/>
                <a:gd name="connsiteX4" fmla="*/ 5901 w 3934"/>
                <a:gd name="connsiteY4" fmla="*/ 1967 h 7868"/>
                <a:gd name="connsiteX5" fmla="*/ 2755 w 3934"/>
                <a:gd name="connsiteY5" fmla="*/ 0 h 7868"/>
                <a:gd name="connsiteX6" fmla="*/ 0 w 3934"/>
                <a:gd name="connsiteY6" fmla="*/ 787 h 7868"/>
                <a:gd name="connsiteX7" fmla="*/ 1574 w 3934"/>
                <a:gd name="connsiteY7" fmla="*/ 354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2755" y="6688"/>
                  </a:moveTo>
                  <a:lnTo>
                    <a:pt x="4722" y="8262"/>
                  </a:lnTo>
                  <a:lnTo>
                    <a:pt x="7476" y="7869"/>
                  </a:lnTo>
                  <a:lnTo>
                    <a:pt x="7476" y="5114"/>
                  </a:lnTo>
                  <a:lnTo>
                    <a:pt x="5901" y="1967"/>
                  </a:lnTo>
                  <a:lnTo>
                    <a:pt x="2755" y="0"/>
                  </a:lnTo>
                  <a:lnTo>
                    <a:pt x="0" y="787"/>
                  </a:lnTo>
                  <a:lnTo>
                    <a:pt x="1574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67" name="Freeform: Shape 3661">
              <a:extLst>
                <a:ext uri="{FF2B5EF4-FFF2-40B4-BE49-F238E27FC236}">
                  <a16:creationId xmlns:a16="http://schemas.microsoft.com/office/drawing/2014/main" id="{95EF4040-329F-4B6D-A5D8-D4664699B94A}"/>
                </a:ext>
              </a:extLst>
            </p:cNvPr>
            <p:cNvSpPr/>
            <p:nvPr/>
          </p:nvSpPr>
          <p:spPr>
            <a:xfrm>
              <a:off x="9636051" y="3317702"/>
              <a:ext cx="3934" cy="3934"/>
            </a:xfrm>
            <a:custGeom>
              <a:avLst/>
              <a:gdLst>
                <a:gd name="connsiteX0" fmla="*/ 1573 w 0"/>
                <a:gd name="connsiteY0" fmla="*/ 5901 h 3934"/>
                <a:gd name="connsiteX1" fmla="*/ 1180 w 0"/>
                <a:gd name="connsiteY1" fmla="*/ 3147 h 3934"/>
                <a:gd name="connsiteX2" fmla="*/ 787 w 0"/>
                <a:gd name="connsiteY2" fmla="*/ 0 h 3934"/>
                <a:gd name="connsiteX3" fmla="*/ 0 w 0"/>
                <a:gd name="connsiteY3" fmla="*/ 3147 h 3934"/>
                <a:gd name="connsiteX4" fmla="*/ 1180 w 0"/>
                <a:gd name="connsiteY4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1573" y="5901"/>
                  </a:moveTo>
                  <a:lnTo>
                    <a:pt x="1180" y="3147"/>
                  </a:lnTo>
                  <a:lnTo>
                    <a:pt x="787" y="0"/>
                  </a:lnTo>
                  <a:lnTo>
                    <a:pt x="0" y="3147"/>
                  </a:lnTo>
                  <a:lnTo>
                    <a:pt x="1180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68" name="Freeform: Shape 3662">
              <a:extLst>
                <a:ext uri="{FF2B5EF4-FFF2-40B4-BE49-F238E27FC236}">
                  <a16:creationId xmlns:a16="http://schemas.microsoft.com/office/drawing/2014/main" id="{49B05A1F-E710-47CC-B199-75775F7EB6C7}"/>
                </a:ext>
              </a:extLst>
            </p:cNvPr>
            <p:cNvSpPr/>
            <p:nvPr/>
          </p:nvSpPr>
          <p:spPr>
            <a:xfrm>
              <a:off x="9799323" y="3370422"/>
              <a:ext cx="3934" cy="19671"/>
            </a:xfrm>
            <a:custGeom>
              <a:avLst/>
              <a:gdLst>
                <a:gd name="connsiteX0" fmla="*/ 6294 w 3934"/>
                <a:gd name="connsiteY0" fmla="*/ 14950 h 19671"/>
                <a:gd name="connsiteX1" fmla="*/ 6688 w 3934"/>
                <a:gd name="connsiteY1" fmla="*/ 12983 h 19671"/>
                <a:gd name="connsiteX2" fmla="*/ 5508 w 3934"/>
                <a:gd name="connsiteY2" fmla="*/ 10622 h 19671"/>
                <a:gd name="connsiteX3" fmla="*/ 5901 w 3934"/>
                <a:gd name="connsiteY3" fmla="*/ 11016 h 19671"/>
                <a:gd name="connsiteX4" fmla="*/ 5115 w 3934"/>
                <a:gd name="connsiteY4" fmla="*/ 9049 h 19671"/>
                <a:gd name="connsiteX5" fmla="*/ 3934 w 3934"/>
                <a:gd name="connsiteY5" fmla="*/ 5901 h 19671"/>
                <a:gd name="connsiteX6" fmla="*/ 4721 w 3934"/>
                <a:gd name="connsiteY6" fmla="*/ 2754 h 19671"/>
                <a:gd name="connsiteX7" fmla="*/ 3934 w 3934"/>
                <a:gd name="connsiteY7" fmla="*/ 0 h 19671"/>
                <a:gd name="connsiteX8" fmla="*/ 1180 w 3934"/>
                <a:gd name="connsiteY8" fmla="*/ 1967 h 19671"/>
                <a:gd name="connsiteX9" fmla="*/ 0 w 3934"/>
                <a:gd name="connsiteY9" fmla="*/ 4721 h 19671"/>
                <a:gd name="connsiteX10" fmla="*/ 1180 w 3934"/>
                <a:gd name="connsiteY10" fmla="*/ 7869 h 19671"/>
                <a:gd name="connsiteX11" fmla="*/ 0 w 3934"/>
                <a:gd name="connsiteY11" fmla="*/ 10622 h 19671"/>
                <a:gd name="connsiteX12" fmla="*/ 3148 w 3934"/>
                <a:gd name="connsiteY12" fmla="*/ 12196 h 19671"/>
                <a:gd name="connsiteX13" fmla="*/ 3148 w 3934"/>
                <a:gd name="connsiteY13" fmla="*/ 14950 h 19671"/>
                <a:gd name="connsiteX14" fmla="*/ 5115 w 3934"/>
                <a:gd name="connsiteY14" fmla="*/ 17704 h 19671"/>
                <a:gd name="connsiteX15" fmla="*/ 3540 w 3934"/>
                <a:gd name="connsiteY15" fmla="*/ 20852 h 19671"/>
                <a:gd name="connsiteX16" fmla="*/ 6294 w 3934"/>
                <a:gd name="connsiteY16" fmla="*/ 20458 h 19671"/>
                <a:gd name="connsiteX17" fmla="*/ 6688 w 3934"/>
                <a:gd name="connsiteY17" fmla="*/ 17704 h 19671"/>
                <a:gd name="connsiteX18" fmla="*/ 6294 w 3934"/>
                <a:gd name="connsiteY18" fmla="*/ 14950 h 19671"/>
                <a:gd name="connsiteX19" fmla="*/ 6294 w 3934"/>
                <a:gd name="connsiteY19" fmla="*/ 12983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934" h="19671">
                  <a:moveTo>
                    <a:pt x="6294" y="14950"/>
                  </a:moveTo>
                  <a:lnTo>
                    <a:pt x="6688" y="12983"/>
                  </a:lnTo>
                  <a:lnTo>
                    <a:pt x="5508" y="10622"/>
                  </a:lnTo>
                  <a:lnTo>
                    <a:pt x="5901" y="11016"/>
                  </a:lnTo>
                  <a:lnTo>
                    <a:pt x="5115" y="9049"/>
                  </a:lnTo>
                  <a:lnTo>
                    <a:pt x="3934" y="5901"/>
                  </a:lnTo>
                  <a:lnTo>
                    <a:pt x="4721" y="2754"/>
                  </a:lnTo>
                  <a:lnTo>
                    <a:pt x="3934" y="0"/>
                  </a:lnTo>
                  <a:lnTo>
                    <a:pt x="1180" y="1967"/>
                  </a:lnTo>
                  <a:lnTo>
                    <a:pt x="0" y="4721"/>
                  </a:lnTo>
                  <a:lnTo>
                    <a:pt x="1180" y="7869"/>
                  </a:lnTo>
                  <a:lnTo>
                    <a:pt x="0" y="10622"/>
                  </a:lnTo>
                  <a:lnTo>
                    <a:pt x="3148" y="12196"/>
                  </a:lnTo>
                  <a:lnTo>
                    <a:pt x="3148" y="14950"/>
                  </a:lnTo>
                  <a:lnTo>
                    <a:pt x="5115" y="17704"/>
                  </a:lnTo>
                  <a:lnTo>
                    <a:pt x="3540" y="20852"/>
                  </a:lnTo>
                  <a:lnTo>
                    <a:pt x="6294" y="20458"/>
                  </a:lnTo>
                  <a:lnTo>
                    <a:pt x="6688" y="17704"/>
                  </a:lnTo>
                  <a:lnTo>
                    <a:pt x="6294" y="14950"/>
                  </a:lnTo>
                  <a:lnTo>
                    <a:pt x="6294" y="1298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69" name="Freeform: Shape 3663">
              <a:extLst>
                <a:ext uri="{FF2B5EF4-FFF2-40B4-BE49-F238E27FC236}">
                  <a16:creationId xmlns:a16="http://schemas.microsoft.com/office/drawing/2014/main" id="{0BFE46DB-54A1-45FD-82E5-C9A70585FB8B}"/>
                </a:ext>
              </a:extLst>
            </p:cNvPr>
            <p:cNvSpPr/>
            <p:nvPr/>
          </p:nvSpPr>
          <p:spPr>
            <a:xfrm>
              <a:off x="9804044" y="3374356"/>
              <a:ext cx="3934" cy="3934"/>
            </a:xfrm>
            <a:custGeom>
              <a:avLst/>
              <a:gdLst>
                <a:gd name="connsiteX0" fmla="*/ 394 w 0"/>
                <a:gd name="connsiteY0" fmla="*/ 3147 h 3934"/>
                <a:gd name="connsiteX1" fmla="*/ 787 w 0"/>
                <a:gd name="connsiteY1" fmla="*/ 5901 h 3934"/>
                <a:gd name="connsiteX2" fmla="*/ 787 w 0"/>
                <a:gd name="connsiteY2" fmla="*/ 6688 h 3934"/>
                <a:gd name="connsiteX3" fmla="*/ 0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94" y="3147"/>
                  </a:moveTo>
                  <a:lnTo>
                    <a:pt x="787" y="5901"/>
                  </a:lnTo>
                  <a:lnTo>
                    <a:pt x="787" y="668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70" name="Freeform: Shape 3664">
              <a:extLst>
                <a:ext uri="{FF2B5EF4-FFF2-40B4-BE49-F238E27FC236}">
                  <a16:creationId xmlns:a16="http://schemas.microsoft.com/office/drawing/2014/main" id="{84200DCD-A402-4F98-A582-9C31AEF70C2D}"/>
                </a:ext>
              </a:extLst>
            </p:cNvPr>
            <p:cNvSpPr/>
            <p:nvPr/>
          </p:nvSpPr>
          <p:spPr>
            <a:xfrm>
              <a:off x="9788307" y="3381831"/>
              <a:ext cx="3934" cy="3934"/>
            </a:xfrm>
            <a:custGeom>
              <a:avLst/>
              <a:gdLst>
                <a:gd name="connsiteX0" fmla="*/ 4721 w 3934"/>
                <a:gd name="connsiteY0" fmla="*/ 2754 h 3934"/>
                <a:gd name="connsiteX1" fmla="*/ 3148 w 3934"/>
                <a:gd name="connsiteY1" fmla="*/ 0 h 3934"/>
                <a:gd name="connsiteX2" fmla="*/ 0 w 3934"/>
                <a:gd name="connsiteY2" fmla="*/ 394 h 3934"/>
                <a:gd name="connsiteX3" fmla="*/ 2754 w 3934"/>
                <a:gd name="connsiteY3" fmla="*/ 3541 h 3934"/>
                <a:gd name="connsiteX4" fmla="*/ 3148 w 3934"/>
                <a:gd name="connsiteY4" fmla="*/ 3541 h 3934"/>
                <a:gd name="connsiteX5" fmla="*/ 5901 w 3934"/>
                <a:gd name="connsiteY5" fmla="*/ 6295 h 3934"/>
                <a:gd name="connsiteX6" fmla="*/ 5115 w 3934"/>
                <a:gd name="connsiteY6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4721" y="2754"/>
                  </a:moveTo>
                  <a:lnTo>
                    <a:pt x="3148" y="0"/>
                  </a:lnTo>
                  <a:lnTo>
                    <a:pt x="0" y="394"/>
                  </a:lnTo>
                  <a:lnTo>
                    <a:pt x="2754" y="3541"/>
                  </a:lnTo>
                  <a:lnTo>
                    <a:pt x="3148" y="3541"/>
                  </a:lnTo>
                  <a:lnTo>
                    <a:pt x="5901" y="6295"/>
                  </a:lnTo>
                  <a:lnTo>
                    <a:pt x="5115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71" name="Freeform: Shape 3665">
              <a:extLst>
                <a:ext uri="{FF2B5EF4-FFF2-40B4-BE49-F238E27FC236}">
                  <a16:creationId xmlns:a16="http://schemas.microsoft.com/office/drawing/2014/main" id="{72FEDC31-DD8B-4376-B9F7-AF4E47B9B423}"/>
                </a:ext>
              </a:extLst>
            </p:cNvPr>
            <p:cNvSpPr/>
            <p:nvPr/>
          </p:nvSpPr>
          <p:spPr>
            <a:xfrm>
              <a:off x="9762341" y="3362159"/>
              <a:ext cx="3934" cy="3934"/>
            </a:xfrm>
            <a:custGeom>
              <a:avLst/>
              <a:gdLst>
                <a:gd name="connsiteX0" fmla="*/ 788 w 0"/>
                <a:gd name="connsiteY0" fmla="*/ 3147 h 0"/>
                <a:gd name="connsiteX1" fmla="*/ 2755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8" y="3147"/>
                  </a:moveTo>
                  <a:lnTo>
                    <a:pt x="2755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72" name="Freeform: Shape 3666">
              <a:extLst>
                <a:ext uri="{FF2B5EF4-FFF2-40B4-BE49-F238E27FC236}">
                  <a16:creationId xmlns:a16="http://schemas.microsoft.com/office/drawing/2014/main" id="{875DD8C6-5722-4985-AA20-E2BB3D341490}"/>
                </a:ext>
              </a:extLst>
            </p:cNvPr>
            <p:cNvSpPr/>
            <p:nvPr/>
          </p:nvSpPr>
          <p:spPr>
            <a:xfrm>
              <a:off x="9765095" y="3361766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574 h 0"/>
                <a:gd name="connsiteX2" fmla="*/ 393 w 0"/>
                <a:gd name="connsiteY2" fmla="*/ 23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574"/>
                  </a:lnTo>
                  <a:lnTo>
                    <a:pt x="393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73" name="Freeform: Shape 3667">
              <a:extLst>
                <a:ext uri="{FF2B5EF4-FFF2-40B4-BE49-F238E27FC236}">
                  <a16:creationId xmlns:a16="http://schemas.microsoft.com/office/drawing/2014/main" id="{19ABA825-898F-434B-B452-FE8FAC2461B3}"/>
                </a:ext>
              </a:extLst>
            </p:cNvPr>
            <p:cNvSpPr/>
            <p:nvPr/>
          </p:nvSpPr>
          <p:spPr>
            <a:xfrm>
              <a:off x="9747391" y="3351930"/>
              <a:ext cx="3934" cy="3934"/>
            </a:xfrm>
            <a:custGeom>
              <a:avLst/>
              <a:gdLst>
                <a:gd name="connsiteX0" fmla="*/ 1180 w 0"/>
                <a:gd name="connsiteY0" fmla="*/ 4328 h 3934"/>
                <a:gd name="connsiteX1" fmla="*/ 1573 w 0"/>
                <a:gd name="connsiteY1" fmla="*/ 1180 h 3934"/>
                <a:gd name="connsiteX2" fmla="*/ 1573 w 0"/>
                <a:gd name="connsiteY2" fmla="*/ 0 h 3934"/>
                <a:gd name="connsiteX3" fmla="*/ 0 w 0"/>
                <a:gd name="connsiteY3" fmla="*/ 668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180" y="4328"/>
                  </a:moveTo>
                  <a:lnTo>
                    <a:pt x="1573" y="1180"/>
                  </a:lnTo>
                  <a:lnTo>
                    <a:pt x="1573" y="0"/>
                  </a:lnTo>
                  <a:lnTo>
                    <a:pt x="0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74" name="Freeform: Shape 3668">
              <a:extLst>
                <a:ext uri="{FF2B5EF4-FFF2-40B4-BE49-F238E27FC236}">
                  <a16:creationId xmlns:a16="http://schemas.microsoft.com/office/drawing/2014/main" id="{DB5419D4-1B78-489B-AEFA-99379D587EE0}"/>
                </a:ext>
              </a:extLst>
            </p:cNvPr>
            <p:cNvSpPr/>
            <p:nvPr/>
          </p:nvSpPr>
          <p:spPr>
            <a:xfrm>
              <a:off x="9763128" y="3353111"/>
              <a:ext cx="3934" cy="3934"/>
            </a:xfrm>
            <a:custGeom>
              <a:avLst/>
              <a:gdLst>
                <a:gd name="connsiteX0" fmla="*/ 4327 w 3934"/>
                <a:gd name="connsiteY0" fmla="*/ 3147 h 0"/>
                <a:gd name="connsiteX1" fmla="*/ 0 w 3934"/>
                <a:gd name="connsiteY1" fmla="*/ 0 h 0"/>
                <a:gd name="connsiteX2" fmla="*/ 1573 w 3934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4327" y="3147"/>
                  </a:moveTo>
                  <a:lnTo>
                    <a:pt x="0" y="0"/>
                  </a:lnTo>
                  <a:lnTo>
                    <a:pt x="1573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75" name="Freeform: Shape 3669">
              <a:extLst>
                <a:ext uri="{FF2B5EF4-FFF2-40B4-BE49-F238E27FC236}">
                  <a16:creationId xmlns:a16="http://schemas.microsoft.com/office/drawing/2014/main" id="{3A64C179-E005-46D9-A1A2-6B7A086B8061}"/>
                </a:ext>
              </a:extLst>
            </p:cNvPr>
            <p:cNvSpPr/>
            <p:nvPr/>
          </p:nvSpPr>
          <p:spPr>
            <a:xfrm>
              <a:off x="9803650" y="3347603"/>
              <a:ext cx="3934" cy="3934"/>
            </a:xfrm>
            <a:custGeom>
              <a:avLst/>
              <a:gdLst>
                <a:gd name="connsiteX0" fmla="*/ 0 w 0"/>
                <a:gd name="connsiteY0" fmla="*/ 394 h 0"/>
                <a:gd name="connsiteX1" fmla="*/ 2361 w 0"/>
                <a:gd name="connsiteY1" fmla="*/ 3148 h 0"/>
                <a:gd name="connsiteX2" fmla="*/ 2755 w 0"/>
                <a:gd name="connsiteY2" fmla="*/ 3541 h 0"/>
                <a:gd name="connsiteX3" fmla="*/ 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394"/>
                  </a:moveTo>
                  <a:lnTo>
                    <a:pt x="2361" y="3148"/>
                  </a:lnTo>
                  <a:lnTo>
                    <a:pt x="2755" y="354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76" name="Freeform: Shape 3670">
              <a:extLst>
                <a:ext uri="{FF2B5EF4-FFF2-40B4-BE49-F238E27FC236}">
                  <a16:creationId xmlns:a16="http://schemas.microsoft.com/office/drawing/2014/main" id="{D4A554E5-6F4B-477C-B29B-D90A8B6D25E6}"/>
                </a:ext>
              </a:extLst>
            </p:cNvPr>
            <p:cNvSpPr/>
            <p:nvPr/>
          </p:nvSpPr>
          <p:spPr>
            <a:xfrm>
              <a:off x="9798930" y="3342095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4721 w 3934"/>
                <a:gd name="connsiteY1" fmla="*/ 5508 h 3934"/>
                <a:gd name="connsiteX2" fmla="*/ 2754 w 3934"/>
                <a:gd name="connsiteY2" fmla="*/ 236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4721" y="5508"/>
                  </a:lnTo>
                  <a:lnTo>
                    <a:pt x="2754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77" name="Freeform: Shape 3671">
              <a:extLst>
                <a:ext uri="{FF2B5EF4-FFF2-40B4-BE49-F238E27FC236}">
                  <a16:creationId xmlns:a16="http://schemas.microsoft.com/office/drawing/2014/main" id="{824860BE-AE5D-42C2-88A5-CE426F70823B}"/>
                </a:ext>
              </a:extLst>
            </p:cNvPr>
            <p:cNvSpPr/>
            <p:nvPr/>
          </p:nvSpPr>
          <p:spPr>
            <a:xfrm>
              <a:off x="9739916" y="3342882"/>
              <a:ext cx="3934" cy="3934"/>
            </a:xfrm>
            <a:custGeom>
              <a:avLst/>
              <a:gdLst>
                <a:gd name="connsiteX0" fmla="*/ 6295 w 3934"/>
                <a:gd name="connsiteY0" fmla="*/ 2754 h 3934"/>
                <a:gd name="connsiteX1" fmla="*/ 4721 w 3934"/>
                <a:gd name="connsiteY1" fmla="*/ 0 h 3934"/>
                <a:gd name="connsiteX2" fmla="*/ 1574 w 3934"/>
                <a:gd name="connsiteY2" fmla="*/ 0 h 3934"/>
                <a:gd name="connsiteX3" fmla="*/ 0 w 3934"/>
                <a:gd name="connsiteY3" fmla="*/ 3147 h 3934"/>
                <a:gd name="connsiteX4" fmla="*/ 0 w 3934"/>
                <a:gd name="connsiteY4" fmla="*/ 7082 h 3934"/>
                <a:gd name="connsiteX5" fmla="*/ 1574 w 3934"/>
                <a:gd name="connsiteY5" fmla="*/ 7082 h 3934"/>
                <a:gd name="connsiteX6" fmla="*/ 3541 w 3934"/>
                <a:gd name="connsiteY6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6295" y="2754"/>
                  </a:moveTo>
                  <a:lnTo>
                    <a:pt x="4721" y="0"/>
                  </a:lnTo>
                  <a:lnTo>
                    <a:pt x="1574" y="0"/>
                  </a:lnTo>
                  <a:lnTo>
                    <a:pt x="0" y="3147"/>
                  </a:lnTo>
                  <a:lnTo>
                    <a:pt x="0" y="7082"/>
                  </a:lnTo>
                  <a:lnTo>
                    <a:pt x="1574" y="7082"/>
                  </a:lnTo>
                  <a:lnTo>
                    <a:pt x="3541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78" name="Freeform: Shape 3672">
              <a:extLst>
                <a:ext uri="{FF2B5EF4-FFF2-40B4-BE49-F238E27FC236}">
                  <a16:creationId xmlns:a16="http://schemas.microsoft.com/office/drawing/2014/main" id="{77D2553A-3EF7-4AA7-A745-BA44735CE519}"/>
                </a:ext>
              </a:extLst>
            </p:cNvPr>
            <p:cNvSpPr/>
            <p:nvPr/>
          </p:nvSpPr>
          <p:spPr>
            <a:xfrm>
              <a:off x="9758800" y="3335013"/>
              <a:ext cx="3934" cy="3934"/>
            </a:xfrm>
            <a:custGeom>
              <a:avLst/>
              <a:gdLst>
                <a:gd name="connsiteX0" fmla="*/ 0 w 0"/>
                <a:gd name="connsiteY0" fmla="*/ 0 h 3934"/>
                <a:gd name="connsiteX1" fmla="*/ 1967 w 0"/>
                <a:gd name="connsiteY1" fmla="*/ 5114 h 3934"/>
                <a:gd name="connsiteX2" fmla="*/ 1180 w 0"/>
                <a:gd name="connsiteY2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0" y="0"/>
                  </a:moveTo>
                  <a:lnTo>
                    <a:pt x="1967" y="5114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79" name="Freeform: Shape 3673">
              <a:extLst>
                <a:ext uri="{FF2B5EF4-FFF2-40B4-BE49-F238E27FC236}">
                  <a16:creationId xmlns:a16="http://schemas.microsoft.com/office/drawing/2014/main" id="{66DDC4D5-F035-4A3D-BE49-78D2EAEE2E92}"/>
                </a:ext>
              </a:extLst>
            </p:cNvPr>
            <p:cNvSpPr/>
            <p:nvPr/>
          </p:nvSpPr>
          <p:spPr>
            <a:xfrm>
              <a:off x="9653756" y="3335406"/>
              <a:ext cx="3934" cy="3934"/>
            </a:xfrm>
            <a:custGeom>
              <a:avLst/>
              <a:gdLst>
                <a:gd name="connsiteX0" fmla="*/ 1573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3" y="0"/>
                  </a:moveTo>
                  <a:lnTo>
                    <a:pt x="0" y="118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80" name="Freeform: Shape 3674">
              <a:extLst>
                <a:ext uri="{FF2B5EF4-FFF2-40B4-BE49-F238E27FC236}">
                  <a16:creationId xmlns:a16="http://schemas.microsoft.com/office/drawing/2014/main" id="{ACD3F8D4-4D40-48AE-BD6E-BD79BBDF54A9}"/>
                </a:ext>
              </a:extLst>
            </p:cNvPr>
            <p:cNvSpPr/>
            <p:nvPr/>
          </p:nvSpPr>
          <p:spPr>
            <a:xfrm>
              <a:off x="9732441" y="3377896"/>
              <a:ext cx="3934" cy="3934"/>
            </a:xfrm>
            <a:custGeom>
              <a:avLst/>
              <a:gdLst>
                <a:gd name="connsiteX0" fmla="*/ 1180 w 0"/>
                <a:gd name="connsiteY0" fmla="*/ 2754 h 3934"/>
                <a:gd name="connsiteX1" fmla="*/ 1967 w 0"/>
                <a:gd name="connsiteY1" fmla="*/ 0 h 3934"/>
                <a:gd name="connsiteX2" fmla="*/ 0 w 0"/>
                <a:gd name="connsiteY2" fmla="*/ 668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180" y="2754"/>
                  </a:moveTo>
                  <a:lnTo>
                    <a:pt x="1967" y="0"/>
                  </a:lnTo>
                  <a:lnTo>
                    <a:pt x="0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81" name="Freeform: Shape 3675">
              <a:extLst>
                <a:ext uri="{FF2B5EF4-FFF2-40B4-BE49-F238E27FC236}">
                  <a16:creationId xmlns:a16="http://schemas.microsoft.com/office/drawing/2014/main" id="{9F0E35D4-EC2B-4F6D-AFB1-D324AD108B26}"/>
                </a:ext>
              </a:extLst>
            </p:cNvPr>
            <p:cNvSpPr/>
            <p:nvPr/>
          </p:nvSpPr>
          <p:spPr>
            <a:xfrm>
              <a:off x="9735588" y="3343275"/>
              <a:ext cx="15737" cy="59014"/>
            </a:xfrm>
            <a:custGeom>
              <a:avLst/>
              <a:gdLst>
                <a:gd name="connsiteX0" fmla="*/ 14163 w 15737"/>
                <a:gd name="connsiteY0" fmla="*/ 1574 h 59013"/>
                <a:gd name="connsiteX1" fmla="*/ 14949 w 15737"/>
                <a:gd name="connsiteY1" fmla="*/ 4328 h 59013"/>
                <a:gd name="connsiteX2" fmla="*/ 13770 w 15737"/>
                <a:gd name="connsiteY2" fmla="*/ 6688 h 59013"/>
                <a:gd name="connsiteX3" fmla="*/ 14163 w 15737"/>
                <a:gd name="connsiteY3" fmla="*/ 3934 h 59013"/>
                <a:gd name="connsiteX4" fmla="*/ 12982 w 15737"/>
                <a:gd name="connsiteY4" fmla="*/ 7082 h 59013"/>
                <a:gd name="connsiteX5" fmla="*/ 13376 w 15737"/>
                <a:gd name="connsiteY5" fmla="*/ 8655 h 59013"/>
                <a:gd name="connsiteX6" fmla="*/ 13376 w 15737"/>
                <a:gd name="connsiteY6" fmla="*/ 7475 h 59013"/>
                <a:gd name="connsiteX7" fmla="*/ 14163 w 15737"/>
                <a:gd name="connsiteY7" fmla="*/ 9836 h 59013"/>
                <a:gd name="connsiteX8" fmla="*/ 12982 w 15737"/>
                <a:gd name="connsiteY8" fmla="*/ 12983 h 59013"/>
                <a:gd name="connsiteX9" fmla="*/ 12196 w 15737"/>
                <a:gd name="connsiteY9" fmla="*/ 15737 h 59013"/>
                <a:gd name="connsiteX10" fmla="*/ 11015 w 15737"/>
                <a:gd name="connsiteY10" fmla="*/ 18884 h 59013"/>
                <a:gd name="connsiteX11" fmla="*/ 9836 w 15737"/>
                <a:gd name="connsiteY11" fmla="*/ 22032 h 59013"/>
                <a:gd name="connsiteX12" fmla="*/ 9048 w 15737"/>
                <a:gd name="connsiteY12" fmla="*/ 23999 h 59013"/>
                <a:gd name="connsiteX13" fmla="*/ 7081 w 15737"/>
                <a:gd name="connsiteY13" fmla="*/ 29114 h 59013"/>
                <a:gd name="connsiteX14" fmla="*/ 6294 w 15737"/>
                <a:gd name="connsiteY14" fmla="*/ 29900 h 59013"/>
                <a:gd name="connsiteX15" fmla="*/ 6294 w 15737"/>
                <a:gd name="connsiteY15" fmla="*/ 30687 h 59013"/>
                <a:gd name="connsiteX16" fmla="*/ 2360 w 15737"/>
                <a:gd name="connsiteY16" fmla="*/ 39343 h 59013"/>
                <a:gd name="connsiteX17" fmla="*/ 1967 w 15737"/>
                <a:gd name="connsiteY17" fmla="*/ 42097 h 59013"/>
                <a:gd name="connsiteX18" fmla="*/ 1967 w 15737"/>
                <a:gd name="connsiteY18" fmla="*/ 45244 h 59013"/>
                <a:gd name="connsiteX19" fmla="*/ 1180 w 15737"/>
                <a:gd name="connsiteY19" fmla="*/ 47998 h 59013"/>
                <a:gd name="connsiteX20" fmla="*/ 787 w 15737"/>
                <a:gd name="connsiteY20" fmla="*/ 51145 h 59013"/>
                <a:gd name="connsiteX21" fmla="*/ 0 w 15737"/>
                <a:gd name="connsiteY21" fmla="*/ 56653 h 59013"/>
                <a:gd name="connsiteX22" fmla="*/ 0 w 15737"/>
                <a:gd name="connsiteY22" fmla="*/ 59407 h 59013"/>
                <a:gd name="connsiteX23" fmla="*/ 3147 w 15737"/>
                <a:gd name="connsiteY23" fmla="*/ 59407 h 59013"/>
                <a:gd name="connsiteX24" fmla="*/ 5114 w 15737"/>
                <a:gd name="connsiteY24" fmla="*/ 56653 h 59013"/>
                <a:gd name="connsiteX25" fmla="*/ 5508 w 15737"/>
                <a:gd name="connsiteY25" fmla="*/ 53899 h 59013"/>
                <a:gd name="connsiteX26" fmla="*/ 5901 w 15737"/>
                <a:gd name="connsiteY26" fmla="*/ 50752 h 59013"/>
                <a:gd name="connsiteX27" fmla="*/ 7081 w 15737"/>
                <a:gd name="connsiteY27" fmla="*/ 47604 h 59013"/>
                <a:gd name="connsiteX28" fmla="*/ 8261 w 15737"/>
                <a:gd name="connsiteY28" fmla="*/ 44851 h 59013"/>
                <a:gd name="connsiteX29" fmla="*/ 7869 w 15737"/>
                <a:gd name="connsiteY29" fmla="*/ 42097 h 59013"/>
                <a:gd name="connsiteX30" fmla="*/ 9442 w 15737"/>
                <a:gd name="connsiteY30" fmla="*/ 39343 h 59013"/>
                <a:gd name="connsiteX31" fmla="*/ 10622 w 15737"/>
                <a:gd name="connsiteY31" fmla="*/ 36195 h 59013"/>
                <a:gd name="connsiteX32" fmla="*/ 13376 w 15737"/>
                <a:gd name="connsiteY32" fmla="*/ 34228 h 59013"/>
                <a:gd name="connsiteX33" fmla="*/ 16130 w 15737"/>
                <a:gd name="connsiteY33" fmla="*/ 31081 h 59013"/>
                <a:gd name="connsiteX34" fmla="*/ 18491 w 15737"/>
                <a:gd name="connsiteY34" fmla="*/ 28327 h 59013"/>
                <a:gd name="connsiteX35" fmla="*/ 18884 w 15737"/>
                <a:gd name="connsiteY35" fmla="*/ 25573 h 59013"/>
                <a:gd name="connsiteX36" fmla="*/ 18491 w 15737"/>
                <a:gd name="connsiteY36" fmla="*/ 22819 h 59013"/>
                <a:gd name="connsiteX37" fmla="*/ 18097 w 15737"/>
                <a:gd name="connsiteY37" fmla="*/ 19671 h 59013"/>
                <a:gd name="connsiteX38" fmla="*/ 17310 w 15737"/>
                <a:gd name="connsiteY38" fmla="*/ 16524 h 59013"/>
                <a:gd name="connsiteX39" fmla="*/ 18097 w 15737"/>
                <a:gd name="connsiteY39" fmla="*/ 13770 h 59013"/>
                <a:gd name="connsiteX40" fmla="*/ 17704 w 15737"/>
                <a:gd name="connsiteY40" fmla="*/ 10623 h 59013"/>
                <a:gd name="connsiteX41" fmla="*/ 17704 w 15737"/>
                <a:gd name="connsiteY41" fmla="*/ 7475 h 59013"/>
                <a:gd name="connsiteX42" fmla="*/ 17310 w 15737"/>
                <a:gd name="connsiteY42" fmla="*/ 5901 h 59013"/>
                <a:gd name="connsiteX43" fmla="*/ 17310 w 15737"/>
                <a:gd name="connsiteY43" fmla="*/ 2754 h 59013"/>
                <a:gd name="connsiteX44" fmla="*/ 17310 w 15737"/>
                <a:gd name="connsiteY44" fmla="*/ 0 h 59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5737" h="59013">
                  <a:moveTo>
                    <a:pt x="14163" y="1574"/>
                  </a:moveTo>
                  <a:lnTo>
                    <a:pt x="14949" y="4328"/>
                  </a:lnTo>
                  <a:lnTo>
                    <a:pt x="13770" y="6688"/>
                  </a:lnTo>
                  <a:lnTo>
                    <a:pt x="14163" y="3934"/>
                  </a:lnTo>
                  <a:lnTo>
                    <a:pt x="12982" y="7082"/>
                  </a:lnTo>
                  <a:lnTo>
                    <a:pt x="13376" y="8655"/>
                  </a:lnTo>
                  <a:lnTo>
                    <a:pt x="13376" y="7475"/>
                  </a:lnTo>
                  <a:lnTo>
                    <a:pt x="14163" y="9836"/>
                  </a:lnTo>
                  <a:lnTo>
                    <a:pt x="12982" y="12983"/>
                  </a:lnTo>
                  <a:lnTo>
                    <a:pt x="12196" y="15737"/>
                  </a:lnTo>
                  <a:lnTo>
                    <a:pt x="11015" y="18884"/>
                  </a:lnTo>
                  <a:lnTo>
                    <a:pt x="9836" y="22032"/>
                  </a:lnTo>
                  <a:lnTo>
                    <a:pt x="9048" y="23999"/>
                  </a:lnTo>
                  <a:lnTo>
                    <a:pt x="7081" y="29114"/>
                  </a:lnTo>
                  <a:lnTo>
                    <a:pt x="6294" y="29900"/>
                  </a:lnTo>
                  <a:lnTo>
                    <a:pt x="6294" y="30687"/>
                  </a:lnTo>
                  <a:lnTo>
                    <a:pt x="2360" y="39343"/>
                  </a:lnTo>
                  <a:lnTo>
                    <a:pt x="1967" y="42097"/>
                  </a:lnTo>
                  <a:lnTo>
                    <a:pt x="1967" y="45244"/>
                  </a:lnTo>
                  <a:lnTo>
                    <a:pt x="1180" y="47998"/>
                  </a:lnTo>
                  <a:lnTo>
                    <a:pt x="787" y="51145"/>
                  </a:lnTo>
                  <a:lnTo>
                    <a:pt x="0" y="56653"/>
                  </a:lnTo>
                  <a:lnTo>
                    <a:pt x="0" y="59407"/>
                  </a:lnTo>
                  <a:lnTo>
                    <a:pt x="3147" y="59407"/>
                  </a:lnTo>
                  <a:lnTo>
                    <a:pt x="5114" y="56653"/>
                  </a:lnTo>
                  <a:lnTo>
                    <a:pt x="5508" y="53899"/>
                  </a:lnTo>
                  <a:lnTo>
                    <a:pt x="5901" y="50752"/>
                  </a:lnTo>
                  <a:lnTo>
                    <a:pt x="7081" y="47604"/>
                  </a:lnTo>
                  <a:lnTo>
                    <a:pt x="8261" y="44851"/>
                  </a:lnTo>
                  <a:lnTo>
                    <a:pt x="7869" y="42097"/>
                  </a:lnTo>
                  <a:lnTo>
                    <a:pt x="9442" y="39343"/>
                  </a:lnTo>
                  <a:lnTo>
                    <a:pt x="10622" y="36195"/>
                  </a:lnTo>
                  <a:lnTo>
                    <a:pt x="13376" y="34228"/>
                  </a:lnTo>
                  <a:lnTo>
                    <a:pt x="16130" y="31081"/>
                  </a:lnTo>
                  <a:lnTo>
                    <a:pt x="18491" y="28327"/>
                  </a:lnTo>
                  <a:lnTo>
                    <a:pt x="18884" y="25573"/>
                  </a:lnTo>
                  <a:lnTo>
                    <a:pt x="18491" y="22819"/>
                  </a:lnTo>
                  <a:lnTo>
                    <a:pt x="18097" y="19671"/>
                  </a:lnTo>
                  <a:lnTo>
                    <a:pt x="17310" y="16524"/>
                  </a:lnTo>
                  <a:lnTo>
                    <a:pt x="18097" y="13770"/>
                  </a:lnTo>
                  <a:lnTo>
                    <a:pt x="17704" y="10623"/>
                  </a:lnTo>
                  <a:lnTo>
                    <a:pt x="17704" y="7475"/>
                  </a:lnTo>
                  <a:lnTo>
                    <a:pt x="17310" y="5901"/>
                  </a:lnTo>
                  <a:lnTo>
                    <a:pt x="17310" y="2754"/>
                  </a:lnTo>
                  <a:lnTo>
                    <a:pt x="1731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82" name="Freeform: Shape 3676">
              <a:extLst>
                <a:ext uri="{FF2B5EF4-FFF2-40B4-BE49-F238E27FC236}">
                  <a16:creationId xmlns:a16="http://schemas.microsoft.com/office/drawing/2014/main" id="{40B1A663-9C2A-4E30-A2B0-98991B3B3263}"/>
                </a:ext>
              </a:extLst>
            </p:cNvPr>
            <p:cNvSpPr/>
            <p:nvPr/>
          </p:nvSpPr>
          <p:spPr>
            <a:xfrm>
              <a:off x="9685230" y="3319276"/>
              <a:ext cx="39343" cy="51145"/>
            </a:xfrm>
            <a:custGeom>
              <a:avLst/>
              <a:gdLst>
                <a:gd name="connsiteX0" fmla="*/ 5901 w 39342"/>
                <a:gd name="connsiteY0" fmla="*/ 2754 h 51145"/>
                <a:gd name="connsiteX1" fmla="*/ 2754 w 39342"/>
                <a:gd name="connsiteY1" fmla="*/ 0 h 51145"/>
                <a:gd name="connsiteX2" fmla="*/ 787 w 39342"/>
                <a:gd name="connsiteY2" fmla="*/ 2754 h 51145"/>
                <a:gd name="connsiteX3" fmla="*/ 0 w 39342"/>
                <a:gd name="connsiteY3" fmla="*/ 5508 h 51145"/>
                <a:gd name="connsiteX4" fmla="*/ 7869 w 39342"/>
                <a:gd name="connsiteY4" fmla="*/ 31867 h 51145"/>
                <a:gd name="connsiteX5" fmla="*/ 6688 w 39342"/>
                <a:gd name="connsiteY5" fmla="*/ 35015 h 51145"/>
                <a:gd name="connsiteX6" fmla="*/ 5901 w 39342"/>
                <a:gd name="connsiteY6" fmla="*/ 37769 h 51145"/>
                <a:gd name="connsiteX7" fmla="*/ 5901 w 39342"/>
                <a:gd name="connsiteY7" fmla="*/ 38556 h 51145"/>
                <a:gd name="connsiteX8" fmla="*/ 7082 w 39342"/>
                <a:gd name="connsiteY8" fmla="*/ 42096 h 51145"/>
                <a:gd name="connsiteX9" fmla="*/ 7475 w 39342"/>
                <a:gd name="connsiteY9" fmla="*/ 44850 h 51145"/>
                <a:gd name="connsiteX10" fmla="*/ 7082 w 39342"/>
                <a:gd name="connsiteY10" fmla="*/ 47998 h 51145"/>
                <a:gd name="connsiteX11" fmla="*/ 5901 w 39342"/>
                <a:gd name="connsiteY11" fmla="*/ 51145 h 51145"/>
                <a:gd name="connsiteX12" fmla="*/ 9049 w 39342"/>
                <a:gd name="connsiteY12" fmla="*/ 51145 h 51145"/>
                <a:gd name="connsiteX13" fmla="*/ 9442 w 39342"/>
                <a:gd name="connsiteY13" fmla="*/ 49965 h 51145"/>
                <a:gd name="connsiteX14" fmla="*/ 25573 w 39342"/>
                <a:gd name="connsiteY14" fmla="*/ 42096 h 51145"/>
                <a:gd name="connsiteX15" fmla="*/ 26753 w 39342"/>
                <a:gd name="connsiteY15" fmla="*/ 38949 h 51145"/>
                <a:gd name="connsiteX16" fmla="*/ 29900 w 39342"/>
                <a:gd name="connsiteY16" fmla="*/ 38949 h 51145"/>
                <a:gd name="connsiteX17" fmla="*/ 30687 w 39342"/>
                <a:gd name="connsiteY17" fmla="*/ 35802 h 51145"/>
                <a:gd name="connsiteX18" fmla="*/ 30687 w 39342"/>
                <a:gd name="connsiteY18" fmla="*/ 35408 h 51145"/>
                <a:gd name="connsiteX19" fmla="*/ 35408 w 39342"/>
                <a:gd name="connsiteY19" fmla="*/ 31081 h 51145"/>
                <a:gd name="connsiteX20" fmla="*/ 36982 w 39342"/>
                <a:gd name="connsiteY20" fmla="*/ 27933 h 51145"/>
                <a:gd name="connsiteX21" fmla="*/ 39735 w 39342"/>
                <a:gd name="connsiteY21" fmla="*/ 26753 h 51145"/>
                <a:gd name="connsiteX22" fmla="*/ 38949 w 39342"/>
                <a:gd name="connsiteY22" fmla="*/ 23606 h 51145"/>
                <a:gd name="connsiteX23" fmla="*/ 39343 w 39342"/>
                <a:gd name="connsiteY23" fmla="*/ 20458 h 51145"/>
                <a:gd name="connsiteX24" fmla="*/ 39343 w 39342"/>
                <a:gd name="connsiteY24" fmla="*/ 18884 h 51145"/>
                <a:gd name="connsiteX25" fmla="*/ 40129 w 39342"/>
                <a:gd name="connsiteY25" fmla="*/ 16524 h 51145"/>
                <a:gd name="connsiteX26" fmla="*/ 39343 w 39342"/>
                <a:gd name="connsiteY26" fmla="*/ 13770 h 51145"/>
                <a:gd name="connsiteX27" fmla="*/ 37768 w 39342"/>
                <a:gd name="connsiteY27" fmla="*/ 13376 h 51145"/>
                <a:gd name="connsiteX28" fmla="*/ 31080 w 39342"/>
                <a:gd name="connsiteY28" fmla="*/ 13376 h 51145"/>
                <a:gd name="connsiteX29" fmla="*/ 28327 w 39342"/>
                <a:gd name="connsiteY29" fmla="*/ 11409 h 51145"/>
                <a:gd name="connsiteX30" fmla="*/ 25573 w 39342"/>
                <a:gd name="connsiteY30" fmla="*/ 12589 h 51145"/>
                <a:gd name="connsiteX31" fmla="*/ 24392 w 39342"/>
                <a:gd name="connsiteY31" fmla="*/ 13376 h 51145"/>
                <a:gd name="connsiteX32" fmla="*/ 22819 w 39342"/>
                <a:gd name="connsiteY32" fmla="*/ 13376 h 51145"/>
                <a:gd name="connsiteX33" fmla="*/ 17310 w 39342"/>
                <a:gd name="connsiteY33" fmla="*/ 8655 h 51145"/>
                <a:gd name="connsiteX34" fmla="*/ 16130 w 39342"/>
                <a:gd name="connsiteY34" fmla="*/ 7475 h 51145"/>
                <a:gd name="connsiteX35" fmla="*/ 15343 w 39342"/>
                <a:gd name="connsiteY35" fmla="*/ 7082 h 51145"/>
                <a:gd name="connsiteX36" fmla="*/ 11803 w 39342"/>
                <a:gd name="connsiteY36" fmla="*/ 5114 h 51145"/>
                <a:gd name="connsiteX37" fmla="*/ 9836 w 39342"/>
                <a:gd name="connsiteY37" fmla="*/ 3934 h 51145"/>
                <a:gd name="connsiteX38" fmla="*/ 9049 w 39342"/>
                <a:gd name="connsiteY38" fmla="*/ 3541 h 5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9342" h="51145">
                  <a:moveTo>
                    <a:pt x="5901" y="2754"/>
                  </a:moveTo>
                  <a:lnTo>
                    <a:pt x="2754" y="0"/>
                  </a:lnTo>
                  <a:lnTo>
                    <a:pt x="787" y="2754"/>
                  </a:lnTo>
                  <a:lnTo>
                    <a:pt x="0" y="5508"/>
                  </a:lnTo>
                  <a:lnTo>
                    <a:pt x="7869" y="31867"/>
                  </a:lnTo>
                  <a:lnTo>
                    <a:pt x="6688" y="35015"/>
                  </a:lnTo>
                  <a:lnTo>
                    <a:pt x="5901" y="37769"/>
                  </a:lnTo>
                  <a:lnTo>
                    <a:pt x="5901" y="38556"/>
                  </a:lnTo>
                  <a:lnTo>
                    <a:pt x="7082" y="42096"/>
                  </a:lnTo>
                  <a:lnTo>
                    <a:pt x="7475" y="44850"/>
                  </a:lnTo>
                  <a:lnTo>
                    <a:pt x="7082" y="47998"/>
                  </a:lnTo>
                  <a:lnTo>
                    <a:pt x="5901" y="51145"/>
                  </a:lnTo>
                  <a:lnTo>
                    <a:pt x="9049" y="51145"/>
                  </a:lnTo>
                  <a:lnTo>
                    <a:pt x="9442" y="49965"/>
                  </a:lnTo>
                  <a:lnTo>
                    <a:pt x="25573" y="42096"/>
                  </a:lnTo>
                  <a:lnTo>
                    <a:pt x="26753" y="38949"/>
                  </a:lnTo>
                  <a:lnTo>
                    <a:pt x="29900" y="38949"/>
                  </a:lnTo>
                  <a:lnTo>
                    <a:pt x="30687" y="35802"/>
                  </a:lnTo>
                  <a:lnTo>
                    <a:pt x="30687" y="35408"/>
                  </a:lnTo>
                  <a:lnTo>
                    <a:pt x="35408" y="31081"/>
                  </a:lnTo>
                  <a:lnTo>
                    <a:pt x="36982" y="27933"/>
                  </a:lnTo>
                  <a:lnTo>
                    <a:pt x="39735" y="26753"/>
                  </a:lnTo>
                  <a:lnTo>
                    <a:pt x="38949" y="23606"/>
                  </a:lnTo>
                  <a:lnTo>
                    <a:pt x="39343" y="20458"/>
                  </a:lnTo>
                  <a:lnTo>
                    <a:pt x="39343" y="18884"/>
                  </a:lnTo>
                  <a:lnTo>
                    <a:pt x="40129" y="16524"/>
                  </a:lnTo>
                  <a:lnTo>
                    <a:pt x="39343" y="13770"/>
                  </a:lnTo>
                  <a:lnTo>
                    <a:pt x="37768" y="13376"/>
                  </a:lnTo>
                  <a:lnTo>
                    <a:pt x="31080" y="13376"/>
                  </a:lnTo>
                  <a:lnTo>
                    <a:pt x="28327" y="11409"/>
                  </a:lnTo>
                  <a:lnTo>
                    <a:pt x="25573" y="12589"/>
                  </a:lnTo>
                  <a:lnTo>
                    <a:pt x="24392" y="13376"/>
                  </a:lnTo>
                  <a:lnTo>
                    <a:pt x="22819" y="13376"/>
                  </a:lnTo>
                  <a:lnTo>
                    <a:pt x="17310" y="8655"/>
                  </a:lnTo>
                  <a:lnTo>
                    <a:pt x="16130" y="7475"/>
                  </a:lnTo>
                  <a:lnTo>
                    <a:pt x="15343" y="7082"/>
                  </a:lnTo>
                  <a:lnTo>
                    <a:pt x="11803" y="5114"/>
                  </a:lnTo>
                  <a:lnTo>
                    <a:pt x="9836" y="3934"/>
                  </a:lnTo>
                  <a:lnTo>
                    <a:pt x="9049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83" name="Freeform: Shape 3677">
              <a:extLst>
                <a:ext uri="{FF2B5EF4-FFF2-40B4-BE49-F238E27FC236}">
                  <a16:creationId xmlns:a16="http://schemas.microsoft.com/office/drawing/2014/main" id="{8C9BF658-1EA9-4C55-ACFB-84E1C30C6B92}"/>
                </a:ext>
              </a:extLst>
            </p:cNvPr>
            <p:cNvSpPr/>
            <p:nvPr/>
          </p:nvSpPr>
          <p:spPr>
            <a:xfrm>
              <a:off x="9753685" y="3377896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3541 h 0"/>
                <a:gd name="connsiteX2" fmla="*/ 787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3541"/>
                  </a:lnTo>
                  <a:lnTo>
                    <a:pt x="78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84" name="Freeform: Shape 3678">
              <a:extLst>
                <a:ext uri="{FF2B5EF4-FFF2-40B4-BE49-F238E27FC236}">
                  <a16:creationId xmlns:a16="http://schemas.microsoft.com/office/drawing/2014/main" id="{1F935FFF-F0CA-4C59-8ACF-2CD2A9958543}"/>
                </a:ext>
              </a:extLst>
            </p:cNvPr>
            <p:cNvSpPr/>
            <p:nvPr/>
          </p:nvSpPr>
          <p:spPr>
            <a:xfrm>
              <a:off x="9758406" y="3375142"/>
              <a:ext cx="3934" cy="3934"/>
            </a:xfrm>
            <a:custGeom>
              <a:avLst/>
              <a:gdLst>
                <a:gd name="connsiteX0" fmla="*/ 0 w 0"/>
                <a:gd name="connsiteY0" fmla="*/ 394 h 0"/>
                <a:gd name="connsiteX1" fmla="*/ 1967 w 0"/>
                <a:gd name="connsiteY1" fmla="*/ 1180 h 0"/>
                <a:gd name="connsiteX2" fmla="*/ 3148 w 0"/>
                <a:gd name="connsiteY2" fmla="*/ 394 h 0"/>
                <a:gd name="connsiteX3" fmla="*/ 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394"/>
                  </a:moveTo>
                  <a:lnTo>
                    <a:pt x="1967" y="1180"/>
                  </a:lnTo>
                  <a:lnTo>
                    <a:pt x="3148" y="39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85" name="Freeform: Shape 3679">
              <a:extLst>
                <a:ext uri="{FF2B5EF4-FFF2-40B4-BE49-F238E27FC236}">
                  <a16:creationId xmlns:a16="http://schemas.microsoft.com/office/drawing/2014/main" id="{E6937635-D31C-460F-B9C0-DBD5C26850CE}"/>
                </a:ext>
              </a:extLst>
            </p:cNvPr>
            <p:cNvSpPr/>
            <p:nvPr/>
          </p:nvSpPr>
          <p:spPr>
            <a:xfrm>
              <a:off x="9758800" y="3376323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1573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1573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86" name="Freeform: Shape 3680">
              <a:extLst>
                <a:ext uri="{FF2B5EF4-FFF2-40B4-BE49-F238E27FC236}">
                  <a16:creationId xmlns:a16="http://schemas.microsoft.com/office/drawing/2014/main" id="{85063DB9-B298-4967-92E4-195B21983ACE}"/>
                </a:ext>
              </a:extLst>
            </p:cNvPr>
            <p:cNvSpPr/>
            <p:nvPr/>
          </p:nvSpPr>
          <p:spPr>
            <a:xfrm>
              <a:off x="9669099" y="3312588"/>
              <a:ext cx="3934" cy="3934"/>
            </a:xfrm>
            <a:custGeom>
              <a:avLst/>
              <a:gdLst>
                <a:gd name="connsiteX0" fmla="*/ 0 w 0"/>
                <a:gd name="connsiteY0" fmla="*/ 0 h 3934"/>
                <a:gd name="connsiteX1" fmla="*/ 2754 w 0"/>
                <a:gd name="connsiteY1" fmla="*/ 4328 h 3934"/>
                <a:gd name="connsiteX2" fmla="*/ 2754 w 0"/>
                <a:gd name="connsiteY2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0" y="0"/>
                  </a:moveTo>
                  <a:lnTo>
                    <a:pt x="2754" y="4328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87" name="Freeform: Shape 3681">
              <a:extLst>
                <a:ext uri="{FF2B5EF4-FFF2-40B4-BE49-F238E27FC236}">
                  <a16:creationId xmlns:a16="http://schemas.microsoft.com/office/drawing/2014/main" id="{6BF5A928-AB2C-4E9A-8F4B-E8149EC9C64B}"/>
                </a:ext>
              </a:extLst>
            </p:cNvPr>
            <p:cNvSpPr/>
            <p:nvPr/>
          </p:nvSpPr>
          <p:spPr>
            <a:xfrm>
              <a:off x="9739916" y="3299998"/>
              <a:ext cx="3934" cy="3934"/>
            </a:xfrm>
            <a:custGeom>
              <a:avLst/>
              <a:gdLst>
                <a:gd name="connsiteX0" fmla="*/ 1967 w 0"/>
                <a:gd name="connsiteY0" fmla="*/ 5901 h 3934"/>
                <a:gd name="connsiteX1" fmla="*/ 1180 w 0"/>
                <a:gd name="connsiteY1" fmla="*/ 3147 h 3934"/>
                <a:gd name="connsiteX2" fmla="*/ 0 w 0"/>
                <a:gd name="connsiteY2" fmla="*/ 0 h 3934"/>
                <a:gd name="connsiteX3" fmla="*/ 1967 w 0"/>
                <a:gd name="connsiteY3" fmla="*/ 668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967" y="5901"/>
                  </a:moveTo>
                  <a:lnTo>
                    <a:pt x="1180" y="3147"/>
                  </a:lnTo>
                  <a:lnTo>
                    <a:pt x="0" y="0"/>
                  </a:lnTo>
                  <a:lnTo>
                    <a:pt x="1967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88" name="Freeform: Shape 3682">
              <a:extLst>
                <a:ext uri="{FF2B5EF4-FFF2-40B4-BE49-F238E27FC236}">
                  <a16:creationId xmlns:a16="http://schemas.microsoft.com/office/drawing/2014/main" id="{25C5206E-7298-4131-B8DE-8CFD70476D2D}"/>
                </a:ext>
              </a:extLst>
            </p:cNvPr>
            <p:cNvSpPr/>
            <p:nvPr/>
          </p:nvSpPr>
          <p:spPr>
            <a:xfrm>
              <a:off x="9700180" y="3299998"/>
              <a:ext cx="7869" cy="7869"/>
            </a:xfrm>
            <a:custGeom>
              <a:avLst/>
              <a:gdLst>
                <a:gd name="connsiteX0" fmla="*/ 5901 w 7868"/>
                <a:gd name="connsiteY0" fmla="*/ 7082 h 7868"/>
                <a:gd name="connsiteX1" fmla="*/ 7081 w 7868"/>
                <a:gd name="connsiteY1" fmla="*/ 8262 h 7868"/>
                <a:gd name="connsiteX2" fmla="*/ 8261 w 7868"/>
                <a:gd name="connsiteY2" fmla="*/ 5114 h 7868"/>
                <a:gd name="connsiteX3" fmla="*/ 7869 w 7868"/>
                <a:gd name="connsiteY3" fmla="*/ 2360 h 7868"/>
                <a:gd name="connsiteX4" fmla="*/ 5114 w 7868"/>
                <a:gd name="connsiteY4" fmla="*/ 393 h 7868"/>
                <a:gd name="connsiteX5" fmla="*/ 3934 w 7868"/>
                <a:gd name="connsiteY5" fmla="*/ 0 h 7868"/>
                <a:gd name="connsiteX6" fmla="*/ 2754 w 7868"/>
                <a:gd name="connsiteY6" fmla="*/ 0 h 7868"/>
                <a:gd name="connsiteX7" fmla="*/ 0 w 7868"/>
                <a:gd name="connsiteY7" fmla="*/ 2360 h 7868"/>
                <a:gd name="connsiteX8" fmla="*/ 2754 w 7868"/>
                <a:gd name="connsiteY8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7868">
                  <a:moveTo>
                    <a:pt x="5901" y="7082"/>
                  </a:moveTo>
                  <a:lnTo>
                    <a:pt x="7081" y="8262"/>
                  </a:lnTo>
                  <a:lnTo>
                    <a:pt x="8261" y="5114"/>
                  </a:lnTo>
                  <a:lnTo>
                    <a:pt x="7869" y="2360"/>
                  </a:lnTo>
                  <a:lnTo>
                    <a:pt x="5114" y="393"/>
                  </a:lnTo>
                  <a:lnTo>
                    <a:pt x="3934" y="0"/>
                  </a:lnTo>
                  <a:lnTo>
                    <a:pt x="2754" y="0"/>
                  </a:lnTo>
                  <a:lnTo>
                    <a:pt x="0" y="2360"/>
                  </a:lnTo>
                  <a:lnTo>
                    <a:pt x="2754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89" name="Freeform: Shape 3683">
              <a:extLst>
                <a:ext uri="{FF2B5EF4-FFF2-40B4-BE49-F238E27FC236}">
                  <a16:creationId xmlns:a16="http://schemas.microsoft.com/office/drawing/2014/main" id="{7DFAB182-7A2F-4E6D-BF6B-6691D16AE400}"/>
                </a:ext>
              </a:extLst>
            </p:cNvPr>
            <p:cNvSpPr/>
            <p:nvPr/>
          </p:nvSpPr>
          <p:spPr>
            <a:xfrm>
              <a:off x="9723392" y="3297244"/>
              <a:ext cx="27540" cy="27540"/>
            </a:xfrm>
            <a:custGeom>
              <a:avLst/>
              <a:gdLst>
                <a:gd name="connsiteX0" fmla="*/ 10622 w 27539"/>
                <a:gd name="connsiteY0" fmla="*/ 5114 h 27539"/>
                <a:gd name="connsiteX1" fmla="*/ 7869 w 27539"/>
                <a:gd name="connsiteY1" fmla="*/ 2754 h 27539"/>
                <a:gd name="connsiteX2" fmla="*/ 7475 w 27539"/>
                <a:gd name="connsiteY2" fmla="*/ 2361 h 27539"/>
                <a:gd name="connsiteX3" fmla="*/ 4721 w 27539"/>
                <a:gd name="connsiteY3" fmla="*/ 2754 h 27539"/>
                <a:gd name="connsiteX4" fmla="*/ 4328 w 27539"/>
                <a:gd name="connsiteY4" fmla="*/ 2754 h 27539"/>
                <a:gd name="connsiteX5" fmla="*/ 3148 w 27539"/>
                <a:gd name="connsiteY5" fmla="*/ 394 h 27539"/>
                <a:gd name="connsiteX6" fmla="*/ 0 w 27539"/>
                <a:gd name="connsiteY6" fmla="*/ 0 h 27539"/>
                <a:gd name="connsiteX7" fmla="*/ 1180 w 27539"/>
                <a:gd name="connsiteY7" fmla="*/ 2754 h 27539"/>
                <a:gd name="connsiteX8" fmla="*/ 787 w 27539"/>
                <a:gd name="connsiteY8" fmla="*/ 19671 h 27539"/>
                <a:gd name="connsiteX9" fmla="*/ 394 w 27539"/>
                <a:gd name="connsiteY9" fmla="*/ 22819 h 27539"/>
                <a:gd name="connsiteX10" fmla="*/ 3148 w 27539"/>
                <a:gd name="connsiteY10" fmla="*/ 20458 h 27539"/>
                <a:gd name="connsiteX11" fmla="*/ 3540 w 27539"/>
                <a:gd name="connsiteY11" fmla="*/ 19671 h 27539"/>
                <a:gd name="connsiteX12" fmla="*/ 9836 w 27539"/>
                <a:gd name="connsiteY12" fmla="*/ 12983 h 27539"/>
                <a:gd name="connsiteX13" fmla="*/ 10229 w 27539"/>
                <a:gd name="connsiteY13" fmla="*/ 12983 h 27539"/>
                <a:gd name="connsiteX14" fmla="*/ 10229 w 27539"/>
                <a:gd name="connsiteY14" fmla="*/ 12590 h 27539"/>
                <a:gd name="connsiteX15" fmla="*/ 12589 w 27539"/>
                <a:gd name="connsiteY15" fmla="*/ 15344 h 27539"/>
                <a:gd name="connsiteX16" fmla="*/ 14557 w 27539"/>
                <a:gd name="connsiteY16" fmla="*/ 17311 h 27539"/>
                <a:gd name="connsiteX17" fmla="*/ 16524 w 27539"/>
                <a:gd name="connsiteY17" fmla="*/ 19671 h 27539"/>
                <a:gd name="connsiteX18" fmla="*/ 18491 w 27539"/>
                <a:gd name="connsiteY18" fmla="*/ 22425 h 27539"/>
                <a:gd name="connsiteX19" fmla="*/ 21245 w 27539"/>
                <a:gd name="connsiteY19" fmla="*/ 23606 h 27539"/>
                <a:gd name="connsiteX20" fmla="*/ 24392 w 27539"/>
                <a:gd name="connsiteY20" fmla="*/ 25573 h 27539"/>
                <a:gd name="connsiteX21" fmla="*/ 27146 w 27539"/>
                <a:gd name="connsiteY21" fmla="*/ 28327 h 27539"/>
                <a:gd name="connsiteX22" fmla="*/ 27934 w 27539"/>
                <a:gd name="connsiteY22" fmla="*/ 25179 h 27539"/>
                <a:gd name="connsiteX23" fmla="*/ 26359 w 27539"/>
                <a:gd name="connsiteY23" fmla="*/ 21638 h 27539"/>
                <a:gd name="connsiteX24" fmla="*/ 25179 w 27539"/>
                <a:gd name="connsiteY24" fmla="*/ 19671 h 27539"/>
                <a:gd name="connsiteX25" fmla="*/ 25573 w 27539"/>
                <a:gd name="connsiteY25" fmla="*/ 19671 h 27539"/>
                <a:gd name="connsiteX26" fmla="*/ 26359 w 27539"/>
                <a:gd name="connsiteY26" fmla="*/ 19671 h 27539"/>
                <a:gd name="connsiteX27" fmla="*/ 25179 w 27539"/>
                <a:gd name="connsiteY27" fmla="*/ 18491 h 27539"/>
                <a:gd name="connsiteX28" fmla="*/ 23212 w 27539"/>
                <a:gd name="connsiteY28" fmla="*/ 15344 h 27539"/>
                <a:gd name="connsiteX29" fmla="*/ 21245 w 27539"/>
                <a:gd name="connsiteY29" fmla="*/ 12590 h 27539"/>
                <a:gd name="connsiteX30" fmla="*/ 18098 w 27539"/>
                <a:gd name="connsiteY30" fmla="*/ 13377 h 27539"/>
                <a:gd name="connsiteX31" fmla="*/ 16918 w 27539"/>
                <a:gd name="connsiteY31" fmla="*/ 11016 h 27539"/>
                <a:gd name="connsiteX32" fmla="*/ 14164 w 27539"/>
                <a:gd name="connsiteY32" fmla="*/ 8262 h 27539"/>
                <a:gd name="connsiteX33" fmla="*/ 12983 w 27539"/>
                <a:gd name="connsiteY33" fmla="*/ 7869 h 27539"/>
                <a:gd name="connsiteX34" fmla="*/ 11016 w 27539"/>
                <a:gd name="connsiteY34" fmla="*/ 5901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7539" h="27539">
                  <a:moveTo>
                    <a:pt x="10622" y="5114"/>
                  </a:moveTo>
                  <a:lnTo>
                    <a:pt x="7869" y="2754"/>
                  </a:lnTo>
                  <a:lnTo>
                    <a:pt x="7475" y="2361"/>
                  </a:lnTo>
                  <a:lnTo>
                    <a:pt x="4721" y="2754"/>
                  </a:lnTo>
                  <a:lnTo>
                    <a:pt x="4328" y="2754"/>
                  </a:lnTo>
                  <a:lnTo>
                    <a:pt x="3148" y="394"/>
                  </a:lnTo>
                  <a:lnTo>
                    <a:pt x="0" y="0"/>
                  </a:lnTo>
                  <a:lnTo>
                    <a:pt x="1180" y="2754"/>
                  </a:lnTo>
                  <a:lnTo>
                    <a:pt x="787" y="19671"/>
                  </a:lnTo>
                  <a:lnTo>
                    <a:pt x="394" y="22819"/>
                  </a:lnTo>
                  <a:lnTo>
                    <a:pt x="3148" y="20458"/>
                  </a:lnTo>
                  <a:lnTo>
                    <a:pt x="3540" y="19671"/>
                  </a:lnTo>
                  <a:lnTo>
                    <a:pt x="9836" y="12983"/>
                  </a:lnTo>
                  <a:lnTo>
                    <a:pt x="10229" y="12983"/>
                  </a:lnTo>
                  <a:lnTo>
                    <a:pt x="10229" y="12590"/>
                  </a:lnTo>
                  <a:lnTo>
                    <a:pt x="12589" y="15344"/>
                  </a:lnTo>
                  <a:lnTo>
                    <a:pt x="14557" y="17311"/>
                  </a:lnTo>
                  <a:lnTo>
                    <a:pt x="16524" y="19671"/>
                  </a:lnTo>
                  <a:lnTo>
                    <a:pt x="18491" y="22425"/>
                  </a:lnTo>
                  <a:lnTo>
                    <a:pt x="21245" y="23606"/>
                  </a:lnTo>
                  <a:lnTo>
                    <a:pt x="24392" y="25573"/>
                  </a:lnTo>
                  <a:lnTo>
                    <a:pt x="27146" y="28327"/>
                  </a:lnTo>
                  <a:lnTo>
                    <a:pt x="27934" y="25179"/>
                  </a:lnTo>
                  <a:lnTo>
                    <a:pt x="26359" y="21638"/>
                  </a:lnTo>
                  <a:lnTo>
                    <a:pt x="25179" y="19671"/>
                  </a:lnTo>
                  <a:lnTo>
                    <a:pt x="25573" y="19671"/>
                  </a:lnTo>
                  <a:lnTo>
                    <a:pt x="26359" y="19671"/>
                  </a:lnTo>
                  <a:lnTo>
                    <a:pt x="25179" y="18491"/>
                  </a:lnTo>
                  <a:lnTo>
                    <a:pt x="23212" y="15344"/>
                  </a:lnTo>
                  <a:lnTo>
                    <a:pt x="21245" y="12590"/>
                  </a:lnTo>
                  <a:lnTo>
                    <a:pt x="18098" y="13377"/>
                  </a:lnTo>
                  <a:lnTo>
                    <a:pt x="16918" y="11016"/>
                  </a:lnTo>
                  <a:lnTo>
                    <a:pt x="14164" y="8262"/>
                  </a:lnTo>
                  <a:lnTo>
                    <a:pt x="12983" y="7869"/>
                  </a:lnTo>
                  <a:lnTo>
                    <a:pt x="11016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90" name="Freeform: Shape 3684">
              <a:extLst>
                <a:ext uri="{FF2B5EF4-FFF2-40B4-BE49-F238E27FC236}">
                  <a16:creationId xmlns:a16="http://schemas.microsoft.com/office/drawing/2014/main" id="{0AF24D82-E135-4583-893D-D449962D09C7}"/>
                </a:ext>
              </a:extLst>
            </p:cNvPr>
            <p:cNvSpPr/>
            <p:nvPr/>
          </p:nvSpPr>
          <p:spPr>
            <a:xfrm>
              <a:off x="9790274" y="3306686"/>
              <a:ext cx="3934" cy="3934"/>
            </a:xfrm>
            <a:custGeom>
              <a:avLst/>
              <a:gdLst>
                <a:gd name="connsiteX0" fmla="*/ 787 w 0"/>
                <a:gd name="connsiteY0" fmla="*/ 393 h 0"/>
                <a:gd name="connsiteX1" fmla="*/ 0 w 0"/>
                <a:gd name="connsiteY1" fmla="*/ 0 h 0"/>
                <a:gd name="connsiteX2" fmla="*/ 3148 w 0"/>
                <a:gd name="connsiteY2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393"/>
                  </a:moveTo>
                  <a:lnTo>
                    <a:pt x="0" y="0"/>
                  </a:lnTo>
                  <a:lnTo>
                    <a:pt x="3148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91" name="Freeform: Shape 3685">
              <a:extLst>
                <a:ext uri="{FF2B5EF4-FFF2-40B4-BE49-F238E27FC236}">
                  <a16:creationId xmlns:a16="http://schemas.microsoft.com/office/drawing/2014/main" id="{67B376D3-B634-4980-95A1-615E8631D14F}"/>
                </a:ext>
              </a:extLst>
            </p:cNvPr>
            <p:cNvSpPr/>
            <p:nvPr/>
          </p:nvSpPr>
          <p:spPr>
            <a:xfrm>
              <a:off x="7317589" y="3248066"/>
              <a:ext cx="3934" cy="3934"/>
            </a:xfrm>
            <a:custGeom>
              <a:avLst/>
              <a:gdLst>
                <a:gd name="connsiteX0" fmla="*/ 2754 w 0"/>
                <a:gd name="connsiteY0" fmla="*/ 3147 h 3934"/>
                <a:gd name="connsiteX1" fmla="*/ 2754 w 0"/>
                <a:gd name="connsiteY1" fmla="*/ 0 h 3934"/>
                <a:gd name="connsiteX2" fmla="*/ 0 w 0"/>
                <a:gd name="connsiteY2" fmla="*/ 1180 h 3934"/>
                <a:gd name="connsiteX3" fmla="*/ 2360 w 0"/>
                <a:gd name="connsiteY3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2754" y="3147"/>
                  </a:moveTo>
                  <a:lnTo>
                    <a:pt x="2754" y="0"/>
                  </a:lnTo>
                  <a:lnTo>
                    <a:pt x="0" y="1180"/>
                  </a:lnTo>
                  <a:lnTo>
                    <a:pt x="2360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92" name="Freeform: Shape 3686">
              <a:extLst>
                <a:ext uri="{FF2B5EF4-FFF2-40B4-BE49-F238E27FC236}">
                  <a16:creationId xmlns:a16="http://schemas.microsoft.com/office/drawing/2014/main" id="{9BA88B57-0C07-45B5-B8EE-D748DD5ED9B2}"/>
                </a:ext>
              </a:extLst>
            </p:cNvPr>
            <p:cNvSpPr/>
            <p:nvPr/>
          </p:nvSpPr>
          <p:spPr>
            <a:xfrm>
              <a:off x="5583759" y="3343668"/>
              <a:ext cx="3934" cy="3934"/>
            </a:xfrm>
            <a:custGeom>
              <a:avLst/>
              <a:gdLst>
                <a:gd name="connsiteX0" fmla="*/ 2754 w 0"/>
                <a:gd name="connsiteY0" fmla="*/ 2361 h 0"/>
                <a:gd name="connsiteX1" fmla="*/ 2754 w 0"/>
                <a:gd name="connsiteY1" fmla="*/ 0 h 0"/>
                <a:gd name="connsiteX2" fmla="*/ 0 w 0"/>
                <a:gd name="connsiteY2" fmla="*/ 3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361"/>
                  </a:moveTo>
                  <a:lnTo>
                    <a:pt x="2754" y="0"/>
                  </a:lnTo>
                  <a:lnTo>
                    <a:pt x="0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93" name="Freeform: Shape 3687">
              <a:extLst>
                <a:ext uri="{FF2B5EF4-FFF2-40B4-BE49-F238E27FC236}">
                  <a16:creationId xmlns:a16="http://schemas.microsoft.com/office/drawing/2014/main" id="{B778E88C-7926-4BF6-811C-3A3BD9511B0F}"/>
                </a:ext>
              </a:extLst>
            </p:cNvPr>
            <p:cNvSpPr/>
            <p:nvPr/>
          </p:nvSpPr>
          <p:spPr>
            <a:xfrm>
              <a:off x="5558186" y="3345242"/>
              <a:ext cx="3934" cy="3934"/>
            </a:xfrm>
            <a:custGeom>
              <a:avLst/>
              <a:gdLst>
                <a:gd name="connsiteX0" fmla="*/ 0 w 3934"/>
                <a:gd name="connsiteY0" fmla="*/ 1967 h 3934"/>
                <a:gd name="connsiteX1" fmla="*/ 2360 w 3934"/>
                <a:gd name="connsiteY1" fmla="*/ 5114 h 3934"/>
                <a:gd name="connsiteX2" fmla="*/ 3147 w 3934"/>
                <a:gd name="connsiteY2" fmla="*/ 4328 h 3934"/>
                <a:gd name="connsiteX3" fmla="*/ 5901 w 3934"/>
                <a:gd name="connsiteY3" fmla="*/ 3147 h 3934"/>
                <a:gd name="connsiteX4" fmla="*/ 3147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1967"/>
                  </a:moveTo>
                  <a:lnTo>
                    <a:pt x="2360" y="5114"/>
                  </a:lnTo>
                  <a:lnTo>
                    <a:pt x="3147" y="4328"/>
                  </a:lnTo>
                  <a:lnTo>
                    <a:pt x="5901" y="314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94" name="Freeform: Shape 3688">
              <a:extLst>
                <a:ext uri="{FF2B5EF4-FFF2-40B4-BE49-F238E27FC236}">
                  <a16:creationId xmlns:a16="http://schemas.microsoft.com/office/drawing/2014/main" id="{E585A54B-EC46-4591-BC42-CE85900E64FD}"/>
                </a:ext>
              </a:extLst>
            </p:cNvPr>
            <p:cNvSpPr/>
            <p:nvPr/>
          </p:nvSpPr>
          <p:spPr>
            <a:xfrm>
              <a:off x="5572349" y="3340915"/>
              <a:ext cx="3934" cy="3934"/>
            </a:xfrm>
            <a:custGeom>
              <a:avLst/>
              <a:gdLst>
                <a:gd name="connsiteX0" fmla="*/ 0 w 0"/>
                <a:gd name="connsiteY0" fmla="*/ 4721 h 3934"/>
                <a:gd name="connsiteX1" fmla="*/ 2360 w 0"/>
                <a:gd name="connsiteY1" fmla="*/ 2754 h 3934"/>
                <a:gd name="connsiteX2" fmla="*/ 3147 w 0"/>
                <a:gd name="connsiteY2" fmla="*/ 0 h 3934"/>
                <a:gd name="connsiteX3" fmla="*/ 393 w 0"/>
                <a:gd name="connsiteY3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4721"/>
                  </a:moveTo>
                  <a:lnTo>
                    <a:pt x="2360" y="2754"/>
                  </a:lnTo>
                  <a:lnTo>
                    <a:pt x="3147" y="0"/>
                  </a:lnTo>
                  <a:lnTo>
                    <a:pt x="393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95" name="Freeform: Shape 3689">
              <a:extLst>
                <a:ext uri="{FF2B5EF4-FFF2-40B4-BE49-F238E27FC236}">
                  <a16:creationId xmlns:a16="http://schemas.microsoft.com/office/drawing/2014/main" id="{B27F7AE9-7103-425F-8418-41E04D939671}"/>
                </a:ext>
              </a:extLst>
            </p:cNvPr>
            <p:cNvSpPr/>
            <p:nvPr/>
          </p:nvSpPr>
          <p:spPr>
            <a:xfrm>
              <a:off x="5564088" y="3333439"/>
              <a:ext cx="3934" cy="3934"/>
            </a:xfrm>
            <a:custGeom>
              <a:avLst/>
              <a:gdLst>
                <a:gd name="connsiteX0" fmla="*/ 1180 w 3934"/>
                <a:gd name="connsiteY0" fmla="*/ 0 h 0"/>
                <a:gd name="connsiteX1" fmla="*/ 0 w 3934"/>
                <a:gd name="connsiteY1" fmla="*/ 2754 h 0"/>
                <a:gd name="connsiteX2" fmla="*/ 2754 w 3934"/>
                <a:gd name="connsiteY2" fmla="*/ 3541 h 0"/>
                <a:gd name="connsiteX3" fmla="*/ 4328 w 3934"/>
                <a:gd name="connsiteY3" fmla="*/ 393 h 0"/>
                <a:gd name="connsiteX4" fmla="*/ 1573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1180" y="0"/>
                  </a:moveTo>
                  <a:lnTo>
                    <a:pt x="0" y="2754"/>
                  </a:lnTo>
                  <a:lnTo>
                    <a:pt x="2754" y="3541"/>
                  </a:lnTo>
                  <a:lnTo>
                    <a:pt x="4328" y="393"/>
                  </a:lnTo>
                  <a:lnTo>
                    <a:pt x="1573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96" name="Freeform: Shape 3690">
              <a:extLst>
                <a:ext uri="{FF2B5EF4-FFF2-40B4-BE49-F238E27FC236}">
                  <a16:creationId xmlns:a16="http://schemas.microsoft.com/office/drawing/2014/main" id="{B3896849-D21A-4810-89A9-CB9A36753D5B}"/>
                </a:ext>
              </a:extLst>
            </p:cNvPr>
            <p:cNvSpPr/>
            <p:nvPr/>
          </p:nvSpPr>
          <p:spPr>
            <a:xfrm>
              <a:off x="5553465" y="3332652"/>
              <a:ext cx="3934" cy="3934"/>
            </a:xfrm>
            <a:custGeom>
              <a:avLst/>
              <a:gdLst>
                <a:gd name="connsiteX0" fmla="*/ 0 w 0"/>
                <a:gd name="connsiteY0" fmla="*/ 2361 h 0"/>
                <a:gd name="connsiteX1" fmla="*/ 2754 w 0"/>
                <a:gd name="connsiteY1" fmla="*/ 2361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361"/>
                  </a:moveTo>
                  <a:lnTo>
                    <a:pt x="2754" y="2361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97" name="Freeform: Shape 3691">
              <a:extLst>
                <a:ext uri="{FF2B5EF4-FFF2-40B4-BE49-F238E27FC236}">
                  <a16:creationId xmlns:a16="http://schemas.microsoft.com/office/drawing/2014/main" id="{E8CD5388-9C38-4D7D-BA15-23C748274145}"/>
                </a:ext>
              </a:extLst>
            </p:cNvPr>
            <p:cNvSpPr/>
            <p:nvPr/>
          </p:nvSpPr>
          <p:spPr>
            <a:xfrm>
              <a:off x="5561333" y="3320850"/>
              <a:ext cx="3934" cy="3934"/>
            </a:xfrm>
            <a:custGeom>
              <a:avLst/>
              <a:gdLst>
                <a:gd name="connsiteX0" fmla="*/ 4328 w 3934"/>
                <a:gd name="connsiteY0" fmla="*/ 0 h 3934"/>
                <a:gd name="connsiteX1" fmla="*/ 2754 w 3934"/>
                <a:gd name="connsiteY1" fmla="*/ 394 h 3934"/>
                <a:gd name="connsiteX2" fmla="*/ 0 w 3934"/>
                <a:gd name="connsiteY2" fmla="*/ 787 h 3934"/>
                <a:gd name="connsiteX3" fmla="*/ 1180 w 3934"/>
                <a:gd name="connsiteY3" fmla="*/ 3934 h 3934"/>
                <a:gd name="connsiteX4" fmla="*/ 4328 w 3934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4328" y="0"/>
                  </a:moveTo>
                  <a:lnTo>
                    <a:pt x="2754" y="394"/>
                  </a:lnTo>
                  <a:lnTo>
                    <a:pt x="0" y="787"/>
                  </a:lnTo>
                  <a:lnTo>
                    <a:pt x="1180" y="3934"/>
                  </a:lnTo>
                  <a:lnTo>
                    <a:pt x="432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98" name="Freeform: Shape 3692">
              <a:extLst>
                <a:ext uri="{FF2B5EF4-FFF2-40B4-BE49-F238E27FC236}">
                  <a16:creationId xmlns:a16="http://schemas.microsoft.com/office/drawing/2014/main" id="{0DD27991-F897-462F-870E-97CDB8E0B0BA}"/>
                </a:ext>
              </a:extLst>
            </p:cNvPr>
            <p:cNvSpPr/>
            <p:nvPr/>
          </p:nvSpPr>
          <p:spPr>
            <a:xfrm>
              <a:off x="8972734" y="3308260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3148 h 0"/>
                <a:gd name="connsiteX2" fmla="*/ 2361 w 0"/>
                <a:gd name="connsiteY2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3148"/>
                  </a:lnTo>
                  <a:lnTo>
                    <a:pt x="2361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99" name="Freeform: Shape 3693">
              <a:extLst>
                <a:ext uri="{FF2B5EF4-FFF2-40B4-BE49-F238E27FC236}">
                  <a16:creationId xmlns:a16="http://schemas.microsoft.com/office/drawing/2014/main" id="{EF7B1F64-BADC-4D91-88AB-A9EBF82A1C3A}"/>
                </a:ext>
              </a:extLst>
            </p:cNvPr>
            <p:cNvSpPr/>
            <p:nvPr/>
          </p:nvSpPr>
          <p:spPr>
            <a:xfrm>
              <a:off x="8969194" y="3303932"/>
              <a:ext cx="3934" cy="3934"/>
            </a:xfrm>
            <a:custGeom>
              <a:avLst/>
              <a:gdLst>
                <a:gd name="connsiteX0" fmla="*/ 1573 w 0"/>
                <a:gd name="connsiteY0" fmla="*/ 3147 h 0"/>
                <a:gd name="connsiteX1" fmla="*/ 1967 w 0"/>
                <a:gd name="connsiteY1" fmla="*/ 2754 h 0"/>
                <a:gd name="connsiteX2" fmla="*/ 2754 w 0"/>
                <a:gd name="connsiteY2" fmla="*/ 0 h 0"/>
                <a:gd name="connsiteX3" fmla="*/ 0 w 0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573" y="3147"/>
                  </a:moveTo>
                  <a:lnTo>
                    <a:pt x="1967" y="2754"/>
                  </a:ln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00" name="Freeform: Shape 3694">
              <a:extLst>
                <a:ext uri="{FF2B5EF4-FFF2-40B4-BE49-F238E27FC236}">
                  <a16:creationId xmlns:a16="http://schemas.microsoft.com/office/drawing/2014/main" id="{09882E98-3260-4585-A2DD-D77FA25FBF38}"/>
                </a:ext>
              </a:extLst>
            </p:cNvPr>
            <p:cNvSpPr/>
            <p:nvPr/>
          </p:nvSpPr>
          <p:spPr>
            <a:xfrm>
              <a:off x="8979029" y="3295277"/>
              <a:ext cx="3934" cy="7869"/>
            </a:xfrm>
            <a:custGeom>
              <a:avLst/>
              <a:gdLst>
                <a:gd name="connsiteX0" fmla="*/ 2754 w 3934"/>
                <a:gd name="connsiteY0" fmla="*/ 0 h 7868"/>
                <a:gd name="connsiteX1" fmla="*/ 0 w 3934"/>
                <a:gd name="connsiteY1" fmla="*/ 394 h 7868"/>
                <a:gd name="connsiteX2" fmla="*/ 787 w 3934"/>
                <a:gd name="connsiteY2" fmla="*/ 3147 h 7868"/>
                <a:gd name="connsiteX3" fmla="*/ 1573 w 3934"/>
                <a:gd name="connsiteY3" fmla="*/ 6295 h 7868"/>
                <a:gd name="connsiteX4" fmla="*/ 1180 w 3934"/>
                <a:gd name="connsiteY4" fmla="*/ 9442 h 7868"/>
                <a:gd name="connsiteX5" fmla="*/ 787 w 3934"/>
                <a:gd name="connsiteY5" fmla="*/ 10229 h 7868"/>
                <a:gd name="connsiteX6" fmla="*/ 3934 w 3934"/>
                <a:gd name="connsiteY6" fmla="*/ 9049 h 7868"/>
                <a:gd name="connsiteX7" fmla="*/ 5508 w 3934"/>
                <a:gd name="connsiteY7" fmla="*/ 5901 h 7868"/>
                <a:gd name="connsiteX8" fmla="*/ 3540 w 3934"/>
                <a:gd name="connsiteY8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2754" y="0"/>
                  </a:moveTo>
                  <a:lnTo>
                    <a:pt x="0" y="394"/>
                  </a:lnTo>
                  <a:lnTo>
                    <a:pt x="787" y="3147"/>
                  </a:lnTo>
                  <a:lnTo>
                    <a:pt x="1573" y="6295"/>
                  </a:lnTo>
                  <a:lnTo>
                    <a:pt x="1180" y="9442"/>
                  </a:lnTo>
                  <a:lnTo>
                    <a:pt x="787" y="10229"/>
                  </a:lnTo>
                  <a:lnTo>
                    <a:pt x="3934" y="9049"/>
                  </a:lnTo>
                  <a:lnTo>
                    <a:pt x="5508" y="5901"/>
                  </a:lnTo>
                  <a:lnTo>
                    <a:pt x="354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01" name="Freeform: Shape 3695">
              <a:extLst>
                <a:ext uri="{FF2B5EF4-FFF2-40B4-BE49-F238E27FC236}">
                  <a16:creationId xmlns:a16="http://schemas.microsoft.com/office/drawing/2014/main" id="{435AAD07-008B-443B-A7D7-A6A84F574724}"/>
                </a:ext>
              </a:extLst>
            </p:cNvPr>
            <p:cNvSpPr/>
            <p:nvPr/>
          </p:nvSpPr>
          <p:spPr>
            <a:xfrm>
              <a:off x="8984931" y="3299605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1180 w 0"/>
                <a:gd name="connsiteY1" fmla="*/ 314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1180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02" name="Freeform: Shape 3696">
              <a:extLst>
                <a:ext uri="{FF2B5EF4-FFF2-40B4-BE49-F238E27FC236}">
                  <a16:creationId xmlns:a16="http://schemas.microsoft.com/office/drawing/2014/main" id="{6D4EC579-6646-4A36-AFC1-B377340037ED}"/>
                </a:ext>
              </a:extLst>
            </p:cNvPr>
            <p:cNvSpPr/>
            <p:nvPr/>
          </p:nvSpPr>
          <p:spPr>
            <a:xfrm>
              <a:off x="8975882" y="3278360"/>
              <a:ext cx="3934" cy="3934"/>
            </a:xfrm>
            <a:custGeom>
              <a:avLst/>
              <a:gdLst>
                <a:gd name="connsiteX0" fmla="*/ 787 w 0"/>
                <a:gd name="connsiteY0" fmla="*/ 2754 h 3934"/>
                <a:gd name="connsiteX1" fmla="*/ 1574 w 0"/>
                <a:gd name="connsiteY1" fmla="*/ 5508 h 3934"/>
                <a:gd name="connsiteX2" fmla="*/ 1967 w 0"/>
                <a:gd name="connsiteY2" fmla="*/ 5114 h 3934"/>
                <a:gd name="connsiteX3" fmla="*/ 2754 w 0"/>
                <a:gd name="connsiteY3" fmla="*/ 1967 h 3934"/>
                <a:gd name="connsiteX4" fmla="*/ 0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787" y="2754"/>
                  </a:moveTo>
                  <a:lnTo>
                    <a:pt x="1574" y="5508"/>
                  </a:lnTo>
                  <a:lnTo>
                    <a:pt x="1967" y="5114"/>
                  </a:lnTo>
                  <a:lnTo>
                    <a:pt x="2754" y="196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03" name="Freeform: Shape 3697">
              <a:extLst>
                <a:ext uri="{FF2B5EF4-FFF2-40B4-BE49-F238E27FC236}">
                  <a16:creationId xmlns:a16="http://schemas.microsoft.com/office/drawing/2014/main" id="{98C9E8EB-1E9E-457C-A2AD-F7987630A3EE}"/>
                </a:ext>
              </a:extLst>
            </p:cNvPr>
            <p:cNvSpPr/>
            <p:nvPr/>
          </p:nvSpPr>
          <p:spPr>
            <a:xfrm>
              <a:off x="8977062" y="3352324"/>
              <a:ext cx="3934" cy="7869"/>
            </a:xfrm>
            <a:custGeom>
              <a:avLst/>
              <a:gdLst>
                <a:gd name="connsiteX0" fmla="*/ 5114 w 3934"/>
                <a:gd name="connsiteY0" fmla="*/ 5508 h 7868"/>
                <a:gd name="connsiteX1" fmla="*/ 6688 w 3934"/>
                <a:gd name="connsiteY1" fmla="*/ 8262 h 7868"/>
                <a:gd name="connsiteX2" fmla="*/ 5901 w 3934"/>
                <a:gd name="connsiteY2" fmla="*/ 5508 h 7868"/>
                <a:gd name="connsiteX3" fmla="*/ 4721 w 3934"/>
                <a:gd name="connsiteY3" fmla="*/ 2754 h 7868"/>
                <a:gd name="connsiteX4" fmla="*/ 1967 w 3934"/>
                <a:gd name="connsiteY4" fmla="*/ 0 h 7868"/>
                <a:gd name="connsiteX5" fmla="*/ 0 w 3934"/>
                <a:gd name="connsiteY5" fmla="*/ 2754 h 7868"/>
                <a:gd name="connsiteX6" fmla="*/ 3147 w 3934"/>
                <a:gd name="connsiteY6" fmla="*/ 236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5114" y="5508"/>
                  </a:moveTo>
                  <a:lnTo>
                    <a:pt x="6688" y="8262"/>
                  </a:lnTo>
                  <a:lnTo>
                    <a:pt x="5901" y="5508"/>
                  </a:lnTo>
                  <a:lnTo>
                    <a:pt x="4721" y="2754"/>
                  </a:lnTo>
                  <a:lnTo>
                    <a:pt x="1967" y="0"/>
                  </a:lnTo>
                  <a:lnTo>
                    <a:pt x="0" y="2754"/>
                  </a:lnTo>
                  <a:lnTo>
                    <a:pt x="3147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04" name="Freeform: Shape 3698">
              <a:extLst>
                <a:ext uri="{FF2B5EF4-FFF2-40B4-BE49-F238E27FC236}">
                  <a16:creationId xmlns:a16="http://schemas.microsoft.com/office/drawing/2014/main" id="{7973497C-73E3-4314-B0DB-9BB3CE3C222E}"/>
                </a:ext>
              </a:extLst>
            </p:cNvPr>
            <p:cNvSpPr/>
            <p:nvPr/>
          </p:nvSpPr>
          <p:spPr>
            <a:xfrm>
              <a:off x="8978242" y="3323997"/>
              <a:ext cx="3934" cy="11803"/>
            </a:xfrm>
            <a:custGeom>
              <a:avLst/>
              <a:gdLst>
                <a:gd name="connsiteX0" fmla="*/ 0 w 0"/>
                <a:gd name="connsiteY0" fmla="*/ 11803 h 11802"/>
                <a:gd name="connsiteX1" fmla="*/ 1574 w 0"/>
                <a:gd name="connsiteY1" fmla="*/ 11803 h 11802"/>
                <a:gd name="connsiteX2" fmla="*/ 3541 w 0"/>
                <a:gd name="connsiteY2" fmla="*/ 9049 h 11802"/>
                <a:gd name="connsiteX3" fmla="*/ 3148 w 0"/>
                <a:gd name="connsiteY3" fmla="*/ 5901 h 11802"/>
                <a:gd name="connsiteX4" fmla="*/ 3541 w 0"/>
                <a:gd name="connsiteY4" fmla="*/ 2754 h 11802"/>
                <a:gd name="connsiteX5" fmla="*/ 2360 w 0"/>
                <a:gd name="connsiteY5" fmla="*/ 0 h 11802"/>
                <a:gd name="connsiteX6" fmla="*/ 1574 w 0"/>
                <a:gd name="connsiteY6" fmla="*/ 2754 h 11802"/>
                <a:gd name="connsiteX7" fmla="*/ 1574 w 0"/>
                <a:gd name="connsiteY7" fmla="*/ 5901 h 11802"/>
                <a:gd name="connsiteX8" fmla="*/ 787 w 0"/>
                <a:gd name="connsiteY8" fmla="*/ 904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h="11802">
                  <a:moveTo>
                    <a:pt x="0" y="11803"/>
                  </a:moveTo>
                  <a:lnTo>
                    <a:pt x="1574" y="11803"/>
                  </a:lnTo>
                  <a:lnTo>
                    <a:pt x="3541" y="9049"/>
                  </a:lnTo>
                  <a:lnTo>
                    <a:pt x="3148" y="5901"/>
                  </a:lnTo>
                  <a:lnTo>
                    <a:pt x="3541" y="2754"/>
                  </a:lnTo>
                  <a:lnTo>
                    <a:pt x="2360" y="0"/>
                  </a:lnTo>
                  <a:lnTo>
                    <a:pt x="1574" y="2754"/>
                  </a:lnTo>
                  <a:lnTo>
                    <a:pt x="1574" y="5901"/>
                  </a:lnTo>
                  <a:lnTo>
                    <a:pt x="787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05" name="Freeform: Shape 3699">
              <a:extLst>
                <a:ext uri="{FF2B5EF4-FFF2-40B4-BE49-F238E27FC236}">
                  <a16:creationId xmlns:a16="http://schemas.microsoft.com/office/drawing/2014/main" id="{291514BC-F627-4B61-AAD4-FA990F9A24F5}"/>
                </a:ext>
              </a:extLst>
            </p:cNvPr>
            <p:cNvSpPr/>
            <p:nvPr/>
          </p:nvSpPr>
          <p:spPr>
            <a:xfrm>
              <a:off x="8983357" y="3323997"/>
              <a:ext cx="3934" cy="7869"/>
            </a:xfrm>
            <a:custGeom>
              <a:avLst/>
              <a:gdLst>
                <a:gd name="connsiteX0" fmla="*/ 2754 w 3934"/>
                <a:gd name="connsiteY0" fmla="*/ 7869 h 7868"/>
                <a:gd name="connsiteX1" fmla="*/ 5508 w 3934"/>
                <a:gd name="connsiteY1" fmla="*/ 9049 h 7868"/>
                <a:gd name="connsiteX2" fmla="*/ 5901 w 3934"/>
                <a:gd name="connsiteY2" fmla="*/ 5901 h 7868"/>
                <a:gd name="connsiteX3" fmla="*/ 5508 w 3934"/>
                <a:gd name="connsiteY3" fmla="*/ 2754 h 7868"/>
                <a:gd name="connsiteX4" fmla="*/ 3147 w 3934"/>
                <a:gd name="connsiteY4" fmla="*/ 0 h 7868"/>
                <a:gd name="connsiteX5" fmla="*/ 0 w 3934"/>
                <a:gd name="connsiteY5" fmla="*/ 787 h 7868"/>
                <a:gd name="connsiteX6" fmla="*/ 787 w 3934"/>
                <a:gd name="connsiteY6" fmla="*/ 3541 h 7868"/>
                <a:gd name="connsiteX7" fmla="*/ 1967 w 3934"/>
                <a:gd name="connsiteY7" fmla="*/ 629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2754" y="7869"/>
                  </a:moveTo>
                  <a:lnTo>
                    <a:pt x="5508" y="9049"/>
                  </a:lnTo>
                  <a:lnTo>
                    <a:pt x="5901" y="5901"/>
                  </a:lnTo>
                  <a:lnTo>
                    <a:pt x="5508" y="2754"/>
                  </a:lnTo>
                  <a:lnTo>
                    <a:pt x="3147" y="0"/>
                  </a:lnTo>
                  <a:lnTo>
                    <a:pt x="0" y="787"/>
                  </a:lnTo>
                  <a:lnTo>
                    <a:pt x="787" y="3541"/>
                  </a:lnTo>
                  <a:lnTo>
                    <a:pt x="1967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06" name="Freeform: Shape 3700">
              <a:extLst>
                <a:ext uri="{FF2B5EF4-FFF2-40B4-BE49-F238E27FC236}">
                  <a16:creationId xmlns:a16="http://schemas.microsoft.com/office/drawing/2014/main" id="{6A8B791F-84EB-4BE8-995F-418D06B0E70E}"/>
                </a:ext>
              </a:extLst>
            </p:cNvPr>
            <p:cNvSpPr/>
            <p:nvPr/>
          </p:nvSpPr>
          <p:spPr>
            <a:xfrm>
              <a:off x="8972341" y="3322817"/>
              <a:ext cx="3934" cy="3934"/>
            </a:xfrm>
            <a:custGeom>
              <a:avLst/>
              <a:gdLst>
                <a:gd name="connsiteX0" fmla="*/ 1180 w 0"/>
                <a:gd name="connsiteY0" fmla="*/ 3147 h 3934"/>
                <a:gd name="connsiteX1" fmla="*/ 1967 w 0"/>
                <a:gd name="connsiteY1" fmla="*/ 5901 h 3934"/>
                <a:gd name="connsiteX2" fmla="*/ 2360 w 0"/>
                <a:gd name="connsiteY2" fmla="*/ 5901 h 3934"/>
                <a:gd name="connsiteX3" fmla="*/ 1574 w 0"/>
                <a:gd name="connsiteY3" fmla="*/ 3147 h 3934"/>
                <a:gd name="connsiteX4" fmla="*/ 0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1180" y="3147"/>
                  </a:moveTo>
                  <a:lnTo>
                    <a:pt x="1967" y="5901"/>
                  </a:lnTo>
                  <a:lnTo>
                    <a:pt x="2360" y="5901"/>
                  </a:lnTo>
                  <a:lnTo>
                    <a:pt x="1574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07" name="Freeform: Shape 3701">
              <a:extLst>
                <a:ext uri="{FF2B5EF4-FFF2-40B4-BE49-F238E27FC236}">
                  <a16:creationId xmlns:a16="http://schemas.microsoft.com/office/drawing/2014/main" id="{84EBC8E0-6C17-4E42-A09F-E72FFEABAEFA}"/>
                </a:ext>
              </a:extLst>
            </p:cNvPr>
            <p:cNvSpPr/>
            <p:nvPr/>
          </p:nvSpPr>
          <p:spPr>
            <a:xfrm>
              <a:off x="8984537" y="3314161"/>
              <a:ext cx="3934" cy="3934"/>
            </a:xfrm>
            <a:custGeom>
              <a:avLst/>
              <a:gdLst>
                <a:gd name="connsiteX0" fmla="*/ 394 w 3934"/>
                <a:gd name="connsiteY0" fmla="*/ 2754 h 3934"/>
                <a:gd name="connsiteX1" fmla="*/ 1574 w 3934"/>
                <a:gd name="connsiteY1" fmla="*/ 3934 h 3934"/>
                <a:gd name="connsiteX2" fmla="*/ 2754 w 3934"/>
                <a:gd name="connsiteY2" fmla="*/ 6688 h 3934"/>
                <a:gd name="connsiteX3" fmla="*/ 5508 w 3934"/>
                <a:gd name="connsiteY3" fmla="*/ 4328 h 3934"/>
                <a:gd name="connsiteX4" fmla="*/ 2754 w 3934"/>
                <a:gd name="connsiteY4" fmla="*/ 2754 h 3934"/>
                <a:gd name="connsiteX5" fmla="*/ 0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94" y="2754"/>
                  </a:moveTo>
                  <a:lnTo>
                    <a:pt x="1574" y="3934"/>
                  </a:lnTo>
                  <a:lnTo>
                    <a:pt x="2754" y="6688"/>
                  </a:lnTo>
                  <a:lnTo>
                    <a:pt x="5508" y="4328"/>
                  </a:lnTo>
                  <a:lnTo>
                    <a:pt x="2754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08" name="Freeform: Shape 3702">
              <a:extLst>
                <a:ext uri="{FF2B5EF4-FFF2-40B4-BE49-F238E27FC236}">
                  <a16:creationId xmlns:a16="http://schemas.microsoft.com/office/drawing/2014/main" id="{A19C58F3-85CF-4406-BF87-C7A8CA241D0B}"/>
                </a:ext>
              </a:extLst>
            </p:cNvPr>
            <p:cNvSpPr/>
            <p:nvPr/>
          </p:nvSpPr>
          <p:spPr>
            <a:xfrm>
              <a:off x="6295861" y="3597822"/>
              <a:ext cx="15737" cy="15737"/>
            </a:xfrm>
            <a:custGeom>
              <a:avLst/>
              <a:gdLst>
                <a:gd name="connsiteX0" fmla="*/ 11803 w 15737"/>
                <a:gd name="connsiteY0" fmla="*/ 10229 h 15737"/>
                <a:gd name="connsiteX1" fmla="*/ 13376 w 15737"/>
                <a:gd name="connsiteY1" fmla="*/ 7475 h 15737"/>
                <a:gd name="connsiteX2" fmla="*/ 15343 w 15737"/>
                <a:gd name="connsiteY2" fmla="*/ 4328 h 15737"/>
                <a:gd name="connsiteX3" fmla="*/ 15737 w 15737"/>
                <a:gd name="connsiteY3" fmla="*/ 1574 h 15737"/>
                <a:gd name="connsiteX4" fmla="*/ 12983 w 15737"/>
                <a:gd name="connsiteY4" fmla="*/ 0 h 15737"/>
                <a:gd name="connsiteX5" fmla="*/ 9836 w 15737"/>
                <a:gd name="connsiteY5" fmla="*/ 0 h 15737"/>
                <a:gd name="connsiteX6" fmla="*/ 7081 w 15737"/>
                <a:gd name="connsiteY6" fmla="*/ 1180 h 15737"/>
                <a:gd name="connsiteX7" fmla="*/ 5508 w 15737"/>
                <a:gd name="connsiteY7" fmla="*/ 4328 h 15737"/>
                <a:gd name="connsiteX8" fmla="*/ 5508 w 15737"/>
                <a:gd name="connsiteY8" fmla="*/ 7082 h 15737"/>
                <a:gd name="connsiteX9" fmla="*/ 3147 w 15737"/>
                <a:gd name="connsiteY9" fmla="*/ 10229 h 15737"/>
                <a:gd name="connsiteX10" fmla="*/ 0 w 15737"/>
                <a:gd name="connsiteY10" fmla="*/ 11409 h 15737"/>
                <a:gd name="connsiteX11" fmla="*/ 0 w 15737"/>
                <a:gd name="connsiteY11" fmla="*/ 14163 h 15737"/>
                <a:gd name="connsiteX12" fmla="*/ 1967 w 15737"/>
                <a:gd name="connsiteY12" fmla="*/ 17311 h 15737"/>
                <a:gd name="connsiteX13" fmla="*/ 5114 w 15737"/>
                <a:gd name="connsiteY13" fmla="*/ 17704 h 15737"/>
                <a:gd name="connsiteX14" fmla="*/ 7869 w 15737"/>
                <a:gd name="connsiteY14" fmla="*/ 18884 h 15737"/>
                <a:gd name="connsiteX15" fmla="*/ 9442 w 15737"/>
                <a:gd name="connsiteY15" fmla="*/ 16130 h 15737"/>
                <a:gd name="connsiteX16" fmla="*/ 10229 w 15737"/>
                <a:gd name="connsiteY16" fmla="*/ 13376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737" h="15737">
                  <a:moveTo>
                    <a:pt x="11803" y="10229"/>
                  </a:moveTo>
                  <a:lnTo>
                    <a:pt x="13376" y="7475"/>
                  </a:lnTo>
                  <a:lnTo>
                    <a:pt x="15343" y="4328"/>
                  </a:lnTo>
                  <a:lnTo>
                    <a:pt x="15737" y="1574"/>
                  </a:lnTo>
                  <a:lnTo>
                    <a:pt x="12983" y="0"/>
                  </a:lnTo>
                  <a:lnTo>
                    <a:pt x="9836" y="0"/>
                  </a:lnTo>
                  <a:lnTo>
                    <a:pt x="7081" y="1180"/>
                  </a:lnTo>
                  <a:lnTo>
                    <a:pt x="5508" y="4328"/>
                  </a:lnTo>
                  <a:lnTo>
                    <a:pt x="5508" y="7082"/>
                  </a:lnTo>
                  <a:lnTo>
                    <a:pt x="3147" y="10229"/>
                  </a:lnTo>
                  <a:lnTo>
                    <a:pt x="0" y="11409"/>
                  </a:lnTo>
                  <a:lnTo>
                    <a:pt x="0" y="14163"/>
                  </a:lnTo>
                  <a:lnTo>
                    <a:pt x="1967" y="17311"/>
                  </a:lnTo>
                  <a:lnTo>
                    <a:pt x="5114" y="17704"/>
                  </a:lnTo>
                  <a:lnTo>
                    <a:pt x="7869" y="18884"/>
                  </a:lnTo>
                  <a:lnTo>
                    <a:pt x="9442" y="16130"/>
                  </a:lnTo>
                  <a:lnTo>
                    <a:pt x="10229" y="1337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09" name="Freeform: Shape 3703">
              <a:extLst>
                <a:ext uri="{FF2B5EF4-FFF2-40B4-BE49-F238E27FC236}">
                  <a16:creationId xmlns:a16="http://schemas.microsoft.com/office/drawing/2014/main" id="{3B1F83A4-7FC2-4495-A119-9E41C3C5FEE8}"/>
                </a:ext>
              </a:extLst>
            </p:cNvPr>
            <p:cNvSpPr/>
            <p:nvPr/>
          </p:nvSpPr>
          <p:spPr>
            <a:xfrm>
              <a:off x="6258092" y="3571462"/>
              <a:ext cx="3934" cy="3934"/>
            </a:xfrm>
            <a:custGeom>
              <a:avLst/>
              <a:gdLst>
                <a:gd name="connsiteX0" fmla="*/ 394 w 3934"/>
                <a:gd name="connsiteY0" fmla="*/ 2360 h 3934"/>
                <a:gd name="connsiteX1" fmla="*/ 0 w 3934"/>
                <a:gd name="connsiteY1" fmla="*/ 5114 h 3934"/>
                <a:gd name="connsiteX2" fmla="*/ 1180 w 3934"/>
                <a:gd name="connsiteY2" fmla="*/ 5114 h 3934"/>
                <a:gd name="connsiteX3" fmla="*/ 3934 w 3934"/>
                <a:gd name="connsiteY3" fmla="*/ 3147 h 3934"/>
                <a:gd name="connsiteX4" fmla="*/ 1967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94" y="2360"/>
                  </a:moveTo>
                  <a:lnTo>
                    <a:pt x="0" y="5114"/>
                  </a:lnTo>
                  <a:lnTo>
                    <a:pt x="1180" y="5114"/>
                  </a:lnTo>
                  <a:lnTo>
                    <a:pt x="3934" y="3147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10" name="Freeform: Shape 3704">
              <a:extLst>
                <a:ext uri="{FF2B5EF4-FFF2-40B4-BE49-F238E27FC236}">
                  <a16:creationId xmlns:a16="http://schemas.microsoft.com/office/drawing/2014/main" id="{7E5F06FA-E0FE-420D-BE68-356080DDD6D5}"/>
                </a:ext>
              </a:extLst>
            </p:cNvPr>
            <p:cNvSpPr/>
            <p:nvPr/>
          </p:nvSpPr>
          <p:spPr>
            <a:xfrm>
              <a:off x="6262813" y="3573036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2754 w 3934"/>
                <a:gd name="connsiteY1" fmla="*/ 1574 h 0"/>
                <a:gd name="connsiteX2" fmla="*/ 5901 w 3934"/>
                <a:gd name="connsiteY2" fmla="*/ 0 h 0"/>
                <a:gd name="connsiteX3" fmla="*/ 2754 w 3934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2754" y="1574"/>
                  </a:lnTo>
                  <a:lnTo>
                    <a:pt x="5901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11" name="Freeform: Shape 3705">
              <a:extLst>
                <a:ext uri="{FF2B5EF4-FFF2-40B4-BE49-F238E27FC236}">
                  <a16:creationId xmlns:a16="http://schemas.microsoft.com/office/drawing/2014/main" id="{42BDDCE3-5E2B-4625-BFBC-1B2CE0AB5FAF}"/>
                </a:ext>
              </a:extLst>
            </p:cNvPr>
            <p:cNvSpPr/>
            <p:nvPr/>
          </p:nvSpPr>
          <p:spPr>
            <a:xfrm>
              <a:off x="5655756" y="3465630"/>
              <a:ext cx="11803" cy="3934"/>
            </a:xfrm>
            <a:custGeom>
              <a:avLst/>
              <a:gdLst>
                <a:gd name="connsiteX0" fmla="*/ 9836 w 11802"/>
                <a:gd name="connsiteY0" fmla="*/ 0 h 3934"/>
                <a:gd name="connsiteX1" fmla="*/ 6689 w 11802"/>
                <a:gd name="connsiteY1" fmla="*/ 0 h 3934"/>
                <a:gd name="connsiteX2" fmla="*/ 3934 w 11802"/>
                <a:gd name="connsiteY2" fmla="*/ 787 h 3934"/>
                <a:gd name="connsiteX3" fmla="*/ 787 w 11802"/>
                <a:gd name="connsiteY3" fmla="*/ 787 h 3934"/>
                <a:gd name="connsiteX4" fmla="*/ 0 w 11802"/>
                <a:gd name="connsiteY4" fmla="*/ 2754 h 3934"/>
                <a:gd name="connsiteX5" fmla="*/ 2754 w 11802"/>
                <a:gd name="connsiteY5" fmla="*/ 3541 h 3934"/>
                <a:gd name="connsiteX6" fmla="*/ 5901 w 11802"/>
                <a:gd name="connsiteY6" fmla="*/ 4328 h 3934"/>
                <a:gd name="connsiteX7" fmla="*/ 8656 w 11802"/>
                <a:gd name="connsiteY7" fmla="*/ 5508 h 3934"/>
                <a:gd name="connsiteX8" fmla="*/ 11803 w 11802"/>
                <a:gd name="connsiteY8" fmla="*/ 5901 h 3934"/>
                <a:gd name="connsiteX9" fmla="*/ 12196 w 11802"/>
                <a:gd name="connsiteY9" fmla="*/ 2754 h 3934"/>
                <a:gd name="connsiteX10" fmla="*/ 9836 w 11802"/>
                <a:gd name="connsiteY10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3934">
                  <a:moveTo>
                    <a:pt x="9836" y="0"/>
                  </a:moveTo>
                  <a:lnTo>
                    <a:pt x="6689" y="0"/>
                  </a:lnTo>
                  <a:lnTo>
                    <a:pt x="3934" y="787"/>
                  </a:lnTo>
                  <a:lnTo>
                    <a:pt x="787" y="787"/>
                  </a:lnTo>
                  <a:lnTo>
                    <a:pt x="0" y="2754"/>
                  </a:lnTo>
                  <a:lnTo>
                    <a:pt x="2754" y="3541"/>
                  </a:lnTo>
                  <a:lnTo>
                    <a:pt x="5901" y="4328"/>
                  </a:lnTo>
                  <a:lnTo>
                    <a:pt x="8656" y="5508"/>
                  </a:lnTo>
                  <a:lnTo>
                    <a:pt x="11803" y="5901"/>
                  </a:lnTo>
                  <a:lnTo>
                    <a:pt x="12196" y="2754"/>
                  </a:lnTo>
                  <a:lnTo>
                    <a:pt x="9836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12" name="Freeform: Shape 3706">
              <a:extLst>
                <a:ext uri="{FF2B5EF4-FFF2-40B4-BE49-F238E27FC236}">
                  <a16:creationId xmlns:a16="http://schemas.microsoft.com/office/drawing/2014/main" id="{3300AC79-4624-4327-A317-69C7ABE0CB1A}"/>
                </a:ext>
              </a:extLst>
            </p:cNvPr>
            <p:cNvSpPr/>
            <p:nvPr/>
          </p:nvSpPr>
          <p:spPr>
            <a:xfrm>
              <a:off x="9237510" y="3362553"/>
              <a:ext cx="3934" cy="7869"/>
            </a:xfrm>
            <a:custGeom>
              <a:avLst/>
              <a:gdLst>
                <a:gd name="connsiteX0" fmla="*/ 2361 w 0"/>
                <a:gd name="connsiteY0" fmla="*/ 8655 h 7868"/>
                <a:gd name="connsiteX1" fmla="*/ 3148 w 0"/>
                <a:gd name="connsiteY1" fmla="*/ 5901 h 7868"/>
                <a:gd name="connsiteX2" fmla="*/ 2361 w 0"/>
                <a:gd name="connsiteY2" fmla="*/ 2754 h 7868"/>
                <a:gd name="connsiteX3" fmla="*/ 394 w 0"/>
                <a:gd name="connsiteY3" fmla="*/ 0 h 7868"/>
                <a:gd name="connsiteX4" fmla="*/ 787 w 0"/>
                <a:gd name="connsiteY4" fmla="*/ 2754 h 7868"/>
                <a:gd name="connsiteX5" fmla="*/ 0 w 0"/>
                <a:gd name="connsiteY5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7868">
                  <a:moveTo>
                    <a:pt x="2361" y="8655"/>
                  </a:moveTo>
                  <a:lnTo>
                    <a:pt x="3148" y="5901"/>
                  </a:lnTo>
                  <a:lnTo>
                    <a:pt x="2361" y="2754"/>
                  </a:lnTo>
                  <a:lnTo>
                    <a:pt x="394" y="0"/>
                  </a:lnTo>
                  <a:lnTo>
                    <a:pt x="787" y="2754"/>
                  </a:lnTo>
                  <a:lnTo>
                    <a:pt x="0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13" name="Freeform: Shape 3707">
              <a:extLst>
                <a:ext uri="{FF2B5EF4-FFF2-40B4-BE49-F238E27FC236}">
                  <a16:creationId xmlns:a16="http://schemas.microsoft.com/office/drawing/2014/main" id="{ED426A5C-4C83-4CCD-974A-B55AD732D495}"/>
                </a:ext>
              </a:extLst>
            </p:cNvPr>
            <p:cNvSpPr/>
            <p:nvPr/>
          </p:nvSpPr>
          <p:spPr>
            <a:xfrm>
              <a:off x="9232003" y="3375536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0 w 3934"/>
                <a:gd name="connsiteY1" fmla="*/ 0 h 0"/>
                <a:gd name="connsiteX2" fmla="*/ 2754 w 3934"/>
                <a:gd name="connsiteY2" fmla="*/ 787 h 0"/>
                <a:gd name="connsiteX3" fmla="*/ 5508 w 3934"/>
                <a:gd name="connsiteY3" fmla="*/ 787 h 0"/>
                <a:gd name="connsiteX4" fmla="*/ 2754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0" y="0"/>
                  </a:lnTo>
                  <a:lnTo>
                    <a:pt x="2754" y="787"/>
                  </a:lnTo>
                  <a:lnTo>
                    <a:pt x="5508" y="787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14" name="Freeform: Shape 3708">
              <a:extLst>
                <a:ext uri="{FF2B5EF4-FFF2-40B4-BE49-F238E27FC236}">
                  <a16:creationId xmlns:a16="http://schemas.microsoft.com/office/drawing/2014/main" id="{3EDC83D0-2476-4E35-B8AE-058A72A08619}"/>
                </a:ext>
              </a:extLst>
            </p:cNvPr>
            <p:cNvSpPr/>
            <p:nvPr/>
          </p:nvSpPr>
          <p:spPr>
            <a:xfrm>
              <a:off x="9242231" y="336766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2754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2754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15" name="Freeform: Shape 3709">
              <a:extLst>
                <a:ext uri="{FF2B5EF4-FFF2-40B4-BE49-F238E27FC236}">
                  <a16:creationId xmlns:a16="http://schemas.microsoft.com/office/drawing/2014/main" id="{2F25C4AC-C923-4142-A8E7-079D9E88D796}"/>
                </a:ext>
              </a:extLst>
            </p:cNvPr>
            <p:cNvSpPr/>
            <p:nvPr/>
          </p:nvSpPr>
          <p:spPr>
            <a:xfrm>
              <a:off x="9099418" y="3312194"/>
              <a:ext cx="3934" cy="3934"/>
            </a:xfrm>
            <a:custGeom>
              <a:avLst/>
              <a:gdLst>
                <a:gd name="connsiteX0" fmla="*/ 0 w 0"/>
                <a:gd name="connsiteY0" fmla="*/ 0 h 3934"/>
                <a:gd name="connsiteX1" fmla="*/ 393 w 0"/>
                <a:gd name="connsiteY1" fmla="*/ 3148 h 3934"/>
                <a:gd name="connsiteX2" fmla="*/ 787 w 0"/>
                <a:gd name="connsiteY2" fmla="*/ 4721 h 3934"/>
                <a:gd name="connsiteX3" fmla="*/ 3541 w 0"/>
                <a:gd name="connsiteY3" fmla="*/ 5115 h 3934"/>
                <a:gd name="connsiteX4" fmla="*/ 2754 w 0"/>
                <a:gd name="connsiteY4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0"/>
                  </a:moveTo>
                  <a:lnTo>
                    <a:pt x="393" y="3148"/>
                  </a:lnTo>
                  <a:lnTo>
                    <a:pt x="787" y="4721"/>
                  </a:lnTo>
                  <a:lnTo>
                    <a:pt x="3541" y="5115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16" name="Freeform: Shape 3710">
              <a:extLst>
                <a:ext uri="{FF2B5EF4-FFF2-40B4-BE49-F238E27FC236}">
                  <a16:creationId xmlns:a16="http://schemas.microsoft.com/office/drawing/2014/main" id="{045D24EA-6A78-4557-B0A6-44DC99DB2F97}"/>
                </a:ext>
              </a:extLst>
            </p:cNvPr>
            <p:cNvSpPr/>
            <p:nvPr/>
          </p:nvSpPr>
          <p:spPr>
            <a:xfrm>
              <a:off x="9150956" y="3370422"/>
              <a:ext cx="3934" cy="11803"/>
            </a:xfrm>
            <a:custGeom>
              <a:avLst/>
              <a:gdLst>
                <a:gd name="connsiteX0" fmla="*/ 7475 w 3934"/>
                <a:gd name="connsiteY0" fmla="*/ 5901 h 11802"/>
                <a:gd name="connsiteX1" fmla="*/ 7082 w 3934"/>
                <a:gd name="connsiteY1" fmla="*/ 2754 h 11802"/>
                <a:gd name="connsiteX2" fmla="*/ 5115 w 3934"/>
                <a:gd name="connsiteY2" fmla="*/ 0 h 11802"/>
                <a:gd name="connsiteX3" fmla="*/ 2754 w 3934"/>
                <a:gd name="connsiteY3" fmla="*/ 1967 h 11802"/>
                <a:gd name="connsiteX4" fmla="*/ 0 w 3934"/>
                <a:gd name="connsiteY4" fmla="*/ 2754 h 11802"/>
                <a:gd name="connsiteX5" fmla="*/ 2754 w 3934"/>
                <a:gd name="connsiteY5" fmla="*/ 5508 h 11802"/>
                <a:gd name="connsiteX6" fmla="*/ 3934 w 3934"/>
                <a:gd name="connsiteY6" fmla="*/ 8262 h 11802"/>
                <a:gd name="connsiteX7" fmla="*/ 5115 w 3934"/>
                <a:gd name="connsiteY7" fmla="*/ 11016 h 11802"/>
                <a:gd name="connsiteX8" fmla="*/ 7082 w 3934"/>
                <a:gd name="connsiteY8" fmla="*/ 14163 h 11802"/>
                <a:gd name="connsiteX9" fmla="*/ 6295 w 3934"/>
                <a:gd name="connsiteY9" fmla="*/ 11409 h 11802"/>
                <a:gd name="connsiteX10" fmla="*/ 6688 w 3934"/>
                <a:gd name="connsiteY10" fmla="*/ 865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4" h="11802">
                  <a:moveTo>
                    <a:pt x="7475" y="5901"/>
                  </a:moveTo>
                  <a:lnTo>
                    <a:pt x="7082" y="2754"/>
                  </a:lnTo>
                  <a:lnTo>
                    <a:pt x="5115" y="0"/>
                  </a:lnTo>
                  <a:lnTo>
                    <a:pt x="2754" y="1967"/>
                  </a:lnTo>
                  <a:lnTo>
                    <a:pt x="0" y="2754"/>
                  </a:lnTo>
                  <a:lnTo>
                    <a:pt x="2754" y="5508"/>
                  </a:lnTo>
                  <a:lnTo>
                    <a:pt x="3934" y="8262"/>
                  </a:lnTo>
                  <a:lnTo>
                    <a:pt x="5115" y="11016"/>
                  </a:lnTo>
                  <a:lnTo>
                    <a:pt x="7082" y="14163"/>
                  </a:lnTo>
                  <a:lnTo>
                    <a:pt x="6295" y="11409"/>
                  </a:lnTo>
                  <a:lnTo>
                    <a:pt x="6688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17" name="Freeform: Shape 3711">
              <a:extLst>
                <a:ext uri="{FF2B5EF4-FFF2-40B4-BE49-F238E27FC236}">
                  <a16:creationId xmlns:a16="http://schemas.microsoft.com/office/drawing/2014/main" id="{0D24DE86-7FE7-41D4-B2EA-3167C04163B6}"/>
                </a:ext>
              </a:extLst>
            </p:cNvPr>
            <p:cNvSpPr/>
            <p:nvPr/>
          </p:nvSpPr>
          <p:spPr>
            <a:xfrm>
              <a:off x="9130498" y="3359405"/>
              <a:ext cx="3934" cy="3934"/>
            </a:xfrm>
            <a:custGeom>
              <a:avLst/>
              <a:gdLst>
                <a:gd name="connsiteX0" fmla="*/ 2360 w 0"/>
                <a:gd name="connsiteY0" fmla="*/ 2754 h 0"/>
                <a:gd name="connsiteX1" fmla="*/ 3147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0" y="2754"/>
                  </a:moveTo>
                  <a:lnTo>
                    <a:pt x="3147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18" name="Freeform: Shape 3712">
              <a:extLst>
                <a:ext uri="{FF2B5EF4-FFF2-40B4-BE49-F238E27FC236}">
                  <a16:creationId xmlns:a16="http://schemas.microsoft.com/office/drawing/2014/main" id="{50FBB065-B3E1-4C8E-A591-1BEBD3C05C7E}"/>
                </a:ext>
              </a:extLst>
            </p:cNvPr>
            <p:cNvSpPr/>
            <p:nvPr/>
          </p:nvSpPr>
          <p:spPr>
            <a:xfrm>
              <a:off x="9122236" y="3337374"/>
              <a:ext cx="3934" cy="3934"/>
            </a:xfrm>
            <a:custGeom>
              <a:avLst/>
              <a:gdLst>
                <a:gd name="connsiteX0" fmla="*/ 2361 w 0"/>
                <a:gd name="connsiteY0" fmla="*/ 3147 h 0"/>
                <a:gd name="connsiteX1" fmla="*/ 157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1" y="3147"/>
                  </a:moveTo>
                  <a:lnTo>
                    <a:pt x="157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19" name="Freeform: Shape 3713">
              <a:extLst>
                <a:ext uri="{FF2B5EF4-FFF2-40B4-BE49-F238E27FC236}">
                  <a16:creationId xmlns:a16="http://schemas.microsoft.com/office/drawing/2014/main" id="{7F5436BC-8223-429A-BACA-D4DAC9980468}"/>
                </a:ext>
              </a:extLst>
            </p:cNvPr>
            <p:cNvSpPr/>
            <p:nvPr/>
          </p:nvSpPr>
          <p:spPr>
            <a:xfrm>
              <a:off x="9122630" y="3333833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3148 h 0"/>
                <a:gd name="connsiteX2" fmla="*/ 78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3148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20" name="Freeform: Shape 3714">
              <a:extLst>
                <a:ext uri="{FF2B5EF4-FFF2-40B4-BE49-F238E27FC236}">
                  <a16:creationId xmlns:a16="http://schemas.microsoft.com/office/drawing/2014/main" id="{A3600650-467B-493B-907C-481A0F02AA51}"/>
                </a:ext>
              </a:extLst>
            </p:cNvPr>
            <p:cNvSpPr/>
            <p:nvPr/>
          </p:nvSpPr>
          <p:spPr>
            <a:xfrm>
              <a:off x="9108466" y="3325571"/>
              <a:ext cx="3934" cy="3934"/>
            </a:xfrm>
            <a:custGeom>
              <a:avLst/>
              <a:gdLst>
                <a:gd name="connsiteX0" fmla="*/ 0 w 0"/>
                <a:gd name="connsiteY0" fmla="*/ 2754 h 3934"/>
                <a:gd name="connsiteX1" fmla="*/ 1967 w 0"/>
                <a:gd name="connsiteY1" fmla="*/ 5508 h 3934"/>
                <a:gd name="connsiteX2" fmla="*/ 1967 w 0"/>
                <a:gd name="connsiteY2" fmla="*/ 2754 h 3934"/>
                <a:gd name="connsiteX3" fmla="*/ 394 w 0"/>
                <a:gd name="connsiteY3" fmla="*/ 0 h 3934"/>
                <a:gd name="connsiteX4" fmla="*/ 0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2754"/>
                  </a:moveTo>
                  <a:lnTo>
                    <a:pt x="1967" y="5508"/>
                  </a:lnTo>
                  <a:lnTo>
                    <a:pt x="1967" y="2754"/>
                  </a:lnTo>
                  <a:lnTo>
                    <a:pt x="39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21" name="Freeform: Shape 3715">
              <a:extLst>
                <a:ext uri="{FF2B5EF4-FFF2-40B4-BE49-F238E27FC236}">
                  <a16:creationId xmlns:a16="http://schemas.microsoft.com/office/drawing/2014/main" id="{C9246AE2-2BE4-44FF-91CA-6584A4233AA8}"/>
                </a:ext>
              </a:extLst>
            </p:cNvPr>
            <p:cNvSpPr/>
            <p:nvPr/>
          </p:nvSpPr>
          <p:spPr>
            <a:xfrm>
              <a:off x="8430593" y="3415666"/>
              <a:ext cx="3934" cy="3934"/>
            </a:xfrm>
            <a:custGeom>
              <a:avLst/>
              <a:gdLst>
                <a:gd name="connsiteX0" fmla="*/ 1967 w 3934"/>
                <a:gd name="connsiteY0" fmla="*/ 0 h 3934"/>
                <a:gd name="connsiteX1" fmla="*/ 787 w 3934"/>
                <a:gd name="connsiteY1" fmla="*/ 0 h 3934"/>
                <a:gd name="connsiteX2" fmla="*/ 0 w 3934"/>
                <a:gd name="connsiteY2" fmla="*/ 1180 h 3934"/>
                <a:gd name="connsiteX3" fmla="*/ 2754 w 3934"/>
                <a:gd name="connsiteY3" fmla="*/ 2360 h 3934"/>
                <a:gd name="connsiteX4" fmla="*/ 5901 w 3934"/>
                <a:gd name="connsiteY4" fmla="*/ 4721 h 3934"/>
                <a:gd name="connsiteX5" fmla="*/ 6295 w 3934"/>
                <a:gd name="connsiteY5" fmla="*/ 4721 h 3934"/>
                <a:gd name="connsiteX6" fmla="*/ 5901 w 3934"/>
                <a:gd name="connsiteY6" fmla="*/ 4328 h 3934"/>
                <a:gd name="connsiteX7" fmla="*/ 4721 w 3934"/>
                <a:gd name="connsiteY7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3934">
                  <a:moveTo>
                    <a:pt x="1967" y="0"/>
                  </a:moveTo>
                  <a:lnTo>
                    <a:pt x="787" y="0"/>
                  </a:lnTo>
                  <a:lnTo>
                    <a:pt x="0" y="1180"/>
                  </a:lnTo>
                  <a:lnTo>
                    <a:pt x="2754" y="2360"/>
                  </a:lnTo>
                  <a:lnTo>
                    <a:pt x="5901" y="4721"/>
                  </a:lnTo>
                  <a:lnTo>
                    <a:pt x="6295" y="4721"/>
                  </a:lnTo>
                  <a:lnTo>
                    <a:pt x="5901" y="4328"/>
                  </a:lnTo>
                  <a:lnTo>
                    <a:pt x="472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22" name="Freeform: Shape 3716">
              <a:extLst>
                <a:ext uri="{FF2B5EF4-FFF2-40B4-BE49-F238E27FC236}">
                  <a16:creationId xmlns:a16="http://schemas.microsoft.com/office/drawing/2014/main" id="{8DB99D2F-E998-4FFE-A081-8AAF774F4A59}"/>
                </a:ext>
              </a:extLst>
            </p:cNvPr>
            <p:cNvSpPr/>
            <p:nvPr/>
          </p:nvSpPr>
          <p:spPr>
            <a:xfrm>
              <a:off x="8435314" y="339560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967 h 0"/>
                <a:gd name="connsiteX2" fmla="*/ 2754 w 0"/>
                <a:gd name="connsiteY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967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23" name="Freeform: Shape 3717">
              <a:extLst>
                <a:ext uri="{FF2B5EF4-FFF2-40B4-BE49-F238E27FC236}">
                  <a16:creationId xmlns:a16="http://schemas.microsoft.com/office/drawing/2014/main" id="{DF0FA850-BE44-42CD-B643-323B65139A86}"/>
                </a:ext>
              </a:extLst>
            </p:cNvPr>
            <p:cNvSpPr/>
            <p:nvPr/>
          </p:nvSpPr>
          <p:spPr>
            <a:xfrm>
              <a:off x="8431773" y="3391273"/>
              <a:ext cx="66882" cy="129831"/>
            </a:xfrm>
            <a:custGeom>
              <a:avLst/>
              <a:gdLst>
                <a:gd name="connsiteX0" fmla="*/ 66882 w 66882"/>
                <a:gd name="connsiteY0" fmla="*/ 88914 h 129830"/>
                <a:gd name="connsiteX1" fmla="*/ 66489 w 66882"/>
                <a:gd name="connsiteY1" fmla="*/ 86160 h 129830"/>
                <a:gd name="connsiteX2" fmla="*/ 66489 w 66882"/>
                <a:gd name="connsiteY2" fmla="*/ 83800 h 129830"/>
                <a:gd name="connsiteX3" fmla="*/ 65309 w 66882"/>
                <a:gd name="connsiteY3" fmla="*/ 81046 h 129830"/>
                <a:gd name="connsiteX4" fmla="*/ 64522 w 66882"/>
                <a:gd name="connsiteY4" fmla="*/ 80259 h 129830"/>
                <a:gd name="connsiteX5" fmla="*/ 64522 w 66882"/>
                <a:gd name="connsiteY5" fmla="*/ 81046 h 129830"/>
                <a:gd name="connsiteX6" fmla="*/ 63342 w 66882"/>
                <a:gd name="connsiteY6" fmla="*/ 80259 h 129830"/>
                <a:gd name="connsiteX7" fmla="*/ 62948 w 66882"/>
                <a:gd name="connsiteY7" fmla="*/ 79079 h 129830"/>
                <a:gd name="connsiteX8" fmla="*/ 62555 w 66882"/>
                <a:gd name="connsiteY8" fmla="*/ 75931 h 129830"/>
                <a:gd name="connsiteX9" fmla="*/ 61768 w 66882"/>
                <a:gd name="connsiteY9" fmla="*/ 74751 h 129830"/>
                <a:gd name="connsiteX10" fmla="*/ 61375 w 66882"/>
                <a:gd name="connsiteY10" fmla="*/ 71997 h 129830"/>
                <a:gd name="connsiteX11" fmla="*/ 60194 w 66882"/>
                <a:gd name="connsiteY11" fmla="*/ 70030 h 129830"/>
                <a:gd name="connsiteX12" fmla="*/ 59801 w 66882"/>
                <a:gd name="connsiteY12" fmla="*/ 69637 h 129830"/>
                <a:gd name="connsiteX13" fmla="*/ 56654 w 66882"/>
                <a:gd name="connsiteY13" fmla="*/ 64128 h 129830"/>
                <a:gd name="connsiteX14" fmla="*/ 51539 w 66882"/>
                <a:gd name="connsiteY14" fmla="*/ 53506 h 129830"/>
                <a:gd name="connsiteX15" fmla="*/ 50752 w 66882"/>
                <a:gd name="connsiteY15" fmla="*/ 50752 h 129830"/>
                <a:gd name="connsiteX16" fmla="*/ 50359 w 66882"/>
                <a:gd name="connsiteY16" fmla="*/ 47998 h 129830"/>
                <a:gd name="connsiteX17" fmla="*/ 49178 w 66882"/>
                <a:gd name="connsiteY17" fmla="*/ 44850 h 129830"/>
                <a:gd name="connsiteX18" fmla="*/ 46031 w 66882"/>
                <a:gd name="connsiteY18" fmla="*/ 46424 h 129830"/>
                <a:gd name="connsiteX19" fmla="*/ 46031 w 66882"/>
                <a:gd name="connsiteY19" fmla="*/ 43670 h 129830"/>
                <a:gd name="connsiteX20" fmla="*/ 46031 w 66882"/>
                <a:gd name="connsiteY20" fmla="*/ 42490 h 129830"/>
                <a:gd name="connsiteX21" fmla="*/ 45244 w 66882"/>
                <a:gd name="connsiteY21" fmla="*/ 39343 h 129830"/>
                <a:gd name="connsiteX22" fmla="*/ 43277 w 66882"/>
                <a:gd name="connsiteY22" fmla="*/ 36589 h 129830"/>
                <a:gd name="connsiteX23" fmla="*/ 40916 w 66882"/>
                <a:gd name="connsiteY23" fmla="*/ 33835 h 129830"/>
                <a:gd name="connsiteX24" fmla="*/ 38949 w 66882"/>
                <a:gd name="connsiteY24" fmla="*/ 30687 h 129830"/>
                <a:gd name="connsiteX25" fmla="*/ 38556 w 66882"/>
                <a:gd name="connsiteY25" fmla="*/ 30294 h 129830"/>
                <a:gd name="connsiteX26" fmla="*/ 35802 w 66882"/>
                <a:gd name="connsiteY26" fmla="*/ 28720 h 129830"/>
                <a:gd name="connsiteX27" fmla="*/ 36196 w 66882"/>
                <a:gd name="connsiteY27" fmla="*/ 26753 h 129830"/>
                <a:gd name="connsiteX28" fmla="*/ 34228 w 66882"/>
                <a:gd name="connsiteY28" fmla="*/ 23999 h 129830"/>
                <a:gd name="connsiteX29" fmla="*/ 33048 w 66882"/>
                <a:gd name="connsiteY29" fmla="*/ 21245 h 129830"/>
                <a:gd name="connsiteX30" fmla="*/ 31474 w 66882"/>
                <a:gd name="connsiteY30" fmla="*/ 18491 h 129830"/>
                <a:gd name="connsiteX31" fmla="*/ 29114 w 66882"/>
                <a:gd name="connsiteY31" fmla="*/ 15343 h 129830"/>
                <a:gd name="connsiteX32" fmla="*/ 26360 w 66882"/>
                <a:gd name="connsiteY32" fmla="*/ 12590 h 129830"/>
                <a:gd name="connsiteX33" fmla="*/ 23606 w 66882"/>
                <a:gd name="connsiteY33" fmla="*/ 10623 h 129830"/>
                <a:gd name="connsiteX34" fmla="*/ 20852 w 66882"/>
                <a:gd name="connsiteY34" fmla="*/ 8262 h 129830"/>
                <a:gd name="connsiteX35" fmla="*/ 18098 w 66882"/>
                <a:gd name="connsiteY35" fmla="*/ 5508 h 129830"/>
                <a:gd name="connsiteX36" fmla="*/ 16131 w 66882"/>
                <a:gd name="connsiteY36" fmla="*/ 2754 h 129830"/>
                <a:gd name="connsiteX37" fmla="*/ 14164 w 66882"/>
                <a:gd name="connsiteY37" fmla="*/ 0 h 129830"/>
                <a:gd name="connsiteX38" fmla="*/ 11409 w 66882"/>
                <a:gd name="connsiteY38" fmla="*/ 1180 h 129830"/>
                <a:gd name="connsiteX39" fmla="*/ 14164 w 66882"/>
                <a:gd name="connsiteY39" fmla="*/ 2360 h 129830"/>
                <a:gd name="connsiteX40" fmla="*/ 16918 w 66882"/>
                <a:gd name="connsiteY40" fmla="*/ 5508 h 129830"/>
                <a:gd name="connsiteX41" fmla="*/ 19278 w 66882"/>
                <a:gd name="connsiteY41" fmla="*/ 7475 h 129830"/>
                <a:gd name="connsiteX42" fmla="*/ 16524 w 66882"/>
                <a:gd name="connsiteY42" fmla="*/ 5901 h 129830"/>
                <a:gd name="connsiteX43" fmla="*/ 14164 w 66882"/>
                <a:gd name="connsiteY43" fmla="*/ 3147 h 129830"/>
                <a:gd name="connsiteX44" fmla="*/ 11016 w 66882"/>
                <a:gd name="connsiteY44" fmla="*/ 1967 h 129830"/>
                <a:gd name="connsiteX45" fmla="*/ 8262 w 66882"/>
                <a:gd name="connsiteY45" fmla="*/ 393 h 129830"/>
                <a:gd name="connsiteX46" fmla="*/ 6689 w 66882"/>
                <a:gd name="connsiteY46" fmla="*/ 393 h 129830"/>
                <a:gd name="connsiteX47" fmla="*/ 3934 w 66882"/>
                <a:gd name="connsiteY47" fmla="*/ 2360 h 129830"/>
                <a:gd name="connsiteX48" fmla="*/ 6689 w 66882"/>
                <a:gd name="connsiteY48" fmla="*/ 5114 h 129830"/>
                <a:gd name="connsiteX49" fmla="*/ 7082 w 66882"/>
                <a:gd name="connsiteY49" fmla="*/ 5508 h 129830"/>
                <a:gd name="connsiteX50" fmla="*/ 7869 w 66882"/>
                <a:gd name="connsiteY50" fmla="*/ 5508 h 129830"/>
                <a:gd name="connsiteX51" fmla="*/ 12983 w 66882"/>
                <a:gd name="connsiteY51" fmla="*/ 8262 h 129830"/>
                <a:gd name="connsiteX52" fmla="*/ 12983 w 66882"/>
                <a:gd name="connsiteY52" fmla="*/ 6295 h 129830"/>
                <a:gd name="connsiteX53" fmla="*/ 13377 w 66882"/>
                <a:gd name="connsiteY53" fmla="*/ 6295 h 129830"/>
                <a:gd name="connsiteX54" fmla="*/ 14950 w 66882"/>
                <a:gd name="connsiteY54" fmla="*/ 7475 h 129830"/>
                <a:gd name="connsiteX55" fmla="*/ 18885 w 66882"/>
                <a:gd name="connsiteY55" fmla="*/ 10229 h 129830"/>
                <a:gd name="connsiteX56" fmla="*/ 21245 w 66882"/>
                <a:gd name="connsiteY56" fmla="*/ 11409 h 129830"/>
                <a:gd name="connsiteX57" fmla="*/ 19671 w 66882"/>
                <a:gd name="connsiteY57" fmla="*/ 11016 h 129830"/>
                <a:gd name="connsiteX58" fmla="*/ 19278 w 66882"/>
                <a:gd name="connsiteY58" fmla="*/ 11016 h 129830"/>
                <a:gd name="connsiteX59" fmla="*/ 14164 w 66882"/>
                <a:gd name="connsiteY59" fmla="*/ 10229 h 129830"/>
                <a:gd name="connsiteX60" fmla="*/ 13770 w 66882"/>
                <a:gd name="connsiteY60" fmla="*/ 9836 h 129830"/>
                <a:gd name="connsiteX61" fmla="*/ 11016 w 66882"/>
                <a:gd name="connsiteY61" fmla="*/ 9442 h 129830"/>
                <a:gd name="connsiteX62" fmla="*/ 11803 w 66882"/>
                <a:gd name="connsiteY62" fmla="*/ 12590 h 129830"/>
                <a:gd name="connsiteX63" fmla="*/ 9049 w 66882"/>
                <a:gd name="connsiteY63" fmla="*/ 15343 h 129830"/>
                <a:gd name="connsiteX64" fmla="*/ 11016 w 66882"/>
                <a:gd name="connsiteY64" fmla="*/ 18491 h 129830"/>
                <a:gd name="connsiteX65" fmla="*/ 11016 w 66882"/>
                <a:gd name="connsiteY65" fmla="*/ 21245 h 129830"/>
                <a:gd name="connsiteX66" fmla="*/ 7869 w 66882"/>
                <a:gd name="connsiteY66" fmla="*/ 28327 h 129830"/>
                <a:gd name="connsiteX67" fmla="*/ 5901 w 66882"/>
                <a:gd name="connsiteY67" fmla="*/ 29900 h 129830"/>
                <a:gd name="connsiteX68" fmla="*/ 5508 w 66882"/>
                <a:gd name="connsiteY68" fmla="*/ 30294 h 129830"/>
                <a:gd name="connsiteX69" fmla="*/ 5901 w 66882"/>
                <a:gd name="connsiteY69" fmla="*/ 34228 h 129830"/>
                <a:gd name="connsiteX70" fmla="*/ 5901 w 66882"/>
                <a:gd name="connsiteY70" fmla="*/ 42883 h 129830"/>
                <a:gd name="connsiteX71" fmla="*/ 5508 w 66882"/>
                <a:gd name="connsiteY71" fmla="*/ 43670 h 129830"/>
                <a:gd name="connsiteX72" fmla="*/ 4721 w 66882"/>
                <a:gd name="connsiteY72" fmla="*/ 46424 h 129830"/>
                <a:gd name="connsiteX73" fmla="*/ 4328 w 66882"/>
                <a:gd name="connsiteY73" fmla="*/ 49178 h 129830"/>
                <a:gd name="connsiteX74" fmla="*/ 3934 w 66882"/>
                <a:gd name="connsiteY74" fmla="*/ 52326 h 129830"/>
                <a:gd name="connsiteX75" fmla="*/ 3934 w 66882"/>
                <a:gd name="connsiteY75" fmla="*/ 55080 h 129830"/>
                <a:gd name="connsiteX76" fmla="*/ 3934 w 66882"/>
                <a:gd name="connsiteY76" fmla="*/ 57834 h 129830"/>
                <a:gd name="connsiteX77" fmla="*/ 3934 w 66882"/>
                <a:gd name="connsiteY77" fmla="*/ 62555 h 129830"/>
                <a:gd name="connsiteX78" fmla="*/ 1574 w 66882"/>
                <a:gd name="connsiteY78" fmla="*/ 60981 h 129830"/>
                <a:gd name="connsiteX79" fmla="*/ 1180 w 66882"/>
                <a:gd name="connsiteY79" fmla="*/ 57834 h 129830"/>
                <a:gd name="connsiteX80" fmla="*/ 1574 w 66882"/>
                <a:gd name="connsiteY80" fmla="*/ 55080 h 129830"/>
                <a:gd name="connsiteX81" fmla="*/ 1574 w 66882"/>
                <a:gd name="connsiteY81" fmla="*/ 51932 h 129830"/>
                <a:gd name="connsiteX82" fmla="*/ 0 w 66882"/>
                <a:gd name="connsiteY82" fmla="*/ 55080 h 129830"/>
                <a:gd name="connsiteX83" fmla="*/ 0 w 66882"/>
                <a:gd name="connsiteY83" fmla="*/ 57834 h 129830"/>
                <a:gd name="connsiteX84" fmla="*/ 787 w 66882"/>
                <a:gd name="connsiteY84" fmla="*/ 60981 h 129830"/>
                <a:gd name="connsiteX85" fmla="*/ 1574 w 66882"/>
                <a:gd name="connsiteY85" fmla="*/ 64128 h 129830"/>
                <a:gd name="connsiteX86" fmla="*/ 2361 w 66882"/>
                <a:gd name="connsiteY86" fmla="*/ 66882 h 129830"/>
                <a:gd name="connsiteX87" fmla="*/ 3148 w 66882"/>
                <a:gd name="connsiteY87" fmla="*/ 69637 h 129830"/>
                <a:gd name="connsiteX88" fmla="*/ 3541 w 66882"/>
                <a:gd name="connsiteY88" fmla="*/ 72784 h 129830"/>
                <a:gd name="connsiteX89" fmla="*/ 3934 w 66882"/>
                <a:gd name="connsiteY89" fmla="*/ 75538 h 129830"/>
                <a:gd name="connsiteX90" fmla="*/ 3934 w 66882"/>
                <a:gd name="connsiteY90" fmla="*/ 77898 h 129830"/>
                <a:gd name="connsiteX91" fmla="*/ 4328 w 66882"/>
                <a:gd name="connsiteY91" fmla="*/ 80259 h 129830"/>
                <a:gd name="connsiteX92" fmla="*/ 4721 w 66882"/>
                <a:gd name="connsiteY92" fmla="*/ 81833 h 129830"/>
                <a:gd name="connsiteX93" fmla="*/ 4721 w 66882"/>
                <a:gd name="connsiteY93" fmla="*/ 83800 h 129830"/>
                <a:gd name="connsiteX94" fmla="*/ 5508 w 66882"/>
                <a:gd name="connsiteY94" fmla="*/ 86947 h 129830"/>
                <a:gd name="connsiteX95" fmla="*/ 5508 w 66882"/>
                <a:gd name="connsiteY95" fmla="*/ 87734 h 129830"/>
                <a:gd name="connsiteX96" fmla="*/ 5115 w 66882"/>
                <a:gd name="connsiteY96" fmla="*/ 90881 h 129830"/>
                <a:gd name="connsiteX97" fmla="*/ 5901 w 66882"/>
                <a:gd name="connsiteY97" fmla="*/ 93635 h 129830"/>
                <a:gd name="connsiteX98" fmla="*/ 6689 w 66882"/>
                <a:gd name="connsiteY98" fmla="*/ 96783 h 129830"/>
                <a:gd name="connsiteX99" fmla="*/ 6295 w 66882"/>
                <a:gd name="connsiteY99" fmla="*/ 99537 h 129830"/>
                <a:gd name="connsiteX100" fmla="*/ 6689 w 66882"/>
                <a:gd name="connsiteY100" fmla="*/ 102291 h 129830"/>
                <a:gd name="connsiteX101" fmla="*/ 7869 w 66882"/>
                <a:gd name="connsiteY101" fmla="*/ 105438 h 129830"/>
                <a:gd name="connsiteX102" fmla="*/ 9836 w 66882"/>
                <a:gd name="connsiteY102" fmla="*/ 110159 h 129830"/>
                <a:gd name="connsiteX103" fmla="*/ 11016 w 66882"/>
                <a:gd name="connsiteY103" fmla="*/ 115667 h 129830"/>
                <a:gd name="connsiteX104" fmla="*/ 11803 w 66882"/>
                <a:gd name="connsiteY104" fmla="*/ 117241 h 129830"/>
                <a:gd name="connsiteX105" fmla="*/ 12590 w 66882"/>
                <a:gd name="connsiteY105" fmla="*/ 119995 h 129830"/>
                <a:gd name="connsiteX106" fmla="*/ 13770 w 66882"/>
                <a:gd name="connsiteY106" fmla="*/ 123142 h 129830"/>
                <a:gd name="connsiteX107" fmla="*/ 14950 w 66882"/>
                <a:gd name="connsiteY107" fmla="*/ 125896 h 129830"/>
                <a:gd name="connsiteX108" fmla="*/ 17704 w 66882"/>
                <a:gd name="connsiteY108" fmla="*/ 128650 h 129830"/>
                <a:gd name="connsiteX109" fmla="*/ 20458 w 66882"/>
                <a:gd name="connsiteY109" fmla="*/ 130224 h 129830"/>
                <a:gd name="connsiteX110" fmla="*/ 23212 w 66882"/>
                <a:gd name="connsiteY110" fmla="*/ 131404 h 129830"/>
                <a:gd name="connsiteX111" fmla="*/ 28327 w 66882"/>
                <a:gd name="connsiteY111" fmla="*/ 132191 h 129830"/>
                <a:gd name="connsiteX112" fmla="*/ 29507 w 66882"/>
                <a:gd name="connsiteY112" fmla="*/ 132978 h 129830"/>
                <a:gd name="connsiteX113" fmla="*/ 30294 w 66882"/>
                <a:gd name="connsiteY113" fmla="*/ 132978 h 129830"/>
                <a:gd name="connsiteX114" fmla="*/ 33835 w 66882"/>
                <a:gd name="connsiteY114" fmla="*/ 131011 h 129830"/>
                <a:gd name="connsiteX115" fmla="*/ 42490 w 66882"/>
                <a:gd name="connsiteY115" fmla="*/ 126683 h 129830"/>
                <a:gd name="connsiteX116" fmla="*/ 44851 w 66882"/>
                <a:gd name="connsiteY116" fmla="*/ 126290 h 129830"/>
                <a:gd name="connsiteX117" fmla="*/ 47211 w 66882"/>
                <a:gd name="connsiteY117" fmla="*/ 124716 h 129830"/>
                <a:gd name="connsiteX118" fmla="*/ 50752 w 66882"/>
                <a:gd name="connsiteY118" fmla="*/ 123536 h 129830"/>
                <a:gd name="connsiteX119" fmla="*/ 51539 w 66882"/>
                <a:gd name="connsiteY119" fmla="*/ 123142 h 129830"/>
                <a:gd name="connsiteX120" fmla="*/ 54293 w 66882"/>
                <a:gd name="connsiteY120" fmla="*/ 120782 h 129830"/>
                <a:gd name="connsiteX121" fmla="*/ 57441 w 66882"/>
                <a:gd name="connsiteY121" fmla="*/ 118028 h 129830"/>
                <a:gd name="connsiteX122" fmla="*/ 60588 w 66882"/>
                <a:gd name="connsiteY122" fmla="*/ 115667 h 129830"/>
                <a:gd name="connsiteX123" fmla="*/ 62555 w 66882"/>
                <a:gd name="connsiteY123" fmla="*/ 112913 h 129830"/>
                <a:gd name="connsiteX124" fmla="*/ 63735 w 66882"/>
                <a:gd name="connsiteY124" fmla="*/ 111733 h 129830"/>
                <a:gd name="connsiteX125" fmla="*/ 64915 w 66882"/>
                <a:gd name="connsiteY125" fmla="*/ 108586 h 129830"/>
                <a:gd name="connsiteX126" fmla="*/ 65703 w 66882"/>
                <a:gd name="connsiteY126" fmla="*/ 105438 h 129830"/>
                <a:gd name="connsiteX127" fmla="*/ 66096 w 66882"/>
                <a:gd name="connsiteY127" fmla="*/ 103471 h 129830"/>
                <a:gd name="connsiteX128" fmla="*/ 67276 w 66882"/>
                <a:gd name="connsiteY128" fmla="*/ 97570 h 129830"/>
                <a:gd name="connsiteX129" fmla="*/ 67670 w 66882"/>
                <a:gd name="connsiteY129" fmla="*/ 94816 h 129830"/>
                <a:gd name="connsiteX130" fmla="*/ 66882 w 66882"/>
                <a:gd name="connsiteY130" fmla="*/ 91668 h 12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66882" h="129830">
                  <a:moveTo>
                    <a:pt x="66882" y="88914"/>
                  </a:moveTo>
                  <a:lnTo>
                    <a:pt x="66489" y="86160"/>
                  </a:lnTo>
                  <a:lnTo>
                    <a:pt x="66489" y="83800"/>
                  </a:lnTo>
                  <a:lnTo>
                    <a:pt x="65309" y="81046"/>
                  </a:lnTo>
                  <a:lnTo>
                    <a:pt x="64522" y="80259"/>
                  </a:lnTo>
                  <a:lnTo>
                    <a:pt x="64522" y="81046"/>
                  </a:lnTo>
                  <a:lnTo>
                    <a:pt x="63342" y="80259"/>
                  </a:lnTo>
                  <a:lnTo>
                    <a:pt x="62948" y="79079"/>
                  </a:lnTo>
                  <a:lnTo>
                    <a:pt x="62555" y="75931"/>
                  </a:lnTo>
                  <a:lnTo>
                    <a:pt x="61768" y="74751"/>
                  </a:lnTo>
                  <a:lnTo>
                    <a:pt x="61375" y="71997"/>
                  </a:lnTo>
                  <a:lnTo>
                    <a:pt x="60194" y="70030"/>
                  </a:lnTo>
                  <a:lnTo>
                    <a:pt x="59801" y="69637"/>
                  </a:lnTo>
                  <a:lnTo>
                    <a:pt x="56654" y="64128"/>
                  </a:lnTo>
                  <a:lnTo>
                    <a:pt x="51539" y="53506"/>
                  </a:lnTo>
                  <a:lnTo>
                    <a:pt x="50752" y="50752"/>
                  </a:lnTo>
                  <a:lnTo>
                    <a:pt x="50359" y="47998"/>
                  </a:lnTo>
                  <a:lnTo>
                    <a:pt x="49178" y="44850"/>
                  </a:lnTo>
                  <a:lnTo>
                    <a:pt x="46031" y="46424"/>
                  </a:lnTo>
                  <a:lnTo>
                    <a:pt x="46031" y="43670"/>
                  </a:lnTo>
                  <a:lnTo>
                    <a:pt x="46031" y="42490"/>
                  </a:lnTo>
                  <a:lnTo>
                    <a:pt x="45244" y="39343"/>
                  </a:lnTo>
                  <a:lnTo>
                    <a:pt x="43277" y="36589"/>
                  </a:lnTo>
                  <a:lnTo>
                    <a:pt x="40916" y="33835"/>
                  </a:lnTo>
                  <a:lnTo>
                    <a:pt x="38949" y="30687"/>
                  </a:lnTo>
                  <a:lnTo>
                    <a:pt x="38556" y="30294"/>
                  </a:lnTo>
                  <a:lnTo>
                    <a:pt x="35802" y="28720"/>
                  </a:lnTo>
                  <a:lnTo>
                    <a:pt x="36196" y="26753"/>
                  </a:lnTo>
                  <a:lnTo>
                    <a:pt x="34228" y="23999"/>
                  </a:lnTo>
                  <a:lnTo>
                    <a:pt x="33048" y="21245"/>
                  </a:lnTo>
                  <a:lnTo>
                    <a:pt x="31474" y="18491"/>
                  </a:lnTo>
                  <a:lnTo>
                    <a:pt x="29114" y="15343"/>
                  </a:lnTo>
                  <a:lnTo>
                    <a:pt x="26360" y="12590"/>
                  </a:lnTo>
                  <a:lnTo>
                    <a:pt x="23606" y="10623"/>
                  </a:lnTo>
                  <a:lnTo>
                    <a:pt x="20852" y="8262"/>
                  </a:lnTo>
                  <a:lnTo>
                    <a:pt x="18098" y="5508"/>
                  </a:lnTo>
                  <a:lnTo>
                    <a:pt x="16131" y="2754"/>
                  </a:lnTo>
                  <a:lnTo>
                    <a:pt x="14164" y="0"/>
                  </a:lnTo>
                  <a:lnTo>
                    <a:pt x="11409" y="1180"/>
                  </a:lnTo>
                  <a:lnTo>
                    <a:pt x="14164" y="2360"/>
                  </a:lnTo>
                  <a:lnTo>
                    <a:pt x="16918" y="5508"/>
                  </a:lnTo>
                  <a:lnTo>
                    <a:pt x="19278" y="7475"/>
                  </a:lnTo>
                  <a:lnTo>
                    <a:pt x="16524" y="5901"/>
                  </a:lnTo>
                  <a:lnTo>
                    <a:pt x="14164" y="3147"/>
                  </a:lnTo>
                  <a:lnTo>
                    <a:pt x="11016" y="1967"/>
                  </a:lnTo>
                  <a:lnTo>
                    <a:pt x="8262" y="393"/>
                  </a:lnTo>
                  <a:lnTo>
                    <a:pt x="6689" y="393"/>
                  </a:lnTo>
                  <a:lnTo>
                    <a:pt x="3934" y="2360"/>
                  </a:lnTo>
                  <a:lnTo>
                    <a:pt x="6689" y="5114"/>
                  </a:lnTo>
                  <a:lnTo>
                    <a:pt x="7082" y="5508"/>
                  </a:lnTo>
                  <a:lnTo>
                    <a:pt x="7869" y="5508"/>
                  </a:lnTo>
                  <a:lnTo>
                    <a:pt x="12983" y="8262"/>
                  </a:lnTo>
                  <a:lnTo>
                    <a:pt x="12983" y="6295"/>
                  </a:lnTo>
                  <a:lnTo>
                    <a:pt x="13377" y="6295"/>
                  </a:lnTo>
                  <a:lnTo>
                    <a:pt x="14950" y="7475"/>
                  </a:lnTo>
                  <a:lnTo>
                    <a:pt x="18885" y="10229"/>
                  </a:lnTo>
                  <a:lnTo>
                    <a:pt x="21245" y="11409"/>
                  </a:lnTo>
                  <a:lnTo>
                    <a:pt x="19671" y="11016"/>
                  </a:lnTo>
                  <a:lnTo>
                    <a:pt x="19278" y="11016"/>
                  </a:lnTo>
                  <a:lnTo>
                    <a:pt x="14164" y="10229"/>
                  </a:lnTo>
                  <a:lnTo>
                    <a:pt x="13770" y="9836"/>
                  </a:lnTo>
                  <a:lnTo>
                    <a:pt x="11016" y="9442"/>
                  </a:lnTo>
                  <a:lnTo>
                    <a:pt x="11803" y="12590"/>
                  </a:lnTo>
                  <a:lnTo>
                    <a:pt x="9049" y="15343"/>
                  </a:lnTo>
                  <a:lnTo>
                    <a:pt x="11016" y="18491"/>
                  </a:lnTo>
                  <a:lnTo>
                    <a:pt x="11016" y="21245"/>
                  </a:lnTo>
                  <a:lnTo>
                    <a:pt x="7869" y="28327"/>
                  </a:lnTo>
                  <a:lnTo>
                    <a:pt x="5901" y="29900"/>
                  </a:lnTo>
                  <a:lnTo>
                    <a:pt x="5508" y="30294"/>
                  </a:lnTo>
                  <a:lnTo>
                    <a:pt x="5901" y="34228"/>
                  </a:lnTo>
                  <a:lnTo>
                    <a:pt x="5901" y="42883"/>
                  </a:lnTo>
                  <a:lnTo>
                    <a:pt x="5508" y="43670"/>
                  </a:lnTo>
                  <a:lnTo>
                    <a:pt x="4721" y="46424"/>
                  </a:lnTo>
                  <a:lnTo>
                    <a:pt x="4328" y="49178"/>
                  </a:lnTo>
                  <a:lnTo>
                    <a:pt x="3934" y="52326"/>
                  </a:lnTo>
                  <a:lnTo>
                    <a:pt x="3934" y="55080"/>
                  </a:lnTo>
                  <a:lnTo>
                    <a:pt x="3934" y="57834"/>
                  </a:lnTo>
                  <a:lnTo>
                    <a:pt x="3934" y="62555"/>
                  </a:lnTo>
                  <a:lnTo>
                    <a:pt x="1574" y="60981"/>
                  </a:lnTo>
                  <a:lnTo>
                    <a:pt x="1180" y="57834"/>
                  </a:lnTo>
                  <a:lnTo>
                    <a:pt x="1574" y="55080"/>
                  </a:lnTo>
                  <a:lnTo>
                    <a:pt x="1574" y="51932"/>
                  </a:lnTo>
                  <a:lnTo>
                    <a:pt x="0" y="55080"/>
                  </a:lnTo>
                  <a:lnTo>
                    <a:pt x="0" y="57834"/>
                  </a:lnTo>
                  <a:lnTo>
                    <a:pt x="787" y="60981"/>
                  </a:lnTo>
                  <a:lnTo>
                    <a:pt x="1574" y="64128"/>
                  </a:lnTo>
                  <a:lnTo>
                    <a:pt x="2361" y="66882"/>
                  </a:lnTo>
                  <a:lnTo>
                    <a:pt x="3148" y="69637"/>
                  </a:lnTo>
                  <a:lnTo>
                    <a:pt x="3541" y="72784"/>
                  </a:lnTo>
                  <a:lnTo>
                    <a:pt x="3934" y="75538"/>
                  </a:lnTo>
                  <a:lnTo>
                    <a:pt x="3934" y="77898"/>
                  </a:lnTo>
                  <a:lnTo>
                    <a:pt x="4328" y="80259"/>
                  </a:lnTo>
                  <a:lnTo>
                    <a:pt x="4721" y="81833"/>
                  </a:lnTo>
                  <a:lnTo>
                    <a:pt x="4721" y="83800"/>
                  </a:lnTo>
                  <a:lnTo>
                    <a:pt x="5508" y="86947"/>
                  </a:lnTo>
                  <a:lnTo>
                    <a:pt x="5508" y="87734"/>
                  </a:lnTo>
                  <a:lnTo>
                    <a:pt x="5115" y="90881"/>
                  </a:lnTo>
                  <a:lnTo>
                    <a:pt x="5901" y="93635"/>
                  </a:lnTo>
                  <a:lnTo>
                    <a:pt x="6689" y="96783"/>
                  </a:lnTo>
                  <a:lnTo>
                    <a:pt x="6295" y="99537"/>
                  </a:lnTo>
                  <a:lnTo>
                    <a:pt x="6689" y="102291"/>
                  </a:lnTo>
                  <a:lnTo>
                    <a:pt x="7869" y="105438"/>
                  </a:lnTo>
                  <a:lnTo>
                    <a:pt x="9836" y="110159"/>
                  </a:lnTo>
                  <a:lnTo>
                    <a:pt x="11016" y="115667"/>
                  </a:lnTo>
                  <a:lnTo>
                    <a:pt x="11803" y="117241"/>
                  </a:lnTo>
                  <a:lnTo>
                    <a:pt x="12590" y="119995"/>
                  </a:lnTo>
                  <a:lnTo>
                    <a:pt x="13770" y="123142"/>
                  </a:lnTo>
                  <a:lnTo>
                    <a:pt x="14950" y="125896"/>
                  </a:lnTo>
                  <a:lnTo>
                    <a:pt x="17704" y="128650"/>
                  </a:lnTo>
                  <a:lnTo>
                    <a:pt x="20458" y="130224"/>
                  </a:lnTo>
                  <a:lnTo>
                    <a:pt x="23212" y="131404"/>
                  </a:lnTo>
                  <a:lnTo>
                    <a:pt x="28327" y="132191"/>
                  </a:lnTo>
                  <a:lnTo>
                    <a:pt x="29507" y="132978"/>
                  </a:lnTo>
                  <a:lnTo>
                    <a:pt x="30294" y="132978"/>
                  </a:lnTo>
                  <a:lnTo>
                    <a:pt x="33835" y="131011"/>
                  </a:lnTo>
                  <a:lnTo>
                    <a:pt x="42490" y="126683"/>
                  </a:lnTo>
                  <a:lnTo>
                    <a:pt x="44851" y="126290"/>
                  </a:lnTo>
                  <a:lnTo>
                    <a:pt x="47211" y="124716"/>
                  </a:lnTo>
                  <a:lnTo>
                    <a:pt x="50752" y="123536"/>
                  </a:lnTo>
                  <a:lnTo>
                    <a:pt x="51539" y="123142"/>
                  </a:lnTo>
                  <a:lnTo>
                    <a:pt x="54293" y="120782"/>
                  </a:lnTo>
                  <a:lnTo>
                    <a:pt x="57441" y="118028"/>
                  </a:lnTo>
                  <a:lnTo>
                    <a:pt x="60588" y="115667"/>
                  </a:lnTo>
                  <a:lnTo>
                    <a:pt x="62555" y="112913"/>
                  </a:lnTo>
                  <a:lnTo>
                    <a:pt x="63735" y="111733"/>
                  </a:lnTo>
                  <a:lnTo>
                    <a:pt x="64915" y="108586"/>
                  </a:lnTo>
                  <a:lnTo>
                    <a:pt x="65703" y="105438"/>
                  </a:lnTo>
                  <a:lnTo>
                    <a:pt x="66096" y="103471"/>
                  </a:lnTo>
                  <a:lnTo>
                    <a:pt x="67276" y="97570"/>
                  </a:lnTo>
                  <a:lnTo>
                    <a:pt x="67670" y="94816"/>
                  </a:lnTo>
                  <a:lnTo>
                    <a:pt x="66882" y="9166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24" name="Freeform: Shape 3718">
              <a:extLst>
                <a:ext uri="{FF2B5EF4-FFF2-40B4-BE49-F238E27FC236}">
                  <a16:creationId xmlns:a16="http://schemas.microsoft.com/office/drawing/2014/main" id="{8635734C-C4EB-407D-9DF7-5243350AB2C0}"/>
                </a:ext>
              </a:extLst>
            </p:cNvPr>
            <p:cNvSpPr/>
            <p:nvPr/>
          </p:nvSpPr>
          <p:spPr>
            <a:xfrm>
              <a:off x="8493148" y="3463270"/>
              <a:ext cx="3934" cy="3934"/>
            </a:xfrm>
            <a:custGeom>
              <a:avLst/>
              <a:gdLst>
                <a:gd name="connsiteX0" fmla="*/ 3147 w 0"/>
                <a:gd name="connsiteY0" fmla="*/ 7475 h 3934"/>
                <a:gd name="connsiteX1" fmla="*/ 3147 w 0"/>
                <a:gd name="connsiteY1" fmla="*/ 6688 h 3934"/>
                <a:gd name="connsiteX2" fmla="*/ 2754 w 0"/>
                <a:gd name="connsiteY2" fmla="*/ 3934 h 3934"/>
                <a:gd name="connsiteX3" fmla="*/ 1180 w 0"/>
                <a:gd name="connsiteY3" fmla="*/ 1180 h 3934"/>
                <a:gd name="connsiteX4" fmla="*/ 0 w 0"/>
                <a:gd name="connsiteY4" fmla="*/ 0 h 3934"/>
                <a:gd name="connsiteX5" fmla="*/ 787 w 0"/>
                <a:gd name="connsiteY5" fmla="*/ 1574 h 3934"/>
                <a:gd name="connsiteX6" fmla="*/ 1180 w 0"/>
                <a:gd name="connsiteY6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3934">
                  <a:moveTo>
                    <a:pt x="3147" y="7475"/>
                  </a:moveTo>
                  <a:lnTo>
                    <a:pt x="3147" y="6688"/>
                  </a:lnTo>
                  <a:lnTo>
                    <a:pt x="2754" y="3934"/>
                  </a:lnTo>
                  <a:lnTo>
                    <a:pt x="1180" y="1180"/>
                  </a:lnTo>
                  <a:lnTo>
                    <a:pt x="0" y="0"/>
                  </a:lnTo>
                  <a:lnTo>
                    <a:pt x="787" y="1574"/>
                  </a:lnTo>
                  <a:lnTo>
                    <a:pt x="118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25" name="Freeform: Shape 3719">
              <a:extLst>
                <a:ext uri="{FF2B5EF4-FFF2-40B4-BE49-F238E27FC236}">
                  <a16:creationId xmlns:a16="http://schemas.microsoft.com/office/drawing/2014/main" id="{770C7A68-E378-4B40-9550-5008F16BAD2B}"/>
                </a:ext>
              </a:extLst>
            </p:cNvPr>
            <p:cNvSpPr/>
            <p:nvPr/>
          </p:nvSpPr>
          <p:spPr>
            <a:xfrm>
              <a:off x="8988471" y="3447140"/>
              <a:ext cx="3934" cy="11803"/>
            </a:xfrm>
            <a:custGeom>
              <a:avLst/>
              <a:gdLst>
                <a:gd name="connsiteX0" fmla="*/ 0 w 3934"/>
                <a:gd name="connsiteY0" fmla="*/ 8655 h 11802"/>
                <a:gd name="connsiteX1" fmla="*/ 1180 w 3934"/>
                <a:gd name="connsiteY1" fmla="*/ 11409 h 11802"/>
                <a:gd name="connsiteX2" fmla="*/ 2361 w 3934"/>
                <a:gd name="connsiteY2" fmla="*/ 14163 h 11802"/>
                <a:gd name="connsiteX3" fmla="*/ 4721 w 3934"/>
                <a:gd name="connsiteY3" fmla="*/ 11409 h 11802"/>
                <a:gd name="connsiteX4" fmla="*/ 4721 w 3934"/>
                <a:gd name="connsiteY4" fmla="*/ 8655 h 11802"/>
                <a:gd name="connsiteX5" fmla="*/ 4721 w 3934"/>
                <a:gd name="connsiteY5" fmla="*/ 5508 h 11802"/>
                <a:gd name="connsiteX6" fmla="*/ 4721 w 3934"/>
                <a:gd name="connsiteY6" fmla="*/ 2754 h 11802"/>
                <a:gd name="connsiteX7" fmla="*/ 1967 w 3934"/>
                <a:gd name="connsiteY7" fmla="*/ 787 h 11802"/>
                <a:gd name="connsiteX8" fmla="*/ 1180 w 3934"/>
                <a:gd name="connsiteY8" fmla="*/ 0 h 11802"/>
                <a:gd name="connsiteX9" fmla="*/ 394 w 3934"/>
                <a:gd name="connsiteY9" fmla="*/ 0 h 11802"/>
                <a:gd name="connsiteX10" fmla="*/ 787 w 3934"/>
                <a:gd name="connsiteY10" fmla="*/ 2754 h 11802"/>
                <a:gd name="connsiteX11" fmla="*/ 394 w 3934"/>
                <a:gd name="connsiteY11" fmla="*/ 5508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934" h="11802">
                  <a:moveTo>
                    <a:pt x="0" y="8655"/>
                  </a:moveTo>
                  <a:lnTo>
                    <a:pt x="1180" y="11409"/>
                  </a:lnTo>
                  <a:lnTo>
                    <a:pt x="2361" y="14163"/>
                  </a:lnTo>
                  <a:lnTo>
                    <a:pt x="4721" y="11409"/>
                  </a:lnTo>
                  <a:lnTo>
                    <a:pt x="4721" y="8655"/>
                  </a:lnTo>
                  <a:lnTo>
                    <a:pt x="4721" y="5508"/>
                  </a:lnTo>
                  <a:lnTo>
                    <a:pt x="4721" y="2754"/>
                  </a:lnTo>
                  <a:lnTo>
                    <a:pt x="1967" y="787"/>
                  </a:lnTo>
                  <a:lnTo>
                    <a:pt x="1180" y="0"/>
                  </a:lnTo>
                  <a:lnTo>
                    <a:pt x="394" y="0"/>
                  </a:lnTo>
                  <a:lnTo>
                    <a:pt x="787" y="2754"/>
                  </a:lnTo>
                  <a:lnTo>
                    <a:pt x="394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26" name="Freeform: Shape 3720">
              <a:extLst>
                <a:ext uri="{FF2B5EF4-FFF2-40B4-BE49-F238E27FC236}">
                  <a16:creationId xmlns:a16="http://schemas.microsoft.com/office/drawing/2014/main" id="{66CAD1B0-3BA7-4E53-9F00-766E15D1B848}"/>
                </a:ext>
              </a:extLst>
            </p:cNvPr>
            <p:cNvSpPr/>
            <p:nvPr/>
          </p:nvSpPr>
          <p:spPr>
            <a:xfrm>
              <a:off x="8996340" y="3449500"/>
              <a:ext cx="3934" cy="3934"/>
            </a:xfrm>
            <a:custGeom>
              <a:avLst/>
              <a:gdLst>
                <a:gd name="connsiteX0" fmla="*/ 0 w 0"/>
                <a:gd name="connsiteY0" fmla="*/ 0 h 3934"/>
                <a:gd name="connsiteX1" fmla="*/ 1574 w 0"/>
                <a:gd name="connsiteY1" fmla="*/ 3147 h 3934"/>
                <a:gd name="connsiteX2" fmla="*/ 2754 w 0"/>
                <a:gd name="connsiteY2" fmla="*/ 5901 h 3934"/>
                <a:gd name="connsiteX3" fmla="*/ 2754 w 0"/>
                <a:gd name="connsiteY3" fmla="*/ 2754 h 3934"/>
                <a:gd name="connsiteX4" fmla="*/ 394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0"/>
                  </a:moveTo>
                  <a:lnTo>
                    <a:pt x="1574" y="3147"/>
                  </a:lnTo>
                  <a:lnTo>
                    <a:pt x="2754" y="5901"/>
                  </a:lnTo>
                  <a:lnTo>
                    <a:pt x="2754" y="2754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27" name="Freeform: Shape 3721">
              <a:extLst>
                <a:ext uri="{FF2B5EF4-FFF2-40B4-BE49-F238E27FC236}">
                  <a16:creationId xmlns:a16="http://schemas.microsoft.com/office/drawing/2014/main" id="{C2299A15-F46E-4808-9C28-6B4480457185}"/>
                </a:ext>
              </a:extLst>
            </p:cNvPr>
            <p:cNvSpPr/>
            <p:nvPr/>
          </p:nvSpPr>
          <p:spPr>
            <a:xfrm>
              <a:off x="9036076" y="3399535"/>
              <a:ext cx="3934" cy="3934"/>
            </a:xfrm>
            <a:custGeom>
              <a:avLst/>
              <a:gdLst>
                <a:gd name="connsiteX0" fmla="*/ 1967 w 0"/>
                <a:gd name="connsiteY0" fmla="*/ 5114 h 3934"/>
                <a:gd name="connsiteX1" fmla="*/ 3540 w 0"/>
                <a:gd name="connsiteY1" fmla="*/ 3147 h 3934"/>
                <a:gd name="connsiteX2" fmla="*/ 1573 w 0"/>
                <a:gd name="connsiteY2" fmla="*/ 0 h 3934"/>
                <a:gd name="connsiteX3" fmla="*/ 0 w 0"/>
                <a:gd name="connsiteY3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967" y="5114"/>
                  </a:moveTo>
                  <a:lnTo>
                    <a:pt x="3540" y="3147"/>
                  </a:lnTo>
                  <a:lnTo>
                    <a:pt x="1573" y="0"/>
                  </a:lnTo>
                  <a:lnTo>
                    <a:pt x="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28" name="Freeform: Shape 3722">
              <a:extLst>
                <a:ext uri="{FF2B5EF4-FFF2-40B4-BE49-F238E27FC236}">
                  <a16:creationId xmlns:a16="http://schemas.microsoft.com/office/drawing/2014/main" id="{53D594E1-BE01-4F08-9480-530ADEA8C9C9}"/>
                </a:ext>
              </a:extLst>
            </p:cNvPr>
            <p:cNvSpPr/>
            <p:nvPr/>
          </p:nvSpPr>
          <p:spPr>
            <a:xfrm>
              <a:off x="8981783" y="3383405"/>
              <a:ext cx="3934" cy="3934"/>
            </a:xfrm>
            <a:custGeom>
              <a:avLst/>
              <a:gdLst>
                <a:gd name="connsiteX0" fmla="*/ 3148 w 0"/>
                <a:gd name="connsiteY0" fmla="*/ 1967 h 3934"/>
                <a:gd name="connsiteX1" fmla="*/ 3148 w 0"/>
                <a:gd name="connsiteY1" fmla="*/ 0 h 3934"/>
                <a:gd name="connsiteX2" fmla="*/ 0 w 0"/>
                <a:gd name="connsiteY2" fmla="*/ 1967 h 3934"/>
                <a:gd name="connsiteX3" fmla="*/ 393 w 0"/>
                <a:gd name="connsiteY3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148" y="1967"/>
                  </a:moveTo>
                  <a:lnTo>
                    <a:pt x="3148" y="0"/>
                  </a:lnTo>
                  <a:lnTo>
                    <a:pt x="0" y="1967"/>
                  </a:lnTo>
                  <a:lnTo>
                    <a:pt x="393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29" name="Freeform: Shape 3723">
              <a:extLst>
                <a:ext uri="{FF2B5EF4-FFF2-40B4-BE49-F238E27FC236}">
                  <a16:creationId xmlns:a16="http://schemas.microsoft.com/office/drawing/2014/main" id="{08F5D078-15F3-448B-979C-B1A1194D157A}"/>
                </a:ext>
              </a:extLst>
            </p:cNvPr>
            <p:cNvSpPr/>
            <p:nvPr/>
          </p:nvSpPr>
          <p:spPr>
            <a:xfrm>
              <a:off x="8962898" y="3649754"/>
              <a:ext cx="3934" cy="3934"/>
            </a:xfrm>
            <a:custGeom>
              <a:avLst/>
              <a:gdLst>
                <a:gd name="connsiteX0" fmla="*/ 5901 w 3934"/>
                <a:gd name="connsiteY0" fmla="*/ 5901 h 3934"/>
                <a:gd name="connsiteX1" fmla="*/ 5901 w 3934"/>
                <a:gd name="connsiteY1" fmla="*/ 5901 h 3934"/>
                <a:gd name="connsiteX2" fmla="*/ 5115 w 3934"/>
                <a:gd name="connsiteY2" fmla="*/ 2754 h 3934"/>
                <a:gd name="connsiteX3" fmla="*/ 2754 w 3934"/>
                <a:gd name="connsiteY3" fmla="*/ 0 h 3934"/>
                <a:gd name="connsiteX4" fmla="*/ 0 w 3934"/>
                <a:gd name="connsiteY4" fmla="*/ 1180 h 3934"/>
                <a:gd name="connsiteX5" fmla="*/ 2754 w 3934"/>
                <a:gd name="connsiteY5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5901" y="5901"/>
                  </a:moveTo>
                  <a:lnTo>
                    <a:pt x="5901" y="5901"/>
                  </a:lnTo>
                  <a:lnTo>
                    <a:pt x="5115" y="2754"/>
                  </a:lnTo>
                  <a:lnTo>
                    <a:pt x="2754" y="0"/>
                  </a:lnTo>
                  <a:lnTo>
                    <a:pt x="0" y="1180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30" name="Freeform: Shape 3724">
              <a:extLst>
                <a:ext uri="{FF2B5EF4-FFF2-40B4-BE49-F238E27FC236}">
                  <a16:creationId xmlns:a16="http://schemas.microsoft.com/office/drawing/2014/main" id="{187BBF2B-9876-4ECB-9CBA-FFDEE3E8C2F1}"/>
                </a:ext>
              </a:extLst>
            </p:cNvPr>
            <p:cNvSpPr/>
            <p:nvPr/>
          </p:nvSpPr>
          <p:spPr>
            <a:xfrm>
              <a:off x="9038043" y="3512448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393 h 0"/>
                <a:gd name="connsiteX2" fmla="*/ 393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393"/>
                  </a:lnTo>
                  <a:lnTo>
                    <a:pt x="393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31" name="Freeform: Shape 3725">
              <a:extLst>
                <a:ext uri="{FF2B5EF4-FFF2-40B4-BE49-F238E27FC236}">
                  <a16:creationId xmlns:a16="http://schemas.microsoft.com/office/drawing/2014/main" id="{5AE15C5B-71B2-4C78-B83E-463435525C50}"/>
                </a:ext>
              </a:extLst>
            </p:cNvPr>
            <p:cNvSpPr/>
            <p:nvPr/>
          </p:nvSpPr>
          <p:spPr>
            <a:xfrm>
              <a:off x="9034109" y="3505760"/>
              <a:ext cx="3934" cy="3934"/>
            </a:xfrm>
            <a:custGeom>
              <a:avLst/>
              <a:gdLst>
                <a:gd name="connsiteX0" fmla="*/ 6688 w 3934"/>
                <a:gd name="connsiteY0" fmla="*/ 2754 h 3934"/>
                <a:gd name="connsiteX1" fmla="*/ 4721 w 3934"/>
                <a:gd name="connsiteY1" fmla="*/ 0 h 3934"/>
                <a:gd name="connsiteX2" fmla="*/ 3147 w 3934"/>
                <a:gd name="connsiteY2" fmla="*/ 1574 h 3934"/>
                <a:gd name="connsiteX3" fmla="*/ 0 w 3934"/>
                <a:gd name="connsiteY3" fmla="*/ 3541 h 3934"/>
                <a:gd name="connsiteX4" fmla="*/ 3147 w 3934"/>
                <a:gd name="connsiteY4" fmla="*/ 6688 h 3934"/>
                <a:gd name="connsiteX5" fmla="*/ 5901 w 3934"/>
                <a:gd name="connsiteY5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6688" y="2754"/>
                  </a:moveTo>
                  <a:lnTo>
                    <a:pt x="4721" y="0"/>
                  </a:lnTo>
                  <a:lnTo>
                    <a:pt x="3147" y="1574"/>
                  </a:lnTo>
                  <a:lnTo>
                    <a:pt x="0" y="3541"/>
                  </a:lnTo>
                  <a:lnTo>
                    <a:pt x="3147" y="6688"/>
                  </a:lnTo>
                  <a:lnTo>
                    <a:pt x="5901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32" name="Freeform: Shape 3726">
              <a:extLst>
                <a:ext uri="{FF2B5EF4-FFF2-40B4-BE49-F238E27FC236}">
                  <a16:creationId xmlns:a16="http://schemas.microsoft.com/office/drawing/2014/main" id="{C3C8C6CC-32C2-438A-AEF2-F94CD5AECB68}"/>
                </a:ext>
              </a:extLst>
            </p:cNvPr>
            <p:cNvSpPr/>
            <p:nvPr/>
          </p:nvSpPr>
          <p:spPr>
            <a:xfrm>
              <a:off x="9031355" y="3497498"/>
              <a:ext cx="3934" cy="3934"/>
            </a:xfrm>
            <a:custGeom>
              <a:avLst/>
              <a:gdLst>
                <a:gd name="connsiteX0" fmla="*/ 1574 w 0"/>
                <a:gd name="connsiteY0" fmla="*/ 0 h 3934"/>
                <a:gd name="connsiteX1" fmla="*/ 393 w 0"/>
                <a:gd name="connsiteY1" fmla="*/ 1180 h 3934"/>
                <a:gd name="connsiteX2" fmla="*/ 0 w 0"/>
                <a:gd name="connsiteY2" fmla="*/ 4328 h 3934"/>
                <a:gd name="connsiteX3" fmla="*/ 2754 w 0"/>
                <a:gd name="connsiteY3" fmla="*/ 5508 h 3934"/>
                <a:gd name="connsiteX4" fmla="*/ 1967 w 0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1574" y="0"/>
                  </a:moveTo>
                  <a:lnTo>
                    <a:pt x="393" y="1180"/>
                  </a:lnTo>
                  <a:lnTo>
                    <a:pt x="0" y="4328"/>
                  </a:lnTo>
                  <a:lnTo>
                    <a:pt x="2754" y="5508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33" name="Freeform: Shape 3727">
              <a:extLst>
                <a:ext uri="{FF2B5EF4-FFF2-40B4-BE49-F238E27FC236}">
                  <a16:creationId xmlns:a16="http://schemas.microsoft.com/office/drawing/2014/main" id="{526C20DF-8B48-4BD4-8555-39355C13E103}"/>
                </a:ext>
              </a:extLst>
            </p:cNvPr>
            <p:cNvSpPr/>
            <p:nvPr/>
          </p:nvSpPr>
          <p:spPr>
            <a:xfrm>
              <a:off x="9012077" y="3465630"/>
              <a:ext cx="3934" cy="3934"/>
            </a:xfrm>
            <a:custGeom>
              <a:avLst/>
              <a:gdLst>
                <a:gd name="connsiteX0" fmla="*/ 394 w 0"/>
                <a:gd name="connsiteY0" fmla="*/ 2754 h 3934"/>
                <a:gd name="connsiteX1" fmla="*/ 2754 w 0"/>
                <a:gd name="connsiteY1" fmla="*/ 5901 h 3934"/>
                <a:gd name="connsiteX2" fmla="*/ 1967 w 0"/>
                <a:gd name="connsiteY2" fmla="*/ 2754 h 3934"/>
                <a:gd name="connsiteX3" fmla="*/ 0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94" y="2754"/>
                  </a:moveTo>
                  <a:lnTo>
                    <a:pt x="2754" y="5901"/>
                  </a:lnTo>
                  <a:lnTo>
                    <a:pt x="1967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34" name="Freeform: Shape 3728">
              <a:extLst>
                <a:ext uri="{FF2B5EF4-FFF2-40B4-BE49-F238E27FC236}">
                  <a16:creationId xmlns:a16="http://schemas.microsoft.com/office/drawing/2014/main" id="{436A0721-9158-4357-BA37-97458330592F}"/>
                </a:ext>
              </a:extLst>
            </p:cNvPr>
            <p:cNvSpPr/>
            <p:nvPr/>
          </p:nvSpPr>
          <p:spPr>
            <a:xfrm>
              <a:off x="9181250" y="3720177"/>
              <a:ext cx="3934" cy="3934"/>
            </a:xfrm>
            <a:custGeom>
              <a:avLst/>
              <a:gdLst>
                <a:gd name="connsiteX0" fmla="*/ 0 w 0"/>
                <a:gd name="connsiteY0" fmla="*/ 1574 h 0"/>
                <a:gd name="connsiteX1" fmla="*/ 2754 w 0"/>
                <a:gd name="connsiteY1" fmla="*/ 3147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574"/>
                  </a:moveTo>
                  <a:lnTo>
                    <a:pt x="2754" y="3147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35" name="Freeform: Shape 3729">
              <a:extLst>
                <a:ext uri="{FF2B5EF4-FFF2-40B4-BE49-F238E27FC236}">
                  <a16:creationId xmlns:a16="http://schemas.microsoft.com/office/drawing/2014/main" id="{555A1037-BB5C-422A-ADED-2B162D4E1AD3}"/>
                </a:ext>
              </a:extLst>
            </p:cNvPr>
            <p:cNvSpPr/>
            <p:nvPr/>
          </p:nvSpPr>
          <p:spPr>
            <a:xfrm>
              <a:off x="9185184" y="3718210"/>
              <a:ext cx="3934" cy="3934"/>
            </a:xfrm>
            <a:custGeom>
              <a:avLst/>
              <a:gdLst>
                <a:gd name="connsiteX0" fmla="*/ 5509 w 3934"/>
                <a:gd name="connsiteY0" fmla="*/ 6295 h 3934"/>
                <a:gd name="connsiteX1" fmla="*/ 3148 w 3934"/>
                <a:gd name="connsiteY1" fmla="*/ 3147 h 3934"/>
                <a:gd name="connsiteX2" fmla="*/ 1180 w 3934"/>
                <a:gd name="connsiteY2" fmla="*/ 0 h 3934"/>
                <a:gd name="connsiteX3" fmla="*/ 0 w 3934"/>
                <a:gd name="connsiteY3" fmla="*/ 1180 h 3934"/>
                <a:gd name="connsiteX4" fmla="*/ 2754 w 3934"/>
                <a:gd name="connsiteY4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509" y="6295"/>
                  </a:moveTo>
                  <a:lnTo>
                    <a:pt x="3148" y="3147"/>
                  </a:lnTo>
                  <a:lnTo>
                    <a:pt x="1180" y="0"/>
                  </a:lnTo>
                  <a:lnTo>
                    <a:pt x="0" y="1180"/>
                  </a:lnTo>
                  <a:lnTo>
                    <a:pt x="2754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36" name="Freeform: Shape 3730">
              <a:extLst>
                <a:ext uri="{FF2B5EF4-FFF2-40B4-BE49-F238E27FC236}">
                  <a16:creationId xmlns:a16="http://schemas.microsoft.com/office/drawing/2014/main" id="{F37BD40A-1451-433F-A6FB-63B848742135}"/>
                </a:ext>
              </a:extLst>
            </p:cNvPr>
            <p:cNvSpPr/>
            <p:nvPr/>
          </p:nvSpPr>
          <p:spPr>
            <a:xfrm>
              <a:off x="8962505" y="3674146"/>
              <a:ext cx="23606" cy="31474"/>
            </a:xfrm>
            <a:custGeom>
              <a:avLst/>
              <a:gdLst>
                <a:gd name="connsiteX0" fmla="*/ 20458 w 23605"/>
                <a:gd name="connsiteY0" fmla="*/ 13377 h 31474"/>
                <a:gd name="connsiteX1" fmla="*/ 17704 w 23605"/>
                <a:gd name="connsiteY1" fmla="*/ 11409 h 31474"/>
                <a:gd name="connsiteX2" fmla="*/ 15344 w 23605"/>
                <a:gd name="connsiteY2" fmla="*/ 8655 h 31474"/>
                <a:gd name="connsiteX3" fmla="*/ 11803 w 23605"/>
                <a:gd name="connsiteY3" fmla="*/ 2754 h 31474"/>
                <a:gd name="connsiteX4" fmla="*/ 9049 w 23605"/>
                <a:gd name="connsiteY4" fmla="*/ 0 h 31474"/>
                <a:gd name="connsiteX5" fmla="*/ 5901 w 23605"/>
                <a:gd name="connsiteY5" fmla="*/ 1180 h 31474"/>
                <a:gd name="connsiteX6" fmla="*/ 3148 w 23605"/>
                <a:gd name="connsiteY6" fmla="*/ 3541 h 31474"/>
                <a:gd name="connsiteX7" fmla="*/ 0 w 23605"/>
                <a:gd name="connsiteY7" fmla="*/ 2754 h 31474"/>
                <a:gd name="connsiteX8" fmla="*/ 1180 w 23605"/>
                <a:gd name="connsiteY8" fmla="*/ 5901 h 31474"/>
                <a:gd name="connsiteX9" fmla="*/ 3148 w 23605"/>
                <a:gd name="connsiteY9" fmla="*/ 8655 h 31474"/>
                <a:gd name="connsiteX10" fmla="*/ 5115 w 23605"/>
                <a:gd name="connsiteY10" fmla="*/ 11409 h 31474"/>
                <a:gd name="connsiteX11" fmla="*/ 6689 w 23605"/>
                <a:gd name="connsiteY11" fmla="*/ 14163 h 31474"/>
                <a:gd name="connsiteX12" fmla="*/ 8262 w 23605"/>
                <a:gd name="connsiteY12" fmla="*/ 16918 h 31474"/>
                <a:gd name="connsiteX13" fmla="*/ 11016 w 23605"/>
                <a:gd name="connsiteY13" fmla="*/ 20065 h 31474"/>
                <a:gd name="connsiteX14" fmla="*/ 14163 w 23605"/>
                <a:gd name="connsiteY14" fmla="*/ 22819 h 31474"/>
                <a:gd name="connsiteX15" fmla="*/ 15344 w 23605"/>
                <a:gd name="connsiteY15" fmla="*/ 25573 h 31474"/>
                <a:gd name="connsiteX16" fmla="*/ 16130 w 23605"/>
                <a:gd name="connsiteY16" fmla="*/ 28327 h 31474"/>
                <a:gd name="connsiteX17" fmla="*/ 17311 w 23605"/>
                <a:gd name="connsiteY17" fmla="*/ 30294 h 31474"/>
                <a:gd name="connsiteX18" fmla="*/ 20065 w 23605"/>
                <a:gd name="connsiteY18" fmla="*/ 31868 h 31474"/>
                <a:gd name="connsiteX19" fmla="*/ 22819 w 23605"/>
                <a:gd name="connsiteY19" fmla="*/ 29901 h 31474"/>
                <a:gd name="connsiteX20" fmla="*/ 23606 w 23605"/>
                <a:gd name="connsiteY20" fmla="*/ 24392 h 31474"/>
                <a:gd name="connsiteX21" fmla="*/ 23606 w 23605"/>
                <a:gd name="connsiteY21" fmla="*/ 21638 h 31474"/>
                <a:gd name="connsiteX22" fmla="*/ 24393 w 23605"/>
                <a:gd name="connsiteY22" fmla="*/ 18885 h 31474"/>
                <a:gd name="connsiteX23" fmla="*/ 23606 w 23605"/>
                <a:gd name="connsiteY23" fmla="*/ 15737 h 3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3605" h="31474">
                  <a:moveTo>
                    <a:pt x="20458" y="13377"/>
                  </a:moveTo>
                  <a:lnTo>
                    <a:pt x="17704" y="11409"/>
                  </a:lnTo>
                  <a:lnTo>
                    <a:pt x="15344" y="8655"/>
                  </a:lnTo>
                  <a:lnTo>
                    <a:pt x="11803" y="2754"/>
                  </a:lnTo>
                  <a:lnTo>
                    <a:pt x="9049" y="0"/>
                  </a:lnTo>
                  <a:lnTo>
                    <a:pt x="5901" y="1180"/>
                  </a:lnTo>
                  <a:lnTo>
                    <a:pt x="3148" y="3541"/>
                  </a:lnTo>
                  <a:lnTo>
                    <a:pt x="0" y="2754"/>
                  </a:lnTo>
                  <a:lnTo>
                    <a:pt x="1180" y="5901"/>
                  </a:lnTo>
                  <a:lnTo>
                    <a:pt x="3148" y="8655"/>
                  </a:lnTo>
                  <a:lnTo>
                    <a:pt x="5115" y="11409"/>
                  </a:lnTo>
                  <a:lnTo>
                    <a:pt x="6689" y="14163"/>
                  </a:lnTo>
                  <a:lnTo>
                    <a:pt x="8262" y="16918"/>
                  </a:lnTo>
                  <a:lnTo>
                    <a:pt x="11016" y="20065"/>
                  </a:lnTo>
                  <a:lnTo>
                    <a:pt x="14163" y="22819"/>
                  </a:lnTo>
                  <a:lnTo>
                    <a:pt x="15344" y="25573"/>
                  </a:lnTo>
                  <a:lnTo>
                    <a:pt x="16130" y="28327"/>
                  </a:lnTo>
                  <a:lnTo>
                    <a:pt x="17311" y="30294"/>
                  </a:lnTo>
                  <a:lnTo>
                    <a:pt x="20065" y="31868"/>
                  </a:lnTo>
                  <a:lnTo>
                    <a:pt x="22819" y="29901"/>
                  </a:lnTo>
                  <a:lnTo>
                    <a:pt x="23606" y="24392"/>
                  </a:lnTo>
                  <a:lnTo>
                    <a:pt x="23606" y="21638"/>
                  </a:lnTo>
                  <a:lnTo>
                    <a:pt x="24393" y="18885"/>
                  </a:lnTo>
                  <a:lnTo>
                    <a:pt x="23606" y="1573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37" name="Freeform: Shape 3731">
              <a:extLst>
                <a:ext uri="{FF2B5EF4-FFF2-40B4-BE49-F238E27FC236}">
                  <a16:creationId xmlns:a16="http://schemas.microsoft.com/office/drawing/2014/main" id="{73153A2B-C1C4-4B66-A41E-B19ED60A1EC9}"/>
                </a:ext>
              </a:extLst>
            </p:cNvPr>
            <p:cNvSpPr/>
            <p:nvPr/>
          </p:nvSpPr>
          <p:spPr>
            <a:xfrm>
              <a:off x="9286295" y="3583658"/>
              <a:ext cx="11803" cy="15737"/>
            </a:xfrm>
            <a:custGeom>
              <a:avLst/>
              <a:gdLst>
                <a:gd name="connsiteX0" fmla="*/ 12197 w 11802"/>
                <a:gd name="connsiteY0" fmla="*/ 12983 h 15737"/>
                <a:gd name="connsiteX1" fmla="*/ 12983 w 11802"/>
                <a:gd name="connsiteY1" fmla="*/ 7082 h 15737"/>
                <a:gd name="connsiteX2" fmla="*/ 10623 w 11802"/>
                <a:gd name="connsiteY2" fmla="*/ 4328 h 15737"/>
                <a:gd name="connsiteX3" fmla="*/ 8262 w 11802"/>
                <a:gd name="connsiteY3" fmla="*/ 1574 h 15737"/>
                <a:gd name="connsiteX4" fmla="*/ 5509 w 11802"/>
                <a:gd name="connsiteY4" fmla="*/ 0 h 15737"/>
                <a:gd name="connsiteX5" fmla="*/ 3148 w 11802"/>
                <a:gd name="connsiteY5" fmla="*/ 2754 h 15737"/>
                <a:gd name="connsiteX6" fmla="*/ 0 w 11802"/>
                <a:gd name="connsiteY6" fmla="*/ 5115 h 15737"/>
                <a:gd name="connsiteX7" fmla="*/ 1574 w 11802"/>
                <a:gd name="connsiteY7" fmla="*/ 7869 h 15737"/>
                <a:gd name="connsiteX8" fmla="*/ 2755 w 11802"/>
                <a:gd name="connsiteY8" fmla="*/ 11016 h 15737"/>
                <a:gd name="connsiteX9" fmla="*/ 3148 w 11802"/>
                <a:gd name="connsiteY9" fmla="*/ 11016 h 15737"/>
                <a:gd name="connsiteX10" fmla="*/ 6295 w 11802"/>
                <a:gd name="connsiteY10" fmla="*/ 12196 h 15737"/>
                <a:gd name="connsiteX11" fmla="*/ 9049 w 11802"/>
                <a:gd name="connsiteY11" fmla="*/ 14557 h 15737"/>
                <a:gd name="connsiteX12" fmla="*/ 6295 w 11802"/>
                <a:gd name="connsiteY12" fmla="*/ 13770 h 15737"/>
                <a:gd name="connsiteX13" fmla="*/ 5115 w 11802"/>
                <a:gd name="connsiteY13" fmla="*/ 16918 h 15737"/>
                <a:gd name="connsiteX14" fmla="*/ 8262 w 11802"/>
                <a:gd name="connsiteY14" fmla="*/ 16918 h 15737"/>
                <a:gd name="connsiteX15" fmla="*/ 11016 w 11802"/>
                <a:gd name="connsiteY15" fmla="*/ 1573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802" h="15737">
                  <a:moveTo>
                    <a:pt x="12197" y="12983"/>
                  </a:moveTo>
                  <a:lnTo>
                    <a:pt x="12983" y="7082"/>
                  </a:lnTo>
                  <a:lnTo>
                    <a:pt x="10623" y="4328"/>
                  </a:lnTo>
                  <a:lnTo>
                    <a:pt x="8262" y="1574"/>
                  </a:lnTo>
                  <a:lnTo>
                    <a:pt x="5509" y="0"/>
                  </a:lnTo>
                  <a:lnTo>
                    <a:pt x="3148" y="2754"/>
                  </a:lnTo>
                  <a:lnTo>
                    <a:pt x="0" y="5115"/>
                  </a:lnTo>
                  <a:lnTo>
                    <a:pt x="1574" y="7869"/>
                  </a:lnTo>
                  <a:lnTo>
                    <a:pt x="2755" y="11016"/>
                  </a:lnTo>
                  <a:lnTo>
                    <a:pt x="3148" y="11016"/>
                  </a:lnTo>
                  <a:lnTo>
                    <a:pt x="6295" y="12196"/>
                  </a:lnTo>
                  <a:lnTo>
                    <a:pt x="9049" y="14557"/>
                  </a:lnTo>
                  <a:lnTo>
                    <a:pt x="6295" y="13770"/>
                  </a:lnTo>
                  <a:lnTo>
                    <a:pt x="5115" y="16918"/>
                  </a:lnTo>
                  <a:lnTo>
                    <a:pt x="8262" y="16918"/>
                  </a:lnTo>
                  <a:lnTo>
                    <a:pt x="11016" y="1573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38" name="Freeform: Shape 3732">
              <a:extLst>
                <a:ext uri="{FF2B5EF4-FFF2-40B4-BE49-F238E27FC236}">
                  <a16:creationId xmlns:a16="http://schemas.microsoft.com/office/drawing/2014/main" id="{2BAF2745-9746-4E96-8E50-B83F37B615B4}"/>
                </a:ext>
              </a:extLst>
            </p:cNvPr>
            <p:cNvSpPr/>
            <p:nvPr/>
          </p:nvSpPr>
          <p:spPr>
            <a:xfrm>
              <a:off x="9050633" y="3539595"/>
              <a:ext cx="3934" cy="3934"/>
            </a:xfrm>
            <a:custGeom>
              <a:avLst/>
              <a:gdLst>
                <a:gd name="connsiteX0" fmla="*/ 0 w 3934"/>
                <a:gd name="connsiteY0" fmla="*/ 787 h 3934"/>
                <a:gd name="connsiteX1" fmla="*/ 0 w 3934"/>
                <a:gd name="connsiteY1" fmla="*/ 3541 h 3934"/>
                <a:gd name="connsiteX2" fmla="*/ 0 w 3934"/>
                <a:gd name="connsiteY2" fmla="*/ 6688 h 3934"/>
                <a:gd name="connsiteX3" fmla="*/ 3148 w 3934"/>
                <a:gd name="connsiteY3" fmla="*/ 6688 h 3934"/>
                <a:gd name="connsiteX4" fmla="*/ 3934 w 3934"/>
                <a:gd name="connsiteY4" fmla="*/ 3541 h 3934"/>
                <a:gd name="connsiteX5" fmla="*/ 3541 w 3934"/>
                <a:gd name="connsiteY5" fmla="*/ 787 h 3934"/>
                <a:gd name="connsiteX6" fmla="*/ 2754 w 3934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0" y="787"/>
                  </a:moveTo>
                  <a:lnTo>
                    <a:pt x="0" y="3541"/>
                  </a:lnTo>
                  <a:lnTo>
                    <a:pt x="0" y="6688"/>
                  </a:lnTo>
                  <a:lnTo>
                    <a:pt x="3148" y="6688"/>
                  </a:lnTo>
                  <a:lnTo>
                    <a:pt x="3934" y="3541"/>
                  </a:lnTo>
                  <a:lnTo>
                    <a:pt x="3541" y="78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39" name="Freeform: Shape 3733">
              <a:extLst>
                <a:ext uri="{FF2B5EF4-FFF2-40B4-BE49-F238E27FC236}">
                  <a16:creationId xmlns:a16="http://schemas.microsoft.com/office/drawing/2014/main" id="{594B5FE7-16A3-45DE-AE8F-800D4C58102A}"/>
                </a:ext>
              </a:extLst>
            </p:cNvPr>
            <p:cNvSpPr/>
            <p:nvPr/>
          </p:nvSpPr>
          <p:spPr>
            <a:xfrm>
              <a:off x="9237116" y="3427075"/>
              <a:ext cx="3934" cy="3934"/>
            </a:xfrm>
            <a:custGeom>
              <a:avLst/>
              <a:gdLst>
                <a:gd name="connsiteX0" fmla="*/ 1574 w 0"/>
                <a:gd name="connsiteY0" fmla="*/ 394 h 0"/>
                <a:gd name="connsiteX1" fmla="*/ 0 w 0"/>
                <a:gd name="connsiteY1" fmla="*/ 3147 h 0"/>
                <a:gd name="connsiteX2" fmla="*/ 196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394"/>
                  </a:moveTo>
                  <a:lnTo>
                    <a:pt x="0" y="3147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40" name="Freeform: Shape 3734">
              <a:extLst>
                <a:ext uri="{FF2B5EF4-FFF2-40B4-BE49-F238E27FC236}">
                  <a16:creationId xmlns:a16="http://schemas.microsoft.com/office/drawing/2014/main" id="{013DE3A5-3C23-488A-80DC-9BEF19BE34E1}"/>
                </a:ext>
              </a:extLst>
            </p:cNvPr>
            <p:cNvSpPr/>
            <p:nvPr/>
          </p:nvSpPr>
          <p:spPr>
            <a:xfrm>
              <a:off x="9036469" y="3392453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0 w 0"/>
                <a:gd name="connsiteY1" fmla="*/ 0 h 0"/>
                <a:gd name="connsiteX2" fmla="*/ 1180 w 0"/>
                <a:gd name="connsiteY2" fmla="*/ 2754 h 0"/>
                <a:gd name="connsiteX3" fmla="*/ 3147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0" y="0"/>
                  </a:lnTo>
                  <a:lnTo>
                    <a:pt x="1180" y="2754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41" name="Freeform: Shape 3735">
              <a:extLst>
                <a:ext uri="{FF2B5EF4-FFF2-40B4-BE49-F238E27FC236}">
                  <a16:creationId xmlns:a16="http://schemas.microsoft.com/office/drawing/2014/main" id="{A7FE3FD5-0187-474D-ACF7-D821764DD0A8}"/>
                </a:ext>
              </a:extLst>
            </p:cNvPr>
            <p:cNvSpPr/>
            <p:nvPr/>
          </p:nvSpPr>
          <p:spPr>
            <a:xfrm>
              <a:off x="9229642" y="3387732"/>
              <a:ext cx="3934" cy="3934"/>
            </a:xfrm>
            <a:custGeom>
              <a:avLst/>
              <a:gdLst>
                <a:gd name="connsiteX0" fmla="*/ 0 w 0"/>
                <a:gd name="connsiteY0" fmla="*/ 394 h 0"/>
                <a:gd name="connsiteX1" fmla="*/ 3148 w 0"/>
                <a:gd name="connsiteY1" fmla="*/ 2361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4"/>
                  </a:moveTo>
                  <a:lnTo>
                    <a:pt x="3148" y="236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42" name="Freeform: Shape 3736">
              <a:extLst>
                <a:ext uri="{FF2B5EF4-FFF2-40B4-BE49-F238E27FC236}">
                  <a16:creationId xmlns:a16="http://schemas.microsoft.com/office/drawing/2014/main" id="{B716D87D-53E1-4BE2-9730-2BB1AB381430}"/>
                </a:ext>
              </a:extLst>
            </p:cNvPr>
            <p:cNvSpPr/>
            <p:nvPr/>
          </p:nvSpPr>
          <p:spPr>
            <a:xfrm>
              <a:off x="9219806" y="3393634"/>
              <a:ext cx="3934" cy="3934"/>
            </a:xfrm>
            <a:custGeom>
              <a:avLst/>
              <a:gdLst>
                <a:gd name="connsiteX0" fmla="*/ 787 w 3934"/>
                <a:gd name="connsiteY0" fmla="*/ 1574 h 3934"/>
                <a:gd name="connsiteX1" fmla="*/ 0 w 3934"/>
                <a:gd name="connsiteY1" fmla="*/ 0 h 3934"/>
                <a:gd name="connsiteX2" fmla="*/ 1180 w 3934"/>
                <a:gd name="connsiteY2" fmla="*/ 3147 h 3934"/>
                <a:gd name="connsiteX3" fmla="*/ 3148 w 3934"/>
                <a:gd name="connsiteY3" fmla="*/ 5901 h 3934"/>
                <a:gd name="connsiteX4" fmla="*/ 5901 w 3934"/>
                <a:gd name="connsiteY4" fmla="*/ 7082 h 3934"/>
                <a:gd name="connsiteX5" fmla="*/ 3148 w 3934"/>
                <a:gd name="connsiteY5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787" y="1574"/>
                  </a:moveTo>
                  <a:lnTo>
                    <a:pt x="0" y="0"/>
                  </a:lnTo>
                  <a:lnTo>
                    <a:pt x="1180" y="3147"/>
                  </a:lnTo>
                  <a:lnTo>
                    <a:pt x="3148" y="5901"/>
                  </a:lnTo>
                  <a:lnTo>
                    <a:pt x="5901" y="7082"/>
                  </a:lnTo>
                  <a:lnTo>
                    <a:pt x="3148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43" name="Freeform: Shape 3737">
              <a:extLst>
                <a:ext uri="{FF2B5EF4-FFF2-40B4-BE49-F238E27FC236}">
                  <a16:creationId xmlns:a16="http://schemas.microsoft.com/office/drawing/2014/main" id="{EB402C54-CB7F-4C77-A77A-57D4D963D82F}"/>
                </a:ext>
              </a:extLst>
            </p:cNvPr>
            <p:cNvSpPr/>
            <p:nvPr/>
          </p:nvSpPr>
          <p:spPr>
            <a:xfrm>
              <a:off x="9090762" y="3653688"/>
              <a:ext cx="7869" cy="11803"/>
            </a:xfrm>
            <a:custGeom>
              <a:avLst/>
              <a:gdLst>
                <a:gd name="connsiteX0" fmla="*/ 4328 w 7868"/>
                <a:gd name="connsiteY0" fmla="*/ 1967 h 11802"/>
                <a:gd name="connsiteX1" fmla="*/ 1574 w 7868"/>
                <a:gd name="connsiteY1" fmla="*/ 1574 h 11802"/>
                <a:gd name="connsiteX2" fmla="*/ 0 w 7868"/>
                <a:gd name="connsiteY2" fmla="*/ 4328 h 11802"/>
                <a:gd name="connsiteX3" fmla="*/ 0 w 7868"/>
                <a:gd name="connsiteY3" fmla="*/ 7475 h 11802"/>
                <a:gd name="connsiteX4" fmla="*/ 1180 w 7868"/>
                <a:gd name="connsiteY4" fmla="*/ 10229 h 11802"/>
                <a:gd name="connsiteX5" fmla="*/ 3541 w 7868"/>
                <a:gd name="connsiteY5" fmla="*/ 12983 h 11802"/>
                <a:gd name="connsiteX6" fmla="*/ 6689 w 7868"/>
                <a:gd name="connsiteY6" fmla="*/ 13770 h 11802"/>
                <a:gd name="connsiteX7" fmla="*/ 9442 w 7868"/>
                <a:gd name="connsiteY7" fmla="*/ 11409 h 11802"/>
                <a:gd name="connsiteX8" fmla="*/ 9836 w 7868"/>
                <a:gd name="connsiteY8" fmla="*/ 8655 h 11802"/>
                <a:gd name="connsiteX9" fmla="*/ 11409 w 7868"/>
                <a:gd name="connsiteY9" fmla="*/ 5901 h 11802"/>
                <a:gd name="connsiteX10" fmla="*/ 10229 w 7868"/>
                <a:gd name="connsiteY10" fmla="*/ 2754 h 11802"/>
                <a:gd name="connsiteX11" fmla="*/ 7475 w 7868"/>
                <a:gd name="connsiteY11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868" h="11802">
                  <a:moveTo>
                    <a:pt x="4328" y="1967"/>
                  </a:moveTo>
                  <a:lnTo>
                    <a:pt x="1574" y="1574"/>
                  </a:lnTo>
                  <a:lnTo>
                    <a:pt x="0" y="4328"/>
                  </a:lnTo>
                  <a:lnTo>
                    <a:pt x="0" y="7475"/>
                  </a:lnTo>
                  <a:lnTo>
                    <a:pt x="1180" y="10229"/>
                  </a:lnTo>
                  <a:lnTo>
                    <a:pt x="3541" y="12983"/>
                  </a:lnTo>
                  <a:lnTo>
                    <a:pt x="6689" y="13770"/>
                  </a:lnTo>
                  <a:lnTo>
                    <a:pt x="9442" y="11409"/>
                  </a:lnTo>
                  <a:lnTo>
                    <a:pt x="9836" y="8655"/>
                  </a:lnTo>
                  <a:lnTo>
                    <a:pt x="11409" y="5901"/>
                  </a:lnTo>
                  <a:lnTo>
                    <a:pt x="10229" y="2754"/>
                  </a:lnTo>
                  <a:lnTo>
                    <a:pt x="747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44" name="Freeform: Shape 3738">
              <a:extLst>
                <a:ext uri="{FF2B5EF4-FFF2-40B4-BE49-F238E27FC236}">
                  <a16:creationId xmlns:a16="http://schemas.microsoft.com/office/drawing/2014/main" id="{F0CF4680-2870-44D3-A89E-2DD19DE410EA}"/>
                </a:ext>
              </a:extLst>
            </p:cNvPr>
            <p:cNvSpPr/>
            <p:nvPr/>
          </p:nvSpPr>
          <p:spPr>
            <a:xfrm>
              <a:off x="9317769" y="3639132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148 w 0"/>
                <a:gd name="connsiteY1" fmla="*/ 393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148" y="39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45" name="Freeform: Shape 3739">
              <a:extLst>
                <a:ext uri="{FF2B5EF4-FFF2-40B4-BE49-F238E27FC236}">
                  <a16:creationId xmlns:a16="http://schemas.microsoft.com/office/drawing/2014/main" id="{6C75024A-6F07-4ADD-B1CA-D85DF305790A}"/>
                </a:ext>
              </a:extLst>
            </p:cNvPr>
            <p:cNvSpPr/>
            <p:nvPr/>
          </p:nvSpPr>
          <p:spPr>
            <a:xfrm>
              <a:off x="9172201" y="3628116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0 w 0"/>
                <a:gd name="connsiteY1" fmla="*/ 3147 h 0"/>
                <a:gd name="connsiteX2" fmla="*/ 2754 w 0"/>
                <a:gd name="connsiteY2" fmla="*/ 2754 h 0"/>
                <a:gd name="connsiteX3" fmla="*/ 1574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0" y="3147"/>
                  </a:lnTo>
                  <a:lnTo>
                    <a:pt x="2754" y="2754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46" name="Freeform: Shape 3740">
              <a:extLst>
                <a:ext uri="{FF2B5EF4-FFF2-40B4-BE49-F238E27FC236}">
                  <a16:creationId xmlns:a16="http://schemas.microsoft.com/office/drawing/2014/main" id="{4EA6D9A5-44B9-4B94-8C92-752540EE435E}"/>
                </a:ext>
              </a:extLst>
            </p:cNvPr>
            <p:cNvSpPr/>
            <p:nvPr/>
          </p:nvSpPr>
          <p:spPr>
            <a:xfrm>
              <a:off x="9218626" y="3623001"/>
              <a:ext cx="3934" cy="3934"/>
            </a:xfrm>
            <a:custGeom>
              <a:avLst/>
              <a:gdLst>
                <a:gd name="connsiteX0" fmla="*/ 2754 w 0"/>
                <a:gd name="connsiteY0" fmla="*/ 4328 h 3934"/>
                <a:gd name="connsiteX1" fmla="*/ 3148 w 0"/>
                <a:gd name="connsiteY1" fmla="*/ 1180 h 3934"/>
                <a:gd name="connsiteX2" fmla="*/ 0 w 0"/>
                <a:gd name="connsiteY2" fmla="*/ 0 h 3934"/>
                <a:gd name="connsiteX3" fmla="*/ 787 w 0"/>
                <a:gd name="connsiteY3" fmla="*/ 2754 h 3934"/>
                <a:gd name="connsiteX4" fmla="*/ 787 w 0"/>
                <a:gd name="connsiteY4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2754" y="4328"/>
                  </a:moveTo>
                  <a:lnTo>
                    <a:pt x="3148" y="1180"/>
                  </a:lnTo>
                  <a:lnTo>
                    <a:pt x="0" y="0"/>
                  </a:lnTo>
                  <a:lnTo>
                    <a:pt x="787" y="2754"/>
                  </a:lnTo>
                  <a:lnTo>
                    <a:pt x="78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47" name="Freeform: Shape 3741">
              <a:extLst>
                <a:ext uri="{FF2B5EF4-FFF2-40B4-BE49-F238E27FC236}">
                  <a16:creationId xmlns:a16="http://schemas.microsoft.com/office/drawing/2014/main" id="{469EEB60-29F7-4885-80D4-C54417DAC2A3}"/>
                </a:ext>
              </a:extLst>
            </p:cNvPr>
            <p:cNvSpPr/>
            <p:nvPr/>
          </p:nvSpPr>
          <p:spPr>
            <a:xfrm>
              <a:off x="9311867" y="3624181"/>
              <a:ext cx="3934" cy="3934"/>
            </a:xfrm>
            <a:custGeom>
              <a:avLst/>
              <a:gdLst>
                <a:gd name="connsiteX0" fmla="*/ 1967 w 0"/>
                <a:gd name="connsiteY0" fmla="*/ 0 h 0"/>
                <a:gd name="connsiteX1" fmla="*/ 0 w 0"/>
                <a:gd name="connsiteY1" fmla="*/ 2754 h 0"/>
                <a:gd name="connsiteX2" fmla="*/ 394 w 0"/>
                <a:gd name="connsiteY2" fmla="*/ 3541 h 0"/>
                <a:gd name="connsiteX3" fmla="*/ 3148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967" y="0"/>
                  </a:moveTo>
                  <a:lnTo>
                    <a:pt x="0" y="2754"/>
                  </a:lnTo>
                  <a:lnTo>
                    <a:pt x="394" y="3541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48" name="Freeform: Shape 3742">
              <a:extLst>
                <a:ext uri="{FF2B5EF4-FFF2-40B4-BE49-F238E27FC236}">
                  <a16:creationId xmlns:a16="http://schemas.microsoft.com/office/drawing/2014/main" id="{3C983C66-4AEA-4FC2-B2C5-08BD822932DA}"/>
                </a:ext>
              </a:extLst>
            </p:cNvPr>
            <p:cNvSpPr/>
            <p:nvPr/>
          </p:nvSpPr>
          <p:spPr>
            <a:xfrm>
              <a:off x="9234756" y="3611198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2754 h 0"/>
                <a:gd name="connsiteX2" fmla="*/ 196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2754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49" name="Freeform: Shape 3743">
              <a:extLst>
                <a:ext uri="{FF2B5EF4-FFF2-40B4-BE49-F238E27FC236}">
                  <a16:creationId xmlns:a16="http://schemas.microsoft.com/office/drawing/2014/main" id="{C8EF17B5-518F-40EE-BC39-A9D596F32ADE}"/>
                </a:ext>
              </a:extLst>
            </p:cNvPr>
            <p:cNvSpPr/>
            <p:nvPr/>
          </p:nvSpPr>
          <p:spPr>
            <a:xfrm>
              <a:off x="9121843" y="3687916"/>
              <a:ext cx="15737" cy="11803"/>
            </a:xfrm>
            <a:custGeom>
              <a:avLst/>
              <a:gdLst>
                <a:gd name="connsiteX0" fmla="*/ 3934 w 15737"/>
                <a:gd name="connsiteY0" fmla="*/ 11409 h 11802"/>
                <a:gd name="connsiteX1" fmla="*/ 6689 w 15737"/>
                <a:gd name="connsiteY1" fmla="*/ 10623 h 11802"/>
                <a:gd name="connsiteX2" fmla="*/ 9836 w 15737"/>
                <a:gd name="connsiteY2" fmla="*/ 11016 h 11802"/>
                <a:gd name="connsiteX3" fmla="*/ 12983 w 15737"/>
                <a:gd name="connsiteY3" fmla="*/ 10623 h 11802"/>
                <a:gd name="connsiteX4" fmla="*/ 15737 w 15737"/>
                <a:gd name="connsiteY4" fmla="*/ 11803 h 11802"/>
                <a:gd name="connsiteX5" fmla="*/ 18491 w 15737"/>
                <a:gd name="connsiteY5" fmla="*/ 13770 h 11802"/>
                <a:gd name="connsiteX6" fmla="*/ 18885 w 15737"/>
                <a:gd name="connsiteY6" fmla="*/ 11016 h 11802"/>
                <a:gd name="connsiteX7" fmla="*/ 17311 w 15737"/>
                <a:gd name="connsiteY7" fmla="*/ 8262 h 11802"/>
                <a:gd name="connsiteX8" fmla="*/ 14163 w 15737"/>
                <a:gd name="connsiteY8" fmla="*/ 5901 h 11802"/>
                <a:gd name="connsiteX9" fmla="*/ 11409 w 15737"/>
                <a:gd name="connsiteY9" fmla="*/ 3934 h 11802"/>
                <a:gd name="connsiteX10" fmla="*/ 8656 w 15737"/>
                <a:gd name="connsiteY10" fmla="*/ 3148 h 11802"/>
                <a:gd name="connsiteX11" fmla="*/ 5901 w 15737"/>
                <a:gd name="connsiteY11" fmla="*/ 2754 h 11802"/>
                <a:gd name="connsiteX12" fmla="*/ 4328 w 15737"/>
                <a:gd name="connsiteY12" fmla="*/ 0 h 11802"/>
                <a:gd name="connsiteX13" fmla="*/ 1574 w 15737"/>
                <a:gd name="connsiteY13" fmla="*/ 787 h 11802"/>
                <a:gd name="connsiteX14" fmla="*/ 1967 w 15737"/>
                <a:gd name="connsiteY14" fmla="*/ 3541 h 11802"/>
                <a:gd name="connsiteX15" fmla="*/ 0 w 15737"/>
                <a:gd name="connsiteY15" fmla="*/ 6688 h 11802"/>
                <a:gd name="connsiteX16" fmla="*/ 1180 w 15737"/>
                <a:gd name="connsiteY16" fmla="*/ 9442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737" h="11802">
                  <a:moveTo>
                    <a:pt x="3934" y="11409"/>
                  </a:moveTo>
                  <a:lnTo>
                    <a:pt x="6689" y="10623"/>
                  </a:lnTo>
                  <a:lnTo>
                    <a:pt x="9836" y="11016"/>
                  </a:lnTo>
                  <a:lnTo>
                    <a:pt x="12983" y="10623"/>
                  </a:lnTo>
                  <a:lnTo>
                    <a:pt x="15737" y="11803"/>
                  </a:lnTo>
                  <a:lnTo>
                    <a:pt x="18491" y="13770"/>
                  </a:lnTo>
                  <a:lnTo>
                    <a:pt x="18885" y="11016"/>
                  </a:lnTo>
                  <a:lnTo>
                    <a:pt x="17311" y="8262"/>
                  </a:lnTo>
                  <a:lnTo>
                    <a:pt x="14163" y="5901"/>
                  </a:lnTo>
                  <a:lnTo>
                    <a:pt x="11409" y="3934"/>
                  </a:lnTo>
                  <a:lnTo>
                    <a:pt x="8656" y="3148"/>
                  </a:lnTo>
                  <a:lnTo>
                    <a:pt x="5901" y="2754"/>
                  </a:lnTo>
                  <a:lnTo>
                    <a:pt x="4328" y="0"/>
                  </a:lnTo>
                  <a:lnTo>
                    <a:pt x="1574" y="787"/>
                  </a:lnTo>
                  <a:lnTo>
                    <a:pt x="1967" y="3541"/>
                  </a:lnTo>
                  <a:lnTo>
                    <a:pt x="0" y="6688"/>
                  </a:lnTo>
                  <a:lnTo>
                    <a:pt x="1180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50" name="Freeform: Shape 3744">
              <a:extLst>
                <a:ext uri="{FF2B5EF4-FFF2-40B4-BE49-F238E27FC236}">
                  <a16:creationId xmlns:a16="http://schemas.microsoft.com/office/drawing/2014/main" id="{9BF99DBD-C9B5-4955-9B1D-CE9C75809473}"/>
                </a:ext>
              </a:extLst>
            </p:cNvPr>
            <p:cNvSpPr/>
            <p:nvPr/>
          </p:nvSpPr>
          <p:spPr>
            <a:xfrm>
              <a:off x="9176922" y="3698539"/>
              <a:ext cx="3934" cy="3934"/>
            </a:xfrm>
            <a:custGeom>
              <a:avLst/>
              <a:gdLst>
                <a:gd name="connsiteX0" fmla="*/ 787 w 0"/>
                <a:gd name="connsiteY0" fmla="*/ 3147 h 0"/>
                <a:gd name="connsiteX1" fmla="*/ 1180 w 0"/>
                <a:gd name="connsiteY1" fmla="*/ 314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3147"/>
                  </a:moveTo>
                  <a:lnTo>
                    <a:pt x="1180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51" name="Freeform: Shape 3745">
              <a:extLst>
                <a:ext uri="{FF2B5EF4-FFF2-40B4-BE49-F238E27FC236}">
                  <a16:creationId xmlns:a16="http://schemas.microsoft.com/office/drawing/2014/main" id="{92D6FA0F-E650-4782-B293-FEA08E9051C7}"/>
                </a:ext>
              </a:extLst>
            </p:cNvPr>
            <p:cNvSpPr/>
            <p:nvPr/>
          </p:nvSpPr>
          <p:spPr>
            <a:xfrm>
              <a:off x="9185184" y="3698932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18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52" name="Freeform: Shape 3746">
              <a:extLst>
                <a:ext uri="{FF2B5EF4-FFF2-40B4-BE49-F238E27FC236}">
                  <a16:creationId xmlns:a16="http://schemas.microsoft.com/office/drawing/2014/main" id="{2CED5C1B-D03B-46CA-A04D-435C829E40B9}"/>
                </a:ext>
              </a:extLst>
            </p:cNvPr>
            <p:cNvSpPr/>
            <p:nvPr/>
          </p:nvSpPr>
          <p:spPr>
            <a:xfrm>
              <a:off x="9161579" y="3696965"/>
              <a:ext cx="3934" cy="3934"/>
            </a:xfrm>
            <a:custGeom>
              <a:avLst/>
              <a:gdLst>
                <a:gd name="connsiteX0" fmla="*/ 2754 w 0"/>
                <a:gd name="connsiteY0" fmla="*/ 1967 h 0"/>
                <a:gd name="connsiteX1" fmla="*/ 2754 w 0"/>
                <a:gd name="connsiteY1" fmla="*/ 157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967"/>
                  </a:moveTo>
                  <a:lnTo>
                    <a:pt x="2754" y="15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53" name="Freeform: Shape 3747">
              <a:extLst>
                <a:ext uri="{FF2B5EF4-FFF2-40B4-BE49-F238E27FC236}">
                  <a16:creationId xmlns:a16="http://schemas.microsoft.com/office/drawing/2014/main" id="{C37C394C-AD26-4016-8ADA-88A8C454E678}"/>
                </a:ext>
              </a:extLst>
            </p:cNvPr>
            <p:cNvSpPr/>
            <p:nvPr/>
          </p:nvSpPr>
          <p:spPr>
            <a:xfrm>
              <a:off x="9164726" y="3696965"/>
              <a:ext cx="3934" cy="3934"/>
            </a:xfrm>
            <a:custGeom>
              <a:avLst/>
              <a:gdLst>
                <a:gd name="connsiteX0" fmla="*/ 2754 w 0"/>
                <a:gd name="connsiteY0" fmla="*/ 1574 h 0"/>
                <a:gd name="connsiteX1" fmla="*/ 0 w 0"/>
                <a:gd name="connsiteY1" fmla="*/ 0 h 0"/>
                <a:gd name="connsiteX2" fmla="*/ 2754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574"/>
                  </a:moveTo>
                  <a:lnTo>
                    <a:pt x="0" y="0"/>
                  </a:lnTo>
                  <a:lnTo>
                    <a:pt x="275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54" name="Freeform: Shape 3748">
              <a:extLst>
                <a:ext uri="{FF2B5EF4-FFF2-40B4-BE49-F238E27FC236}">
                  <a16:creationId xmlns:a16="http://schemas.microsoft.com/office/drawing/2014/main" id="{10642782-1091-4310-A977-C393AB1238C9}"/>
                </a:ext>
              </a:extLst>
            </p:cNvPr>
            <p:cNvSpPr/>
            <p:nvPr/>
          </p:nvSpPr>
          <p:spPr>
            <a:xfrm>
              <a:off x="9152137" y="3696965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0 w 0"/>
                <a:gd name="connsiteY1" fmla="*/ 0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0" y="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55" name="Freeform: Shape 3749">
              <a:extLst>
                <a:ext uri="{FF2B5EF4-FFF2-40B4-BE49-F238E27FC236}">
                  <a16:creationId xmlns:a16="http://schemas.microsoft.com/office/drawing/2014/main" id="{4D640147-D7F3-4CCE-B667-9E64C8A9F630}"/>
                </a:ext>
              </a:extLst>
            </p:cNvPr>
            <p:cNvSpPr/>
            <p:nvPr/>
          </p:nvSpPr>
          <p:spPr>
            <a:xfrm>
              <a:off x="9172201" y="3695785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236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236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56" name="Freeform: Shape 3750">
              <a:extLst>
                <a:ext uri="{FF2B5EF4-FFF2-40B4-BE49-F238E27FC236}">
                  <a16:creationId xmlns:a16="http://schemas.microsoft.com/office/drawing/2014/main" id="{70DEFC3D-5BD1-4429-BCBA-C48240103711}"/>
                </a:ext>
              </a:extLst>
            </p:cNvPr>
            <p:cNvSpPr/>
            <p:nvPr/>
          </p:nvSpPr>
          <p:spPr>
            <a:xfrm>
              <a:off x="9176136" y="3684769"/>
              <a:ext cx="11803" cy="11803"/>
            </a:xfrm>
            <a:custGeom>
              <a:avLst/>
              <a:gdLst>
                <a:gd name="connsiteX0" fmla="*/ 8656 w 11802"/>
                <a:gd name="connsiteY0" fmla="*/ 1180 h 11802"/>
                <a:gd name="connsiteX1" fmla="*/ 5901 w 11802"/>
                <a:gd name="connsiteY1" fmla="*/ 0 h 11802"/>
                <a:gd name="connsiteX2" fmla="*/ 3147 w 11802"/>
                <a:gd name="connsiteY2" fmla="*/ 2361 h 11802"/>
                <a:gd name="connsiteX3" fmla="*/ 0 w 11802"/>
                <a:gd name="connsiteY3" fmla="*/ 3934 h 11802"/>
                <a:gd name="connsiteX4" fmla="*/ 1967 w 11802"/>
                <a:gd name="connsiteY4" fmla="*/ 6688 h 11802"/>
                <a:gd name="connsiteX5" fmla="*/ 4721 w 11802"/>
                <a:gd name="connsiteY5" fmla="*/ 6295 h 11802"/>
                <a:gd name="connsiteX6" fmla="*/ 7475 w 11802"/>
                <a:gd name="connsiteY6" fmla="*/ 6295 h 11802"/>
                <a:gd name="connsiteX7" fmla="*/ 7869 w 11802"/>
                <a:gd name="connsiteY7" fmla="*/ 9049 h 11802"/>
                <a:gd name="connsiteX8" fmla="*/ 8262 w 11802"/>
                <a:gd name="connsiteY8" fmla="*/ 11803 h 11802"/>
                <a:gd name="connsiteX9" fmla="*/ 11016 w 11802"/>
                <a:gd name="connsiteY9" fmla="*/ 12196 h 11802"/>
                <a:gd name="connsiteX10" fmla="*/ 12983 w 11802"/>
                <a:gd name="connsiteY10" fmla="*/ 9049 h 11802"/>
                <a:gd name="connsiteX11" fmla="*/ 13377 w 11802"/>
                <a:gd name="connsiteY11" fmla="*/ 5901 h 11802"/>
                <a:gd name="connsiteX12" fmla="*/ 11409 w 11802"/>
                <a:gd name="connsiteY12" fmla="*/ 3147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11802">
                  <a:moveTo>
                    <a:pt x="8656" y="1180"/>
                  </a:moveTo>
                  <a:lnTo>
                    <a:pt x="5901" y="0"/>
                  </a:lnTo>
                  <a:lnTo>
                    <a:pt x="3147" y="2361"/>
                  </a:lnTo>
                  <a:lnTo>
                    <a:pt x="0" y="3934"/>
                  </a:lnTo>
                  <a:lnTo>
                    <a:pt x="1967" y="6688"/>
                  </a:lnTo>
                  <a:lnTo>
                    <a:pt x="4721" y="6295"/>
                  </a:lnTo>
                  <a:lnTo>
                    <a:pt x="7475" y="6295"/>
                  </a:lnTo>
                  <a:lnTo>
                    <a:pt x="7869" y="9049"/>
                  </a:lnTo>
                  <a:lnTo>
                    <a:pt x="8262" y="11803"/>
                  </a:lnTo>
                  <a:lnTo>
                    <a:pt x="11016" y="12196"/>
                  </a:lnTo>
                  <a:lnTo>
                    <a:pt x="12983" y="9049"/>
                  </a:lnTo>
                  <a:lnTo>
                    <a:pt x="13377" y="5901"/>
                  </a:lnTo>
                  <a:lnTo>
                    <a:pt x="11409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57" name="Freeform: Shape 3751">
              <a:extLst>
                <a:ext uri="{FF2B5EF4-FFF2-40B4-BE49-F238E27FC236}">
                  <a16:creationId xmlns:a16="http://schemas.microsoft.com/office/drawing/2014/main" id="{5E5B79EA-500B-4B00-B4A4-213D503E5EA1}"/>
                </a:ext>
              </a:extLst>
            </p:cNvPr>
            <p:cNvSpPr/>
            <p:nvPr/>
          </p:nvSpPr>
          <p:spPr>
            <a:xfrm>
              <a:off x="9129711" y="3685949"/>
              <a:ext cx="11803" cy="7869"/>
            </a:xfrm>
            <a:custGeom>
              <a:avLst/>
              <a:gdLst>
                <a:gd name="connsiteX0" fmla="*/ 14557 w 11802"/>
                <a:gd name="connsiteY0" fmla="*/ 10623 h 7868"/>
                <a:gd name="connsiteX1" fmla="*/ 14163 w 11802"/>
                <a:gd name="connsiteY1" fmla="*/ 8655 h 7868"/>
                <a:gd name="connsiteX2" fmla="*/ 11803 w 11802"/>
                <a:gd name="connsiteY2" fmla="*/ 5901 h 7868"/>
                <a:gd name="connsiteX3" fmla="*/ 9049 w 11802"/>
                <a:gd name="connsiteY3" fmla="*/ 3148 h 7868"/>
                <a:gd name="connsiteX4" fmla="*/ 5901 w 11802"/>
                <a:gd name="connsiteY4" fmla="*/ 1180 h 7868"/>
                <a:gd name="connsiteX5" fmla="*/ 3148 w 11802"/>
                <a:gd name="connsiteY5" fmla="*/ 0 h 7868"/>
                <a:gd name="connsiteX6" fmla="*/ 0 w 11802"/>
                <a:gd name="connsiteY6" fmla="*/ 1967 h 7868"/>
                <a:gd name="connsiteX7" fmla="*/ 0 w 11802"/>
                <a:gd name="connsiteY7" fmla="*/ 5115 h 7868"/>
                <a:gd name="connsiteX8" fmla="*/ 3148 w 11802"/>
                <a:gd name="connsiteY8" fmla="*/ 4328 h 7868"/>
                <a:gd name="connsiteX9" fmla="*/ 5901 w 11802"/>
                <a:gd name="connsiteY9" fmla="*/ 6295 h 7868"/>
                <a:gd name="connsiteX10" fmla="*/ 8656 w 11802"/>
                <a:gd name="connsiteY10" fmla="*/ 9049 h 7868"/>
                <a:gd name="connsiteX11" fmla="*/ 11803 w 11802"/>
                <a:gd name="connsiteY11" fmla="*/ 11016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7868">
                  <a:moveTo>
                    <a:pt x="14557" y="10623"/>
                  </a:moveTo>
                  <a:lnTo>
                    <a:pt x="14163" y="8655"/>
                  </a:lnTo>
                  <a:lnTo>
                    <a:pt x="11803" y="5901"/>
                  </a:lnTo>
                  <a:lnTo>
                    <a:pt x="9049" y="3148"/>
                  </a:lnTo>
                  <a:lnTo>
                    <a:pt x="5901" y="1180"/>
                  </a:lnTo>
                  <a:lnTo>
                    <a:pt x="3148" y="0"/>
                  </a:lnTo>
                  <a:lnTo>
                    <a:pt x="0" y="1967"/>
                  </a:lnTo>
                  <a:lnTo>
                    <a:pt x="0" y="5115"/>
                  </a:lnTo>
                  <a:lnTo>
                    <a:pt x="3148" y="4328"/>
                  </a:lnTo>
                  <a:lnTo>
                    <a:pt x="5901" y="6295"/>
                  </a:lnTo>
                  <a:lnTo>
                    <a:pt x="8656" y="9049"/>
                  </a:lnTo>
                  <a:lnTo>
                    <a:pt x="11803" y="1101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58" name="Freeform: Shape 3752">
              <a:extLst>
                <a:ext uri="{FF2B5EF4-FFF2-40B4-BE49-F238E27FC236}">
                  <a16:creationId xmlns:a16="http://schemas.microsoft.com/office/drawing/2014/main" id="{257ABD98-0635-4A9F-A335-5E56C6742AAD}"/>
                </a:ext>
              </a:extLst>
            </p:cNvPr>
            <p:cNvSpPr/>
            <p:nvPr/>
          </p:nvSpPr>
          <p:spPr>
            <a:xfrm>
              <a:off x="9115548" y="3677687"/>
              <a:ext cx="7869" cy="15737"/>
            </a:xfrm>
            <a:custGeom>
              <a:avLst/>
              <a:gdLst>
                <a:gd name="connsiteX0" fmla="*/ 787 w 7868"/>
                <a:gd name="connsiteY0" fmla="*/ 8655 h 15737"/>
                <a:gd name="connsiteX1" fmla="*/ 787 w 7868"/>
                <a:gd name="connsiteY1" fmla="*/ 11803 h 15737"/>
                <a:gd name="connsiteX2" fmla="*/ 3148 w 7868"/>
                <a:gd name="connsiteY2" fmla="*/ 14557 h 15737"/>
                <a:gd name="connsiteX3" fmla="*/ 6295 w 7868"/>
                <a:gd name="connsiteY3" fmla="*/ 15737 h 15737"/>
                <a:gd name="connsiteX4" fmla="*/ 7082 w 7868"/>
                <a:gd name="connsiteY4" fmla="*/ 12590 h 15737"/>
                <a:gd name="connsiteX5" fmla="*/ 7082 w 7868"/>
                <a:gd name="connsiteY5" fmla="*/ 9836 h 15737"/>
                <a:gd name="connsiteX6" fmla="*/ 7869 w 7868"/>
                <a:gd name="connsiteY6" fmla="*/ 7082 h 15737"/>
                <a:gd name="connsiteX7" fmla="*/ 7869 w 7868"/>
                <a:gd name="connsiteY7" fmla="*/ 6688 h 15737"/>
                <a:gd name="connsiteX8" fmla="*/ 5901 w 7868"/>
                <a:gd name="connsiteY8" fmla="*/ 3934 h 15737"/>
                <a:gd name="connsiteX9" fmla="*/ 3148 w 7868"/>
                <a:gd name="connsiteY9" fmla="*/ 1180 h 15737"/>
                <a:gd name="connsiteX10" fmla="*/ 0 w 7868"/>
                <a:gd name="connsiteY10" fmla="*/ 0 h 15737"/>
                <a:gd name="connsiteX11" fmla="*/ 0 w 7868"/>
                <a:gd name="connsiteY11" fmla="*/ 3147 h 15737"/>
                <a:gd name="connsiteX12" fmla="*/ 0 w 7868"/>
                <a:gd name="connsiteY12" fmla="*/ 5901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868" h="15737">
                  <a:moveTo>
                    <a:pt x="787" y="8655"/>
                  </a:moveTo>
                  <a:lnTo>
                    <a:pt x="787" y="11803"/>
                  </a:lnTo>
                  <a:lnTo>
                    <a:pt x="3148" y="14557"/>
                  </a:lnTo>
                  <a:lnTo>
                    <a:pt x="6295" y="15737"/>
                  </a:lnTo>
                  <a:lnTo>
                    <a:pt x="7082" y="12590"/>
                  </a:lnTo>
                  <a:lnTo>
                    <a:pt x="7082" y="9836"/>
                  </a:lnTo>
                  <a:lnTo>
                    <a:pt x="7869" y="7082"/>
                  </a:lnTo>
                  <a:lnTo>
                    <a:pt x="7869" y="6688"/>
                  </a:lnTo>
                  <a:lnTo>
                    <a:pt x="5901" y="3934"/>
                  </a:lnTo>
                  <a:lnTo>
                    <a:pt x="3148" y="1180"/>
                  </a:lnTo>
                  <a:lnTo>
                    <a:pt x="0" y="0"/>
                  </a:lnTo>
                  <a:lnTo>
                    <a:pt x="0" y="3147"/>
                  </a:lnTo>
                  <a:lnTo>
                    <a:pt x="0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59" name="Freeform: Shape 3753">
              <a:extLst>
                <a:ext uri="{FF2B5EF4-FFF2-40B4-BE49-F238E27FC236}">
                  <a16:creationId xmlns:a16="http://schemas.microsoft.com/office/drawing/2014/main" id="{6F96A4DA-4CF8-47A3-B125-06A7CF8098DA}"/>
                </a:ext>
              </a:extLst>
            </p:cNvPr>
            <p:cNvSpPr/>
            <p:nvPr/>
          </p:nvSpPr>
          <p:spPr>
            <a:xfrm>
              <a:off x="9164333" y="3691457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787 h 0"/>
                <a:gd name="connsiteX2" fmla="*/ 314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787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60" name="Freeform: Shape 3754">
              <a:extLst>
                <a:ext uri="{FF2B5EF4-FFF2-40B4-BE49-F238E27FC236}">
                  <a16:creationId xmlns:a16="http://schemas.microsoft.com/office/drawing/2014/main" id="{70C0D185-9CF8-4662-AE9C-C85B68DE9225}"/>
                </a:ext>
              </a:extLst>
            </p:cNvPr>
            <p:cNvSpPr/>
            <p:nvPr/>
          </p:nvSpPr>
          <p:spPr>
            <a:xfrm>
              <a:off x="9167874" y="3685163"/>
              <a:ext cx="3934" cy="3934"/>
            </a:xfrm>
            <a:custGeom>
              <a:avLst/>
              <a:gdLst>
                <a:gd name="connsiteX0" fmla="*/ 5114 w 3934"/>
                <a:gd name="connsiteY0" fmla="*/ 0 h 3934"/>
                <a:gd name="connsiteX1" fmla="*/ 2360 w 3934"/>
                <a:gd name="connsiteY1" fmla="*/ 0 h 3934"/>
                <a:gd name="connsiteX2" fmla="*/ 0 w 3934"/>
                <a:gd name="connsiteY2" fmla="*/ 2754 h 3934"/>
                <a:gd name="connsiteX3" fmla="*/ 0 w 3934"/>
                <a:gd name="connsiteY3" fmla="*/ 5901 h 3934"/>
                <a:gd name="connsiteX4" fmla="*/ 2754 w 3934"/>
                <a:gd name="connsiteY4" fmla="*/ 6688 h 3934"/>
                <a:gd name="connsiteX5" fmla="*/ 5508 w 3934"/>
                <a:gd name="connsiteY5" fmla="*/ 4721 h 3934"/>
                <a:gd name="connsiteX6" fmla="*/ 5901 w 3934"/>
                <a:gd name="connsiteY6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5114" y="0"/>
                  </a:moveTo>
                  <a:lnTo>
                    <a:pt x="2360" y="0"/>
                  </a:lnTo>
                  <a:lnTo>
                    <a:pt x="0" y="2754"/>
                  </a:lnTo>
                  <a:lnTo>
                    <a:pt x="0" y="5901"/>
                  </a:lnTo>
                  <a:lnTo>
                    <a:pt x="2754" y="6688"/>
                  </a:lnTo>
                  <a:lnTo>
                    <a:pt x="5508" y="4721"/>
                  </a:lnTo>
                  <a:lnTo>
                    <a:pt x="590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61" name="Freeform: Shape 3755">
              <a:extLst>
                <a:ext uri="{FF2B5EF4-FFF2-40B4-BE49-F238E27FC236}">
                  <a16:creationId xmlns:a16="http://schemas.microsoft.com/office/drawing/2014/main" id="{443C5107-97DF-47E8-9680-8F9EEBA9961A}"/>
                </a:ext>
              </a:extLst>
            </p:cNvPr>
            <p:cNvSpPr/>
            <p:nvPr/>
          </p:nvSpPr>
          <p:spPr>
            <a:xfrm>
              <a:off x="9148989" y="3687916"/>
              <a:ext cx="3934" cy="3934"/>
            </a:xfrm>
            <a:custGeom>
              <a:avLst/>
              <a:gdLst>
                <a:gd name="connsiteX0" fmla="*/ 3148 w 0"/>
                <a:gd name="connsiteY0" fmla="*/ 1967 h 0"/>
                <a:gd name="connsiteX1" fmla="*/ 0 w 0"/>
                <a:gd name="connsiteY1" fmla="*/ 0 h 0"/>
                <a:gd name="connsiteX2" fmla="*/ 393 w 0"/>
                <a:gd name="connsiteY2" fmla="*/ 3148 h 0"/>
                <a:gd name="connsiteX3" fmla="*/ 3148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48" y="1967"/>
                  </a:moveTo>
                  <a:lnTo>
                    <a:pt x="0" y="0"/>
                  </a:lnTo>
                  <a:lnTo>
                    <a:pt x="393" y="3148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62" name="Freeform: Shape 3756">
              <a:extLst>
                <a:ext uri="{FF2B5EF4-FFF2-40B4-BE49-F238E27FC236}">
                  <a16:creationId xmlns:a16="http://schemas.microsoft.com/office/drawing/2014/main" id="{2021659D-83B2-4718-B7FC-09D031B0C9C7}"/>
                </a:ext>
              </a:extLst>
            </p:cNvPr>
            <p:cNvSpPr/>
            <p:nvPr/>
          </p:nvSpPr>
          <p:spPr>
            <a:xfrm>
              <a:off x="9110040" y="3670212"/>
              <a:ext cx="11803" cy="11803"/>
            </a:xfrm>
            <a:custGeom>
              <a:avLst/>
              <a:gdLst>
                <a:gd name="connsiteX0" fmla="*/ 11016 w 11802"/>
                <a:gd name="connsiteY0" fmla="*/ 9836 h 11802"/>
                <a:gd name="connsiteX1" fmla="*/ 13770 w 11802"/>
                <a:gd name="connsiteY1" fmla="*/ 12590 h 11802"/>
                <a:gd name="connsiteX2" fmla="*/ 13770 w 11802"/>
                <a:gd name="connsiteY2" fmla="*/ 6688 h 11802"/>
                <a:gd name="connsiteX3" fmla="*/ 12983 w 11802"/>
                <a:gd name="connsiteY3" fmla="*/ 3934 h 11802"/>
                <a:gd name="connsiteX4" fmla="*/ 11409 w 11802"/>
                <a:gd name="connsiteY4" fmla="*/ 3541 h 11802"/>
                <a:gd name="connsiteX5" fmla="*/ 8656 w 11802"/>
                <a:gd name="connsiteY5" fmla="*/ 2754 h 11802"/>
                <a:gd name="connsiteX6" fmla="*/ 5508 w 11802"/>
                <a:gd name="connsiteY6" fmla="*/ 1967 h 11802"/>
                <a:gd name="connsiteX7" fmla="*/ 2754 w 11802"/>
                <a:gd name="connsiteY7" fmla="*/ 1574 h 11802"/>
                <a:gd name="connsiteX8" fmla="*/ 0 w 11802"/>
                <a:gd name="connsiteY8" fmla="*/ 0 h 11802"/>
                <a:gd name="connsiteX9" fmla="*/ 0 w 11802"/>
                <a:gd name="connsiteY9" fmla="*/ 2754 h 11802"/>
                <a:gd name="connsiteX10" fmla="*/ 2360 w 11802"/>
                <a:gd name="connsiteY10" fmla="*/ 5901 h 11802"/>
                <a:gd name="connsiteX11" fmla="*/ 5508 w 11802"/>
                <a:gd name="connsiteY11" fmla="*/ 6688 h 11802"/>
                <a:gd name="connsiteX12" fmla="*/ 8656 w 11802"/>
                <a:gd name="connsiteY12" fmla="*/ 7082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11802">
                  <a:moveTo>
                    <a:pt x="11016" y="9836"/>
                  </a:moveTo>
                  <a:lnTo>
                    <a:pt x="13770" y="12590"/>
                  </a:lnTo>
                  <a:lnTo>
                    <a:pt x="13770" y="6688"/>
                  </a:lnTo>
                  <a:lnTo>
                    <a:pt x="12983" y="3934"/>
                  </a:lnTo>
                  <a:lnTo>
                    <a:pt x="11409" y="3541"/>
                  </a:lnTo>
                  <a:lnTo>
                    <a:pt x="8656" y="2754"/>
                  </a:lnTo>
                  <a:lnTo>
                    <a:pt x="5508" y="1967"/>
                  </a:lnTo>
                  <a:lnTo>
                    <a:pt x="2754" y="1574"/>
                  </a:lnTo>
                  <a:lnTo>
                    <a:pt x="0" y="0"/>
                  </a:lnTo>
                  <a:lnTo>
                    <a:pt x="0" y="2754"/>
                  </a:lnTo>
                  <a:lnTo>
                    <a:pt x="2360" y="5901"/>
                  </a:lnTo>
                  <a:lnTo>
                    <a:pt x="5508" y="6688"/>
                  </a:lnTo>
                  <a:lnTo>
                    <a:pt x="8656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63" name="Freeform: Shape 3757">
              <a:extLst>
                <a:ext uri="{FF2B5EF4-FFF2-40B4-BE49-F238E27FC236}">
                  <a16:creationId xmlns:a16="http://schemas.microsoft.com/office/drawing/2014/main" id="{F86DB452-E405-4C96-988F-651FDE941E1C}"/>
                </a:ext>
              </a:extLst>
            </p:cNvPr>
            <p:cNvSpPr/>
            <p:nvPr/>
          </p:nvSpPr>
          <p:spPr>
            <a:xfrm>
              <a:off x="9618347" y="3565168"/>
              <a:ext cx="3934" cy="3934"/>
            </a:xfrm>
            <a:custGeom>
              <a:avLst/>
              <a:gdLst>
                <a:gd name="connsiteX0" fmla="*/ 787 w 0"/>
                <a:gd name="connsiteY0" fmla="*/ 0 h 3934"/>
                <a:gd name="connsiteX1" fmla="*/ 0 w 0"/>
                <a:gd name="connsiteY1" fmla="*/ 3541 h 3934"/>
                <a:gd name="connsiteX2" fmla="*/ 0 w 0"/>
                <a:gd name="connsiteY2" fmla="*/ 3934 h 3934"/>
                <a:gd name="connsiteX3" fmla="*/ 787 w 0"/>
                <a:gd name="connsiteY3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787" y="0"/>
                  </a:moveTo>
                  <a:lnTo>
                    <a:pt x="0" y="3541"/>
                  </a:lnTo>
                  <a:lnTo>
                    <a:pt x="0" y="3934"/>
                  </a:lnTo>
                  <a:lnTo>
                    <a:pt x="78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64" name="Freeform: Shape 3758">
              <a:extLst>
                <a:ext uri="{FF2B5EF4-FFF2-40B4-BE49-F238E27FC236}">
                  <a16:creationId xmlns:a16="http://schemas.microsoft.com/office/drawing/2014/main" id="{42C99CA5-F687-42AD-B67F-B033FBD27BB0}"/>
                </a:ext>
              </a:extLst>
            </p:cNvPr>
            <p:cNvSpPr/>
            <p:nvPr/>
          </p:nvSpPr>
          <p:spPr>
            <a:xfrm>
              <a:off x="9642346" y="3552971"/>
              <a:ext cx="3934" cy="3934"/>
            </a:xfrm>
            <a:custGeom>
              <a:avLst/>
              <a:gdLst>
                <a:gd name="connsiteX0" fmla="*/ 1180 w 0"/>
                <a:gd name="connsiteY0" fmla="*/ 5901 h 3934"/>
                <a:gd name="connsiteX1" fmla="*/ 3148 w 0"/>
                <a:gd name="connsiteY1" fmla="*/ 3147 h 3934"/>
                <a:gd name="connsiteX2" fmla="*/ 3541 w 0"/>
                <a:gd name="connsiteY2" fmla="*/ 0 h 3934"/>
                <a:gd name="connsiteX3" fmla="*/ 0 w 0"/>
                <a:gd name="connsiteY3" fmla="*/ 668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180" y="5901"/>
                  </a:moveTo>
                  <a:lnTo>
                    <a:pt x="3148" y="3147"/>
                  </a:lnTo>
                  <a:lnTo>
                    <a:pt x="3541" y="0"/>
                  </a:lnTo>
                  <a:lnTo>
                    <a:pt x="0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65" name="Freeform: Shape 3759">
              <a:extLst>
                <a:ext uri="{FF2B5EF4-FFF2-40B4-BE49-F238E27FC236}">
                  <a16:creationId xmlns:a16="http://schemas.microsoft.com/office/drawing/2014/main" id="{85285182-0BFE-4027-9294-88E0984DAE0F}"/>
                </a:ext>
              </a:extLst>
            </p:cNvPr>
            <p:cNvSpPr/>
            <p:nvPr/>
          </p:nvSpPr>
          <p:spPr>
            <a:xfrm>
              <a:off x="9500319" y="3543136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2754 h 0"/>
                <a:gd name="connsiteX2" fmla="*/ 236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2754"/>
                  </a:lnTo>
                  <a:lnTo>
                    <a:pt x="236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66" name="Freeform: Shape 3760">
              <a:extLst>
                <a:ext uri="{FF2B5EF4-FFF2-40B4-BE49-F238E27FC236}">
                  <a16:creationId xmlns:a16="http://schemas.microsoft.com/office/drawing/2014/main" id="{B30D0A82-BA73-46B8-88CD-3A189E93251A}"/>
                </a:ext>
              </a:extLst>
            </p:cNvPr>
            <p:cNvSpPr/>
            <p:nvPr/>
          </p:nvSpPr>
          <p:spPr>
            <a:xfrm>
              <a:off x="9634084" y="3526218"/>
              <a:ext cx="3934" cy="3934"/>
            </a:xfrm>
            <a:custGeom>
              <a:avLst/>
              <a:gdLst>
                <a:gd name="connsiteX0" fmla="*/ 393 w 0"/>
                <a:gd name="connsiteY0" fmla="*/ 1180 h 0"/>
                <a:gd name="connsiteX1" fmla="*/ 3148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1180"/>
                  </a:moveTo>
                  <a:lnTo>
                    <a:pt x="3148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67" name="Freeform: Shape 3761">
              <a:extLst>
                <a:ext uri="{FF2B5EF4-FFF2-40B4-BE49-F238E27FC236}">
                  <a16:creationId xmlns:a16="http://schemas.microsoft.com/office/drawing/2014/main" id="{5FD7F06D-0C47-4DD4-82C9-938B7F0873C6}"/>
                </a:ext>
              </a:extLst>
            </p:cNvPr>
            <p:cNvSpPr/>
            <p:nvPr/>
          </p:nvSpPr>
          <p:spPr>
            <a:xfrm>
              <a:off x="9563267" y="3497891"/>
              <a:ext cx="3934" cy="3934"/>
            </a:xfrm>
            <a:custGeom>
              <a:avLst/>
              <a:gdLst>
                <a:gd name="connsiteX0" fmla="*/ 0 w 0"/>
                <a:gd name="connsiteY0" fmla="*/ 1574 h 0"/>
                <a:gd name="connsiteX1" fmla="*/ 3148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574"/>
                  </a:moveTo>
                  <a:lnTo>
                    <a:pt x="3148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68" name="Freeform: Shape 3762">
              <a:extLst>
                <a:ext uri="{FF2B5EF4-FFF2-40B4-BE49-F238E27FC236}">
                  <a16:creationId xmlns:a16="http://schemas.microsoft.com/office/drawing/2014/main" id="{82A8568B-3207-4D88-AE5D-7DE5A2D43586}"/>
                </a:ext>
              </a:extLst>
            </p:cNvPr>
            <p:cNvSpPr/>
            <p:nvPr/>
          </p:nvSpPr>
          <p:spPr>
            <a:xfrm>
              <a:off x="9573496" y="3486482"/>
              <a:ext cx="7869" cy="7869"/>
            </a:xfrm>
            <a:custGeom>
              <a:avLst/>
              <a:gdLst>
                <a:gd name="connsiteX0" fmla="*/ 0 w 7868"/>
                <a:gd name="connsiteY0" fmla="*/ 1180 h 7868"/>
                <a:gd name="connsiteX1" fmla="*/ 0 w 7868"/>
                <a:gd name="connsiteY1" fmla="*/ 4328 h 7868"/>
                <a:gd name="connsiteX2" fmla="*/ 3148 w 7868"/>
                <a:gd name="connsiteY2" fmla="*/ 7475 h 7868"/>
                <a:gd name="connsiteX3" fmla="*/ 6295 w 7868"/>
                <a:gd name="connsiteY3" fmla="*/ 8262 h 7868"/>
                <a:gd name="connsiteX4" fmla="*/ 8262 w 7868"/>
                <a:gd name="connsiteY4" fmla="*/ 7475 h 7868"/>
                <a:gd name="connsiteX5" fmla="*/ 3148 w 7868"/>
                <a:gd name="connsiteY5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7868">
                  <a:moveTo>
                    <a:pt x="0" y="1180"/>
                  </a:moveTo>
                  <a:lnTo>
                    <a:pt x="0" y="4328"/>
                  </a:lnTo>
                  <a:lnTo>
                    <a:pt x="3148" y="7475"/>
                  </a:lnTo>
                  <a:lnTo>
                    <a:pt x="6295" y="8262"/>
                  </a:lnTo>
                  <a:lnTo>
                    <a:pt x="8262" y="7475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69" name="Freeform: Shape 3763">
              <a:extLst>
                <a:ext uri="{FF2B5EF4-FFF2-40B4-BE49-F238E27FC236}">
                  <a16:creationId xmlns:a16="http://schemas.microsoft.com/office/drawing/2014/main" id="{3A0C8F3D-E6C6-402E-86C2-157EDF75BCE7}"/>
                </a:ext>
              </a:extLst>
            </p:cNvPr>
            <p:cNvSpPr/>
            <p:nvPr/>
          </p:nvSpPr>
          <p:spPr>
            <a:xfrm>
              <a:off x="9595134" y="3485695"/>
              <a:ext cx="3934" cy="3934"/>
            </a:xfrm>
            <a:custGeom>
              <a:avLst/>
              <a:gdLst>
                <a:gd name="connsiteX0" fmla="*/ 2755 w 0"/>
                <a:gd name="connsiteY0" fmla="*/ 2360 h 0"/>
                <a:gd name="connsiteX1" fmla="*/ 3541 w 0"/>
                <a:gd name="connsiteY1" fmla="*/ 2754 h 0"/>
                <a:gd name="connsiteX2" fmla="*/ 2755 w 0"/>
                <a:gd name="connsiteY2" fmla="*/ 0 h 0"/>
                <a:gd name="connsiteX3" fmla="*/ 0 w 0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755" y="2360"/>
                  </a:moveTo>
                  <a:lnTo>
                    <a:pt x="3541" y="2754"/>
                  </a:lnTo>
                  <a:lnTo>
                    <a:pt x="2755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70" name="Freeform: Shape 3764">
              <a:extLst>
                <a:ext uri="{FF2B5EF4-FFF2-40B4-BE49-F238E27FC236}">
                  <a16:creationId xmlns:a16="http://schemas.microsoft.com/office/drawing/2014/main" id="{1D57F5FD-A8F3-4FF8-99BB-A7CA922AE723}"/>
                </a:ext>
              </a:extLst>
            </p:cNvPr>
            <p:cNvSpPr/>
            <p:nvPr/>
          </p:nvSpPr>
          <p:spPr>
            <a:xfrm>
              <a:off x="9553825" y="3475466"/>
              <a:ext cx="3934" cy="3934"/>
            </a:xfrm>
            <a:custGeom>
              <a:avLst/>
              <a:gdLst>
                <a:gd name="connsiteX0" fmla="*/ 0 w 3934"/>
                <a:gd name="connsiteY0" fmla="*/ 4328 h 3934"/>
                <a:gd name="connsiteX1" fmla="*/ 1180 w 3934"/>
                <a:gd name="connsiteY1" fmla="*/ 7082 h 3934"/>
                <a:gd name="connsiteX2" fmla="*/ 3934 w 3934"/>
                <a:gd name="connsiteY2" fmla="*/ 5901 h 3934"/>
                <a:gd name="connsiteX3" fmla="*/ 6689 w 3934"/>
                <a:gd name="connsiteY3" fmla="*/ 3148 h 3934"/>
                <a:gd name="connsiteX4" fmla="*/ 3934 w 3934"/>
                <a:gd name="connsiteY4" fmla="*/ 0 h 3934"/>
                <a:gd name="connsiteX5" fmla="*/ 788 w 3934"/>
                <a:gd name="connsiteY5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4328"/>
                  </a:moveTo>
                  <a:lnTo>
                    <a:pt x="1180" y="7082"/>
                  </a:lnTo>
                  <a:lnTo>
                    <a:pt x="3934" y="5901"/>
                  </a:lnTo>
                  <a:lnTo>
                    <a:pt x="6689" y="3148"/>
                  </a:lnTo>
                  <a:lnTo>
                    <a:pt x="3934" y="0"/>
                  </a:lnTo>
                  <a:lnTo>
                    <a:pt x="78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71" name="Freeform: Shape 3765">
              <a:extLst>
                <a:ext uri="{FF2B5EF4-FFF2-40B4-BE49-F238E27FC236}">
                  <a16:creationId xmlns:a16="http://schemas.microsoft.com/office/drawing/2014/main" id="{3A1FCB77-4EF0-4C21-A9DB-260F47F64DB4}"/>
                </a:ext>
              </a:extLst>
            </p:cNvPr>
            <p:cNvSpPr/>
            <p:nvPr/>
          </p:nvSpPr>
          <p:spPr>
            <a:xfrm>
              <a:off x="9547923" y="3476647"/>
              <a:ext cx="3934" cy="3934"/>
            </a:xfrm>
            <a:custGeom>
              <a:avLst/>
              <a:gdLst>
                <a:gd name="connsiteX0" fmla="*/ 1967 w 0"/>
                <a:gd name="connsiteY0" fmla="*/ 2754 h 3934"/>
                <a:gd name="connsiteX1" fmla="*/ 3541 w 0"/>
                <a:gd name="connsiteY1" fmla="*/ 0 h 3934"/>
                <a:gd name="connsiteX2" fmla="*/ 394 w 0"/>
                <a:gd name="connsiteY2" fmla="*/ 1574 h 3934"/>
                <a:gd name="connsiteX3" fmla="*/ 0 w 0"/>
                <a:gd name="connsiteY3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967" y="2754"/>
                  </a:moveTo>
                  <a:lnTo>
                    <a:pt x="3541" y="0"/>
                  </a:lnTo>
                  <a:lnTo>
                    <a:pt x="394" y="1574"/>
                  </a:lnTo>
                  <a:lnTo>
                    <a:pt x="0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72" name="Freeform: Shape 3766">
              <a:extLst>
                <a:ext uri="{FF2B5EF4-FFF2-40B4-BE49-F238E27FC236}">
                  <a16:creationId xmlns:a16="http://schemas.microsoft.com/office/drawing/2014/main" id="{CC2C8D14-7145-442C-95FA-9221418B4A36}"/>
                </a:ext>
              </a:extLst>
            </p:cNvPr>
            <p:cNvSpPr/>
            <p:nvPr/>
          </p:nvSpPr>
          <p:spPr>
            <a:xfrm>
              <a:off x="9549498" y="3451074"/>
              <a:ext cx="3934" cy="7869"/>
            </a:xfrm>
            <a:custGeom>
              <a:avLst/>
              <a:gdLst>
                <a:gd name="connsiteX0" fmla="*/ 0 w 0"/>
                <a:gd name="connsiteY0" fmla="*/ 2754 h 7868"/>
                <a:gd name="connsiteX1" fmla="*/ 0 w 0"/>
                <a:gd name="connsiteY1" fmla="*/ 5901 h 7868"/>
                <a:gd name="connsiteX2" fmla="*/ 1967 w 0"/>
                <a:gd name="connsiteY2" fmla="*/ 9049 h 7868"/>
                <a:gd name="connsiteX3" fmla="*/ 1967 w 0"/>
                <a:gd name="connsiteY3" fmla="*/ 8655 h 7868"/>
                <a:gd name="connsiteX4" fmla="*/ 3148 w 0"/>
                <a:gd name="connsiteY4" fmla="*/ 5901 h 7868"/>
                <a:gd name="connsiteX5" fmla="*/ 3148 w 0"/>
                <a:gd name="connsiteY5" fmla="*/ 3147 h 7868"/>
                <a:gd name="connsiteX6" fmla="*/ 787 w 0"/>
                <a:gd name="connsiteY6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7868">
                  <a:moveTo>
                    <a:pt x="0" y="2754"/>
                  </a:moveTo>
                  <a:lnTo>
                    <a:pt x="0" y="5901"/>
                  </a:lnTo>
                  <a:lnTo>
                    <a:pt x="1967" y="9049"/>
                  </a:lnTo>
                  <a:lnTo>
                    <a:pt x="1967" y="8655"/>
                  </a:lnTo>
                  <a:lnTo>
                    <a:pt x="3148" y="5901"/>
                  </a:lnTo>
                  <a:lnTo>
                    <a:pt x="3148" y="3147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73" name="Freeform: Shape 3767">
              <a:extLst>
                <a:ext uri="{FF2B5EF4-FFF2-40B4-BE49-F238E27FC236}">
                  <a16:creationId xmlns:a16="http://schemas.microsoft.com/office/drawing/2014/main" id="{5EDAD6BD-7726-4818-B092-DD5E0933D240}"/>
                </a:ext>
              </a:extLst>
            </p:cNvPr>
            <p:cNvSpPr/>
            <p:nvPr/>
          </p:nvSpPr>
          <p:spPr>
            <a:xfrm>
              <a:off x="9557759" y="3443992"/>
              <a:ext cx="3934" cy="3934"/>
            </a:xfrm>
            <a:custGeom>
              <a:avLst/>
              <a:gdLst>
                <a:gd name="connsiteX0" fmla="*/ 788 w 0"/>
                <a:gd name="connsiteY0" fmla="*/ 3148 h 0"/>
                <a:gd name="connsiteX1" fmla="*/ 1180 w 0"/>
                <a:gd name="connsiteY1" fmla="*/ 3148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8" y="3148"/>
                  </a:moveTo>
                  <a:lnTo>
                    <a:pt x="1180" y="314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74" name="Freeform: Shape 3768">
              <a:extLst>
                <a:ext uri="{FF2B5EF4-FFF2-40B4-BE49-F238E27FC236}">
                  <a16:creationId xmlns:a16="http://schemas.microsoft.com/office/drawing/2014/main" id="{571A70B7-B457-40CA-A8E4-40469817ED14}"/>
                </a:ext>
              </a:extLst>
            </p:cNvPr>
            <p:cNvSpPr/>
            <p:nvPr/>
          </p:nvSpPr>
          <p:spPr>
            <a:xfrm>
              <a:off x="9558153" y="3436910"/>
              <a:ext cx="3934" cy="3934"/>
            </a:xfrm>
            <a:custGeom>
              <a:avLst/>
              <a:gdLst>
                <a:gd name="connsiteX0" fmla="*/ 0 w 3934"/>
                <a:gd name="connsiteY0" fmla="*/ 2361 h 0"/>
                <a:gd name="connsiteX1" fmla="*/ 3934 w 3934"/>
                <a:gd name="connsiteY1" fmla="*/ 0 h 0"/>
                <a:gd name="connsiteX2" fmla="*/ 1180 w 3934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0" y="2361"/>
                  </a:moveTo>
                  <a:lnTo>
                    <a:pt x="3934" y="0"/>
                  </a:lnTo>
                  <a:lnTo>
                    <a:pt x="118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75" name="Freeform: Shape 3769">
              <a:extLst>
                <a:ext uri="{FF2B5EF4-FFF2-40B4-BE49-F238E27FC236}">
                  <a16:creationId xmlns:a16="http://schemas.microsoft.com/office/drawing/2014/main" id="{A709B60F-7517-44E7-A322-261CA89E33B1}"/>
                </a:ext>
              </a:extLst>
            </p:cNvPr>
            <p:cNvSpPr/>
            <p:nvPr/>
          </p:nvSpPr>
          <p:spPr>
            <a:xfrm>
              <a:off x="9143481" y="3702080"/>
              <a:ext cx="3934" cy="3934"/>
            </a:xfrm>
            <a:custGeom>
              <a:avLst/>
              <a:gdLst>
                <a:gd name="connsiteX0" fmla="*/ 4721 w 3934"/>
                <a:gd name="connsiteY0" fmla="*/ 3541 h 3934"/>
                <a:gd name="connsiteX1" fmla="*/ 3934 w 3934"/>
                <a:gd name="connsiteY1" fmla="*/ 1180 h 3934"/>
                <a:gd name="connsiteX2" fmla="*/ 1180 w 3934"/>
                <a:gd name="connsiteY2" fmla="*/ 0 h 3934"/>
                <a:gd name="connsiteX3" fmla="*/ 0 w 3934"/>
                <a:gd name="connsiteY3" fmla="*/ 3147 h 3934"/>
                <a:gd name="connsiteX4" fmla="*/ 1967 w 3934"/>
                <a:gd name="connsiteY4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4721" y="3541"/>
                  </a:moveTo>
                  <a:lnTo>
                    <a:pt x="3934" y="1180"/>
                  </a:lnTo>
                  <a:lnTo>
                    <a:pt x="1180" y="0"/>
                  </a:lnTo>
                  <a:lnTo>
                    <a:pt x="0" y="3147"/>
                  </a:lnTo>
                  <a:lnTo>
                    <a:pt x="196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76" name="Freeform: Shape 3770">
              <a:extLst>
                <a:ext uri="{FF2B5EF4-FFF2-40B4-BE49-F238E27FC236}">
                  <a16:creationId xmlns:a16="http://schemas.microsoft.com/office/drawing/2014/main" id="{C73842F9-95D7-4A3D-BE90-5D03381BD052}"/>
                </a:ext>
              </a:extLst>
            </p:cNvPr>
            <p:cNvSpPr/>
            <p:nvPr/>
          </p:nvSpPr>
          <p:spPr>
            <a:xfrm>
              <a:off x="9176136" y="3701293"/>
              <a:ext cx="3934" cy="3934"/>
            </a:xfrm>
            <a:custGeom>
              <a:avLst/>
              <a:gdLst>
                <a:gd name="connsiteX0" fmla="*/ 1574 w 0"/>
                <a:gd name="connsiteY0" fmla="*/ 3147 h 0"/>
                <a:gd name="connsiteX1" fmla="*/ 1967 w 0"/>
                <a:gd name="connsiteY1" fmla="*/ 314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3147"/>
                  </a:moveTo>
                  <a:lnTo>
                    <a:pt x="1967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77" name="Freeform: Shape 3771">
              <a:extLst>
                <a:ext uri="{FF2B5EF4-FFF2-40B4-BE49-F238E27FC236}">
                  <a16:creationId xmlns:a16="http://schemas.microsoft.com/office/drawing/2014/main" id="{8BCB1785-AB46-40D0-8C09-FCBAF58014E3}"/>
                </a:ext>
              </a:extLst>
            </p:cNvPr>
            <p:cNvSpPr/>
            <p:nvPr/>
          </p:nvSpPr>
          <p:spPr>
            <a:xfrm>
              <a:off x="9149776" y="3697359"/>
              <a:ext cx="3934" cy="3934"/>
            </a:xfrm>
            <a:custGeom>
              <a:avLst/>
              <a:gdLst>
                <a:gd name="connsiteX0" fmla="*/ 394 w 3934"/>
                <a:gd name="connsiteY0" fmla="*/ 3147 h 3934"/>
                <a:gd name="connsiteX1" fmla="*/ 3148 w 3934"/>
                <a:gd name="connsiteY1" fmla="*/ 5901 h 3934"/>
                <a:gd name="connsiteX2" fmla="*/ 4721 w 3934"/>
                <a:gd name="connsiteY2" fmla="*/ 3147 h 3934"/>
                <a:gd name="connsiteX3" fmla="*/ 2754 w 3934"/>
                <a:gd name="connsiteY3" fmla="*/ 0 h 3934"/>
                <a:gd name="connsiteX4" fmla="*/ 0 w 3934"/>
                <a:gd name="connsiteY4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94" y="3147"/>
                  </a:moveTo>
                  <a:lnTo>
                    <a:pt x="3148" y="5901"/>
                  </a:lnTo>
                  <a:lnTo>
                    <a:pt x="4721" y="3147"/>
                  </a:ln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78" name="Freeform: Shape 3772">
              <a:extLst>
                <a:ext uri="{FF2B5EF4-FFF2-40B4-BE49-F238E27FC236}">
                  <a16:creationId xmlns:a16="http://schemas.microsoft.com/office/drawing/2014/main" id="{432FA4FF-3679-43E9-A265-A98235381EC4}"/>
                </a:ext>
              </a:extLst>
            </p:cNvPr>
            <p:cNvSpPr/>
            <p:nvPr/>
          </p:nvSpPr>
          <p:spPr>
            <a:xfrm>
              <a:off x="9606544" y="3572642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787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787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79" name="Freeform: Shape 3773">
              <a:extLst>
                <a:ext uri="{FF2B5EF4-FFF2-40B4-BE49-F238E27FC236}">
                  <a16:creationId xmlns:a16="http://schemas.microsoft.com/office/drawing/2014/main" id="{47C7539F-0F18-46C6-A790-8B1B29A7E853}"/>
                </a:ext>
              </a:extLst>
            </p:cNvPr>
            <p:cNvSpPr/>
            <p:nvPr/>
          </p:nvSpPr>
          <p:spPr>
            <a:xfrm>
              <a:off x="9629756" y="3558479"/>
              <a:ext cx="3934" cy="11803"/>
            </a:xfrm>
            <a:custGeom>
              <a:avLst/>
              <a:gdLst>
                <a:gd name="connsiteX0" fmla="*/ 787 w 0"/>
                <a:gd name="connsiteY0" fmla="*/ 11803 h 11802"/>
                <a:gd name="connsiteX1" fmla="*/ 1967 w 0"/>
                <a:gd name="connsiteY1" fmla="*/ 8655 h 11802"/>
                <a:gd name="connsiteX2" fmla="*/ 787 w 0"/>
                <a:gd name="connsiteY2" fmla="*/ 9049 h 11802"/>
                <a:gd name="connsiteX3" fmla="*/ 787 w 0"/>
                <a:gd name="connsiteY3" fmla="*/ 8655 h 11802"/>
                <a:gd name="connsiteX4" fmla="*/ 1574 w 0"/>
                <a:gd name="connsiteY4" fmla="*/ 5901 h 11802"/>
                <a:gd name="connsiteX5" fmla="*/ 1574 w 0"/>
                <a:gd name="connsiteY5" fmla="*/ 3147 h 11802"/>
                <a:gd name="connsiteX6" fmla="*/ 394 w 0"/>
                <a:gd name="connsiteY6" fmla="*/ 0 h 11802"/>
                <a:gd name="connsiteX7" fmla="*/ 787 w 0"/>
                <a:gd name="connsiteY7" fmla="*/ 3147 h 11802"/>
                <a:gd name="connsiteX8" fmla="*/ 787 w 0"/>
                <a:gd name="connsiteY8" fmla="*/ 7082 h 11802"/>
                <a:gd name="connsiteX9" fmla="*/ 0 w 0"/>
                <a:gd name="connsiteY9" fmla="*/ 3147 h 11802"/>
                <a:gd name="connsiteX10" fmla="*/ 394 w 0"/>
                <a:gd name="connsiteY10" fmla="*/ 5901 h 11802"/>
                <a:gd name="connsiteX11" fmla="*/ 394 w 0"/>
                <a:gd name="connsiteY11" fmla="*/ 904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h="11802">
                  <a:moveTo>
                    <a:pt x="787" y="11803"/>
                  </a:moveTo>
                  <a:lnTo>
                    <a:pt x="1967" y="8655"/>
                  </a:lnTo>
                  <a:lnTo>
                    <a:pt x="787" y="9049"/>
                  </a:lnTo>
                  <a:lnTo>
                    <a:pt x="787" y="8655"/>
                  </a:lnTo>
                  <a:lnTo>
                    <a:pt x="1574" y="5901"/>
                  </a:lnTo>
                  <a:lnTo>
                    <a:pt x="1574" y="3147"/>
                  </a:lnTo>
                  <a:lnTo>
                    <a:pt x="394" y="0"/>
                  </a:lnTo>
                  <a:lnTo>
                    <a:pt x="787" y="3147"/>
                  </a:lnTo>
                  <a:lnTo>
                    <a:pt x="787" y="7082"/>
                  </a:lnTo>
                  <a:lnTo>
                    <a:pt x="0" y="3147"/>
                  </a:lnTo>
                  <a:lnTo>
                    <a:pt x="394" y="5901"/>
                  </a:lnTo>
                  <a:lnTo>
                    <a:pt x="394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80" name="Freeform: Shape 3774">
              <a:extLst>
                <a:ext uri="{FF2B5EF4-FFF2-40B4-BE49-F238E27FC236}">
                  <a16:creationId xmlns:a16="http://schemas.microsoft.com/office/drawing/2014/main" id="{E845A8F1-F17A-4D1E-9518-035D00B04550}"/>
                </a:ext>
              </a:extLst>
            </p:cNvPr>
            <p:cNvSpPr/>
            <p:nvPr/>
          </p:nvSpPr>
          <p:spPr>
            <a:xfrm>
              <a:off x="9625822" y="3558873"/>
              <a:ext cx="3934" cy="7869"/>
            </a:xfrm>
            <a:custGeom>
              <a:avLst/>
              <a:gdLst>
                <a:gd name="connsiteX0" fmla="*/ 0 w 0"/>
                <a:gd name="connsiteY0" fmla="*/ 7869 h 7868"/>
                <a:gd name="connsiteX1" fmla="*/ 394 w 0"/>
                <a:gd name="connsiteY1" fmla="*/ 11016 h 7868"/>
                <a:gd name="connsiteX2" fmla="*/ 3541 w 0"/>
                <a:gd name="connsiteY2" fmla="*/ 7475 h 7868"/>
                <a:gd name="connsiteX3" fmla="*/ 3541 w 0"/>
                <a:gd name="connsiteY3" fmla="*/ 4328 h 7868"/>
                <a:gd name="connsiteX4" fmla="*/ 3148 w 0"/>
                <a:gd name="connsiteY4" fmla="*/ 1574 h 7868"/>
                <a:gd name="connsiteX5" fmla="*/ 394 w 0"/>
                <a:gd name="connsiteY5" fmla="*/ 0 h 7868"/>
                <a:gd name="connsiteX6" fmla="*/ 394 w 0"/>
                <a:gd name="connsiteY6" fmla="*/ 1967 h 7868"/>
                <a:gd name="connsiteX7" fmla="*/ 0 w 0"/>
                <a:gd name="connsiteY7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7868">
                  <a:moveTo>
                    <a:pt x="0" y="7869"/>
                  </a:moveTo>
                  <a:lnTo>
                    <a:pt x="394" y="11016"/>
                  </a:lnTo>
                  <a:lnTo>
                    <a:pt x="3541" y="7475"/>
                  </a:lnTo>
                  <a:lnTo>
                    <a:pt x="3541" y="4328"/>
                  </a:lnTo>
                  <a:lnTo>
                    <a:pt x="3148" y="1574"/>
                  </a:lnTo>
                  <a:lnTo>
                    <a:pt x="394" y="0"/>
                  </a:lnTo>
                  <a:lnTo>
                    <a:pt x="394" y="1967"/>
                  </a:lnTo>
                  <a:lnTo>
                    <a:pt x="0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81" name="Freeform: Shape 3775">
              <a:extLst>
                <a:ext uri="{FF2B5EF4-FFF2-40B4-BE49-F238E27FC236}">
                  <a16:creationId xmlns:a16="http://schemas.microsoft.com/office/drawing/2014/main" id="{9F7C4AAC-941E-4B86-91C7-4ECCE1530C6E}"/>
                </a:ext>
              </a:extLst>
            </p:cNvPr>
            <p:cNvSpPr/>
            <p:nvPr/>
          </p:nvSpPr>
          <p:spPr>
            <a:xfrm>
              <a:off x="9574284" y="3608838"/>
              <a:ext cx="3934" cy="3934"/>
            </a:xfrm>
            <a:custGeom>
              <a:avLst/>
              <a:gdLst>
                <a:gd name="connsiteX0" fmla="*/ 0 w 3934"/>
                <a:gd name="connsiteY0" fmla="*/ 1180 h 3934"/>
                <a:gd name="connsiteX1" fmla="*/ 1180 w 3934"/>
                <a:gd name="connsiteY1" fmla="*/ 3934 h 3934"/>
                <a:gd name="connsiteX2" fmla="*/ 4327 w 3934"/>
                <a:gd name="connsiteY2" fmla="*/ 5901 h 3934"/>
                <a:gd name="connsiteX3" fmla="*/ 4327 w 3934"/>
                <a:gd name="connsiteY3" fmla="*/ 3147 h 3934"/>
                <a:gd name="connsiteX4" fmla="*/ 3540 w 3934"/>
                <a:gd name="connsiteY4" fmla="*/ 0 h 3934"/>
                <a:gd name="connsiteX5" fmla="*/ 393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1180"/>
                  </a:moveTo>
                  <a:lnTo>
                    <a:pt x="1180" y="3934"/>
                  </a:lnTo>
                  <a:lnTo>
                    <a:pt x="4327" y="5901"/>
                  </a:lnTo>
                  <a:lnTo>
                    <a:pt x="4327" y="3147"/>
                  </a:lnTo>
                  <a:lnTo>
                    <a:pt x="3540" y="0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82" name="Freeform: Shape 3776">
              <a:extLst>
                <a:ext uri="{FF2B5EF4-FFF2-40B4-BE49-F238E27FC236}">
                  <a16:creationId xmlns:a16="http://schemas.microsoft.com/office/drawing/2014/main" id="{51488CF2-D3D7-48E0-825D-8507312B50C8}"/>
                </a:ext>
              </a:extLst>
            </p:cNvPr>
            <p:cNvSpPr/>
            <p:nvPr/>
          </p:nvSpPr>
          <p:spPr>
            <a:xfrm>
              <a:off x="9575463" y="3586019"/>
              <a:ext cx="3934" cy="3934"/>
            </a:xfrm>
            <a:custGeom>
              <a:avLst/>
              <a:gdLst>
                <a:gd name="connsiteX0" fmla="*/ 394 w 3934"/>
                <a:gd name="connsiteY0" fmla="*/ 0 h 0"/>
                <a:gd name="connsiteX1" fmla="*/ 0 w 3934"/>
                <a:gd name="connsiteY1" fmla="*/ 393 h 0"/>
                <a:gd name="connsiteX2" fmla="*/ 1180 w 3934"/>
                <a:gd name="connsiteY2" fmla="*/ 3541 h 0"/>
                <a:gd name="connsiteX3" fmla="*/ 4328 w 3934"/>
                <a:gd name="connsiteY3" fmla="*/ 2754 h 0"/>
                <a:gd name="connsiteX4" fmla="*/ 3148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94" y="0"/>
                  </a:moveTo>
                  <a:lnTo>
                    <a:pt x="0" y="393"/>
                  </a:lnTo>
                  <a:lnTo>
                    <a:pt x="1180" y="3541"/>
                  </a:lnTo>
                  <a:lnTo>
                    <a:pt x="4328" y="2754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83" name="Freeform: Shape 3777">
              <a:extLst>
                <a:ext uri="{FF2B5EF4-FFF2-40B4-BE49-F238E27FC236}">
                  <a16:creationId xmlns:a16="http://schemas.microsoft.com/office/drawing/2014/main" id="{BECB6494-4298-4DF7-A744-8E72CEC43FC7}"/>
                </a:ext>
              </a:extLst>
            </p:cNvPr>
            <p:cNvSpPr/>
            <p:nvPr/>
          </p:nvSpPr>
          <p:spPr>
            <a:xfrm>
              <a:off x="9581758" y="3604117"/>
              <a:ext cx="3934" cy="3934"/>
            </a:xfrm>
            <a:custGeom>
              <a:avLst/>
              <a:gdLst>
                <a:gd name="connsiteX0" fmla="*/ 0 w 0"/>
                <a:gd name="connsiteY0" fmla="*/ 1574 h 3934"/>
                <a:gd name="connsiteX1" fmla="*/ 3148 w 0"/>
                <a:gd name="connsiteY1" fmla="*/ 3934 h 3934"/>
                <a:gd name="connsiteX2" fmla="*/ 2754 w 0"/>
                <a:gd name="connsiteY2" fmla="*/ 1574 h 3934"/>
                <a:gd name="connsiteX3" fmla="*/ 0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1574"/>
                  </a:moveTo>
                  <a:lnTo>
                    <a:pt x="3148" y="3934"/>
                  </a:lnTo>
                  <a:lnTo>
                    <a:pt x="2754" y="15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84" name="Freeform: Shape 3778">
              <a:extLst>
                <a:ext uri="{FF2B5EF4-FFF2-40B4-BE49-F238E27FC236}">
                  <a16:creationId xmlns:a16="http://schemas.microsoft.com/office/drawing/2014/main" id="{0519EF09-8A5F-4C7A-9BC0-5056A49C73BF}"/>
                </a:ext>
              </a:extLst>
            </p:cNvPr>
            <p:cNvSpPr/>
            <p:nvPr/>
          </p:nvSpPr>
          <p:spPr>
            <a:xfrm>
              <a:off x="9606151" y="3646607"/>
              <a:ext cx="3934" cy="3934"/>
            </a:xfrm>
            <a:custGeom>
              <a:avLst/>
              <a:gdLst>
                <a:gd name="connsiteX0" fmla="*/ 394 w 0"/>
                <a:gd name="connsiteY0" fmla="*/ 1967 h 3934"/>
                <a:gd name="connsiteX1" fmla="*/ 2754 w 0"/>
                <a:gd name="connsiteY1" fmla="*/ 5115 h 3934"/>
                <a:gd name="connsiteX2" fmla="*/ 1967 w 0"/>
                <a:gd name="connsiteY2" fmla="*/ 3934 h 3934"/>
                <a:gd name="connsiteX3" fmla="*/ 1967 w 0"/>
                <a:gd name="connsiteY3" fmla="*/ 2754 h 3934"/>
                <a:gd name="connsiteX4" fmla="*/ 2754 w 0"/>
                <a:gd name="connsiteY4" fmla="*/ 5115 h 3934"/>
                <a:gd name="connsiteX5" fmla="*/ 787 w 0"/>
                <a:gd name="connsiteY5" fmla="*/ 787 h 3934"/>
                <a:gd name="connsiteX6" fmla="*/ 0 w 0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3934">
                  <a:moveTo>
                    <a:pt x="394" y="1967"/>
                  </a:moveTo>
                  <a:lnTo>
                    <a:pt x="2754" y="5115"/>
                  </a:lnTo>
                  <a:lnTo>
                    <a:pt x="1967" y="3934"/>
                  </a:lnTo>
                  <a:lnTo>
                    <a:pt x="1967" y="2754"/>
                  </a:lnTo>
                  <a:lnTo>
                    <a:pt x="2754" y="5115"/>
                  </a:lnTo>
                  <a:lnTo>
                    <a:pt x="787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85" name="Freeform: Shape 3779">
              <a:extLst>
                <a:ext uri="{FF2B5EF4-FFF2-40B4-BE49-F238E27FC236}">
                  <a16:creationId xmlns:a16="http://schemas.microsoft.com/office/drawing/2014/main" id="{568BC84A-06F6-4459-BC5F-7CB51B39540D}"/>
                </a:ext>
              </a:extLst>
            </p:cNvPr>
            <p:cNvSpPr/>
            <p:nvPr/>
          </p:nvSpPr>
          <p:spPr>
            <a:xfrm>
              <a:off x="9387406" y="3631656"/>
              <a:ext cx="3934" cy="11803"/>
            </a:xfrm>
            <a:custGeom>
              <a:avLst/>
              <a:gdLst>
                <a:gd name="connsiteX0" fmla="*/ 0 w 0"/>
                <a:gd name="connsiteY0" fmla="*/ 3147 h 11802"/>
                <a:gd name="connsiteX1" fmla="*/ 787 w 0"/>
                <a:gd name="connsiteY1" fmla="*/ 5901 h 11802"/>
                <a:gd name="connsiteX2" fmla="*/ 787 w 0"/>
                <a:gd name="connsiteY2" fmla="*/ 8655 h 11802"/>
                <a:gd name="connsiteX3" fmla="*/ 787 w 0"/>
                <a:gd name="connsiteY3" fmla="*/ 10623 h 11802"/>
                <a:gd name="connsiteX4" fmla="*/ 3540 w 0"/>
                <a:gd name="connsiteY4" fmla="*/ 11803 h 11802"/>
                <a:gd name="connsiteX5" fmla="*/ 2754 w 0"/>
                <a:gd name="connsiteY5" fmla="*/ 9049 h 11802"/>
                <a:gd name="connsiteX6" fmla="*/ 2754 w 0"/>
                <a:gd name="connsiteY6" fmla="*/ 3147 h 11802"/>
                <a:gd name="connsiteX7" fmla="*/ 0 w 0"/>
                <a:gd name="connsiteY7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11802">
                  <a:moveTo>
                    <a:pt x="0" y="3147"/>
                  </a:moveTo>
                  <a:lnTo>
                    <a:pt x="787" y="5901"/>
                  </a:lnTo>
                  <a:lnTo>
                    <a:pt x="787" y="8655"/>
                  </a:lnTo>
                  <a:lnTo>
                    <a:pt x="787" y="10623"/>
                  </a:lnTo>
                  <a:lnTo>
                    <a:pt x="3540" y="11803"/>
                  </a:lnTo>
                  <a:lnTo>
                    <a:pt x="2754" y="9049"/>
                  </a:lnTo>
                  <a:lnTo>
                    <a:pt x="2754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86" name="Freeform: Shape 3780">
              <a:extLst>
                <a:ext uri="{FF2B5EF4-FFF2-40B4-BE49-F238E27FC236}">
                  <a16:creationId xmlns:a16="http://schemas.microsoft.com/office/drawing/2014/main" id="{21B9A5DB-57CA-4E38-AD42-49596CDE8A7E}"/>
                </a:ext>
              </a:extLst>
            </p:cNvPr>
            <p:cNvSpPr/>
            <p:nvPr/>
          </p:nvSpPr>
          <p:spPr>
            <a:xfrm>
              <a:off x="9576644" y="3486089"/>
              <a:ext cx="3934" cy="3934"/>
            </a:xfrm>
            <a:custGeom>
              <a:avLst/>
              <a:gdLst>
                <a:gd name="connsiteX0" fmla="*/ 3934 w 3934"/>
                <a:gd name="connsiteY0" fmla="*/ 1180 h 3934"/>
                <a:gd name="connsiteX1" fmla="*/ 1180 w 3934"/>
                <a:gd name="connsiteY1" fmla="*/ 0 h 3934"/>
                <a:gd name="connsiteX2" fmla="*/ 0 w 3934"/>
                <a:gd name="connsiteY2" fmla="*/ 394 h 3934"/>
                <a:gd name="connsiteX3" fmla="*/ 5509 w 3934"/>
                <a:gd name="connsiteY3" fmla="*/ 7475 h 3934"/>
                <a:gd name="connsiteX4" fmla="*/ 5115 w 3934"/>
                <a:gd name="connsiteY4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934" y="1180"/>
                  </a:moveTo>
                  <a:lnTo>
                    <a:pt x="1180" y="0"/>
                  </a:lnTo>
                  <a:lnTo>
                    <a:pt x="0" y="394"/>
                  </a:lnTo>
                  <a:lnTo>
                    <a:pt x="5509" y="7475"/>
                  </a:lnTo>
                  <a:lnTo>
                    <a:pt x="5115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87" name="Freeform: Shape 3781">
              <a:extLst>
                <a:ext uri="{FF2B5EF4-FFF2-40B4-BE49-F238E27FC236}">
                  <a16:creationId xmlns:a16="http://schemas.microsoft.com/office/drawing/2014/main" id="{106641A3-697D-443C-A864-331BB20049E5}"/>
                </a:ext>
              </a:extLst>
            </p:cNvPr>
            <p:cNvSpPr/>
            <p:nvPr/>
          </p:nvSpPr>
          <p:spPr>
            <a:xfrm>
              <a:off x="9555005" y="3337767"/>
              <a:ext cx="66882" cy="102291"/>
            </a:xfrm>
            <a:custGeom>
              <a:avLst/>
              <a:gdLst>
                <a:gd name="connsiteX0" fmla="*/ 394 w 66882"/>
                <a:gd name="connsiteY0" fmla="*/ 98357 h 102290"/>
                <a:gd name="connsiteX1" fmla="*/ 394 w 66882"/>
                <a:gd name="connsiteY1" fmla="*/ 101504 h 102290"/>
                <a:gd name="connsiteX2" fmla="*/ 0 w 66882"/>
                <a:gd name="connsiteY2" fmla="*/ 104258 h 102290"/>
                <a:gd name="connsiteX3" fmla="*/ 2754 w 66882"/>
                <a:gd name="connsiteY3" fmla="*/ 101504 h 102290"/>
                <a:gd name="connsiteX4" fmla="*/ 5901 w 66882"/>
                <a:gd name="connsiteY4" fmla="*/ 98750 h 102290"/>
                <a:gd name="connsiteX5" fmla="*/ 8655 w 66882"/>
                <a:gd name="connsiteY5" fmla="*/ 98357 h 102290"/>
                <a:gd name="connsiteX6" fmla="*/ 7082 w 66882"/>
                <a:gd name="connsiteY6" fmla="*/ 99143 h 102290"/>
                <a:gd name="connsiteX7" fmla="*/ 7476 w 66882"/>
                <a:gd name="connsiteY7" fmla="*/ 99143 h 102290"/>
                <a:gd name="connsiteX8" fmla="*/ 8655 w 66882"/>
                <a:gd name="connsiteY8" fmla="*/ 98357 h 102290"/>
                <a:gd name="connsiteX9" fmla="*/ 8655 w 66882"/>
                <a:gd name="connsiteY9" fmla="*/ 98357 h 102290"/>
                <a:gd name="connsiteX10" fmla="*/ 8655 w 66882"/>
                <a:gd name="connsiteY10" fmla="*/ 97963 h 102290"/>
                <a:gd name="connsiteX11" fmla="*/ 10622 w 66882"/>
                <a:gd name="connsiteY11" fmla="*/ 97176 h 102290"/>
                <a:gd name="connsiteX12" fmla="*/ 8655 w 66882"/>
                <a:gd name="connsiteY12" fmla="*/ 97963 h 102290"/>
                <a:gd name="connsiteX13" fmla="*/ 10229 w 66882"/>
                <a:gd name="connsiteY13" fmla="*/ 95209 h 102290"/>
                <a:gd name="connsiteX14" fmla="*/ 12983 w 66882"/>
                <a:gd name="connsiteY14" fmla="*/ 92849 h 102290"/>
                <a:gd name="connsiteX15" fmla="*/ 16131 w 66882"/>
                <a:gd name="connsiteY15" fmla="*/ 92062 h 102290"/>
                <a:gd name="connsiteX16" fmla="*/ 18098 w 66882"/>
                <a:gd name="connsiteY16" fmla="*/ 89308 h 102290"/>
                <a:gd name="connsiteX17" fmla="*/ 21246 w 66882"/>
                <a:gd name="connsiteY17" fmla="*/ 86947 h 102290"/>
                <a:gd name="connsiteX18" fmla="*/ 23999 w 66882"/>
                <a:gd name="connsiteY18" fmla="*/ 84193 h 102290"/>
                <a:gd name="connsiteX19" fmla="*/ 25573 w 66882"/>
                <a:gd name="connsiteY19" fmla="*/ 81046 h 102290"/>
                <a:gd name="connsiteX20" fmla="*/ 25967 w 66882"/>
                <a:gd name="connsiteY20" fmla="*/ 78685 h 102290"/>
                <a:gd name="connsiteX21" fmla="*/ 30294 w 66882"/>
                <a:gd name="connsiteY21" fmla="*/ 75538 h 102290"/>
                <a:gd name="connsiteX22" fmla="*/ 31868 w 66882"/>
                <a:gd name="connsiteY22" fmla="*/ 75145 h 102290"/>
                <a:gd name="connsiteX23" fmla="*/ 35016 w 66882"/>
                <a:gd name="connsiteY23" fmla="*/ 73177 h 102290"/>
                <a:gd name="connsiteX24" fmla="*/ 36983 w 66882"/>
                <a:gd name="connsiteY24" fmla="*/ 70817 h 102290"/>
                <a:gd name="connsiteX25" fmla="*/ 41704 w 66882"/>
                <a:gd name="connsiteY25" fmla="*/ 62555 h 102290"/>
                <a:gd name="connsiteX26" fmla="*/ 44064 w 66882"/>
                <a:gd name="connsiteY26" fmla="*/ 59014 h 102290"/>
                <a:gd name="connsiteX27" fmla="*/ 44064 w 66882"/>
                <a:gd name="connsiteY27" fmla="*/ 56653 h 102290"/>
                <a:gd name="connsiteX28" fmla="*/ 46818 w 66882"/>
                <a:gd name="connsiteY28" fmla="*/ 47998 h 102290"/>
                <a:gd name="connsiteX29" fmla="*/ 49965 w 66882"/>
                <a:gd name="connsiteY29" fmla="*/ 47605 h 102290"/>
                <a:gd name="connsiteX30" fmla="*/ 52326 w 66882"/>
                <a:gd name="connsiteY30" fmla="*/ 47605 h 102290"/>
                <a:gd name="connsiteX31" fmla="*/ 55474 w 66882"/>
                <a:gd name="connsiteY31" fmla="*/ 46424 h 102290"/>
                <a:gd name="connsiteX32" fmla="*/ 57047 w 66882"/>
                <a:gd name="connsiteY32" fmla="*/ 43277 h 102290"/>
                <a:gd name="connsiteX33" fmla="*/ 57047 w 66882"/>
                <a:gd name="connsiteY33" fmla="*/ 40916 h 102290"/>
                <a:gd name="connsiteX34" fmla="*/ 57441 w 66882"/>
                <a:gd name="connsiteY34" fmla="*/ 40523 h 102290"/>
                <a:gd name="connsiteX35" fmla="*/ 65309 w 66882"/>
                <a:gd name="connsiteY35" fmla="*/ 35408 h 102290"/>
                <a:gd name="connsiteX36" fmla="*/ 68457 w 66882"/>
                <a:gd name="connsiteY36" fmla="*/ 32655 h 102290"/>
                <a:gd name="connsiteX37" fmla="*/ 70424 w 66882"/>
                <a:gd name="connsiteY37" fmla="*/ 29507 h 102290"/>
                <a:gd name="connsiteX38" fmla="*/ 68063 w 66882"/>
                <a:gd name="connsiteY38" fmla="*/ 26360 h 102290"/>
                <a:gd name="connsiteX39" fmla="*/ 66096 w 66882"/>
                <a:gd name="connsiteY39" fmla="*/ 23606 h 102290"/>
                <a:gd name="connsiteX40" fmla="*/ 65702 w 66882"/>
                <a:gd name="connsiteY40" fmla="*/ 20852 h 102290"/>
                <a:gd name="connsiteX41" fmla="*/ 62948 w 66882"/>
                <a:gd name="connsiteY41" fmla="*/ 18098 h 102290"/>
                <a:gd name="connsiteX42" fmla="*/ 62162 w 66882"/>
                <a:gd name="connsiteY42" fmla="*/ 14950 h 102290"/>
                <a:gd name="connsiteX43" fmla="*/ 64129 w 66882"/>
                <a:gd name="connsiteY43" fmla="*/ 12196 h 102290"/>
                <a:gd name="connsiteX44" fmla="*/ 62162 w 66882"/>
                <a:gd name="connsiteY44" fmla="*/ 9049 h 102290"/>
                <a:gd name="connsiteX45" fmla="*/ 63342 w 66882"/>
                <a:gd name="connsiteY45" fmla="*/ 5901 h 102290"/>
                <a:gd name="connsiteX46" fmla="*/ 63342 w 66882"/>
                <a:gd name="connsiteY46" fmla="*/ 3148 h 102290"/>
                <a:gd name="connsiteX47" fmla="*/ 61375 w 66882"/>
                <a:gd name="connsiteY47" fmla="*/ 0 h 102290"/>
                <a:gd name="connsiteX48" fmla="*/ 59408 w 66882"/>
                <a:gd name="connsiteY48" fmla="*/ 3148 h 102290"/>
                <a:gd name="connsiteX49" fmla="*/ 59408 w 66882"/>
                <a:gd name="connsiteY49" fmla="*/ 6295 h 102290"/>
                <a:gd name="connsiteX50" fmla="*/ 59801 w 66882"/>
                <a:gd name="connsiteY50" fmla="*/ 9049 h 102290"/>
                <a:gd name="connsiteX51" fmla="*/ 59801 w 66882"/>
                <a:gd name="connsiteY51" fmla="*/ 11803 h 102290"/>
                <a:gd name="connsiteX52" fmla="*/ 57047 w 66882"/>
                <a:gd name="connsiteY52" fmla="*/ 10229 h 102290"/>
                <a:gd name="connsiteX53" fmla="*/ 58227 w 66882"/>
                <a:gd name="connsiteY53" fmla="*/ 12983 h 102290"/>
                <a:gd name="connsiteX54" fmla="*/ 58227 w 66882"/>
                <a:gd name="connsiteY54" fmla="*/ 15737 h 102290"/>
                <a:gd name="connsiteX55" fmla="*/ 60981 w 66882"/>
                <a:gd name="connsiteY55" fmla="*/ 18491 h 102290"/>
                <a:gd name="connsiteX56" fmla="*/ 61768 w 66882"/>
                <a:gd name="connsiteY56" fmla="*/ 21638 h 102290"/>
                <a:gd name="connsiteX57" fmla="*/ 59014 w 66882"/>
                <a:gd name="connsiteY57" fmla="*/ 20065 h 102290"/>
                <a:gd name="connsiteX58" fmla="*/ 55866 w 66882"/>
                <a:gd name="connsiteY58" fmla="*/ 17704 h 102290"/>
                <a:gd name="connsiteX59" fmla="*/ 54293 w 66882"/>
                <a:gd name="connsiteY59" fmla="*/ 14950 h 102290"/>
                <a:gd name="connsiteX60" fmla="*/ 54687 w 66882"/>
                <a:gd name="connsiteY60" fmla="*/ 17704 h 102290"/>
                <a:gd name="connsiteX61" fmla="*/ 56260 w 66882"/>
                <a:gd name="connsiteY61" fmla="*/ 20852 h 102290"/>
                <a:gd name="connsiteX62" fmla="*/ 58227 w 66882"/>
                <a:gd name="connsiteY62" fmla="*/ 23999 h 102290"/>
                <a:gd name="connsiteX63" fmla="*/ 58227 w 66882"/>
                <a:gd name="connsiteY63" fmla="*/ 27540 h 102290"/>
                <a:gd name="connsiteX64" fmla="*/ 56654 w 66882"/>
                <a:gd name="connsiteY64" fmla="*/ 30687 h 102290"/>
                <a:gd name="connsiteX65" fmla="*/ 53899 w 66882"/>
                <a:gd name="connsiteY65" fmla="*/ 33835 h 102290"/>
                <a:gd name="connsiteX66" fmla="*/ 52326 w 66882"/>
                <a:gd name="connsiteY66" fmla="*/ 31081 h 102290"/>
                <a:gd name="connsiteX67" fmla="*/ 51145 w 66882"/>
                <a:gd name="connsiteY67" fmla="*/ 33835 h 102290"/>
                <a:gd name="connsiteX68" fmla="*/ 47998 w 66882"/>
                <a:gd name="connsiteY68" fmla="*/ 34622 h 102290"/>
                <a:gd name="connsiteX69" fmla="*/ 48392 w 66882"/>
                <a:gd name="connsiteY69" fmla="*/ 37769 h 102290"/>
                <a:gd name="connsiteX70" fmla="*/ 47998 w 66882"/>
                <a:gd name="connsiteY70" fmla="*/ 39736 h 102290"/>
                <a:gd name="connsiteX71" fmla="*/ 44064 w 66882"/>
                <a:gd name="connsiteY71" fmla="*/ 40523 h 102290"/>
                <a:gd name="connsiteX72" fmla="*/ 44064 w 66882"/>
                <a:gd name="connsiteY72" fmla="*/ 41310 h 102290"/>
                <a:gd name="connsiteX73" fmla="*/ 41310 w 66882"/>
                <a:gd name="connsiteY73" fmla="*/ 45244 h 102290"/>
                <a:gd name="connsiteX74" fmla="*/ 42096 w 66882"/>
                <a:gd name="connsiteY74" fmla="*/ 43277 h 102290"/>
                <a:gd name="connsiteX75" fmla="*/ 39343 w 66882"/>
                <a:gd name="connsiteY75" fmla="*/ 47605 h 102290"/>
                <a:gd name="connsiteX76" fmla="*/ 40129 w 66882"/>
                <a:gd name="connsiteY76" fmla="*/ 46818 h 102290"/>
                <a:gd name="connsiteX77" fmla="*/ 39736 w 66882"/>
                <a:gd name="connsiteY77" fmla="*/ 47605 h 102290"/>
                <a:gd name="connsiteX78" fmla="*/ 28720 w 66882"/>
                <a:gd name="connsiteY78" fmla="*/ 64129 h 102290"/>
                <a:gd name="connsiteX79" fmla="*/ 28327 w 66882"/>
                <a:gd name="connsiteY79" fmla="*/ 64915 h 102290"/>
                <a:gd name="connsiteX80" fmla="*/ 26753 w 66882"/>
                <a:gd name="connsiteY80" fmla="*/ 67669 h 102290"/>
                <a:gd name="connsiteX81" fmla="*/ 26359 w 66882"/>
                <a:gd name="connsiteY81" fmla="*/ 68063 h 102290"/>
                <a:gd name="connsiteX82" fmla="*/ 23213 w 66882"/>
                <a:gd name="connsiteY82" fmla="*/ 73177 h 102290"/>
                <a:gd name="connsiteX83" fmla="*/ 20065 w 66882"/>
                <a:gd name="connsiteY83" fmla="*/ 72784 h 102290"/>
                <a:gd name="connsiteX84" fmla="*/ 17311 w 66882"/>
                <a:gd name="connsiteY84" fmla="*/ 75145 h 102290"/>
                <a:gd name="connsiteX85" fmla="*/ 16524 w 66882"/>
                <a:gd name="connsiteY85" fmla="*/ 75538 h 102290"/>
                <a:gd name="connsiteX86" fmla="*/ 12589 w 66882"/>
                <a:gd name="connsiteY86" fmla="*/ 79079 h 102290"/>
                <a:gd name="connsiteX87" fmla="*/ 12589 w 66882"/>
                <a:gd name="connsiteY87" fmla="*/ 79079 h 102290"/>
                <a:gd name="connsiteX88" fmla="*/ 12197 w 66882"/>
                <a:gd name="connsiteY88" fmla="*/ 79866 h 102290"/>
                <a:gd name="connsiteX89" fmla="*/ 11410 w 66882"/>
                <a:gd name="connsiteY89" fmla="*/ 80259 h 102290"/>
                <a:gd name="connsiteX90" fmla="*/ 11410 w 66882"/>
                <a:gd name="connsiteY90" fmla="*/ 80259 h 102290"/>
                <a:gd name="connsiteX91" fmla="*/ 9443 w 66882"/>
                <a:gd name="connsiteY91" fmla="*/ 83013 h 102290"/>
                <a:gd name="connsiteX92" fmla="*/ 9443 w 66882"/>
                <a:gd name="connsiteY92" fmla="*/ 83013 h 102290"/>
                <a:gd name="connsiteX93" fmla="*/ 9049 w 66882"/>
                <a:gd name="connsiteY93" fmla="*/ 83800 h 102290"/>
                <a:gd name="connsiteX94" fmla="*/ 7869 w 66882"/>
                <a:gd name="connsiteY94" fmla="*/ 86160 h 102290"/>
                <a:gd name="connsiteX95" fmla="*/ 5509 w 66882"/>
                <a:gd name="connsiteY95" fmla="*/ 90095 h 102290"/>
                <a:gd name="connsiteX96" fmla="*/ 3541 w 66882"/>
                <a:gd name="connsiteY96" fmla="*/ 92062 h 102290"/>
                <a:gd name="connsiteX97" fmla="*/ 2361 w 66882"/>
                <a:gd name="connsiteY97" fmla="*/ 94816 h 102290"/>
                <a:gd name="connsiteX98" fmla="*/ 1574 w 66882"/>
                <a:gd name="connsiteY98" fmla="*/ 95603 h 102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66882" h="102290">
                  <a:moveTo>
                    <a:pt x="394" y="98357"/>
                  </a:moveTo>
                  <a:lnTo>
                    <a:pt x="394" y="101504"/>
                  </a:lnTo>
                  <a:lnTo>
                    <a:pt x="0" y="104258"/>
                  </a:lnTo>
                  <a:lnTo>
                    <a:pt x="2754" y="101504"/>
                  </a:lnTo>
                  <a:lnTo>
                    <a:pt x="5901" y="98750"/>
                  </a:lnTo>
                  <a:lnTo>
                    <a:pt x="8655" y="98357"/>
                  </a:lnTo>
                  <a:lnTo>
                    <a:pt x="7082" y="99143"/>
                  </a:lnTo>
                  <a:lnTo>
                    <a:pt x="7476" y="99143"/>
                  </a:lnTo>
                  <a:lnTo>
                    <a:pt x="8655" y="98357"/>
                  </a:lnTo>
                  <a:lnTo>
                    <a:pt x="8655" y="98357"/>
                  </a:lnTo>
                  <a:lnTo>
                    <a:pt x="8655" y="97963"/>
                  </a:lnTo>
                  <a:lnTo>
                    <a:pt x="10622" y="97176"/>
                  </a:lnTo>
                  <a:lnTo>
                    <a:pt x="8655" y="97963"/>
                  </a:lnTo>
                  <a:lnTo>
                    <a:pt x="10229" y="95209"/>
                  </a:lnTo>
                  <a:lnTo>
                    <a:pt x="12983" y="92849"/>
                  </a:lnTo>
                  <a:lnTo>
                    <a:pt x="16131" y="92062"/>
                  </a:lnTo>
                  <a:lnTo>
                    <a:pt x="18098" y="89308"/>
                  </a:lnTo>
                  <a:lnTo>
                    <a:pt x="21246" y="86947"/>
                  </a:lnTo>
                  <a:lnTo>
                    <a:pt x="23999" y="84193"/>
                  </a:lnTo>
                  <a:lnTo>
                    <a:pt x="25573" y="81046"/>
                  </a:lnTo>
                  <a:lnTo>
                    <a:pt x="25967" y="78685"/>
                  </a:lnTo>
                  <a:lnTo>
                    <a:pt x="30294" y="75538"/>
                  </a:lnTo>
                  <a:lnTo>
                    <a:pt x="31868" y="75145"/>
                  </a:lnTo>
                  <a:lnTo>
                    <a:pt x="35016" y="73177"/>
                  </a:lnTo>
                  <a:lnTo>
                    <a:pt x="36983" y="70817"/>
                  </a:lnTo>
                  <a:lnTo>
                    <a:pt x="41704" y="62555"/>
                  </a:lnTo>
                  <a:lnTo>
                    <a:pt x="44064" y="59014"/>
                  </a:lnTo>
                  <a:lnTo>
                    <a:pt x="44064" y="56653"/>
                  </a:lnTo>
                  <a:lnTo>
                    <a:pt x="46818" y="47998"/>
                  </a:lnTo>
                  <a:lnTo>
                    <a:pt x="49965" y="47605"/>
                  </a:lnTo>
                  <a:lnTo>
                    <a:pt x="52326" y="47605"/>
                  </a:lnTo>
                  <a:lnTo>
                    <a:pt x="55474" y="46424"/>
                  </a:lnTo>
                  <a:lnTo>
                    <a:pt x="57047" y="43277"/>
                  </a:lnTo>
                  <a:lnTo>
                    <a:pt x="57047" y="40916"/>
                  </a:lnTo>
                  <a:lnTo>
                    <a:pt x="57441" y="40523"/>
                  </a:lnTo>
                  <a:lnTo>
                    <a:pt x="65309" y="35408"/>
                  </a:lnTo>
                  <a:lnTo>
                    <a:pt x="68457" y="32655"/>
                  </a:lnTo>
                  <a:lnTo>
                    <a:pt x="70424" y="29507"/>
                  </a:lnTo>
                  <a:lnTo>
                    <a:pt x="68063" y="26360"/>
                  </a:lnTo>
                  <a:lnTo>
                    <a:pt x="66096" y="23606"/>
                  </a:lnTo>
                  <a:lnTo>
                    <a:pt x="65702" y="20852"/>
                  </a:lnTo>
                  <a:lnTo>
                    <a:pt x="62948" y="18098"/>
                  </a:lnTo>
                  <a:lnTo>
                    <a:pt x="62162" y="14950"/>
                  </a:lnTo>
                  <a:lnTo>
                    <a:pt x="64129" y="12196"/>
                  </a:lnTo>
                  <a:lnTo>
                    <a:pt x="62162" y="9049"/>
                  </a:lnTo>
                  <a:lnTo>
                    <a:pt x="63342" y="5901"/>
                  </a:lnTo>
                  <a:lnTo>
                    <a:pt x="63342" y="3148"/>
                  </a:lnTo>
                  <a:lnTo>
                    <a:pt x="61375" y="0"/>
                  </a:lnTo>
                  <a:lnTo>
                    <a:pt x="59408" y="3148"/>
                  </a:lnTo>
                  <a:lnTo>
                    <a:pt x="59408" y="6295"/>
                  </a:lnTo>
                  <a:lnTo>
                    <a:pt x="59801" y="9049"/>
                  </a:lnTo>
                  <a:lnTo>
                    <a:pt x="59801" y="11803"/>
                  </a:lnTo>
                  <a:lnTo>
                    <a:pt x="57047" y="10229"/>
                  </a:lnTo>
                  <a:lnTo>
                    <a:pt x="58227" y="12983"/>
                  </a:lnTo>
                  <a:lnTo>
                    <a:pt x="58227" y="15737"/>
                  </a:lnTo>
                  <a:lnTo>
                    <a:pt x="60981" y="18491"/>
                  </a:lnTo>
                  <a:lnTo>
                    <a:pt x="61768" y="21638"/>
                  </a:lnTo>
                  <a:lnTo>
                    <a:pt x="59014" y="20065"/>
                  </a:lnTo>
                  <a:lnTo>
                    <a:pt x="55866" y="17704"/>
                  </a:lnTo>
                  <a:lnTo>
                    <a:pt x="54293" y="14950"/>
                  </a:lnTo>
                  <a:lnTo>
                    <a:pt x="54687" y="17704"/>
                  </a:lnTo>
                  <a:lnTo>
                    <a:pt x="56260" y="20852"/>
                  </a:lnTo>
                  <a:lnTo>
                    <a:pt x="58227" y="23999"/>
                  </a:lnTo>
                  <a:lnTo>
                    <a:pt x="58227" y="27540"/>
                  </a:lnTo>
                  <a:lnTo>
                    <a:pt x="56654" y="30687"/>
                  </a:lnTo>
                  <a:lnTo>
                    <a:pt x="53899" y="33835"/>
                  </a:lnTo>
                  <a:lnTo>
                    <a:pt x="52326" y="31081"/>
                  </a:lnTo>
                  <a:lnTo>
                    <a:pt x="51145" y="33835"/>
                  </a:lnTo>
                  <a:lnTo>
                    <a:pt x="47998" y="34622"/>
                  </a:lnTo>
                  <a:lnTo>
                    <a:pt x="48392" y="37769"/>
                  </a:lnTo>
                  <a:lnTo>
                    <a:pt x="47998" y="39736"/>
                  </a:lnTo>
                  <a:lnTo>
                    <a:pt x="44064" y="40523"/>
                  </a:lnTo>
                  <a:lnTo>
                    <a:pt x="44064" y="41310"/>
                  </a:lnTo>
                  <a:lnTo>
                    <a:pt x="41310" y="45244"/>
                  </a:lnTo>
                  <a:lnTo>
                    <a:pt x="42096" y="43277"/>
                  </a:lnTo>
                  <a:lnTo>
                    <a:pt x="39343" y="47605"/>
                  </a:lnTo>
                  <a:lnTo>
                    <a:pt x="40129" y="46818"/>
                  </a:lnTo>
                  <a:lnTo>
                    <a:pt x="39736" y="47605"/>
                  </a:lnTo>
                  <a:lnTo>
                    <a:pt x="28720" y="64129"/>
                  </a:lnTo>
                  <a:lnTo>
                    <a:pt x="28327" y="64915"/>
                  </a:lnTo>
                  <a:lnTo>
                    <a:pt x="26753" y="67669"/>
                  </a:lnTo>
                  <a:lnTo>
                    <a:pt x="26359" y="68063"/>
                  </a:lnTo>
                  <a:lnTo>
                    <a:pt x="23213" y="73177"/>
                  </a:lnTo>
                  <a:lnTo>
                    <a:pt x="20065" y="72784"/>
                  </a:lnTo>
                  <a:lnTo>
                    <a:pt x="17311" y="75145"/>
                  </a:lnTo>
                  <a:lnTo>
                    <a:pt x="16524" y="75538"/>
                  </a:lnTo>
                  <a:lnTo>
                    <a:pt x="12589" y="79079"/>
                  </a:lnTo>
                  <a:lnTo>
                    <a:pt x="12589" y="79079"/>
                  </a:lnTo>
                  <a:lnTo>
                    <a:pt x="12197" y="79866"/>
                  </a:lnTo>
                  <a:lnTo>
                    <a:pt x="11410" y="80259"/>
                  </a:lnTo>
                  <a:lnTo>
                    <a:pt x="11410" y="80259"/>
                  </a:lnTo>
                  <a:lnTo>
                    <a:pt x="9443" y="83013"/>
                  </a:lnTo>
                  <a:lnTo>
                    <a:pt x="9443" y="83013"/>
                  </a:lnTo>
                  <a:lnTo>
                    <a:pt x="9049" y="83800"/>
                  </a:lnTo>
                  <a:lnTo>
                    <a:pt x="7869" y="86160"/>
                  </a:lnTo>
                  <a:lnTo>
                    <a:pt x="5509" y="90095"/>
                  </a:lnTo>
                  <a:lnTo>
                    <a:pt x="3541" y="92062"/>
                  </a:lnTo>
                  <a:lnTo>
                    <a:pt x="2361" y="94816"/>
                  </a:lnTo>
                  <a:lnTo>
                    <a:pt x="1574" y="9560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88" name="Freeform: Shape 3782">
              <a:extLst>
                <a:ext uri="{FF2B5EF4-FFF2-40B4-BE49-F238E27FC236}">
                  <a16:creationId xmlns:a16="http://schemas.microsoft.com/office/drawing/2014/main" id="{83EF0F8A-7580-480D-B77F-5E529BA89F13}"/>
                </a:ext>
              </a:extLst>
            </p:cNvPr>
            <p:cNvSpPr/>
            <p:nvPr/>
          </p:nvSpPr>
          <p:spPr>
            <a:xfrm>
              <a:off x="9736768" y="3471532"/>
              <a:ext cx="7869" cy="3934"/>
            </a:xfrm>
            <a:custGeom>
              <a:avLst/>
              <a:gdLst>
                <a:gd name="connsiteX0" fmla="*/ 5901 w 7868"/>
                <a:gd name="connsiteY0" fmla="*/ 2754 h 3934"/>
                <a:gd name="connsiteX1" fmla="*/ 2755 w 7868"/>
                <a:gd name="connsiteY1" fmla="*/ 0 h 3934"/>
                <a:gd name="connsiteX2" fmla="*/ 0 w 7868"/>
                <a:gd name="connsiteY2" fmla="*/ 0 h 3934"/>
                <a:gd name="connsiteX3" fmla="*/ 7869 w 7868"/>
                <a:gd name="connsiteY3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68" h="3934">
                  <a:moveTo>
                    <a:pt x="5901" y="2754"/>
                  </a:moveTo>
                  <a:lnTo>
                    <a:pt x="2755" y="0"/>
                  </a:lnTo>
                  <a:lnTo>
                    <a:pt x="0" y="0"/>
                  </a:lnTo>
                  <a:lnTo>
                    <a:pt x="7869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89" name="Freeform: Shape 3783">
              <a:extLst>
                <a:ext uri="{FF2B5EF4-FFF2-40B4-BE49-F238E27FC236}">
                  <a16:creationId xmlns:a16="http://schemas.microsoft.com/office/drawing/2014/main" id="{5FC060BC-3C90-4FA9-A1F3-B2D3AAB6A8E1}"/>
                </a:ext>
              </a:extLst>
            </p:cNvPr>
            <p:cNvSpPr/>
            <p:nvPr/>
          </p:nvSpPr>
          <p:spPr>
            <a:xfrm>
              <a:off x="9742669" y="3466417"/>
              <a:ext cx="3934" cy="3934"/>
            </a:xfrm>
            <a:custGeom>
              <a:avLst/>
              <a:gdLst>
                <a:gd name="connsiteX0" fmla="*/ 1967 w 0"/>
                <a:gd name="connsiteY0" fmla="*/ 4721 h 3934"/>
                <a:gd name="connsiteX1" fmla="*/ 3148 w 0"/>
                <a:gd name="connsiteY1" fmla="*/ 7475 h 3934"/>
                <a:gd name="connsiteX2" fmla="*/ 2361 w 0"/>
                <a:gd name="connsiteY2" fmla="*/ 0 h 3934"/>
                <a:gd name="connsiteX3" fmla="*/ 0 w 0"/>
                <a:gd name="connsiteY3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967" y="4721"/>
                  </a:moveTo>
                  <a:lnTo>
                    <a:pt x="3148" y="7475"/>
                  </a:lnTo>
                  <a:lnTo>
                    <a:pt x="2361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90" name="Freeform: Shape 3784">
              <a:extLst>
                <a:ext uri="{FF2B5EF4-FFF2-40B4-BE49-F238E27FC236}">
                  <a16:creationId xmlns:a16="http://schemas.microsoft.com/office/drawing/2014/main" id="{E8819411-394F-4788-8D46-8A6AC9FA693B}"/>
                </a:ext>
              </a:extLst>
            </p:cNvPr>
            <p:cNvSpPr/>
            <p:nvPr/>
          </p:nvSpPr>
          <p:spPr>
            <a:xfrm>
              <a:off x="9822929" y="3423927"/>
              <a:ext cx="7869" cy="11803"/>
            </a:xfrm>
            <a:custGeom>
              <a:avLst/>
              <a:gdLst>
                <a:gd name="connsiteX0" fmla="*/ 3148 w 7868"/>
                <a:gd name="connsiteY0" fmla="*/ 5901 h 11802"/>
                <a:gd name="connsiteX1" fmla="*/ 0 w 7868"/>
                <a:gd name="connsiteY1" fmla="*/ 7082 h 11802"/>
                <a:gd name="connsiteX2" fmla="*/ 0 w 7868"/>
                <a:gd name="connsiteY2" fmla="*/ 9836 h 11802"/>
                <a:gd name="connsiteX3" fmla="*/ 2754 w 7868"/>
                <a:gd name="connsiteY3" fmla="*/ 10229 h 11802"/>
                <a:gd name="connsiteX4" fmla="*/ 5901 w 7868"/>
                <a:gd name="connsiteY4" fmla="*/ 10229 h 11802"/>
                <a:gd name="connsiteX5" fmla="*/ 8261 w 7868"/>
                <a:gd name="connsiteY5" fmla="*/ 13377 h 11802"/>
                <a:gd name="connsiteX6" fmla="*/ 5508 w 7868"/>
                <a:gd name="connsiteY6" fmla="*/ 0 h 11802"/>
                <a:gd name="connsiteX7" fmla="*/ 4721 w 7868"/>
                <a:gd name="connsiteY7" fmla="*/ 3147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11802">
                  <a:moveTo>
                    <a:pt x="3148" y="5901"/>
                  </a:moveTo>
                  <a:lnTo>
                    <a:pt x="0" y="7082"/>
                  </a:lnTo>
                  <a:lnTo>
                    <a:pt x="0" y="9836"/>
                  </a:lnTo>
                  <a:lnTo>
                    <a:pt x="2754" y="10229"/>
                  </a:lnTo>
                  <a:lnTo>
                    <a:pt x="5901" y="10229"/>
                  </a:lnTo>
                  <a:lnTo>
                    <a:pt x="8261" y="13377"/>
                  </a:lnTo>
                  <a:lnTo>
                    <a:pt x="5508" y="0"/>
                  </a:lnTo>
                  <a:lnTo>
                    <a:pt x="472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91" name="Freeform: Shape 3785">
              <a:extLst>
                <a:ext uri="{FF2B5EF4-FFF2-40B4-BE49-F238E27FC236}">
                  <a16:creationId xmlns:a16="http://schemas.microsoft.com/office/drawing/2014/main" id="{A7B74F90-FEDF-4A7D-93D3-72CF0B135150}"/>
                </a:ext>
              </a:extLst>
            </p:cNvPr>
            <p:cNvSpPr/>
            <p:nvPr/>
          </p:nvSpPr>
          <p:spPr>
            <a:xfrm>
              <a:off x="9831190" y="3437304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92" name="Freeform: Shape 3786">
              <a:extLst>
                <a:ext uri="{FF2B5EF4-FFF2-40B4-BE49-F238E27FC236}">
                  <a16:creationId xmlns:a16="http://schemas.microsoft.com/office/drawing/2014/main" id="{C73E77B4-9732-440F-8CFB-CB5C7DD22190}"/>
                </a:ext>
              </a:extLst>
            </p:cNvPr>
            <p:cNvSpPr/>
            <p:nvPr/>
          </p:nvSpPr>
          <p:spPr>
            <a:xfrm>
              <a:off x="9776111" y="3410944"/>
              <a:ext cx="3934" cy="3934"/>
            </a:xfrm>
            <a:custGeom>
              <a:avLst/>
              <a:gdLst>
                <a:gd name="connsiteX0" fmla="*/ 0 w 3934"/>
                <a:gd name="connsiteY0" fmla="*/ 1180 h 3934"/>
                <a:gd name="connsiteX1" fmla="*/ 1967 w 3934"/>
                <a:gd name="connsiteY1" fmla="*/ 4328 h 3934"/>
                <a:gd name="connsiteX2" fmla="*/ 4722 w 3934"/>
                <a:gd name="connsiteY2" fmla="*/ 5901 h 3934"/>
                <a:gd name="connsiteX3" fmla="*/ 5115 w 3934"/>
                <a:gd name="connsiteY3" fmla="*/ 2754 h 3934"/>
                <a:gd name="connsiteX4" fmla="*/ 2755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1180"/>
                  </a:moveTo>
                  <a:lnTo>
                    <a:pt x="1967" y="4328"/>
                  </a:lnTo>
                  <a:lnTo>
                    <a:pt x="4722" y="5901"/>
                  </a:lnTo>
                  <a:lnTo>
                    <a:pt x="5115" y="2754"/>
                  </a:lnTo>
                  <a:lnTo>
                    <a:pt x="275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93" name="Freeform: Shape 3787">
              <a:extLst>
                <a:ext uri="{FF2B5EF4-FFF2-40B4-BE49-F238E27FC236}">
                  <a16:creationId xmlns:a16="http://schemas.microsoft.com/office/drawing/2014/main" id="{72EE8BDE-CAC9-48E4-A827-10B41F0E0DF3}"/>
                </a:ext>
              </a:extLst>
            </p:cNvPr>
            <p:cNvSpPr/>
            <p:nvPr/>
          </p:nvSpPr>
          <p:spPr>
            <a:xfrm>
              <a:off x="9743063" y="3408977"/>
              <a:ext cx="3934" cy="3934"/>
            </a:xfrm>
            <a:custGeom>
              <a:avLst/>
              <a:gdLst>
                <a:gd name="connsiteX0" fmla="*/ 5508 w 3934"/>
                <a:gd name="connsiteY0" fmla="*/ 5901 h 3934"/>
                <a:gd name="connsiteX1" fmla="*/ 4721 w 3934"/>
                <a:gd name="connsiteY1" fmla="*/ 3147 h 3934"/>
                <a:gd name="connsiteX2" fmla="*/ 2754 w 3934"/>
                <a:gd name="connsiteY2" fmla="*/ 0 h 3934"/>
                <a:gd name="connsiteX3" fmla="*/ 0 w 3934"/>
                <a:gd name="connsiteY3" fmla="*/ 2754 h 3934"/>
                <a:gd name="connsiteX4" fmla="*/ 0 w 3934"/>
                <a:gd name="connsiteY4" fmla="*/ 5901 h 3934"/>
                <a:gd name="connsiteX5" fmla="*/ 1967 w 3934"/>
                <a:gd name="connsiteY5" fmla="*/ 7082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5508" y="5901"/>
                  </a:moveTo>
                  <a:lnTo>
                    <a:pt x="4721" y="3147"/>
                  </a:lnTo>
                  <a:lnTo>
                    <a:pt x="2754" y="0"/>
                  </a:lnTo>
                  <a:lnTo>
                    <a:pt x="0" y="2754"/>
                  </a:lnTo>
                  <a:lnTo>
                    <a:pt x="0" y="5901"/>
                  </a:lnTo>
                  <a:lnTo>
                    <a:pt x="1967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94" name="Freeform: Shape 3788">
              <a:extLst>
                <a:ext uri="{FF2B5EF4-FFF2-40B4-BE49-F238E27FC236}">
                  <a16:creationId xmlns:a16="http://schemas.microsoft.com/office/drawing/2014/main" id="{7D56B06B-F7D8-4C9F-9FA6-49059CB7CB32}"/>
                </a:ext>
              </a:extLst>
            </p:cNvPr>
            <p:cNvSpPr/>
            <p:nvPr/>
          </p:nvSpPr>
          <p:spPr>
            <a:xfrm>
              <a:off x="9815453" y="3396388"/>
              <a:ext cx="3934" cy="3934"/>
            </a:xfrm>
            <a:custGeom>
              <a:avLst/>
              <a:gdLst>
                <a:gd name="connsiteX0" fmla="*/ 0 w 0"/>
                <a:gd name="connsiteY0" fmla="*/ 4328 h 3934"/>
                <a:gd name="connsiteX1" fmla="*/ 3148 w 0"/>
                <a:gd name="connsiteY1" fmla="*/ 0 h 3934"/>
                <a:gd name="connsiteX2" fmla="*/ 0 w 0"/>
                <a:gd name="connsiteY2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0" y="4328"/>
                  </a:moveTo>
                  <a:lnTo>
                    <a:pt x="3148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95" name="Freeform: Shape 3789">
              <a:extLst>
                <a:ext uri="{FF2B5EF4-FFF2-40B4-BE49-F238E27FC236}">
                  <a16:creationId xmlns:a16="http://schemas.microsoft.com/office/drawing/2014/main" id="{F2E25320-6AED-4819-A50F-F3FF8FD96091}"/>
                </a:ext>
              </a:extLst>
            </p:cNvPr>
            <p:cNvSpPr/>
            <p:nvPr/>
          </p:nvSpPr>
          <p:spPr>
            <a:xfrm>
              <a:off x="9672640" y="3394814"/>
              <a:ext cx="3934" cy="3934"/>
            </a:xfrm>
            <a:custGeom>
              <a:avLst/>
              <a:gdLst>
                <a:gd name="connsiteX0" fmla="*/ 0 w 0"/>
                <a:gd name="connsiteY0" fmla="*/ 5115 h 3934"/>
                <a:gd name="connsiteX1" fmla="*/ 0 w 0"/>
                <a:gd name="connsiteY1" fmla="*/ 5115 h 3934"/>
                <a:gd name="connsiteX2" fmla="*/ 3147 w 0"/>
                <a:gd name="connsiteY2" fmla="*/ 3148 h 3934"/>
                <a:gd name="connsiteX3" fmla="*/ 2360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5115"/>
                  </a:moveTo>
                  <a:lnTo>
                    <a:pt x="0" y="5115"/>
                  </a:lnTo>
                  <a:lnTo>
                    <a:pt x="3147" y="3148"/>
                  </a:lnTo>
                  <a:lnTo>
                    <a:pt x="236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96" name="Freeform: Shape 3790">
              <a:extLst>
                <a:ext uri="{FF2B5EF4-FFF2-40B4-BE49-F238E27FC236}">
                  <a16:creationId xmlns:a16="http://schemas.microsoft.com/office/drawing/2014/main" id="{42D5625D-B779-478B-B03D-78CF59BC3307}"/>
                </a:ext>
              </a:extLst>
            </p:cNvPr>
            <p:cNvSpPr/>
            <p:nvPr/>
          </p:nvSpPr>
          <p:spPr>
            <a:xfrm>
              <a:off x="9812307" y="3394420"/>
              <a:ext cx="3934" cy="3934"/>
            </a:xfrm>
            <a:custGeom>
              <a:avLst/>
              <a:gdLst>
                <a:gd name="connsiteX0" fmla="*/ 0 w 0"/>
                <a:gd name="connsiteY0" fmla="*/ 3934 h 3934"/>
                <a:gd name="connsiteX1" fmla="*/ 787 w 0"/>
                <a:gd name="connsiteY1" fmla="*/ 2754 h 3934"/>
                <a:gd name="connsiteX2" fmla="*/ 787 w 0"/>
                <a:gd name="connsiteY2" fmla="*/ 3147 h 3934"/>
                <a:gd name="connsiteX3" fmla="*/ 1967 w 0"/>
                <a:gd name="connsiteY3" fmla="*/ 5901 h 3934"/>
                <a:gd name="connsiteX4" fmla="*/ 2754 w 0"/>
                <a:gd name="connsiteY4" fmla="*/ 5901 h 3934"/>
                <a:gd name="connsiteX5" fmla="*/ 3147 w 0"/>
                <a:gd name="connsiteY5" fmla="*/ 2754 h 3934"/>
                <a:gd name="connsiteX6" fmla="*/ 1967 w 0"/>
                <a:gd name="connsiteY6" fmla="*/ 1180 h 3934"/>
                <a:gd name="connsiteX7" fmla="*/ 3147 w 0"/>
                <a:gd name="connsiteY7" fmla="*/ 0 h 3934"/>
                <a:gd name="connsiteX8" fmla="*/ 1180 w 0"/>
                <a:gd name="connsiteY8" fmla="*/ 393 h 3934"/>
                <a:gd name="connsiteX9" fmla="*/ 787 w 0"/>
                <a:gd name="connsiteY9" fmla="*/ 0 h 3934"/>
                <a:gd name="connsiteX10" fmla="*/ 787 w 0"/>
                <a:gd name="connsiteY10" fmla="*/ 393 h 3934"/>
                <a:gd name="connsiteX11" fmla="*/ 0 w 0"/>
                <a:gd name="connsiteY11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h="3934">
                  <a:moveTo>
                    <a:pt x="0" y="3934"/>
                  </a:moveTo>
                  <a:lnTo>
                    <a:pt x="787" y="2754"/>
                  </a:lnTo>
                  <a:lnTo>
                    <a:pt x="787" y="3147"/>
                  </a:lnTo>
                  <a:lnTo>
                    <a:pt x="1967" y="5901"/>
                  </a:lnTo>
                  <a:lnTo>
                    <a:pt x="2754" y="5901"/>
                  </a:lnTo>
                  <a:lnTo>
                    <a:pt x="3147" y="2754"/>
                  </a:lnTo>
                  <a:lnTo>
                    <a:pt x="1967" y="1180"/>
                  </a:lnTo>
                  <a:lnTo>
                    <a:pt x="3147" y="0"/>
                  </a:lnTo>
                  <a:lnTo>
                    <a:pt x="1180" y="393"/>
                  </a:lnTo>
                  <a:lnTo>
                    <a:pt x="787" y="0"/>
                  </a:lnTo>
                  <a:lnTo>
                    <a:pt x="787" y="393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97" name="Freeform: Shape 3791">
              <a:extLst>
                <a:ext uri="{FF2B5EF4-FFF2-40B4-BE49-F238E27FC236}">
                  <a16:creationId xmlns:a16="http://schemas.microsoft.com/office/drawing/2014/main" id="{63E9A9B1-A794-4891-91CE-4AB714322DB0}"/>
                </a:ext>
              </a:extLst>
            </p:cNvPr>
            <p:cNvSpPr/>
            <p:nvPr/>
          </p:nvSpPr>
          <p:spPr>
            <a:xfrm>
              <a:off x="9741490" y="3390093"/>
              <a:ext cx="3934" cy="3934"/>
            </a:xfrm>
            <a:custGeom>
              <a:avLst/>
              <a:gdLst>
                <a:gd name="connsiteX0" fmla="*/ 787 w 0"/>
                <a:gd name="connsiteY0" fmla="*/ 2754 h 3934"/>
                <a:gd name="connsiteX1" fmla="*/ 0 w 0"/>
                <a:gd name="connsiteY1" fmla="*/ 5901 h 3934"/>
                <a:gd name="connsiteX2" fmla="*/ 0 w 0"/>
                <a:gd name="connsiteY2" fmla="*/ 6688 h 3934"/>
                <a:gd name="connsiteX3" fmla="*/ 2360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787" y="2754"/>
                  </a:moveTo>
                  <a:lnTo>
                    <a:pt x="0" y="5901"/>
                  </a:lnTo>
                  <a:lnTo>
                    <a:pt x="0" y="6688"/>
                  </a:lnTo>
                  <a:lnTo>
                    <a:pt x="236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98" name="Freeform: Shape 3792">
              <a:extLst>
                <a:ext uri="{FF2B5EF4-FFF2-40B4-BE49-F238E27FC236}">
                  <a16:creationId xmlns:a16="http://schemas.microsoft.com/office/drawing/2014/main" id="{C7B33B3B-053F-4C8B-9F4A-E76C6E6957E4}"/>
                </a:ext>
              </a:extLst>
            </p:cNvPr>
            <p:cNvSpPr/>
            <p:nvPr/>
          </p:nvSpPr>
          <p:spPr>
            <a:xfrm>
              <a:off x="9812699" y="3385372"/>
              <a:ext cx="7869" cy="7869"/>
            </a:xfrm>
            <a:custGeom>
              <a:avLst/>
              <a:gdLst>
                <a:gd name="connsiteX0" fmla="*/ 0 w 7868"/>
                <a:gd name="connsiteY0" fmla="*/ 2754 h 7868"/>
                <a:gd name="connsiteX1" fmla="*/ 1180 w 7868"/>
                <a:gd name="connsiteY1" fmla="*/ 6295 h 7868"/>
                <a:gd name="connsiteX2" fmla="*/ 3148 w 7868"/>
                <a:gd name="connsiteY2" fmla="*/ 8262 h 7868"/>
                <a:gd name="connsiteX3" fmla="*/ 3148 w 7868"/>
                <a:gd name="connsiteY3" fmla="*/ 7869 h 7868"/>
                <a:gd name="connsiteX4" fmla="*/ 3934 w 7868"/>
                <a:gd name="connsiteY4" fmla="*/ 8655 h 7868"/>
                <a:gd name="connsiteX5" fmla="*/ 3934 w 7868"/>
                <a:gd name="connsiteY5" fmla="*/ 8655 h 7868"/>
                <a:gd name="connsiteX6" fmla="*/ 6688 w 7868"/>
                <a:gd name="connsiteY6" fmla="*/ 8262 h 7868"/>
                <a:gd name="connsiteX7" fmla="*/ 7869 w 7868"/>
                <a:gd name="connsiteY7" fmla="*/ 7082 h 7868"/>
                <a:gd name="connsiteX8" fmla="*/ 7869 w 7868"/>
                <a:gd name="connsiteY8" fmla="*/ 6295 h 7868"/>
                <a:gd name="connsiteX9" fmla="*/ 5509 w 7868"/>
                <a:gd name="connsiteY9" fmla="*/ 787 h 7868"/>
                <a:gd name="connsiteX10" fmla="*/ 5115 w 7868"/>
                <a:gd name="connsiteY10" fmla="*/ 393 h 7868"/>
                <a:gd name="connsiteX11" fmla="*/ 4721 w 7868"/>
                <a:gd name="connsiteY11" fmla="*/ 0 h 7868"/>
                <a:gd name="connsiteX12" fmla="*/ 3541 w 7868"/>
                <a:gd name="connsiteY12" fmla="*/ 0 h 7868"/>
                <a:gd name="connsiteX13" fmla="*/ 2361 w 7868"/>
                <a:gd name="connsiteY13" fmla="*/ 2360 h 7868"/>
                <a:gd name="connsiteX14" fmla="*/ 1574 w 7868"/>
                <a:gd name="connsiteY14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68" h="7868">
                  <a:moveTo>
                    <a:pt x="0" y="2754"/>
                  </a:moveTo>
                  <a:lnTo>
                    <a:pt x="1180" y="6295"/>
                  </a:lnTo>
                  <a:lnTo>
                    <a:pt x="3148" y="8262"/>
                  </a:lnTo>
                  <a:lnTo>
                    <a:pt x="3148" y="7869"/>
                  </a:lnTo>
                  <a:lnTo>
                    <a:pt x="3934" y="8655"/>
                  </a:lnTo>
                  <a:lnTo>
                    <a:pt x="3934" y="8655"/>
                  </a:lnTo>
                  <a:lnTo>
                    <a:pt x="6688" y="8262"/>
                  </a:lnTo>
                  <a:lnTo>
                    <a:pt x="7869" y="7082"/>
                  </a:lnTo>
                  <a:lnTo>
                    <a:pt x="7869" y="6295"/>
                  </a:lnTo>
                  <a:lnTo>
                    <a:pt x="5509" y="787"/>
                  </a:lnTo>
                  <a:lnTo>
                    <a:pt x="5115" y="393"/>
                  </a:lnTo>
                  <a:lnTo>
                    <a:pt x="4721" y="0"/>
                  </a:lnTo>
                  <a:lnTo>
                    <a:pt x="3541" y="0"/>
                  </a:lnTo>
                  <a:lnTo>
                    <a:pt x="2361" y="2360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99" name="Freeform: Shape 3793">
              <a:extLst>
                <a:ext uri="{FF2B5EF4-FFF2-40B4-BE49-F238E27FC236}">
                  <a16:creationId xmlns:a16="http://schemas.microsoft.com/office/drawing/2014/main" id="{324B9D13-9EC4-4488-82D2-02626F7B107E}"/>
                </a:ext>
              </a:extLst>
            </p:cNvPr>
            <p:cNvSpPr/>
            <p:nvPr/>
          </p:nvSpPr>
          <p:spPr>
            <a:xfrm>
              <a:off x="9805618" y="3385372"/>
              <a:ext cx="3934" cy="3934"/>
            </a:xfrm>
            <a:custGeom>
              <a:avLst/>
              <a:gdLst>
                <a:gd name="connsiteX0" fmla="*/ 1180 w 0"/>
                <a:gd name="connsiteY0" fmla="*/ 4328 h 3934"/>
                <a:gd name="connsiteX1" fmla="*/ 0 w 0"/>
                <a:gd name="connsiteY1" fmla="*/ 0 h 3934"/>
                <a:gd name="connsiteX2" fmla="*/ 788 w 0"/>
                <a:gd name="connsiteY2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180" y="4328"/>
                  </a:moveTo>
                  <a:lnTo>
                    <a:pt x="0" y="0"/>
                  </a:lnTo>
                  <a:lnTo>
                    <a:pt x="78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00" name="Freeform: Shape 3794">
              <a:extLst>
                <a:ext uri="{FF2B5EF4-FFF2-40B4-BE49-F238E27FC236}">
                  <a16:creationId xmlns:a16="http://schemas.microsoft.com/office/drawing/2014/main" id="{B5D3A788-1A0D-485F-B198-8279CE142A6A}"/>
                </a:ext>
              </a:extLst>
            </p:cNvPr>
            <p:cNvSpPr/>
            <p:nvPr/>
          </p:nvSpPr>
          <p:spPr>
            <a:xfrm>
              <a:off x="9679328" y="3519137"/>
              <a:ext cx="3934" cy="3934"/>
            </a:xfrm>
            <a:custGeom>
              <a:avLst/>
              <a:gdLst>
                <a:gd name="connsiteX0" fmla="*/ 5901 w 3934"/>
                <a:gd name="connsiteY0" fmla="*/ 1967 h 0"/>
                <a:gd name="connsiteX1" fmla="*/ 0 w 3934"/>
                <a:gd name="connsiteY1" fmla="*/ 0 h 0"/>
                <a:gd name="connsiteX2" fmla="*/ 2754 w 3934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5901" y="1967"/>
                  </a:moveTo>
                  <a:lnTo>
                    <a:pt x="0" y="0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01" name="Freeform: Shape 3795">
              <a:extLst>
                <a:ext uri="{FF2B5EF4-FFF2-40B4-BE49-F238E27FC236}">
                  <a16:creationId xmlns:a16="http://schemas.microsoft.com/office/drawing/2014/main" id="{913D94C2-5D81-4737-85E0-76F8D159CE91}"/>
                </a:ext>
              </a:extLst>
            </p:cNvPr>
            <p:cNvSpPr/>
            <p:nvPr/>
          </p:nvSpPr>
          <p:spPr>
            <a:xfrm>
              <a:off x="9670673" y="3517956"/>
              <a:ext cx="11803" cy="7869"/>
            </a:xfrm>
            <a:custGeom>
              <a:avLst/>
              <a:gdLst>
                <a:gd name="connsiteX0" fmla="*/ 2754 w 11802"/>
                <a:gd name="connsiteY0" fmla="*/ 1574 h 7868"/>
                <a:gd name="connsiteX1" fmla="*/ 0 w 11802"/>
                <a:gd name="connsiteY1" fmla="*/ 3147 h 7868"/>
                <a:gd name="connsiteX2" fmla="*/ 2360 w 11802"/>
                <a:gd name="connsiteY2" fmla="*/ 2360 h 7868"/>
                <a:gd name="connsiteX3" fmla="*/ 0 w 11802"/>
                <a:gd name="connsiteY3" fmla="*/ 3934 h 7868"/>
                <a:gd name="connsiteX4" fmla="*/ 1573 w 11802"/>
                <a:gd name="connsiteY4" fmla="*/ 7082 h 7868"/>
                <a:gd name="connsiteX5" fmla="*/ 4327 w 11802"/>
                <a:gd name="connsiteY5" fmla="*/ 6295 h 7868"/>
                <a:gd name="connsiteX6" fmla="*/ 7475 w 11802"/>
                <a:gd name="connsiteY6" fmla="*/ 6688 h 7868"/>
                <a:gd name="connsiteX7" fmla="*/ 10622 w 11802"/>
                <a:gd name="connsiteY7" fmla="*/ 5508 h 7868"/>
                <a:gd name="connsiteX8" fmla="*/ 12589 w 11802"/>
                <a:gd name="connsiteY8" fmla="*/ 8262 h 7868"/>
                <a:gd name="connsiteX9" fmla="*/ 15343 w 11802"/>
                <a:gd name="connsiteY9" fmla="*/ 6295 h 7868"/>
                <a:gd name="connsiteX10" fmla="*/ 15343 w 11802"/>
                <a:gd name="connsiteY10" fmla="*/ 3147 h 7868"/>
                <a:gd name="connsiteX11" fmla="*/ 14557 w 11802"/>
                <a:gd name="connsiteY11" fmla="*/ 3147 h 7868"/>
                <a:gd name="connsiteX12" fmla="*/ 12196 w 11802"/>
                <a:gd name="connsiteY12" fmla="*/ 3147 h 7868"/>
                <a:gd name="connsiteX13" fmla="*/ 9048 w 11802"/>
                <a:gd name="connsiteY13" fmla="*/ 1967 h 7868"/>
                <a:gd name="connsiteX14" fmla="*/ 7869 w 11802"/>
                <a:gd name="connsiteY14" fmla="*/ 1180 h 7868"/>
                <a:gd name="connsiteX15" fmla="*/ 8655 w 11802"/>
                <a:gd name="connsiteY15" fmla="*/ 1180 h 7868"/>
                <a:gd name="connsiteX16" fmla="*/ 5901 w 11802"/>
                <a:gd name="connsiteY16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802" h="7868">
                  <a:moveTo>
                    <a:pt x="2754" y="1574"/>
                  </a:moveTo>
                  <a:lnTo>
                    <a:pt x="0" y="3147"/>
                  </a:lnTo>
                  <a:lnTo>
                    <a:pt x="2360" y="2360"/>
                  </a:lnTo>
                  <a:lnTo>
                    <a:pt x="0" y="3934"/>
                  </a:lnTo>
                  <a:lnTo>
                    <a:pt x="1573" y="7082"/>
                  </a:lnTo>
                  <a:lnTo>
                    <a:pt x="4327" y="6295"/>
                  </a:lnTo>
                  <a:lnTo>
                    <a:pt x="7475" y="6688"/>
                  </a:lnTo>
                  <a:lnTo>
                    <a:pt x="10622" y="5508"/>
                  </a:lnTo>
                  <a:lnTo>
                    <a:pt x="12589" y="8262"/>
                  </a:lnTo>
                  <a:lnTo>
                    <a:pt x="15343" y="6295"/>
                  </a:lnTo>
                  <a:lnTo>
                    <a:pt x="15343" y="3147"/>
                  </a:lnTo>
                  <a:lnTo>
                    <a:pt x="14557" y="3147"/>
                  </a:lnTo>
                  <a:lnTo>
                    <a:pt x="12196" y="3147"/>
                  </a:lnTo>
                  <a:lnTo>
                    <a:pt x="9048" y="1967"/>
                  </a:lnTo>
                  <a:lnTo>
                    <a:pt x="7869" y="1180"/>
                  </a:lnTo>
                  <a:lnTo>
                    <a:pt x="8655" y="1180"/>
                  </a:lnTo>
                  <a:lnTo>
                    <a:pt x="590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02" name="Freeform: Shape 3796">
              <a:extLst>
                <a:ext uri="{FF2B5EF4-FFF2-40B4-BE49-F238E27FC236}">
                  <a16:creationId xmlns:a16="http://schemas.microsoft.com/office/drawing/2014/main" id="{CE537E0F-5A96-4461-89A9-F50AA7AFF355}"/>
                </a:ext>
              </a:extLst>
            </p:cNvPr>
            <p:cNvSpPr/>
            <p:nvPr/>
          </p:nvSpPr>
          <p:spPr>
            <a:xfrm>
              <a:off x="9659657" y="3508907"/>
              <a:ext cx="3934" cy="3934"/>
            </a:xfrm>
            <a:custGeom>
              <a:avLst/>
              <a:gdLst>
                <a:gd name="connsiteX0" fmla="*/ 393 w 0"/>
                <a:gd name="connsiteY0" fmla="*/ 0 h 3934"/>
                <a:gd name="connsiteX1" fmla="*/ 0 w 0"/>
                <a:gd name="connsiteY1" fmla="*/ 3148 h 3934"/>
                <a:gd name="connsiteX2" fmla="*/ 787 w 0"/>
                <a:gd name="connsiteY2" fmla="*/ 4328 h 3934"/>
                <a:gd name="connsiteX3" fmla="*/ 1967 w 0"/>
                <a:gd name="connsiteY3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93" y="0"/>
                  </a:moveTo>
                  <a:lnTo>
                    <a:pt x="0" y="3148"/>
                  </a:lnTo>
                  <a:lnTo>
                    <a:pt x="787" y="4328"/>
                  </a:lnTo>
                  <a:lnTo>
                    <a:pt x="196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03" name="Freeform: Shape 3797">
              <a:extLst>
                <a:ext uri="{FF2B5EF4-FFF2-40B4-BE49-F238E27FC236}">
                  <a16:creationId xmlns:a16="http://schemas.microsoft.com/office/drawing/2014/main" id="{6552B314-FD40-435D-952D-1AFFB9EDBA70}"/>
                </a:ext>
              </a:extLst>
            </p:cNvPr>
            <p:cNvSpPr/>
            <p:nvPr/>
          </p:nvSpPr>
          <p:spPr>
            <a:xfrm>
              <a:off x="9825683" y="3504580"/>
              <a:ext cx="3934" cy="7869"/>
            </a:xfrm>
            <a:custGeom>
              <a:avLst/>
              <a:gdLst>
                <a:gd name="connsiteX0" fmla="*/ 3148 w 3934"/>
                <a:gd name="connsiteY0" fmla="*/ 5114 h 7868"/>
                <a:gd name="connsiteX1" fmla="*/ 1180 w 3934"/>
                <a:gd name="connsiteY1" fmla="*/ 1967 h 7868"/>
                <a:gd name="connsiteX2" fmla="*/ 0 w 3934"/>
                <a:gd name="connsiteY2" fmla="*/ 0 h 7868"/>
                <a:gd name="connsiteX3" fmla="*/ 3934 w 3934"/>
                <a:gd name="connsiteY3" fmla="*/ 826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7868">
                  <a:moveTo>
                    <a:pt x="3148" y="5114"/>
                  </a:moveTo>
                  <a:lnTo>
                    <a:pt x="1180" y="1967"/>
                  </a:lnTo>
                  <a:lnTo>
                    <a:pt x="0" y="0"/>
                  </a:lnTo>
                  <a:lnTo>
                    <a:pt x="3934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04" name="Freeform: Shape 3798">
              <a:extLst>
                <a:ext uri="{FF2B5EF4-FFF2-40B4-BE49-F238E27FC236}">
                  <a16:creationId xmlns:a16="http://schemas.microsoft.com/office/drawing/2014/main" id="{9143E5A7-8702-4AF9-922D-646B68DE7937}"/>
                </a:ext>
              </a:extLst>
            </p:cNvPr>
            <p:cNvSpPr/>
            <p:nvPr/>
          </p:nvSpPr>
          <p:spPr>
            <a:xfrm>
              <a:off x="9830011" y="3510481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05" name="Freeform: Shape 3799">
              <a:extLst>
                <a:ext uri="{FF2B5EF4-FFF2-40B4-BE49-F238E27FC236}">
                  <a16:creationId xmlns:a16="http://schemas.microsoft.com/office/drawing/2014/main" id="{1830974D-DEA2-4A52-BB31-18297F9BDA32}"/>
                </a:ext>
              </a:extLst>
            </p:cNvPr>
            <p:cNvSpPr/>
            <p:nvPr/>
          </p:nvSpPr>
          <p:spPr>
            <a:xfrm>
              <a:off x="9697032" y="3495531"/>
              <a:ext cx="15737" cy="11803"/>
            </a:xfrm>
            <a:custGeom>
              <a:avLst/>
              <a:gdLst>
                <a:gd name="connsiteX0" fmla="*/ 7082 w 15737"/>
                <a:gd name="connsiteY0" fmla="*/ 0 h 11802"/>
                <a:gd name="connsiteX1" fmla="*/ 5901 w 15737"/>
                <a:gd name="connsiteY1" fmla="*/ 787 h 11802"/>
                <a:gd name="connsiteX2" fmla="*/ 5901 w 15737"/>
                <a:gd name="connsiteY2" fmla="*/ 787 h 11802"/>
                <a:gd name="connsiteX3" fmla="*/ 5115 w 15737"/>
                <a:gd name="connsiteY3" fmla="*/ 1180 h 11802"/>
                <a:gd name="connsiteX4" fmla="*/ 4327 w 15737"/>
                <a:gd name="connsiteY4" fmla="*/ 2360 h 11802"/>
                <a:gd name="connsiteX5" fmla="*/ 787 w 15737"/>
                <a:gd name="connsiteY5" fmla="*/ 2360 h 11802"/>
                <a:gd name="connsiteX6" fmla="*/ 3540 w 15737"/>
                <a:gd name="connsiteY6" fmla="*/ 2754 h 11802"/>
                <a:gd name="connsiteX7" fmla="*/ 3148 w 15737"/>
                <a:gd name="connsiteY7" fmla="*/ 3147 h 11802"/>
                <a:gd name="connsiteX8" fmla="*/ 0 w 15737"/>
                <a:gd name="connsiteY8" fmla="*/ 4328 h 11802"/>
                <a:gd name="connsiteX9" fmla="*/ 2360 w 15737"/>
                <a:gd name="connsiteY9" fmla="*/ 7475 h 11802"/>
                <a:gd name="connsiteX10" fmla="*/ 2754 w 15737"/>
                <a:gd name="connsiteY10" fmla="*/ 9049 h 11802"/>
                <a:gd name="connsiteX11" fmla="*/ 5901 w 15737"/>
                <a:gd name="connsiteY11" fmla="*/ 11803 h 11802"/>
                <a:gd name="connsiteX12" fmla="*/ 6294 w 15737"/>
                <a:gd name="connsiteY12" fmla="*/ 11803 h 11802"/>
                <a:gd name="connsiteX13" fmla="*/ 8655 w 15737"/>
                <a:gd name="connsiteY13" fmla="*/ 11409 h 11802"/>
                <a:gd name="connsiteX14" fmla="*/ 11803 w 15737"/>
                <a:gd name="connsiteY14" fmla="*/ 10229 h 11802"/>
                <a:gd name="connsiteX15" fmla="*/ 12196 w 15737"/>
                <a:gd name="connsiteY15" fmla="*/ 9836 h 11802"/>
                <a:gd name="connsiteX16" fmla="*/ 12196 w 15737"/>
                <a:gd name="connsiteY16" fmla="*/ 9442 h 11802"/>
                <a:gd name="connsiteX17" fmla="*/ 12589 w 15737"/>
                <a:gd name="connsiteY17" fmla="*/ 6688 h 11802"/>
                <a:gd name="connsiteX18" fmla="*/ 13770 w 15737"/>
                <a:gd name="connsiteY18" fmla="*/ 4721 h 11802"/>
                <a:gd name="connsiteX19" fmla="*/ 16130 w 15737"/>
                <a:gd name="connsiteY19" fmla="*/ 5114 h 11802"/>
                <a:gd name="connsiteX20" fmla="*/ 16130 w 15737"/>
                <a:gd name="connsiteY20" fmla="*/ 3934 h 11802"/>
                <a:gd name="connsiteX21" fmla="*/ 12983 w 15737"/>
                <a:gd name="connsiteY21" fmla="*/ 2754 h 11802"/>
                <a:gd name="connsiteX22" fmla="*/ 10229 w 15737"/>
                <a:gd name="connsiteY22" fmla="*/ 118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37" h="11802">
                  <a:moveTo>
                    <a:pt x="7082" y="0"/>
                  </a:moveTo>
                  <a:lnTo>
                    <a:pt x="5901" y="787"/>
                  </a:lnTo>
                  <a:lnTo>
                    <a:pt x="5901" y="787"/>
                  </a:lnTo>
                  <a:lnTo>
                    <a:pt x="5115" y="1180"/>
                  </a:lnTo>
                  <a:lnTo>
                    <a:pt x="4327" y="2360"/>
                  </a:lnTo>
                  <a:lnTo>
                    <a:pt x="787" y="2360"/>
                  </a:lnTo>
                  <a:lnTo>
                    <a:pt x="3540" y="2754"/>
                  </a:lnTo>
                  <a:lnTo>
                    <a:pt x="3148" y="3147"/>
                  </a:lnTo>
                  <a:lnTo>
                    <a:pt x="0" y="4328"/>
                  </a:lnTo>
                  <a:lnTo>
                    <a:pt x="2360" y="7475"/>
                  </a:lnTo>
                  <a:lnTo>
                    <a:pt x="2754" y="9049"/>
                  </a:lnTo>
                  <a:lnTo>
                    <a:pt x="5901" y="11803"/>
                  </a:lnTo>
                  <a:lnTo>
                    <a:pt x="6294" y="11803"/>
                  </a:lnTo>
                  <a:lnTo>
                    <a:pt x="8655" y="11409"/>
                  </a:lnTo>
                  <a:lnTo>
                    <a:pt x="11803" y="10229"/>
                  </a:lnTo>
                  <a:lnTo>
                    <a:pt x="12196" y="9836"/>
                  </a:lnTo>
                  <a:lnTo>
                    <a:pt x="12196" y="9442"/>
                  </a:lnTo>
                  <a:lnTo>
                    <a:pt x="12589" y="6688"/>
                  </a:lnTo>
                  <a:lnTo>
                    <a:pt x="13770" y="4721"/>
                  </a:lnTo>
                  <a:lnTo>
                    <a:pt x="16130" y="5114"/>
                  </a:lnTo>
                  <a:lnTo>
                    <a:pt x="16130" y="3934"/>
                  </a:lnTo>
                  <a:lnTo>
                    <a:pt x="12983" y="2754"/>
                  </a:lnTo>
                  <a:lnTo>
                    <a:pt x="10229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06" name="Freeform: Shape 3800">
              <a:extLst>
                <a:ext uri="{FF2B5EF4-FFF2-40B4-BE49-F238E27FC236}">
                  <a16:creationId xmlns:a16="http://schemas.microsoft.com/office/drawing/2014/main" id="{714AAAFA-E577-44E6-80F8-87807A950ADC}"/>
                </a:ext>
              </a:extLst>
            </p:cNvPr>
            <p:cNvSpPr/>
            <p:nvPr/>
          </p:nvSpPr>
          <p:spPr>
            <a:xfrm>
              <a:off x="9690737" y="3497891"/>
              <a:ext cx="3934" cy="3934"/>
            </a:xfrm>
            <a:custGeom>
              <a:avLst/>
              <a:gdLst>
                <a:gd name="connsiteX0" fmla="*/ 394 w 0"/>
                <a:gd name="connsiteY0" fmla="*/ 3147 h 0"/>
                <a:gd name="connsiteX1" fmla="*/ 1574 w 0"/>
                <a:gd name="connsiteY1" fmla="*/ 275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3147"/>
                  </a:moveTo>
                  <a:lnTo>
                    <a:pt x="1574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07" name="Freeform: Shape 3801">
              <a:extLst>
                <a:ext uri="{FF2B5EF4-FFF2-40B4-BE49-F238E27FC236}">
                  <a16:creationId xmlns:a16="http://schemas.microsoft.com/office/drawing/2014/main" id="{CA8D451D-4EC5-4371-91DB-D7B39AE8F7F4}"/>
                </a:ext>
              </a:extLst>
            </p:cNvPr>
            <p:cNvSpPr/>
            <p:nvPr/>
          </p:nvSpPr>
          <p:spPr>
            <a:xfrm>
              <a:off x="9824502" y="3498678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3147 h 0"/>
                <a:gd name="connsiteX2" fmla="*/ 1180 w 0"/>
                <a:gd name="connsiteY2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3147"/>
                  </a:lnTo>
                  <a:lnTo>
                    <a:pt x="118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08" name="Freeform: Shape 3802">
              <a:extLst>
                <a:ext uri="{FF2B5EF4-FFF2-40B4-BE49-F238E27FC236}">
                  <a16:creationId xmlns:a16="http://schemas.microsoft.com/office/drawing/2014/main" id="{344D3E37-5E10-4CFF-88CC-F5FECEDF1B4F}"/>
                </a:ext>
              </a:extLst>
            </p:cNvPr>
            <p:cNvSpPr/>
            <p:nvPr/>
          </p:nvSpPr>
          <p:spPr>
            <a:xfrm>
              <a:off x="9812307" y="3482154"/>
              <a:ext cx="3934" cy="7869"/>
            </a:xfrm>
            <a:custGeom>
              <a:avLst/>
              <a:gdLst>
                <a:gd name="connsiteX0" fmla="*/ 0 w 3934"/>
                <a:gd name="connsiteY0" fmla="*/ 1574 h 7868"/>
                <a:gd name="connsiteX1" fmla="*/ 1573 w 3934"/>
                <a:gd name="connsiteY1" fmla="*/ 4328 h 7868"/>
                <a:gd name="connsiteX2" fmla="*/ 2360 w 3934"/>
                <a:gd name="connsiteY2" fmla="*/ 7082 h 7868"/>
                <a:gd name="connsiteX3" fmla="*/ 3147 w 3934"/>
                <a:gd name="connsiteY3" fmla="*/ 9049 h 7868"/>
                <a:gd name="connsiteX4" fmla="*/ 3934 w 3934"/>
                <a:gd name="connsiteY4" fmla="*/ 5508 h 7868"/>
                <a:gd name="connsiteX5" fmla="*/ 2754 w 3934"/>
                <a:gd name="connsiteY5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0" y="1574"/>
                  </a:moveTo>
                  <a:lnTo>
                    <a:pt x="1573" y="4328"/>
                  </a:lnTo>
                  <a:lnTo>
                    <a:pt x="2360" y="7082"/>
                  </a:lnTo>
                  <a:lnTo>
                    <a:pt x="3147" y="9049"/>
                  </a:lnTo>
                  <a:lnTo>
                    <a:pt x="3934" y="5508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09" name="Freeform: Shape 3803">
              <a:extLst>
                <a:ext uri="{FF2B5EF4-FFF2-40B4-BE49-F238E27FC236}">
                  <a16:creationId xmlns:a16="http://schemas.microsoft.com/office/drawing/2014/main" id="{BFBC3153-4D1E-430E-A392-E8DE0FB3625E}"/>
                </a:ext>
              </a:extLst>
            </p:cNvPr>
            <p:cNvSpPr/>
            <p:nvPr/>
          </p:nvSpPr>
          <p:spPr>
            <a:xfrm>
              <a:off x="9707655" y="3488843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394 w 0"/>
                <a:gd name="connsiteY1" fmla="*/ 1967 h 0"/>
                <a:gd name="connsiteX2" fmla="*/ 3148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394" y="1967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10" name="Freeform: Shape 3804">
              <a:extLst>
                <a:ext uri="{FF2B5EF4-FFF2-40B4-BE49-F238E27FC236}">
                  <a16:creationId xmlns:a16="http://schemas.microsoft.com/office/drawing/2014/main" id="{5B52BE92-C42D-4080-998D-D70FD7E02E02}"/>
                </a:ext>
              </a:extLst>
            </p:cNvPr>
            <p:cNvSpPr/>
            <p:nvPr/>
          </p:nvSpPr>
          <p:spPr>
            <a:xfrm>
              <a:off x="9724965" y="3472712"/>
              <a:ext cx="3934" cy="3934"/>
            </a:xfrm>
            <a:custGeom>
              <a:avLst/>
              <a:gdLst>
                <a:gd name="connsiteX0" fmla="*/ 1967 w 3934"/>
                <a:gd name="connsiteY0" fmla="*/ 5114 h 3934"/>
                <a:gd name="connsiteX1" fmla="*/ 1967 w 3934"/>
                <a:gd name="connsiteY1" fmla="*/ 5114 h 3934"/>
                <a:gd name="connsiteX2" fmla="*/ 2755 w 3934"/>
                <a:gd name="connsiteY2" fmla="*/ 5901 h 3934"/>
                <a:gd name="connsiteX3" fmla="*/ 5509 w 3934"/>
                <a:gd name="connsiteY3" fmla="*/ 3147 h 3934"/>
                <a:gd name="connsiteX4" fmla="*/ 4722 w 3934"/>
                <a:gd name="connsiteY4" fmla="*/ 393 h 3934"/>
                <a:gd name="connsiteX5" fmla="*/ 4328 w 3934"/>
                <a:gd name="connsiteY5" fmla="*/ 787 h 3934"/>
                <a:gd name="connsiteX6" fmla="*/ 3934 w 3934"/>
                <a:gd name="connsiteY6" fmla="*/ 0 h 3934"/>
                <a:gd name="connsiteX7" fmla="*/ 1180 w 3934"/>
                <a:gd name="connsiteY7" fmla="*/ 0 h 3934"/>
                <a:gd name="connsiteX8" fmla="*/ 394 w 3934"/>
                <a:gd name="connsiteY8" fmla="*/ 2360 h 3934"/>
                <a:gd name="connsiteX9" fmla="*/ 0 w 3934"/>
                <a:gd name="connsiteY9" fmla="*/ 2754 h 3934"/>
                <a:gd name="connsiteX10" fmla="*/ 0 w 3934"/>
                <a:gd name="connsiteY10" fmla="*/ 2754 h 3934"/>
                <a:gd name="connsiteX11" fmla="*/ 394 w 3934"/>
                <a:gd name="connsiteY11" fmla="*/ 3147 h 3934"/>
                <a:gd name="connsiteX12" fmla="*/ 394 w 3934"/>
                <a:gd name="connsiteY12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34" h="3934">
                  <a:moveTo>
                    <a:pt x="1967" y="5114"/>
                  </a:moveTo>
                  <a:lnTo>
                    <a:pt x="1967" y="5114"/>
                  </a:lnTo>
                  <a:lnTo>
                    <a:pt x="2755" y="5901"/>
                  </a:lnTo>
                  <a:lnTo>
                    <a:pt x="5509" y="3147"/>
                  </a:lnTo>
                  <a:lnTo>
                    <a:pt x="4722" y="393"/>
                  </a:lnTo>
                  <a:lnTo>
                    <a:pt x="4328" y="787"/>
                  </a:lnTo>
                  <a:lnTo>
                    <a:pt x="3934" y="0"/>
                  </a:lnTo>
                  <a:lnTo>
                    <a:pt x="1180" y="0"/>
                  </a:lnTo>
                  <a:lnTo>
                    <a:pt x="394" y="2360"/>
                  </a:lnTo>
                  <a:lnTo>
                    <a:pt x="0" y="2754"/>
                  </a:lnTo>
                  <a:lnTo>
                    <a:pt x="0" y="2754"/>
                  </a:lnTo>
                  <a:lnTo>
                    <a:pt x="394" y="3147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11" name="Freeform: Shape 3805">
              <a:extLst>
                <a:ext uri="{FF2B5EF4-FFF2-40B4-BE49-F238E27FC236}">
                  <a16:creationId xmlns:a16="http://schemas.microsoft.com/office/drawing/2014/main" id="{11B061EB-776A-474F-9EAF-56B1E9713A19}"/>
                </a:ext>
              </a:extLst>
            </p:cNvPr>
            <p:cNvSpPr/>
            <p:nvPr/>
          </p:nvSpPr>
          <p:spPr>
            <a:xfrm>
              <a:off x="9762734" y="3474679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3147 h 0"/>
                <a:gd name="connsiteX2" fmla="*/ 39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3147"/>
                  </a:lnTo>
                  <a:lnTo>
                    <a:pt x="39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12" name="Freeform: Shape 3806">
              <a:extLst>
                <a:ext uri="{FF2B5EF4-FFF2-40B4-BE49-F238E27FC236}">
                  <a16:creationId xmlns:a16="http://schemas.microsoft.com/office/drawing/2014/main" id="{644F5387-4213-4BEA-B5AD-8C7439C13939}"/>
                </a:ext>
              </a:extLst>
            </p:cNvPr>
            <p:cNvSpPr/>
            <p:nvPr/>
          </p:nvSpPr>
          <p:spPr>
            <a:xfrm>
              <a:off x="9811126" y="3599789"/>
              <a:ext cx="7869" cy="11803"/>
            </a:xfrm>
            <a:custGeom>
              <a:avLst/>
              <a:gdLst>
                <a:gd name="connsiteX0" fmla="*/ 0 w 7868"/>
                <a:gd name="connsiteY0" fmla="*/ 1967 h 11802"/>
                <a:gd name="connsiteX1" fmla="*/ 3148 w 7868"/>
                <a:gd name="connsiteY1" fmla="*/ 3934 h 11802"/>
                <a:gd name="connsiteX2" fmla="*/ 2754 w 7868"/>
                <a:gd name="connsiteY2" fmla="*/ 7082 h 11802"/>
                <a:gd name="connsiteX3" fmla="*/ 4327 w 7868"/>
                <a:gd name="connsiteY3" fmla="*/ 9836 h 11802"/>
                <a:gd name="connsiteX4" fmla="*/ 7475 w 7868"/>
                <a:gd name="connsiteY4" fmla="*/ 11803 h 11802"/>
                <a:gd name="connsiteX5" fmla="*/ 7869 w 7868"/>
                <a:gd name="connsiteY5" fmla="*/ 11409 h 11802"/>
                <a:gd name="connsiteX6" fmla="*/ 8261 w 7868"/>
                <a:gd name="connsiteY6" fmla="*/ 8655 h 11802"/>
                <a:gd name="connsiteX7" fmla="*/ 5901 w 7868"/>
                <a:gd name="connsiteY7" fmla="*/ 5508 h 11802"/>
                <a:gd name="connsiteX8" fmla="*/ 5508 w 7868"/>
                <a:gd name="connsiteY8" fmla="*/ 2754 h 11802"/>
                <a:gd name="connsiteX9" fmla="*/ 3148 w 7868"/>
                <a:gd name="connsiteY9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11802">
                  <a:moveTo>
                    <a:pt x="0" y="1967"/>
                  </a:moveTo>
                  <a:lnTo>
                    <a:pt x="3148" y="3934"/>
                  </a:lnTo>
                  <a:lnTo>
                    <a:pt x="2754" y="7082"/>
                  </a:lnTo>
                  <a:lnTo>
                    <a:pt x="4327" y="9836"/>
                  </a:lnTo>
                  <a:lnTo>
                    <a:pt x="7475" y="11803"/>
                  </a:lnTo>
                  <a:lnTo>
                    <a:pt x="7869" y="11409"/>
                  </a:lnTo>
                  <a:lnTo>
                    <a:pt x="8261" y="8655"/>
                  </a:lnTo>
                  <a:lnTo>
                    <a:pt x="5901" y="5508"/>
                  </a:lnTo>
                  <a:lnTo>
                    <a:pt x="5508" y="2754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13" name="Freeform: Shape 3807">
              <a:extLst>
                <a:ext uri="{FF2B5EF4-FFF2-40B4-BE49-F238E27FC236}">
                  <a16:creationId xmlns:a16="http://schemas.microsoft.com/office/drawing/2014/main" id="{B23456D9-2248-42A4-B427-DDF61054965A}"/>
                </a:ext>
              </a:extLst>
            </p:cNvPr>
            <p:cNvSpPr/>
            <p:nvPr/>
          </p:nvSpPr>
          <p:spPr>
            <a:xfrm>
              <a:off x="9852829" y="3595855"/>
              <a:ext cx="3934" cy="3934"/>
            </a:xfrm>
            <a:custGeom>
              <a:avLst/>
              <a:gdLst>
                <a:gd name="connsiteX0" fmla="*/ 394 w 0"/>
                <a:gd name="connsiteY0" fmla="*/ 3147 h 0"/>
                <a:gd name="connsiteX1" fmla="*/ 0 w 0"/>
                <a:gd name="connsiteY1" fmla="*/ 0 h 0"/>
                <a:gd name="connsiteX2" fmla="*/ 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3147"/>
                  </a:moveTo>
                  <a:lnTo>
                    <a:pt x="0" y="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14" name="Freeform: Shape 3808">
              <a:extLst>
                <a:ext uri="{FF2B5EF4-FFF2-40B4-BE49-F238E27FC236}">
                  <a16:creationId xmlns:a16="http://schemas.microsoft.com/office/drawing/2014/main" id="{5B5FB0DE-40C0-436E-8654-413C169E17FA}"/>
                </a:ext>
              </a:extLst>
            </p:cNvPr>
            <p:cNvSpPr/>
            <p:nvPr/>
          </p:nvSpPr>
          <p:spPr>
            <a:xfrm>
              <a:off x="9847321" y="3590740"/>
              <a:ext cx="3934" cy="3934"/>
            </a:xfrm>
            <a:custGeom>
              <a:avLst/>
              <a:gdLst>
                <a:gd name="connsiteX0" fmla="*/ 1573 w 0"/>
                <a:gd name="connsiteY0" fmla="*/ 5508 h 3934"/>
                <a:gd name="connsiteX1" fmla="*/ 1967 w 0"/>
                <a:gd name="connsiteY1" fmla="*/ 5901 h 3934"/>
                <a:gd name="connsiteX2" fmla="*/ 2361 w 0"/>
                <a:gd name="connsiteY2" fmla="*/ 2754 h 3934"/>
                <a:gd name="connsiteX3" fmla="*/ 0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573" y="5508"/>
                  </a:moveTo>
                  <a:lnTo>
                    <a:pt x="1967" y="5901"/>
                  </a:lnTo>
                  <a:lnTo>
                    <a:pt x="2361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15" name="Freeform: Shape 3809">
              <a:extLst>
                <a:ext uri="{FF2B5EF4-FFF2-40B4-BE49-F238E27FC236}">
                  <a16:creationId xmlns:a16="http://schemas.microsoft.com/office/drawing/2014/main" id="{746CDBBD-8BC7-428B-A58F-6F4C5C84A285}"/>
                </a:ext>
              </a:extLst>
            </p:cNvPr>
            <p:cNvSpPr/>
            <p:nvPr/>
          </p:nvSpPr>
          <p:spPr>
            <a:xfrm>
              <a:off x="9848108" y="3571856"/>
              <a:ext cx="3934" cy="15737"/>
            </a:xfrm>
            <a:custGeom>
              <a:avLst/>
              <a:gdLst>
                <a:gd name="connsiteX0" fmla="*/ 5509 w 3934"/>
                <a:gd name="connsiteY0" fmla="*/ 5901 h 15737"/>
                <a:gd name="connsiteX1" fmla="*/ 5115 w 3934"/>
                <a:gd name="connsiteY1" fmla="*/ 2754 h 15737"/>
                <a:gd name="connsiteX2" fmla="*/ 3934 w 3934"/>
                <a:gd name="connsiteY2" fmla="*/ 0 h 15737"/>
                <a:gd name="connsiteX3" fmla="*/ 787 w 3934"/>
                <a:gd name="connsiteY3" fmla="*/ 787 h 15737"/>
                <a:gd name="connsiteX4" fmla="*/ 0 w 3934"/>
                <a:gd name="connsiteY4" fmla="*/ 3934 h 15737"/>
                <a:gd name="connsiteX5" fmla="*/ 394 w 3934"/>
                <a:gd name="connsiteY5" fmla="*/ 6688 h 15737"/>
                <a:gd name="connsiteX6" fmla="*/ 3148 w 3934"/>
                <a:gd name="connsiteY6" fmla="*/ 9836 h 15737"/>
                <a:gd name="connsiteX7" fmla="*/ 1967 w 3934"/>
                <a:gd name="connsiteY7" fmla="*/ 12590 h 15737"/>
                <a:gd name="connsiteX8" fmla="*/ 0 w 3934"/>
                <a:gd name="connsiteY8" fmla="*/ 15344 h 15737"/>
                <a:gd name="connsiteX9" fmla="*/ 2361 w 3934"/>
                <a:gd name="connsiteY9" fmla="*/ 18098 h 15737"/>
                <a:gd name="connsiteX10" fmla="*/ 3148 w 3934"/>
                <a:gd name="connsiteY10" fmla="*/ 17704 h 15737"/>
                <a:gd name="connsiteX11" fmla="*/ 3934 w 3934"/>
                <a:gd name="connsiteY11" fmla="*/ 14950 h 15737"/>
                <a:gd name="connsiteX12" fmla="*/ 4328 w 3934"/>
                <a:gd name="connsiteY12" fmla="*/ 11803 h 15737"/>
                <a:gd name="connsiteX13" fmla="*/ 6688 w 3934"/>
                <a:gd name="connsiteY13" fmla="*/ 9049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934" h="15737">
                  <a:moveTo>
                    <a:pt x="5509" y="5901"/>
                  </a:moveTo>
                  <a:lnTo>
                    <a:pt x="5115" y="2754"/>
                  </a:lnTo>
                  <a:lnTo>
                    <a:pt x="3934" y="0"/>
                  </a:lnTo>
                  <a:lnTo>
                    <a:pt x="787" y="787"/>
                  </a:lnTo>
                  <a:lnTo>
                    <a:pt x="0" y="3934"/>
                  </a:lnTo>
                  <a:lnTo>
                    <a:pt x="394" y="6688"/>
                  </a:lnTo>
                  <a:lnTo>
                    <a:pt x="3148" y="9836"/>
                  </a:lnTo>
                  <a:lnTo>
                    <a:pt x="1967" y="12590"/>
                  </a:lnTo>
                  <a:lnTo>
                    <a:pt x="0" y="15344"/>
                  </a:lnTo>
                  <a:lnTo>
                    <a:pt x="2361" y="18098"/>
                  </a:lnTo>
                  <a:lnTo>
                    <a:pt x="3148" y="17704"/>
                  </a:lnTo>
                  <a:lnTo>
                    <a:pt x="3934" y="14950"/>
                  </a:lnTo>
                  <a:lnTo>
                    <a:pt x="4328" y="11803"/>
                  </a:lnTo>
                  <a:lnTo>
                    <a:pt x="6688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16" name="Freeform: Shape 3810">
              <a:extLst>
                <a:ext uri="{FF2B5EF4-FFF2-40B4-BE49-F238E27FC236}">
                  <a16:creationId xmlns:a16="http://schemas.microsoft.com/office/drawing/2014/main" id="{7568D294-73C0-4BCF-AD28-03D1AD0ED750}"/>
                </a:ext>
              </a:extLst>
            </p:cNvPr>
            <p:cNvSpPr/>
            <p:nvPr/>
          </p:nvSpPr>
          <p:spPr>
            <a:xfrm>
              <a:off x="9645887" y="3552971"/>
              <a:ext cx="3934" cy="3934"/>
            </a:xfrm>
            <a:custGeom>
              <a:avLst/>
              <a:gdLst>
                <a:gd name="connsiteX0" fmla="*/ 787 w 0"/>
                <a:gd name="connsiteY0" fmla="*/ 1574 h 3934"/>
                <a:gd name="connsiteX1" fmla="*/ 0 w 0"/>
                <a:gd name="connsiteY1" fmla="*/ 0 h 3934"/>
                <a:gd name="connsiteX2" fmla="*/ 787 w 0"/>
                <a:gd name="connsiteY2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787" y="1574"/>
                  </a:moveTo>
                  <a:lnTo>
                    <a:pt x="0" y="0"/>
                  </a:lnTo>
                  <a:lnTo>
                    <a:pt x="787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17" name="Freeform: Shape 3811">
              <a:extLst>
                <a:ext uri="{FF2B5EF4-FFF2-40B4-BE49-F238E27FC236}">
                  <a16:creationId xmlns:a16="http://schemas.microsoft.com/office/drawing/2014/main" id="{BC1D1FA8-8D0F-4DD1-851A-A15819A2E357}"/>
                </a:ext>
              </a:extLst>
            </p:cNvPr>
            <p:cNvSpPr/>
            <p:nvPr/>
          </p:nvSpPr>
          <p:spPr>
            <a:xfrm>
              <a:off x="9648641" y="3553758"/>
              <a:ext cx="3934" cy="3934"/>
            </a:xfrm>
            <a:custGeom>
              <a:avLst/>
              <a:gdLst>
                <a:gd name="connsiteX0" fmla="*/ 0 w 3934"/>
                <a:gd name="connsiteY0" fmla="*/ 393 h 0"/>
                <a:gd name="connsiteX1" fmla="*/ 3934 w 3934"/>
                <a:gd name="connsiteY1" fmla="*/ 787 h 0"/>
                <a:gd name="connsiteX2" fmla="*/ 3148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0" y="393"/>
                  </a:moveTo>
                  <a:lnTo>
                    <a:pt x="3934" y="787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18" name="Freeform: Shape 3812">
              <a:extLst>
                <a:ext uri="{FF2B5EF4-FFF2-40B4-BE49-F238E27FC236}">
                  <a16:creationId xmlns:a16="http://schemas.microsoft.com/office/drawing/2014/main" id="{55CC3248-B00A-4FC9-AC40-5188FBD56508}"/>
                </a:ext>
              </a:extLst>
            </p:cNvPr>
            <p:cNvSpPr/>
            <p:nvPr/>
          </p:nvSpPr>
          <p:spPr>
            <a:xfrm>
              <a:off x="9652969" y="3550217"/>
              <a:ext cx="3934" cy="3934"/>
            </a:xfrm>
            <a:custGeom>
              <a:avLst/>
              <a:gdLst>
                <a:gd name="connsiteX0" fmla="*/ 1967 w 0"/>
                <a:gd name="connsiteY0" fmla="*/ 0 h 0"/>
                <a:gd name="connsiteX1" fmla="*/ 0 w 0"/>
                <a:gd name="connsiteY1" fmla="*/ 3148 h 0"/>
                <a:gd name="connsiteX2" fmla="*/ 118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0"/>
                  </a:moveTo>
                  <a:lnTo>
                    <a:pt x="0" y="3148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19" name="Freeform: Shape 3813">
              <a:extLst>
                <a:ext uri="{FF2B5EF4-FFF2-40B4-BE49-F238E27FC236}">
                  <a16:creationId xmlns:a16="http://schemas.microsoft.com/office/drawing/2014/main" id="{9B4D41F4-B2ED-4FC3-B530-BBF195FA149C}"/>
                </a:ext>
              </a:extLst>
            </p:cNvPr>
            <p:cNvSpPr/>
            <p:nvPr/>
          </p:nvSpPr>
          <p:spPr>
            <a:xfrm>
              <a:off x="9640378" y="3543529"/>
              <a:ext cx="11803" cy="7869"/>
            </a:xfrm>
            <a:custGeom>
              <a:avLst/>
              <a:gdLst>
                <a:gd name="connsiteX0" fmla="*/ 12983 w 11802"/>
                <a:gd name="connsiteY0" fmla="*/ 2754 h 7868"/>
                <a:gd name="connsiteX1" fmla="*/ 11410 w 11802"/>
                <a:gd name="connsiteY1" fmla="*/ 0 h 7868"/>
                <a:gd name="connsiteX2" fmla="*/ 8262 w 11802"/>
                <a:gd name="connsiteY2" fmla="*/ 1967 h 7868"/>
                <a:gd name="connsiteX3" fmla="*/ 5115 w 11802"/>
                <a:gd name="connsiteY3" fmla="*/ 3934 h 7868"/>
                <a:gd name="connsiteX4" fmla="*/ 3148 w 11802"/>
                <a:gd name="connsiteY4" fmla="*/ 5901 h 7868"/>
                <a:gd name="connsiteX5" fmla="*/ 0 w 11802"/>
                <a:gd name="connsiteY5" fmla="*/ 6688 h 7868"/>
                <a:gd name="connsiteX6" fmla="*/ 1180 w 11802"/>
                <a:gd name="connsiteY6" fmla="*/ 10229 h 7868"/>
                <a:gd name="connsiteX7" fmla="*/ 5115 w 11802"/>
                <a:gd name="connsiteY7" fmla="*/ 7475 h 7868"/>
                <a:gd name="connsiteX8" fmla="*/ 5115 w 11802"/>
                <a:gd name="connsiteY8" fmla="*/ 7082 h 7868"/>
                <a:gd name="connsiteX9" fmla="*/ 5115 w 11802"/>
                <a:gd name="connsiteY9" fmla="*/ 6688 h 7868"/>
                <a:gd name="connsiteX10" fmla="*/ 6295 w 11802"/>
                <a:gd name="connsiteY10" fmla="*/ 5901 h 7868"/>
                <a:gd name="connsiteX11" fmla="*/ 9443 w 11802"/>
                <a:gd name="connsiteY11" fmla="*/ 5508 h 7868"/>
                <a:gd name="connsiteX12" fmla="*/ 12197 w 11802"/>
                <a:gd name="connsiteY12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7868">
                  <a:moveTo>
                    <a:pt x="12983" y="2754"/>
                  </a:moveTo>
                  <a:lnTo>
                    <a:pt x="11410" y="0"/>
                  </a:lnTo>
                  <a:lnTo>
                    <a:pt x="8262" y="1967"/>
                  </a:lnTo>
                  <a:lnTo>
                    <a:pt x="5115" y="3934"/>
                  </a:lnTo>
                  <a:lnTo>
                    <a:pt x="3148" y="5901"/>
                  </a:lnTo>
                  <a:lnTo>
                    <a:pt x="0" y="6688"/>
                  </a:lnTo>
                  <a:lnTo>
                    <a:pt x="1180" y="10229"/>
                  </a:lnTo>
                  <a:lnTo>
                    <a:pt x="5115" y="7475"/>
                  </a:lnTo>
                  <a:lnTo>
                    <a:pt x="5115" y="7082"/>
                  </a:lnTo>
                  <a:lnTo>
                    <a:pt x="5115" y="6688"/>
                  </a:lnTo>
                  <a:lnTo>
                    <a:pt x="6295" y="5901"/>
                  </a:lnTo>
                  <a:lnTo>
                    <a:pt x="9443" y="5508"/>
                  </a:lnTo>
                  <a:lnTo>
                    <a:pt x="1219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20" name="Freeform: Shape 3814">
              <a:extLst>
                <a:ext uri="{FF2B5EF4-FFF2-40B4-BE49-F238E27FC236}">
                  <a16:creationId xmlns:a16="http://schemas.microsoft.com/office/drawing/2014/main" id="{3C9570BD-7F44-40DB-93E8-ADAA79232A37}"/>
                </a:ext>
              </a:extLst>
            </p:cNvPr>
            <p:cNvSpPr/>
            <p:nvPr/>
          </p:nvSpPr>
          <p:spPr>
            <a:xfrm>
              <a:off x="9809552" y="3538808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0 w 0"/>
                <a:gd name="connsiteY1" fmla="*/ 3541 h 0"/>
                <a:gd name="connsiteX2" fmla="*/ 394 w 0"/>
                <a:gd name="connsiteY2" fmla="*/ 2754 h 0"/>
                <a:gd name="connsiteX3" fmla="*/ 394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0" y="3541"/>
                  </a:lnTo>
                  <a:lnTo>
                    <a:pt x="394" y="2754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21" name="Freeform: Shape 3815">
              <a:extLst>
                <a:ext uri="{FF2B5EF4-FFF2-40B4-BE49-F238E27FC236}">
                  <a16:creationId xmlns:a16="http://schemas.microsoft.com/office/drawing/2014/main" id="{AFCD1E68-E934-4B68-9C53-980929EB4932}"/>
                </a:ext>
              </a:extLst>
            </p:cNvPr>
            <p:cNvSpPr/>
            <p:nvPr/>
          </p:nvSpPr>
          <p:spPr>
            <a:xfrm>
              <a:off x="9669493" y="3535661"/>
              <a:ext cx="3934" cy="3934"/>
            </a:xfrm>
            <a:custGeom>
              <a:avLst/>
              <a:gdLst>
                <a:gd name="connsiteX0" fmla="*/ 3934 w 3934"/>
                <a:gd name="connsiteY0" fmla="*/ 3541 h 0"/>
                <a:gd name="connsiteX1" fmla="*/ 1573 w 3934"/>
                <a:gd name="connsiteY1" fmla="*/ 2754 h 0"/>
                <a:gd name="connsiteX2" fmla="*/ 393 w 3934"/>
                <a:gd name="connsiteY2" fmla="*/ 0 h 0"/>
                <a:gd name="connsiteX3" fmla="*/ 1180 w 3934"/>
                <a:gd name="connsiteY3" fmla="*/ 2754 h 0"/>
                <a:gd name="connsiteX4" fmla="*/ 0 w 3934"/>
                <a:gd name="connsiteY4" fmla="*/ 2360 h 0"/>
                <a:gd name="connsiteX5" fmla="*/ 787 w 3934"/>
                <a:gd name="connsiteY5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3934" y="3541"/>
                  </a:moveTo>
                  <a:lnTo>
                    <a:pt x="1573" y="2754"/>
                  </a:lnTo>
                  <a:lnTo>
                    <a:pt x="393" y="0"/>
                  </a:lnTo>
                  <a:lnTo>
                    <a:pt x="1180" y="2754"/>
                  </a:lnTo>
                  <a:lnTo>
                    <a:pt x="0" y="2360"/>
                  </a:lnTo>
                  <a:lnTo>
                    <a:pt x="787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22" name="Freeform: Shape 3816">
              <a:extLst>
                <a:ext uri="{FF2B5EF4-FFF2-40B4-BE49-F238E27FC236}">
                  <a16:creationId xmlns:a16="http://schemas.microsoft.com/office/drawing/2014/main" id="{18E6DFAE-59DD-4A87-AE45-F396CAD41406}"/>
                </a:ext>
              </a:extLst>
            </p:cNvPr>
            <p:cNvSpPr/>
            <p:nvPr/>
          </p:nvSpPr>
          <p:spPr>
            <a:xfrm>
              <a:off x="9678934" y="3525431"/>
              <a:ext cx="3934" cy="3934"/>
            </a:xfrm>
            <a:custGeom>
              <a:avLst/>
              <a:gdLst>
                <a:gd name="connsiteX0" fmla="*/ 1967 w 0"/>
                <a:gd name="connsiteY0" fmla="*/ 3147 h 0"/>
                <a:gd name="connsiteX1" fmla="*/ 1574 w 0"/>
                <a:gd name="connsiteY1" fmla="*/ 0 h 0"/>
                <a:gd name="connsiteX2" fmla="*/ 0 w 0"/>
                <a:gd name="connsiteY2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3147"/>
                  </a:moveTo>
                  <a:lnTo>
                    <a:pt x="1574" y="0"/>
                  </a:lnTo>
                  <a:lnTo>
                    <a:pt x="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23" name="Freeform: Shape 3817">
              <a:extLst>
                <a:ext uri="{FF2B5EF4-FFF2-40B4-BE49-F238E27FC236}">
                  <a16:creationId xmlns:a16="http://schemas.microsoft.com/office/drawing/2014/main" id="{596C85AC-15B8-4AEE-8B23-E5CD26565C77}"/>
                </a:ext>
              </a:extLst>
            </p:cNvPr>
            <p:cNvSpPr/>
            <p:nvPr/>
          </p:nvSpPr>
          <p:spPr>
            <a:xfrm>
              <a:off x="9675787" y="3524644"/>
              <a:ext cx="3934" cy="3934"/>
            </a:xfrm>
            <a:custGeom>
              <a:avLst/>
              <a:gdLst>
                <a:gd name="connsiteX0" fmla="*/ 1967 w 3934"/>
                <a:gd name="connsiteY0" fmla="*/ 394 h 0"/>
                <a:gd name="connsiteX1" fmla="*/ 0 w 3934"/>
                <a:gd name="connsiteY1" fmla="*/ 394 h 0"/>
                <a:gd name="connsiteX2" fmla="*/ 5509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1967" y="394"/>
                  </a:moveTo>
                  <a:lnTo>
                    <a:pt x="0" y="394"/>
                  </a:lnTo>
                  <a:lnTo>
                    <a:pt x="5509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24" name="Freeform: Shape 3818">
              <a:extLst>
                <a:ext uri="{FF2B5EF4-FFF2-40B4-BE49-F238E27FC236}">
                  <a16:creationId xmlns:a16="http://schemas.microsoft.com/office/drawing/2014/main" id="{4B5F17F4-11AA-43DC-A308-3F6B2118E943}"/>
                </a:ext>
              </a:extLst>
            </p:cNvPr>
            <p:cNvSpPr/>
            <p:nvPr/>
          </p:nvSpPr>
          <p:spPr>
            <a:xfrm>
              <a:off x="9873288" y="3651328"/>
              <a:ext cx="43277" cy="102291"/>
            </a:xfrm>
            <a:custGeom>
              <a:avLst/>
              <a:gdLst>
                <a:gd name="connsiteX0" fmla="*/ 18097 w 43276"/>
                <a:gd name="connsiteY0" fmla="*/ 58227 h 102290"/>
                <a:gd name="connsiteX1" fmla="*/ 21245 w 43276"/>
                <a:gd name="connsiteY1" fmla="*/ 59014 h 102290"/>
                <a:gd name="connsiteX2" fmla="*/ 23998 w 43276"/>
                <a:gd name="connsiteY2" fmla="*/ 60588 h 102290"/>
                <a:gd name="connsiteX3" fmla="*/ 26752 w 43276"/>
                <a:gd name="connsiteY3" fmla="*/ 60981 h 102290"/>
                <a:gd name="connsiteX4" fmla="*/ 29507 w 43276"/>
                <a:gd name="connsiteY4" fmla="*/ 60981 h 102290"/>
                <a:gd name="connsiteX5" fmla="*/ 32261 w 43276"/>
                <a:gd name="connsiteY5" fmla="*/ 61768 h 102290"/>
                <a:gd name="connsiteX6" fmla="*/ 35408 w 43276"/>
                <a:gd name="connsiteY6" fmla="*/ 63735 h 102290"/>
                <a:gd name="connsiteX7" fmla="*/ 38555 w 43276"/>
                <a:gd name="connsiteY7" fmla="*/ 64522 h 102290"/>
                <a:gd name="connsiteX8" fmla="*/ 41310 w 43276"/>
                <a:gd name="connsiteY8" fmla="*/ 64915 h 102290"/>
                <a:gd name="connsiteX9" fmla="*/ 44064 w 43276"/>
                <a:gd name="connsiteY9" fmla="*/ 65309 h 102290"/>
                <a:gd name="connsiteX10" fmla="*/ 41310 w 43276"/>
                <a:gd name="connsiteY10" fmla="*/ 63735 h 102290"/>
                <a:gd name="connsiteX11" fmla="*/ 38555 w 43276"/>
                <a:gd name="connsiteY11" fmla="*/ 60981 h 102290"/>
                <a:gd name="connsiteX12" fmla="*/ 38162 w 43276"/>
                <a:gd name="connsiteY12" fmla="*/ 57834 h 102290"/>
                <a:gd name="connsiteX13" fmla="*/ 36195 w 43276"/>
                <a:gd name="connsiteY13" fmla="*/ 54686 h 102290"/>
                <a:gd name="connsiteX14" fmla="*/ 33441 w 43276"/>
                <a:gd name="connsiteY14" fmla="*/ 53899 h 102290"/>
                <a:gd name="connsiteX15" fmla="*/ 30686 w 43276"/>
                <a:gd name="connsiteY15" fmla="*/ 52719 h 102290"/>
                <a:gd name="connsiteX16" fmla="*/ 27540 w 43276"/>
                <a:gd name="connsiteY16" fmla="*/ 51932 h 102290"/>
                <a:gd name="connsiteX17" fmla="*/ 24785 w 43276"/>
                <a:gd name="connsiteY17" fmla="*/ 49178 h 102290"/>
                <a:gd name="connsiteX18" fmla="*/ 26359 w 43276"/>
                <a:gd name="connsiteY18" fmla="*/ 46424 h 102290"/>
                <a:gd name="connsiteX19" fmla="*/ 28327 w 43276"/>
                <a:gd name="connsiteY19" fmla="*/ 43670 h 102290"/>
                <a:gd name="connsiteX20" fmla="*/ 31474 w 43276"/>
                <a:gd name="connsiteY20" fmla="*/ 42490 h 102290"/>
                <a:gd name="connsiteX21" fmla="*/ 34228 w 43276"/>
                <a:gd name="connsiteY21" fmla="*/ 40523 h 102290"/>
                <a:gd name="connsiteX22" fmla="*/ 36982 w 43276"/>
                <a:gd name="connsiteY22" fmla="*/ 38556 h 102290"/>
                <a:gd name="connsiteX23" fmla="*/ 38555 w 43276"/>
                <a:gd name="connsiteY23" fmla="*/ 35802 h 102290"/>
                <a:gd name="connsiteX24" fmla="*/ 38555 w 43276"/>
                <a:gd name="connsiteY24" fmla="*/ 32654 h 102290"/>
                <a:gd name="connsiteX25" fmla="*/ 39343 w 43276"/>
                <a:gd name="connsiteY25" fmla="*/ 29507 h 102290"/>
                <a:gd name="connsiteX26" fmla="*/ 39735 w 43276"/>
                <a:gd name="connsiteY26" fmla="*/ 26753 h 102290"/>
                <a:gd name="connsiteX27" fmla="*/ 37768 w 43276"/>
                <a:gd name="connsiteY27" fmla="*/ 23999 h 102290"/>
                <a:gd name="connsiteX28" fmla="*/ 38555 w 43276"/>
                <a:gd name="connsiteY28" fmla="*/ 20852 h 102290"/>
                <a:gd name="connsiteX29" fmla="*/ 35801 w 43276"/>
                <a:gd name="connsiteY29" fmla="*/ 20458 h 102290"/>
                <a:gd name="connsiteX30" fmla="*/ 33047 w 43276"/>
                <a:gd name="connsiteY30" fmla="*/ 22032 h 102290"/>
                <a:gd name="connsiteX31" fmla="*/ 30294 w 43276"/>
                <a:gd name="connsiteY31" fmla="*/ 22425 h 102290"/>
                <a:gd name="connsiteX32" fmla="*/ 27146 w 43276"/>
                <a:gd name="connsiteY32" fmla="*/ 25179 h 102290"/>
                <a:gd name="connsiteX33" fmla="*/ 24392 w 43276"/>
                <a:gd name="connsiteY33" fmla="*/ 26360 h 102290"/>
                <a:gd name="connsiteX34" fmla="*/ 22031 w 43276"/>
                <a:gd name="connsiteY34" fmla="*/ 29114 h 102290"/>
                <a:gd name="connsiteX35" fmla="*/ 20458 w 43276"/>
                <a:gd name="connsiteY35" fmla="*/ 32261 h 102290"/>
                <a:gd name="connsiteX36" fmla="*/ 23212 w 43276"/>
                <a:gd name="connsiteY36" fmla="*/ 33048 h 102290"/>
                <a:gd name="connsiteX37" fmla="*/ 22425 w 43276"/>
                <a:gd name="connsiteY37" fmla="*/ 35802 h 102290"/>
                <a:gd name="connsiteX38" fmla="*/ 19671 w 43276"/>
                <a:gd name="connsiteY38" fmla="*/ 36195 h 102290"/>
                <a:gd name="connsiteX39" fmla="*/ 16917 w 43276"/>
                <a:gd name="connsiteY39" fmla="*/ 38162 h 102290"/>
                <a:gd name="connsiteX40" fmla="*/ 15343 w 43276"/>
                <a:gd name="connsiteY40" fmla="*/ 40916 h 102290"/>
                <a:gd name="connsiteX41" fmla="*/ 15343 w 43276"/>
                <a:gd name="connsiteY41" fmla="*/ 43670 h 102290"/>
                <a:gd name="connsiteX42" fmla="*/ 12982 w 43276"/>
                <a:gd name="connsiteY42" fmla="*/ 46818 h 102290"/>
                <a:gd name="connsiteX43" fmla="*/ 10229 w 43276"/>
                <a:gd name="connsiteY43" fmla="*/ 46818 h 102290"/>
                <a:gd name="connsiteX44" fmla="*/ 7475 w 43276"/>
                <a:gd name="connsiteY44" fmla="*/ 44457 h 102290"/>
                <a:gd name="connsiteX45" fmla="*/ 6294 w 43276"/>
                <a:gd name="connsiteY45" fmla="*/ 41703 h 102290"/>
                <a:gd name="connsiteX46" fmla="*/ 9048 w 43276"/>
                <a:gd name="connsiteY46" fmla="*/ 38556 h 102290"/>
                <a:gd name="connsiteX47" fmla="*/ 11803 w 43276"/>
                <a:gd name="connsiteY47" fmla="*/ 35802 h 102290"/>
                <a:gd name="connsiteX48" fmla="*/ 14949 w 43276"/>
                <a:gd name="connsiteY48" fmla="*/ 33441 h 102290"/>
                <a:gd name="connsiteX49" fmla="*/ 16524 w 43276"/>
                <a:gd name="connsiteY49" fmla="*/ 30687 h 102290"/>
                <a:gd name="connsiteX50" fmla="*/ 16917 w 43276"/>
                <a:gd name="connsiteY50" fmla="*/ 27933 h 102290"/>
                <a:gd name="connsiteX51" fmla="*/ 18097 w 43276"/>
                <a:gd name="connsiteY51" fmla="*/ 24786 h 102290"/>
                <a:gd name="connsiteX52" fmla="*/ 18491 w 43276"/>
                <a:gd name="connsiteY52" fmla="*/ 22032 h 102290"/>
                <a:gd name="connsiteX53" fmla="*/ 16917 w 43276"/>
                <a:gd name="connsiteY53" fmla="*/ 19278 h 102290"/>
                <a:gd name="connsiteX54" fmla="*/ 17704 w 43276"/>
                <a:gd name="connsiteY54" fmla="*/ 16131 h 102290"/>
                <a:gd name="connsiteX55" fmla="*/ 15343 w 43276"/>
                <a:gd name="connsiteY55" fmla="*/ 13377 h 102290"/>
                <a:gd name="connsiteX56" fmla="*/ 12589 w 43276"/>
                <a:gd name="connsiteY56" fmla="*/ 11409 h 102290"/>
                <a:gd name="connsiteX57" fmla="*/ 13376 w 43276"/>
                <a:gd name="connsiteY57" fmla="*/ 8262 h 102290"/>
                <a:gd name="connsiteX58" fmla="*/ 15343 w 43276"/>
                <a:gd name="connsiteY58" fmla="*/ 5508 h 102290"/>
                <a:gd name="connsiteX59" fmla="*/ 17704 w 43276"/>
                <a:gd name="connsiteY59" fmla="*/ 2754 h 102290"/>
                <a:gd name="connsiteX60" fmla="*/ 17310 w 43276"/>
                <a:gd name="connsiteY60" fmla="*/ 0 h 102290"/>
                <a:gd name="connsiteX61" fmla="*/ 14557 w 43276"/>
                <a:gd name="connsiteY61" fmla="*/ 394 h 102290"/>
                <a:gd name="connsiteX62" fmla="*/ 11803 w 43276"/>
                <a:gd name="connsiteY62" fmla="*/ 3541 h 102290"/>
                <a:gd name="connsiteX63" fmla="*/ 9836 w 43276"/>
                <a:gd name="connsiteY63" fmla="*/ 6295 h 102290"/>
                <a:gd name="connsiteX64" fmla="*/ 7475 w 43276"/>
                <a:gd name="connsiteY64" fmla="*/ 9442 h 102290"/>
                <a:gd name="connsiteX65" fmla="*/ 5901 w 43276"/>
                <a:gd name="connsiteY65" fmla="*/ 12196 h 102290"/>
                <a:gd name="connsiteX66" fmla="*/ 4327 w 43276"/>
                <a:gd name="connsiteY66" fmla="*/ 15344 h 102290"/>
                <a:gd name="connsiteX67" fmla="*/ 3934 w 43276"/>
                <a:gd name="connsiteY67" fmla="*/ 18491 h 102290"/>
                <a:gd name="connsiteX68" fmla="*/ 3147 w 43276"/>
                <a:gd name="connsiteY68" fmla="*/ 21245 h 102290"/>
                <a:gd name="connsiteX69" fmla="*/ 3147 w 43276"/>
                <a:gd name="connsiteY69" fmla="*/ 23999 h 102290"/>
                <a:gd name="connsiteX70" fmla="*/ 2360 w 43276"/>
                <a:gd name="connsiteY70" fmla="*/ 26753 h 102290"/>
                <a:gd name="connsiteX71" fmla="*/ 1180 w 43276"/>
                <a:gd name="connsiteY71" fmla="*/ 29507 h 102290"/>
                <a:gd name="connsiteX72" fmla="*/ 0 w 43276"/>
                <a:gd name="connsiteY72" fmla="*/ 32654 h 102290"/>
                <a:gd name="connsiteX73" fmla="*/ 393 w 43276"/>
                <a:gd name="connsiteY73" fmla="*/ 35802 h 102290"/>
                <a:gd name="connsiteX74" fmla="*/ 1967 w 43276"/>
                <a:gd name="connsiteY74" fmla="*/ 38556 h 102290"/>
                <a:gd name="connsiteX75" fmla="*/ 3147 w 43276"/>
                <a:gd name="connsiteY75" fmla="*/ 41310 h 102290"/>
                <a:gd name="connsiteX76" fmla="*/ 3540 w 43276"/>
                <a:gd name="connsiteY76" fmla="*/ 44457 h 102290"/>
                <a:gd name="connsiteX77" fmla="*/ 6294 w 43276"/>
                <a:gd name="connsiteY77" fmla="*/ 46031 h 102290"/>
                <a:gd name="connsiteX78" fmla="*/ 4721 w 43276"/>
                <a:gd name="connsiteY78" fmla="*/ 48785 h 102290"/>
                <a:gd name="connsiteX79" fmla="*/ 3934 w 43276"/>
                <a:gd name="connsiteY79" fmla="*/ 51932 h 102290"/>
                <a:gd name="connsiteX80" fmla="*/ 3934 w 43276"/>
                <a:gd name="connsiteY80" fmla="*/ 54686 h 102290"/>
                <a:gd name="connsiteX81" fmla="*/ 4721 w 43276"/>
                <a:gd name="connsiteY81" fmla="*/ 57834 h 102290"/>
                <a:gd name="connsiteX82" fmla="*/ 5901 w 43276"/>
                <a:gd name="connsiteY82" fmla="*/ 60981 h 102290"/>
                <a:gd name="connsiteX83" fmla="*/ 8655 w 43276"/>
                <a:gd name="connsiteY83" fmla="*/ 62555 h 102290"/>
                <a:gd name="connsiteX84" fmla="*/ 9048 w 43276"/>
                <a:gd name="connsiteY84" fmla="*/ 65702 h 102290"/>
                <a:gd name="connsiteX85" fmla="*/ 8261 w 43276"/>
                <a:gd name="connsiteY85" fmla="*/ 68456 h 102290"/>
                <a:gd name="connsiteX86" fmla="*/ 8655 w 43276"/>
                <a:gd name="connsiteY86" fmla="*/ 71210 h 102290"/>
                <a:gd name="connsiteX87" fmla="*/ 8261 w 43276"/>
                <a:gd name="connsiteY87" fmla="*/ 73964 h 102290"/>
                <a:gd name="connsiteX88" fmla="*/ 8261 w 43276"/>
                <a:gd name="connsiteY88" fmla="*/ 79079 h 102290"/>
                <a:gd name="connsiteX89" fmla="*/ 7869 w 43276"/>
                <a:gd name="connsiteY89" fmla="*/ 82226 h 102290"/>
                <a:gd name="connsiteX90" fmla="*/ 10229 w 43276"/>
                <a:gd name="connsiteY90" fmla="*/ 85374 h 102290"/>
                <a:gd name="connsiteX91" fmla="*/ 13376 w 43276"/>
                <a:gd name="connsiteY91" fmla="*/ 86947 h 102290"/>
                <a:gd name="connsiteX92" fmla="*/ 14949 w 43276"/>
                <a:gd name="connsiteY92" fmla="*/ 89701 h 102290"/>
                <a:gd name="connsiteX93" fmla="*/ 16130 w 43276"/>
                <a:gd name="connsiteY93" fmla="*/ 92849 h 102290"/>
                <a:gd name="connsiteX94" fmla="*/ 17704 w 43276"/>
                <a:gd name="connsiteY94" fmla="*/ 95603 h 102290"/>
                <a:gd name="connsiteX95" fmla="*/ 18884 w 43276"/>
                <a:gd name="connsiteY95" fmla="*/ 98750 h 102290"/>
                <a:gd name="connsiteX96" fmla="*/ 22031 w 43276"/>
                <a:gd name="connsiteY96" fmla="*/ 99930 h 102290"/>
                <a:gd name="connsiteX97" fmla="*/ 25179 w 43276"/>
                <a:gd name="connsiteY97" fmla="*/ 101504 h 102290"/>
                <a:gd name="connsiteX98" fmla="*/ 25966 w 43276"/>
                <a:gd name="connsiteY98" fmla="*/ 104258 h 102290"/>
                <a:gd name="connsiteX99" fmla="*/ 28719 w 43276"/>
                <a:gd name="connsiteY99" fmla="*/ 103471 h 102290"/>
                <a:gd name="connsiteX100" fmla="*/ 26359 w 43276"/>
                <a:gd name="connsiteY100" fmla="*/ 100324 h 102290"/>
                <a:gd name="connsiteX101" fmla="*/ 23998 w 43276"/>
                <a:gd name="connsiteY101" fmla="*/ 97176 h 102290"/>
                <a:gd name="connsiteX102" fmla="*/ 22031 w 43276"/>
                <a:gd name="connsiteY102" fmla="*/ 94422 h 102290"/>
                <a:gd name="connsiteX103" fmla="*/ 20458 w 43276"/>
                <a:gd name="connsiteY103" fmla="*/ 91668 h 102290"/>
                <a:gd name="connsiteX104" fmla="*/ 19278 w 43276"/>
                <a:gd name="connsiteY104" fmla="*/ 88914 h 102290"/>
                <a:gd name="connsiteX105" fmla="*/ 18491 w 43276"/>
                <a:gd name="connsiteY105" fmla="*/ 85767 h 102290"/>
                <a:gd name="connsiteX106" fmla="*/ 16917 w 43276"/>
                <a:gd name="connsiteY106" fmla="*/ 83013 h 102290"/>
                <a:gd name="connsiteX107" fmla="*/ 16524 w 43276"/>
                <a:gd name="connsiteY107" fmla="*/ 80259 h 102290"/>
                <a:gd name="connsiteX108" fmla="*/ 15343 w 43276"/>
                <a:gd name="connsiteY108" fmla="*/ 77112 h 102290"/>
                <a:gd name="connsiteX109" fmla="*/ 14163 w 43276"/>
                <a:gd name="connsiteY109" fmla="*/ 73964 h 102290"/>
                <a:gd name="connsiteX110" fmla="*/ 14163 w 43276"/>
                <a:gd name="connsiteY110" fmla="*/ 73964 h 102290"/>
                <a:gd name="connsiteX111" fmla="*/ 14557 w 43276"/>
                <a:gd name="connsiteY111" fmla="*/ 71210 h 102290"/>
                <a:gd name="connsiteX112" fmla="*/ 15343 w 43276"/>
                <a:gd name="connsiteY112" fmla="*/ 68063 h 102290"/>
                <a:gd name="connsiteX113" fmla="*/ 14949 w 43276"/>
                <a:gd name="connsiteY113" fmla="*/ 64915 h 102290"/>
                <a:gd name="connsiteX114" fmla="*/ 14949 w 43276"/>
                <a:gd name="connsiteY114" fmla="*/ 61768 h 102290"/>
                <a:gd name="connsiteX115" fmla="*/ 14949 w 43276"/>
                <a:gd name="connsiteY115" fmla="*/ 59014 h 102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43276" h="102290">
                  <a:moveTo>
                    <a:pt x="18097" y="58227"/>
                  </a:moveTo>
                  <a:lnTo>
                    <a:pt x="21245" y="59014"/>
                  </a:lnTo>
                  <a:lnTo>
                    <a:pt x="23998" y="60588"/>
                  </a:lnTo>
                  <a:lnTo>
                    <a:pt x="26752" y="60981"/>
                  </a:lnTo>
                  <a:lnTo>
                    <a:pt x="29507" y="60981"/>
                  </a:lnTo>
                  <a:lnTo>
                    <a:pt x="32261" y="61768"/>
                  </a:lnTo>
                  <a:lnTo>
                    <a:pt x="35408" y="63735"/>
                  </a:lnTo>
                  <a:lnTo>
                    <a:pt x="38555" y="64522"/>
                  </a:lnTo>
                  <a:lnTo>
                    <a:pt x="41310" y="64915"/>
                  </a:lnTo>
                  <a:lnTo>
                    <a:pt x="44064" y="65309"/>
                  </a:lnTo>
                  <a:lnTo>
                    <a:pt x="41310" y="63735"/>
                  </a:lnTo>
                  <a:lnTo>
                    <a:pt x="38555" y="60981"/>
                  </a:lnTo>
                  <a:lnTo>
                    <a:pt x="38162" y="57834"/>
                  </a:lnTo>
                  <a:lnTo>
                    <a:pt x="36195" y="54686"/>
                  </a:lnTo>
                  <a:lnTo>
                    <a:pt x="33441" y="53899"/>
                  </a:lnTo>
                  <a:lnTo>
                    <a:pt x="30686" y="52719"/>
                  </a:lnTo>
                  <a:lnTo>
                    <a:pt x="27540" y="51932"/>
                  </a:lnTo>
                  <a:lnTo>
                    <a:pt x="24785" y="49178"/>
                  </a:lnTo>
                  <a:lnTo>
                    <a:pt x="26359" y="46424"/>
                  </a:lnTo>
                  <a:lnTo>
                    <a:pt x="28327" y="43670"/>
                  </a:lnTo>
                  <a:lnTo>
                    <a:pt x="31474" y="42490"/>
                  </a:lnTo>
                  <a:lnTo>
                    <a:pt x="34228" y="40523"/>
                  </a:lnTo>
                  <a:lnTo>
                    <a:pt x="36982" y="38556"/>
                  </a:lnTo>
                  <a:lnTo>
                    <a:pt x="38555" y="35802"/>
                  </a:lnTo>
                  <a:lnTo>
                    <a:pt x="38555" y="32654"/>
                  </a:lnTo>
                  <a:lnTo>
                    <a:pt x="39343" y="29507"/>
                  </a:lnTo>
                  <a:lnTo>
                    <a:pt x="39735" y="26753"/>
                  </a:lnTo>
                  <a:lnTo>
                    <a:pt x="37768" y="23999"/>
                  </a:lnTo>
                  <a:lnTo>
                    <a:pt x="38555" y="20852"/>
                  </a:lnTo>
                  <a:lnTo>
                    <a:pt x="35801" y="20458"/>
                  </a:lnTo>
                  <a:lnTo>
                    <a:pt x="33047" y="22032"/>
                  </a:lnTo>
                  <a:lnTo>
                    <a:pt x="30294" y="22425"/>
                  </a:lnTo>
                  <a:lnTo>
                    <a:pt x="27146" y="25179"/>
                  </a:lnTo>
                  <a:lnTo>
                    <a:pt x="24392" y="26360"/>
                  </a:lnTo>
                  <a:lnTo>
                    <a:pt x="22031" y="29114"/>
                  </a:lnTo>
                  <a:lnTo>
                    <a:pt x="20458" y="32261"/>
                  </a:lnTo>
                  <a:lnTo>
                    <a:pt x="23212" y="33048"/>
                  </a:lnTo>
                  <a:lnTo>
                    <a:pt x="22425" y="35802"/>
                  </a:lnTo>
                  <a:lnTo>
                    <a:pt x="19671" y="36195"/>
                  </a:lnTo>
                  <a:lnTo>
                    <a:pt x="16917" y="38162"/>
                  </a:lnTo>
                  <a:lnTo>
                    <a:pt x="15343" y="40916"/>
                  </a:lnTo>
                  <a:lnTo>
                    <a:pt x="15343" y="43670"/>
                  </a:lnTo>
                  <a:lnTo>
                    <a:pt x="12982" y="46818"/>
                  </a:lnTo>
                  <a:lnTo>
                    <a:pt x="10229" y="46818"/>
                  </a:lnTo>
                  <a:lnTo>
                    <a:pt x="7475" y="44457"/>
                  </a:lnTo>
                  <a:lnTo>
                    <a:pt x="6294" y="41703"/>
                  </a:lnTo>
                  <a:lnTo>
                    <a:pt x="9048" y="38556"/>
                  </a:lnTo>
                  <a:lnTo>
                    <a:pt x="11803" y="35802"/>
                  </a:lnTo>
                  <a:lnTo>
                    <a:pt x="14949" y="33441"/>
                  </a:lnTo>
                  <a:lnTo>
                    <a:pt x="16524" y="30687"/>
                  </a:lnTo>
                  <a:lnTo>
                    <a:pt x="16917" y="27933"/>
                  </a:lnTo>
                  <a:lnTo>
                    <a:pt x="18097" y="24786"/>
                  </a:lnTo>
                  <a:lnTo>
                    <a:pt x="18491" y="22032"/>
                  </a:lnTo>
                  <a:lnTo>
                    <a:pt x="16917" y="19278"/>
                  </a:lnTo>
                  <a:lnTo>
                    <a:pt x="17704" y="16131"/>
                  </a:lnTo>
                  <a:lnTo>
                    <a:pt x="15343" y="13377"/>
                  </a:lnTo>
                  <a:lnTo>
                    <a:pt x="12589" y="11409"/>
                  </a:lnTo>
                  <a:lnTo>
                    <a:pt x="13376" y="8262"/>
                  </a:lnTo>
                  <a:lnTo>
                    <a:pt x="15343" y="5508"/>
                  </a:lnTo>
                  <a:lnTo>
                    <a:pt x="17704" y="2754"/>
                  </a:lnTo>
                  <a:lnTo>
                    <a:pt x="17310" y="0"/>
                  </a:lnTo>
                  <a:lnTo>
                    <a:pt x="14557" y="394"/>
                  </a:lnTo>
                  <a:lnTo>
                    <a:pt x="11803" y="3541"/>
                  </a:lnTo>
                  <a:lnTo>
                    <a:pt x="9836" y="6295"/>
                  </a:lnTo>
                  <a:lnTo>
                    <a:pt x="7475" y="9442"/>
                  </a:lnTo>
                  <a:lnTo>
                    <a:pt x="5901" y="12196"/>
                  </a:lnTo>
                  <a:lnTo>
                    <a:pt x="4327" y="15344"/>
                  </a:lnTo>
                  <a:lnTo>
                    <a:pt x="3934" y="18491"/>
                  </a:lnTo>
                  <a:lnTo>
                    <a:pt x="3147" y="21245"/>
                  </a:lnTo>
                  <a:lnTo>
                    <a:pt x="3147" y="23999"/>
                  </a:lnTo>
                  <a:lnTo>
                    <a:pt x="2360" y="26753"/>
                  </a:lnTo>
                  <a:lnTo>
                    <a:pt x="1180" y="29507"/>
                  </a:lnTo>
                  <a:lnTo>
                    <a:pt x="0" y="32654"/>
                  </a:lnTo>
                  <a:lnTo>
                    <a:pt x="393" y="35802"/>
                  </a:lnTo>
                  <a:lnTo>
                    <a:pt x="1967" y="38556"/>
                  </a:lnTo>
                  <a:lnTo>
                    <a:pt x="3147" y="41310"/>
                  </a:lnTo>
                  <a:lnTo>
                    <a:pt x="3540" y="44457"/>
                  </a:lnTo>
                  <a:lnTo>
                    <a:pt x="6294" y="46031"/>
                  </a:lnTo>
                  <a:lnTo>
                    <a:pt x="4721" y="48785"/>
                  </a:lnTo>
                  <a:lnTo>
                    <a:pt x="3934" y="51932"/>
                  </a:lnTo>
                  <a:lnTo>
                    <a:pt x="3934" y="54686"/>
                  </a:lnTo>
                  <a:lnTo>
                    <a:pt x="4721" y="57834"/>
                  </a:lnTo>
                  <a:lnTo>
                    <a:pt x="5901" y="60981"/>
                  </a:lnTo>
                  <a:lnTo>
                    <a:pt x="8655" y="62555"/>
                  </a:lnTo>
                  <a:lnTo>
                    <a:pt x="9048" y="65702"/>
                  </a:lnTo>
                  <a:lnTo>
                    <a:pt x="8261" y="68456"/>
                  </a:lnTo>
                  <a:lnTo>
                    <a:pt x="8655" y="71210"/>
                  </a:lnTo>
                  <a:lnTo>
                    <a:pt x="8261" y="73964"/>
                  </a:lnTo>
                  <a:lnTo>
                    <a:pt x="8261" y="79079"/>
                  </a:lnTo>
                  <a:lnTo>
                    <a:pt x="7869" y="82226"/>
                  </a:lnTo>
                  <a:lnTo>
                    <a:pt x="10229" y="85374"/>
                  </a:lnTo>
                  <a:lnTo>
                    <a:pt x="13376" y="86947"/>
                  </a:lnTo>
                  <a:lnTo>
                    <a:pt x="14949" y="89701"/>
                  </a:lnTo>
                  <a:lnTo>
                    <a:pt x="16130" y="92849"/>
                  </a:lnTo>
                  <a:lnTo>
                    <a:pt x="17704" y="95603"/>
                  </a:lnTo>
                  <a:lnTo>
                    <a:pt x="18884" y="98750"/>
                  </a:lnTo>
                  <a:lnTo>
                    <a:pt x="22031" y="99930"/>
                  </a:lnTo>
                  <a:lnTo>
                    <a:pt x="25179" y="101504"/>
                  </a:lnTo>
                  <a:lnTo>
                    <a:pt x="25966" y="104258"/>
                  </a:lnTo>
                  <a:lnTo>
                    <a:pt x="28719" y="103471"/>
                  </a:lnTo>
                  <a:lnTo>
                    <a:pt x="26359" y="100324"/>
                  </a:lnTo>
                  <a:lnTo>
                    <a:pt x="23998" y="97176"/>
                  </a:lnTo>
                  <a:lnTo>
                    <a:pt x="22031" y="94422"/>
                  </a:lnTo>
                  <a:lnTo>
                    <a:pt x="20458" y="91668"/>
                  </a:lnTo>
                  <a:lnTo>
                    <a:pt x="19278" y="88914"/>
                  </a:lnTo>
                  <a:lnTo>
                    <a:pt x="18491" y="85767"/>
                  </a:lnTo>
                  <a:lnTo>
                    <a:pt x="16917" y="83013"/>
                  </a:lnTo>
                  <a:lnTo>
                    <a:pt x="16524" y="80259"/>
                  </a:lnTo>
                  <a:lnTo>
                    <a:pt x="15343" y="77112"/>
                  </a:lnTo>
                  <a:lnTo>
                    <a:pt x="14163" y="73964"/>
                  </a:lnTo>
                  <a:lnTo>
                    <a:pt x="14163" y="73964"/>
                  </a:lnTo>
                  <a:lnTo>
                    <a:pt x="14557" y="71210"/>
                  </a:lnTo>
                  <a:lnTo>
                    <a:pt x="15343" y="68063"/>
                  </a:lnTo>
                  <a:lnTo>
                    <a:pt x="14949" y="64915"/>
                  </a:lnTo>
                  <a:lnTo>
                    <a:pt x="14949" y="61768"/>
                  </a:lnTo>
                  <a:lnTo>
                    <a:pt x="14949" y="590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25" name="Freeform: Shape 3819">
              <a:extLst>
                <a:ext uri="{FF2B5EF4-FFF2-40B4-BE49-F238E27FC236}">
                  <a16:creationId xmlns:a16="http://schemas.microsoft.com/office/drawing/2014/main" id="{334662CB-FA46-4833-AAF0-B0E09DC87FD6}"/>
                </a:ext>
              </a:extLst>
            </p:cNvPr>
            <p:cNvSpPr/>
            <p:nvPr/>
          </p:nvSpPr>
          <p:spPr>
            <a:xfrm>
              <a:off x="9872107" y="3713096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0 h 0"/>
                <a:gd name="connsiteX2" fmla="*/ 118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0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26" name="Freeform: Shape 3820">
              <a:extLst>
                <a:ext uri="{FF2B5EF4-FFF2-40B4-BE49-F238E27FC236}">
                  <a16:creationId xmlns:a16="http://schemas.microsoft.com/office/drawing/2014/main" id="{BE37D16F-E309-4F7C-AF72-A1F4715D630B}"/>
                </a:ext>
              </a:extLst>
            </p:cNvPr>
            <p:cNvSpPr/>
            <p:nvPr/>
          </p:nvSpPr>
          <p:spPr>
            <a:xfrm>
              <a:off x="9872107" y="3700113"/>
              <a:ext cx="3934" cy="3934"/>
            </a:xfrm>
            <a:custGeom>
              <a:avLst/>
              <a:gdLst>
                <a:gd name="connsiteX0" fmla="*/ 1967 w 0"/>
                <a:gd name="connsiteY0" fmla="*/ 3147 h 0"/>
                <a:gd name="connsiteX1" fmla="*/ 1967 w 0"/>
                <a:gd name="connsiteY1" fmla="*/ 393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3147"/>
                  </a:moveTo>
                  <a:lnTo>
                    <a:pt x="1967" y="39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27" name="Freeform: Shape 3821">
              <a:extLst>
                <a:ext uri="{FF2B5EF4-FFF2-40B4-BE49-F238E27FC236}">
                  <a16:creationId xmlns:a16="http://schemas.microsoft.com/office/drawing/2014/main" id="{F2D33348-C0A4-46F8-8E05-BE437821C8D5}"/>
                </a:ext>
              </a:extLst>
            </p:cNvPr>
            <p:cNvSpPr/>
            <p:nvPr/>
          </p:nvSpPr>
          <p:spPr>
            <a:xfrm>
              <a:off x="9870140" y="3696572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967 w 0"/>
                <a:gd name="connsiteY1" fmla="*/ 3147 h 0"/>
                <a:gd name="connsiteX2" fmla="*/ 118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967" y="3147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28" name="Freeform: Shape 3822">
              <a:extLst>
                <a:ext uri="{FF2B5EF4-FFF2-40B4-BE49-F238E27FC236}">
                  <a16:creationId xmlns:a16="http://schemas.microsoft.com/office/drawing/2014/main" id="{F9B2B649-79FF-4617-B30A-84176060A076}"/>
                </a:ext>
              </a:extLst>
            </p:cNvPr>
            <p:cNvSpPr/>
            <p:nvPr/>
          </p:nvSpPr>
          <p:spPr>
            <a:xfrm>
              <a:off x="9805618" y="3673753"/>
              <a:ext cx="3934" cy="3934"/>
            </a:xfrm>
            <a:custGeom>
              <a:avLst/>
              <a:gdLst>
                <a:gd name="connsiteX0" fmla="*/ 3148 w 3934"/>
                <a:gd name="connsiteY0" fmla="*/ 2754 h 3934"/>
                <a:gd name="connsiteX1" fmla="*/ 3934 w 3934"/>
                <a:gd name="connsiteY1" fmla="*/ 0 h 3934"/>
                <a:gd name="connsiteX2" fmla="*/ 2755 w 3934"/>
                <a:gd name="connsiteY2" fmla="*/ 1967 h 3934"/>
                <a:gd name="connsiteX3" fmla="*/ 0 w 3934"/>
                <a:gd name="connsiteY3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3148" y="2754"/>
                  </a:moveTo>
                  <a:lnTo>
                    <a:pt x="3934" y="0"/>
                  </a:lnTo>
                  <a:lnTo>
                    <a:pt x="2755" y="1967"/>
                  </a:lnTo>
                  <a:lnTo>
                    <a:pt x="0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29" name="Freeform: Shape 3823">
              <a:extLst>
                <a:ext uri="{FF2B5EF4-FFF2-40B4-BE49-F238E27FC236}">
                  <a16:creationId xmlns:a16="http://schemas.microsoft.com/office/drawing/2014/main" id="{1D892645-1A8F-4D19-B974-B9E74A8F2BF1}"/>
                </a:ext>
              </a:extLst>
            </p:cNvPr>
            <p:cNvSpPr/>
            <p:nvPr/>
          </p:nvSpPr>
          <p:spPr>
            <a:xfrm>
              <a:off x="9896106" y="3635984"/>
              <a:ext cx="11803" cy="19671"/>
            </a:xfrm>
            <a:custGeom>
              <a:avLst/>
              <a:gdLst>
                <a:gd name="connsiteX0" fmla="*/ 2361 w 11802"/>
                <a:gd name="connsiteY0" fmla="*/ 20852 h 19671"/>
                <a:gd name="connsiteX1" fmla="*/ 3541 w 11802"/>
                <a:gd name="connsiteY1" fmla="*/ 20852 h 19671"/>
                <a:gd name="connsiteX2" fmla="*/ 6295 w 11802"/>
                <a:gd name="connsiteY2" fmla="*/ 20065 h 19671"/>
                <a:gd name="connsiteX3" fmla="*/ 9443 w 11802"/>
                <a:gd name="connsiteY3" fmla="*/ 19671 h 19671"/>
                <a:gd name="connsiteX4" fmla="*/ 11410 w 11802"/>
                <a:gd name="connsiteY4" fmla="*/ 16917 h 19671"/>
                <a:gd name="connsiteX5" fmla="*/ 12590 w 11802"/>
                <a:gd name="connsiteY5" fmla="*/ 14163 h 19671"/>
                <a:gd name="connsiteX6" fmla="*/ 13377 w 11802"/>
                <a:gd name="connsiteY6" fmla="*/ 11409 h 19671"/>
                <a:gd name="connsiteX7" fmla="*/ 14558 w 11802"/>
                <a:gd name="connsiteY7" fmla="*/ 8262 h 19671"/>
                <a:gd name="connsiteX8" fmla="*/ 14558 w 11802"/>
                <a:gd name="connsiteY8" fmla="*/ 7869 h 19671"/>
                <a:gd name="connsiteX9" fmla="*/ 14164 w 11802"/>
                <a:gd name="connsiteY9" fmla="*/ 4721 h 19671"/>
                <a:gd name="connsiteX10" fmla="*/ 11803 w 11802"/>
                <a:gd name="connsiteY10" fmla="*/ 1574 h 19671"/>
                <a:gd name="connsiteX11" fmla="*/ 10623 w 11802"/>
                <a:gd name="connsiteY11" fmla="*/ 0 h 19671"/>
                <a:gd name="connsiteX12" fmla="*/ 9049 w 11802"/>
                <a:gd name="connsiteY12" fmla="*/ 2360 h 19671"/>
                <a:gd name="connsiteX13" fmla="*/ 6295 w 11802"/>
                <a:gd name="connsiteY13" fmla="*/ 3541 h 19671"/>
                <a:gd name="connsiteX14" fmla="*/ 3541 w 11802"/>
                <a:gd name="connsiteY14" fmla="*/ 6295 h 19671"/>
                <a:gd name="connsiteX15" fmla="*/ 2361 w 11802"/>
                <a:gd name="connsiteY15" fmla="*/ 9049 h 19671"/>
                <a:gd name="connsiteX16" fmla="*/ 0 w 11802"/>
                <a:gd name="connsiteY16" fmla="*/ 12196 h 19671"/>
                <a:gd name="connsiteX17" fmla="*/ 1574 w 11802"/>
                <a:gd name="connsiteY17" fmla="*/ 14950 h 19671"/>
                <a:gd name="connsiteX18" fmla="*/ 1574 w 11802"/>
                <a:gd name="connsiteY18" fmla="*/ 17704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802" h="19671">
                  <a:moveTo>
                    <a:pt x="2361" y="20852"/>
                  </a:moveTo>
                  <a:lnTo>
                    <a:pt x="3541" y="20852"/>
                  </a:lnTo>
                  <a:lnTo>
                    <a:pt x="6295" y="20065"/>
                  </a:lnTo>
                  <a:lnTo>
                    <a:pt x="9443" y="19671"/>
                  </a:lnTo>
                  <a:lnTo>
                    <a:pt x="11410" y="16917"/>
                  </a:lnTo>
                  <a:lnTo>
                    <a:pt x="12590" y="14163"/>
                  </a:lnTo>
                  <a:lnTo>
                    <a:pt x="13377" y="11409"/>
                  </a:lnTo>
                  <a:lnTo>
                    <a:pt x="14558" y="8262"/>
                  </a:lnTo>
                  <a:lnTo>
                    <a:pt x="14558" y="7869"/>
                  </a:lnTo>
                  <a:lnTo>
                    <a:pt x="14164" y="4721"/>
                  </a:lnTo>
                  <a:lnTo>
                    <a:pt x="11803" y="1574"/>
                  </a:lnTo>
                  <a:lnTo>
                    <a:pt x="10623" y="0"/>
                  </a:lnTo>
                  <a:lnTo>
                    <a:pt x="9049" y="2360"/>
                  </a:lnTo>
                  <a:lnTo>
                    <a:pt x="6295" y="3541"/>
                  </a:lnTo>
                  <a:lnTo>
                    <a:pt x="3541" y="6295"/>
                  </a:lnTo>
                  <a:lnTo>
                    <a:pt x="2361" y="9049"/>
                  </a:lnTo>
                  <a:lnTo>
                    <a:pt x="0" y="12196"/>
                  </a:lnTo>
                  <a:lnTo>
                    <a:pt x="1574" y="14950"/>
                  </a:lnTo>
                  <a:lnTo>
                    <a:pt x="1574" y="1770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30" name="Freeform: Shape 3824">
              <a:extLst>
                <a:ext uri="{FF2B5EF4-FFF2-40B4-BE49-F238E27FC236}">
                  <a16:creationId xmlns:a16="http://schemas.microsoft.com/office/drawing/2014/main" id="{DFC0B1C6-9D26-4F1C-AC07-AADD504F2D7E}"/>
                </a:ext>
              </a:extLst>
            </p:cNvPr>
            <p:cNvSpPr/>
            <p:nvPr/>
          </p:nvSpPr>
          <p:spPr>
            <a:xfrm>
              <a:off x="9894139" y="3644639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394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39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31" name="Freeform: Shape 3825">
              <a:extLst>
                <a:ext uri="{FF2B5EF4-FFF2-40B4-BE49-F238E27FC236}">
                  <a16:creationId xmlns:a16="http://schemas.microsoft.com/office/drawing/2014/main" id="{83FC6C35-36AF-45D9-B0C5-6D87733E2DD9}"/>
                </a:ext>
              </a:extLst>
            </p:cNvPr>
            <p:cNvSpPr/>
            <p:nvPr/>
          </p:nvSpPr>
          <p:spPr>
            <a:xfrm>
              <a:off x="9810339" y="3632050"/>
              <a:ext cx="3934" cy="3934"/>
            </a:xfrm>
            <a:custGeom>
              <a:avLst/>
              <a:gdLst>
                <a:gd name="connsiteX0" fmla="*/ 1573 w 0"/>
                <a:gd name="connsiteY0" fmla="*/ 2754 h 0"/>
                <a:gd name="connsiteX1" fmla="*/ 236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3" y="2754"/>
                  </a:moveTo>
                  <a:lnTo>
                    <a:pt x="236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32" name="Freeform: Shape 3826">
              <a:extLst>
                <a:ext uri="{FF2B5EF4-FFF2-40B4-BE49-F238E27FC236}">
                  <a16:creationId xmlns:a16="http://schemas.microsoft.com/office/drawing/2014/main" id="{011E2733-1FF1-4044-B6E6-75D92E62AC72}"/>
                </a:ext>
              </a:extLst>
            </p:cNvPr>
            <p:cNvSpPr/>
            <p:nvPr/>
          </p:nvSpPr>
          <p:spPr>
            <a:xfrm>
              <a:off x="9612052" y="3667458"/>
              <a:ext cx="192779" cy="251793"/>
            </a:xfrm>
            <a:custGeom>
              <a:avLst/>
              <a:gdLst>
                <a:gd name="connsiteX0" fmla="*/ 160912 w 192778"/>
                <a:gd name="connsiteY0" fmla="*/ 46031 h 251792"/>
                <a:gd name="connsiteX1" fmla="*/ 164059 w 192778"/>
                <a:gd name="connsiteY1" fmla="*/ 45637 h 251792"/>
                <a:gd name="connsiteX2" fmla="*/ 166813 w 192778"/>
                <a:gd name="connsiteY2" fmla="*/ 44850 h 251792"/>
                <a:gd name="connsiteX3" fmla="*/ 167993 w 192778"/>
                <a:gd name="connsiteY3" fmla="*/ 44850 h 251792"/>
                <a:gd name="connsiteX4" fmla="*/ 171141 w 192778"/>
                <a:gd name="connsiteY4" fmla="*/ 42883 h 251792"/>
                <a:gd name="connsiteX5" fmla="*/ 173894 w 192778"/>
                <a:gd name="connsiteY5" fmla="*/ 40916 h 251792"/>
                <a:gd name="connsiteX6" fmla="*/ 176255 w 192778"/>
                <a:gd name="connsiteY6" fmla="*/ 37769 h 251792"/>
                <a:gd name="connsiteX7" fmla="*/ 176649 w 192778"/>
                <a:gd name="connsiteY7" fmla="*/ 35015 h 251792"/>
                <a:gd name="connsiteX8" fmla="*/ 178222 w 192778"/>
                <a:gd name="connsiteY8" fmla="*/ 31867 h 251792"/>
                <a:gd name="connsiteX9" fmla="*/ 180190 w 192778"/>
                <a:gd name="connsiteY9" fmla="*/ 29113 h 251792"/>
                <a:gd name="connsiteX10" fmla="*/ 183337 w 192778"/>
                <a:gd name="connsiteY10" fmla="*/ 26359 h 251792"/>
                <a:gd name="connsiteX11" fmla="*/ 186091 w 192778"/>
                <a:gd name="connsiteY11" fmla="*/ 23999 h 251792"/>
                <a:gd name="connsiteX12" fmla="*/ 188058 w 192778"/>
                <a:gd name="connsiteY12" fmla="*/ 21245 h 251792"/>
                <a:gd name="connsiteX13" fmla="*/ 189239 w 192778"/>
                <a:gd name="connsiteY13" fmla="*/ 18491 h 251792"/>
                <a:gd name="connsiteX14" fmla="*/ 190419 w 192778"/>
                <a:gd name="connsiteY14" fmla="*/ 15343 h 251792"/>
                <a:gd name="connsiteX15" fmla="*/ 191206 w 192778"/>
                <a:gd name="connsiteY15" fmla="*/ 12589 h 251792"/>
                <a:gd name="connsiteX16" fmla="*/ 193173 w 192778"/>
                <a:gd name="connsiteY16" fmla="*/ 9442 h 251792"/>
                <a:gd name="connsiteX17" fmla="*/ 195927 w 192778"/>
                <a:gd name="connsiteY17" fmla="*/ 7082 h 251792"/>
                <a:gd name="connsiteX18" fmla="*/ 193173 w 192778"/>
                <a:gd name="connsiteY18" fmla="*/ 3934 h 251792"/>
                <a:gd name="connsiteX19" fmla="*/ 193566 w 192778"/>
                <a:gd name="connsiteY19" fmla="*/ 787 h 251792"/>
                <a:gd name="connsiteX20" fmla="*/ 190419 w 192778"/>
                <a:gd name="connsiteY20" fmla="*/ 1180 h 251792"/>
                <a:gd name="connsiteX21" fmla="*/ 187271 w 192778"/>
                <a:gd name="connsiteY21" fmla="*/ 0 h 251792"/>
                <a:gd name="connsiteX22" fmla="*/ 184910 w 192778"/>
                <a:gd name="connsiteY22" fmla="*/ 2754 h 251792"/>
                <a:gd name="connsiteX23" fmla="*/ 183337 w 192778"/>
                <a:gd name="connsiteY23" fmla="*/ 5508 h 251792"/>
                <a:gd name="connsiteX24" fmla="*/ 181370 w 192778"/>
                <a:gd name="connsiteY24" fmla="*/ 8655 h 251792"/>
                <a:gd name="connsiteX25" fmla="*/ 178616 w 192778"/>
                <a:gd name="connsiteY25" fmla="*/ 10229 h 251792"/>
                <a:gd name="connsiteX26" fmla="*/ 175861 w 192778"/>
                <a:gd name="connsiteY26" fmla="*/ 11016 h 251792"/>
                <a:gd name="connsiteX27" fmla="*/ 174288 w 192778"/>
                <a:gd name="connsiteY27" fmla="*/ 14163 h 251792"/>
                <a:gd name="connsiteX28" fmla="*/ 174682 w 192778"/>
                <a:gd name="connsiteY28" fmla="*/ 16917 h 251792"/>
                <a:gd name="connsiteX29" fmla="*/ 171927 w 192778"/>
                <a:gd name="connsiteY29" fmla="*/ 17311 h 251792"/>
                <a:gd name="connsiteX30" fmla="*/ 169173 w 192778"/>
                <a:gd name="connsiteY30" fmla="*/ 19671 h 251792"/>
                <a:gd name="connsiteX31" fmla="*/ 167993 w 192778"/>
                <a:gd name="connsiteY31" fmla="*/ 22425 h 251792"/>
                <a:gd name="connsiteX32" fmla="*/ 164846 w 192778"/>
                <a:gd name="connsiteY32" fmla="*/ 24392 h 251792"/>
                <a:gd name="connsiteX33" fmla="*/ 162092 w 192778"/>
                <a:gd name="connsiteY33" fmla="*/ 26359 h 251792"/>
                <a:gd name="connsiteX34" fmla="*/ 159338 w 192778"/>
                <a:gd name="connsiteY34" fmla="*/ 27540 h 251792"/>
                <a:gd name="connsiteX35" fmla="*/ 156190 w 192778"/>
                <a:gd name="connsiteY35" fmla="*/ 29507 h 251792"/>
                <a:gd name="connsiteX36" fmla="*/ 153436 w 192778"/>
                <a:gd name="connsiteY36" fmla="*/ 29900 h 251792"/>
                <a:gd name="connsiteX37" fmla="*/ 150683 w 192778"/>
                <a:gd name="connsiteY37" fmla="*/ 29113 h 251792"/>
                <a:gd name="connsiteX38" fmla="*/ 147535 w 192778"/>
                <a:gd name="connsiteY38" fmla="*/ 28720 h 251792"/>
                <a:gd name="connsiteX39" fmla="*/ 144781 w 192778"/>
                <a:gd name="connsiteY39" fmla="*/ 28327 h 251792"/>
                <a:gd name="connsiteX40" fmla="*/ 141634 w 192778"/>
                <a:gd name="connsiteY40" fmla="*/ 27540 h 251792"/>
                <a:gd name="connsiteX41" fmla="*/ 138880 w 192778"/>
                <a:gd name="connsiteY41" fmla="*/ 27146 h 251792"/>
                <a:gd name="connsiteX42" fmla="*/ 135732 w 192778"/>
                <a:gd name="connsiteY42" fmla="*/ 25573 h 251792"/>
                <a:gd name="connsiteX43" fmla="*/ 132978 w 192778"/>
                <a:gd name="connsiteY43" fmla="*/ 26359 h 251792"/>
                <a:gd name="connsiteX44" fmla="*/ 130225 w 192778"/>
                <a:gd name="connsiteY44" fmla="*/ 26359 h 251792"/>
                <a:gd name="connsiteX45" fmla="*/ 127471 w 192778"/>
                <a:gd name="connsiteY45" fmla="*/ 26753 h 251792"/>
                <a:gd name="connsiteX46" fmla="*/ 124716 w 192778"/>
                <a:gd name="connsiteY46" fmla="*/ 29507 h 251792"/>
                <a:gd name="connsiteX47" fmla="*/ 121569 w 192778"/>
                <a:gd name="connsiteY47" fmla="*/ 28720 h 251792"/>
                <a:gd name="connsiteX48" fmla="*/ 118422 w 192778"/>
                <a:gd name="connsiteY48" fmla="*/ 26753 h 251792"/>
                <a:gd name="connsiteX49" fmla="*/ 115668 w 192778"/>
                <a:gd name="connsiteY49" fmla="*/ 25573 h 251792"/>
                <a:gd name="connsiteX50" fmla="*/ 112913 w 192778"/>
                <a:gd name="connsiteY50" fmla="*/ 24392 h 251792"/>
                <a:gd name="connsiteX51" fmla="*/ 110159 w 192778"/>
                <a:gd name="connsiteY51" fmla="*/ 23606 h 251792"/>
                <a:gd name="connsiteX52" fmla="*/ 107406 w 192778"/>
                <a:gd name="connsiteY52" fmla="*/ 23606 h 251792"/>
                <a:gd name="connsiteX53" fmla="*/ 104258 w 192778"/>
                <a:gd name="connsiteY53" fmla="*/ 23606 h 251792"/>
                <a:gd name="connsiteX54" fmla="*/ 101504 w 192778"/>
                <a:gd name="connsiteY54" fmla="*/ 22425 h 251792"/>
                <a:gd name="connsiteX55" fmla="*/ 98750 w 192778"/>
                <a:gd name="connsiteY55" fmla="*/ 23606 h 251792"/>
                <a:gd name="connsiteX56" fmla="*/ 95603 w 192778"/>
                <a:gd name="connsiteY56" fmla="*/ 20852 h 251792"/>
                <a:gd name="connsiteX57" fmla="*/ 92849 w 192778"/>
                <a:gd name="connsiteY57" fmla="*/ 21638 h 251792"/>
                <a:gd name="connsiteX58" fmla="*/ 89701 w 192778"/>
                <a:gd name="connsiteY58" fmla="*/ 21638 h 251792"/>
                <a:gd name="connsiteX59" fmla="*/ 86948 w 192778"/>
                <a:gd name="connsiteY59" fmla="*/ 22032 h 251792"/>
                <a:gd name="connsiteX60" fmla="*/ 84194 w 192778"/>
                <a:gd name="connsiteY60" fmla="*/ 21245 h 251792"/>
                <a:gd name="connsiteX61" fmla="*/ 81833 w 192778"/>
                <a:gd name="connsiteY61" fmla="*/ 18491 h 251792"/>
                <a:gd name="connsiteX62" fmla="*/ 80260 w 192778"/>
                <a:gd name="connsiteY62" fmla="*/ 15343 h 251792"/>
                <a:gd name="connsiteX63" fmla="*/ 77505 w 192778"/>
                <a:gd name="connsiteY63" fmla="*/ 15737 h 251792"/>
                <a:gd name="connsiteX64" fmla="*/ 74358 w 192778"/>
                <a:gd name="connsiteY64" fmla="*/ 15343 h 251792"/>
                <a:gd name="connsiteX65" fmla="*/ 71603 w 192778"/>
                <a:gd name="connsiteY65" fmla="*/ 13376 h 251792"/>
                <a:gd name="connsiteX66" fmla="*/ 68850 w 192778"/>
                <a:gd name="connsiteY66" fmla="*/ 12589 h 251792"/>
                <a:gd name="connsiteX67" fmla="*/ 65702 w 192778"/>
                <a:gd name="connsiteY67" fmla="*/ 13376 h 251792"/>
                <a:gd name="connsiteX68" fmla="*/ 62948 w 192778"/>
                <a:gd name="connsiteY68" fmla="*/ 14557 h 251792"/>
                <a:gd name="connsiteX69" fmla="*/ 62948 w 192778"/>
                <a:gd name="connsiteY69" fmla="*/ 17311 h 251792"/>
                <a:gd name="connsiteX70" fmla="*/ 62162 w 192778"/>
                <a:gd name="connsiteY70" fmla="*/ 20458 h 251792"/>
                <a:gd name="connsiteX71" fmla="*/ 61375 w 192778"/>
                <a:gd name="connsiteY71" fmla="*/ 23212 h 251792"/>
                <a:gd name="connsiteX72" fmla="*/ 58621 w 192778"/>
                <a:gd name="connsiteY72" fmla="*/ 25179 h 251792"/>
                <a:gd name="connsiteX73" fmla="*/ 56654 w 192778"/>
                <a:gd name="connsiteY73" fmla="*/ 27933 h 251792"/>
                <a:gd name="connsiteX74" fmla="*/ 54293 w 192778"/>
                <a:gd name="connsiteY74" fmla="*/ 30687 h 251792"/>
                <a:gd name="connsiteX75" fmla="*/ 51539 w 192778"/>
                <a:gd name="connsiteY75" fmla="*/ 30687 h 251792"/>
                <a:gd name="connsiteX76" fmla="*/ 48392 w 192778"/>
                <a:gd name="connsiteY76" fmla="*/ 27933 h 251792"/>
                <a:gd name="connsiteX77" fmla="*/ 46031 w 192778"/>
                <a:gd name="connsiteY77" fmla="*/ 25179 h 251792"/>
                <a:gd name="connsiteX78" fmla="*/ 45638 w 192778"/>
                <a:gd name="connsiteY78" fmla="*/ 27933 h 251792"/>
                <a:gd name="connsiteX79" fmla="*/ 44851 w 192778"/>
                <a:gd name="connsiteY79" fmla="*/ 30687 h 251792"/>
                <a:gd name="connsiteX80" fmla="*/ 42096 w 192778"/>
                <a:gd name="connsiteY80" fmla="*/ 32654 h 251792"/>
                <a:gd name="connsiteX81" fmla="*/ 38950 w 192778"/>
                <a:gd name="connsiteY81" fmla="*/ 35408 h 251792"/>
                <a:gd name="connsiteX82" fmla="*/ 39736 w 192778"/>
                <a:gd name="connsiteY82" fmla="*/ 38162 h 251792"/>
                <a:gd name="connsiteX83" fmla="*/ 38556 w 192778"/>
                <a:gd name="connsiteY83" fmla="*/ 41310 h 251792"/>
                <a:gd name="connsiteX84" fmla="*/ 38162 w 192778"/>
                <a:gd name="connsiteY84" fmla="*/ 41310 h 251792"/>
                <a:gd name="connsiteX85" fmla="*/ 35408 w 192778"/>
                <a:gd name="connsiteY85" fmla="*/ 43670 h 251792"/>
                <a:gd name="connsiteX86" fmla="*/ 33835 w 192778"/>
                <a:gd name="connsiteY86" fmla="*/ 46424 h 251792"/>
                <a:gd name="connsiteX87" fmla="*/ 33441 w 192778"/>
                <a:gd name="connsiteY87" fmla="*/ 49572 h 251792"/>
                <a:gd name="connsiteX88" fmla="*/ 32655 w 192778"/>
                <a:gd name="connsiteY88" fmla="*/ 52326 h 251792"/>
                <a:gd name="connsiteX89" fmla="*/ 34622 w 192778"/>
                <a:gd name="connsiteY89" fmla="*/ 55080 h 251792"/>
                <a:gd name="connsiteX90" fmla="*/ 34622 w 192778"/>
                <a:gd name="connsiteY90" fmla="*/ 57833 h 251792"/>
                <a:gd name="connsiteX91" fmla="*/ 29901 w 192778"/>
                <a:gd name="connsiteY91" fmla="*/ 57833 h 251792"/>
                <a:gd name="connsiteX92" fmla="*/ 28327 w 192778"/>
                <a:gd name="connsiteY92" fmla="*/ 57833 h 251792"/>
                <a:gd name="connsiteX93" fmla="*/ 27934 w 192778"/>
                <a:gd name="connsiteY93" fmla="*/ 57833 h 251792"/>
                <a:gd name="connsiteX94" fmla="*/ 27147 w 192778"/>
                <a:gd name="connsiteY94" fmla="*/ 57833 h 251792"/>
                <a:gd name="connsiteX95" fmla="*/ 33441 w 192778"/>
                <a:gd name="connsiteY95" fmla="*/ 88127 h 251792"/>
                <a:gd name="connsiteX96" fmla="*/ 32655 w 192778"/>
                <a:gd name="connsiteY96" fmla="*/ 86947 h 251792"/>
                <a:gd name="connsiteX97" fmla="*/ 31868 w 192778"/>
                <a:gd name="connsiteY97" fmla="*/ 83800 h 251792"/>
                <a:gd name="connsiteX98" fmla="*/ 29507 w 192778"/>
                <a:gd name="connsiteY98" fmla="*/ 81046 h 251792"/>
                <a:gd name="connsiteX99" fmla="*/ 28327 w 192778"/>
                <a:gd name="connsiteY99" fmla="*/ 83800 h 251792"/>
                <a:gd name="connsiteX100" fmla="*/ 25180 w 192778"/>
                <a:gd name="connsiteY100" fmla="*/ 86554 h 251792"/>
                <a:gd name="connsiteX101" fmla="*/ 24392 w 192778"/>
                <a:gd name="connsiteY101" fmla="*/ 87340 h 251792"/>
                <a:gd name="connsiteX102" fmla="*/ 23213 w 192778"/>
                <a:gd name="connsiteY102" fmla="*/ 90094 h 251792"/>
                <a:gd name="connsiteX103" fmla="*/ 22425 w 192778"/>
                <a:gd name="connsiteY103" fmla="*/ 93242 h 251792"/>
                <a:gd name="connsiteX104" fmla="*/ 21246 w 192778"/>
                <a:gd name="connsiteY104" fmla="*/ 95996 h 251792"/>
                <a:gd name="connsiteX105" fmla="*/ 18491 w 192778"/>
                <a:gd name="connsiteY105" fmla="*/ 98357 h 251792"/>
                <a:gd name="connsiteX106" fmla="*/ 17311 w 192778"/>
                <a:gd name="connsiteY106" fmla="*/ 101504 h 251792"/>
                <a:gd name="connsiteX107" fmla="*/ 18098 w 192778"/>
                <a:gd name="connsiteY107" fmla="*/ 104651 h 251792"/>
                <a:gd name="connsiteX108" fmla="*/ 17311 w 192778"/>
                <a:gd name="connsiteY108" fmla="*/ 107405 h 251792"/>
                <a:gd name="connsiteX109" fmla="*/ 17311 w 192778"/>
                <a:gd name="connsiteY109" fmla="*/ 110159 h 251792"/>
                <a:gd name="connsiteX110" fmla="*/ 17311 w 192778"/>
                <a:gd name="connsiteY110" fmla="*/ 112913 h 251792"/>
                <a:gd name="connsiteX111" fmla="*/ 16918 w 192778"/>
                <a:gd name="connsiteY111" fmla="*/ 116061 h 251792"/>
                <a:gd name="connsiteX112" fmla="*/ 17704 w 192778"/>
                <a:gd name="connsiteY112" fmla="*/ 118815 h 251792"/>
                <a:gd name="connsiteX113" fmla="*/ 18491 w 192778"/>
                <a:gd name="connsiteY113" fmla="*/ 121962 h 251792"/>
                <a:gd name="connsiteX114" fmla="*/ 16918 w 192778"/>
                <a:gd name="connsiteY114" fmla="*/ 124716 h 251792"/>
                <a:gd name="connsiteX115" fmla="*/ 13770 w 192778"/>
                <a:gd name="connsiteY115" fmla="*/ 127470 h 251792"/>
                <a:gd name="connsiteX116" fmla="*/ 13377 w 192778"/>
                <a:gd name="connsiteY116" fmla="*/ 130224 h 251792"/>
                <a:gd name="connsiteX117" fmla="*/ 11803 w 192778"/>
                <a:gd name="connsiteY117" fmla="*/ 133371 h 251792"/>
                <a:gd name="connsiteX118" fmla="*/ 11410 w 192778"/>
                <a:gd name="connsiteY118" fmla="*/ 136125 h 251792"/>
                <a:gd name="connsiteX119" fmla="*/ 11410 w 192778"/>
                <a:gd name="connsiteY119" fmla="*/ 138879 h 251792"/>
                <a:gd name="connsiteX120" fmla="*/ 11410 w 192778"/>
                <a:gd name="connsiteY120" fmla="*/ 142027 h 251792"/>
                <a:gd name="connsiteX121" fmla="*/ 8262 w 192778"/>
                <a:gd name="connsiteY121" fmla="*/ 143994 h 251792"/>
                <a:gd name="connsiteX122" fmla="*/ 6295 w 192778"/>
                <a:gd name="connsiteY122" fmla="*/ 147141 h 251792"/>
                <a:gd name="connsiteX123" fmla="*/ 3541 w 192778"/>
                <a:gd name="connsiteY123" fmla="*/ 148715 h 251792"/>
                <a:gd name="connsiteX124" fmla="*/ 394 w 192778"/>
                <a:gd name="connsiteY124" fmla="*/ 149108 h 251792"/>
                <a:gd name="connsiteX125" fmla="*/ 0 w 192778"/>
                <a:gd name="connsiteY125" fmla="*/ 152256 h 251792"/>
                <a:gd name="connsiteX126" fmla="*/ 787 w 192778"/>
                <a:gd name="connsiteY126" fmla="*/ 155010 h 251792"/>
                <a:gd name="connsiteX127" fmla="*/ 3541 w 192778"/>
                <a:gd name="connsiteY127" fmla="*/ 156584 h 251792"/>
                <a:gd name="connsiteX128" fmla="*/ 2361 w 192778"/>
                <a:gd name="connsiteY128" fmla="*/ 159338 h 251792"/>
                <a:gd name="connsiteX129" fmla="*/ 394 w 192778"/>
                <a:gd name="connsiteY129" fmla="*/ 162485 h 251792"/>
                <a:gd name="connsiteX130" fmla="*/ 0 w 192778"/>
                <a:gd name="connsiteY130" fmla="*/ 165239 h 251792"/>
                <a:gd name="connsiteX131" fmla="*/ 1180 w 192778"/>
                <a:gd name="connsiteY131" fmla="*/ 168386 h 251792"/>
                <a:gd name="connsiteX132" fmla="*/ 1967 w 192778"/>
                <a:gd name="connsiteY132" fmla="*/ 171140 h 251792"/>
                <a:gd name="connsiteX133" fmla="*/ 2361 w 192778"/>
                <a:gd name="connsiteY133" fmla="*/ 174288 h 251792"/>
                <a:gd name="connsiteX134" fmla="*/ 3148 w 192778"/>
                <a:gd name="connsiteY134" fmla="*/ 177042 h 251792"/>
                <a:gd name="connsiteX135" fmla="*/ 4328 w 192778"/>
                <a:gd name="connsiteY135" fmla="*/ 180189 h 251792"/>
                <a:gd name="connsiteX136" fmla="*/ 7082 w 192778"/>
                <a:gd name="connsiteY136" fmla="*/ 177829 h 251792"/>
                <a:gd name="connsiteX137" fmla="*/ 9836 w 192778"/>
                <a:gd name="connsiteY137" fmla="*/ 177435 h 251792"/>
                <a:gd name="connsiteX138" fmla="*/ 12589 w 192778"/>
                <a:gd name="connsiteY138" fmla="*/ 177042 h 251792"/>
                <a:gd name="connsiteX139" fmla="*/ 15737 w 192778"/>
                <a:gd name="connsiteY139" fmla="*/ 175075 h 251792"/>
                <a:gd name="connsiteX140" fmla="*/ 18491 w 192778"/>
                <a:gd name="connsiteY140" fmla="*/ 176255 h 251792"/>
                <a:gd name="connsiteX141" fmla="*/ 19671 w 192778"/>
                <a:gd name="connsiteY141" fmla="*/ 177042 h 251792"/>
                <a:gd name="connsiteX142" fmla="*/ 19278 w 192778"/>
                <a:gd name="connsiteY142" fmla="*/ 184123 h 251792"/>
                <a:gd name="connsiteX143" fmla="*/ 18098 w 192778"/>
                <a:gd name="connsiteY143" fmla="*/ 228974 h 251792"/>
                <a:gd name="connsiteX144" fmla="*/ 15344 w 192778"/>
                <a:gd name="connsiteY144" fmla="*/ 234089 h 251792"/>
                <a:gd name="connsiteX145" fmla="*/ 14557 w 192778"/>
                <a:gd name="connsiteY145" fmla="*/ 236449 h 251792"/>
                <a:gd name="connsiteX146" fmla="*/ 14164 w 192778"/>
                <a:gd name="connsiteY146" fmla="*/ 239596 h 251792"/>
                <a:gd name="connsiteX147" fmla="*/ 14164 w 192778"/>
                <a:gd name="connsiteY147" fmla="*/ 242351 h 251792"/>
                <a:gd name="connsiteX148" fmla="*/ 15737 w 192778"/>
                <a:gd name="connsiteY148" fmla="*/ 245105 h 251792"/>
                <a:gd name="connsiteX149" fmla="*/ 15737 w 192778"/>
                <a:gd name="connsiteY149" fmla="*/ 248252 h 251792"/>
                <a:gd name="connsiteX150" fmla="*/ 18491 w 192778"/>
                <a:gd name="connsiteY150" fmla="*/ 247465 h 251792"/>
                <a:gd name="connsiteX151" fmla="*/ 19278 w 192778"/>
                <a:gd name="connsiteY151" fmla="*/ 250219 h 251792"/>
                <a:gd name="connsiteX152" fmla="*/ 22425 w 192778"/>
                <a:gd name="connsiteY152" fmla="*/ 251399 h 251792"/>
                <a:gd name="connsiteX153" fmla="*/ 25180 w 192778"/>
                <a:gd name="connsiteY153" fmla="*/ 252186 h 251792"/>
                <a:gd name="connsiteX154" fmla="*/ 27934 w 192778"/>
                <a:gd name="connsiteY154" fmla="*/ 251006 h 251792"/>
                <a:gd name="connsiteX155" fmla="*/ 30294 w 192778"/>
                <a:gd name="connsiteY155" fmla="*/ 248252 h 251792"/>
                <a:gd name="connsiteX156" fmla="*/ 33048 w 192778"/>
                <a:gd name="connsiteY156" fmla="*/ 248252 h 251792"/>
                <a:gd name="connsiteX157" fmla="*/ 34228 w 192778"/>
                <a:gd name="connsiteY157" fmla="*/ 248252 h 251792"/>
                <a:gd name="connsiteX158" fmla="*/ 37376 w 192778"/>
                <a:gd name="connsiteY158" fmla="*/ 248252 h 251792"/>
                <a:gd name="connsiteX159" fmla="*/ 40129 w 192778"/>
                <a:gd name="connsiteY159" fmla="*/ 246678 h 251792"/>
                <a:gd name="connsiteX160" fmla="*/ 42884 w 192778"/>
                <a:gd name="connsiteY160" fmla="*/ 245891 h 251792"/>
                <a:gd name="connsiteX161" fmla="*/ 46031 w 192778"/>
                <a:gd name="connsiteY161" fmla="*/ 247072 h 251792"/>
                <a:gd name="connsiteX162" fmla="*/ 45638 w 192778"/>
                <a:gd name="connsiteY162" fmla="*/ 244318 h 251792"/>
                <a:gd name="connsiteX163" fmla="*/ 44851 w 192778"/>
                <a:gd name="connsiteY163" fmla="*/ 241564 h 251792"/>
                <a:gd name="connsiteX164" fmla="*/ 43671 w 192778"/>
                <a:gd name="connsiteY164" fmla="*/ 238416 h 251792"/>
                <a:gd name="connsiteX165" fmla="*/ 42490 w 192778"/>
                <a:gd name="connsiteY165" fmla="*/ 235662 h 251792"/>
                <a:gd name="connsiteX166" fmla="*/ 42096 w 192778"/>
                <a:gd name="connsiteY166" fmla="*/ 232908 h 251792"/>
                <a:gd name="connsiteX167" fmla="*/ 42490 w 192778"/>
                <a:gd name="connsiteY167" fmla="*/ 229761 h 251792"/>
                <a:gd name="connsiteX168" fmla="*/ 42884 w 192778"/>
                <a:gd name="connsiteY168" fmla="*/ 227007 h 251792"/>
                <a:gd name="connsiteX169" fmla="*/ 43671 w 192778"/>
                <a:gd name="connsiteY169" fmla="*/ 223859 h 251792"/>
                <a:gd name="connsiteX170" fmla="*/ 46031 w 192778"/>
                <a:gd name="connsiteY170" fmla="*/ 220712 h 251792"/>
                <a:gd name="connsiteX171" fmla="*/ 46818 w 192778"/>
                <a:gd name="connsiteY171" fmla="*/ 217958 h 251792"/>
                <a:gd name="connsiteX172" fmla="*/ 47211 w 192778"/>
                <a:gd name="connsiteY172" fmla="*/ 214811 h 251792"/>
                <a:gd name="connsiteX173" fmla="*/ 46818 w 192778"/>
                <a:gd name="connsiteY173" fmla="*/ 212057 h 251792"/>
                <a:gd name="connsiteX174" fmla="*/ 46031 w 192778"/>
                <a:gd name="connsiteY174" fmla="*/ 208909 h 251792"/>
                <a:gd name="connsiteX175" fmla="*/ 46818 w 192778"/>
                <a:gd name="connsiteY175" fmla="*/ 206155 h 251792"/>
                <a:gd name="connsiteX176" fmla="*/ 56654 w 192778"/>
                <a:gd name="connsiteY176" fmla="*/ 149108 h 251792"/>
                <a:gd name="connsiteX177" fmla="*/ 69636 w 192778"/>
                <a:gd name="connsiteY177" fmla="*/ 156977 h 251792"/>
                <a:gd name="connsiteX178" fmla="*/ 69243 w 192778"/>
                <a:gd name="connsiteY178" fmla="*/ 158944 h 251792"/>
                <a:gd name="connsiteX179" fmla="*/ 68457 w 192778"/>
                <a:gd name="connsiteY179" fmla="*/ 161698 h 251792"/>
                <a:gd name="connsiteX180" fmla="*/ 68850 w 192778"/>
                <a:gd name="connsiteY180" fmla="*/ 164452 h 251792"/>
                <a:gd name="connsiteX181" fmla="*/ 68850 w 192778"/>
                <a:gd name="connsiteY181" fmla="*/ 167206 h 251792"/>
                <a:gd name="connsiteX182" fmla="*/ 65702 w 192778"/>
                <a:gd name="connsiteY182" fmla="*/ 169960 h 251792"/>
                <a:gd name="connsiteX183" fmla="*/ 63735 w 192778"/>
                <a:gd name="connsiteY183" fmla="*/ 172714 h 251792"/>
                <a:gd name="connsiteX184" fmla="*/ 62162 w 192778"/>
                <a:gd name="connsiteY184" fmla="*/ 175468 h 251792"/>
                <a:gd name="connsiteX185" fmla="*/ 62948 w 192778"/>
                <a:gd name="connsiteY185" fmla="*/ 178615 h 251792"/>
                <a:gd name="connsiteX186" fmla="*/ 65702 w 192778"/>
                <a:gd name="connsiteY186" fmla="*/ 181369 h 251792"/>
                <a:gd name="connsiteX187" fmla="*/ 68457 w 192778"/>
                <a:gd name="connsiteY187" fmla="*/ 184123 h 251792"/>
                <a:gd name="connsiteX188" fmla="*/ 70424 w 192778"/>
                <a:gd name="connsiteY188" fmla="*/ 187271 h 251792"/>
                <a:gd name="connsiteX189" fmla="*/ 73178 w 192778"/>
                <a:gd name="connsiteY189" fmla="*/ 188058 h 251792"/>
                <a:gd name="connsiteX190" fmla="*/ 75145 w 192778"/>
                <a:gd name="connsiteY190" fmla="*/ 190812 h 251792"/>
                <a:gd name="connsiteX191" fmla="*/ 77899 w 192778"/>
                <a:gd name="connsiteY191" fmla="*/ 193566 h 251792"/>
                <a:gd name="connsiteX192" fmla="*/ 80652 w 192778"/>
                <a:gd name="connsiteY192" fmla="*/ 194746 h 251792"/>
                <a:gd name="connsiteX193" fmla="*/ 83406 w 192778"/>
                <a:gd name="connsiteY193" fmla="*/ 195926 h 251792"/>
                <a:gd name="connsiteX194" fmla="*/ 84194 w 192778"/>
                <a:gd name="connsiteY194" fmla="*/ 197106 h 251792"/>
                <a:gd name="connsiteX195" fmla="*/ 84194 w 192778"/>
                <a:gd name="connsiteY195" fmla="*/ 199861 h 251792"/>
                <a:gd name="connsiteX196" fmla="*/ 81046 w 192778"/>
                <a:gd name="connsiteY196" fmla="*/ 203008 h 251792"/>
                <a:gd name="connsiteX197" fmla="*/ 81046 w 192778"/>
                <a:gd name="connsiteY197" fmla="*/ 205762 h 251792"/>
                <a:gd name="connsiteX198" fmla="*/ 80652 w 192778"/>
                <a:gd name="connsiteY198" fmla="*/ 208909 h 251792"/>
                <a:gd name="connsiteX199" fmla="*/ 79866 w 192778"/>
                <a:gd name="connsiteY199" fmla="*/ 211663 h 251792"/>
                <a:gd name="connsiteX200" fmla="*/ 79079 w 192778"/>
                <a:gd name="connsiteY200" fmla="*/ 214811 h 251792"/>
                <a:gd name="connsiteX201" fmla="*/ 79866 w 192778"/>
                <a:gd name="connsiteY201" fmla="*/ 217958 h 251792"/>
                <a:gd name="connsiteX202" fmla="*/ 82620 w 192778"/>
                <a:gd name="connsiteY202" fmla="*/ 220712 h 251792"/>
                <a:gd name="connsiteX203" fmla="*/ 85767 w 192778"/>
                <a:gd name="connsiteY203" fmla="*/ 222679 h 251792"/>
                <a:gd name="connsiteX204" fmla="*/ 88521 w 192778"/>
                <a:gd name="connsiteY204" fmla="*/ 221892 h 251792"/>
                <a:gd name="connsiteX205" fmla="*/ 91669 w 192778"/>
                <a:gd name="connsiteY205" fmla="*/ 223466 h 251792"/>
                <a:gd name="connsiteX206" fmla="*/ 94422 w 192778"/>
                <a:gd name="connsiteY206" fmla="*/ 223466 h 251792"/>
                <a:gd name="connsiteX207" fmla="*/ 97176 w 192778"/>
                <a:gd name="connsiteY207" fmla="*/ 221105 h 251792"/>
                <a:gd name="connsiteX208" fmla="*/ 95603 w 192778"/>
                <a:gd name="connsiteY208" fmla="*/ 218352 h 251792"/>
                <a:gd name="connsiteX209" fmla="*/ 95997 w 192778"/>
                <a:gd name="connsiteY209" fmla="*/ 215598 h 251792"/>
                <a:gd name="connsiteX210" fmla="*/ 97570 w 192778"/>
                <a:gd name="connsiteY210" fmla="*/ 212844 h 251792"/>
                <a:gd name="connsiteX211" fmla="*/ 100324 w 192778"/>
                <a:gd name="connsiteY211" fmla="*/ 210876 h 251792"/>
                <a:gd name="connsiteX212" fmla="*/ 103471 w 192778"/>
                <a:gd name="connsiteY212" fmla="*/ 210090 h 251792"/>
                <a:gd name="connsiteX213" fmla="*/ 106225 w 192778"/>
                <a:gd name="connsiteY213" fmla="*/ 209303 h 251792"/>
                <a:gd name="connsiteX214" fmla="*/ 109373 w 192778"/>
                <a:gd name="connsiteY214" fmla="*/ 209303 h 251792"/>
                <a:gd name="connsiteX215" fmla="*/ 112520 w 192778"/>
                <a:gd name="connsiteY215" fmla="*/ 207729 h 251792"/>
                <a:gd name="connsiteX216" fmla="*/ 115274 w 192778"/>
                <a:gd name="connsiteY216" fmla="*/ 210483 h 251792"/>
                <a:gd name="connsiteX217" fmla="*/ 118028 w 192778"/>
                <a:gd name="connsiteY217" fmla="*/ 209303 h 251792"/>
                <a:gd name="connsiteX218" fmla="*/ 116847 w 192778"/>
                <a:gd name="connsiteY218" fmla="*/ 206155 h 251792"/>
                <a:gd name="connsiteX219" fmla="*/ 119602 w 192778"/>
                <a:gd name="connsiteY219" fmla="*/ 208516 h 251792"/>
                <a:gd name="connsiteX220" fmla="*/ 122356 w 192778"/>
                <a:gd name="connsiteY220" fmla="*/ 206549 h 251792"/>
                <a:gd name="connsiteX221" fmla="*/ 121962 w 192778"/>
                <a:gd name="connsiteY221" fmla="*/ 203795 h 251792"/>
                <a:gd name="connsiteX222" fmla="*/ 122356 w 192778"/>
                <a:gd name="connsiteY222" fmla="*/ 200647 h 251792"/>
                <a:gd name="connsiteX223" fmla="*/ 121569 w 192778"/>
                <a:gd name="connsiteY223" fmla="*/ 197500 h 251792"/>
                <a:gd name="connsiteX224" fmla="*/ 118815 w 192778"/>
                <a:gd name="connsiteY224" fmla="*/ 195926 h 251792"/>
                <a:gd name="connsiteX225" fmla="*/ 118422 w 192778"/>
                <a:gd name="connsiteY225" fmla="*/ 198680 h 251792"/>
                <a:gd name="connsiteX226" fmla="*/ 115668 w 192778"/>
                <a:gd name="connsiteY226" fmla="*/ 197500 h 251792"/>
                <a:gd name="connsiteX227" fmla="*/ 115274 w 192778"/>
                <a:gd name="connsiteY227" fmla="*/ 194352 h 251792"/>
                <a:gd name="connsiteX228" fmla="*/ 112520 w 192778"/>
                <a:gd name="connsiteY228" fmla="*/ 193566 h 251792"/>
                <a:gd name="connsiteX229" fmla="*/ 112520 w 192778"/>
                <a:gd name="connsiteY229" fmla="*/ 192779 h 251792"/>
                <a:gd name="connsiteX230" fmla="*/ 114487 w 192778"/>
                <a:gd name="connsiteY230" fmla="*/ 190418 h 251792"/>
                <a:gd name="connsiteX231" fmla="*/ 111340 w 192778"/>
                <a:gd name="connsiteY231" fmla="*/ 189631 h 251792"/>
                <a:gd name="connsiteX232" fmla="*/ 110946 w 192778"/>
                <a:gd name="connsiteY232" fmla="*/ 188058 h 251792"/>
                <a:gd name="connsiteX233" fmla="*/ 109373 w 192778"/>
                <a:gd name="connsiteY233" fmla="*/ 186091 h 251792"/>
                <a:gd name="connsiteX234" fmla="*/ 104258 w 192778"/>
                <a:gd name="connsiteY234" fmla="*/ 178222 h 251792"/>
                <a:gd name="connsiteX235" fmla="*/ 105045 w 192778"/>
                <a:gd name="connsiteY235" fmla="*/ 176255 h 251792"/>
                <a:gd name="connsiteX236" fmla="*/ 106619 w 192778"/>
                <a:gd name="connsiteY236" fmla="*/ 174288 h 251792"/>
                <a:gd name="connsiteX237" fmla="*/ 108192 w 192778"/>
                <a:gd name="connsiteY237" fmla="*/ 174288 h 251792"/>
                <a:gd name="connsiteX238" fmla="*/ 106619 w 192778"/>
                <a:gd name="connsiteY238" fmla="*/ 172714 h 251792"/>
                <a:gd name="connsiteX239" fmla="*/ 107012 w 192778"/>
                <a:gd name="connsiteY239" fmla="*/ 168386 h 251792"/>
                <a:gd name="connsiteX240" fmla="*/ 107012 w 192778"/>
                <a:gd name="connsiteY240" fmla="*/ 168386 h 251792"/>
                <a:gd name="connsiteX241" fmla="*/ 109767 w 192778"/>
                <a:gd name="connsiteY241" fmla="*/ 167600 h 251792"/>
                <a:gd name="connsiteX242" fmla="*/ 108586 w 192778"/>
                <a:gd name="connsiteY242" fmla="*/ 164845 h 251792"/>
                <a:gd name="connsiteX243" fmla="*/ 105438 w 192778"/>
                <a:gd name="connsiteY243" fmla="*/ 162091 h 251792"/>
                <a:gd name="connsiteX244" fmla="*/ 105832 w 192778"/>
                <a:gd name="connsiteY244" fmla="*/ 158944 h 251792"/>
                <a:gd name="connsiteX245" fmla="*/ 104652 w 192778"/>
                <a:gd name="connsiteY245" fmla="*/ 156190 h 251792"/>
                <a:gd name="connsiteX246" fmla="*/ 101898 w 192778"/>
                <a:gd name="connsiteY246" fmla="*/ 153436 h 251792"/>
                <a:gd name="connsiteX247" fmla="*/ 99143 w 192778"/>
                <a:gd name="connsiteY247" fmla="*/ 151469 h 251792"/>
                <a:gd name="connsiteX248" fmla="*/ 97964 w 192778"/>
                <a:gd name="connsiteY248" fmla="*/ 148715 h 251792"/>
                <a:gd name="connsiteX249" fmla="*/ 97176 w 192778"/>
                <a:gd name="connsiteY249" fmla="*/ 145961 h 251792"/>
                <a:gd name="connsiteX250" fmla="*/ 95603 w 192778"/>
                <a:gd name="connsiteY250" fmla="*/ 142814 h 251792"/>
                <a:gd name="connsiteX251" fmla="*/ 94030 w 192778"/>
                <a:gd name="connsiteY251" fmla="*/ 140060 h 251792"/>
                <a:gd name="connsiteX252" fmla="*/ 93242 w 192778"/>
                <a:gd name="connsiteY252" fmla="*/ 137306 h 251792"/>
                <a:gd name="connsiteX253" fmla="*/ 90095 w 192778"/>
                <a:gd name="connsiteY253" fmla="*/ 134158 h 251792"/>
                <a:gd name="connsiteX254" fmla="*/ 87340 w 192778"/>
                <a:gd name="connsiteY254" fmla="*/ 132191 h 251792"/>
                <a:gd name="connsiteX255" fmla="*/ 84587 w 192778"/>
                <a:gd name="connsiteY255" fmla="*/ 131011 h 251792"/>
                <a:gd name="connsiteX256" fmla="*/ 83800 w 192778"/>
                <a:gd name="connsiteY256" fmla="*/ 128257 h 251792"/>
                <a:gd name="connsiteX257" fmla="*/ 81046 w 192778"/>
                <a:gd name="connsiteY257" fmla="*/ 125503 h 251792"/>
                <a:gd name="connsiteX258" fmla="*/ 77899 w 192778"/>
                <a:gd name="connsiteY258" fmla="*/ 125896 h 251792"/>
                <a:gd name="connsiteX259" fmla="*/ 82620 w 192778"/>
                <a:gd name="connsiteY259" fmla="*/ 122749 h 251792"/>
                <a:gd name="connsiteX260" fmla="*/ 84194 w 192778"/>
                <a:gd name="connsiteY260" fmla="*/ 123929 h 251792"/>
                <a:gd name="connsiteX261" fmla="*/ 87340 w 192778"/>
                <a:gd name="connsiteY261" fmla="*/ 123536 h 251792"/>
                <a:gd name="connsiteX262" fmla="*/ 90095 w 192778"/>
                <a:gd name="connsiteY262" fmla="*/ 121569 h 251792"/>
                <a:gd name="connsiteX263" fmla="*/ 91275 w 192778"/>
                <a:gd name="connsiteY263" fmla="*/ 118815 h 251792"/>
                <a:gd name="connsiteX264" fmla="*/ 93242 w 192778"/>
                <a:gd name="connsiteY264" fmla="*/ 115667 h 251792"/>
                <a:gd name="connsiteX265" fmla="*/ 95997 w 192778"/>
                <a:gd name="connsiteY265" fmla="*/ 114880 h 251792"/>
                <a:gd name="connsiteX266" fmla="*/ 99143 w 192778"/>
                <a:gd name="connsiteY266" fmla="*/ 113307 h 251792"/>
                <a:gd name="connsiteX267" fmla="*/ 101898 w 192778"/>
                <a:gd name="connsiteY267" fmla="*/ 112520 h 251792"/>
                <a:gd name="connsiteX268" fmla="*/ 104652 w 192778"/>
                <a:gd name="connsiteY268" fmla="*/ 112520 h 251792"/>
                <a:gd name="connsiteX269" fmla="*/ 107406 w 192778"/>
                <a:gd name="connsiteY269" fmla="*/ 109766 h 251792"/>
                <a:gd name="connsiteX270" fmla="*/ 110553 w 192778"/>
                <a:gd name="connsiteY270" fmla="*/ 107405 h 251792"/>
                <a:gd name="connsiteX271" fmla="*/ 112913 w 192778"/>
                <a:gd name="connsiteY271" fmla="*/ 104651 h 251792"/>
                <a:gd name="connsiteX272" fmla="*/ 115274 w 192778"/>
                <a:gd name="connsiteY272" fmla="*/ 101504 h 251792"/>
                <a:gd name="connsiteX273" fmla="*/ 117635 w 192778"/>
                <a:gd name="connsiteY273" fmla="*/ 98750 h 251792"/>
                <a:gd name="connsiteX274" fmla="*/ 117635 w 192778"/>
                <a:gd name="connsiteY274" fmla="*/ 97570 h 251792"/>
                <a:gd name="connsiteX275" fmla="*/ 120389 w 192778"/>
                <a:gd name="connsiteY275" fmla="*/ 94816 h 251792"/>
                <a:gd name="connsiteX276" fmla="*/ 122356 w 192778"/>
                <a:gd name="connsiteY276" fmla="*/ 92062 h 251792"/>
                <a:gd name="connsiteX277" fmla="*/ 124716 w 192778"/>
                <a:gd name="connsiteY277" fmla="*/ 88914 h 251792"/>
                <a:gd name="connsiteX278" fmla="*/ 127471 w 192778"/>
                <a:gd name="connsiteY278" fmla="*/ 88521 h 251792"/>
                <a:gd name="connsiteX279" fmla="*/ 130225 w 192778"/>
                <a:gd name="connsiteY279" fmla="*/ 88127 h 251792"/>
                <a:gd name="connsiteX280" fmla="*/ 132978 w 192778"/>
                <a:gd name="connsiteY280" fmla="*/ 88127 h 251792"/>
                <a:gd name="connsiteX281" fmla="*/ 134159 w 192778"/>
                <a:gd name="connsiteY281" fmla="*/ 91275 h 251792"/>
                <a:gd name="connsiteX282" fmla="*/ 136913 w 192778"/>
                <a:gd name="connsiteY282" fmla="*/ 94029 h 251792"/>
                <a:gd name="connsiteX283" fmla="*/ 140060 w 192778"/>
                <a:gd name="connsiteY283" fmla="*/ 92062 h 251792"/>
                <a:gd name="connsiteX284" fmla="*/ 140453 w 192778"/>
                <a:gd name="connsiteY284" fmla="*/ 89308 h 251792"/>
                <a:gd name="connsiteX285" fmla="*/ 142027 w 192778"/>
                <a:gd name="connsiteY285" fmla="*/ 86160 h 251792"/>
                <a:gd name="connsiteX286" fmla="*/ 141634 w 192778"/>
                <a:gd name="connsiteY286" fmla="*/ 83406 h 251792"/>
                <a:gd name="connsiteX287" fmla="*/ 140847 w 192778"/>
                <a:gd name="connsiteY287" fmla="*/ 80259 h 251792"/>
                <a:gd name="connsiteX288" fmla="*/ 137699 w 192778"/>
                <a:gd name="connsiteY288" fmla="*/ 78292 h 251792"/>
                <a:gd name="connsiteX289" fmla="*/ 134945 w 192778"/>
                <a:gd name="connsiteY289" fmla="*/ 77111 h 251792"/>
                <a:gd name="connsiteX290" fmla="*/ 132192 w 192778"/>
                <a:gd name="connsiteY290" fmla="*/ 77111 h 251792"/>
                <a:gd name="connsiteX291" fmla="*/ 129438 w 192778"/>
                <a:gd name="connsiteY291" fmla="*/ 78685 h 251792"/>
                <a:gd name="connsiteX292" fmla="*/ 126683 w 192778"/>
                <a:gd name="connsiteY292" fmla="*/ 78685 h 251792"/>
                <a:gd name="connsiteX293" fmla="*/ 123536 w 192778"/>
                <a:gd name="connsiteY293" fmla="*/ 79079 h 251792"/>
                <a:gd name="connsiteX294" fmla="*/ 120389 w 192778"/>
                <a:gd name="connsiteY294" fmla="*/ 81046 h 251792"/>
                <a:gd name="connsiteX295" fmla="*/ 123536 w 192778"/>
                <a:gd name="connsiteY295" fmla="*/ 81833 h 251792"/>
                <a:gd name="connsiteX296" fmla="*/ 126683 w 192778"/>
                <a:gd name="connsiteY296" fmla="*/ 84193 h 251792"/>
                <a:gd name="connsiteX297" fmla="*/ 123536 w 192778"/>
                <a:gd name="connsiteY297" fmla="*/ 84193 h 251792"/>
                <a:gd name="connsiteX298" fmla="*/ 120782 w 192778"/>
                <a:gd name="connsiteY298" fmla="*/ 85373 h 251792"/>
                <a:gd name="connsiteX299" fmla="*/ 117635 w 192778"/>
                <a:gd name="connsiteY299" fmla="*/ 83800 h 251792"/>
                <a:gd name="connsiteX300" fmla="*/ 114880 w 192778"/>
                <a:gd name="connsiteY300" fmla="*/ 84193 h 251792"/>
                <a:gd name="connsiteX301" fmla="*/ 112127 w 192778"/>
                <a:gd name="connsiteY301" fmla="*/ 83800 h 251792"/>
                <a:gd name="connsiteX302" fmla="*/ 109373 w 192778"/>
                <a:gd name="connsiteY302" fmla="*/ 84193 h 251792"/>
                <a:gd name="connsiteX303" fmla="*/ 106225 w 192778"/>
                <a:gd name="connsiteY303" fmla="*/ 84193 h 251792"/>
                <a:gd name="connsiteX304" fmla="*/ 103078 w 192778"/>
                <a:gd name="connsiteY304" fmla="*/ 85373 h 251792"/>
                <a:gd name="connsiteX305" fmla="*/ 102685 w 192778"/>
                <a:gd name="connsiteY305" fmla="*/ 88127 h 251792"/>
                <a:gd name="connsiteX306" fmla="*/ 99931 w 192778"/>
                <a:gd name="connsiteY306" fmla="*/ 89308 h 251792"/>
                <a:gd name="connsiteX307" fmla="*/ 97176 w 192778"/>
                <a:gd name="connsiteY307" fmla="*/ 90488 h 251792"/>
                <a:gd name="connsiteX308" fmla="*/ 94030 w 192778"/>
                <a:gd name="connsiteY308" fmla="*/ 90488 h 251792"/>
                <a:gd name="connsiteX309" fmla="*/ 91275 w 192778"/>
                <a:gd name="connsiteY309" fmla="*/ 90488 h 251792"/>
                <a:gd name="connsiteX310" fmla="*/ 88128 w 192778"/>
                <a:gd name="connsiteY310" fmla="*/ 88127 h 251792"/>
                <a:gd name="connsiteX311" fmla="*/ 88128 w 192778"/>
                <a:gd name="connsiteY311" fmla="*/ 85373 h 251792"/>
                <a:gd name="connsiteX312" fmla="*/ 84981 w 192778"/>
                <a:gd name="connsiteY312" fmla="*/ 87340 h 251792"/>
                <a:gd name="connsiteX313" fmla="*/ 82227 w 192778"/>
                <a:gd name="connsiteY313" fmla="*/ 88914 h 251792"/>
                <a:gd name="connsiteX314" fmla="*/ 80260 w 192778"/>
                <a:gd name="connsiteY314" fmla="*/ 91668 h 251792"/>
                <a:gd name="connsiteX315" fmla="*/ 79079 w 192778"/>
                <a:gd name="connsiteY315" fmla="*/ 93242 h 251792"/>
                <a:gd name="connsiteX316" fmla="*/ 77505 w 192778"/>
                <a:gd name="connsiteY316" fmla="*/ 95209 h 251792"/>
                <a:gd name="connsiteX317" fmla="*/ 75538 w 192778"/>
                <a:gd name="connsiteY317" fmla="*/ 97963 h 251792"/>
                <a:gd name="connsiteX318" fmla="*/ 73964 w 192778"/>
                <a:gd name="connsiteY318" fmla="*/ 100717 h 251792"/>
                <a:gd name="connsiteX319" fmla="*/ 73571 w 192778"/>
                <a:gd name="connsiteY319" fmla="*/ 101504 h 251792"/>
                <a:gd name="connsiteX320" fmla="*/ 70030 w 192778"/>
                <a:gd name="connsiteY320" fmla="*/ 106618 h 251792"/>
                <a:gd name="connsiteX321" fmla="*/ 69243 w 192778"/>
                <a:gd name="connsiteY321" fmla="*/ 106618 h 251792"/>
                <a:gd name="connsiteX322" fmla="*/ 66490 w 192778"/>
                <a:gd name="connsiteY322" fmla="*/ 105438 h 251792"/>
                <a:gd name="connsiteX323" fmla="*/ 64523 w 192778"/>
                <a:gd name="connsiteY323" fmla="*/ 105438 h 251792"/>
                <a:gd name="connsiteX324" fmla="*/ 60588 w 192778"/>
                <a:gd name="connsiteY324" fmla="*/ 104651 h 251792"/>
                <a:gd name="connsiteX325" fmla="*/ 55080 w 192778"/>
                <a:gd name="connsiteY325" fmla="*/ 95209 h 251792"/>
                <a:gd name="connsiteX326" fmla="*/ 54687 w 192778"/>
                <a:gd name="connsiteY326" fmla="*/ 94422 h 251792"/>
                <a:gd name="connsiteX327" fmla="*/ 53113 w 192778"/>
                <a:gd name="connsiteY327" fmla="*/ 91275 h 251792"/>
                <a:gd name="connsiteX328" fmla="*/ 52326 w 192778"/>
                <a:gd name="connsiteY328" fmla="*/ 90881 h 251792"/>
                <a:gd name="connsiteX329" fmla="*/ 38556 w 192778"/>
                <a:gd name="connsiteY329" fmla="*/ 66489 h 251792"/>
                <a:gd name="connsiteX330" fmla="*/ 38556 w 192778"/>
                <a:gd name="connsiteY330" fmla="*/ 64915 h 251792"/>
                <a:gd name="connsiteX331" fmla="*/ 40917 w 192778"/>
                <a:gd name="connsiteY331" fmla="*/ 57833 h 251792"/>
                <a:gd name="connsiteX332" fmla="*/ 77112 w 192778"/>
                <a:gd name="connsiteY332" fmla="*/ 41703 h 251792"/>
                <a:gd name="connsiteX333" fmla="*/ 78685 w 192778"/>
                <a:gd name="connsiteY333" fmla="*/ 42490 h 251792"/>
                <a:gd name="connsiteX334" fmla="*/ 81439 w 192778"/>
                <a:gd name="connsiteY334" fmla="*/ 42096 h 251792"/>
                <a:gd name="connsiteX335" fmla="*/ 81833 w 192778"/>
                <a:gd name="connsiteY335" fmla="*/ 42096 h 251792"/>
                <a:gd name="connsiteX336" fmla="*/ 91275 w 192778"/>
                <a:gd name="connsiteY336" fmla="*/ 42490 h 251792"/>
                <a:gd name="connsiteX337" fmla="*/ 92062 w 192778"/>
                <a:gd name="connsiteY337" fmla="*/ 43670 h 251792"/>
                <a:gd name="connsiteX338" fmla="*/ 95209 w 192778"/>
                <a:gd name="connsiteY338" fmla="*/ 43670 h 251792"/>
                <a:gd name="connsiteX339" fmla="*/ 97964 w 192778"/>
                <a:gd name="connsiteY339" fmla="*/ 42883 h 251792"/>
                <a:gd name="connsiteX340" fmla="*/ 98750 w 192778"/>
                <a:gd name="connsiteY340" fmla="*/ 42490 h 251792"/>
                <a:gd name="connsiteX341" fmla="*/ 133372 w 192778"/>
                <a:gd name="connsiteY341" fmla="*/ 43670 h 251792"/>
                <a:gd name="connsiteX342" fmla="*/ 134945 w 192778"/>
                <a:gd name="connsiteY342" fmla="*/ 46031 h 251792"/>
                <a:gd name="connsiteX343" fmla="*/ 137699 w 192778"/>
                <a:gd name="connsiteY343" fmla="*/ 47998 h 251792"/>
                <a:gd name="connsiteX344" fmla="*/ 140847 w 192778"/>
                <a:gd name="connsiteY344" fmla="*/ 47998 h 251792"/>
                <a:gd name="connsiteX345" fmla="*/ 143601 w 192778"/>
                <a:gd name="connsiteY345" fmla="*/ 47998 h 251792"/>
                <a:gd name="connsiteX346" fmla="*/ 146748 w 192778"/>
                <a:gd name="connsiteY346" fmla="*/ 47998 h 251792"/>
                <a:gd name="connsiteX347" fmla="*/ 149502 w 192778"/>
                <a:gd name="connsiteY347" fmla="*/ 48391 h 251792"/>
                <a:gd name="connsiteX348" fmla="*/ 152256 w 192778"/>
                <a:gd name="connsiteY348" fmla="*/ 47998 h 251792"/>
                <a:gd name="connsiteX349" fmla="*/ 155403 w 192778"/>
                <a:gd name="connsiteY349" fmla="*/ 47211 h 251792"/>
                <a:gd name="connsiteX350" fmla="*/ 158157 w 192778"/>
                <a:gd name="connsiteY350" fmla="*/ 46818 h 251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</a:cxnLst>
              <a:rect l="l" t="t" r="r" b="b"/>
              <a:pathLst>
                <a:path w="192778" h="251792">
                  <a:moveTo>
                    <a:pt x="160912" y="46031"/>
                  </a:moveTo>
                  <a:lnTo>
                    <a:pt x="164059" y="45637"/>
                  </a:lnTo>
                  <a:lnTo>
                    <a:pt x="166813" y="44850"/>
                  </a:lnTo>
                  <a:lnTo>
                    <a:pt x="167993" y="44850"/>
                  </a:lnTo>
                  <a:lnTo>
                    <a:pt x="171141" y="42883"/>
                  </a:lnTo>
                  <a:lnTo>
                    <a:pt x="173894" y="40916"/>
                  </a:lnTo>
                  <a:lnTo>
                    <a:pt x="176255" y="37769"/>
                  </a:lnTo>
                  <a:lnTo>
                    <a:pt x="176649" y="35015"/>
                  </a:lnTo>
                  <a:lnTo>
                    <a:pt x="178222" y="31867"/>
                  </a:lnTo>
                  <a:lnTo>
                    <a:pt x="180190" y="29113"/>
                  </a:lnTo>
                  <a:lnTo>
                    <a:pt x="183337" y="26359"/>
                  </a:lnTo>
                  <a:lnTo>
                    <a:pt x="186091" y="23999"/>
                  </a:lnTo>
                  <a:lnTo>
                    <a:pt x="188058" y="21245"/>
                  </a:lnTo>
                  <a:lnTo>
                    <a:pt x="189239" y="18491"/>
                  </a:lnTo>
                  <a:lnTo>
                    <a:pt x="190419" y="15343"/>
                  </a:lnTo>
                  <a:lnTo>
                    <a:pt x="191206" y="12589"/>
                  </a:lnTo>
                  <a:lnTo>
                    <a:pt x="193173" y="9442"/>
                  </a:lnTo>
                  <a:lnTo>
                    <a:pt x="195927" y="7082"/>
                  </a:lnTo>
                  <a:lnTo>
                    <a:pt x="193173" y="3934"/>
                  </a:lnTo>
                  <a:lnTo>
                    <a:pt x="193566" y="787"/>
                  </a:lnTo>
                  <a:lnTo>
                    <a:pt x="190419" y="1180"/>
                  </a:lnTo>
                  <a:lnTo>
                    <a:pt x="187271" y="0"/>
                  </a:lnTo>
                  <a:lnTo>
                    <a:pt x="184910" y="2754"/>
                  </a:lnTo>
                  <a:lnTo>
                    <a:pt x="183337" y="5508"/>
                  </a:lnTo>
                  <a:lnTo>
                    <a:pt x="181370" y="8655"/>
                  </a:lnTo>
                  <a:lnTo>
                    <a:pt x="178616" y="10229"/>
                  </a:lnTo>
                  <a:lnTo>
                    <a:pt x="175861" y="11016"/>
                  </a:lnTo>
                  <a:lnTo>
                    <a:pt x="174288" y="14163"/>
                  </a:lnTo>
                  <a:lnTo>
                    <a:pt x="174682" y="16917"/>
                  </a:lnTo>
                  <a:lnTo>
                    <a:pt x="171927" y="17311"/>
                  </a:lnTo>
                  <a:lnTo>
                    <a:pt x="169173" y="19671"/>
                  </a:lnTo>
                  <a:lnTo>
                    <a:pt x="167993" y="22425"/>
                  </a:lnTo>
                  <a:lnTo>
                    <a:pt x="164846" y="24392"/>
                  </a:lnTo>
                  <a:lnTo>
                    <a:pt x="162092" y="26359"/>
                  </a:lnTo>
                  <a:lnTo>
                    <a:pt x="159338" y="27540"/>
                  </a:lnTo>
                  <a:lnTo>
                    <a:pt x="156190" y="29507"/>
                  </a:lnTo>
                  <a:lnTo>
                    <a:pt x="153436" y="29900"/>
                  </a:lnTo>
                  <a:lnTo>
                    <a:pt x="150683" y="29113"/>
                  </a:lnTo>
                  <a:lnTo>
                    <a:pt x="147535" y="28720"/>
                  </a:lnTo>
                  <a:lnTo>
                    <a:pt x="144781" y="28327"/>
                  </a:lnTo>
                  <a:lnTo>
                    <a:pt x="141634" y="27540"/>
                  </a:lnTo>
                  <a:lnTo>
                    <a:pt x="138880" y="27146"/>
                  </a:lnTo>
                  <a:lnTo>
                    <a:pt x="135732" y="25573"/>
                  </a:lnTo>
                  <a:lnTo>
                    <a:pt x="132978" y="26359"/>
                  </a:lnTo>
                  <a:lnTo>
                    <a:pt x="130225" y="26359"/>
                  </a:lnTo>
                  <a:lnTo>
                    <a:pt x="127471" y="26753"/>
                  </a:lnTo>
                  <a:lnTo>
                    <a:pt x="124716" y="29507"/>
                  </a:lnTo>
                  <a:lnTo>
                    <a:pt x="121569" y="28720"/>
                  </a:lnTo>
                  <a:lnTo>
                    <a:pt x="118422" y="26753"/>
                  </a:lnTo>
                  <a:lnTo>
                    <a:pt x="115668" y="25573"/>
                  </a:lnTo>
                  <a:lnTo>
                    <a:pt x="112913" y="24392"/>
                  </a:lnTo>
                  <a:lnTo>
                    <a:pt x="110159" y="23606"/>
                  </a:lnTo>
                  <a:lnTo>
                    <a:pt x="107406" y="23606"/>
                  </a:lnTo>
                  <a:lnTo>
                    <a:pt x="104258" y="23606"/>
                  </a:lnTo>
                  <a:lnTo>
                    <a:pt x="101504" y="22425"/>
                  </a:lnTo>
                  <a:lnTo>
                    <a:pt x="98750" y="23606"/>
                  </a:lnTo>
                  <a:lnTo>
                    <a:pt x="95603" y="20852"/>
                  </a:lnTo>
                  <a:lnTo>
                    <a:pt x="92849" y="21638"/>
                  </a:lnTo>
                  <a:lnTo>
                    <a:pt x="89701" y="21638"/>
                  </a:lnTo>
                  <a:lnTo>
                    <a:pt x="86948" y="22032"/>
                  </a:lnTo>
                  <a:lnTo>
                    <a:pt x="84194" y="21245"/>
                  </a:lnTo>
                  <a:lnTo>
                    <a:pt x="81833" y="18491"/>
                  </a:lnTo>
                  <a:lnTo>
                    <a:pt x="80260" y="15343"/>
                  </a:lnTo>
                  <a:lnTo>
                    <a:pt x="77505" y="15737"/>
                  </a:lnTo>
                  <a:lnTo>
                    <a:pt x="74358" y="15343"/>
                  </a:lnTo>
                  <a:lnTo>
                    <a:pt x="71603" y="13376"/>
                  </a:lnTo>
                  <a:lnTo>
                    <a:pt x="68850" y="12589"/>
                  </a:lnTo>
                  <a:lnTo>
                    <a:pt x="65702" y="13376"/>
                  </a:lnTo>
                  <a:lnTo>
                    <a:pt x="62948" y="14557"/>
                  </a:lnTo>
                  <a:lnTo>
                    <a:pt x="62948" y="17311"/>
                  </a:lnTo>
                  <a:lnTo>
                    <a:pt x="62162" y="20458"/>
                  </a:lnTo>
                  <a:lnTo>
                    <a:pt x="61375" y="23212"/>
                  </a:lnTo>
                  <a:lnTo>
                    <a:pt x="58621" y="25179"/>
                  </a:lnTo>
                  <a:lnTo>
                    <a:pt x="56654" y="27933"/>
                  </a:lnTo>
                  <a:lnTo>
                    <a:pt x="54293" y="30687"/>
                  </a:lnTo>
                  <a:lnTo>
                    <a:pt x="51539" y="30687"/>
                  </a:lnTo>
                  <a:lnTo>
                    <a:pt x="48392" y="27933"/>
                  </a:lnTo>
                  <a:lnTo>
                    <a:pt x="46031" y="25179"/>
                  </a:lnTo>
                  <a:lnTo>
                    <a:pt x="45638" y="27933"/>
                  </a:lnTo>
                  <a:lnTo>
                    <a:pt x="44851" y="30687"/>
                  </a:lnTo>
                  <a:lnTo>
                    <a:pt x="42096" y="32654"/>
                  </a:lnTo>
                  <a:lnTo>
                    <a:pt x="38950" y="35408"/>
                  </a:lnTo>
                  <a:lnTo>
                    <a:pt x="39736" y="38162"/>
                  </a:lnTo>
                  <a:lnTo>
                    <a:pt x="38556" y="41310"/>
                  </a:lnTo>
                  <a:lnTo>
                    <a:pt x="38162" y="41310"/>
                  </a:lnTo>
                  <a:lnTo>
                    <a:pt x="35408" y="43670"/>
                  </a:lnTo>
                  <a:lnTo>
                    <a:pt x="33835" y="46424"/>
                  </a:lnTo>
                  <a:lnTo>
                    <a:pt x="33441" y="49572"/>
                  </a:lnTo>
                  <a:lnTo>
                    <a:pt x="32655" y="52326"/>
                  </a:lnTo>
                  <a:lnTo>
                    <a:pt x="34622" y="55080"/>
                  </a:lnTo>
                  <a:lnTo>
                    <a:pt x="34622" y="57833"/>
                  </a:lnTo>
                  <a:lnTo>
                    <a:pt x="29901" y="57833"/>
                  </a:lnTo>
                  <a:lnTo>
                    <a:pt x="28327" y="57833"/>
                  </a:lnTo>
                  <a:lnTo>
                    <a:pt x="27934" y="57833"/>
                  </a:lnTo>
                  <a:lnTo>
                    <a:pt x="27147" y="57833"/>
                  </a:lnTo>
                  <a:lnTo>
                    <a:pt x="33441" y="88127"/>
                  </a:lnTo>
                  <a:lnTo>
                    <a:pt x="32655" y="86947"/>
                  </a:lnTo>
                  <a:lnTo>
                    <a:pt x="31868" y="83800"/>
                  </a:lnTo>
                  <a:lnTo>
                    <a:pt x="29507" y="81046"/>
                  </a:lnTo>
                  <a:lnTo>
                    <a:pt x="28327" y="83800"/>
                  </a:lnTo>
                  <a:lnTo>
                    <a:pt x="25180" y="86554"/>
                  </a:lnTo>
                  <a:lnTo>
                    <a:pt x="24392" y="87340"/>
                  </a:lnTo>
                  <a:lnTo>
                    <a:pt x="23213" y="90094"/>
                  </a:lnTo>
                  <a:lnTo>
                    <a:pt x="22425" y="93242"/>
                  </a:lnTo>
                  <a:lnTo>
                    <a:pt x="21246" y="95996"/>
                  </a:lnTo>
                  <a:lnTo>
                    <a:pt x="18491" y="98357"/>
                  </a:lnTo>
                  <a:lnTo>
                    <a:pt x="17311" y="101504"/>
                  </a:lnTo>
                  <a:lnTo>
                    <a:pt x="18098" y="104651"/>
                  </a:lnTo>
                  <a:lnTo>
                    <a:pt x="17311" y="107405"/>
                  </a:lnTo>
                  <a:lnTo>
                    <a:pt x="17311" y="110159"/>
                  </a:lnTo>
                  <a:lnTo>
                    <a:pt x="17311" y="112913"/>
                  </a:lnTo>
                  <a:lnTo>
                    <a:pt x="16918" y="116061"/>
                  </a:lnTo>
                  <a:lnTo>
                    <a:pt x="17704" y="118815"/>
                  </a:lnTo>
                  <a:lnTo>
                    <a:pt x="18491" y="121962"/>
                  </a:lnTo>
                  <a:lnTo>
                    <a:pt x="16918" y="124716"/>
                  </a:lnTo>
                  <a:lnTo>
                    <a:pt x="13770" y="127470"/>
                  </a:lnTo>
                  <a:lnTo>
                    <a:pt x="13377" y="130224"/>
                  </a:lnTo>
                  <a:lnTo>
                    <a:pt x="11803" y="133371"/>
                  </a:lnTo>
                  <a:lnTo>
                    <a:pt x="11410" y="136125"/>
                  </a:lnTo>
                  <a:lnTo>
                    <a:pt x="11410" y="138879"/>
                  </a:lnTo>
                  <a:lnTo>
                    <a:pt x="11410" y="142027"/>
                  </a:lnTo>
                  <a:lnTo>
                    <a:pt x="8262" y="143994"/>
                  </a:lnTo>
                  <a:lnTo>
                    <a:pt x="6295" y="147141"/>
                  </a:lnTo>
                  <a:lnTo>
                    <a:pt x="3541" y="148715"/>
                  </a:lnTo>
                  <a:lnTo>
                    <a:pt x="394" y="149108"/>
                  </a:lnTo>
                  <a:lnTo>
                    <a:pt x="0" y="152256"/>
                  </a:lnTo>
                  <a:lnTo>
                    <a:pt x="787" y="155010"/>
                  </a:lnTo>
                  <a:lnTo>
                    <a:pt x="3541" y="156584"/>
                  </a:lnTo>
                  <a:lnTo>
                    <a:pt x="2361" y="159338"/>
                  </a:lnTo>
                  <a:lnTo>
                    <a:pt x="394" y="162485"/>
                  </a:lnTo>
                  <a:lnTo>
                    <a:pt x="0" y="165239"/>
                  </a:lnTo>
                  <a:lnTo>
                    <a:pt x="1180" y="168386"/>
                  </a:lnTo>
                  <a:lnTo>
                    <a:pt x="1967" y="171140"/>
                  </a:lnTo>
                  <a:lnTo>
                    <a:pt x="2361" y="174288"/>
                  </a:lnTo>
                  <a:lnTo>
                    <a:pt x="3148" y="177042"/>
                  </a:lnTo>
                  <a:lnTo>
                    <a:pt x="4328" y="180189"/>
                  </a:lnTo>
                  <a:lnTo>
                    <a:pt x="7082" y="177829"/>
                  </a:lnTo>
                  <a:lnTo>
                    <a:pt x="9836" y="177435"/>
                  </a:lnTo>
                  <a:lnTo>
                    <a:pt x="12589" y="177042"/>
                  </a:lnTo>
                  <a:lnTo>
                    <a:pt x="15737" y="175075"/>
                  </a:lnTo>
                  <a:lnTo>
                    <a:pt x="18491" y="176255"/>
                  </a:lnTo>
                  <a:lnTo>
                    <a:pt x="19671" y="177042"/>
                  </a:lnTo>
                  <a:lnTo>
                    <a:pt x="19278" y="184123"/>
                  </a:lnTo>
                  <a:lnTo>
                    <a:pt x="18098" y="228974"/>
                  </a:lnTo>
                  <a:lnTo>
                    <a:pt x="15344" y="234089"/>
                  </a:lnTo>
                  <a:lnTo>
                    <a:pt x="14557" y="236449"/>
                  </a:lnTo>
                  <a:lnTo>
                    <a:pt x="14164" y="239596"/>
                  </a:lnTo>
                  <a:lnTo>
                    <a:pt x="14164" y="242351"/>
                  </a:lnTo>
                  <a:lnTo>
                    <a:pt x="15737" y="245105"/>
                  </a:lnTo>
                  <a:lnTo>
                    <a:pt x="15737" y="248252"/>
                  </a:lnTo>
                  <a:lnTo>
                    <a:pt x="18491" y="247465"/>
                  </a:lnTo>
                  <a:lnTo>
                    <a:pt x="19278" y="250219"/>
                  </a:lnTo>
                  <a:lnTo>
                    <a:pt x="22425" y="251399"/>
                  </a:lnTo>
                  <a:lnTo>
                    <a:pt x="25180" y="252186"/>
                  </a:lnTo>
                  <a:lnTo>
                    <a:pt x="27934" y="251006"/>
                  </a:lnTo>
                  <a:lnTo>
                    <a:pt x="30294" y="248252"/>
                  </a:lnTo>
                  <a:lnTo>
                    <a:pt x="33048" y="248252"/>
                  </a:lnTo>
                  <a:lnTo>
                    <a:pt x="34228" y="248252"/>
                  </a:lnTo>
                  <a:lnTo>
                    <a:pt x="37376" y="248252"/>
                  </a:lnTo>
                  <a:lnTo>
                    <a:pt x="40129" y="246678"/>
                  </a:lnTo>
                  <a:lnTo>
                    <a:pt x="42884" y="245891"/>
                  </a:lnTo>
                  <a:lnTo>
                    <a:pt x="46031" y="247072"/>
                  </a:lnTo>
                  <a:lnTo>
                    <a:pt x="45638" y="244318"/>
                  </a:lnTo>
                  <a:lnTo>
                    <a:pt x="44851" y="241564"/>
                  </a:lnTo>
                  <a:lnTo>
                    <a:pt x="43671" y="238416"/>
                  </a:lnTo>
                  <a:lnTo>
                    <a:pt x="42490" y="235662"/>
                  </a:lnTo>
                  <a:lnTo>
                    <a:pt x="42096" y="232908"/>
                  </a:lnTo>
                  <a:lnTo>
                    <a:pt x="42490" y="229761"/>
                  </a:lnTo>
                  <a:lnTo>
                    <a:pt x="42884" y="227007"/>
                  </a:lnTo>
                  <a:lnTo>
                    <a:pt x="43671" y="223859"/>
                  </a:lnTo>
                  <a:lnTo>
                    <a:pt x="46031" y="220712"/>
                  </a:lnTo>
                  <a:lnTo>
                    <a:pt x="46818" y="217958"/>
                  </a:lnTo>
                  <a:lnTo>
                    <a:pt x="47211" y="214811"/>
                  </a:lnTo>
                  <a:lnTo>
                    <a:pt x="46818" y="212057"/>
                  </a:lnTo>
                  <a:lnTo>
                    <a:pt x="46031" y="208909"/>
                  </a:lnTo>
                  <a:lnTo>
                    <a:pt x="46818" y="206155"/>
                  </a:lnTo>
                  <a:lnTo>
                    <a:pt x="56654" y="149108"/>
                  </a:lnTo>
                  <a:lnTo>
                    <a:pt x="69636" y="156977"/>
                  </a:lnTo>
                  <a:lnTo>
                    <a:pt x="69243" y="158944"/>
                  </a:lnTo>
                  <a:lnTo>
                    <a:pt x="68457" y="161698"/>
                  </a:lnTo>
                  <a:lnTo>
                    <a:pt x="68850" y="164452"/>
                  </a:lnTo>
                  <a:lnTo>
                    <a:pt x="68850" y="167206"/>
                  </a:lnTo>
                  <a:lnTo>
                    <a:pt x="65702" y="169960"/>
                  </a:lnTo>
                  <a:lnTo>
                    <a:pt x="63735" y="172714"/>
                  </a:lnTo>
                  <a:lnTo>
                    <a:pt x="62162" y="175468"/>
                  </a:lnTo>
                  <a:lnTo>
                    <a:pt x="62948" y="178615"/>
                  </a:lnTo>
                  <a:lnTo>
                    <a:pt x="65702" y="181369"/>
                  </a:lnTo>
                  <a:lnTo>
                    <a:pt x="68457" y="184123"/>
                  </a:lnTo>
                  <a:lnTo>
                    <a:pt x="70424" y="187271"/>
                  </a:lnTo>
                  <a:lnTo>
                    <a:pt x="73178" y="188058"/>
                  </a:lnTo>
                  <a:lnTo>
                    <a:pt x="75145" y="190812"/>
                  </a:lnTo>
                  <a:lnTo>
                    <a:pt x="77899" y="193566"/>
                  </a:lnTo>
                  <a:lnTo>
                    <a:pt x="80652" y="194746"/>
                  </a:lnTo>
                  <a:lnTo>
                    <a:pt x="83406" y="195926"/>
                  </a:lnTo>
                  <a:lnTo>
                    <a:pt x="84194" y="197106"/>
                  </a:lnTo>
                  <a:lnTo>
                    <a:pt x="84194" y="199861"/>
                  </a:lnTo>
                  <a:lnTo>
                    <a:pt x="81046" y="203008"/>
                  </a:lnTo>
                  <a:lnTo>
                    <a:pt x="81046" y="205762"/>
                  </a:lnTo>
                  <a:lnTo>
                    <a:pt x="80652" y="208909"/>
                  </a:lnTo>
                  <a:lnTo>
                    <a:pt x="79866" y="211663"/>
                  </a:lnTo>
                  <a:lnTo>
                    <a:pt x="79079" y="214811"/>
                  </a:lnTo>
                  <a:lnTo>
                    <a:pt x="79866" y="217958"/>
                  </a:lnTo>
                  <a:lnTo>
                    <a:pt x="82620" y="220712"/>
                  </a:lnTo>
                  <a:lnTo>
                    <a:pt x="85767" y="222679"/>
                  </a:lnTo>
                  <a:lnTo>
                    <a:pt x="88521" y="221892"/>
                  </a:lnTo>
                  <a:lnTo>
                    <a:pt x="91669" y="223466"/>
                  </a:lnTo>
                  <a:lnTo>
                    <a:pt x="94422" y="223466"/>
                  </a:lnTo>
                  <a:lnTo>
                    <a:pt x="97176" y="221105"/>
                  </a:lnTo>
                  <a:lnTo>
                    <a:pt x="95603" y="218352"/>
                  </a:lnTo>
                  <a:lnTo>
                    <a:pt x="95997" y="215598"/>
                  </a:lnTo>
                  <a:lnTo>
                    <a:pt x="97570" y="212844"/>
                  </a:lnTo>
                  <a:lnTo>
                    <a:pt x="100324" y="210876"/>
                  </a:lnTo>
                  <a:lnTo>
                    <a:pt x="103471" y="210090"/>
                  </a:lnTo>
                  <a:lnTo>
                    <a:pt x="106225" y="209303"/>
                  </a:lnTo>
                  <a:lnTo>
                    <a:pt x="109373" y="209303"/>
                  </a:lnTo>
                  <a:lnTo>
                    <a:pt x="112520" y="207729"/>
                  </a:lnTo>
                  <a:lnTo>
                    <a:pt x="115274" y="210483"/>
                  </a:lnTo>
                  <a:lnTo>
                    <a:pt x="118028" y="209303"/>
                  </a:lnTo>
                  <a:lnTo>
                    <a:pt x="116847" y="206155"/>
                  </a:lnTo>
                  <a:lnTo>
                    <a:pt x="119602" y="208516"/>
                  </a:lnTo>
                  <a:lnTo>
                    <a:pt x="122356" y="206549"/>
                  </a:lnTo>
                  <a:lnTo>
                    <a:pt x="121962" y="203795"/>
                  </a:lnTo>
                  <a:lnTo>
                    <a:pt x="122356" y="200647"/>
                  </a:lnTo>
                  <a:lnTo>
                    <a:pt x="121569" y="197500"/>
                  </a:lnTo>
                  <a:lnTo>
                    <a:pt x="118815" y="195926"/>
                  </a:lnTo>
                  <a:lnTo>
                    <a:pt x="118422" y="198680"/>
                  </a:lnTo>
                  <a:lnTo>
                    <a:pt x="115668" y="197500"/>
                  </a:lnTo>
                  <a:lnTo>
                    <a:pt x="115274" y="194352"/>
                  </a:lnTo>
                  <a:lnTo>
                    <a:pt x="112520" y="193566"/>
                  </a:lnTo>
                  <a:lnTo>
                    <a:pt x="112520" y="192779"/>
                  </a:lnTo>
                  <a:lnTo>
                    <a:pt x="114487" y="190418"/>
                  </a:lnTo>
                  <a:lnTo>
                    <a:pt x="111340" y="189631"/>
                  </a:lnTo>
                  <a:lnTo>
                    <a:pt x="110946" y="188058"/>
                  </a:lnTo>
                  <a:lnTo>
                    <a:pt x="109373" y="186091"/>
                  </a:lnTo>
                  <a:lnTo>
                    <a:pt x="104258" y="178222"/>
                  </a:lnTo>
                  <a:lnTo>
                    <a:pt x="105045" y="176255"/>
                  </a:lnTo>
                  <a:lnTo>
                    <a:pt x="106619" y="174288"/>
                  </a:lnTo>
                  <a:lnTo>
                    <a:pt x="108192" y="174288"/>
                  </a:lnTo>
                  <a:lnTo>
                    <a:pt x="106619" y="172714"/>
                  </a:lnTo>
                  <a:lnTo>
                    <a:pt x="107012" y="168386"/>
                  </a:lnTo>
                  <a:lnTo>
                    <a:pt x="107012" y="168386"/>
                  </a:lnTo>
                  <a:lnTo>
                    <a:pt x="109767" y="167600"/>
                  </a:lnTo>
                  <a:lnTo>
                    <a:pt x="108586" y="164845"/>
                  </a:lnTo>
                  <a:lnTo>
                    <a:pt x="105438" y="162091"/>
                  </a:lnTo>
                  <a:lnTo>
                    <a:pt x="105832" y="158944"/>
                  </a:lnTo>
                  <a:lnTo>
                    <a:pt x="104652" y="156190"/>
                  </a:lnTo>
                  <a:lnTo>
                    <a:pt x="101898" y="153436"/>
                  </a:lnTo>
                  <a:lnTo>
                    <a:pt x="99143" y="151469"/>
                  </a:lnTo>
                  <a:lnTo>
                    <a:pt x="97964" y="148715"/>
                  </a:lnTo>
                  <a:lnTo>
                    <a:pt x="97176" y="145961"/>
                  </a:lnTo>
                  <a:lnTo>
                    <a:pt x="95603" y="142814"/>
                  </a:lnTo>
                  <a:lnTo>
                    <a:pt x="94030" y="140060"/>
                  </a:lnTo>
                  <a:lnTo>
                    <a:pt x="93242" y="137306"/>
                  </a:lnTo>
                  <a:lnTo>
                    <a:pt x="90095" y="134158"/>
                  </a:lnTo>
                  <a:lnTo>
                    <a:pt x="87340" y="132191"/>
                  </a:lnTo>
                  <a:lnTo>
                    <a:pt x="84587" y="131011"/>
                  </a:lnTo>
                  <a:lnTo>
                    <a:pt x="83800" y="128257"/>
                  </a:lnTo>
                  <a:lnTo>
                    <a:pt x="81046" y="125503"/>
                  </a:lnTo>
                  <a:lnTo>
                    <a:pt x="77899" y="125896"/>
                  </a:lnTo>
                  <a:lnTo>
                    <a:pt x="82620" y="122749"/>
                  </a:lnTo>
                  <a:lnTo>
                    <a:pt x="84194" y="123929"/>
                  </a:lnTo>
                  <a:lnTo>
                    <a:pt x="87340" y="123536"/>
                  </a:lnTo>
                  <a:lnTo>
                    <a:pt x="90095" y="121569"/>
                  </a:lnTo>
                  <a:lnTo>
                    <a:pt x="91275" y="118815"/>
                  </a:lnTo>
                  <a:lnTo>
                    <a:pt x="93242" y="115667"/>
                  </a:lnTo>
                  <a:lnTo>
                    <a:pt x="95997" y="114880"/>
                  </a:lnTo>
                  <a:lnTo>
                    <a:pt x="99143" y="113307"/>
                  </a:lnTo>
                  <a:lnTo>
                    <a:pt x="101898" y="112520"/>
                  </a:lnTo>
                  <a:lnTo>
                    <a:pt x="104652" y="112520"/>
                  </a:lnTo>
                  <a:lnTo>
                    <a:pt x="107406" y="109766"/>
                  </a:lnTo>
                  <a:lnTo>
                    <a:pt x="110553" y="107405"/>
                  </a:lnTo>
                  <a:lnTo>
                    <a:pt x="112913" y="104651"/>
                  </a:lnTo>
                  <a:lnTo>
                    <a:pt x="115274" y="101504"/>
                  </a:lnTo>
                  <a:lnTo>
                    <a:pt x="117635" y="98750"/>
                  </a:lnTo>
                  <a:lnTo>
                    <a:pt x="117635" y="97570"/>
                  </a:lnTo>
                  <a:lnTo>
                    <a:pt x="120389" y="94816"/>
                  </a:lnTo>
                  <a:lnTo>
                    <a:pt x="122356" y="92062"/>
                  </a:lnTo>
                  <a:lnTo>
                    <a:pt x="124716" y="88914"/>
                  </a:lnTo>
                  <a:lnTo>
                    <a:pt x="127471" y="88521"/>
                  </a:lnTo>
                  <a:lnTo>
                    <a:pt x="130225" y="88127"/>
                  </a:lnTo>
                  <a:lnTo>
                    <a:pt x="132978" y="88127"/>
                  </a:lnTo>
                  <a:lnTo>
                    <a:pt x="134159" y="91275"/>
                  </a:lnTo>
                  <a:lnTo>
                    <a:pt x="136913" y="94029"/>
                  </a:lnTo>
                  <a:lnTo>
                    <a:pt x="140060" y="92062"/>
                  </a:lnTo>
                  <a:lnTo>
                    <a:pt x="140453" y="89308"/>
                  </a:lnTo>
                  <a:lnTo>
                    <a:pt x="142027" y="86160"/>
                  </a:lnTo>
                  <a:lnTo>
                    <a:pt x="141634" y="83406"/>
                  </a:lnTo>
                  <a:lnTo>
                    <a:pt x="140847" y="80259"/>
                  </a:lnTo>
                  <a:lnTo>
                    <a:pt x="137699" y="78292"/>
                  </a:lnTo>
                  <a:lnTo>
                    <a:pt x="134945" y="77111"/>
                  </a:lnTo>
                  <a:lnTo>
                    <a:pt x="132192" y="77111"/>
                  </a:lnTo>
                  <a:lnTo>
                    <a:pt x="129438" y="78685"/>
                  </a:lnTo>
                  <a:lnTo>
                    <a:pt x="126683" y="78685"/>
                  </a:lnTo>
                  <a:lnTo>
                    <a:pt x="123536" y="79079"/>
                  </a:lnTo>
                  <a:lnTo>
                    <a:pt x="120389" y="81046"/>
                  </a:lnTo>
                  <a:lnTo>
                    <a:pt x="123536" y="81833"/>
                  </a:lnTo>
                  <a:lnTo>
                    <a:pt x="126683" y="84193"/>
                  </a:lnTo>
                  <a:lnTo>
                    <a:pt x="123536" y="84193"/>
                  </a:lnTo>
                  <a:lnTo>
                    <a:pt x="120782" y="85373"/>
                  </a:lnTo>
                  <a:lnTo>
                    <a:pt x="117635" y="83800"/>
                  </a:lnTo>
                  <a:lnTo>
                    <a:pt x="114880" y="84193"/>
                  </a:lnTo>
                  <a:lnTo>
                    <a:pt x="112127" y="83800"/>
                  </a:lnTo>
                  <a:lnTo>
                    <a:pt x="109373" y="84193"/>
                  </a:lnTo>
                  <a:lnTo>
                    <a:pt x="106225" y="84193"/>
                  </a:lnTo>
                  <a:lnTo>
                    <a:pt x="103078" y="85373"/>
                  </a:lnTo>
                  <a:lnTo>
                    <a:pt x="102685" y="88127"/>
                  </a:lnTo>
                  <a:lnTo>
                    <a:pt x="99931" y="89308"/>
                  </a:lnTo>
                  <a:lnTo>
                    <a:pt x="97176" y="90488"/>
                  </a:lnTo>
                  <a:lnTo>
                    <a:pt x="94030" y="90488"/>
                  </a:lnTo>
                  <a:lnTo>
                    <a:pt x="91275" y="90488"/>
                  </a:lnTo>
                  <a:lnTo>
                    <a:pt x="88128" y="88127"/>
                  </a:lnTo>
                  <a:lnTo>
                    <a:pt x="88128" y="85373"/>
                  </a:lnTo>
                  <a:lnTo>
                    <a:pt x="84981" y="87340"/>
                  </a:lnTo>
                  <a:lnTo>
                    <a:pt x="82227" y="88914"/>
                  </a:lnTo>
                  <a:lnTo>
                    <a:pt x="80260" y="91668"/>
                  </a:lnTo>
                  <a:lnTo>
                    <a:pt x="79079" y="93242"/>
                  </a:lnTo>
                  <a:lnTo>
                    <a:pt x="77505" y="95209"/>
                  </a:lnTo>
                  <a:lnTo>
                    <a:pt x="75538" y="97963"/>
                  </a:lnTo>
                  <a:lnTo>
                    <a:pt x="73964" y="100717"/>
                  </a:lnTo>
                  <a:lnTo>
                    <a:pt x="73571" y="101504"/>
                  </a:lnTo>
                  <a:lnTo>
                    <a:pt x="70030" y="106618"/>
                  </a:lnTo>
                  <a:lnTo>
                    <a:pt x="69243" y="106618"/>
                  </a:lnTo>
                  <a:lnTo>
                    <a:pt x="66490" y="105438"/>
                  </a:lnTo>
                  <a:lnTo>
                    <a:pt x="64523" y="105438"/>
                  </a:lnTo>
                  <a:lnTo>
                    <a:pt x="60588" y="104651"/>
                  </a:lnTo>
                  <a:lnTo>
                    <a:pt x="55080" y="95209"/>
                  </a:lnTo>
                  <a:lnTo>
                    <a:pt x="54687" y="94422"/>
                  </a:lnTo>
                  <a:lnTo>
                    <a:pt x="53113" y="91275"/>
                  </a:lnTo>
                  <a:lnTo>
                    <a:pt x="52326" y="90881"/>
                  </a:lnTo>
                  <a:lnTo>
                    <a:pt x="38556" y="66489"/>
                  </a:lnTo>
                  <a:lnTo>
                    <a:pt x="38556" y="64915"/>
                  </a:lnTo>
                  <a:lnTo>
                    <a:pt x="40917" y="57833"/>
                  </a:lnTo>
                  <a:lnTo>
                    <a:pt x="77112" y="41703"/>
                  </a:lnTo>
                  <a:lnTo>
                    <a:pt x="78685" y="42490"/>
                  </a:lnTo>
                  <a:lnTo>
                    <a:pt x="81439" y="42096"/>
                  </a:lnTo>
                  <a:lnTo>
                    <a:pt x="81833" y="42096"/>
                  </a:lnTo>
                  <a:lnTo>
                    <a:pt x="91275" y="42490"/>
                  </a:lnTo>
                  <a:lnTo>
                    <a:pt x="92062" y="43670"/>
                  </a:lnTo>
                  <a:lnTo>
                    <a:pt x="95209" y="43670"/>
                  </a:lnTo>
                  <a:lnTo>
                    <a:pt x="97964" y="42883"/>
                  </a:lnTo>
                  <a:lnTo>
                    <a:pt x="98750" y="42490"/>
                  </a:lnTo>
                  <a:lnTo>
                    <a:pt x="133372" y="43670"/>
                  </a:lnTo>
                  <a:lnTo>
                    <a:pt x="134945" y="46031"/>
                  </a:lnTo>
                  <a:lnTo>
                    <a:pt x="137699" y="47998"/>
                  </a:lnTo>
                  <a:lnTo>
                    <a:pt x="140847" y="47998"/>
                  </a:lnTo>
                  <a:lnTo>
                    <a:pt x="143601" y="47998"/>
                  </a:lnTo>
                  <a:lnTo>
                    <a:pt x="146748" y="47998"/>
                  </a:lnTo>
                  <a:lnTo>
                    <a:pt x="149502" y="48391"/>
                  </a:lnTo>
                  <a:lnTo>
                    <a:pt x="152256" y="47998"/>
                  </a:lnTo>
                  <a:lnTo>
                    <a:pt x="155403" y="47211"/>
                  </a:lnTo>
                  <a:lnTo>
                    <a:pt x="158157" y="4681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33" name="Freeform: Shape 3827">
              <a:extLst>
                <a:ext uri="{FF2B5EF4-FFF2-40B4-BE49-F238E27FC236}">
                  <a16:creationId xmlns:a16="http://schemas.microsoft.com/office/drawing/2014/main" id="{847E98DD-5A12-45EB-8CBA-CE7A99DBF864}"/>
                </a:ext>
              </a:extLst>
            </p:cNvPr>
            <p:cNvSpPr/>
            <p:nvPr/>
          </p:nvSpPr>
          <p:spPr>
            <a:xfrm>
              <a:off x="9699392" y="3391666"/>
              <a:ext cx="137699" cy="141633"/>
            </a:xfrm>
            <a:custGeom>
              <a:avLst/>
              <a:gdLst>
                <a:gd name="connsiteX0" fmla="*/ 140060 w 137699"/>
                <a:gd name="connsiteY0" fmla="*/ 80259 h 141633"/>
                <a:gd name="connsiteX1" fmla="*/ 139274 w 137699"/>
                <a:gd name="connsiteY1" fmla="*/ 77505 h 141633"/>
                <a:gd name="connsiteX2" fmla="*/ 138487 w 137699"/>
                <a:gd name="connsiteY2" fmla="*/ 74358 h 141633"/>
                <a:gd name="connsiteX3" fmla="*/ 138093 w 137699"/>
                <a:gd name="connsiteY3" fmla="*/ 70817 h 141633"/>
                <a:gd name="connsiteX4" fmla="*/ 134945 w 137699"/>
                <a:gd name="connsiteY4" fmla="*/ 68456 h 141633"/>
                <a:gd name="connsiteX5" fmla="*/ 131798 w 137699"/>
                <a:gd name="connsiteY5" fmla="*/ 64522 h 141633"/>
                <a:gd name="connsiteX6" fmla="*/ 132978 w 137699"/>
                <a:gd name="connsiteY6" fmla="*/ 63735 h 141633"/>
                <a:gd name="connsiteX7" fmla="*/ 132585 w 137699"/>
                <a:gd name="connsiteY7" fmla="*/ 65309 h 141633"/>
                <a:gd name="connsiteX8" fmla="*/ 134553 w 137699"/>
                <a:gd name="connsiteY8" fmla="*/ 62555 h 141633"/>
                <a:gd name="connsiteX9" fmla="*/ 134159 w 137699"/>
                <a:gd name="connsiteY9" fmla="*/ 59408 h 141633"/>
                <a:gd name="connsiteX10" fmla="*/ 134159 w 137699"/>
                <a:gd name="connsiteY10" fmla="*/ 56653 h 141633"/>
                <a:gd name="connsiteX11" fmla="*/ 134553 w 137699"/>
                <a:gd name="connsiteY11" fmla="*/ 53899 h 141633"/>
                <a:gd name="connsiteX12" fmla="*/ 133765 w 137699"/>
                <a:gd name="connsiteY12" fmla="*/ 59014 h 141633"/>
                <a:gd name="connsiteX13" fmla="*/ 133765 w 137699"/>
                <a:gd name="connsiteY13" fmla="*/ 57440 h 141633"/>
                <a:gd name="connsiteX14" fmla="*/ 133765 w 137699"/>
                <a:gd name="connsiteY14" fmla="*/ 54686 h 141633"/>
                <a:gd name="connsiteX15" fmla="*/ 132585 w 137699"/>
                <a:gd name="connsiteY15" fmla="*/ 53899 h 141633"/>
                <a:gd name="connsiteX16" fmla="*/ 129438 w 137699"/>
                <a:gd name="connsiteY16" fmla="*/ 54686 h 141633"/>
                <a:gd name="connsiteX17" fmla="*/ 131405 w 137699"/>
                <a:gd name="connsiteY17" fmla="*/ 52326 h 141633"/>
                <a:gd name="connsiteX18" fmla="*/ 130225 w 137699"/>
                <a:gd name="connsiteY18" fmla="*/ 49572 h 141633"/>
                <a:gd name="connsiteX19" fmla="*/ 130618 w 137699"/>
                <a:gd name="connsiteY19" fmla="*/ 46424 h 141633"/>
                <a:gd name="connsiteX20" fmla="*/ 129044 w 137699"/>
                <a:gd name="connsiteY20" fmla="*/ 43277 h 141633"/>
                <a:gd name="connsiteX21" fmla="*/ 126290 w 137699"/>
                <a:gd name="connsiteY21" fmla="*/ 44064 h 141633"/>
                <a:gd name="connsiteX22" fmla="*/ 123536 w 137699"/>
                <a:gd name="connsiteY22" fmla="*/ 43277 h 141633"/>
                <a:gd name="connsiteX23" fmla="*/ 121962 w 137699"/>
                <a:gd name="connsiteY23" fmla="*/ 40130 h 141633"/>
                <a:gd name="connsiteX24" fmla="*/ 123143 w 137699"/>
                <a:gd name="connsiteY24" fmla="*/ 39343 h 141633"/>
                <a:gd name="connsiteX25" fmla="*/ 125896 w 137699"/>
                <a:gd name="connsiteY25" fmla="*/ 37769 h 141633"/>
                <a:gd name="connsiteX26" fmla="*/ 127864 w 137699"/>
                <a:gd name="connsiteY26" fmla="*/ 35015 h 141633"/>
                <a:gd name="connsiteX27" fmla="*/ 128257 w 137699"/>
                <a:gd name="connsiteY27" fmla="*/ 32261 h 141633"/>
                <a:gd name="connsiteX28" fmla="*/ 127471 w 137699"/>
                <a:gd name="connsiteY28" fmla="*/ 29114 h 141633"/>
                <a:gd name="connsiteX29" fmla="*/ 124717 w 137699"/>
                <a:gd name="connsiteY29" fmla="*/ 28327 h 141633"/>
                <a:gd name="connsiteX30" fmla="*/ 123536 w 137699"/>
                <a:gd name="connsiteY30" fmla="*/ 25179 h 141633"/>
                <a:gd name="connsiteX31" fmla="*/ 123929 w 137699"/>
                <a:gd name="connsiteY31" fmla="*/ 17311 h 141633"/>
                <a:gd name="connsiteX32" fmla="*/ 123536 w 137699"/>
                <a:gd name="connsiteY32" fmla="*/ 16917 h 141633"/>
                <a:gd name="connsiteX33" fmla="*/ 122750 w 137699"/>
                <a:gd name="connsiteY33" fmla="*/ 16917 h 141633"/>
                <a:gd name="connsiteX34" fmla="*/ 119995 w 137699"/>
                <a:gd name="connsiteY34" fmla="*/ 19278 h 141633"/>
                <a:gd name="connsiteX35" fmla="*/ 118028 w 137699"/>
                <a:gd name="connsiteY35" fmla="*/ 18491 h 141633"/>
                <a:gd name="connsiteX36" fmla="*/ 117635 w 137699"/>
                <a:gd name="connsiteY36" fmla="*/ 17704 h 141633"/>
                <a:gd name="connsiteX37" fmla="*/ 114881 w 137699"/>
                <a:gd name="connsiteY37" fmla="*/ 11016 h 141633"/>
                <a:gd name="connsiteX38" fmla="*/ 112520 w 137699"/>
                <a:gd name="connsiteY38" fmla="*/ 9049 h 141633"/>
                <a:gd name="connsiteX39" fmla="*/ 109767 w 137699"/>
                <a:gd name="connsiteY39" fmla="*/ 8655 h 141633"/>
                <a:gd name="connsiteX40" fmla="*/ 106619 w 137699"/>
                <a:gd name="connsiteY40" fmla="*/ 7082 h 141633"/>
                <a:gd name="connsiteX41" fmla="*/ 104258 w 137699"/>
                <a:gd name="connsiteY41" fmla="*/ 4328 h 141633"/>
                <a:gd name="connsiteX42" fmla="*/ 101898 w 137699"/>
                <a:gd name="connsiteY42" fmla="*/ 1574 h 141633"/>
                <a:gd name="connsiteX43" fmla="*/ 99144 w 137699"/>
                <a:gd name="connsiteY43" fmla="*/ 0 h 141633"/>
                <a:gd name="connsiteX44" fmla="*/ 98357 w 137699"/>
                <a:gd name="connsiteY44" fmla="*/ 2754 h 141633"/>
                <a:gd name="connsiteX45" fmla="*/ 98750 w 137699"/>
                <a:gd name="connsiteY45" fmla="*/ 5901 h 141633"/>
                <a:gd name="connsiteX46" fmla="*/ 99931 w 137699"/>
                <a:gd name="connsiteY46" fmla="*/ 9442 h 141633"/>
                <a:gd name="connsiteX47" fmla="*/ 101111 w 137699"/>
                <a:gd name="connsiteY47" fmla="*/ 12590 h 141633"/>
                <a:gd name="connsiteX48" fmla="*/ 101111 w 137699"/>
                <a:gd name="connsiteY48" fmla="*/ 12590 h 141633"/>
                <a:gd name="connsiteX49" fmla="*/ 101898 w 137699"/>
                <a:gd name="connsiteY49" fmla="*/ 15737 h 141633"/>
                <a:gd name="connsiteX50" fmla="*/ 101111 w 137699"/>
                <a:gd name="connsiteY50" fmla="*/ 12590 h 141633"/>
                <a:gd name="connsiteX51" fmla="*/ 103865 w 137699"/>
                <a:gd name="connsiteY51" fmla="*/ 22032 h 141633"/>
                <a:gd name="connsiteX52" fmla="*/ 104258 w 137699"/>
                <a:gd name="connsiteY52" fmla="*/ 27540 h 141633"/>
                <a:gd name="connsiteX53" fmla="*/ 94030 w 137699"/>
                <a:gd name="connsiteY53" fmla="*/ 24392 h 141633"/>
                <a:gd name="connsiteX54" fmla="*/ 89701 w 137699"/>
                <a:gd name="connsiteY54" fmla="*/ 31474 h 141633"/>
                <a:gd name="connsiteX55" fmla="*/ 87734 w 137699"/>
                <a:gd name="connsiteY55" fmla="*/ 29114 h 141633"/>
                <a:gd name="connsiteX56" fmla="*/ 84587 w 137699"/>
                <a:gd name="connsiteY56" fmla="*/ 27147 h 141633"/>
                <a:gd name="connsiteX57" fmla="*/ 81833 w 137699"/>
                <a:gd name="connsiteY57" fmla="*/ 28327 h 141633"/>
                <a:gd name="connsiteX58" fmla="*/ 82227 w 137699"/>
                <a:gd name="connsiteY58" fmla="*/ 31081 h 141633"/>
                <a:gd name="connsiteX59" fmla="*/ 82620 w 137699"/>
                <a:gd name="connsiteY59" fmla="*/ 34228 h 141633"/>
                <a:gd name="connsiteX60" fmla="*/ 81833 w 137699"/>
                <a:gd name="connsiteY60" fmla="*/ 37376 h 141633"/>
                <a:gd name="connsiteX61" fmla="*/ 82227 w 137699"/>
                <a:gd name="connsiteY61" fmla="*/ 40130 h 141633"/>
                <a:gd name="connsiteX62" fmla="*/ 81833 w 137699"/>
                <a:gd name="connsiteY62" fmla="*/ 42884 h 141633"/>
                <a:gd name="connsiteX63" fmla="*/ 79473 w 137699"/>
                <a:gd name="connsiteY63" fmla="*/ 44851 h 141633"/>
                <a:gd name="connsiteX64" fmla="*/ 79079 w 137699"/>
                <a:gd name="connsiteY64" fmla="*/ 44457 h 141633"/>
                <a:gd name="connsiteX65" fmla="*/ 76325 w 137699"/>
                <a:gd name="connsiteY65" fmla="*/ 43277 h 141633"/>
                <a:gd name="connsiteX66" fmla="*/ 73572 w 137699"/>
                <a:gd name="connsiteY66" fmla="*/ 40523 h 141633"/>
                <a:gd name="connsiteX67" fmla="*/ 70424 w 137699"/>
                <a:gd name="connsiteY67" fmla="*/ 41703 h 141633"/>
                <a:gd name="connsiteX68" fmla="*/ 68457 w 137699"/>
                <a:gd name="connsiteY68" fmla="*/ 44851 h 141633"/>
                <a:gd name="connsiteX69" fmla="*/ 68457 w 137699"/>
                <a:gd name="connsiteY69" fmla="*/ 47605 h 141633"/>
                <a:gd name="connsiteX70" fmla="*/ 67670 w 137699"/>
                <a:gd name="connsiteY70" fmla="*/ 50359 h 141633"/>
                <a:gd name="connsiteX71" fmla="*/ 67670 w 137699"/>
                <a:gd name="connsiteY71" fmla="*/ 53113 h 141633"/>
                <a:gd name="connsiteX72" fmla="*/ 65703 w 137699"/>
                <a:gd name="connsiteY72" fmla="*/ 55080 h 141633"/>
                <a:gd name="connsiteX73" fmla="*/ 63342 w 137699"/>
                <a:gd name="connsiteY73" fmla="*/ 55080 h 141633"/>
                <a:gd name="connsiteX74" fmla="*/ 60588 w 137699"/>
                <a:gd name="connsiteY74" fmla="*/ 55473 h 141633"/>
                <a:gd name="connsiteX75" fmla="*/ 57441 w 137699"/>
                <a:gd name="connsiteY75" fmla="*/ 57440 h 141633"/>
                <a:gd name="connsiteX76" fmla="*/ 54293 w 137699"/>
                <a:gd name="connsiteY76" fmla="*/ 59801 h 141633"/>
                <a:gd name="connsiteX77" fmla="*/ 51539 w 137699"/>
                <a:gd name="connsiteY77" fmla="*/ 62555 h 141633"/>
                <a:gd name="connsiteX78" fmla="*/ 50359 w 137699"/>
                <a:gd name="connsiteY78" fmla="*/ 62555 h 141633"/>
                <a:gd name="connsiteX79" fmla="*/ 50359 w 137699"/>
                <a:gd name="connsiteY79" fmla="*/ 61375 h 141633"/>
                <a:gd name="connsiteX80" fmla="*/ 53900 w 137699"/>
                <a:gd name="connsiteY80" fmla="*/ 59408 h 141633"/>
                <a:gd name="connsiteX81" fmla="*/ 53900 w 137699"/>
                <a:gd name="connsiteY81" fmla="*/ 59014 h 141633"/>
                <a:gd name="connsiteX82" fmla="*/ 56654 w 137699"/>
                <a:gd name="connsiteY82" fmla="*/ 56260 h 141633"/>
                <a:gd name="connsiteX83" fmla="*/ 55867 w 137699"/>
                <a:gd name="connsiteY83" fmla="*/ 53506 h 141633"/>
                <a:gd name="connsiteX84" fmla="*/ 55474 w 137699"/>
                <a:gd name="connsiteY84" fmla="*/ 51145 h 141633"/>
                <a:gd name="connsiteX85" fmla="*/ 55474 w 137699"/>
                <a:gd name="connsiteY85" fmla="*/ 48391 h 141633"/>
                <a:gd name="connsiteX86" fmla="*/ 54293 w 137699"/>
                <a:gd name="connsiteY86" fmla="*/ 45244 h 141633"/>
                <a:gd name="connsiteX87" fmla="*/ 52326 w 137699"/>
                <a:gd name="connsiteY87" fmla="*/ 42490 h 141633"/>
                <a:gd name="connsiteX88" fmla="*/ 49178 w 137699"/>
                <a:gd name="connsiteY88" fmla="*/ 39736 h 141633"/>
                <a:gd name="connsiteX89" fmla="*/ 45638 w 137699"/>
                <a:gd name="connsiteY89" fmla="*/ 40523 h 141633"/>
                <a:gd name="connsiteX90" fmla="*/ 44065 w 137699"/>
                <a:gd name="connsiteY90" fmla="*/ 37376 h 141633"/>
                <a:gd name="connsiteX91" fmla="*/ 41310 w 137699"/>
                <a:gd name="connsiteY91" fmla="*/ 36982 h 141633"/>
                <a:gd name="connsiteX92" fmla="*/ 41704 w 137699"/>
                <a:gd name="connsiteY92" fmla="*/ 39343 h 141633"/>
                <a:gd name="connsiteX93" fmla="*/ 39736 w 137699"/>
                <a:gd name="connsiteY93" fmla="*/ 40523 h 141633"/>
                <a:gd name="connsiteX94" fmla="*/ 37769 w 137699"/>
                <a:gd name="connsiteY94" fmla="*/ 43670 h 141633"/>
                <a:gd name="connsiteX95" fmla="*/ 35802 w 137699"/>
                <a:gd name="connsiteY95" fmla="*/ 43277 h 141633"/>
                <a:gd name="connsiteX96" fmla="*/ 33048 w 137699"/>
                <a:gd name="connsiteY96" fmla="*/ 43670 h 141633"/>
                <a:gd name="connsiteX97" fmla="*/ 30295 w 137699"/>
                <a:gd name="connsiteY97" fmla="*/ 46424 h 141633"/>
                <a:gd name="connsiteX98" fmla="*/ 29901 w 137699"/>
                <a:gd name="connsiteY98" fmla="*/ 49572 h 141633"/>
                <a:gd name="connsiteX99" fmla="*/ 29114 w 137699"/>
                <a:gd name="connsiteY99" fmla="*/ 52326 h 141633"/>
                <a:gd name="connsiteX100" fmla="*/ 30295 w 137699"/>
                <a:gd name="connsiteY100" fmla="*/ 54293 h 141633"/>
                <a:gd name="connsiteX101" fmla="*/ 14950 w 137699"/>
                <a:gd name="connsiteY101" fmla="*/ 59014 h 141633"/>
                <a:gd name="connsiteX102" fmla="*/ 11016 w 137699"/>
                <a:gd name="connsiteY102" fmla="*/ 60588 h 141633"/>
                <a:gd name="connsiteX103" fmla="*/ 9049 w 137699"/>
                <a:gd name="connsiteY103" fmla="*/ 61768 h 141633"/>
                <a:gd name="connsiteX104" fmla="*/ 7869 w 137699"/>
                <a:gd name="connsiteY104" fmla="*/ 62948 h 141633"/>
                <a:gd name="connsiteX105" fmla="*/ 6295 w 137699"/>
                <a:gd name="connsiteY105" fmla="*/ 65702 h 141633"/>
                <a:gd name="connsiteX106" fmla="*/ 4328 w 137699"/>
                <a:gd name="connsiteY106" fmla="*/ 68850 h 141633"/>
                <a:gd name="connsiteX107" fmla="*/ 5115 w 137699"/>
                <a:gd name="connsiteY107" fmla="*/ 71604 h 141633"/>
                <a:gd name="connsiteX108" fmla="*/ 0 w 137699"/>
                <a:gd name="connsiteY108" fmla="*/ 90488 h 141633"/>
                <a:gd name="connsiteX109" fmla="*/ 0 w 137699"/>
                <a:gd name="connsiteY109" fmla="*/ 91275 h 141633"/>
                <a:gd name="connsiteX110" fmla="*/ 394 w 137699"/>
                <a:gd name="connsiteY110" fmla="*/ 94029 h 141633"/>
                <a:gd name="connsiteX111" fmla="*/ 2755 w 137699"/>
                <a:gd name="connsiteY111" fmla="*/ 97570 h 141633"/>
                <a:gd name="connsiteX112" fmla="*/ 5509 w 137699"/>
                <a:gd name="connsiteY112" fmla="*/ 99143 h 141633"/>
                <a:gd name="connsiteX113" fmla="*/ 8656 w 137699"/>
                <a:gd name="connsiteY113" fmla="*/ 97176 h 141633"/>
                <a:gd name="connsiteX114" fmla="*/ 9049 w 137699"/>
                <a:gd name="connsiteY114" fmla="*/ 93635 h 141633"/>
                <a:gd name="connsiteX115" fmla="*/ 10229 w 137699"/>
                <a:gd name="connsiteY115" fmla="*/ 90882 h 141633"/>
                <a:gd name="connsiteX116" fmla="*/ 10623 w 137699"/>
                <a:gd name="connsiteY116" fmla="*/ 90488 h 141633"/>
                <a:gd name="connsiteX117" fmla="*/ 10623 w 137699"/>
                <a:gd name="connsiteY117" fmla="*/ 90488 h 141633"/>
                <a:gd name="connsiteX118" fmla="*/ 25573 w 137699"/>
                <a:gd name="connsiteY118" fmla="*/ 71997 h 141633"/>
                <a:gd name="connsiteX119" fmla="*/ 25573 w 137699"/>
                <a:gd name="connsiteY119" fmla="*/ 73964 h 141633"/>
                <a:gd name="connsiteX120" fmla="*/ 25967 w 137699"/>
                <a:gd name="connsiteY120" fmla="*/ 77112 h 141633"/>
                <a:gd name="connsiteX121" fmla="*/ 25967 w 137699"/>
                <a:gd name="connsiteY121" fmla="*/ 77505 h 141633"/>
                <a:gd name="connsiteX122" fmla="*/ 25180 w 137699"/>
                <a:gd name="connsiteY122" fmla="*/ 79865 h 141633"/>
                <a:gd name="connsiteX123" fmla="*/ 25573 w 137699"/>
                <a:gd name="connsiteY123" fmla="*/ 81833 h 141633"/>
                <a:gd name="connsiteX124" fmla="*/ 25967 w 137699"/>
                <a:gd name="connsiteY124" fmla="*/ 77505 h 141633"/>
                <a:gd name="connsiteX125" fmla="*/ 27934 w 137699"/>
                <a:gd name="connsiteY125" fmla="*/ 80259 h 141633"/>
                <a:gd name="connsiteX126" fmla="*/ 29114 w 137699"/>
                <a:gd name="connsiteY126" fmla="*/ 77112 h 141633"/>
                <a:gd name="connsiteX127" fmla="*/ 31868 w 137699"/>
                <a:gd name="connsiteY127" fmla="*/ 80259 h 141633"/>
                <a:gd name="connsiteX128" fmla="*/ 32655 w 137699"/>
                <a:gd name="connsiteY128" fmla="*/ 77112 h 141633"/>
                <a:gd name="connsiteX129" fmla="*/ 36983 w 137699"/>
                <a:gd name="connsiteY129" fmla="*/ 73964 h 141633"/>
                <a:gd name="connsiteX130" fmla="*/ 37376 w 137699"/>
                <a:gd name="connsiteY130" fmla="*/ 74751 h 141633"/>
                <a:gd name="connsiteX131" fmla="*/ 35408 w 137699"/>
                <a:gd name="connsiteY131" fmla="*/ 77898 h 141633"/>
                <a:gd name="connsiteX132" fmla="*/ 38163 w 137699"/>
                <a:gd name="connsiteY132" fmla="*/ 77898 h 141633"/>
                <a:gd name="connsiteX133" fmla="*/ 40917 w 137699"/>
                <a:gd name="connsiteY133" fmla="*/ 78685 h 141633"/>
                <a:gd name="connsiteX134" fmla="*/ 42097 w 137699"/>
                <a:gd name="connsiteY134" fmla="*/ 81833 h 141633"/>
                <a:gd name="connsiteX135" fmla="*/ 45244 w 137699"/>
                <a:gd name="connsiteY135" fmla="*/ 81833 h 141633"/>
                <a:gd name="connsiteX136" fmla="*/ 43671 w 137699"/>
                <a:gd name="connsiteY136" fmla="*/ 78685 h 141633"/>
                <a:gd name="connsiteX137" fmla="*/ 42884 w 137699"/>
                <a:gd name="connsiteY137" fmla="*/ 75931 h 141633"/>
                <a:gd name="connsiteX138" fmla="*/ 45638 w 137699"/>
                <a:gd name="connsiteY138" fmla="*/ 73571 h 141633"/>
                <a:gd name="connsiteX139" fmla="*/ 45638 w 137699"/>
                <a:gd name="connsiteY139" fmla="*/ 74751 h 141633"/>
                <a:gd name="connsiteX140" fmla="*/ 46032 w 137699"/>
                <a:gd name="connsiteY140" fmla="*/ 74751 h 141633"/>
                <a:gd name="connsiteX141" fmla="*/ 46425 w 137699"/>
                <a:gd name="connsiteY141" fmla="*/ 71604 h 141633"/>
                <a:gd name="connsiteX142" fmla="*/ 45638 w 137699"/>
                <a:gd name="connsiteY142" fmla="*/ 69637 h 141633"/>
                <a:gd name="connsiteX143" fmla="*/ 46425 w 137699"/>
                <a:gd name="connsiteY143" fmla="*/ 67276 h 141633"/>
                <a:gd name="connsiteX144" fmla="*/ 49572 w 137699"/>
                <a:gd name="connsiteY144" fmla="*/ 67669 h 141633"/>
                <a:gd name="connsiteX145" fmla="*/ 53506 w 137699"/>
                <a:gd name="connsiteY145" fmla="*/ 69637 h 141633"/>
                <a:gd name="connsiteX146" fmla="*/ 54293 w 137699"/>
                <a:gd name="connsiteY146" fmla="*/ 71210 h 141633"/>
                <a:gd name="connsiteX147" fmla="*/ 57441 w 137699"/>
                <a:gd name="connsiteY147" fmla="*/ 71997 h 141633"/>
                <a:gd name="connsiteX148" fmla="*/ 57441 w 137699"/>
                <a:gd name="connsiteY148" fmla="*/ 71997 h 141633"/>
                <a:gd name="connsiteX149" fmla="*/ 60194 w 137699"/>
                <a:gd name="connsiteY149" fmla="*/ 72784 h 141633"/>
                <a:gd name="connsiteX150" fmla="*/ 57441 w 137699"/>
                <a:gd name="connsiteY150" fmla="*/ 71997 h 141633"/>
                <a:gd name="connsiteX151" fmla="*/ 68850 w 137699"/>
                <a:gd name="connsiteY151" fmla="*/ 86947 h 141633"/>
                <a:gd name="connsiteX152" fmla="*/ 67670 w 137699"/>
                <a:gd name="connsiteY152" fmla="*/ 88914 h 141633"/>
                <a:gd name="connsiteX153" fmla="*/ 66490 w 137699"/>
                <a:gd name="connsiteY153" fmla="*/ 90095 h 141633"/>
                <a:gd name="connsiteX154" fmla="*/ 63736 w 137699"/>
                <a:gd name="connsiteY154" fmla="*/ 93242 h 141633"/>
                <a:gd name="connsiteX155" fmla="*/ 62555 w 137699"/>
                <a:gd name="connsiteY155" fmla="*/ 95996 h 141633"/>
                <a:gd name="connsiteX156" fmla="*/ 61769 w 137699"/>
                <a:gd name="connsiteY156" fmla="*/ 99143 h 141633"/>
                <a:gd name="connsiteX157" fmla="*/ 61769 w 137699"/>
                <a:gd name="connsiteY157" fmla="*/ 101898 h 141633"/>
                <a:gd name="connsiteX158" fmla="*/ 64523 w 137699"/>
                <a:gd name="connsiteY158" fmla="*/ 103865 h 141633"/>
                <a:gd name="connsiteX159" fmla="*/ 64129 w 137699"/>
                <a:gd name="connsiteY159" fmla="*/ 105045 h 141633"/>
                <a:gd name="connsiteX160" fmla="*/ 64915 w 137699"/>
                <a:gd name="connsiteY160" fmla="*/ 107405 h 141633"/>
                <a:gd name="connsiteX161" fmla="*/ 64915 w 137699"/>
                <a:gd name="connsiteY161" fmla="*/ 113307 h 141633"/>
                <a:gd name="connsiteX162" fmla="*/ 66490 w 137699"/>
                <a:gd name="connsiteY162" fmla="*/ 116454 h 141633"/>
                <a:gd name="connsiteX163" fmla="*/ 68063 w 137699"/>
                <a:gd name="connsiteY163" fmla="*/ 119208 h 141633"/>
                <a:gd name="connsiteX164" fmla="*/ 70030 w 137699"/>
                <a:gd name="connsiteY164" fmla="*/ 122356 h 141633"/>
                <a:gd name="connsiteX165" fmla="*/ 72784 w 137699"/>
                <a:gd name="connsiteY165" fmla="*/ 124323 h 141633"/>
                <a:gd name="connsiteX166" fmla="*/ 75539 w 137699"/>
                <a:gd name="connsiteY166" fmla="*/ 125503 h 141633"/>
                <a:gd name="connsiteX167" fmla="*/ 76718 w 137699"/>
                <a:gd name="connsiteY167" fmla="*/ 126290 h 141633"/>
                <a:gd name="connsiteX168" fmla="*/ 79866 w 137699"/>
                <a:gd name="connsiteY168" fmla="*/ 128257 h 141633"/>
                <a:gd name="connsiteX169" fmla="*/ 82620 w 137699"/>
                <a:gd name="connsiteY169" fmla="*/ 129437 h 141633"/>
                <a:gd name="connsiteX170" fmla="*/ 85767 w 137699"/>
                <a:gd name="connsiteY170" fmla="*/ 131404 h 141633"/>
                <a:gd name="connsiteX171" fmla="*/ 88915 w 137699"/>
                <a:gd name="connsiteY171" fmla="*/ 132585 h 141633"/>
                <a:gd name="connsiteX172" fmla="*/ 92062 w 137699"/>
                <a:gd name="connsiteY172" fmla="*/ 134159 h 141633"/>
                <a:gd name="connsiteX173" fmla="*/ 94816 w 137699"/>
                <a:gd name="connsiteY173" fmla="*/ 134552 h 141633"/>
                <a:gd name="connsiteX174" fmla="*/ 97570 w 137699"/>
                <a:gd name="connsiteY174" fmla="*/ 133372 h 141633"/>
                <a:gd name="connsiteX175" fmla="*/ 98750 w 137699"/>
                <a:gd name="connsiteY175" fmla="*/ 130224 h 141633"/>
                <a:gd name="connsiteX176" fmla="*/ 99144 w 137699"/>
                <a:gd name="connsiteY176" fmla="*/ 127470 h 141633"/>
                <a:gd name="connsiteX177" fmla="*/ 102291 w 137699"/>
                <a:gd name="connsiteY177" fmla="*/ 126290 h 141633"/>
                <a:gd name="connsiteX178" fmla="*/ 103079 w 137699"/>
                <a:gd name="connsiteY178" fmla="*/ 128257 h 141633"/>
                <a:gd name="connsiteX179" fmla="*/ 101504 w 137699"/>
                <a:gd name="connsiteY179" fmla="*/ 135339 h 141633"/>
                <a:gd name="connsiteX180" fmla="*/ 101898 w 137699"/>
                <a:gd name="connsiteY180" fmla="*/ 137699 h 141633"/>
                <a:gd name="connsiteX181" fmla="*/ 102685 w 137699"/>
                <a:gd name="connsiteY181" fmla="*/ 138879 h 141633"/>
                <a:gd name="connsiteX182" fmla="*/ 104652 w 137699"/>
                <a:gd name="connsiteY182" fmla="*/ 144388 h 141633"/>
                <a:gd name="connsiteX183" fmla="*/ 105046 w 137699"/>
                <a:gd name="connsiteY183" fmla="*/ 144388 h 141633"/>
                <a:gd name="connsiteX184" fmla="*/ 108192 w 137699"/>
                <a:gd name="connsiteY184" fmla="*/ 144388 h 141633"/>
                <a:gd name="connsiteX185" fmla="*/ 109373 w 137699"/>
                <a:gd name="connsiteY185" fmla="*/ 141633 h 141633"/>
                <a:gd name="connsiteX186" fmla="*/ 110947 w 137699"/>
                <a:gd name="connsiteY186" fmla="*/ 138486 h 141633"/>
                <a:gd name="connsiteX187" fmla="*/ 112914 w 137699"/>
                <a:gd name="connsiteY187" fmla="*/ 135339 h 141633"/>
                <a:gd name="connsiteX188" fmla="*/ 114881 w 137699"/>
                <a:gd name="connsiteY188" fmla="*/ 132585 h 141633"/>
                <a:gd name="connsiteX189" fmla="*/ 115668 w 137699"/>
                <a:gd name="connsiteY189" fmla="*/ 129437 h 141633"/>
                <a:gd name="connsiteX190" fmla="*/ 116061 w 137699"/>
                <a:gd name="connsiteY190" fmla="*/ 126683 h 141633"/>
                <a:gd name="connsiteX191" fmla="*/ 116061 w 137699"/>
                <a:gd name="connsiteY191" fmla="*/ 123929 h 141633"/>
                <a:gd name="connsiteX192" fmla="*/ 114881 w 137699"/>
                <a:gd name="connsiteY192" fmla="*/ 120782 h 141633"/>
                <a:gd name="connsiteX193" fmla="*/ 113701 w 137699"/>
                <a:gd name="connsiteY193" fmla="*/ 118028 h 141633"/>
                <a:gd name="connsiteX194" fmla="*/ 112127 w 137699"/>
                <a:gd name="connsiteY194" fmla="*/ 115274 h 141633"/>
                <a:gd name="connsiteX195" fmla="*/ 111340 w 137699"/>
                <a:gd name="connsiteY195" fmla="*/ 112127 h 141633"/>
                <a:gd name="connsiteX196" fmla="*/ 108192 w 137699"/>
                <a:gd name="connsiteY196" fmla="*/ 109372 h 141633"/>
                <a:gd name="connsiteX197" fmla="*/ 107013 w 137699"/>
                <a:gd name="connsiteY197" fmla="*/ 109372 h 141633"/>
                <a:gd name="connsiteX198" fmla="*/ 105046 w 137699"/>
                <a:gd name="connsiteY198" fmla="*/ 106225 h 141633"/>
                <a:gd name="connsiteX199" fmla="*/ 110947 w 137699"/>
                <a:gd name="connsiteY199" fmla="*/ 93635 h 141633"/>
                <a:gd name="connsiteX200" fmla="*/ 111734 w 137699"/>
                <a:gd name="connsiteY200" fmla="*/ 92849 h 141633"/>
                <a:gd name="connsiteX201" fmla="*/ 112127 w 137699"/>
                <a:gd name="connsiteY201" fmla="*/ 89701 h 141633"/>
                <a:gd name="connsiteX202" fmla="*/ 112914 w 137699"/>
                <a:gd name="connsiteY202" fmla="*/ 86947 h 141633"/>
                <a:gd name="connsiteX203" fmla="*/ 121176 w 137699"/>
                <a:gd name="connsiteY203" fmla="*/ 94029 h 141633"/>
                <a:gd name="connsiteX204" fmla="*/ 121962 w 137699"/>
                <a:gd name="connsiteY204" fmla="*/ 95603 h 141633"/>
                <a:gd name="connsiteX205" fmla="*/ 121962 w 137699"/>
                <a:gd name="connsiteY205" fmla="*/ 97570 h 141633"/>
                <a:gd name="connsiteX206" fmla="*/ 125110 w 137699"/>
                <a:gd name="connsiteY206" fmla="*/ 100324 h 141633"/>
                <a:gd name="connsiteX207" fmla="*/ 125896 w 137699"/>
                <a:gd name="connsiteY207" fmla="*/ 102684 h 141633"/>
                <a:gd name="connsiteX208" fmla="*/ 126290 w 137699"/>
                <a:gd name="connsiteY208" fmla="*/ 105438 h 141633"/>
                <a:gd name="connsiteX209" fmla="*/ 125896 w 137699"/>
                <a:gd name="connsiteY209" fmla="*/ 108192 h 141633"/>
                <a:gd name="connsiteX210" fmla="*/ 126290 w 137699"/>
                <a:gd name="connsiteY210" fmla="*/ 111340 h 141633"/>
                <a:gd name="connsiteX211" fmla="*/ 127471 w 137699"/>
                <a:gd name="connsiteY211" fmla="*/ 114094 h 141633"/>
                <a:gd name="connsiteX212" fmla="*/ 129438 w 137699"/>
                <a:gd name="connsiteY212" fmla="*/ 117241 h 141633"/>
                <a:gd name="connsiteX213" fmla="*/ 130225 w 137699"/>
                <a:gd name="connsiteY213" fmla="*/ 120389 h 141633"/>
                <a:gd name="connsiteX214" fmla="*/ 130225 w 137699"/>
                <a:gd name="connsiteY214" fmla="*/ 119995 h 141633"/>
                <a:gd name="connsiteX215" fmla="*/ 130618 w 137699"/>
                <a:gd name="connsiteY215" fmla="*/ 119208 h 141633"/>
                <a:gd name="connsiteX216" fmla="*/ 130618 w 137699"/>
                <a:gd name="connsiteY216" fmla="*/ 119208 h 141633"/>
                <a:gd name="connsiteX217" fmla="*/ 130225 w 137699"/>
                <a:gd name="connsiteY217" fmla="*/ 116061 h 141633"/>
                <a:gd name="connsiteX218" fmla="*/ 130618 w 137699"/>
                <a:gd name="connsiteY218" fmla="*/ 114881 h 141633"/>
                <a:gd name="connsiteX219" fmla="*/ 130618 w 137699"/>
                <a:gd name="connsiteY219" fmla="*/ 118815 h 141633"/>
                <a:gd name="connsiteX220" fmla="*/ 131011 w 137699"/>
                <a:gd name="connsiteY220" fmla="*/ 116061 h 141633"/>
                <a:gd name="connsiteX221" fmla="*/ 131011 w 137699"/>
                <a:gd name="connsiteY221" fmla="*/ 114881 h 141633"/>
                <a:gd name="connsiteX222" fmla="*/ 131011 w 137699"/>
                <a:gd name="connsiteY222" fmla="*/ 114487 h 141633"/>
                <a:gd name="connsiteX223" fmla="*/ 131011 w 137699"/>
                <a:gd name="connsiteY223" fmla="*/ 114094 h 141633"/>
                <a:gd name="connsiteX224" fmla="*/ 136520 w 137699"/>
                <a:gd name="connsiteY224" fmla="*/ 94029 h 141633"/>
                <a:gd name="connsiteX225" fmla="*/ 136913 w 137699"/>
                <a:gd name="connsiteY225" fmla="*/ 93635 h 141633"/>
                <a:gd name="connsiteX226" fmla="*/ 138487 w 137699"/>
                <a:gd name="connsiteY226" fmla="*/ 90882 h 141633"/>
                <a:gd name="connsiteX227" fmla="*/ 139274 w 137699"/>
                <a:gd name="connsiteY227" fmla="*/ 87734 h 141633"/>
                <a:gd name="connsiteX228" fmla="*/ 138880 w 137699"/>
                <a:gd name="connsiteY228" fmla="*/ 84980 h 141633"/>
                <a:gd name="connsiteX229" fmla="*/ 138880 w 137699"/>
                <a:gd name="connsiteY229" fmla="*/ 83013 h 14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</a:cxnLst>
              <a:rect l="l" t="t" r="r" b="b"/>
              <a:pathLst>
                <a:path w="137699" h="141633">
                  <a:moveTo>
                    <a:pt x="140060" y="80259"/>
                  </a:moveTo>
                  <a:lnTo>
                    <a:pt x="139274" y="77505"/>
                  </a:lnTo>
                  <a:lnTo>
                    <a:pt x="138487" y="74358"/>
                  </a:lnTo>
                  <a:lnTo>
                    <a:pt x="138093" y="70817"/>
                  </a:lnTo>
                  <a:lnTo>
                    <a:pt x="134945" y="68456"/>
                  </a:lnTo>
                  <a:lnTo>
                    <a:pt x="131798" y="64522"/>
                  </a:lnTo>
                  <a:lnTo>
                    <a:pt x="132978" y="63735"/>
                  </a:lnTo>
                  <a:lnTo>
                    <a:pt x="132585" y="65309"/>
                  </a:lnTo>
                  <a:lnTo>
                    <a:pt x="134553" y="62555"/>
                  </a:lnTo>
                  <a:lnTo>
                    <a:pt x="134159" y="59408"/>
                  </a:lnTo>
                  <a:lnTo>
                    <a:pt x="134159" y="56653"/>
                  </a:lnTo>
                  <a:lnTo>
                    <a:pt x="134553" y="53899"/>
                  </a:lnTo>
                  <a:lnTo>
                    <a:pt x="133765" y="59014"/>
                  </a:lnTo>
                  <a:lnTo>
                    <a:pt x="133765" y="57440"/>
                  </a:lnTo>
                  <a:lnTo>
                    <a:pt x="133765" y="54686"/>
                  </a:lnTo>
                  <a:lnTo>
                    <a:pt x="132585" y="53899"/>
                  </a:lnTo>
                  <a:lnTo>
                    <a:pt x="129438" y="54686"/>
                  </a:lnTo>
                  <a:lnTo>
                    <a:pt x="131405" y="52326"/>
                  </a:lnTo>
                  <a:lnTo>
                    <a:pt x="130225" y="49572"/>
                  </a:lnTo>
                  <a:lnTo>
                    <a:pt x="130618" y="46424"/>
                  </a:lnTo>
                  <a:lnTo>
                    <a:pt x="129044" y="43277"/>
                  </a:lnTo>
                  <a:lnTo>
                    <a:pt x="126290" y="44064"/>
                  </a:lnTo>
                  <a:lnTo>
                    <a:pt x="123536" y="43277"/>
                  </a:lnTo>
                  <a:lnTo>
                    <a:pt x="121962" y="40130"/>
                  </a:lnTo>
                  <a:lnTo>
                    <a:pt x="123143" y="39343"/>
                  </a:lnTo>
                  <a:lnTo>
                    <a:pt x="125896" y="37769"/>
                  </a:lnTo>
                  <a:lnTo>
                    <a:pt x="127864" y="35015"/>
                  </a:lnTo>
                  <a:lnTo>
                    <a:pt x="128257" y="32261"/>
                  </a:lnTo>
                  <a:lnTo>
                    <a:pt x="127471" y="29114"/>
                  </a:lnTo>
                  <a:lnTo>
                    <a:pt x="124717" y="28327"/>
                  </a:lnTo>
                  <a:lnTo>
                    <a:pt x="123536" y="25179"/>
                  </a:lnTo>
                  <a:lnTo>
                    <a:pt x="123929" y="17311"/>
                  </a:lnTo>
                  <a:lnTo>
                    <a:pt x="123536" y="16917"/>
                  </a:lnTo>
                  <a:lnTo>
                    <a:pt x="122750" y="16917"/>
                  </a:lnTo>
                  <a:lnTo>
                    <a:pt x="119995" y="19278"/>
                  </a:lnTo>
                  <a:lnTo>
                    <a:pt x="118028" y="18491"/>
                  </a:lnTo>
                  <a:lnTo>
                    <a:pt x="117635" y="17704"/>
                  </a:lnTo>
                  <a:lnTo>
                    <a:pt x="114881" y="11016"/>
                  </a:lnTo>
                  <a:lnTo>
                    <a:pt x="112520" y="9049"/>
                  </a:lnTo>
                  <a:lnTo>
                    <a:pt x="109767" y="8655"/>
                  </a:lnTo>
                  <a:lnTo>
                    <a:pt x="106619" y="7082"/>
                  </a:lnTo>
                  <a:lnTo>
                    <a:pt x="104258" y="4328"/>
                  </a:lnTo>
                  <a:lnTo>
                    <a:pt x="101898" y="1574"/>
                  </a:lnTo>
                  <a:lnTo>
                    <a:pt x="99144" y="0"/>
                  </a:lnTo>
                  <a:lnTo>
                    <a:pt x="98357" y="2754"/>
                  </a:lnTo>
                  <a:lnTo>
                    <a:pt x="98750" y="5901"/>
                  </a:lnTo>
                  <a:lnTo>
                    <a:pt x="99931" y="9442"/>
                  </a:lnTo>
                  <a:lnTo>
                    <a:pt x="101111" y="12590"/>
                  </a:lnTo>
                  <a:lnTo>
                    <a:pt x="101111" y="12590"/>
                  </a:lnTo>
                  <a:lnTo>
                    <a:pt x="101898" y="15737"/>
                  </a:lnTo>
                  <a:lnTo>
                    <a:pt x="101111" y="12590"/>
                  </a:lnTo>
                  <a:lnTo>
                    <a:pt x="103865" y="22032"/>
                  </a:lnTo>
                  <a:lnTo>
                    <a:pt x="104258" y="27540"/>
                  </a:lnTo>
                  <a:lnTo>
                    <a:pt x="94030" y="24392"/>
                  </a:lnTo>
                  <a:lnTo>
                    <a:pt x="89701" y="31474"/>
                  </a:lnTo>
                  <a:lnTo>
                    <a:pt x="87734" y="29114"/>
                  </a:lnTo>
                  <a:lnTo>
                    <a:pt x="84587" y="27147"/>
                  </a:lnTo>
                  <a:lnTo>
                    <a:pt x="81833" y="28327"/>
                  </a:lnTo>
                  <a:lnTo>
                    <a:pt x="82227" y="31081"/>
                  </a:lnTo>
                  <a:lnTo>
                    <a:pt x="82620" y="34228"/>
                  </a:lnTo>
                  <a:lnTo>
                    <a:pt x="81833" y="37376"/>
                  </a:lnTo>
                  <a:lnTo>
                    <a:pt x="82227" y="40130"/>
                  </a:lnTo>
                  <a:lnTo>
                    <a:pt x="81833" y="42884"/>
                  </a:lnTo>
                  <a:lnTo>
                    <a:pt x="79473" y="44851"/>
                  </a:lnTo>
                  <a:lnTo>
                    <a:pt x="79079" y="44457"/>
                  </a:lnTo>
                  <a:lnTo>
                    <a:pt x="76325" y="43277"/>
                  </a:lnTo>
                  <a:lnTo>
                    <a:pt x="73572" y="40523"/>
                  </a:lnTo>
                  <a:lnTo>
                    <a:pt x="70424" y="41703"/>
                  </a:lnTo>
                  <a:lnTo>
                    <a:pt x="68457" y="44851"/>
                  </a:lnTo>
                  <a:lnTo>
                    <a:pt x="68457" y="47605"/>
                  </a:lnTo>
                  <a:lnTo>
                    <a:pt x="67670" y="50359"/>
                  </a:lnTo>
                  <a:lnTo>
                    <a:pt x="67670" y="53113"/>
                  </a:lnTo>
                  <a:lnTo>
                    <a:pt x="65703" y="55080"/>
                  </a:lnTo>
                  <a:lnTo>
                    <a:pt x="63342" y="55080"/>
                  </a:lnTo>
                  <a:lnTo>
                    <a:pt x="60588" y="55473"/>
                  </a:lnTo>
                  <a:lnTo>
                    <a:pt x="57441" y="57440"/>
                  </a:lnTo>
                  <a:lnTo>
                    <a:pt x="54293" y="59801"/>
                  </a:lnTo>
                  <a:lnTo>
                    <a:pt x="51539" y="62555"/>
                  </a:lnTo>
                  <a:lnTo>
                    <a:pt x="50359" y="62555"/>
                  </a:lnTo>
                  <a:lnTo>
                    <a:pt x="50359" y="61375"/>
                  </a:lnTo>
                  <a:lnTo>
                    <a:pt x="53900" y="59408"/>
                  </a:lnTo>
                  <a:lnTo>
                    <a:pt x="53900" y="59014"/>
                  </a:lnTo>
                  <a:lnTo>
                    <a:pt x="56654" y="56260"/>
                  </a:lnTo>
                  <a:lnTo>
                    <a:pt x="55867" y="53506"/>
                  </a:lnTo>
                  <a:lnTo>
                    <a:pt x="55474" y="51145"/>
                  </a:lnTo>
                  <a:lnTo>
                    <a:pt x="55474" y="48391"/>
                  </a:lnTo>
                  <a:lnTo>
                    <a:pt x="54293" y="45244"/>
                  </a:lnTo>
                  <a:lnTo>
                    <a:pt x="52326" y="42490"/>
                  </a:lnTo>
                  <a:lnTo>
                    <a:pt x="49178" y="39736"/>
                  </a:lnTo>
                  <a:lnTo>
                    <a:pt x="45638" y="40523"/>
                  </a:lnTo>
                  <a:lnTo>
                    <a:pt x="44065" y="37376"/>
                  </a:lnTo>
                  <a:lnTo>
                    <a:pt x="41310" y="36982"/>
                  </a:lnTo>
                  <a:lnTo>
                    <a:pt x="41704" y="39343"/>
                  </a:lnTo>
                  <a:lnTo>
                    <a:pt x="39736" y="40523"/>
                  </a:lnTo>
                  <a:lnTo>
                    <a:pt x="37769" y="43670"/>
                  </a:lnTo>
                  <a:lnTo>
                    <a:pt x="35802" y="43277"/>
                  </a:lnTo>
                  <a:lnTo>
                    <a:pt x="33048" y="43670"/>
                  </a:lnTo>
                  <a:lnTo>
                    <a:pt x="30295" y="46424"/>
                  </a:lnTo>
                  <a:lnTo>
                    <a:pt x="29901" y="49572"/>
                  </a:lnTo>
                  <a:lnTo>
                    <a:pt x="29114" y="52326"/>
                  </a:lnTo>
                  <a:lnTo>
                    <a:pt x="30295" y="54293"/>
                  </a:lnTo>
                  <a:lnTo>
                    <a:pt x="14950" y="59014"/>
                  </a:lnTo>
                  <a:lnTo>
                    <a:pt x="11016" y="60588"/>
                  </a:lnTo>
                  <a:lnTo>
                    <a:pt x="9049" y="61768"/>
                  </a:lnTo>
                  <a:lnTo>
                    <a:pt x="7869" y="62948"/>
                  </a:lnTo>
                  <a:lnTo>
                    <a:pt x="6295" y="65702"/>
                  </a:lnTo>
                  <a:lnTo>
                    <a:pt x="4328" y="68850"/>
                  </a:lnTo>
                  <a:lnTo>
                    <a:pt x="5115" y="71604"/>
                  </a:lnTo>
                  <a:lnTo>
                    <a:pt x="0" y="90488"/>
                  </a:lnTo>
                  <a:lnTo>
                    <a:pt x="0" y="91275"/>
                  </a:lnTo>
                  <a:lnTo>
                    <a:pt x="394" y="94029"/>
                  </a:lnTo>
                  <a:lnTo>
                    <a:pt x="2755" y="97570"/>
                  </a:lnTo>
                  <a:lnTo>
                    <a:pt x="5509" y="99143"/>
                  </a:lnTo>
                  <a:lnTo>
                    <a:pt x="8656" y="97176"/>
                  </a:lnTo>
                  <a:lnTo>
                    <a:pt x="9049" y="93635"/>
                  </a:lnTo>
                  <a:lnTo>
                    <a:pt x="10229" y="90882"/>
                  </a:lnTo>
                  <a:lnTo>
                    <a:pt x="10623" y="90488"/>
                  </a:lnTo>
                  <a:lnTo>
                    <a:pt x="10623" y="90488"/>
                  </a:lnTo>
                  <a:lnTo>
                    <a:pt x="25573" y="71997"/>
                  </a:lnTo>
                  <a:lnTo>
                    <a:pt x="25573" y="73964"/>
                  </a:lnTo>
                  <a:lnTo>
                    <a:pt x="25967" y="77112"/>
                  </a:lnTo>
                  <a:lnTo>
                    <a:pt x="25967" y="77505"/>
                  </a:lnTo>
                  <a:lnTo>
                    <a:pt x="25180" y="79865"/>
                  </a:lnTo>
                  <a:lnTo>
                    <a:pt x="25573" y="81833"/>
                  </a:lnTo>
                  <a:lnTo>
                    <a:pt x="25967" y="77505"/>
                  </a:lnTo>
                  <a:lnTo>
                    <a:pt x="27934" y="80259"/>
                  </a:lnTo>
                  <a:lnTo>
                    <a:pt x="29114" y="77112"/>
                  </a:lnTo>
                  <a:lnTo>
                    <a:pt x="31868" y="80259"/>
                  </a:lnTo>
                  <a:lnTo>
                    <a:pt x="32655" y="77112"/>
                  </a:lnTo>
                  <a:lnTo>
                    <a:pt x="36983" y="73964"/>
                  </a:lnTo>
                  <a:lnTo>
                    <a:pt x="37376" y="74751"/>
                  </a:lnTo>
                  <a:lnTo>
                    <a:pt x="35408" y="77898"/>
                  </a:lnTo>
                  <a:lnTo>
                    <a:pt x="38163" y="77898"/>
                  </a:lnTo>
                  <a:lnTo>
                    <a:pt x="40917" y="78685"/>
                  </a:lnTo>
                  <a:lnTo>
                    <a:pt x="42097" y="81833"/>
                  </a:lnTo>
                  <a:lnTo>
                    <a:pt x="45244" y="81833"/>
                  </a:lnTo>
                  <a:lnTo>
                    <a:pt x="43671" y="78685"/>
                  </a:lnTo>
                  <a:lnTo>
                    <a:pt x="42884" y="75931"/>
                  </a:lnTo>
                  <a:lnTo>
                    <a:pt x="45638" y="73571"/>
                  </a:lnTo>
                  <a:lnTo>
                    <a:pt x="45638" y="74751"/>
                  </a:lnTo>
                  <a:lnTo>
                    <a:pt x="46032" y="74751"/>
                  </a:lnTo>
                  <a:lnTo>
                    <a:pt x="46425" y="71604"/>
                  </a:lnTo>
                  <a:lnTo>
                    <a:pt x="45638" y="69637"/>
                  </a:lnTo>
                  <a:lnTo>
                    <a:pt x="46425" y="67276"/>
                  </a:lnTo>
                  <a:lnTo>
                    <a:pt x="49572" y="67669"/>
                  </a:lnTo>
                  <a:lnTo>
                    <a:pt x="53506" y="69637"/>
                  </a:lnTo>
                  <a:lnTo>
                    <a:pt x="54293" y="71210"/>
                  </a:lnTo>
                  <a:lnTo>
                    <a:pt x="57441" y="71997"/>
                  </a:lnTo>
                  <a:lnTo>
                    <a:pt x="57441" y="71997"/>
                  </a:lnTo>
                  <a:lnTo>
                    <a:pt x="60194" y="72784"/>
                  </a:lnTo>
                  <a:lnTo>
                    <a:pt x="57441" y="71997"/>
                  </a:lnTo>
                  <a:lnTo>
                    <a:pt x="68850" y="86947"/>
                  </a:lnTo>
                  <a:lnTo>
                    <a:pt x="67670" y="88914"/>
                  </a:lnTo>
                  <a:lnTo>
                    <a:pt x="66490" y="90095"/>
                  </a:lnTo>
                  <a:lnTo>
                    <a:pt x="63736" y="93242"/>
                  </a:lnTo>
                  <a:lnTo>
                    <a:pt x="62555" y="95996"/>
                  </a:lnTo>
                  <a:lnTo>
                    <a:pt x="61769" y="99143"/>
                  </a:lnTo>
                  <a:lnTo>
                    <a:pt x="61769" y="101898"/>
                  </a:lnTo>
                  <a:lnTo>
                    <a:pt x="64523" y="103865"/>
                  </a:lnTo>
                  <a:lnTo>
                    <a:pt x="64129" y="105045"/>
                  </a:lnTo>
                  <a:lnTo>
                    <a:pt x="64915" y="107405"/>
                  </a:lnTo>
                  <a:lnTo>
                    <a:pt x="64915" y="113307"/>
                  </a:lnTo>
                  <a:lnTo>
                    <a:pt x="66490" y="116454"/>
                  </a:lnTo>
                  <a:lnTo>
                    <a:pt x="68063" y="119208"/>
                  </a:lnTo>
                  <a:lnTo>
                    <a:pt x="70030" y="122356"/>
                  </a:lnTo>
                  <a:lnTo>
                    <a:pt x="72784" y="124323"/>
                  </a:lnTo>
                  <a:lnTo>
                    <a:pt x="75539" y="125503"/>
                  </a:lnTo>
                  <a:lnTo>
                    <a:pt x="76718" y="126290"/>
                  </a:lnTo>
                  <a:lnTo>
                    <a:pt x="79866" y="128257"/>
                  </a:lnTo>
                  <a:lnTo>
                    <a:pt x="82620" y="129437"/>
                  </a:lnTo>
                  <a:lnTo>
                    <a:pt x="85767" y="131404"/>
                  </a:lnTo>
                  <a:lnTo>
                    <a:pt x="88915" y="132585"/>
                  </a:lnTo>
                  <a:lnTo>
                    <a:pt x="92062" y="134159"/>
                  </a:lnTo>
                  <a:lnTo>
                    <a:pt x="94816" y="134552"/>
                  </a:lnTo>
                  <a:lnTo>
                    <a:pt x="97570" y="133372"/>
                  </a:lnTo>
                  <a:lnTo>
                    <a:pt x="98750" y="130224"/>
                  </a:lnTo>
                  <a:lnTo>
                    <a:pt x="99144" y="127470"/>
                  </a:lnTo>
                  <a:lnTo>
                    <a:pt x="102291" y="126290"/>
                  </a:lnTo>
                  <a:lnTo>
                    <a:pt x="103079" y="128257"/>
                  </a:lnTo>
                  <a:lnTo>
                    <a:pt x="101504" y="135339"/>
                  </a:lnTo>
                  <a:lnTo>
                    <a:pt x="101898" y="137699"/>
                  </a:lnTo>
                  <a:lnTo>
                    <a:pt x="102685" y="138879"/>
                  </a:lnTo>
                  <a:lnTo>
                    <a:pt x="104652" y="144388"/>
                  </a:lnTo>
                  <a:lnTo>
                    <a:pt x="105046" y="144388"/>
                  </a:lnTo>
                  <a:lnTo>
                    <a:pt x="108192" y="144388"/>
                  </a:lnTo>
                  <a:lnTo>
                    <a:pt x="109373" y="141633"/>
                  </a:lnTo>
                  <a:lnTo>
                    <a:pt x="110947" y="138486"/>
                  </a:lnTo>
                  <a:lnTo>
                    <a:pt x="112914" y="135339"/>
                  </a:lnTo>
                  <a:lnTo>
                    <a:pt x="114881" y="132585"/>
                  </a:lnTo>
                  <a:lnTo>
                    <a:pt x="115668" y="129437"/>
                  </a:lnTo>
                  <a:lnTo>
                    <a:pt x="116061" y="126683"/>
                  </a:lnTo>
                  <a:lnTo>
                    <a:pt x="116061" y="123929"/>
                  </a:lnTo>
                  <a:lnTo>
                    <a:pt x="114881" y="120782"/>
                  </a:lnTo>
                  <a:lnTo>
                    <a:pt x="113701" y="118028"/>
                  </a:lnTo>
                  <a:lnTo>
                    <a:pt x="112127" y="115274"/>
                  </a:lnTo>
                  <a:lnTo>
                    <a:pt x="111340" y="112127"/>
                  </a:lnTo>
                  <a:lnTo>
                    <a:pt x="108192" y="109372"/>
                  </a:lnTo>
                  <a:lnTo>
                    <a:pt x="107013" y="109372"/>
                  </a:lnTo>
                  <a:lnTo>
                    <a:pt x="105046" y="106225"/>
                  </a:lnTo>
                  <a:lnTo>
                    <a:pt x="110947" y="93635"/>
                  </a:lnTo>
                  <a:lnTo>
                    <a:pt x="111734" y="92849"/>
                  </a:lnTo>
                  <a:lnTo>
                    <a:pt x="112127" y="89701"/>
                  </a:lnTo>
                  <a:lnTo>
                    <a:pt x="112914" y="86947"/>
                  </a:lnTo>
                  <a:lnTo>
                    <a:pt x="121176" y="94029"/>
                  </a:lnTo>
                  <a:lnTo>
                    <a:pt x="121962" y="95603"/>
                  </a:lnTo>
                  <a:lnTo>
                    <a:pt x="121962" y="97570"/>
                  </a:lnTo>
                  <a:lnTo>
                    <a:pt x="125110" y="100324"/>
                  </a:lnTo>
                  <a:lnTo>
                    <a:pt x="125896" y="102684"/>
                  </a:lnTo>
                  <a:lnTo>
                    <a:pt x="126290" y="105438"/>
                  </a:lnTo>
                  <a:lnTo>
                    <a:pt x="125896" y="108192"/>
                  </a:lnTo>
                  <a:lnTo>
                    <a:pt x="126290" y="111340"/>
                  </a:lnTo>
                  <a:lnTo>
                    <a:pt x="127471" y="114094"/>
                  </a:lnTo>
                  <a:lnTo>
                    <a:pt x="129438" y="117241"/>
                  </a:lnTo>
                  <a:lnTo>
                    <a:pt x="130225" y="120389"/>
                  </a:lnTo>
                  <a:lnTo>
                    <a:pt x="130225" y="119995"/>
                  </a:lnTo>
                  <a:lnTo>
                    <a:pt x="130618" y="119208"/>
                  </a:lnTo>
                  <a:lnTo>
                    <a:pt x="130618" y="119208"/>
                  </a:lnTo>
                  <a:lnTo>
                    <a:pt x="130225" y="116061"/>
                  </a:lnTo>
                  <a:lnTo>
                    <a:pt x="130618" y="114881"/>
                  </a:lnTo>
                  <a:lnTo>
                    <a:pt x="130618" y="118815"/>
                  </a:lnTo>
                  <a:lnTo>
                    <a:pt x="131011" y="116061"/>
                  </a:lnTo>
                  <a:lnTo>
                    <a:pt x="131011" y="114881"/>
                  </a:lnTo>
                  <a:lnTo>
                    <a:pt x="131011" y="114487"/>
                  </a:lnTo>
                  <a:lnTo>
                    <a:pt x="131011" y="114094"/>
                  </a:lnTo>
                  <a:lnTo>
                    <a:pt x="136520" y="94029"/>
                  </a:lnTo>
                  <a:lnTo>
                    <a:pt x="136913" y="93635"/>
                  </a:lnTo>
                  <a:lnTo>
                    <a:pt x="138487" y="90882"/>
                  </a:lnTo>
                  <a:lnTo>
                    <a:pt x="139274" y="87734"/>
                  </a:lnTo>
                  <a:lnTo>
                    <a:pt x="138880" y="84980"/>
                  </a:lnTo>
                  <a:lnTo>
                    <a:pt x="138880" y="8301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34" name="Freeform: Shape 3828">
              <a:extLst>
                <a:ext uri="{FF2B5EF4-FFF2-40B4-BE49-F238E27FC236}">
                  <a16:creationId xmlns:a16="http://schemas.microsoft.com/office/drawing/2014/main" id="{C0439555-B343-4098-81CA-1887FA59AF2B}"/>
                </a:ext>
              </a:extLst>
            </p:cNvPr>
            <p:cNvSpPr/>
            <p:nvPr/>
          </p:nvSpPr>
          <p:spPr>
            <a:xfrm>
              <a:off x="9748965" y="3379470"/>
              <a:ext cx="23606" cy="19671"/>
            </a:xfrm>
            <a:custGeom>
              <a:avLst/>
              <a:gdLst>
                <a:gd name="connsiteX0" fmla="*/ 19278 w 23605"/>
                <a:gd name="connsiteY0" fmla="*/ 17311 h 19671"/>
                <a:gd name="connsiteX1" fmla="*/ 21245 w 23605"/>
                <a:gd name="connsiteY1" fmla="*/ 14557 h 19671"/>
                <a:gd name="connsiteX2" fmla="*/ 23999 w 23605"/>
                <a:gd name="connsiteY2" fmla="*/ 14950 h 19671"/>
                <a:gd name="connsiteX3" fmla="*/ 23606 w 23605"/>
                <a:gd name="connsiteY3" fmla="*/ 12196 h 19671"/>
                <a:gd name="connsiteX4" fmla="*/ 23606 w 23605"/>
                <a:gd name="connsiteY4" fmla="*/ 9049 h 19671"/>
                <a:gd name="connsiteX5" fmla="*/ 23212 w 23605"/>
                <a:gd name="connsiteY5" fmla="*/ 5901 h 19671"/>
                <a:gd name="connsiteX6" fmla="*/ 23212 w 23605"/>
                <a:gd name="connsiteY6" fmla="*/ 5901 h 19671"/>
                <a:gd name="connsiteX7" fmla="*/ 20065 w 23605"/>
                <a:gd name="connsiteY7" fmla="*/ 3934 h 19671"/>
                <a:gd name="connsiteX8" fmla="*/ 17310 w 23605"/>
                <a:gd name="connsiteY8" fmla="*/ 1180 h 19671"/>
                <a:gd name="connsiteX9" fmla="*/ 14557 w 23605"/>
                <a:gd name="connsiteY9" fmla="*/ 0 h 19671"/>
                <a:gd name="connsiteX10" fmla="*/ 11409 w 23605"/>
                <a:gd name="connsiteY10" fmla="*/ 787 h 19671"/>
                <a:gd name="connsiteX11" fmla="*/ 9049 w 23605"/>
                <a:gd name="connsiteY11" fmla="*/ 3541 h 19671"/>
                <a:gd name="connsiteX12" fmla="*/ 7869 w 23605"/>
                <a:gd name="connsiteY12" fmla="*/ 3541 h 19671"/>
                <a:gd name="connsiteX13" fmla="*/ 7475 w 23605"/>
                <a:gd name="connsiteY13" fmla="*/ 5901 h 19671"/>
                <a:gd name="connsiteX14" fmla="*/ 4721 w 23605"/>
                <a:gd name="connsiteY14" fmla="*/ 7869 h 19671"/>
                <a:gd name="connsiteX15" fmla="*/ 1573 w 23605"/>
                <a:gd name="connsiteY15" fmla="*/ 9836 h 19671"/>
                <a:gd name="connsiteX16" fmla="*/ 394 w 23605"/>
                <a:gd name="connsiteY16" fmla="*/ 12983 h 19671"/>
                <a:gd name="connsiteX17" fmla="*/ 2754 w 23605"/>
                <a:gd name="connsiteY17" fmla="*/ 15343 h 19671"/>
                <a:gd name="connsiteX18" fmla="*/ 3148 w 23605"/>
                <a:gd name="connsiteY18" fmla="*/ 18098 h 19671"/>
                <a:gd name="connsiteX19" fmla="*/ 4721 w 23605"/>
                <a:gd name="connsiteY19" fmla="*/ 18884 h 19671"/>
                <a:gd name="connsiteX20" fmla="*/ 2754 w 23605"/>
                <a:gd name="connsiteY20" fmla="*/ 18884 h 19671"/>
                <a:gd name="connsiteX21" fmla="*/ 2754 w 23605"/>
                <a:gd name="connsiteY21" fmla="*/ 18491 h 19671"/>
                <a:gd name="connsiteX22" fmla="*/ 2361 w 23605"/>
                <a:gd name="connsiteY22" fmla="*/ 18491 h 19671"/>
                <a:gd name="connsiteX23" fmla="*/ 0 w 23605"/>
                <a:gd name="connsiteY23" fmla="*/ 18491 h 19671"/>
                <a:gd name="connsiteX24" fmla="*/ 0 w 23605"/>
                <a:gd name="connsiteY24" fmla="*/ 18884 h 19671"/>
                <a:gd name="connsiteX25" fmla="*/ 0 w 23605"/>
                <a:gd name="connsiteY25" fmla="*/ 19278 h 19671"/>
                <a:gd name="connsiteX26" fmla="*/ 0 w 23605"/>
                <a:gd name="connsiteY26" fmla="*/ 21245 h 19671"/>
                <a:gd name="connsiteX27" fmla="*/ 394 w 23605"/>
                <a:gd name="connsiteY27" fmla="*/ 21245 h 19671"/>
                <a:gd name="connsiteX28" fmla="*/ 787 w 23605"/>
                <a:gd name="connsiteY28" fmla="*/ 21245 h 19671"/>
                <a:gd name="connsiteX29" fmla="*/ 1967 w 23605"/>
                <a:gd name="connsiteY29" fmla="*/ 20458 h 19671"/>
                <a:gd name="connsiteX30" fmla="*/ 3148 w 23605"/>
                <a:gd name="connsiteY30" fmla="*/ 19671 h 19671"/>
                <a:gd name="connsiteX31" fmla="*/ 3148 w 23605"/>
                <a:gd name="connsiteY31" fmla="*/ 19278 h 19671"/>
                <a:gd name="connsiteX32" fmla="*/ 3540 w 23605"/>
                <a:gd name="connsiteY32" fmla="*/ 19278 h 19671"/>
                <a:gd name="connsiteX33" fmla="*/ 6295 w 23605"/>
                <a:gd name="connsiteY33" fmla="*/ 19671 h 19671"/>
                <a:gd name="connsiteX34" fmla="*/ 9836 w 23605"/>
                <a:gd name="connsiteY34" fmla="*/ 20065 h 19671"/>
                <a:gd name="connsiteX35" fmla="*/ 12589 w 23605"/>
                <a:gd name="connsiteY35" fmla="*/ 19278 h 19671"/>
                <a:gd name="connsiteX36" fmla="*/ 13376 w 23605"/>
                <a:gd name="connsiteY36" fmla="*/ 19278 h 19671"/>
                <a:gd name="connsiteX37" fmla="*/ 16131 w 23605"/>
                <a:gd name="connsiteY37" fmla="*/ 19278 h 19671"/>
                <a:gd name="connsiteX38" fmla="*/ 14164 w 23605"/>
                <a:gd name="connsiteY38" fmla="*/ 19278 h 19671"/>
                <a:gd name="connsiteX39" fmla="*/ 16524 w 23605"/>
                <a:gd name="connsiteY39" fmla="*/ 19278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3605" h="19671">
                  <a:moveTo>
                    <a:pt x="19278" y="17311"/>
                  </a:moveTo>
                  <a:lnTo>
                    <a:pt x="21245" y="14557"/>
                  </a:lnTo>
                  <a:lnTo>
                    <a:pt x="23999" y="14950"/>
                  </a:lnTo>
                  <a:lnTo>
                    <a:pt x="23606" y="12196"/>
                  </a:lnTo>
                  <a:lnTo>
                    <a:pt x="23606" y="9049"/>
                  </a:lnTo>
                  <a:lnTo>
                    <a:pt x="23212" y="5901"/>
                  </a:lnTo>
                  <a:lnTo>
                    <a:pt x="23212" y="5901"/>
                  </a:lnTo>
                  <a:lnTo>
                    <a:pt x="20065" y="3934"/>
                  </a:lnTo>
                  <a:lnTo>
                    <a:pt x="17310" y="1180"/>
                  </a:lnTo>
                  <a:lnTo>
                    <a:pt x="14557" y="0"/>
                  </a:lnTo>
                  <a:lnTo>
                    <a:pt x="11409" y="787"/>
                  </a:lnTo>
                  <a:lnTo>
                    <a:pt x="9049" y="3541"/>
                  </a:lnTo>
                  <a:lnTo>
                    <a:pt x="7869" y="3541"/>
                  </a:lnTo>
                  <a:lnTo>
                    <a:pt x="7475" y="5901"/>
                  </a:lnTo>
                  <a:lnTo>
                    <a:pt x="4721" y="7869"/>
                  </a:lnTo>
                  <a:lnTo>
                    <a:pt x="1573" y="9836"/>
                  </a:lnTo>
                  <a:lnTo>
                    <a:pt x="394" y="12983"/>
                  </a:lnTo>
                  <a:lnTo>
                    <a:pt x="2754" y="15343"/>
                  </a:lnTo>
                  <a:lnTo>
                    <a:pt x="3148" y="18098"/>
                  </a:lnTo>
                  <a:lnTo>
                    <a:pt x="4721" y="18884"/>
                  </a:lnTo>
                  <a:lnTo>
                    <a:pt x="2754" y="18884"/>
                  </a:lnTo>
                  <a:lnTo>
                    <a:pt x="2754" y="18491"/>
                  </a:lnTo>
                  <a:lnTo>
                    <a:pt x="2361" y="18491"/>
                  </a:lnTo>
                  <a:lnTo>
                    <a:pt x="0" y="18491"/>
                  </a:lnTo>
                  <a:lnTo>
                    <a:pt x="0" y="18884"/>
                  </a:lnTo>
                  <a:lnTo>
                    <a:pt x="0" y="19278"/>
                  </a:lnTo>
                  <a:lnTo>
                    <a:pt x="0" y="21245"/>
                  </a:lnTo>
                  <a:lnTo>
                    <a:pt x="394" y="21245"/>
                  </a:lnTo>
                  <a:lnTo>
                    <a:pt x="787" y="21245"/>
                  </a:lnTo>
                  <a:lnTo>
                    <a:pt x="1967" y="20458"/>
                  </a:lnTo>
                  <a:lnTo>
                    <a:pt x="3148" y="19671"/>
                  </a:lnTo>
                  <a:lnTo>
                    <a:pt x="3148" y="19278"/>
                  </a:lnTo>
                  <a:lnTo>
                    <a:pt x="3540" y="19278"/>
                  </a:lnTo>
                  <a:lnTo>
                    <a:pt x="6295" y="19671"/>
                  </a:lnTo>
                  <a:lnTo>
                    <a:pt x="9836" y="20065"/>
                  </a:lnTo>
                  <a:lnTo>
                    <a:pt x="12589" y="19278"/>
                  </a:lnTo>
                  <a:lnTo>
                    <a:pt x="13376" y="19278"/>
                  </a:lnTo>
                  <a:lnTo>
                    <a:pt x="16131" y="19278"/>
                  </a:lnTo>
                  <a:lnTo>
                    <a:pt x="14164" y="19278"/>
                  </a:lnTo>
                  <a:lnTo>
                    <a:pt x="16524" y="1927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35" name="Freeform: Shape 3829">
              <a:extLst>
                <a:ext uri="{FF2B5EF4-FFF2-40B4-BE49-F238E27FC236}">
                  <a16:creationId xmlns:a16="http://schemas.microsoft.com/office/drawing/2014/main" id="{64B921D2-406E-41A6-963D-B72150C4F037}"/>
                </a:ext>
              </a:extLst>
            </p:cNvPr>
            <p:cNvSpPr/>
            <p:nvPr/>
          </p:nvSpPr>
          <p:spPr>
            <a:xfrm>
              <a:off x="9873288" y="3722538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0 w 0"/>
                <a:gd name="connsiteY1" fmla="*/ 0 h 0"/>
                <a:gd name="connsiteX2" fmla="*/ 78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0" y="0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36" name="Freeform: Shape 3830">
              <a:extLst>
                <a:ext uri="{FF2B5EF4-FFF2-40B4-BE49-F238E27FC236}">
                  <a16:creationId xmlns:a16="http://schemas.microsoft.com/office/drawing/2014/main" id="{7B08CCF6-DD5B-4258-9123-A9D3E4AC3269}"/>
                </a:ext>
              </a:extLst>
            </p:cNvPr>
            <p:cNvSpPr/>
            <p:nvPr/>
          </p:nvSpPr>
          <p:spPr>
            <a:xfrm>
              <a:off x="9707261" y="3351537"/>
              <a:ext cx="31474" cy="62948"/>
            </a:xfrm>
            <a:custGeom>
              <a:avLst/>
              <a:gdLst>
                <a:gd name="connsiteX0" fmla="*/ 20065 w 31474"/>
                <a:gd name="connsiteY0" fmla="*/ 66096 h 62948"/>
                <a:gd name="connsiteX1" fmla="*/ 21246 w 31474"/>
                <a:gd name="connsiteY1" fmla="*/ 66489 h 62948"/>
                <a:gd name="connsiteX2" fmla="*/ 24393 w 31474"/>
                <a:gd name="connsiteY2" fmla="*/ 66489 h 62948"/>
                <a:gd name="connsiteX3" fmla="*/ 26753 w 31474"/>
                <a:gd name="connsiteY3" fmla="*/ 63342 h 62948"/>
                <a:gd name="connsiteX4" fmla="*/ 28720 w 31474"/>
                <a:gd name="connsiteY4" fmla="*/ 60194 h 62948"/>
                <a:gd name="connsiteX5" fmla="*/ 29114 w 31474"/>
                <a:gd name="connsiteY5" fmla="*/ 57047 h 62948"/>
                <a:gd name="connsiteX6" fmla="*/ 27147 w 31474"/>
                <a:gd name="connsiteY6" fmla="*/ 54293 h 62948"/>
                <a:gd name="connsiteX7" fmla="*/ 24786 w 31474"/>
                <a:gd name="connsiteY7" fmla="*/ 51145 h 62948"/>
                <a:gd name="connsiteX8" fmla="*/ 23999 w 31474"/>
                <a:gd name="connsiteY8" fmla="*/ 47998 h 62948"/>
                <a:gd name="connsiteX9" fmla="*/ 23213 w 31474"/>
                <a:gd name="connsiteY9" fmla="*/ 45638 h 62948"/>
                <a:gd name="connsiteX10" fmla="*/ 24393 w 31474"/>
                <a:gd name="connsiteY10" fmla="*/ 33835 h 62948"/>
                <a:gd name="connsiteX11" fmla="*/ 25180 w 31474"/>
                <a:gd name="connsiteY11" fmla="*/ 31868 h 62948"/>
                <a:gd name="connsiteX12" fmla="*/ 25967 w 31474"/>
                <a:gd name="connsiteY12" fmla="*/ 29114 h 62948"/>
                <a:gd name="connsiteX13" fmla="*/ 26360 w 31474"/>
                <a:gd name="connsiteY13" fmla="*/ 25966 h 62948"/>
                <a:gd name="connsiteX14" fmla="*/ 27147 w 31474"/>
                <a:gd name="connsiteY14" fmla="*/ 23212 h 62948"/>
                <a:gd name="connsiteX15" fmla="*/ 27147 w 31474"/>
                <a:gd name="connsiteY15" fmla="*/ 20065 h 62948"/>
                <a:gd name="connsiteX16" fmla="*/ 29507 w 31474"/>
                <a:gd name="connsiteY16" fmla="*/ 16918 h 62948"/>
                <a:gd name="connsiteX17" fmla="*/ 30295 w 31474"/>
                <a:gd name="connsiteY17" fmla="*/ 13770 h 62948"/>
                <a:gd name="connsiteX18" fmla="*/ 30687 w 31474"/>
                <a:gd name="connsiteY18" fmla="*/ 11016 h 62948"/>
                <a:gd name="connsiteX19" fmla="*/ 31081 w 31474"/>
                <a:gd name="connsiteY19" fmla="*/ 10229 h 62948"/>
                <a:gd name="connsiteX20" fmla="*/ 31474 w 31474"/>
                <a:gd name="connsiteY20" fmla="*/ 11409 h 62948"/>
                <a:gd name="connsiteX21" fmla="*/ 31474 w 31474"/>
                <a:gd name="connsiteY21" fmla="*/ 10623 h 62948"/>
                <a:gd name="connsiteX22" fmla="*/ 32262 w 31474"/>
                <a:gd name="connsiteY22" fmla="*/ 7475 h 62948"/>
                <a:gd name="connsiteX23" fmla="*/ 31868 w 31474"/>
                <a:gd name="connsiteY23" fmla="*/ 4328 h 62948"/>
                <a:gd name="connsiteX24" fmla="*/ 29507 w 31474"/>
                <a:gd name="connsiteY24" fmla="*/ 1574 h 62948"/>
                <a:gd name="connsiteX25" fmla="*/ 29507 w 31474"/>
                <a:gd name="connsiteY25" fmla="*/ 1967 h 62948"/>
                <a:gd name="connsiteX26" fmla="*/ 26753 w 31474"/>
                <a:gd name="connsiteY26" fmla="*/ 1574 h 62948"/>
                <a:gd name="connsiteX27" fmla="*/ 25180 w 31474"/>
                <a:gd name="connsiteY27" fmla="*/ 1180 h 62948"/>
                <a:gd name="connsiteX28" fmla="*/ 24786 w 31474"/>
                <a:gd name="connsiteY28" fmla="*/ 1180 h 62948"/>
                <a:gd name="connsiteX29" fmla="*/ 22032 w 31474"/>
                <a:gd name="connsiteY29" fmla="*/ 0 h 62948"/>
                <a:gd name="connsiteX30" fmla="*/ 18885 w 31474"/>
                <a:gd name="connsiteY30" fmla="*/ 394 h 62948"/>
                <a:gd name="connsiteX31" fmla="*/ 16131 w 31474"/>
                <a:gd name="connsiteY31" fmla="*/ 2361 h 62948"/>
                <a:gd name="connsiteX32" fmla="*/ 13770 w 31474"/>
                <a:gd name="connsiteY32" fmla="*/ 4328 h 62948"/>
                <a:gd name="connsiteX33" fmla="*/ 11016 w 31474"/>
                <a:gd name="connsiteY33" fmla="*/ 14950 h 62948"/>
                <a:gd name="connsiteX34" fmla="*/ 11016 w 31474"/>
                <a:gd name="connsiteY34" fmla="*/ 16918 h 62948"/>
                <a:gd name="connsiteX35" fmla="*/ 11803 w 31474"/>
                <a:gd name="connsiteY35" fmla="*/ 18491 h 62948"/>
                <a:gd name="connsiteX36" fmla="*/ 12590 w 31474"/>
                <a:gd name="connsiteY36" fmla="*/ 25966 h 62948"/>
                <a:gd name="connsiteX37" fmla="*/ 10229 w 31474"/>
                <a:gd name="connsiteY37" fmla="*/ 33048 h 62948"/>
                <a:gd name="connsiteX38" fmla="*/ 9443 w 31474"/>
                <a:gd name="connsiteY38" fmla="*/ 33835 h 62948"/>
                <a:gd name="connsiteX39" fmla="*/ 7869 w 31474"/>
                <a:gd name="connsiteY39" fmla="*/ 34622 h 62948"/>
                <a:gd name="connsiteX40" fmla="*/ 4722 w 31474"/>
                <a:gd name="connsiteY40" fmla="*/ 34228 h 62948"/>
                <a:gd name="connsiteX41" fmla="*/ 2361 w 31474"/>
                <a:gd name="connsiteY41" fmla="*/ 34622 h 62948"/>
                <a:gd name="connsiteX42" fmla="*/ 3148 w 31474"/>
                <a:gd name="connsiteY42" fmla="*/ 33835 h 62948"/>
                <a:gd name="connsiteX43" fmla="*/ 2361 w 31474"/>
                <a:gd name="connsiteY43" fmla="*/ 34622 h 62948"/>
                <a:gd name="connsiteX44" fmla="*/ 1574 w 31474"/>
                <a:gd name="connsiteY44" fmla="*/ 34622 h 62948"/>
                <a:gd name="connsiteX45" fmla="*/ 1180 w 31474"/>
                <a:gd name="connsiteY45" fmla="*/ 36589 h 62948"/>
                <a:gd name="connsiteX46" fmla="*/ 0 w 31474"/>
                <a:gd name="connsiteY46" fmla="*/ 38162 h 62948"/>
                <a:gd name="connsiteX47" fmla="*/ 788 w 31474"/>
                <a:gd name="connsiteY47" fmla="*/ 36982 h 62948"/>
                <a:gd name="connsiteX48" fmla="*/ 1180 w 31474"/>
                <a:gd name="connsiteY48" fmla="*/ 36982 h 62948"/>
                <a:gd name="connsiteX49" fmla="*/ 788 w 31474"/>
                <a:gd name="connsiteY49" fmla="*/ 38162 h 62948"/>
                <a:gd name="connsiteX50" fmla="*/ 0 w 31474"/>
                <a:gd name="connsiteY50" fmla="*/ 40916 h 62948"/>
                <a:gd name="connsiteX51" fmla="*/ 1180 w 31474"/>
                <a:gd name="connsiteY51" fmla="*/ 44064 h 62948"/>
                <a:gd name="connsiteX52" fmla="*/ 1574 w 31474"/>
                <a:gd name="connsiteY52" fmla="*/ 44851 h 62948"/>
                <a:gd name="connsiteX53" fmla="*/ 394 w 31474"/>
                <a:gd name="connsiteY53" fmla="*/ 42490 h 62948"/>
                <a:gd name="connsiteX54" fmla="*/ 0 w 31474"/>
                <a:gd name="connsiteY54" fmla="*/ 43670 h 62948"/>
                <a:gd name="connsiteX55" fmla="*/ 2361 w 31474"/>
                <a:gd name="connsiteY55" fmla="*/ 47211 h 62948"/>
                <a:gd name="connsiteX56" fmla="*/ 5115 w 31474"/>
                <a:gd name="connsiteY56" fmla="*/ 50752 h 62948"/>
                <a:gd name="connsiteX57" fmla="*/ 3148 w 31474"/>
                <a:gd name="connsiteY57" fmla="*/ 47211 h 62948"/>
                <a:gd name="connsiteX58" fmla="*/ 7082 w 31474"/>
                <a:gd name="connsiteY58" fmla="*/ 53113 h 62948"/>
                <a:gd name="connsiteX59" fmla="*/ 10623 w 31474"/>
                <a:gd name="connsiteY59" fmla="*/ 55080 h 62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31474" h="62948">
                  <a:moveTo>
                    <a:pt x="20065" y="66096"/>
                  </a:moveTo>
                  <a:lnTo>
                    <a:pt x="21246" y="66489"/>
                  </a:lnTo>
                  <a:lnTo>
                    <a:pt x="24393" y="66489"/>
                  </a:lnTo>
                  <a:lnTo>
                    <a:pt x="26753" y="63342"/>
                  </a:lnTo>
                  <a:lnTo>
                    <a:pt x="28720" y="60194"/>
                  </a:lnTo>
                  <a:lnTo>
                    <a:pt x="29114" y="57047"/>
                  </a:lnTo>
                  <a:lnTo>
                    <a:pt x="27147" y="54293"/>
                  </a:lnTo>
                  <a:lnTo>
                    <a:pt x="24786" y="51145"/>
                  </a:lnTo>
                  <a:lnTo>
                    <a:pt x="23999" y="47998"/>
                  </a:lnTo>
                  <a:lnTo>
                    <a:pt x="23213" y="45638"/>
                  </a:lnTo>
                  <a:lnTo>
                    <a:pt x="24393" y="33835"/>
                  </a:lnTo>
                  <a:lnTo>
                    <a:pt x="25180" y="31868"/>
                  </a:lnTo>
                  <a:lnTo>
                    <a:pt x="25967" y="29114"/>
                  </a:lnTo>
                  <a:lnTo>
                    <a:pt x="26360" y="25966"/>
                  </a:lnTo>
                  <a:lnTo>
                    <a:pt x="27147" y="23212"/>
                  </a:lnTo>
                  <a:lnTo>
                    <a:pt x="27147" y="20065"/>
                  </a:lnTo>
                  <a:lnTo>
                    <a:pt x="29507" y="16918"/>
                  </a:lnTo>
                  <a:lnTo>
                    <a:pt x="30295" y="13770"/>
                  </a:lnTo>
                  <a:lnTo>
                    <a:pt x="30687" y="11016"/>
                  </a:lnTo>
                  <a:lnTo>
                    <a:pt x="31081" y="10229"/>
                  </a:lnTo>
                  <a:lnTo>
                    <a:pt x="31474" y="11409"/>
                  </a:lnTo>
                  <a:lnTo>
                    <a:pt x="31474" y="10623"/>
                  </a:lnTo>
                  <a:lnTo>
                    <a:pt x="32262" y="7475"/>
                  </a:lnTo>
                  <a:lnTo>
                    <a:pt x="31868" y="4328"/>
                  </a:lnTo>
                  <a:lnTo>
                    <a:pt x="29507" y="1574"/>
                  </a:lnTo>
                  <a:lnTo>
                    <a:pt x="29507" y="1967"/>
                  </a:lnTo>
                  <a:lnTo>
                    <a:pt x="26753" y="1574"/>
                  </a:lnTo>
                  <a:lnTo>
                    <a:pt x="25180" y="1180"/>
                  </a:lnTo>
                  <a:lnTo>
                    <a:pt x="24786" y="1180"/>
                  </a:lnTo>
                  <a:lnTo>
                    <a:pt x="22032" y="0"/>
                  </a:lnTo>
                  <a:lnTo>
                    <a:pt x="18885" y="394"/>
                  </a:lnTo>
                  <a:lnTo>
                    <a:pt x="16131" y="2361"/>
                  </a:lnTo>
                  <a:lnTo>
                    <a:pt x="13770" y="4328"/>
                  </a:lnTo>
                  <a:lnTo>
                    <a:pt x="11016" y="14950"/>
                  </a:lnTo>
                  <a:lnTo>
                    <a:pt x="11016" y="16918"/>
                  </a:lnTo>
                  <a:lnTo>
                    <a:pt x="11803" y="18491"/>
                  </a:lnTo>
                  <a:lnTo>
                    <a:pt x="12590" y="25966"/>
                  </a:lnTo>
                  <a:lnTo>
                    <a:pt x="10229" y="33048"/>
                  </a:lnTo>
                  <a:lnTo>
                    <a:pt x="9443" y="33835"/>
                  </a:lnTo>
                  <a:lnTo>
                    <a:pt x="7869" y="34622"/>
                  </a:lnTo>
                  <a:lnTo>
                    <a:pt x="4722" y="34228"/>
                  </a:lnTo>
                  <a:lnTo>
                    <a:pt x="2361" y="34622"/>
                  </a:lnTo>
                  <a:lnTo>
                    <a:pt x="3148" y="33835"/>
                  </a:lnTo>
                  <a:lnTo>
                    <a:pt x="2361" y="34622"/>
                  </a:lnTo>
                  <a:lnTo>
                    <a:pt x="1574" y="34622"/>
                  </a:lnTo>
                  <a:lnTo>
                    <a:pt x="1180" y="36589"/>
                  </a:lnTo>
                  <a:lnTo>
                    <a:pt x="0" y="38162"/>
                  </a:lnTo>
                  <a:lnTo>
                    <a:pt x="788" y="36982"/>
                  </a:lnTo>
                  <a:lnTo>
                    <a:pt x="1180" y="36982"/>
                  </a:lnTo>
                  <a:lnTo>
                    <a:pt x="788" y="38162"/>
                  </a:lnTo>
                  <a:lnTo>
                    <a:pt x="0" y="40916"/>
                  </a:lnTo>
                  <a:lnTo>
                    <a:pt x="1180" y="44064"/>
                  </a:lnTo>
                  <a:lnTo>
                    <a:pt x="1574" y="44851"/>
                  </a:lnTo>
                  <a:lnTo>
                    <a:pt x="394" y="42490"/>
                  </a:lnTo>
                  <a:lnTo>
                    <a:pt x="0" y="43670"/>
                  </a:lnTo>
                  <a:lnTo>
                    <a:pt x="2361" y="47211"/>
                  </a:lnTo>
                  <a:lnTo>
                    <a:pt x="5115" y="50752"/>
                  </a:lnTo>
                  <a:lnTo>
                    <a:pt x="3148" y="47211"/>
                  </a:lnTo>
                  <a:lnTo>
                    <a:pt x="7082" y="53113"/>
                  </a:lnTo>
                  <a:lnTo>
                    <a:pt x="10623" y="550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37" name="Freeform: Shape 3831">
              <a:extLst>
                <a:ext uri="{FF2B5EF4-FFF2-40B4-BE49-F238E27FC236}">
                  <a16:creationId xmlns:a16="http://schemas.microsoft.com/office/drawing/2014/main" id="{460E7E98-C538-4148-87BA-3324835AEC5B}"/>
                </a:ext>
              </a:extLst>
            </p:cNvPr>
            <p:cNvSpPr/>
            <p:nvPr/>
          </p:nvSpPr>
          <p:spPr>
            <a:xfrm>
              <a:off x="9006962" y="3756766"/>
              <a:ext cx="19671" cy="27540"/>
            </a:xfrm>
            <a:custGeom>
              <a:avLst/>
              <a:gdLst>
                <a:gd name="connsiteX0" fmla="*/ 16917 w 19671"/>
                <a:gd name="connsiteY0" fmla="*/ 17311 h 27539"/>
                <a:gd name="connsiteX1" fmla="*/ 14557 w 19671"/>
                <a:gd name="connsiteY1" fmla="*/ 14557 h 27539"/>
                <a:gd name="connsiteX2" fmla="*/ 13770 w 19671"/>
                <a:gd name="connsiteY2" fmla="*/ 11409 h 27539"/>
                <a:gd name="connsiteX3" fmla="*/ 12589 w 19671"/>
                <a:gd name="connsiteY3" fmla="*/ 8655 h 27539"/>
                <a:gd name="connsiteX4" fmla="*/ 9442 w 19671"/>
                <a:gd name="connsiteY4" fmla="*/ 3148 h 27539"/>
                <a:gd name="connsiteX5" fmla="*/ 9049 w 19671"/>
                <a:gd name="connsiteY5" fmla="*/ 0 h 27539"/>
                <a:gd name="connsiteX6" fmla="*/ 5901 w 19671"/>
                <a:gd name="connsiteY6" fmla="*/ 1180 h 27539"/>
                <a:gd name="connsiteX7" fmla="*/ 3147 w 19671"/>
                <a:gd name="connsiteY7" fmla="*/ 1180 h 27539"/>
                <a:gd name="connsiteX8" fmla="*/ 1574 w 19671"/>
                <a:gd name="connsiteY8" fmla="*/ 3934 h 27539"/>
                <a:gd name="connsiteX9" fmla="*/ 787 w 19671"/>
                <a:gd name="connsiteY9" fmla="*/ 7082 h 27539"/>
                <a:gd name="connsiteX10" fmla="*/ 0 w 19671"/>
                <a:gd name="connsiteY10" fmla="*/ 10229 h 27539"/>
                <a:gd name="connsiteX11" fmla="*/ 787 w 19671"/>
                <a:gd name="connsiteY11" fmla="*/ 12983 h 27539"/>
                <a:gd name="connsiteX12" fmla="*/ 2754 w 19671"/>
                <a:gd name="connsiteY12" fmla="*/ 15737 h 27539"/>
                <a:gd name="connsiteX13" fmla="*/ 4328 w 19671"/>
                <a:gd name="connsiteY13" fmla="*/ 18491 h 27539"/>
                <a:gd name="connsiteX14" fmla="*/ 6295 w 19671"/>
                <a:gd name="connsiteY14" fmla="*/ 21638 h 27539"/>
                <a:gd name="connsiteX15" fmla="*/ 7475 w 19671"/>
                <a:gd name="connsiteY15" fmla="*/ 24392 h 27539"/>
                <a:gd name="connsiteX16" fmla="*/ 10229 w 19671"/>
                <a:gd name="connsiteY16" fmla="*/ 27147 h 27539"/>
                <a:gd name="connsiteX17" fmla="*/ 13377 w 19671"/>
                <a:gd name="connsiteY17" fmla="*/ 29507 h 27539"/>
                <a:gd name="connsiteX18" fmla="*/ 15344 w 19671"/>
                <a:gd name="connsiteY18" fmla="*/ 30294 h 27539"/>
                <a:gd name="connsiteX19" fmla="*/ 18098 w 19671"/>
                <a:gd name="connsiteY19" fmla="*/ 29114 h 27539"/>
                <a:gd name="connsiteX20" fmla="*/ 18491 w 19671"/>
                <a:gd name="connsiteY20" fmla="*/ 26360 h 27539"/>
                <a:gd name="connsiteX21" fmla="*/ 19671 w 19671"/>
                <a:gd name="connsiteY21" fmla="*/ 23212 h 27539"/>
                <a:gd name="connsiteX22" fmla="*/ 17704 w 19671"/>
                <a:gd name="connsiteY22" fmla="*/ 20458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71" h="27539">
                  <a:moveTo>
                    <a:pt x="16917" y="17311"/>
                  </a:moveTo>
                  <a:lnTo>
                    <a:pt x="14557" y="14557"/>
                  </a:lnTo>
                  <a:lnTo>
                    <a:pt x="13770" y="11409"/>
                  </a:lnTo>
                  <a:lnTo>
                    <a:pt x="12589" y="8655"/>
                  </a:lnTo>
                  <a:lnTo>
                    <a:pt x="9442" y="3148"/>
                  </a:lnTo>
                  <a:lnTo>
                    <a:pt x="9049" y="0"/>
                  </a:lnTo>
                  <a:lnTo>
                    <a:pt x="5901" y="1180"/>
                  </a:lnTo>
                  <a:lnTo>
                    <a:pt x="3147" y="1180"/>
                  </a:lnTo>
                  <a:lnTo>
                    <a:pt x="1574" y="3934"/>
                  </a:lnTo>
                  <a:lnTo>
                    <a:pt x="787" y="7082"/>
                  </a:lnTo>
                  <a:lnTo>
                    <a:pt x="0" y="10229"/>
                  </a:lnTo>
                  <a:lnTo>
                    <a:pt x="787" y="12983"/>
                  </a:lnTo>
                  <a:lnTo>
                    <a:pt x="2754" y="15737"/>
                  </a:lnTo>
                  <a:lnTo>
                    <a:pt x="4328" y="18491"/>
                  </a:lnTo>
                  <a:lnTo>
                    <a:pt x="6295" y="21638"/>
                  </a:lnTo>
                  <a:lnTo>
                    <a:pt x="7475" y="24392"/>
                  </a:lnTo>
                  <a:lnTo>
                    <a:pt x="10229" y="27147"/>
                  </a:lnTo>
                  <a:lnTo>
                    <a:pt x="13377" y="29507"/>
                  </a:lnTo>
                  <a:lnTo>
                    <a:pt x="15344" y="30294"/>
                  </a:lnTo>
                  <a:lnTo>
                    <a:pt x="18098" y="29114"/>
                  </a:lnTo>
                  <a:lnTo>
                    <a:pt x="18491" y="26360"/>
                  </a:lnTo>
                  <a:lnTo>
                    <a:pt x="19671" y="23212"/>
                  </a:lnTo>
                  <a:lnTo>
                    <a:pt x="17704" y="2045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38" name="Freeform: Shape 3832">
              <a:extLst>
                <a:ext uri="{FF2B5EF4-FFF2-40B4-BE49-F238E27FC236}">
                  <a16:creationId xmlns:a16="http://schemas.microsoft.com/office/drawing/2014/main" id="{E1102C29-CFED-444B-BF4B-FD5EB6B95E22}"/>
                </a:ext>
              </a:extLst>
            </p:cNvPr>
            <p:cNvSpPr/>
            <p:nvPr/>
          </p:nvSpPr>
          <p:spPr>
            <a:xfrm>
              <a:off x="8999094" y="3725292"/>
              <a:ext cx="3934" cy="11803"/>
            </a:xfrm>
            <a:custGeom>
              <a:avLst/>
              <a:gdLst>
                <a:gd name="connsiteX0" fmla="*/ 3934 w 3934"/>
                <a:gd name="connsiteY0" fmla="*/ 3148 h 11802"/>
                <a:gd name="connsiteX1" fmla="*/ 1967 w 3934"/>
                <a:gd name="connsiteY1" fmla="*/ 394 h 11802"/>
                <a:gd name="connsiteX2" fmla="*/ 1967 w 3934"/>
                <a:gd name="connsiteY2" fmla="*/ 0 h 11802"/>
                <a:gd name="connsiteX3" fmla="*/ 0 w 3934"/>
                <a:gd name="connsiteY3" fmla="*/ 0 h 11802"/>
                <a:gd name="connsiteX4" fmla="*/ 787 w 3934"/>
                <a:gd name="connsiteY4" fmla="*/ 3148 h 11802"/>
                <a:gd name="connsiteX5" fmla="*/ 1967 w 3934"/>
                <a:gd name="connsiteY5" fmla="*/ 6295 h 11802"/>
                <a:gd name="connsiteX6" fmla="*/ 3934 w 3934"/>
                <a:gd name="connsiteY6" fmla="*/ 9049 h 11802"/>
                <a:gd name="connsiteX7" fmla="*/ 5901 w 3934"/>
                <a:gd name="connsiteY7" fmla="*/ 12196 h 11802"/>
                <a:gd name="connsiteX8" fmla="*/ 5901 w 3934"/>
                <a:gd name="connsiteY8" fmla="*/ 9049 h 11802"/>
                <a:gd name="connsiteX9" fmla="*/ 4328 w 3934"/>
                <a:gd name="connsiteY9" fmla="*/ 629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11802">
                  <a:moveTo>
                    <a:pt x="3934" y="3148"/>
                  </a:moveTo>
                  <a:lnTo>
                    <a:pt x="1967" y="394"/>
                  </a:lnTo>
                  <a:lnTo>
                    <a:pt x="1967" y="0"/>
                  </a:lnTo>
                  <a:lnTo>
                    <a:pt x="0" y="0"/>
                  </a:lnTo>
                  <a:lnTo>
                    <a:pt x="787" y="3148"/>
                  </a:lnTo>
                  <a:lnTo>
                    <a:pt x="1967" y="6295"/>
                  </a:lnTo>
                  <a:lnTo>
                    <a:pt x="3934" y="9049"/>
                  </a:lnTo>
                  <a:lnTo>
                    <a:pt x="5901" y="12196"/>
                  </a:lnTo>
                  <a:lnTo>
                    <a:pt x="5901" y="9049"/>
                  </a:lnTo>
                  <a:lnTo>
                    <a:pt x="4328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39" name="Freeform: Shape 3833">
              <a:extLst>
                <a:ext uri="{FF2B5EF4-FFF2-40B4-BE49-F238E27FC236}">
                  <a16:creationId xmlns:a16="http://schemas.microsoft.com/office/drawing/2014/main" id="{471CC8B0-EBE0-42B9-A055-028F546101FE}"/>
                </a:ext>
              </a:extLst>
            </p:cNvPr>
            <p:cNvSpPr/>
            <p:nvPr/>
          </p:nvSpPr>
          <p:spPr>
            <a:xfrm>
              <a:off x="9034502" y="3794535"/>
              <a:ext cx="7869" cy="11803"/>
            </a:xfrm>
            <a:custGeom>
              <a:avLst/>
              <a:gdLst>
                <a:gd name="connsiteX0" fmla="*/ 6295 w 7868"/>
                <a:gd name="connsiteY0" fmla="*/ 5901 h 11802"/>
                <a:gd name="connsiteX1" fmla="*/ 5114 w 7868"/>
                <a:gd name="connsiteY1" fmla="*/ 3147 h 11802"/>
                <a:gd name="connsiteX2" fmla="*/ 3147 w 7868"/>
                <a:gd name="connsiteY2" fmla="*/ 0 h 11802"/>
                <a:gd name="connsiteX3" fmla="*/ 393 w 7868"/>
                <a:gd name="connsiteY3" fmla="*/ 787 h 11802"/>
                <a:gd name="connsiteX4" fmla="*/ 0 w 7868"/>
                <a:gd name="connsiteY4" fmla="*/ 3541 h 11802"/>
                <a:gd name="connsiteX5" fmla="*/ 787 w 7868"/>
                <a:gd name="connsiteY5" fmla="*/ 6688 h 11802"/>
                <a:gd name="connsiteX6" fmla="*/ 3934 w 7868"/>
                <a:gd name="connsiteY6" fmla="*/ 8655 h 11802"/>
                <a:gd name="connsiteX7" fmla="*/ 6688 w 7868"/>
                <a:gd name="connsiteY7" fmla="*/ 10229 h 11802"/>
                <a:gd name="connsiteX8" fmla="*/ 9442 w 7868"/>
                <a:gd name="connsiteY8" fmla="*/ 11803 h 11802"/>
                <a:gd name="connsiteX9" fmla="*/ 9442 w 7868"/>
                <a:gd name="connsiteY9" fmla="*/ 11803 h 11802"/>
                <a:gd name="connsiteX10" fmla="*/ 8262 w 7868"/>
                <a:gd name="connsiteY10" fmla="*/ 865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68" h="11802">
                  <a:moveTo>
                    <a:pt x="6295" y="5901"/>
                  </a:moveTo>
                  <a:lnTo>
                    <a:pt x="5114" y="3147"/>
                  </a:lnTo>
                  <a:lnTo>
                    <a:pt x="3147" y="0"/>
                  </a:lnTo>
                  <a:lnTo>
                    <a:pt x="393" y="787"/>
                  </a:lnTo>
                  <a:lnTo>
                    <a:pt x="0" y="3541"/>
                  </a:lnTo>
                  <a:lnTo>
                    <a:pt x="787" y="6688"/>
                  </a:lnTo>
                  <a:lnTo>
                    <a:pt x="3934" y="8655"/>
                  </a:lnTo>
                  <a:lnTo>
                    <a:pt x="6688" y="10229"/>
                  </a:lnTo>
                  <a:lnTo>
                    <a:pt x="9442" y="11803"/>
                  </a:lnTo>
                  <a:lnTo>
                    <a:pt x="9442" y="11803"/>
                  </a:lnTo>
                  <a:lnTo>
                    <a:pt x="8262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40" name="Freeform: Shape 3834">
              <a:extLst>
                <a:ext uri="{FF2B5EF4-FFF2-40B4-BE49-F238E27FC236}">
                  <a16:creationId xmlns:a16="http://schemas.microsoft.com/office/drawing/2014/main" id="{BBDC3E49-565A-49DA-A802-59B356E74BDF}"/>
                </a:ext>
              </a:extLst>
            </p:cNvPr>
            <p:cNvSpPr/>
            <p:nvPr/>
          </p:nvSpPr>
          <p:spPr>
            <a:xfrm>
              <a:off x="8998307" y="3735128"/>
              <a:ext cx="3934" cy="7869"/>
            </a:xfrm>
            <a:custGeom>
              <a:avLst/>
              <a:gdLst>
                <a:gd name="connsiteX0" fmla="*/ 1574 w 3934"/>
                <a:gd name="connsiteY0" fmla="*/ 3148 h 7868"/>
                <a:gd name="connsiteX1" fmla="*/ 1574 w 3934"/>
                <a:gd name="connsiteY1" fmla="*/ 5901 h 7868"/>
                <a:gd name="connsiteX2" fmla="*/ 0 w 3934"/>
                <a:gd name="connsiteY2" fmla="*/ 8655 h 7868"/>
                <a:gd name="connsiteX3" fmla="*/ 2754 w 3934"/>
                <a:gd name="connsiteY3" fmla="*/ 10623 h 7868"/>
                <a:gd name="connsiteX4" fmla="*/ 5901 w 3934"/>
                <a:gd name="connsiteY4" fmla="*/ 9442 h 7868"/>
                <a:gd name="connsiteX5" fmla="*/ 5901 w 3934"/>
                <a:gd name="connsiteY5" fmla="*/ 6295 h 7868"/>
                <a:gd name="connsiteX6" fmla="*/ 5901 w 3934"/>
                <a:gd name="connsiteY6" fmla="*/ 5901 h 7868"/>
                <a:gd name="connsiteX7" fmla="*/ 5901 w 3934"/>
                <a:gd name="connsiteY7" fmla="*/ 3148 h 7868"/>
                <a:gd name="connsiteX8" fmla="*/ 3541 w 3934"/>
                <a:gd name="connsiteY8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1574" y="3148"/>
                  </a:moveTo>
                  <a:lnTo>
                    <a:pt x="1574" y="5901"/>
                  </a:lnTo>
                  <a:lnTo>
                    <a:pt x="0" y="8655"/>
                  </a:lnTo>
                  <a:lnTo>
                    <a:pt x="2754" y="10623"/>
                  </a:lnTo>
                  <a:lnTo>
                    <a:pt x="5901" y="9442"/>
                  </a:lnTo>
                  <a:lnTo>
                    <a:pt x="5901" y="6295"/>
                  </a:lnTo>
                  <a:lnTo>
                    <a:pt x="5901" y="5901"/>
                  </a:lnTo>
                  <a:lnTo>
                    <a:pt x="5901" y="3148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41" name="Freeform: Shape 3835">
              <a:extLst>
                <a:ext uri="{FF2B5EF4-FFF2-40B4-BE49-F238E27FC236}">
                  <a16:creationId xmlns:a16="http://schemas.microsoft.com/office/drawing/2014/main" id="{4A3AB2A2-EF24-4C9F-B25E-63FFA7C6BCA0}"/>
                </a:ext>
              </a:extLst>
            </p:cNvPr>
            <p:cNvSpPr/>
            <p:nvPr/>
          </p:nvSpPr>
          <p:spPr>
            <a:xfrm>
              <a:off x="9183217" y="3725292"/>
              <a:ext cx="15737" cy="7869"/>
            </a:xfrm>
            <a:custGeom>
              <a:avLst/>
              <a:gdLst>
                <a:gd name="connsiteX0" fmla="*/ 7476 w 15737"/>
                <a:gd name="connsiteY0" fmla="*/ 7475 h 7868"/>
                <a:gd name="connsiteX1" fmla="*/ 10229 w 15737"/>
                <a:gd name="connsiteY1" fmla="*/ 9442 h 7868"/>
                <a:gd name="connsiteX2" fmla="*/ 13377 w 15737"/>
                <a:gd name="connsiteY2" fmla="*/ 11409 h 7868"/>
                <a:gd name="connsiteX3" fmla="*/ 16131 w 15737"/>
                <a:gd name="connsiteY3" fmla="*/ 10229 h 7868"/>
                <a:gd name="connsiteX4" fmla="*/ 16524 w 15737"/>
                <a:gd name="connsiteY4" fmla="*/ 10229 h 7868"/>
                <a:gd name="connsiteX5" fmla="*/ 16131 w 15737"/>
                <a:gd name="connsiteY5" fmla="*/ 9836 h 7868"/>
                <a:gd name="connsiteX6" fmla="*/ 4328 w 15737"/>
                <a:gd name="connsiteY6" fmla="*/ 0 h 7868"/>
                <a:gd name="connsiteX7" fmla="*/ 1967 w 15737"/>
                <a:gd name="connsiteY7" fmla="*/ 0 h 7868"/>
                <a:gd name="connsiteX8" fmla="*/ 1967 w 15737"/>
                <a:gd name="connsiteY8" fmla="*/ 3148 h 7868"/>
                <a:gd name="connsiteX9" fmla="*/ 0 w 15737"/>
                <a:gd name="connsiteY9" fmla="*/ 6295 h 7868"/>
                <a:gd name="connsiteX10" fmla="*/ 1967 w 15737"/>
                <a:gd name="connsiteY10" fmla="*/ 9049 h 7868"/>
                <a:gd name="connsiteX11" fmla="*/ 4721 w 15737"/>
                <a:gd name="connsiteY11" fmla="*/ 865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737" h="7868">
                  <a:moveTo>
                    <a:pt x="7476" y="7475"/>
                  </a:moveTo>
                  <a:lnTo>
                    <a:pt x="10229" y="9442"/>
                  </a:lnTo>
                  <a:lnTo>
                    <a:pt x="13377" y="11409"/>
                  </a:lnTo>
                  <a:lnTo>
                    <a:pt x="16131" y="10229"/>
                  </a:lnTo>
                  <a:lnTo>
                    <a:pt x="16524" y="10229"/>
                  </a:lnTo>
                  <a:lnTo>
                    <a:pt x="16131" y="9836"/>
                  </a:lnTo>
                  <a:lnTo>
                    <a:pt x="4328" y="0"/>
                  </a:lnTo>
                  <a:lnTo>
                    <a:pt x="1967" y="0"/>
                  </a:lnTo>
                  <a:lnTo>
                    <a:pt x="1967" y="3148"/>
                  </a:lnTo>
                  <a:lnTo>
                    <a:pt x="0" y="6295"/>
                  </a:lnTo>
                  <a:lnTo>
                    <a:pt x="1967" y="9049"/>
                  </a:lnTo>
                  <a:lnTo>
                    <a:pt x="4721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42" name="Freeform: Shape 3836">
              <a:extLst>
                <a:ext uri="{FF2B5EF4-FFF2-40B4-BE49-F238E27FC236}">
                  <a16:creationId xmlns:a16="http://schemas.microsoft.com/office/drawing/2014/main" id="{949EF673-5022-4EE7-B31D-868A28993716}"/>
                </a:ext>
              </a:extLst>
            </p:cNvPr>
            <p:cNvSpPr/>
            <p:nvPr/>
          </p:nvSpPr>
          <p:spPr>
            <a:xfrm>
              <a:off x="9305966" y="3987314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0 w 3934"/>
                <a:gd name="connsiteY1" fmla="*/ 1574 h 0"/>
                <a:gd name="connsiteX2" fmla="*/ 3148 w 3934"/>
                <a:gd name="connsiteY2" fmla="*/ 2360 h 0"/>
                <a:gd name="connsiteX3" fmla="*/ 5901 w 3934"/>
                <a:gd name="connsiteY3" fmla="*/ 2754 h 0"/>
                <a:gd name="connsiteX4" fmla="*/ 3148 w 3934"/>
                <a:gd name="connsiteY4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0" y="1574"/>
                  </a:lnTo>
                  <a:lnTo>
                    <a:pt x="3148" y="2360"/>
                  </a:lnTo>
                  <a:lnTo>
                    <a:pt x="5901" y="2754"/>
                  </a:lnTo>
                  <a:lnTo>
                    <a:pt x="314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43" name="Freeform: Shape 3837">
              <a:extLst>
                <a:ext uri="{FF2B5EF4-FFF2-40B4-BE49-F238E27FC236}">
                  <a16:creationId xmlns:a16="http://schemas.microsoft.com/office/drawing/2014/main" id="{2C4D8E17-1490-4563-B29A-F924C77E4FD9}"/>
                </a:ext>
              </a:extLst>
            </p:cNvPr>
            <p:cNvSpPr/>
            <p:nvPr/>
          </p:nvSpPr>
          <p:spPr>
            <a:xfrm>
              <a:off x="9198168" y="3947971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2754 w 0"/>
                <a:gd name="connsiteY1" fmla="*/ 0 h 0"/>
                <a:gd name="connsiteX2" fmla="*/ 0 w 0"/>
                <a:gd name="connsiteY2" fmla="*/ 2360 h 0"/>
                <a:gd name="connsiteX3" fmla="*/ 2754 w 0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2754" y="0"/>
                  </a:lnTo>
                  <a:lnTo>
                    <a:pt x="0" y="2360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44" name="Freeform: Shape 3838">
              <a:extLst>
                <a:ext uri="{FF2B5EF4-FFF2-40B4-BE49-F238E27FC236}">
                  <a16:creationId xmlns:a16="http://schemas.microsoft.com/office/drawing/2014/main" id="{081C77B7-DE75-4902-A196-0BD7BFE603AB}"/>
                </a:ext>
              </a:extLst>
            </p:cNvPr>
            <p:cNvSpPr/>
            <p:nvPr/>
          </p:nvSpPr>
          <p:spPr>
            <a:xfrm>
              <a:off x="9187938" y="3921218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574 w 0"/>
                <a:gd name="connsiteY1" fmla="*/ 2754 h 0"/>
                <a:gd name="connsiteX2" fmla="*/ 39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574" y="2754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45" name="Freeform: Shape 3839">
              <a:extLst>
                <a:ext uri="{FF2B5EF4-FFF2-40B4-BE49-F238E27FC236}">
                  <a16:creationId xmlns:a16="http://schemas.microsoft.com/office/drawing/2014/main" id="{A7F17D2E-826A-4A7F-915B-1503AF952375}"/>
                </a:ext>
              </a:extLst>
            </p:cNvPr>
            <p:cNvSpPr/>
            <p:nvPr/>
          </p:nvSpPr>
          <p:spPr>
            <a:xfrm>
              <a:off x="9108466" y="3905875"/>
              <a:ext cx="7869" cy="3934"/>
            </a:xfrm>
            <a:custGeom>
              <a:avLst/>
              <a:gdLst>
                <a:gd name="connsiteX0" fmla="*/ 2754 w 7868"/>
                <a:gd name="connsiteY0" fmla="*/ 0 h 3934"/>
                <a:gd name="connsiteX1" fmla="*/ 0 w 7868"/>
                <a:gd name="connsiteY1" fmla="*/ 1967 h 3934"/>
                <a:gd name="connsiteX2" fmla="*/ 2754 w 7868"/>
                <a:gd name="connsiteY2" fmla="*/ 3934 h 3934"/>
                <a:gd name="connsiteX3" fmla="*/ 4721 w 7868"/>
                <a:gd name="connsiteY3" fmla="*/ 6688 h 3934"/>
                <a:gd name="connsiteX4" fmla="*/ 7869 w 7868"/>
                <a:gd name="connsiteY4" fmla="*/ 6688 h 3934"/>
                <a:gd name="connsiteX5" fmla="*/ 7869 w 7868"/>
                <a:gd name="connsiteY5" fmla="*/ 4721 h 3934"/>
                <a:gd name="connsiteX6" fmla="*/ 5901 w 7868"/>
                <a:gd name="connsiteY6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2754" y="0"/>
                  </a:moveTo>
                  <a:lnTo>
                    <a:pt x="0" y="1967"/>
                  </a:lnTo>
                  <a:lnTo>
                    <a:pt x="2754" y="3934"/>
                  </a:lnTo>
                  <a:lnTo>
                    <a:pt x="4721" y="6688"/>
                  </a:lnTo>
                  <a:lnTo>
                    <a:pt x="7869" y="6688"/>
                  </a:lnTo>
                  <a:lnTo>
                    <a:pt x="7869" y="4721"/>
                  </a:lnTo>
                  <a:lnTo>
                    <a:pt x="590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46" name="Freeform: Shape 3840">
              <a:extLst>
                <a:ext uri="{FF2B5EF4-FFF2-40B4-BE49-F238E27FC236}">
                  <a16:creationId xmlns:a16="http://schemas.microsoft.com/office/drawing/2014/main" id="{02FADC61-8A91-40E2-A12D-3AB348F4CEA6}"/>
                </a:ext>
              </a:extLst>
            </p:cNvPr>
            <p:cNvSpPr/>
            <p:nvPr/>
          </p:nvSpPr>
          <p:spPr>
            <a:xfrm>
              <a:off x="9053386" y="3821288"/>
              <a:ext cx="7869" cy="15737"/>
            </a:xfrm>
            <a:custGeom>
              <a:avLst/>
              <a:gdLst>
                <a:gd name="connsiteX0" fmla="*/ 7475 w 7868"/>
                <a:gd name="connsiteY0" fmla="*/ 5901 h 15737"/>
                <a:gd name="connsiteX1" fmla="*/ 5508 w 7868"/>
                <a:gd name="connsiteY1" fmla="*/ 3147 h 15737"/>
                <a:gd name="connsiteX2" fmla="*/ 2754 w 7868"/>
                <a:gd name="connsiteY2" fmla="*/ 0 h 15737"/>
                <a:gd name="connsiteX3" fmla="*/ 0 w 7868"/>
                <a:gd name="connsiteY3" fmla="*/ 393 h 15737"/>
                <a:gd name="connsiteX4" fmla="*/ 394 w 7868"/>
                <a:gd name="connsiteY4" fmla="*/ 3147 h 15737"/>
                <a:gd name="connsiteX5" fmla="*/ 394 w 7868"/>
                <a:gd name="connsiteY5" fmla="*/ 6295 h 15737"/>
                <a:gd name="connsiteX6" fmla="*/ 3541 w 7868"/>
                <a:gd name="connsiteY6" fmla="*/ 9442 h 15737"/>
                <a:gd name="connsiteX7" fmla="*/ 4328 w 7868"/>
                <a:gd name="connsiteY7" fmla="*/ 12196 h 15737"/>
                <a:gd name="connsiteX8" fmla="*/ 5508 w 7868"/>
                <a:gd name="connsiteY8" fmla="*/ 14950 h 15737"/>
                <a:gd name="connsiteX9" fmla="*/ 7869 w 7868"/>
                <a:gd name="connsiteY9" fmla="*/ 17704 h 15737"/>
                <a:gd name="connsiteX10" fmla="*/ 8656 w 7868"/>
                <a:gd name="connsiteY10" fmla="*/ 17311 h 15737"/>
                <a:gd name="connsiteX11" fmla="*/ 7082 w 7868"/>
                <a:gd name="connsiteY11" fmla="*/ 14557 h 15737"/>
                <a:gd name="connsiteX12" fmla="*/ 5508 w 7868"/>
                <a:gd name="connsiteY12" fmla="*/ 11803 h 15737"/>
                <a:gd name="connsiteX13" fmla="*/ 8656 w 7868"/>
                <a:gd name="connsiteY13" fmla="*/ 8655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68" h="15737">
                  <a:moveTo>
                    <a:pt x="7475" y="5901"/>
                  </a:moveTo>
                  <a:lnTo>
                    <a:pt x="5508" y="3147"/>
                  </a:lnTo>
                  <a:lnTo>
                    <a:pt x="2754" y="0"/>
                  </a:lnTo>
                  <a:lnTo>
                    <a:pt x="0" y="393"/>
                  </a:lnTo>
                  <a:lnTo>
                    <a:pt x="394" y="3147"/>
                  </a:lnTo>
                  <a:lnTo>
                    <a:pt x="394" y="6295"/>
                  </a:lnTo>
                  <a:lnTo>
                    <a:pt x="3541" y="9442"/>
                  </a:lnTo>
                  <a:lnTo>
                    <a:pt x="4328" y="12196"/>
                  </a:lnTo>
                  <a:lnTo>
                    <a:pt x="5508" y="14950"/>
                  </a:lnTo>
                  <a:lnTo>
                    <a:pt x="7869" y="17704"/>
                  </a:lnTo>
                  <a:lnTo>
                    <a:pt x="8656" y="17311"/>
                  </a:lnTo>
                  <a:lnTo>
                    <a:pt x="7082" y="14557"/>
                  </a:lnTo>
                  <a:lnTo>
                    <a:pt x="5508" y="11803"/>
                  </a:lnTo>
                  <a:lnTo>
                    <a:pt x="8656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47" name="Freeform: Shape 3841">
              <a:extLst>
                <a:ext uri="{FF2B5EF4-FFF2-40B4-BE49-F238E27FC236}">
                  <a16:creationId xmlns:a16="http://schemas.microsoft.com/office/drawing/2014/main" id="{3AF4A8BA-F734-485B-A37C-E6A8618E6D4D}"/>
                </a:ext>
              </a:extLst>
            </p:cNvPr>
            <p:cNvSpPr/>
            <p:nvPr/>
          </p:nvSpPr>
          <p:spPr>
            <a:xfrm>
              <a:off x="9250493" y="3824435"/>
              <a:ext cx="3934" cy="3934"/>
            </a:xfrm>
            <a:custGeom>
              <a:avLst/>
              <a:gdLst>
                <a:gd name="connsiteX0" fmla="*/ 4327 w 3934"/>
                <a:gd name="connsiteY0" fmla="*/ 2754 h 0"/>
                <a:gd name="connsiteX1" fmla="*/ 2360 w 3934"/>
                <a:gd name="connsiteY1" fmla="*/ 0 h 0"/>
                <a:gd name="connsiteX2" fmla="*/ 0 w 3934"/>
                <a:gd name="connsiteY2" fmla="*/ 787 h 0"/>
                <a:gd name="connsiteX3" fmla="*/ 1573 w 3934"/>
                <a:gd name="connsiteY3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4327" y="2754"/>
                  </a:moveTo>
                  <a:lnTo>
                    <a:pt x="2360" y="0"/>
                  </a:lnTo>
                  <a:lnTo>
                    <a:pt x="0" y="787"/>
                  </a:lnTo>
                  <a:lnTo>
                    <a:pt x="1573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48" name="Freeform: Shape 3842">
              <a:extLst>
                <a:ext uri="{FF2B5EF4-FFF2-40B4-BE49-F238E27FC236}">
                  <a16:creationId xmlns:a16="http://schemas.microsoft.com/office/drawing/2014/main" id="{02F992B3-8317-4801-81EC-5F3A06561771}"/>
                </a:ext>
              </a:extLst>
            </p:cNvPr>
            <p:cNvSpPr/>
            <p:nvPr/>
          </p:nvSpPr>
          <p:spPr>
            <a:xfrm>
              <a:off x="9269378" y="3821681"/>
              <a:ext cx="3934" cy="3934"/>
            </a:xfrm>
            <a:custGeom>
              <a:avLst/>
              <a:gdLst>
                <a:gd name="connsiteX0" fmla="*/ 2754 w 0"/>
                <a:gd name="connsiteY0" fmla="*/ 2754 h 0"/>
                <a:gd name="connsiteX1" fmla="*/ 3540 w 0"/>
                <a:gd name="connsiteY1" fmla="*/ 0 h 0"/>
                <a:gd name="connsiteX2" fmla="*/ 2754 w 0"/>
                <a:gd name="connsiteY2" fmla="*/ 0 h 0"/>
                <a:gd name="connsiteX3" fmla="*/ 0 w 0"/>
                <a:gd name="connsiteY3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754" y="2754"/>
                  </a:moveTo>
                  <a:lnTo>
                    <a:pt x="3540" y="0"/>
                  </a:lnTo>
                  <a:lnTo>
                    <a:pt x="2754" y="0"/>
                  </a:lnTo>
                  <a:lnTo>
                    <a:pt x="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49" name="Freeform: Shape 3843">
              <a:extLst>
                <a:ext uri="{FF2B5EF4-FFF2-40B4-BE49-F238E27FC236}">
                  <a16:creationId xmlns:a16="http://schemas.microsoft.com/office/drawing/2014/main" id="{7F6DEC19-2EA5-41E8-A2A1-119148BF5541}"/>
                </a:ext>
              </a:extLst>
            </p:cNvPr>
            <p:cNvSpPr/>
            <p:nvPr/>
          </p:nvSpPr>
          <p:spPr>
            <a:xfrm>
              <a:off x="9260329" y="3821681"/>
              <a:ext cx="3934" cy="3934"/>
            </a:xfrm>
            <a:custGeom>
              <a:avLst/>
              <a:gdLst>
                <a:gd name="connsiteX0" fmla="*/ 393 w 0"/>
                <a:gd name="connsiteY0" fmla="*/ 2754 h 0"/>
                <a:gd name="connsiteX1" fmla="*/ 787 w 0"/>
                <a:gd name="connsiteY1" fmla="*/ 275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2754"/>
                  </a:moveTo>
                  <a:lnTo>
                    <a:pt x="787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50" name="Freeform: Shape 3844">
              <a:extLst>
                <a:ext uri="{FF2B5EF4-FFF2-40B4-BE49-F238E27FC236}">
                  <a16:creationId xmlns:a16="http://schemas.microsoft.com/office/drawing/2014/main" id="{51EB471E-CA3D-4822-94CA-936AFE1B4CA4}"/>
                </a:ext>
              </a:extLst>
            </p:cNvPr>
            <p:cNvSpPr/>
            <p:nvPr/>
          </p:nvSpPr>
          <p:spPr>
            <a:xfrm>
              <a:off x="9047092" y="3810272"/>
              <a:ext cx="3934" cy="11803"/>
            </a:xfrm>
            <a:custGeom>
              <a:avLst/>
              <a:gdLst>
                <a:gd name="connsiteX0" fmla="*/ 6689 w 3934"/>
                <a:gd name="connsiteY0" fmla="*/ 5901 h 11802"/>
                <a:gd name="connsiteX1" fmla="*/ 3541 w 3934"/>
                <a:gd name="connsiteY1" fmla="*/ 3147 h 11802"/>
                <a:gd name="connsiteX2" fmla="*/ 1180 w 3934"/>
                <a:gd name="connsiteY2" fmla="*/ 0 h 11802"/>
                <a:gd name="connsiteX3" fmla="*/ 787 w 3934"/>
                <a:gd name="connsiteY3" fmla="*/ 0 h 11802"/>
                <a:gd name="connsiteX4" fmla="*/ 0 w 3934"/>
                <a:gd name="connsiteY4" fmla="*/ 3147 h 11802"/>
                <a:gd name="connsiteX5" fmla="*/ 1180 w 3934"/>
                <a:gd name="connsiteY5" fmla="*/ 5508 h 11802"/>
                <a:gd name="connsiteX6" fmla="*/ 787 w 3934"/>
                <a:gd name="connsiteY6" fmla="*/ 6688 h 11802"/>
                <a:gd name="connsiteX7" fmla="*/ 787 w 3934"/>
                <a:gd name="connsiteY7" fmla="*/ 7082 h 11802"/>
                <a:gd name="connsiteX8" fmla="*/ 787 w 3934"/>
                <a:gd name="connsiteY8" fmla="*/ 9836 h 11802"/>
                <a:gd name="connsiteX9" fmla="*/ 1574 w 3934"/>
                <a:gd name="connsiteY9" fmla="*/ 12196 h 11802"/>
                <a:gd name="connsiteX10" fmla="*/ 4721 w 3934"/>
                <a:gd name="connsiteY10" fmla="*/ 11409 h 11802"/>
                <a:gd name="connsiteX11" fmla="*/ 7475 w 3934"/>
                <a:gd name="connsiteY11" fmla="*/ 865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934" h="11802">
                  <a:moveTo>
                    <a:pt x="6689" y="5901"/>
                  </a:moveTo>
                  <a:lnTo>
                    <a:pt x="3541" y="3147"/>
                  </a:lnTo>
                  <a:lnTo>
                    <a:pt x="1180" y="0"/>
                  </a:lnTo>
                  <a:lnTo>
                    <a:pt x="787" y="0"/>
                  </a:lnTo>
                  <a:lnTo>
                    <a:pt x="0" y="3147"/>
                  </a:lnTo>
                  <a:lnTo>
                    <a:pt x="1180" y="5508"/>
                  </a:lnTo>
                  <a:lnTo>
                    <a:pt x="787" y="6688"/>
                  </a:lnTo>
                  <a:lnTo>
                    <a:pt x="787" y="7082"/>
                  </a:lnTo>
                  <a:lnTo>
                    <a:pt x="787" y="9836"/>
                  </a:lnTo>
                  <a:lnTo>
                    <a:pt x="1574" y="12196"/>
                  </a:lnTo>
                  <a:lnTo>
                    <a:pt x="4721" y="11409"/>
                  </a:lnTo>
                  <a:lnTo>
                    <a:pt x="7475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51" name="Freeform: Shape 3845">
              <a:extLst>
                <a:ext uri="{FF2B5EF4-FFF2-40B4-BE49-F238E27FC236}">
                  <a16:creationId xmlns:a16="http://schemas.microsoft.com/office/drawing/2014/main" id="{AA429F01-8868-4D1E-8495-666F9A3F96FB}"/>
                </a:ext>
              </a:extLst>
            </p:cNvPr>
            <p:cNvSpPr/>
            <p:nvPr/>
          </p:nvSpPr>
          <p:spPr>
            <a:xfrm>
              <a:off x="9309507" y="3783519"/>
              <a:ext cx="3934" cy="3934"/>
            </a:xfrm>
            <a:custGeom>
              <a:avLst/>
              <a:gdLst>
                <a:gd name="connsiteX0" fmla="*/ 3148 w 0"/>
                <a:gd name="connsiteY0" fmla="*/ 393 h 0"/>
                <a:gd name="connsiteX1" fmla="*/ 3148 w 0"/>
                <a:gd name="connsiteY1" fmla="*/ 0 h 0"/>
                <a:gd name="connsiteX2" fmla="*/ 393 w 0"/>
                <a:gd name="connsiteY2" fmla="*/ 0 h 0"/>
                <a:gd name="connsiteX3" fmla="*/ 0 w 0"/>
                <a:gd name="connsiteY3" fmla="*/ 393 h 0"/>
                <a:gd name="connsiteX4" fmla="*/ 393 w 0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3148" y="393"/>
                  </a:moveTo>
                  <a:lnTo>
                    <a:pt x="3148" y="0"/>
                  </a:lnTo>
                  <a:lnTo>
                    <a:pt x="393" y="0"/>
                  </a:lnTo>
                  <a:lnTo>
                    <a:pt x="0" y="393"/>
                  </a:lnTo>
                  <a:lnTo>
                    <a:pt x="393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52" name="Freeform: Shape 3846">
              <a:extLst>
                <a:ext uri="{FF2B5EF4-FFF2-40B4-BE49-F238E27FC236}">
                  <a16:creationId xmlns:a16="http://schemas.microsoft.com/office/drawing/2014/main" id="{91E2FC7B-ADAF-4B4E-B3DE-09DA7D2EE3E2}"/>
                </a:ext>
              </a:extLst>
            </p:cNvPr>
            <p:cNvSpPr/>
            <p:nvPr/>
          </p:nvSpPr>
          <p:spPr>
            <a:xfrm>
              <a:off x="9313442" y="3778011"/>
              <a:ext cx="3934" cy="3934"/>
            </a:xfrm>
            <a:custGeom>
              <a:avLst/>
              <a:gdLst>
                <a:gd name="connsiteX0" fmla="*/ 0 w 3934"/>
                <a:gd name="connsiteY0" fmla="*/ 1180 h 3934"/>
                <a:gd name="connsiteX1" fmla="*/ 2360 w 3934"/>
                <a:gd name="connsiteY1" fmla="*/ 3934 h 3934"/>
                <a:gd name="connsiteX2" fmla="*/ 4721 w 3934"/>
                <a:gd name="connsiteY2" fmla="*/ 1180 h 3934"/>
                <a:gd name="connsiteX3" fmla="*/ 2754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0" y="1180"/>
                  </a:moveTo>
                  <a:lnTo>
                    <a:pt x="2360" y="3934"/>
                  </a:lnTo>
                  <a:lnTo>
                    <a:pt x="4721" y="118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53" name="Freeform: Shape 3847">
              <a:extLst>
                <a:ext uri="{FF2B5EF4-FFF2-40B4-BE49-F238E27FC236}">
                  <a16:creationId xmlns:a16="http://schemas.microsoft.com/office/drawing/2014/main" id="{7974BF07-7A02-4312-80A4-D7569817A3FC}"/>
                </a:ext>
              </a:extLst>
            </p:cNvPr>
            <p:cNvSpPr/>
            <p:nvPr/>
          </p:nvSpPr>
          <p:spPr>
            <a:xfrm>
              <a:off x="9332326" y="3759520"/>
              <a:ext cx="7869" cy="7869"/>
            </a:xfrm>
            <a:custGeom>
              <a:avLst/>
              <a:gdLst>
                <a:gd name="connsiteX0" fmla="*/ 6688 w 7868"/>
                <a:gd name="connsiteY0" fmla="*/ 0 h 7868"/>
                <a:gd name="connsiteX1" fmla="*/ 3540 w 7868"/>
                <a:gd name="connsiteY1" fmla="*/ 0 h 7868"/>
                <a:gd name="connsiteX2" fmla="*/ 787 w 7868"/>
                <a:gd name="connsiteY2" fmla="*/ 1574 h 7868"/>
                <a:gd name="connsiteX3" fmla="*/ 787 w 7868"/>
                <a:gd name="connsiteY3" fmla="*/ 4328 h 7868"/>
                <a:gd name="connsiteX4" fmla="*/ 0 w 7868"/>
                <a:gd name="connsiteY4" fmla="*/ 7475 h 7868"/>
                <a:gd name="connsiteX5" fmla="*/ 1967 w 7868"/>
                <a:gd name="connsiteY5" fmla="*/ 10229 h 7868"/>
                <a:gd name="connsiteX6" fmla="*/ 4721 w 7868"/>
                <a:gd name="connsiteY6" fmla="*/ 8262 h 7868"/>
                <a:gd name="connsiteX7" fmla="*/ 7869 w 7868"/>
                <a:gd name="connsiteY7" fmla="*/ 7082 h 7868"/>
                <a:gd name="connsiteX8" fmla="*/ 10229 w 7868"/>
                <a:gd name="connsiteY8" fmla="*/ 4328 h 7868"/>
                <a:gd name="connsiteX9" fmla="*/ 9836 w 7868"/>
                <a:gd name="connsiteY9" fmla="*/ 1180 h 7868"/>
                <a:gd name="connsiteX10" fmla="*/ 9442 w 7868"/>
                <a:gd name="connsiteY10" fmla="*/ 39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68" h="7868">
                  <a:moveTo>
                    <a:pt x="6688" y="0"/>
                  </a:moveTo>
                  <a:lnTo>
                    <a:pt x="3540" y="0"/>
                  </a:lnTo>
                  <a:lnTo>
                    <a:pt x="787" y="1574"/>
                  </a:lnTo>
                  <a:lnTo>
                    <a:pt x="787" y="4328"/>
                  </a:lnTo>
                  <a:lnTo>
                    <a:pt x="0" y="7475"/>
                  </a:lnTo>
                  <a:lnTo>
                    <a:pt x="1967" y="10229"/>
                  </a:lnTo>
                  <a:lnTo>
                    <a:pt x="4721" y="8262"/>
                  </a:lnTo>
                  <a:lnTo>
                    <a:pt x="7869" y="7082"/>
                  </a:lnTo>
                  <a:lnTo>
                    <a:pt x="10229" y="4328"/>
                  </a:lnTo>
                  <a:lnTo>
                    <a:pt x="9836" y="1180"/>
                  </a:lnTo>
                  <a:lnTo>
                    <a:pt x="9442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54" name="Freeform: Shape 3848">
              <a:extLst>
                <a:ext uri="{FF2B5EF4-FFF2-40B4-BE49-F238E27FC236}">
                  <a16:creationId xmlns:a16="http://schemas.microsoft.com/office/drawing/2014/main" id="{B1BB0131-3466-43F7-88DB-746B554E3936}"/>
                </a:ext>
              </a:extLst>
            </p:cNvPr>
            <p:cNvSpPr/>
            <p:nvPr/>
          </p:nvSpPr>
          <p:spPr>
            <a:xfrm>
              <a:off x="9177316" y="3737095"/>
              <a:ext cx="7869" cy="7869"/>
            </a:xfrm>
            <a:custGeom>
              <a:avLst/>
              <a:gdLst>
                <a:gd name="connsiteX0" fmla="*/ 3541 w 7868"/>
                <a:gd name="connsiteY0" fmla="*/ 11409 h 7868"/>
                <a:gd name="connsiteX1" fmla="*/ 4721 w 7868"/>
                <a:gd name="connsiteY1" fmla="*/ 8262 h 7868"/>
                <a:gd name="connsiteX2" fmla="*/ 7476 w 7868"/>
                <a:gd name="connsiteY2" fmla="*/ 9442 h 7868"/>
                <a:gd name="connsiteX3" fmla="*/ 8262 w 7868"/>
                <a:gd name="connsiteY3" fmla="*/ 6295 h 7868"/>
                <a:gd name="connsiteX4" fmla="*/ 9443 w 7868"/>
                <a:gd name="connsiteY4" fmla="*/ 3541 h 7868"/>
                <a:gd name="connsiteX5" fmla="*/ 6689 w 7868"/>
                <a:gd name="connsiteY5" fmla="*/ 394 h 7868"/>
                <a:gd name="connsiteX6" fmla="*/ 6295 w 7868"/>
                <a:gd name="connsiteY6" fmla="*/ 0 h 7868"/>
                <a:gd name="connsiteX7" fmla="*/ 3541 w 7868"/>
                <a:gd name="connsiteY7" fmla="*/ 2361 h 7868"/>
                <a:gd name="connsiteX8" fmla="*/ 394 w 7868"/>
                <a:gd name="connsiteY8" fmla="*/ 2361 h 7868"/>
                <a:gd name="connsiteX9" fmla="*/ 0 w 7868"/>
                <a:gd name="connsiteY9" fmla="*/ 5508 h 7868"/>
                <a:gd name="connsiteX10" fmla="*/ 2361 w 7868"/>
                <a:gd name="connsiteY10" fmla="*/ 826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68" h="7868">
                  <a:moveTo>
                    <a:pt x="3541" y="11409"/>
                  </a:moveTo>
                  <a:lnTo>
                    <a:pt x="4721" y="8262"/>
                  </a:lnTo>
                  <a:lnTo>
                    <a:pt x="7476" y="9442"/>
                  </a:lnTo>
                  <a:lnTo>
                    <a:pt x="8262" y="6295"/>
                  </a:lnTo>
                  <a:lnTo>
                    <a:pt x="9443" y="3541"/>
                  </a:lnTo>
                  <a:lnTo>
                    <a:pt x="6689" y="394"/>
                  </a:lnTo>
                  <a:lnTo>
                    <a:pt x="6295" y="0"/>
                  </a:lnTo>
                  <a:lnTo>
                    <a:pt x="3541" y="2361"/>
                  </a:lnTo>
                  <a:lnTo>
                    <a:pt x="394" y="2361"/>
                  </a:lnTo>
                  <a:lnTo>
                    <a:pt x="0" y="5508"/>
                  </a:lnTo>
                  <a:lnTo>
                    <a:pt x="2361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55" name="Freeform: Shape 3849">
              <a:extLst>
                <a:ext uri="{FF2B5EF4-FFF2-40B4-BE49-F238E27FC236}">
                  <a16:creationId xmlns:a16="http://schemas.microsoft.com/office/drawing/2014/main" id="{EA69EEAC-6BA2-4751-AE8A-62E28DD11BB5}"/>
                </a:ext>
              </a:extLst>
            </p:cNvPr>
            <p:cNvSpPr/>
            <p:nvPr/>
          </p:nvSpPr>
          <p:spPr>
            <a:xfrm>
              <a:off x="9154104" y="3733554"/>
              <a:ext cx="3934" cy="3934"/>
            </a:xfrm>
            <a:custGeom>
              <a:avLst/>
              <a:gdLst>
                <a:gd name="connsiteX0" fmla="*/ 0 w 3934"/>
                <a:gd name="connsiteY0" fmla="*/ 1574 h 3934"/>
                <a:gd name="connsiteX1" fmla="*/ 0 w 3934"/>
                <a:gd name="connsiteY1" fmla="*/ 4328 h 3934"/>
                <a:gd name="connsiteX2" fmla="*/ 2754 w 3934"/>
                <a:gd name="connsiteY2" fmla="*/ 5114 h 3934"/>
                <a:gd name="connsiteX3" fmla="*/ 5901 w 3934"/>
                <a:gd name="connsiteY3" fmla="*/ 3934 h 3934"/>
                <a:gd name="connsiteX4" fmla="*/ 7081 w 3934"/>
                <a:gd name="connsiteY4" fmla="*/ 1180 h 3934"/>
                <a:gd name="connsiteX5" fmla="*/ 5901 w 3934"/>
                <a:gd name="connsiteY5" fmla="*/ 787 h 3934"/>
                <a:gd name="connsiteX6" fmla="*/ 3147 w 3934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0" y="1574"/>
                  </a:moveTo>
                  <a:lnTo>
                    <a:pt x="0" y="4328"/>
                  </a:lnTo>
                  <a:lnTo>
                    <a:pt x="2754" y="5114"/>
                  </a:lnTo>
                  <a:lnTo>
                    <a:pt x="5901" y="3934"/>
                  </a:lnTo>
                  <a:lnTo>
                    <a:pt x="7081" y="1180"/>
                  </a:lnTo>
                  <a:lnTo>
                    <a:pt x="5901" y="78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56" name="Freeform: Shape 3850">
              <a:extLst>
                <a:ext uri="{FF2B5EF4-FFF2-40B4-BE49-F238E27FC236}">
                  <a16:creationId xmlns:a16="http://schemas.microsoft.com/office/drawing/2014/main" id="{A53F1651-D74C-44C5-8E86-DB98C8E80B40}"/>
                </a:ext>
              </a:extLst>
            </p:cNvPr>
            <p:cNvSpPr/>
            <p:nvPr/>
          </p:nvSpPr>
          <p:spPr>
            <a:xfrm>
              <a:off x="8903884" y="3533300"/>
              <a:ext cx="322610" cy="393426"/>
            </a:xfrm>
            <a:custGeom>
              <a:avLst/>
              <a:gdLst>
                <a:gd name="connsiteX0" fmla="*/ 297037 w 322609"/>
                <a:gd name="connsiteY0" fmla="*/ 386738 h 393426"/>
                <a:gd name="connsiteX1" fmla="*/ 296644 w 322609"/>
                <a:gd name="connsiteY1" fmla="*/ 383591 h 393426"/>
                <a:gd name="connsiteX2" fmla="*/ 298611 w 322609"/>
                <a:gd name="connsiteY2" fmla="*/ 380837 h 393426"/>
                <a:gd name="connsiteX3" fmla="*/ 299004 w 322609"/>
                <a:gd name="connsiteY3" fmla="*/ 378083 h 393426"/>
                <a:gd name="connsiteX4" fmla="*/ 301758 w 322609"/>
                <a:gd name="connsiteY4" fmla="*/ 380837 h 393426"/>
                <a:gd name="connsiteX5" fmla="*/ 303725 w 322609"/>
                <a:gd name="connsiteY5" fmla="*/ 383591 h 393426"/>
                <a:gd name="connsiteX6" fmla="*/ 306873 w 322609"/>
                <a:gd name="connsiteY6" fmla="*/ 385558 h 393426"/>
                <a:gd name="connsiteX7" fmla="*/ 308447 w 322609"/>
                <a:gd name="connsiteY7" fmla="*/ 388312 h 393426"/>
                <a:gd name="connsiteX8" fmla="*/ 311201 w 322609"/>
                <a:gd name="connsiteY8" fmla="*/ 390279 h 393426"/>
                <a:gd name="connsiteX9" fmla="*/ 313955 w 322609"/>
                <a:gd name="connsiteY9" fmla="*/ 390672 h 393426"/>
                <a:gd name="connsiteX10" fmla="*/ 314741 w 322609"/>
                <a:gd name="connsiteY10" fmla="*/ 387919 h 393426"/>
                <a:gd name="connsiteX11" fmla="*/ 315528 w 322609"/>
                <a:gd name="connsiteY11" fmla="*/ 385164 h 393426"/>
                <a:gd name="connsiteX12" fmla="*/ 316315 w 322609"/>
                <a:gd name="connsiteY12" fmla="*/ 382410 h 393426"/>
                <a:gd name="connsiteX13" fmla="*/ 315922 w 322609"/>
                <a:gd name="connsiteY13" fmla="*/ 379263 h 393426"/>
                <a:gd name="connsiteX14" fmla="*/ 316315 w 322609"/>
                <a:gd name="connsiteY14" fmla="*/ 376509 h 393426"/>
                <a:gd name="connsiteX15" fmla="*/ 316708 w 322609"/>
                <a:gd name="connsiteY15" fmla="*/ 373755 h 393426"/>
                <a:gd name="connsiteX16" fmla="*/ 317889 w 322609"/>
                <a:gd name="connsiteY16" fmla="*/ 371001 h 393426"/>
                <a:gd name="connsiteX17" fmla="*/ 317495 w 322609"/>
                <a:gd name="connsiteY17" fmla="*/ 367854 h 393426"/>
                <a:gd name="connsiteX18" fmla="*/ 317889 w 322609"/>
                <a:gd name="connsiteY18" fmla="*/ 365100 h 393426"/>
                <a:gd name="connsiteX19" fmla="*/ 318675 w 322609"/>
                <a:gd name="connsiteY19" fmla="*/ 362346 h 393426"/>
                <a:gd name="connsiteX20" fmla="*/ 319069 w 322609"/>
                <a:gd name="connsiteY20" fmla="*/ 359592 h 393426"/>
                <a:gd name="connsiteX21" fmla="*/ 318283 w 322609"/>
                <a:gd name="connsiteY21" fmla="*/ 356444 h 393426"/>
                <a:gd name="connsiteX22" fmla="*/ 318675 w 322609"/>
                <a:gd name="connsiteY22" fmla="*/ 353690 h 393426"/>
                <a:gd name="connsiteX23" fmla="*/ 319462 w 322609"/>
                <a:gd name="connsiteY23" fmla="*/ 350936 h 393426"/>
                <a:gd name="connsiteX24" fmla="*/ 319856 w 322609"/>
                <a:gd name="connsiteY24" fmla="*/ 348182 h 393426"/>
                <a:gd name="connsiteX25" fmla="*/ 320250 w 322609"/>
                <a:gd name="connsiteY25" fmla="*/ 345035 h 393426"/>
                <a:gd name="connsiteX26" fmla="*/ 318675 w 322609"/>
                <a:gd name="connsiteY26" fmla="*/ 342281 h 393426"/>
                <a:gd name="connsiteX27" fmla="*/ 317495 w 322609"/>
                <a:gd name="connsiteY27" fmla="*/ 339527 h 393426"/>
                <a:gd name="connsiteX28" fmla="*/ 317495 w 322609"/>
                <a:gd name="connsiteY28" fmla="*/ 336380 h 393426"/>
                <a:gd name="connsiteX29" fmla="*/ 317889 w 322609"/>
                <a:gd name="connsiteY29" fmla="*/ 334412 h 393426"/>
                <a:gd name="connsiteX30" fmla="*/ 318675 w 322609"/>
                <a:gd name="connsiteY30" fmla="*/ 331658 h 393426"/>
                <a:gd name="connsiteX31" fmla="*/ 319856 w 322609"/>
                <a:gd name="connsiteY31" fmla="*/ 328905 h 393426"/>
                <a:gd name="connsiteX32" fmla="*/ 321429 w 322609"/>
                <a:gd name="connsiteY32" fmla="*/ 325757 h 393426"/>
                <a:gd name="connsiteX33" fmla="*/ 322217 w 322609"/>
                <a:gd name="connsiteY33" fmla="*/ 323003 h 393426"/>
                <a:gd name="connsiteX34" fmla="*/ 319069 w 322609"/>
                <a:gd name="connsiteY34" fmla="*/ 321036 h 393426"/>
                <a:gd name="connsiteX35" fmla="*/ 318283 w 322609"/>
                <a:gd name="connsiteY35" fmla="*/ 317888 h 393426"/>
                <a:gd name="connsiteX36" fmla="*/ 319462 w 322609"/>
                <a:gd name="connsiteY36" fmla="*/ 315135 h 393426"/>
                <a:gd name="connsiteX37" fmla="*/ 319856 w 322609"/>
                <a:gd name="connsiteY37" fmla="*/ 312381 h 393426"/>
                <a:gd name="connsiteX38" fmla="*/ 321036 w 322609"/>
                <a:gd name="connsiteY38" fmla="*/ 309233 h 393426"/>
                <a:gd name="connsiteX39" fmla="*/ 323396 w 322609"/>
                <a:gd name="connsiteY39" fmla="*/ 306479 h 393426"/>
                <a:gd name="connsiteX40" fmla="*/ 326151 w 322609"/>
                <a:gd name="connsiteY40" fmla="*/ 304119 h 393426"/>
                <a:gd name="connsiteX41" fmla="*/ 326151 w 322609"/>
                <a:gd name="connsiteY41" fmla="*/ 298611 h 393426"/>
                <a:gd name="connsiteX42" fmla="*/ 325757 w 322609"/>
                <a:gd name="connsiteY42" fmla="*/ 295463 h 393426"/>
                <a:gd name="connsiteX43" fmla="*/ 323004 w 322609"/>
                <a:gd name="connsiteY43" fmla="*/ 293890 h 393426"/>
                <a:gd name="connsiteX44" fmla="*/ 320250 w 322609"/>
                <a:gd name="connsiteY44" fmla="*/ 293103 h 393426"/>
                <a:gd name="connsiteX45" fmla="*/ 318675 w 322609"/>
                <a:gd name="connsiteY45" fmla="*/ 290349 h 393426"/>
                <a:gd name="connsiteX46" fmla="*/ 319069 w 322609"/>
                <a:gd name="connsiteY46" fmla="*/ 287595 h 393426"/>
                <a:gd name="connsiteX47" fmla="*/ 316315 w 322609"/>
                <a:gd name="connsiteY47" fmla="*/ 284447 h 393426"/>
                <a:gd name="connsiteX48" fmla="*/ 313955 w 322609"/>
                <a:gd name="connsiteY48" fmla="*/ 281693 h 393426"/>
                <a:gd name="connsiteX49" fmla="*/ 313561 w 322609"/>
                <a:gd name="connsiteY49" fmla="*/ 278546 h 393426"/>
                <a:gd name="connsiteX50" fmla="*/ 314348 w 322609"/>
                <a:gd name="connsiteY50" fmla="*/ 275792 h 393426"/>
                <a:gd name="connsiteX51" fmla="*/ 311201 w 322609"/>
                <a:gd name="connsiteY51" fmla="*/ 275398 h 393426"/>
                <a:gd name="connsiteX52" fmla="*/ 308447 w 322609"/>
                <a:gd name="connsiteY52" fmla="*/ 274612 h 393426"/>
                <a:gd name="connsiteX53" fmla="*/ 305692 w 322609"/>
                <a:gd name="connsiteY53" fmla="*/ 274218 h 393426"/>
                <a:gd name="connsiteX54" fmla="*/ 302546 w 322609"/>
                <a:gd name="connsiteY54" fmla="*/ 273038 h 393426"/>
                <a:gd name="connsiteX55" fmla="*/ 299791 w 322609"/>
                <a:gd name="connsiteY55" fmla="*/ 274218 h 393426"/>
                <a:gd name="connsiteX56" fmla="*/ 297037 w 322609"/>
                <a:gd name="connsiteY56" fmla="*/ 273825 h 393426"/>
                <a:gd name="connsiteX57" fmla="*/ 296644 w 322609"/>
                <a:gd name="connsiteY57" fmla="*/ 274218 h 393426"/>
                <a:gd name="connsiteX58" fmla="*/ 293889 w 322609"/>
                <a:gd name="connsiteY58" fmla="*/ 272644 h 393426"/>
                <a:gd name="connsiteX59" fmla="*/ 293497 w 322609"/>
                <a:gd name="connsiteY59" fmla="*/ 274218 h 393426"/>
                <a:gd name="connsiteX60" fmla="*/ 293103 w 322609"/>
                <a:gd name="connsiteY60" fmla="*/ 273825 h 393426"/>
                <a:gd name="connsiteX61" fmla="*/ 291922 w 322609"/>
                <a:gd name="connsiteY61" fmla="*/ 271071 h 393426"/>
                <a:gd name="connsiteX62" fmla="*/ 289955 w 322609"/>
                <a:gd name="connsiteY62" fmla="*/ 273825 h 393426"/>
                <a:gd name="connsiteX63" fmla="*/ 288382 w 322609"/>
                <a:gd name="connsiteY63" fmla="*/ 276579 h 393426"/>
                <a:gd name="connsiteX64" fmla="*/ 287988 w 322609"/>
                <a:gd name="connsiteY64" fmla="*/ 278939 h 393426"/>
                <a:gd name="connsiteX65" fmla="*/ 286021 w 322609"/>
                <a:gd name="connsiteY65" fmla="*/ 281300 h 393426"/>
                <a:gd name="connsiteX66" fmla="*/ 287201 w 322609"/>
                <a:gd name="connsiteY66" fmla="*/ 278546 h 393426"/>
                <a:gd name="connsiteX67" fmla="*/ 287595 w 322609"/>
                <a:gd name="connsiteY67" fmla="*/ 275792 h 393426"/>
                <a:gd name="connsiteX68" fmla="*/ 285234 w 322609"/>
                <a:gd name="connsiteY68" fmla="*/ 275005 h 393426"/>
                <a:gd name="connsiteX69" fmla="*/ 285234 w 322609"/>
                <a:gd name="connsiteY69" fmla="*/ 273825 h 393426"/>
                <a:gd name="connsiteX70" fmla="*/ 288382 w 322609"/>
                <a:gd name="connsiteY70" fmla="*/ 273038 h 393426"/>
                <a:gd name="connsiteX71" fmla="*/ 290743 w 322609"/>
                <a:gd name="connsiteY71" fmla="*/ 270284 h 393426"/>
                <a:gd name="connsiteX72" fmla="*/ 292316 w 322609"/>
                <a:gd name="connsiteY72" fmla="*/ 267530 h 393426"/>
                <a:gd name="connsiteX73" fmla="*/ 292316 w 322609"/>
                <a:gd name="connsiteY73" fmla="*/ 264776 h 393426"/>
                <a:gd name="connsiteX74" fmla="*/ 290743 w 322609"/>
                <a:gd name="connsiteY74" fmla="*/ 262022 h 393426"/>
                <a:gd name="connsiteX75" fmla="*/ 287988 w 322609"/>
                <a:gd name="connsiteY75" fmla="*/ 262415 h 393426"/>
                <a:gd name="connsiteX76" fmla="*/ 285234 w 322609"/>
                <a:gd name="connsiteY76" fmla="*/ 262022 h 393426"/>
                <a:gd name="connsiteX77" fmla="*/ 285628 w 322609"/>
                <a:gd name="connsiteY77" fmla="*/ 258874 h 393426"/>
                <a:gd name="connsiteX78" fmla="*/ 283267 w 322609"/>
                <a:gd name="connsiteY78" fmla="*/ 257301 h 393426"/>
                <a:gd name="connsiteX79" fmla="*/ 282480 w 322609"/>
                <a:gd name="connsiteY79" fmla="*/ 252580 h 393426"/>
                <a:gd name="connsiteX80" fmla="*/ 281300 w 322609"/>
                <a:gd name="connsiteY80" fmla="*/ 249826 h 393426"/>
                <a:gd name="connsiteX81" fmla="*/ 280120 w 322609"/>
                <a:gd name="connsiteY81" fmla="*/ 246678 h 393426"/>
                <a:gd name="connsiteX82" fmla="*/ 279727 w 322609"/>
                <a:gd name="connsiteY82" fmla="*/ 243924 h 393426"/>
                <a:gd name="connsiteX83" fmla="*/ 280120 w 322609"/>
                <a:gd name="connsiteY83" fmla="*/ 240777 h 393426"/>
                <a:gd name="connsiteX84" fmla="*/ 279727 w 322609"/>
                <a:gd name="connsiteY84" fmla="*/ 238023 h 393426"/>
                <a:gd name="connsiteX85" fmla="*/ 278546 w 322609"/>
                <a:gd name="connsiteY85" fmla="*/ 235269 h 393426"/>
                <a:gd name="connsiteX86" fmla="*/ 278939 w 322609"/>
                <a:gd name="connsiteY86" fmla="*/ 232122 h 393426"/>
                <a:gd name="connsiteX87" fmla="*/ 278153 w 322609"/>
                <a:gd name="connsiteY87" fmla="*/ 229368 h 393426"/>
                <a:gd name="connsiteX88" fmla="*/ 275399 w 322609"/>
                <a:gd name="connsiteY88" fmla="*/ 229368 h 393426"/>
                <a:gd name="connsiteX89" fmla="*/ 272645 w 322609"/>
                <a:gd name="connsiteY89" fmla="*/ 230548 h 393426"/>
                <a:gd name="connsiteX90" fmla="*/ 269497 w 322609"/>
                <a:gd name="connsiteY90" fmla="*/ 228974 h 393426"/>
                <a:gd name="connsiteX91" fmla="*/ 268710 w 322609"/>
                <a:gd name="connsiteY91" fmla="*/ 228581 h 393426"/>
                <a:gd name="connsiteX92" fmla="*/ 249826 w 322609"/>
                <a:gd name="connsiteY92" fmla="*/ 219139 h 393426"/>
                <a:gd name="connsiteX93" fmla="*/ 249039 w 322609"/>
                <a:gd name="connsiteY93" fmla="*/ 214417 h 393426"/>
                <a:gd name="connsiteX94" fmla="*/ 249432 w 322609"/>
                <a:gd name="connsiteY94" fmla="*/ 213630 h 393426"/>
                <a:gd name="connsiteX95" fmla="*/ 248646 w 322609"/>
                <a:gd name="connsiteY95" fmla="*/ 212057 h 393426"/>
                <a:gd name="connsiteX96" fmla="*/ 248252 w 322609"/>
                <a:gd name="connsiteY96" fmla="*/ 209696 h 393426"/>
                <a:gd name="connsiteX97" fmla="*/ 251006 w 322609"/>
                <a:gd name="connsiteY97" fmla="*/ 211663 h 393426"/>
                <a:gd name="connsiteX98" fmla="*/ 254154 w 322609"/>
                <a:gd name="connsiteY98" fmla="*/ 210483 h 393426"/>
                <a:gd name="connsiteX99" fmla="*/ 252580 w 322609"/>
                <a:gd name="connsiteY99" fmla="*/ 207336 h 393426"/>
                <a:gd name="connsiteX100" fmla="*/ 249826 w 322609"/>
                <a:gd name="connsiteY100" fmla="*/ 206942 h 393426"/>
                <a:gd name="connsiteX101" fmla="*/ 247465 w 322609"/>
                <a:gd name="connsiteY101" fmla="*/ 206549 h 393426"/>
                <a:gd name="connsiteX102" fmla="*/ 250220 w 322609"/>
                <a:gd name="connsiteY102" fmla="*/ 205762 h 393426"/>
                <a:gd name="connsiteX103" fmla="*/ 251793 w 322609"/>
                <a:gd name="connsiteY103" fmla="*/ 202615 h 393426"/>
                <a:gd name="connsiteX104" fmla="*/ 261629 w 322609"/>
                <a:gd name="connsiteY104" fmla="*/ 194353 h 393426"/>
                <a:gd name="connsiteX105" fmla="*/ 261629 w 322609"/>
                <a:gd name="connsiteY105" fmla="*/ 193959 h 393426"/>
                <a:gd name="connsiteX106" fmla="*/ 260842 w 322609"/>
                <a:gd name="connsiteY106" fmla="*/ 191992 h 393426"/>
                <a:gd name="connsiteX107" fmla="*/ 259661 w 322609"/>
                <a:gd name="connsiteY107" fmla="*/ 185697 h 393426"/>
                <a:gd name="connsiteX108" fmla="*/ 256908 w 322609"/>
                <a:gd name="connsiteY108" fmla="*/ 182943 h 393426"/>
                <a:gd name="connsiteX109" fmla="*/ 254154 w 322609"/>
                <a:gd name="connsiteY109" fmla="*/ 180976 h 393426"/>
                <a:gd name="connsiteX110" fmla="*/ 251400 w 322609"/>
                <a:gd name="connsiteY110" fmla="*/ 178222 h 393426"/>
                <a:gd name="connsiteX111" fmla="*/ 248646 w 322609"/>
                <a:gd name="connsiteY111" fmla="*/ 176255 h 393426"/>
                <a:gd name="connsiteX112" fmla="*/ 245892 w 322609"/>
                <a:gd name="connsiteY112" fmla="*/ 177042 h 393426"/>
                <a:gd name="connsiteX113" fmla="*/ 243138 w 322609"/>
                <a:gd name="connsiteY113" fmla="*/ 178616 h 393426"/>
                <a:gd name="connsiteX114" fmla="*/ 240384 w 322609"/>
                <a:gd name="connsiteY114" fmla="*/ 180976 h 393426"/>
                <a:gd name="connsiteX115" fmla="*/ 237236 w 322609"/>
                <a:gd name="connsiteY115" fmla="*/ 182943 h 393426"/>
                <a:gd name="connsiteX116" fmla="*/ 234483 w 322609"/>
                <a:gd name="connsiteY116" fmla="*/ 185304 h 393426"/>
                <a:gd name="connsiteX117" fmla="*/ 231728 w 322609"/>
                <a:gd name="connsiteY117" fmla="*/ 185697 h 393426"/>
                <a:gd name="connsiteX118" fmla="*/ 228974 w 322609"/>
                <a:gd name="connsiteY118" fmla="*/ 186878 h 393426"/>
                <a:gd name="connsiteX119" fmla="*/ 227794 w 322609"/>
                <a:gd name="connsiteY119" fmla="*/ 187271 h 393426"/>
                <a:gd name="connsiteX120" fmla="*/ 225827 w 322609"/>
                <a:gd name="connsiteY120" fmla="*/ 186878 h 393426"/>
                <a:gd name="connsiteX121" fmla="*/ 228187 w 322609"/>
                <a:gd name="connsiteY121" fmla="*/ 185697 h 393426"/>
                <a:gd name="connsiteX122" fmla="*/ 230942 w 322609"/>
                <a:gd name="connsiteY122" fmla="*/ 184123 h 393426"/>
                <a:gd name="connsiteX123" fmla="*/ 234089 w 322609"/>
                <a:gd name="connsiteY123" fmla="*/ 182550 h 393426"/>
                <a:gd name="connsiteX124" fmla="*/ 236843 w 322609"/>
                <a:gd name="connsiteY124" fmla="*/ 180583 h 393426"/>
                <a:gd name="connsiteX125" fmla="*/ 239597 w 322609"/>
                <a:gd name="connsiteY125" fmla="*/ 178616 h 393426"/>
                <a:gd name="connsiteX126" fmla="*/ 238417 w 322609"/>
                <a:gd name="connsiteY126" fmla="*/ 175468 h 393426"/>
                <a:gd name="connsiteX127" fmla="*/ 236450 w 322609"/>
                <a:gd name="connsiteY127" fmla="*/ 172714 h 393426"/>
                <a:gd name="connsiteX128" fmla="*/ 233695 w 322609"/>
                <a:gd name="connsiteY128" fmla="*/ 169960 h 393426"/>
                <a:gd name="connsiteX129" fmla="*/ 230942 w 322609"/>
                <a:gd name="connsiteY129" fmla="*/ 169567 h 393426"/>
                <a:gd name="connsiteX130" fmla="*/ 228187 w 322609"/>
                <a:gd name="connsiteY130" fmla="*/ 169173 h 393426"/>
                <a:gd name="connsiteX131" fmla="*/ 225434 w 322609"/>
                <a:gd name="connsiteY131" fmla="*/ 169567 h 393426"/>
                <a:gd name="connsiteX132" fmla="*/ 222286 w 322609"/>
                <a:gd name="connsiteY132" fmla="*/ 169173 h 393426"/>
                <a:gd name="connsiteX133" fmla="*/ 219532 w 322609"/>
                <a:gd name="connsiteY133" fmla="*/ 166813 h 393426"/>
                <a:gd name="connsiteX134" fmla="*/ 217172 w 322609"/>
                <a:gd name="connsiteY134" fmla="*/ 163666 h 393426"/>
                <a:gd name="connsiteX135" fmla="*/ 214417 w 322609"/>
                <a:gd name="connsiteY135" fmla="*/ 161305 h 393426"/>
                <a:gd name="connsiteX136" fmla="*/ 212844 w 322609"/>
                <a:gd name="connsiteY136" fmla="*/ 158551 h 393426"/>
                <a:gd name="connsiteX137" fmla="*/ 212844 w 322609"/>
                <a:gd name="connsiteY137" fmla="*/ 155797 h 393426"/>
                <a:gd name="connsiteX138" fmla="*/ 211664 w 322609"/>
                <a:gd name="connsiteY138" fmla="*/ 152649 h 393426"/>
                <a:gd name="connsiteX139" fmla="*/ 211664 w 322609"/>
                <a:gd name="connsiteY139" fmla="*/ 150289 h 393426"/>
                <a:gd name="connsiteX140" fmla="*/ 211270 w 322609"/>
                <a:gd name="connsiteY140" fmla="*/ 147535 h 393426"/>
                <a:gd name="connsiteX141" fmla="*/ 208910 w 322609"/>
                <a:gd name="connsiteY141" fmla="*/ 144388 h 393426"/>
                <a:gd name="connsiteX142" fmla="*/ 205762 w 322609"/>
                <a:gd name="connsiteY142" fmla="*/ 142027 h 393426"/>
                <a:gd name="connsiteX143" fmla="*/ 203008 w 322609"/>
                <a:gd name="connsiteY143" fmla="*/ 139666 h 393426"/>
                <a:gd name="connsiteX144" fmla="*/ 200254 w 322609"/>
                <a:gd name="connsiteY144" fmla="*/ 136519 h 393426"/>
                <a:gd name="connsiteX145" fmla="*/ 197500 w 322609"/>
                <a:gd name="connsiteY145" fmla="*/ 135339 h 393426"/>
                <a:gd name="connsiteX146" fmla="*/ 194353 w 322609"/>
                <a:gd name="connsiteY146" fmla="*/ 136126 h 393426"/>
                <a:gd name="connsiteX147" fmla="*/ 191599 w 322609"/>
                <a:gd name="connsiteY147" fmla="*/ 134945 h 393426"/>
                <a:gd name="connsiteX148" fmla="*/ 188845 w 322609"/>
                <a:gd name="connsiteY148" fmla="*/ 133372 h 393426"/>
                <a:gd name="connsiteX149" fmla="*/ 187665 w 322609"/>
                <a:gd name="connsiteY149" fmla="*/ 130618 h 393426"/>
                <a:gd name="connsiteX150" fmla="*/ 186878 w 322609"/>
                <a:gd name="connsiteY150" fmla="*/ 127864 h 393426"/>
                <a:gd name="connsiteX151" fmla="*/ 186484 w 322609"/>
                <a:gd name="connsiteY151" fmla="*/ 125110 h 393426"/>
                <a:gd name="connsiteX152" fmla="*/ 184910 w 322609"/>
                <a:gd name="connsiteY152" fmla="*/ 122356 h 393426"/>
                <a:gd name="connsiteX153" fmla="*/ 182157 w 322609"/>
                <a:gd name="connsiteY153" fmla="*/ 119995 h 393426"/>
                <a:gd name="connsiteX154" fmla="*/ 179403 w 322609"/>
                <a:gd name="connsiteY154" fmla="*/ 118028 h 393426"/>
                <a:gd name="connsiteX155" fmla="*/ 177042 w 322609"/>
                <a:gd name="connsiteY155" fmla="*/ 115274 h 393426"/>
                <a:gd name="connsiteX156" fmla="*/ 174288 w 322609"/>
                <a:gd name="connsiteY156" fmla="*/ 114881 h 393426"/>
                <a:gd name="connsiteX157" fmla="*/ 171534 w 322609"/>
                <a:gd name="connsiteY157" fmla="*/ 116454 h 393426"/>
                <a:gd name="connsiteX158" fmla="*/ 171141 w 322609"/>
                <a:gd name="connsiteY158" fmla="*/ 119208 h 393426"/>
                <a:gd name="connsiteX159" fmla="*/ 172714 w 322609"/>
                <a:gd name="connsiteY159" fmla="*/ 122356 h 393426"/>
                <a:gd name="connsiteX160" fmla="*/ 174288 w 322609"/>
                <a:gd name="connsiteY160" fmla="*/ 125110 h 393426"/>
                <a:gd name="connsiteX161" fmla="*/ 175075 w 322609"/>
                <a:gd name="connsiteY161" fmla="*/ 127864 h 393426"/>
                <a:gd name="connsiteX162" fmla="*/ 175469 w 322609"/>
                <a:gd name="connsiteY162" fmla="*/ 131011 h 393426"/>
                <a:gd name="connsiteX163" fmla="*/ 173895 w 322609"/>
                <a:gd name="connsiteY163" fmla="*/ 128650 h 393426"/>
                <a:gd name="connsiteX164" fmla="*/ 173501 w 322609"/>
                <a:gd name="connsiteY164" fmla="*/ 125896 h 393426"/>
                <a:gd name="connsiteX165" fmla="*/ 170747 w 322609"/>
                <a:gd name="connsiteY165" fmla="*/ 123142 h 393426"/>
                <a:gd name="connsiteX166" fmla="*/ 167993 w 322609"/>
                <a:gd name="connsiteY166" fmla="*/ 121175 h 393426"/>
                <a:gd name="connsiteX167" fmla="*/ 156191 w 322609"/>
                <a:gd name="connsiteY167" fmla="*/ 106225 h 393426"/>
                <a:gd name="connsiteX168" fmla="*/ 154617 w 322609"/>
                <a:gd name="connsiteY168" fmla="*/ 103865 h 393426"/>
                <a:gd name="connsiteX169" fmla="*/ 151863 w 322609"/>
                <a:gd name="connsiteY169" fmla="*/ 100717 h 393426"/>
                <a:gd name="connsiteX170" fmla="*/ 150289 w 322609"/>
                <a:gd name="connsiteY170" fmla="*/ 103865 h 393426"/>
                <a:gd name="connsiteX171" fmla="*/ 150683 w 322609"/>
                <a:gd name="connsiteY171" fmla="*/ 106619 h 393426"/>
                <a:gd name="connsiteX172" fmla="*/ 149502 w 322609"/>
                <a:gd name="connsiteY172" fmla="*/ 104652 h 393426"/>
                <a:gd name="connsiteX173" fmla="*/ 149109 w 322609"/>
                <a:gd name="connsiteY173" fmla="*/ 103078 h 393426"/>
                <a:gd name="connsiteX174" fmla="*/ 146748 w 322609"/>
                <a:gd name="connsiteY174" fmla="*/ 99930 h 393426"/>
                <a:gd name="connsiteX175" fmla="*/ 146748 w 322609"/>
                <a:gd name="connsiteY175" fmla="*/ 101504 h 393426"/>
                <a:gd name="connsiteX176" fmla="*/ 147142 w 322609"/>
                <a:gd name="connsiteY176" fmla="*/ 103078 h 393426"/>
                <a:gd name="connsiteX177" fmla="*/ 145962 w 322609"/>
                <a:gd name="connsiteY177" fmla="*/ 99930 h 393426"/>
                <a:gd name="connsiteX178" fmla="*/ 146748 w 322609"/>
                <a:gd name="connsiteY178" fmla="*/ 97570 h 393426"/>
                <a:gd name="connsiteX179" fmla="*/ 146748 w 322609"/>
                <a:gd name="connsiteY179" fmla="*/ 94816 h 393426"/>
                <a:gd name="connsiteX180" fmla="*/ 145568 w 322609"/>
                <a:gd name="connsiteY180" fmla="*/ 91668 h 393426"/>
                <a:gd name="connsiteX181" fmla="*/ 142421 w 322609"/>
                <a:gd name="connsiteY181" fmla="*/ 90095 h 393426"/>
                <a:gd name="connsiteX182" fmla="*/ 142421 w 322609"/>
                <a:gd name="connsiteY182" fmla="*/ 89308 h 393426"/>
                <a:gd name="connsiteX183" fmla="*/ 140060 w 322609"/>
                <a:gd name="connsiteY183" fmla="*/ 86554 h 393426"/>
                <a:gd name="connsiteX184" fmla="*/ 137306 w 322609"/>
                <a:gd name="connsiteY184" fmla="*/ 83800 h 393426"/>
                <a:gd name="connsiteX185" fmla="*/ 134552 w 322609"/>
                <a:gd name="connsiteY185" fmla="*/ 83013 h 393426"/>
                <a:gd name="connsiteX186" fmla="*/ 131798 w 322609"/>
                <a:gd name="connsiteY186" fmla="*/ 80652 h 393426"/>
                <a:gd name="connsiteX187" fmla="*/ 129437 w 322609"/>
                <a:gd name="connsiteY187" fmla="*/ 77898 h 393426"/>
                <a:gd name="connsiteX188" fmla="*/ 126684 w 322609"/>
                <a:gd name="connsiteY188" fmla="*/ 76325 h 393426"/>
                <a:gd name="connsiteX189" fmla="*/ 123929 w 322609"/>
                <a:gd name="connsiteY189" fmla="*/ 73571 h 393426"/>
                <a:gd name="connsiteX190" fmla="*/ 121176 w 322609"/>
                <a:gd name="connsiteY190" fmla="*/ 71210 h 393426"/>
                <a:gd name="connsiteX191" fmla="*/ 118422 w 322609"/>
                <a:gd name="connsiteY191" fmla="*/ 69243 h 393426"/>
                <a:gd name="connsiteX192" fmla="*/ 117635 w 322609"/>
                <a:gd name="connsiteY192" fmla="*/ 68850 h 393426"/>
                <a:gd name="connsiteX193" fmla="*/ 93242 w 322609"/>
                <a:gd name="connsiteY193" fmla="*/ 47605 h 393426"/>
                <a:gd name="connsiteX194" fmla="*/ 93636 w 322609"/>
                <a:gd name="connsiteY194" fmla="*/ 44851 h 393426"/>
                <a:gd name="connsiteX195" fmla="*/ 93242 w 322609"/>
                <a:gd name="connsiteY195" fmla="*/ 42097 h 393426"/>
                <a:gd name="connsiteX196" fmla="*/ 90488 w 322609"/>
                <a:gd name="connsiteY196" fmla="*/ 39736 h 393426"/>
                <a:gd name="connsiteX197" fmla="*/ 87734 w 322609"/>
                <a:gd name="connsiteY197" fmla="*/ 38949 h 393426"/>
                <a:gd name="connsiteX198" fmla="*/ 85374 w 322609"/>
                <a:gd name="connsiteY198" fmla="*/ 36195 h 393426"/>
                <a:gd name="connsiteX199" fmla="*/ 84193 w 322609"/>
                <a:gd name="connsiteY199" fmla="*/ 33048 h 393426"/>
                <a:gd name="connsiteX200" fmla="*/ 83407 w 322609"/>
                <a:gd name="connsiteY200" fmla="*/ 30294 h 393426"/>
                <a:gd name="connsiteX201" fmla="*/ 81833 w 322609"/>
                <a:gd name="connsiteY201" fmla="*/ 27540 h 393426"/>
                <a:gd name="connsiteX202" fmla="*/ 79079 w 322609"/>
                <a:gd name="connsiteY202" fmla="*/ 25573 h 393426"/>
                <a:gd name="connsiteX203" fmla="*/ 76325 w 322609"/>
                <a:gd name="connsiteY203" fmla="*/ 22819 h 393426"/>
                <a:gd name="connsiteX204" fmla="*/ 73571 w 322609"/>
                <a:gd name="connsiteY204" fmla="*/ 20458 h 393426"/>
                <a:gd name="connsiteX205" fmla="*/ 71604 w 322609"/>
                <a:gd name="connsiteY205" fmla="*/ 17704 h 393426"/>
                <a:gd name="connsiteX206" fmla="*/ 68850 w 322609"/>
                <a:gd name="connsiteY206" fmla="*/ 14950 h 393426"/>
                <a:gd name="connsiteX207" fmla="*/ 68063 w 322609"/>
                <a:gd name="connsiteY207" fmla="*/ 15344 h 393426"/>
                <a:gd name="connsiteX208" fmla="*/ 64915 w 322609"/>
                <a:gd name="connsiteY208" fmla="*/ 16917 h 393426"/>
                <a:gd name="connsiteX209" fmla="*/ 62162 w 322609"/>
                <a:gd name="connsiteY209" fmla="*/ 18098 h 393426"/>
                <a:gd name="connsiteX210" fmla="*/ 59408 w 322609"/>
                <a:gd name="connsiteY210" fmla="*/ 18098 h 393426"/>
                <a:gd name="connsiteX211" fmla="*/ 57834 w 322609"/>
                <a:gd name="connsiteY211" fmla="*/ 16524 h 393426"/>
                <a:gd name="connsiteX212" fmla="*/ 68850 w 322609"/>
                <a:gd name="connsiteY212" fmla="*/ 14950 h 393426"/>
                <a:gd name="connsiteX213" fmla="*/ 13377 w 322609"/>
                <a:gd name="connsiteY213" fmla="*/ 3147 h 393426"/>
                <a:gd name="connsiteX214" fmla="*/ 11409 w 322609"/>
                <a:gd name="connsiteY214" fmla="*/ 2361 h 393426"/>
                <a:gd name="connsiteX215" fmla="*/ 10229 w 322609"/>
                <a:gd name="connsiteY215" fmla="*/ 2754 h 393426"/>
                <a:gd name="connsiteX216" fmla="*/ 5901 w 322609"/>
                <a:gd name="connsiteY216" fmla="*/ 1967 h 393426"/>
                <a:gd name="connsiteX217" fmla="*/ 5508 w 322609"/>
                <a:gd name="connsiteY217" fmla="*/ 1574 h 393426"/>
                <a:gd name="connsiteX218" fmla="*/ 2754 w 322609"/>
                <a:gd name="connsiteY218" fmla="*/ 3541 h 393426"/>
                <a:gd name="connsiteX219" fmla="*/ 0 w 322609"/>
                <a:gd name="connsiteY219" fmla="*/ 4328 h 393426"/>
                <a:gd name="connsiteX220" fmla="*/ 394 w 322609"/>
                <a:gd name="connsiteY220" fmla="*/ 7475 h 393426"/>
                <a:gd name="connsiteX221" fmla="*/ 1574 w 322609"/>
                <a:gd name="connsiteY221" fmla="*/ 10229 h 393426"/>
                <a:gd name="connsiteX222" fmla="*/ 394 w 322609"/>
                <a:gd name="connsiteY222" fmla="*/ 12983 h 393426"/>
                <a:gd name="connsiteX223" fmla="*/ 1967 w 322609"/>
                <a:gd name="connsiteY223" fmla="*/ 15737 h 393426"/>
                <a:gd name="connsiteX224" fmla="*/ 3541 w 322609"/>
                <a:gd name="connsiteY224" fmla="*/ 18491 h 393426"/>
                <a:gd name="connsiteX225" fmla="*/ 4721 w 322609"/>
                <a:gd name="connsiteY225" fmla="*/ 21638 h 393426"/>
                <a:gd name="connsiteX226" fmla="*/ 5901 w 322609"/>
                <a:gd name="connsiteY226" fmla="*/ 24392 h 393426"/>
                <a:gd name="connsiteX227" fmla="*/ 7475 w 322609"/>
                <a:gd name="connsiteY227" fmla="*/ 27147 h 393426"/>
                <a:gd name="connsiteX228" fmla="*/ 9049 w 322609"/>
                <a:gd name="connsiteY228" fmla="*/ 30294 h 393426"/>
                <a:gd name="connsiteX229" fmla="*/ 11016 w 322609"/>
                <a:gd name="connsiteY229" fmla="*/ 33048 h 393426"/>
                <a:gd name="connsiteX230" fmla="*/ 13770 w 322609"/>
                <a:gd name="connsiteY230" fmla="*/ 35802 h 393426"/>
                <a:gd name="connsiteX231" fmla="*/ 16524 w 322609"/>
                <a:gd name="connsiteY231" fmla="*/ 38162 h 393426"/>
                <a:gd name="connsiteX232" fmla="*/ 18885 w 322609"/>
                <a:gd name="connsiteY232" fmla="*/ 41310 h 393426"/>
                <a:gd name="connsiteX233" fmla="*/ 20852 w 322609"/>
                <a:gd name="connsiteY233" fmla="*/ 43277 h 393426"/>
                <a:gd name="connsiteX234" fmla="*/ 21638 w 322609"/>
                <a:gd name="connsiteY234" fmla="*/ 44457 h 393426"/>
                <a:gd name="connsiteX235" fmla="*/ 23606 w 322609"/>
                <a:gd name="connsiteY235" fmla="*/ 46818 h 393426"/>
                <a:gd name="connsiteX236" fmla="*/ 26360 w 322609"/>
                <a:gd name="connsiteY236" fmla="*/ 49572 h 393426"/>
                <a:gd name="connsiteX237" fmla="*/ 27540 w 322609"/>
                <a:gd name="connsiteY237" fmla="*/ 50752 h 393426"/>
                <a:gd name="connsiteX238" fmla="*/ 74358 w 322609"/>
                <a:gd name="connsiteY238" fmla="*/ 102291 h 393426"/>
                <a:gd name="connsiteX239" fmla="*/ 74358 w 322609"/>
                <a:gd name="connsiteY239" fmla="*/ 101898 h 393426"/>
                <a:gd name="connsiteX240" fmla="*/ 72784 w 322609"/>
                <a:gd name="connsiteY240" fmla="*/ 94816 h 393426"/>
                <a:gd name="connsiteX241" fmla="*/ 72784 w 322609"/>
                <a:gd name="connsiteY241" fmla="*/ 94816 h 393426"/>
                <a:gd name="connsiteX242" fmla="*/ 75538 w 322609"/>
                <a:gd name="connsiteY242" fmla="*/ 97570 h 393426"/>
                <a:gd name="connsiteX243" fmla="*/ 76325 w 322609"/>
                <a:gd name="connsiteY243" fmla="*/ 100717 h 393426"/>
                <a:gd name="connsiteX244" fmla="*/ 76718 w 322609"/>
                <a:gd name="connsiteY244" fmla="*/ 103471 h 393426"/>
                <a:gd name="connsiteX245" fmla="*/ 76718 w 322609"/>
                <a:gd name="connsiteY245" fmla="*/ 105045 h 393426"/>
                <a:gd name="connsiteX246" fmla="*/ 74358 w 322609"/>
                <a:gd name="connsiteY246" fmla="*/ 102291 h 393426"/>
                <a:gd name="connsiteX247" fmla="*/ 77112 w 322609"/>
                <a:gd name="connsiteY247" fmla="*/ 109766 h 393426"/>
                <a:gd name="connsiteX248" fmla="*/ 77505 w 322609"/>
                <a:gd name="connsiteY248" fmla="*/ 111733 h 393426"/>
                <a:gd name="connsiteX249" fmla="*/ 79472 w 322609"/>
                <a:gd name="connsiteY249" fmla="*/ 114881 h 393426"/>
                <a:gd name="connsiteX250" fmla="*/ 79866 w 322609"/>
                <a:gd name="connsiteY250" fmla="*/ 114881 h 393426"/>
                <a:gd name="connsiteX251" fmla="*/ 88128 w 322609"/>
                <a:gd name="connsiteY251" fmla="*/ 117241 h 393426"/>
                <a:gd name="connsiteX252" fmla="*/ 123143 w 322609"/>
                <a:gd name="connsiteY252" fmla="*/ 184517 h 393426"/>
                <a:gd name="connsiteX253" fmla="*/ 125896 w 322609"/>
                <a:gd name="connsiteY253" fmla="*/ 186091 h 393426"/>
                <a:gd name="connsiteX254" fmla="*/ 125896 w 322609"/>
                <a:gd name="connsiteY254" fmla="*/ 186091 h 393426"/>
                <a:gd name="connsiteX255" fmla="*/ 140060 w 322609"/>
                <a:gd name="connsiteY255" fmla="*/ 193172 h 393426"/>
                <a:gd name="connsiteX256" fmla="*/ 142027 w 322609"/>
                <a:gd name="connsiteY256" fmla="*/ 196713 h 393426"/>
                <a:gd name="connsiteX257" fmla="*/ 141634 w 322609"/>
                <a:gd name="connsiteY257" fmla="*/ 199074 h 393426"/>
                <a:gd name="connsiteX258" fmla="*/ 143207 w 322609"/>
                <a:gd name="connsiteY258" fmla="*/ 201828 h 393426"/>
                <a:gd name="connsiteX259" fmla="*/ 144388 w 322609"/>
                <a:gd name="connsiteY259" fmla="*/ 204582 h 393426"/>
                <a:gd name="connsiteX260" fmla="*/ 147535 w 322609"/>
                <a:gd name="connsiteY260" fmla="*/ 207336 h 393426"/>
                <a:gd name="connsiteX261" fmla="*/ 149109 w 322609"/>
                <a:gd name="connsiteY261" fmla="*/ 208910 h 393426"/>
                <a:gd name="connsiteX262" fmla="*/ 173895 w 322609"/>
                <a:gd name="connsiteY262" fmla="*/ 266350 h 393426"/>
                <a:gd name="connsiteX263" fmla="*/ 173501 w 322609"/>
                <a:gd name="connsiteY263" fmla="*/ 267137 h 393426"/>
                <a:gd name="connsiteX264" fmla="*/ 175075 w 322609"/>
                <a:gd name="connsiteY264" fmla="*/ 269891 h 393426"/>
                <a:gd name="connsiteX265" fmla="*/ 176255 w 322609"/>
                <a:gd name="connsiteY265" fmla="*/ 272644 h 393426"/>
                <a:gd name="connsiteX266" fmla="*/ 177829 w 322609"/>
                <a:gd name="connsiteY266" fmla="*/ 275398 h 393426"/>
                <a:gd name="connsiteX267" fmla="*/ 179009 w 322609"/>
                <a:gd name="connsiteY267" fmla="*/ 277759 h 393426"/>
                <a:gd name="connsiteX268" fmla="*/ 180976 w 322609"/>
                <a:gd name="connsiteY268" fmla="*/ 280513 h 393426"/>
                <a:gd name="connsiteX269" fmla="*/ 183730 w 322609"/>
                <a:gd name="connsiteY269" fmla="*/ 283267 h 393426"/>
                <a:gd name="connsiteX270" fmla="*/ 184124 w 322609"/>
                <a:gd name="connsiteY270" fmla="*/ 283661 h 393426"/>
                <a:gd name="connsiteX271" fmla="*/ 188845 w 322609"/>
                <a:gd name="connsiteY271" fmla="*/ 288775 h 393426"/>
                <a:gd name="connsiteX272" fmla="*/ 189632 w 322609"/>
                <a:gd name="connsiteY272" fmla="*/ 290742 h 393426"/>
                <a:gd name="connsiteX273" fmla="*/ 190812 w 322609"/>
                <a:gd name="connsiteY273" fmla="*/ 293496 h 393426"/>
                <a:gd name="connsiteX274" fmla="*/ 191992 w 322609"/>
                <a:gd name="connsiteY274" fmla="*/ 296644 h 393426"/>
                <a:gd name="connsiteX275" fmla="*/ 193566 w 322609"/>
                <a:gd name="connsiteY275" fmla="*/ 299398 h 393426"/>
                <a:gd name="connsiteX276" fmla="*/ 195140 w 322609"/>
                <a:gd name="connsiteY276" fmla="*/ 302151 h 393426"/>
                <a:gd name="connsiteX277" fmla="*/ 197894 w 322609"/>
                <a:gd name="connsiteY277" fmla="*/ 304905 h 393426"/>
                <a:gd name="connsiteX278" fmla="*/ 200647 w 322609"/>
                <a:gd name="connsiteY278" fmla="*/ 307659 h 393426"/>
                <a:gd name="connsiteX279" fmla="*/ 203402 w 322609"/>
                <a:gd name="connsiteY279" fmla="*/ 310020 h 393426"/>
                <a:gd name="connsiteX280" fmla="*/ 206549 w 322609"/>
                <a:gd name="connsiteY280" fmla="*/ 312381 h 393426"/>
                <a:gd name="connsiteX281" fmla="*/ 209303 w 322609"/>
                <a:gd name="connsiteY281" fmla="*/ 314348 h 393426"/>
                <a:gd name="connsiteX282" fmla="*/ 212057 w 322609"/>
                <a:gd name="connsiteY282" fmla="*/ 316708 h 393426"/>
                <a:gd name="connsiteX283" fmla="*/ 213631 w 322609"/>
                <a:gd name="connsiteY283" fmla="*/ 319462 h 393426"/>
                <a:gd name="connsiteX284" fmla="*/ 214024 w 322609"/>
                <a:gd name="connsiteY284" fmla="*/ 322216 h 393426"/>
                <a:gd name="connsiteX285" fmla="*/ 215598 w 322609"/>
                <a:gd name="connsiteY285" fmla="*/ 325364 h 393426"/>
                <a:gd name="connsiteX286" fmla="*/ 215205 w 322609"/>
                <a:gd name="connsiteY286" fmla="*/ 328118 h 393426"/>
                <a:gd name="connsiteX287" fmla="*/ 217958 w 322609"/>
                <a:gd name="connsiteY287" fmla="*/ 330872 h 393426"/>
                <a:gd name="connsiteX288" fmla="*/ 221106 w 322609"/>
                <a:gd name="connsiteY288" fmla="*/ 333625 h 393426"/>
                <a:gd name="connsiteX289" fmla="*/ 223860 w 322609"/>
                <a:gd name="connsiteY289" fmla="*/ 335986 h 393426"/>
                <a:gd name="connsiteX290" fmla="*/ 226614 w 322609"/>
                <a:gd name="connsiteY290" fmla="*/ 338347 h 393426"/>
                <a:gd name="connsiteX291" fmla="*/ 229368 w 322609"/>
                <a:gd name="connsiteY291" fmla="*/ 341101 h 393426"/>
                <a:gd name="connsiteX292" fmla="*/ 232122 w 322609"/>
                <a:gd name="connsiteY292" fmla="*/ 344248 h 393426"/>
                <a:gd name="connsiteX293" fmla="*/ 234876 w 322609"/>
                <a:gd name="connsiteY293" fmla="*/ 346609 h 393426"/>
                <a:gd name="connsiteX294" fmla="*/ 237630 w 322609"/>
                <a:gd name="connsiteY294" fmla="*/ 348182 h 393426"/>
                <a:gd name="connsiteX295" fmla="*/ 240777 w 322609"/>
                <a:gd name="connsiteY295" fmla="*/ 350543 h 393426"/>
                <a:gd name="connsiteX296" fmla="*/ 246285 w 322609"/>
                <a:gd name="connsiteY296" fmla="*/ 356051 h 393426"/>
                <a:gd name="connsiteX297" fmla="*/ 249039 w 322609"/>
                <a:gd name="connsiteY297" fmla="*/ 358018 h 393426"/>
                <a:gd name="connsiteX298" fmla="*/ 251793 w 322609"/>
                <a:gd name="connsiteY298" fmla="*/ 359592 h 393426"/>
                <a:gd name="connsiteX299" fmla="*/ 252580 w 322609"/>
                <a:gd name="connsiteY299" fmla="*/ 359592 h 393426"/>
                <a:gd name="connsiteX300" fmla="*/ 271858 w 322609"/>
                <a:gd name="connsiteY300" fmla="*/ 384378 h 393426"/>
                <a:gd name="connsiteX301" fmla="*/ 272251 w 322609"/>
                <a:gd name="connsiteY301" fmla="*/ 384771 h 393426"/>
                <a:gd name="connsiteX302" fmla="*/ 279727 w 322609"/>
                <a:gd name="connsiteY302" fmla="*/ 393426 h 393426"/>
                <a:gd name="connsiteX303" fmla="*/ 280513 w 322609"/>
                <a:gd name="connsiteY303" fmla="*/ 394213 h 393426"/>
                <a:gd name="connsiteX304" fmla="*/ 283267 w 322609"/>
                <a:gd name="connsiteY304" fmla="*/ 394607 h 393426"/>
                <a:gd name="connsiteX305" fmla="*/ 283661 w 322609"/>
                <a:gd name="connsiteY305" fmla="*/ 391459 h 393426"/>
                <a:gd name="connsiteX306" fmla="*/ 283267 w 322609"/>
                <a:gd name="connsiteY306" fmla="*/ 389886 h 393426"/>
                <a:gd name="connsiteX307" fmla="*/ 287595 w 322609"/>
                <a:gd name="connsiteY307" fmla="*/ 383197 h 393426"/>
                <a:gd name="connsiteX308" fmla="*/ 288776 w 322609"/>
                <a:gd name="connsiteY308" fmla="*/ 383984 h 393426"/>
                <a:gd name="connsiteX309" fmla="*/ 291529 w 322609"/>
                <a:gd name="connsiteY309" fmla="*/ 386345 h 393426"/>
                <a:gd name="connsiteX310" fmla="*/ 294283 w 322609"/>
                <a:gd name="connsiteY310" fmla="*/ 387919 h 393426"/>
                <a:gd name="connsiteX311" fmla="*/ 297037 w 322609"/>
                <a:gd name="connsiteY311" fmla="*/ 389886 h 393426"/>
                <a:gd name="connsiteX312" fmla="*/ 297037 w 322609"/>
                <a:gd name="connsiteY312" fmla="*/ 386738 h 393426"/>
                <a:gd name="connsiteX313" fmla="*/ 24393 w 322609"/>
                <a:gd name="connsiteY313" fmla="*/ 12590 h 393426"/>
                <a:gd name="connsiteX314" fmla="*/ 21245 w 322609"/>
                <a:gd name="connsiteY314" fmla="*/ 10229 h 393426"/>
                <a:gd name="connsiteX315" fmla="*/ 18491 w 322609"/>
                <a:gd name="connsiteY315" fmla="*/ 7869 h 393426"/>
                <a:gd name="connsiteX316" fmla="*/ 18098 w 322609"/>
                <a:gd name="connsiteY316" fmla="*/ 7082 h 393426"/>
                <a:gd name="connsiteX317" fmla="*/ 42097 w 322609"/>
                <a:gd name="connsiteY317" fmla="*/ 14163 h 393426"/>
                <a:gd name="connsiteX318" fmla="*/ 42097 w 322609"/>
                <a:gd name="connsiteY318" fmla="*/ 14163 h 393426"/>
                <a:gd name="connsiteX319" fmla="*/ 38949 w 322609"/>
                <a:gd name="connsiteY319" fmla="*/ 14950 h 393426"/>
                <a:gd name="connsiteX320" fmla="*/ 33441 w 322609"/>
                <a:gd name="connsiteY320" fmla="*/ 14950 h 393426"/>
                <a:gd name="connsiteX321" fmla="*/ 30294 w 322609"/>
                <a:gd name="connsiteY321" fmla="*/ 13770 h 393426"/>
                <a:gd name="connsiteX322" fmla="*/ 27540 w 322609"/>
                <a:gd name="connsiteY322" fmla="*/ 13377 h 393426"/>
                <a:gd name="connsiteX323" fmla="*/ 24393 w 322609"/>
                <a:gd name="connsiteY323" fmla="*/ 12590 h 393426"/>
                <a:gd name="connsiteX324" fmla="*/ 3148 w 322609"/>
                <a:gd name="connsiteY324" fmla="*/ 0 h 393426"/>
                <a:gd name="connsiteX325" fmla="*/ 5901 w 322609"/>
                <a:gd name="connsiteY325" fmla="*/ 1574 h 393426"/>
                <a:gd name="connsiteX326" fmla="*/ 5901 w 322609"/>
                <a:gd name="connsiteY326" fmla="*/ 1574 h 393426"/>
                <a:gd name="connsiteX327" fmla="*/ 3148 w 322609"/>
                <a:gd name="connsiteY327" fmla="*/ 0 h 393426"/>
                <a:gd name="connsiteX328" fmla="*/ 29114 w 322609"/>
                <a:gd name="connsiteY328" fmla="*/ 53113 h 393426"/>
                <a:gd name="connsiteX329" fmla="*/ 31474 w 322609"/>
                <a:gd name="connsiteY329" fmla="*/ 55473 h 393426"/>
                <a:gd name="connsiteX330" fmla="*/ 33048 w 322609"/>
                <a:gd name="connsiteY330" fmla="*/ 58227 h 393426"/>
                <a:gd name="connsiteX331" fmla="*/ 35015 w 322609"/>
                <a:gd name="connsiteY331" fmla="*/ 61375 h 393426"/>
                <a:gd name="connsiteX332" fmla="*/ 38163 w 322609"/>
                <a:gd name="connsiteY332" fmla="*/ 64128 h 393426"/>
                <a:gd name="connsiteX333" fmla="*/ 40916 w 322609"/>
                <a:gd name="connsiteY333" fmla="*/ 64522 h 393426"/>
                <a:gd name="connsiteX334" fmla="*/ 43671 w 322609"/>
                <a:gd name="connsiteY334" fmla="*/ 64128 h 393426"/>
                <a:gd name="connsiteX335" fmla="*/ 46818 w 322609"/>
                <a:gd name="connsiteY335" fmla="*/ 64522 h 393426"/>
                <a:gd name="connsiteX336" fmla="*/ 47605 w 322609"/>
                <a:gd name="connsiteY336" fmla="*/ 64915 h 393426"/>
                <a:gd name="connsiteX337" fmla="*/ 39343 w 322609"/>
                <a:gd name="connsiteY337" fmla="*/ 64915 h 393426"/>
                <a:gd name="connsiteX338" fmla="*/ 29114 w 322609"/>
                <a:gd name="connsiteY338" fmla="*/ 53113 h 39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</a:cxnLst>
              <a:rect l="l" t="t" r="r" b="b"/>
              <a:pathLst>
                <a:path w="322609" h="393426">
                  <a:moveTo>
                    <a:pt x="297037" y="386738"/>
                  </a:moveTo>
                  <a:lnTo>
                    <a:pt x="296644" y="383591"/>
                  </a:lnTo>
                  <a:lnTo>
                    <a:pt x="298611" y="380837"/>
                  </a:lnTo>
                  <a:lnTo>
                    <a:pt x="299004" y="378083"/>
                  </a:lnTo>
                  <a:lnTo>
                    <a:pt x="301758" y="380837"/>
                  </a:lnTo>
                  <a:lnTo>
                    <a:pt x="303725" y="383591"/>
                  </a:lnTo>
                  <a:lnTo>
                    <a:pt x="306873" y="385558"/>
                  </a:lnTo>
                  <a:lnTo>
                    <a:pt x="308447" y="388312"/>
                  </a:lnTo>
                  <a:lnTo>
                    <a:pt x="311201" y="390279"/>
                  </a:lnTo>
                  <a:lnTo>
                    <a:pt x="313955" y="390672"/>
                  </a:lnTo>
                  <a:lnTo>
                    <a:pt x="314741" y="387919"/>
                  </a:lnTo>
                  <a:lnTo>
                    <a:pt x="315528" y="385164"/>
                  </a:lnTo>
                  <a:lnTo>
                    <a:pt x="316315" y="382410"/>
                  </a:lnTo>
                  <a:lnTo>
                    <a:pt x="315922" y="379263"/>
                  </a:lnTo>
                  <a:lnTo>
                    <a:pt x="316315" y="376509"/>
                  </a:lnTo>
                  <a:lnTo>
                    <a:pt x="316708" y="373755"/>
                  </a:lnTo>
                  <a:lnTo>
                    <a:pt x="317889" y="371001"/>
                  </a:lnTo>
                  <a:lnTo>
                    <a:pt x="317495" y="367854"/>
                  </a:lnTo>
                  <a:lnTo>
                    <a:pt x="317889" y="365100"/>
                  </a:lnTo>
                  <a:lnTo>
                    <a:pt x="318675" y="362346"/>
                  </a:lnTo>
                  <a:lnTo>
                    <a:pt x="319069" y="359592"/>
                  </a:lnTo>
                  <a:lnTo>
                    <a:pt x="318283" y="356444"/>
                  </a:lnTo>
                  <a:lnTo>
                    <a:pt x="318675" y="353690"/>
                  </a:lnTo>
                  <a:lnTo>
                    <a:pt x="319462" y="350936"/>
                  </a:lnTo>
                  <a:lnTo>
                    <a:pt x="319856" y="348182"/>
                  </a:lnTo>
                  <a:lnTo>
                    <a:pt x="320250" y="345035"/>
                  </a:lnTo>
                  <a:lnTo>
                    <a:pt x="318675" y="342281"/>
                  </a:lnTo>
                  <a:lnTo>
                    <a:pt x="317495" y="339527"/>
                  </a:lnTo>
                  <a:lnTo>
                    <a:pt x="317495" y="336380"/>
                  </a:lnTo>
                  <a:lnTo>
                    <a:pt x="317889" y="334412"/>
                  </a:lnTo>
                  <a:lnTo>
                    <a:pt x="318675" y="331658"/>
                  </a:lnTo>
                  <a:lnTo>
                    <a:pt x="319856" y="328905"/>
                  </a:lnTo>
                  <a:lnTo>
                    <a:pt x="321429" y="325757"/>
                  </a:lnTo>
                  <a:lnTo>
                    <a:pt x="322217" y="323003"/>
                  </a:lnTo>
                  <a:lnTo>
                    <a:pt x="319069" y="321036"/>
                  </a:lnTo>
                  <a:lnTo>
                    <a:pt x="318283" y="317888"/>
                  </a:lnTo>
                  <a:lnTo>
                    <a:pt x="319462" y="315135"/>
                  </a:lnTo>
                  <a:lnTo>
                    <a:pt x="319856" y="312381"/>
                  </a:lnTo>
                  <a:lnTo>
                    <a:pt x="321036" y="309233"/>
                  </a:lnTo>
                  <a:lnTo>
                    <a:pt x="323396" y="306479"/>
                  </a:lnTo>
                  <a:lnTo>
                    <a:pt x="326151" y="304119"/>
                  </a:lnTo>
                  <a:lnTo>
                    <a:pt x="326151" y="298611"/>
                  </a:lnTo>
                  <a:lnTo>
                    <a:pt x="325757" y="295463"/>
                  </a:lnTo>
                  <a:lnTo>
                    <a:pt x="323004" y="293890"/>
                  </a:lnTo>
                  <a:lnTo>
                    <a:pt x="320250" y="293103"/>
                  </a:lnTo>
                  <a:lnTo>
                    <a:pt x="318675" y="290349"/>
                  </a:lnTo>
                  <a:lnTo>
                    <a:pt x="319069" y="287595"/>
                  </a:lnTo>
                  <a:lnTo>
                    <a:pt x="316315" y="284447"/>
                  </a:lnTo>
                  <a:lnTo>
                    <a:pt x="313955" y="281693"/>
                  </a:lnTo>
                  <a:lnTo>
                    <a:pt x="313561" y="278546"/>
                  </a:lnTo>
                  <a:lnTo>
                    <a:pt x="314348" y="275792"/>
                  </a:lnTo>
                  <a:lnTo>
                    <a:pt x="311201" y="275398"/>
                  </a:lnTo>
                  <a:lnTo>
                    <a:pt x="308447" y="274612"/>
                  </a:lnTo>
                  <a:lnTo>
                    <a:pt x="305692" y="274218"/>
                  </a:lnTo>
                  <a:lnTo>
                    <a:pt x="302546" y="273038"/>
                  </a:lnTo>
                  <a:lnTo>
                    <a:pt x="299791" y="274218"/>
                  </a:lnTo>
                  <a:lnTo>
                    <a:pt x="297037" y="273825"/>
                  </a:lnTo>
                  <a:lnTo>
                    <a:pt x="296644" y="274218"/>
                  </a:lnTo>
                  <a:lnTo>
                    <a:pt x="293889" y="272644"/>
                  </a:lnTo>
                  <a:lnTo>
                    <a:pt x="293497" y="274218"/>
                  </a:lnTo>
                  <a:lnTo>
                    <a:pt x="293103" y="273825"/>
                  </a:lnTo>
                  <a:lnTo>
                    <a:pt x="291922" y="271071"/>
                  </a:lnTo>
                  <a:lnTo>
                    <a:pt x="289955" y="273825"/>
                  </a:lnTo>
                  <a:lnTo>
                    <a:pt x="288382" y="276579"/>
                  </a:lnTo>
                  <a:lnTo>
                    <a:pt x="287988" y="278939"/>
                  </a:lnTo>
                  <a:lnTo>
                    <a:pt x="286021" y="281300"/>
                  </a:lnTo>
                  <a:lnTo>
                    <a:pt x="287201" y="278546"/>
                  </a:lnTo>
                  <a:lnTo>
                    <a:pt x="287595" y="275792"/>
                  </a:lnTo>
                  <a:lnTo>
                    <a:pt x="285234" y="275005"/>
                  </a:lnTo>
                  <a:lnTo>
                    <a:pt x="285234" y="273825"/>
                  </a:lnTo>
                  <a:lnTo>
                    <a:pt x="288382" y="273038"/>
                  </a:lnTo>
                  <a:lnTo>
                    <a:pt x="290743" y="270284"/>
                  </a:lnTo>
                  <a:lnTo>
                    <a:pt x="292316" y="267530"/>
                  </a:lnTo>
                  <a:lnTo>
                    <a:pt x="292316" y="264776"/>
                  </a:lnTo>
                  <a:lnTo>
                    <a:pt x="290743" y="262022"/>
                  </a:lnTo>
                  <a:lnTo>
                    <a:pt x="287988" y="262415"/>
                  </a:lnTo>
                  <a:lnTo>
                    <a:pt x="285234" y="262022"/>
                  </a:lnTo>
                  <a:lnTo>
                    <a:pt x="285628" y="258874"/>
                  </a:lnTo>
                  <a:lnTo>
                    <a:pt x="283267" y="257301"/>
                  </a:lnTo>
                  <a:lnTo>
                    <a:pt x="282480" y="252580"/>
                  </a:lnTo>
                  <a:lnTo>
                    <a:pt x="281300" y="249826"/>
                  </a:lnTo>
                  <a:lnTo>
                    <a:pt x="280120" y="246678"/>
                  </a:lnTo>
                  <a:lnTo>
                    <a:pt x="279727" y="243924"/>
                  </a:lnTo>
                  <a:lnTo>
                    <a:pt x="280120" y="240777"/>
                  </a:lnTo>
                  <a:lnTo>
                    <a:pt x="279727" y="238023"/>
                  </a:lnTo>
                  <a:lnTo>
                    <a:pt x="278546" y="235269"/>
                  </a:lnTo>
                  <a:lnTo>
                    <a:pt x="278939" y="232122"/>
                  </a:lnTo>
                  <a:lnTo>
                    <a:pt x="278153" y="229368"/>
                  </a:lnTo>
                  <a:lnTo>
                    <a:pt x="275399" y="229368"/>
                  </a:lnTo>
                  <a:lnTo>
                    <a:pt x="272645" y="230548"/>
                  </a:lnTo>
                  <a:lnTo>
                    <a:pt x="269497" y="228974"/>
                  </a:lnTo>
                  <a:lnTo>
                    <a:pt x="268710" y="228581"/>
                  </a:lnTo>
                  <a:lnTo>
                    <a:pt x="249826" y="219139"/>
                  </a:lnTo>
                  <a:lnTo>
                    <a:pt x="249039" y="214417"/>
                  </a:lnTo>
                  <a:lnTo>
                    <a:pt x="249432" y="213630"/>
                  </a:lnTo>
                  <a:lnTo>
                    <a:pt x="248646" y="212057"/>
                  </a:lnTo>
                  <a:lnTo>
                    <a:pt x="248252" y="209696"/>
                  </a:lnTo>
                  <a:lnTo>
                    <a:pt x="251006" y="211663"/>
                  </a:lnTo>
                  <a:lnTo>
                    <a:pt x="254154" y="210483"/>
                  </a:lnTo>
                  <a:lnTo>
                    <a:pt x="252580" y="207336"/>
                  </a:lnTo>
                  <a:lnTo>
                    <a:pt x="249826" y="206942"/>
                  </a:lnTo>
                  <a:lnTo>
                    <a:pt x="247465" y="206549"/>
                  </a:lnTo>
                  <a:lnTo>
                    <a:pt x="250220" y="205762"/>
                  </a:lnTo>
                  <a:lnTo>
                    <a:pt x="251793" y="202615"/>
                  </a:lnTo>
                  <a:lnTo>
                    <a:pt x="261629" y="194353"/>
                  </a:lnTo>
                  <a:lnTo>
                    <a:pt x="261629" y="193959"/>
                  </a:lnTo>
                  <a:lnTo>
                    <a:pt x="260842" y="191992"/>
                  </a:lnTo>
                  <a:lnTo>
                    <a:pt x="259661" y="185697"/>
                  </a:lnTo>
                  <a:lnTo>
                    <a:pt x="256908" y="182943"/>
                  </a:lnTo>
                  <a:lnTo>
                    <a:pt x="254154" y="180976"/>
                  </a:lnTo>
                  <a:lnTo>
                    <a:pt x="251400" y="178222"/>
                  </a:lnTo>
                  <a:lnTo>
                    <a:pt x="248646" y="176255"/>
                  </a:lnTo>
                  <a:lnTo>
                    <a:pt x="245892" y="177042"/>
                  </a:lnTo>
                  <a:lnTo>
                    <a:pt x="243138" y="178616"/>
                  </a:lnTo>
                  <a:lnTo>
                    <a:pt x="240384" y="180976"/>
                  </a:lnTo>
                  <a:lnTo>
                    <a:pt x="237236" y="182943"/>
                  </a:lnTo>
                  <a:lnTo>
                    <a:pt x="234483" y="185304"/>
                  </a:lnTo>
                  <a:lnTo>
                    <a:pt x="231728" y="185697"/>
                  </a:lnTo>
                  <a:lnTo>
                    <a:pt x="228974" y="186878"/>
                  </a:lnTo>
                  <a:lnTo>
                    <a:pt x="227794" y="187271"/>
                  </a:lnTo>
                  <a:lnTo>
                    <a:pt x="225827" y="186878"/>
                  </a:lnTo>
                  <a:lnTo>
                    <a:pt x="228187" y="185697"/>
                  </a:lnTo>
                  <a:lnTo>
                    <a:pt x="230942" y="184123"/>
                  </a:lnTo>
                  <a:lnTo>
                    <a:pt x="234089" y="182550"/>
                  </a:lnTo>
                  <a:lnTo>
                    <a:pt x="236843" y="180583"/>
                  </a:lnTo>
                  <a:lnTo>
                    <a:pt x="239597" y="178616"/>
                  </a:lnTo>
                  <a:lnTo>
                    <a:pt x="238417" y="175468"/>
                  </a:lnTo>
                  <a:lnTo>
                    <a:pt x="236450" y="172714"/>
                  </a:lnTo>
                  <a:lnTo>
                    <a:pt x="233695" y="169960"/>
                  </a:lnTo>
                  <a:lnTo>
                    <a:pt x="230942" y="169567"/>
                  </a:lnTo>
                  <a:lnTo>
                    <a:pt x="228187" y="169173"/>
                  </a:lnTo>
                  <a:lnTo>
                    <a:pt x="225434" y="169567"/>
                  </a:lnTo>
                  <a:lnTo>
                    <a:pt x="222286" y="169173"/>
                  </a:lnTo>
                  <a:lnTo>
                    <a:pt x="219532" y="166813"/>
                  </a:lnTo>
                  <a:lnTo>
                    <a:pt x="217172" y="163666"/>
                  </a:lnTo>
                  <a:lnTo>
                    <a:pt x="214417" y="161305"/>
                  </a:lnTo>
                  <a:lnTo>
                    <a:pt x="212844" y="158551"/>
                  </a:lnTo>
                  <a:lnTo>
                    <a:pt x="212844" y="155797"/>
                  </a:lnTo>
                  <a:lnTo>
                    <a:pt x="211664" y="152649"/>
                  </a:lnTo>
                  <a:lnTo>
                    <a:pt x="211664" y="150289"/>
                  </a:lnTo>
                  <a:lnTo>
                    <a:pt x="211270" y="147535"/>
                  </a:lnTo>
                  <a:lnTo>
                    <a:pt x="208910" y="144388"/>
                  </a:lnTo>
                  <a:lnTo>
                    <a:pt x="205762" y="142027"/>
                  </a:lnTo>
                  <a:lnTo>
                    <a:pt x="203008" y="139666"/>
                  </a:lnTo>
                  <a:lnTo>
                    <a:pt x="200254" y="136519"/>
                  </a:lnTo>
                  <a:lnTo>
                    <a:pt x="197500" y="135339"/>
                  </a:lnTo>
                  <a:lnTo>
                    <a:pt x="194353" y="136126"/>
                  </a:lnTo>
                  <a:lnTo>
                    <a:pt x="191599" y="134945"/>
                  </a:lnTo>
                  <a:lnTo>
                    <a:pt x="188845" y="133372"/>
                  </a:lnTo>
                  <a:lnTo>
                    <a:pt x="187665" y="130618"/>
                  </a:lnTo>
                  <a:lnTo>
                    <a:pt x="186878" y="127864"/>
                  </a:lnTo>
                  <a:lnTo>
                    <a:pt x="186484" y="125110"/>
                  </a:lnTo>
                  <a:lnTo>
                    <a:pt x="184910" y="122356"/>
                  </a:lnTo>
                  <a:lnTo>
                    <a:pt x="182157" y="119995"/>
                  </a:lnTo>
                  <a:lnTo>
                    <a:pt x="179403" y="118028"/>
                  </a:lnTo>
                  <a:lnTo>
                    <a:pt x="177042" y="115274"/>
                  </a:lnTo>
                  <a:lnTo>
                    <a:pt x="174288" y="114881"/>
                  </a:lnTo>
                  <a:lnTo>
                    <a:pt x="171534" y="116454"/>
                  </a:lnTo>
                  <a:lnTo>
                    <a:pt x="171141" y="119208"/>
                  </a:lnTo>
                  <a:lnTo>
                    <a:pt x="172714" y="122356"/>
                  </a:lnTo>
                  <a:lnTo>
                    <a:pt x="174288" y="125110"/>
                  </a:lnTo>
                  <a:lnTo>
                    <a:pt x="175075" y="127864"/>
                  </a:lnTo>
                  <a:lnTo>
                    <a:pt x="175469" y="131011"/>
                  </a:lnTo>
                  <a:lnTo>
                    <a:pt x="173895" y="128650"/>
                  </a:lnTo>
                  <a:lnTo>
                    <a:pt x="173501" y="125896"/>
                  </a:lnTo>
                  <a:lnTo>
                    <a:pt x="170747" y="123142"/>
                  </a:lnTo>
                  <a:lnTo>
                    <a:pt x="167993" y="121175"/>
                  </a:lnTo>
                  <a:lnTo>
                    <a:pt x="156191" y="106225"/>
                  </a:lnTo>
                  <a:lnTo>
                    <a:pt x="154617" y="103865"/>
                  </a:lnTo>
                  <a:lnTo>
                    <a:pt x="151863" y="100717"/>
                  </a:lnTo>
                  <a:lnTo>
                    <a:pt x="150289" y="103865"/>
                  </a:lnTo>
                  <a:lnTo>
                    <a:pt x="150683" y="106619"/>
                  </a:lnTo>
                  <a:lnTo>
                    <a:pt x="149502" y="104652"/>
                  </a:lnTo>
                  <a:lnTo>
                    <a:pt x="149109" y="103078"/>
                  </a:lnTo>
                  <a:lnTo>
                    <a:pt x="146748" y="99930"/>
                  </a:lnTo>
                  <a:lnTo>
                    <a:pt x="146748" y="101504"/>
                  </a:lnTo>
                  <a:lnTo>
                    <a:pt x="147142" y="103078"/>
                  </a:lnTo>
                  <a:lnTo>
                    <a:pt x="145962" y="99930"/>
                  </a:lnTo>
                  <a:lnTo>
                    <a:pt x="146748" y="97570"/>
                  </a:lnTo>
                  <a:lnTo>
                    <a:pt x="146748" y="94816"/>
                  </a:lnTo>
                  <a:lnTo>
                    <a:pt x="145568" y="91668"/>
                  </a:lnTo>
                  <a:lnTo>
                    <a:pt x="142421" y="90095"/>
                  </a:lnTo>
                  <a:lnTo>
                    <a:pt x="142421" y="89308"/>
                  </a:lnTo>
                  <a:lnTo>
                    <a:pt x="140060" y="86554"/>
                  </a:lnTo>
                  <a:lnTo>
                    <a:pt x="137306" y="83800"/>
                  </a:lnTo>
                  <a:lnTo>
                    <a:pt x="134552" y="83013"/>
                  </a:lnTo>
                  <a:lnTo>
                    <a:pt x="131798" y="80652"/>
                  </a:lnTo>
                  <a:lnTo>
                    <a:pt x="129437" y="77898"/>
                  </a:lnTo>
                  <a:lnTo>
                    <a:pt x="126684" y="76325"/>
                  </a:lnTo>
                  <a:lnTo>
                    <a:pt x="123929" y="73571"/>
                  </a:lnTo>
                  <a:lnTo>
                    <a:pt x="121176" y="71210"/>
                  </a:lnTo>
                  <a:lnTo>
                    <a:pt x="118422" y="69243"/>
                  </a:lnTo>
                  <a:lnTo>
                    <a:pt x="117635" y="68850"/>
                  </a:lnTo>
                  <a:lnTo>
                    <a:pt x="93242" y="47605"/>
                  </a:lnTo>
                  <a:lnTo>
                    <a:pt x="93636" y="44851"/>
                  </a:lnTo>
                  <a:lnTo>
                    <a:pt x="93242" y="42097"/>
                  </a:lnTo>
                  <a:lnTo>
                    <a:pt x="90488" y="39736"/>
                  </a:lnTo>
                  <a:lnTo>
                    <a:pt x="87734" y="38949"/>
                  </a:lnTo>
                  <a:lnTo>
                    <a:pt x="85374" y="36195"/>
                  </a:lnTo>
                  <a:lnTo>
                    <a:pt x="84193" y="33048"/>
                  </a:lnTo>
                  <a:lnTo>
                    <a:pt x="83407" y="30294"/>
                  </a:lnTo>
                  <a:lnTo>
                    <a:pt x="81833" y="27540"/>
                  </a:lnTo>
                  <a:lnTo>
                    <a:pt x="79079" y="25573"/>
                  </a:lnTo>
                  <a:lnTo>
                    <a:pt x="76325" y="22819"/>
                  </a:lnTo>
                  <a:lnTo>
                    <a:pt x="73571" y="20458"/>
                  </a:lnTo>
                  <a:lnTo>
                    <a:pt x="71604" y="17704"/>
                  </a:lnTo>
                  <a:lnTo>
                    <a:pt x="68850" y="14950"/>
                  </a:lnTo>
                  <a:lnTo>
                    <a:pt x="68063" y="15344"/>
                  </a:lnTo>
                  <a:lnTo>
                    <a:pt x="64915" y="16917"/>
                  </a:lnTo>
                  <a:lnTo>
                    <a:pt x="62162" y="18098"/>
                  </a:lnTo>
                  <a:lnTo>
                    <a:pt x="59408" y="18098"/>
                  </a:lnTo>
                  <a:lnTo>
                    <a:pt x="57834" y="16524"/>
                  </a:lnTo>
                  <a:cubicBezTo>
                    <a:pt x="61375" y="16524"/>
                    <a:pt x="65309" y="16131"/>
                    <a:pt x="68850" y="14950"/>
                  </a:cubicBezTo>
                  <a:lnTo>
                    <a:pt x="13377" y="3147"/>
                  </a:lnTo>
                  <a:lnTo>
                    <a:pt x="11409" y="2361"/>
                  </a:lnTo>
                  <a:lnTo>
                    <a:pt x="10229" y="2754"/>
                  </a:lnTo>
                  <a:lnTo>
                    <a:pt x="5901" y="1967"/>
                  </a:lnTo>
                  <a:lnTo>
                    <a:pt x="5508" y="1574"/>
                  </a:lnTo>
                  <a:lnTo>
                    <a:pt x="2754" y="3541"/>
                  </a:lnTo>
                  <a:lnTo>
                    <a:pt x="0" y="4328"/>
                  </a:lnTo>
                  <a:lnTo>
                    <a:pt x="394" y="7475"/>
                  </a:lnTo>
                  <a:lnTo>
                    <a:pt x="1574" y="10229"/>
                  </a:lnTo>
                  <a:lnTo>
                    <a:pt x="394" y="12983"/>
                  </a:lnTo>
                  <a:lnTo>
                    <a:pt x="1967" y="15737"/>
                  </a:lnTo>
                  <a:lnTo>
                    <a:pt x="3541" y="18491"/>
                  </a:lnTo>
                  <a:lnTo>
                    <a:pt x="4721" y="21638"/>
                  </a:lnTo>
                  <a:lnTo>
                    <a:pt x="5901" y="24392"/>
                  </a:lnTo>
                  <a:lnTo>
                    <a:pt x="7475" y="27147"/>
                  </a:lnTo>
                  <a:lnTo>
                    <a:pt x="9049" y="30294"/>
                  </a:lnTo>
                  <a:lnTo>
                    <a:pt x="11016" y="33048"/>
                  </a:lnTo>
                  <a:lnTo>
                    <a:pt x="13770" y="35802"/>
                  </a:lnTo>
                  <a:lnTo>
                    <a:pt x="16524" y="38162"/>
                  </a:lnTo>
                  <a:lnTo>
                    <a:pt x="18885" y="41310"/>
                  </a:lnTo>
                  <a:lnTo>
                    <a:pt x="20852" y="43277"/>
                  </a:lnTo>
                  <a:lnTo>
                    <a:pt x="21638" y="44457"/>
                  </a:lnTo>
                  <a:lnTo>
                    <a:pt x="23606" y="46818"/>
                  </a:lnTo>
                  <a:lnTo>
                    <a:pt x="26360" y="49572"/>
                  </a:lnTo>
                  <a:lnTo>
                    <a:pt x="27540" y="50752"/>
                  </a:lnTo>
                  <a:lnTo>
                    <a:pt x="74358" y="102291"/>
                  </a:lnTo>
                  <a:cubicBezTo>
                    <a:pt x="74358" y="102291"/>
                    <a:pt x="74358" y="101898"/>
                    <a:pt x="74358" y="101898"/>
                  </a:cubicBezTo>
                  <a:cubicBezTo>
                    <a:pt x="74358" y="99537"/>
                    <a:pt x="73964" y="97176"/>
                    <a:pt x="72784" y="94816"/>
                  </a:cubicBezTo>
                  <a:lnTo>
                    <a:pt x="72784" y="94816"/>
                  </a:lnTo>
                  <a:lnTo>
                    <a:pt x="75538" y="97570"/>
                  </a:lnTo>
                  <a:lnTo>
                    <a:pt x="76325" y="100717"/>
                  </a:lnTo>
                  <a:lnTo>
                    <a:pt x="76718" y="103471"/>
                  </a:lnTo>
                  <a:lnTo>
                    <a:pt x="76718" y="105045"/>
                  </a:lnTo>
                  <a:lnTo>
                    <a:pt x="74358" y="102291"/>
                  </a:lnTo>
                  <a:cubicBezTo>
                    <a:pt x="75538" y="105438"/>
                    <a:pt x="76325" y="107799"/>
                    <a:pt x="77112" y="109766"/>
                  </a:cubicBezTo>
                  <a:lnTo>
                    <a:pt x="77505" y="111733"/>
                  </a:lnTo>
                  <a:lnTo>
                    <a:pt x="79472" y="114881"/>
                  </a:lnTo>
                  <a:lnTo>
                    <a:pt x="79866" y="114881"/>
                  </a:lnTo>
                  <a:cubicBezTo>
                    <a:pt x="84193" y="121569"/>
                    <a:pt x="86554" y="117241"/>
                    <a:pt x="88128" y="117241"/>
                  </a:cubicBezTo>
                  <a:lnTo>
                    <a:pt x="123143" y="184517"/>
                  </a:lnTo>
                  <a:lnTo>
                    <a:pt x="125896" y="186091"/>
                  </a:lnTo>
                  <a:lnTo>
                    <a:pt x="125896" y="186091"/>
                  </a:lnTo>
                  <a:lnTo>
                    <a:pt x="140060" y="193172"/>
                  </a:lnTo>
                  <a:lnTo>
                    <a:pt x="142027" y="196713"/>
                  </a:lnTo>
                  <a:lnTo>
                    <a:pt x="141634" y="199074"/>
                  </a:lnTo>
                  <a:lnTo>
                    <a:pt x="143207" y="201828"/>
                  </a:lnTo>
                  <a:lnTo>
                    <a:pt x="144388" y="204582"/>
                  </a:lnTo>
                  <a:lnTo>
                    <a:pt x="147535" y="207336"/>
                  </a:lnTo>
                  <a:lnTo>
                    <a:pt x="149109" y="208910"/>
                  </a:lnTo>
                  <a:lnTo>
                    <a:pt x="173895" y="266350"/>
                  </a:lnTo>
                  <a:lnTo>
                    <a:pt x="173501" y="267137"/>
                  </a:lnTo>
                  <a:lnTo>
                    <a:pt x="175075" y="269891"/>
                  </a:lnTo>
                  <a:lnTo>
                    <a:pt x="176255" y="272644"/>
                  </a:lnTo>
                  <a:lnTo>
                    <a:pt x="177829" y="275398"/>
                  </a:lnTo>
                  <a:lnTo>
                    <a:pt x="179009" y="277759"/>
                  </a:lnTo>
                  <a:lnTo>
                    <a:pt x="180976" y="280513"/>
                  </a:lnTo>
                  <a:lnTo>
                    <a:pt x="183730" y="283267"/>
                  </a:lnTo>
                  <a:lnTo>
                    <a:pt x="184124" y="283661"/>
                  </a:lnTo>
                  <a:lnTo>
                    <a:pt x="188845" y="288775"/>
                  </a:lnTo>
                  <a:lnTo>
                    <a:pt x="189632" y="290742"/>
                  </a:lnTo>
                  <a:lnTo>
                    <a:pt x="190812" y="293496"/>
                  </a:lnTo>
                  <a:lnTo>
                    <a:pt x="191992" y="296644"/>
                  </a:lnTo>
                  <a:lnTo>
                    <a:pt x="193566" y="299398"/>
                  </a:lnTo>
                  <a:lnTo>
                    <a:pt x="195140" y="302151"/>
                  </a:lnTo>
                  <a:lnTo>
                    <a:pt x="197894" y="304905"/>
                  </a:lnTo>
                  <a:lnTo>
                    <a:pt x="200647" y="307659"/>
                  </a:lnTo>
                  <a:lnTo>
                    <a:pt x="203402" y="310020"/>
                  </a:lnTo>
                  <a:lnTo>
                    <a:pt x="206549" y="312381"/>
                  </a:lnTo>
                  <a:lnTo>
                    <a:pt x="209303" y="314348"/>
                  </a:lnTo>
                  <a:lnTo>
                    <a:pt x="212057" y="316708"/>
                  </a:lnTo>
                  <a:lnTo>
                    <a:pt x="213631" y="319462"/>
                  </a:lnTo>
                  <a:lnTo>
                    <a:pt x="214024" y="322216"/>
                  </a:lnTo>
                  <a:lnTo>
                    <a:pt x="215598" y="325364"/>
                  </a:lnTo>
                  <a:lnTo>
                    <a:pt x="215205" y="328118"/>
                  </a:lnTo>
                  <a:lnTo>
                    <a:pt x="217958" y="330872"/>
                  </a:lnTo>
                  <a:lnTo>
                    <a:pt x="221106" y="333625"/>
                  </a:lnTo>
                  <a:lnTo>
                    <a:pt x="223860" y="335986"/>
                  </a:lnTo>
                  <a:lnTo>
                    <a:pt x="226614" y="338347"/>
                  </a:lnTo>
                  <a:lnTo>
                    <a:pt x="229368" y="341101"/>
                  </a:lnTo>
                  <a:lnTo>
                    <a:pt x="232122" y="344248"/>
                  </a:lnTo>
                  <a:lnTo>
                    <a:pt x="234876" y="346609"/>
                  </a:lnTo>
                  <a:lnTo>
                    <a:pt x="237630" y="348182"/>
                  </a:lnTo>
                  <a:lnTo>
                    <a:pt x="240777" y="350543"/>
                  </a:lnTo>
                  <a:lnTo>
                    <a:pt x="246285" y="356051"/>
                  </a:lnTo>
                  <a:lnTo>
                    <a:pt x="249039" y="358018"/>
                  </a:lnTo>
                  <a:lnTo>
                    <a:pt x="251793" y="359592"/>
                  </a:lnTo>
                  <a:lnTo>
                    <a:pt x="252580" y="359592"/>
                  </a:lnTo>
                  <a:lnTo>
                    <a:pt x="271858" y="384378"/>
                  </a:lnTo>
                  <a:lnTo>
                    <a:pt x="272251" y="384771"/>
                  </a:lnTo>
                  <a:lnTo>
                    <a:pt x="279727" y="393426"/>
                  </a:lnTo>
                  <a:lnTo>
                    <a:pt x="280513" y="394213"/>
                  </a:lnTo>
                  <a:lnTo>
                    <a:pt x="283267" y="394607"/>
                  </a:lnTo>
                  <a:lnTo>
                    <a:pt x="283661" y="391459"/>
                  </a:lnTo>
                  <a:lnTo>
                    <a:pt x="283267" y="389886"/>
                  </a:lnTo>
                  <a:lnTo>
                    <a:pt x="287595" y="383197"/>
                  </a:lnTo>
                  <a:lnTo>
                    <a:pt x="288776" y="383984"/>
                  </a:lnTo>
                  <a:lnTo>
                    <a:pt x="291529" y="386345"/>
                  </a:lnTo>
                  <a:lnTo>
                    <a:pt x="294283" y="387919"/>
                  </a:lnTo>
                  <a:lnTo>
                    <a:pt x="297037" y="389886"/>
                  </a:lnTo>
                  <a:lnTo>
                    <a:pt x="297037" y="386738"/>
                  </a:lnTo>
                  <a:close/>
                  <a:moveTo>
                    <a:pt x="24393" y="12590"/>
                  </a:moveTo>
                  <a:lnTo>
                    <a:pt x="21245" y="10229"/>
                  </a:lnTo>
                  <a:lnTo>
                    <a:pt x="18491" y="7869"/>
                  </a:lnTo>
                  <a:lnTo>
                    <a:pt x="18098" y="7082"/>
                  </a:lnTo>
                  <a:cubicBezTo>
                    <a:pt x="25967" y="10229"/>
                    <a:pt x="33835" y="12983"/>
                    <a:pt x="42097" y="14163"/>
                  </a:cubicBezTo>
                  <a:lnTo>
                    <a:pt x="42097" y="14163"/>
                  </a:lnTo>
                  <a:lnTo>
                    <a:pt x="38949" y="14950"/>
                  </a:lnTo>
                  <a:lnTo>
                    <a:pt x="33441" y="14950"/>
                  </a:lnTo>
                  <a:lnTo>
                    <a:pt x="30294" y="13770"/>
                  </a:lnTo>
                  <a:lnTo>
                    <a:pt x="27540" y="13377"/>
                  </a:lnTo>
                  <a:lnTo>
                    <a:pt x="24393" y="12590"/>
                  </a:lnTo>
                  <a:close/>
                  <a:moveTo>
                    <a:pt x="3148" y="0"/>
                  </a:moveTo>
                  <a:cubicBezTo>
                    <a:pt x="3934" y="394"/>
                    <a:pt x="5115" y="787"/>
                    <a:pt x="5901" y="1574"/>
                  </a:cubicBezTo>
                  <a:lnTo>
                    <a:pt x="5901" y="1574"/>
                  </a:lnTo>
                  <a:lnTo>
                    <a:pt x="3148" y="0"/>
                  </a:lnTo>
                  <a:close/>
                  <a:moveTo>
                    <a:pt x="29114" y="53113"/>
                  </a:moveTo>
                  <a:lnTo>
                    <a:pt x="31474" y="55473"/>
                  </a:lnTo>
                  <a:lnTo>
                    <a:pt x="33048" y="58227"/>
                  </a:lnTo>
                  <a:lnTo>
                    <a:pt x="35015" y="61375"/>
                  </a:lnTo>
                  <a:lnTo>
                    <a:pt x="38163" y="64128"/>
                  </a:lnTo>
                  <a:lnTo>
                    <a:pt x="40916" y="64522"/>
                  </a:lnTo>
                  <a:lnTo>
                    <a:pt x="43671" y="64128"/>
                  </a:lnTo>
                  <a:lnTo>
                    <a:pt x="46818" y="64522"/>
                  </a:lnTo>
                  <a:lnTo>
                    <a:pt x="47605" y="64915"/>
                  </a:lnTo>
                  <a:cubicBezTo>
                    <a:pt x="44851" y="64915"/>
                    <a:pt x="41704" y="64915"/>
                    <a:pt x="39343" y="64915"/>
                  </a:cubicBezTo>
                  <a:cubicBezTo>
                    <a:pt x="34622" y="62161"/>
                    <a:pt x="31868" y="57440"/>
                    <a:pt x="29114" y="53113"/>
                  </a:cubicBez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57" name="Freeform: Shape 3851">
              <a:extLst>
                <a:ext uri="{FF2B5EF4-FFF2-40B4-BE49-F238E27FC236}">
                  <a16:creationId xmlns:a16="http://schemas.microsoft.com/office/drawing/2014/main" id="{E415E0CD-5F22-4EDE-8FD3-B56D19A2E37A}"/>
                </a:ext>
              </a:extLst>
            </p:cNvPr>
            <p:cNvSpPr/>
            <p:nvPr/>
          </p:nvSpPr>
          <p:spPr>
            <a:xfrm>
              <a:off x="9275279" y="3812239"/>
              <a:ext cx="19671" cy="23606"/>
            </a:xfrm>
            <a:custGeom>
              <a:avLst/>
              <a:gdLst>
                <a:gd name="connsiteX0" fmla="*/ 16130 w 19671"/>
                <a:gd name="connsiteY0" fmla="*/ 2360 h 23605"/>
                <a:gd name="connsiteX1" fmla="*/ 15737 w 19671"/>
                <a:gd name="connsiteY1" fmla="*/ 1967 h 23605"/>
                <a:gd name="connsiteX2" fmla="*/ 15343 w 19671"/>
                <a:gd name="connsiteY2" fmla="*/ 1967 h 23605"/>
                <a:gd name="connsiteX3" fmla="*/ 13376 w 19671"/>
                <a:gd name="connsiteY3" fmla="*/ 1180 h 23605"/>
                <a:gd name="connsiteX4" fmla="*/ 12982 w 19671"/>
                <a:gd name="connsiteY4" fmla="*/ 1180 h 23605"/>
                <a:gd name="connsiteX5" fmla="*/ 9442 w 19671"/>
                <a:gd name="connsiteY5" fmla="*/ 787 h 23605"/>
                <a:gd name="connsiteX6" fmla="*/ 7081 w 19671"/>
                <a:gd name="connsiteY6" fmla="*/ 0 h 23605"/>
                <a:gd name="connsiteX7" fmla="*/ 4721 w 19671"/>
                <a:gd name="connsiteY7" fmla="*/ 393 h 23605"/>
                <a:gd name="connsiteX8" fmla="*/ 2754 w 19671"/>
                <a:gd name="connsiteY8" fmla="*/ 3147 h 23605"/>
                <a:gd name="connsiteX9" fmla="*/ 2360 w 19671"/>
                <a:gd name="connsiteY9" fmla="*/ 6295 h 23605"/>
                <a:gd name="connsiteX10" fmla="*/ 1180 w 19671"/>
                <a:gd name="connsiteY10" fmla="*/ 9049 h 23605"/>
                <a:gd name="connsiteX11" fmla="*/ 0 w 19671"/>
                <a:gd name="connsiteY11" fmla="*/ 11803 h 23605"/>
                <a:gd name="connsiteX12" fmla="*/ 393 w 19671"/>
                <a:gd name="connsiteY12" fmla="*/ 14950 h 23605"/>
                <a:gd name="connsiteX13" fmla="*/ 787 w 19671"/>
                <a:gd name="connsiteY13" fmla="*/ 17704 h 23605"/>
                <a:gd name="connsiteX14" fmla="*/ 1573 w 19671"/>
                <a:gd name="connsiteY14" fmla="*/ 20458 h 23605"/>
                <a:gd name="connsiteX15" fmla="*/ 4327 w 19671"/>
                <a:gd name="connsiteY15" fmla="*/ 22032 h 23605"/>
                <a:gd name="connsiteX16" fmla="*/ 7475 w 19671"/>
                <a:gd name="connsiteY16" fmla="*/ 21245 h 23605"/>
                <a:gd name="connsiteX17" fmla="*/ 7475 w 19671"/>
                <a:gd name="connsiteY17" fmla="*/ 18491 h 23605"/>
                <a:gd name="connsiteX18" fmla="*/ 10229 w 19671"/>
                <a:gd name="connsiteY18" fmla="*/ 19278 h 23605"/>
                <a:gd name="connsiteX19" fmla="*/ 12196 w 19671"/>
                <a:gd name="connsiteY19" fmla="*/ 22032 h 23605"/>
                <a:gd name="connsiteX20" fmla="*/ 14949 w 19671"/>
                <a:gd name="connsiteY20" fmla="*/ 23606 h 23605"/>
                <a:gd name="connsiteX21" fmla="*/ 17704 w 19671"/>
                <a:gd name="connsiteY21" fmla="*/ 20458 h 23605"/>
                <a:gd name="connsiteX22" fmla="*/ 19278 w 19671"/>
                <a:gd name="connsiteY22" fmla="*/ 17704 h 23605"/>
                <a:gd name="connsiteX23" fmla="*/ 19278 w 19671"/>
                <a:gd name="connsiteY23" fmla="*/ 14950 h 23605"/>
                <a:gd name="connsiteX24" fmla="*/ 21245 w 19671"/>
                <a:gd name="connsiteY24" fmla="*/ 12196 h 23605"/>
                <a:gd name="connsiteX25" fmla="*/ 21638 w 19671"/>
                <a:gd name="connsiteY25" fmla="*/ 9442 h 23605"/>
                <a:gd name="connsiteX26" fmla="*/ 20458 w 19671"/>
                <a:gd name="connsiteY26" fmla="*/ 6295 h 23605"/>
                <a:gd name="connsiteX27" fmla="*/ 17310 w 19671"/>
                <a:gd name="connsiteY27" fmla="*/ 3147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9671" h="23605">
                  <a:moveTo>
                    <a:pt x="16130" y="2360"/>
                  </a:moveTo>
                  <a:lnTo>
                    <a:pt x="15737" y="1967"/>
                  </a:lnTo>
                  <a:lnTo>
                    <a:pt x="15343" y="1967"/>
                  </a:lnTo>
                  <a:lnTo>
                    <a:pt x="13376" y="1180"/>
                  </a:lnTo>
                  <a:lnTo>
                    <a:pt x="12982" y="1180"/>
                  </a:lnTo>
                  <a:lnTo>
                    <a:pt x="9442" y="787"/>
                  </a:lnTo>
                  <a:lnTo>
                    <a:pt x="7081" y="0"/>
                  </a:lnTo>
                  <a:lnTo>
                    <a:pt x="4721" y="393"/>
                  </a:lnTo>
                  <a:lnTo>
                    <a:pt x="2754" y="3147"/>
                  </a:lnTo>
                  <a:lnTo>
                    <a:pt x="2360" y="6295"/>
                  </a:lnTo>
                  <a:lnTo>
                    <a:pt x="1180" y="9049"/>
                  </a:lnTo>
                  <a:lnTo>
                    <a:pt x="0" y="11803"/>
                  </a:lnTo>
                  <a:lnTo>
                    <a:pt x="393" y="14950"/>
                  </a:lnTo>
                  <a:lnTo>
                    <a:pt x="787" y="17704"/>
                  </a:lnTo>
                  <a:lnTo>
                    <a:pt x="1573" y="20458"/>
                  </a:lnTo>
                  <a:lnTo>
                    <a:pt x="4327" y="22032"/>
                  </a:lnTo>
                  <a:lnTo>
                    <a:pt x="7475" y="21245"/>
                  </a:lnTo>
                  <a:lnTo>
                    <a:pt x="7475" y="18491"/>
                  </a:lnTo>
                  <a:lnTo>
                    <a:pt x="10229" y="19278"/>
                  </a:lnTo>
                  <a:lnTo>
                    <a:pt x="12196" y="22032"/>
                  </a:lnTo>
                  <a:lnTo>
                    <a:pt x="14949" y="23606"/>
                  </a:lnTo>
                  <a:lnTo>
                    <a:pt x="17704" y="20458"/>
                  </a:lnTo>
                  <a:lnTo>
                    <a:pt x="19278" y="17704"/>
                  </a:lnTo>
                  <a:lnTo>
                    <a:pt x="19278" y="14950"/>
                  </a:lnTo>
                  <a:lnTo>
                    <a:pt x="21245" y="12196"/>
                  </a:lnTo>
                  <a:lnTo>
                    <a:pt x="21638" y="9442"/>
                  </a:lnTo>
                  <a:lnTo>
                    <a:pt x="20458" y="6295"/>
                  </a:lnTo>
                  <a:lnTo>
                    <a:pt x="1731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58" name="Freeform: Shape 3852">
              <a:extLst>
                <a:ext uri="{FF2B5EF4-FFF2-40B4-BE49-F238E27FC236}">
                  <a16:creationId xmlns:a16="http://schemas.microsoft.com/office/drawing/2014/main" id="{46B4C838-353A-4D4B-9374-220E86930841}"/>
                </a:ext>
              </a:extLst>
            </p:cNvPr>
            <p:cNvSpPr/>
            <p:nvPr/>
          </p:nvSpPr>
          <p:spPr>
            <a:xfrm>
              <a:off x="9202888" y="3777224"/>
              <a:ext cx="47211" cy="51145"/>
            </a:xfrm>
            <a:custGeom>
              <a:avLst/>
              <a:gdLst>
                <a:gd name="connsiteX0" fmla="*/ 45638 w 47211"/>
                <a:gd name="connsiteY0" fmla="*/ 40523 h 51145"/>
                <a:gd name="connsiteX1" fmla="*/ 47605 w 47211"/>
                <a:gd name="connsiteY1" fmla="*/ 37769 h 51145"/>
                <a:gd name="connsiteX2" fmla="*/ 50359 w 47211"/>
                <a:gd name="connsiteY2" fmla="*/ 36589 h 51145"/>
                <a:gd name="connsiteX3" fmla="*/ 47605 w 47211"/>
                <a:gd name="connsiteY3" fmla="*/ 35015 h 51145"/>
                <a:gd name="connsiteX4" fmla="*/ 44457 w 47211"/>
                <a:gd name="connsiteY4" fmla="*/ 34228 h 51145"/>
                <a:gd name="connsiteX5" fmla="*/ 41704 w 47211"/>
                <a:gd name="connsiteY5" fmla="*/ 33835 h 51145"/>
                <a:gd name="connsiteX6" fmla="*/ 38556 w 47211"/>
                <a:gd name="connsiteY6" fmla="*/ 32654 h 51145"/>
                <a:gd name="connsiteX7" fmla="*/ 35802 w 47211"/>
                <a:gd name="connsiteY7" fmla="*/ 31868 h 51145"/>
                <a:gd name="connsiteX8" fmla="*/ 33835 w 47211"/>
                <a:gd name="connsiteY8" fmla="*/ 29114 h 51145"/>
                <a:gd name="connsiteX9" fmla="*/ 33048 w 47211"/>
                <a:gd name="connsiteY9" fmla="*/ 25966 h 51145"/>
                <a:gd name="connsiteX10" fmla="*/ 31868 w 47211"/>
                <a:gd name="connsiteY10" fmla="*/ 23212 h 51145"/>
                <a:gd name="connsiteX11" fmla="*/ 31474 w 47211"/>
                <a:gd name="connsiteY11" fmla="*/ 20065 h 51145"/>
                <a:gd name="connsiteX12" fmla="*/ 31081 w 47211"/>
                <a:gd name="connsiteY12" fmla="*/ 16917 h 51145"/>
                <a:gd name="connsiteX13" fmla="*/ 31081 w 47211"/>
                <a:gd name="connsiteY13" fmla="*/ 13770 h 51145"/>
                <a:gd name="connsiteX14" fmla="*/ 30294 w 47211"/>
                <a:gd name="connsiteY14" fmla="*/ 11016 h 51145"/>
                <a:gd name="connsiteX15" fmla="*/ 29114 w 47211"/>
                <a:gd name="connsiteY15" fmla="*/ 8262 h 51145"/>
                <a:gd name="connsiteX16" fmla="*/ 27147 w 47211"/>
                <a:gd name="connsiteY16" fmla="*/ 5508 h 51145"/>
                <a:gd name="connsiteX17" fmla="*/ 27540 w 47211"/>
                <a:gd name="connsiteY17" fmla="*/ 2361 h 51145"/>
                <a:gd name="connsiteX18" fmla="*/ 24786 w 47211"/>
                <a:gd name="connsiteY18" fmla="*/ 787 h 51145"/>
                <a:gd name="connsiteX19" fmla="*/ 22032 w 47211"/>
                <a:gd name="connsiteY19" fmla="*/ 0 h 51145"/>
                <a:gd name="connsiteX20" fmla="*/ 18885 w 47211"/>
                <a:gd name="connsiteY20" fmla="*/ 394 h 51145"/>
                <a:gd name="connsiteX21" fmla="*/ 18491 w 47211"/>
                <a:gd name="connsiteY21" fmla="*/ 3541 h 51145"/>
                <a:gd name="connsiteX22" fmla="*/ 18885 w 47211"/>
                <a:gd name="connsiteY22" fmla="*/ 6295 h 51145"/>
                <a:gd name="connsiteX23" fmla="*/ 20458 w 47211"/>
                <a:gd name="connsiteY23" fmla="*/ 9049 h 51145"/>
                <a:gd name="connsiteX24" fmla="*/ 17704 w 47211"/>
                <a:gd name="connsiteY24" fmla="*/ 9049 h 51145"/>
                <a:gd name="connsiteX25" fmla="*/ 16524 w 47211"/>
                <a:gd name="connsiteY25" fmla="*/ 5901 h 51145"/>
                <a:gd name="connsiteX26" fmla="*/ 14950 w 47211"/>
                <a:gd name="connsiteY26" fmla="*/ 3147 h 51145"/>
                <a:gd name="connsiteX27" fmla="*/ 12197 w 47211"/>
                <a:gd name="connsiteY27" fmla="*/ 1574 h 51145"/>
                <a:gd name="connsiteX28" fmla="*/ 9049 w 47211"/>
                <a:gd name="connsiteY28" fmla="*/ 2754 h 51145"/>
                <a:gd name="connsiteX29" fmla="*/ 6688 w 47211"/>
                <a:gd name="connsiteY29" fmla="*/ 5508 h 51145"/>
                <a:gd name="connsiteX30" fmla="*/ 6688 w 47211"/>
                <a:gd name="connsiteY30" fmla="*/ 6688 h 51145"/>
                <a:gd name="connsiteX31" fmla="*/ 7869 w 47211"/>
                <a:gd name="connsiteY31" fmla="*/ 9836 h 51145"/>
                <a:gd name="connsiteX32" fmla="*/ 5115 w 47211"/>
                <a:gd name="connsiteY32" fmla="*/ 12196 h 51145"/>
                <a:gd name="connsiteX33" fmla="*/ 2361 w 47211"/>
                <a:gd name="connsiteY33" fmla="*/ 13770 h 51145"/>
                <a:gd name="connsiteX34" fmla="*/ 0 w 47211"/>
                <a:gd name="connsiteY34" fmla="*/ 16524 h 51145"/>
                <a:gd name="connsiteX35" fmla="*/ 2754 w 47211"/>
                <a:gd name="connsiteY35" fmla="*/ 18884 h 51145"/>
                <a:gd name="connsiteX36" fmla="*/ 5509 w 47211"/>
                <a:gd name="connsiteY36" fmla="*/ 20852 h 51145"/>
                <a:gd name="connsiteX37" fmla="*/ 8655 w 47211"/>
                <a:gd name="connsiteY37" fmla="*/ 20852 h 51145"/>
                <a:gd name="connsiteX38" fmla="*/ 11803 w 47211"/>
                <a:gd name="connsiteY38" fmla="*/ 19671 h 51145"/>
                <a:gd name="connsiteX39" fmla="*/ 14557 w 47211"/>
                <a:gd name="connsiteY39" fmla="*/ 20458 h 51145"/>
                <a:gd name="connsiteX40" fmla="*/ 17311 w 47211"/>
                <a:gd name="connsiteY40" fmla="*/ 20852 h 51145"/>
                <a:gd name="connsiteX41" fmla="*/ 19671 w 47211"/>
                <a:gd name="connsiteY41" fmla="*/ 23999 h 51145"/>
                <a:gd name="connsiteX42" fmla="*/ 20852 w 47211"/>
                <a:gd name="connsiteY42" fmla="*/ 27147 h 51145"/>
                <a:gd name="connsiteX43" fmla="*/ 20458 w 47211"/>
                <a:gd name="connsiteY43" fmla="*/ 29901 h 51145"/>
                <a:gd name="connsiteX44" fmla="*/ 23213 w 47211"/>
                <a:gd name="connsiteY44" fmla="*/ 32261 h 51145"/>
                <a:gd name="connsiteX45" fmla="*/ 23606 w 47211"/>
                <a:gd name="connsiteY45" fmla="*/ 35015 h 51145"/>
                <a:gd name="connsiteX46" fmla="*/ 22819 w 47211"/>
                <a:gd name="connsiteY46" fmla="*/ 37769 h 51145"/>
                <a:gd name="connsiteX47" fmla="*/ 22819 w 47211"/>
                <a:gd name="connsiteY47" fmla="*/ 40916 h 51145"/>
                <a:gd name="connsiteX48" fmla="*/ 24392 w 47211"/>
                <a:gd name="connsiteY48" fmla="*/ 43670 h 51145"/>
                <a:gd name="connsiteX49" fmla="*/ 27540 w 47211"/>
                <a:gd name="connsiteY49" fmla="*/ 45244 h 51145"/>
                <a:gd name="connsiteX50" fmla="*/ 30294 w 47211"/>
                <a:gd name="connsiteY50" fmla="*/ 46424 h 51145"/>
                <a:gd name="connsiteX51" fmla="*/ 33048 w 47211"/>
                <a:gd name="connsiteY51" fmla="*/ 47211 h 51145"/>
                <a:gd name="connsiteX52" fmla="*/ 36195 w 47211"/>
                <a:gd name="connsiteY52" fmla="*/ 49178 h 51145"/>
                <a:gd name="connsiteX53" fmla="*/ 38950 w 47211"/>
                <a:gd name="connsiteY53" fmla="*/ 50752 h 51145"/>
                <a:gd name="connsiteX54" fmla="*/ 40523 w 47211"/>
                <a:gd name="connsiteY54" fmla="*/ 53506 h 51145"/>
                <a:gd name="connsiteX55" fmla="*/ 43277 w 47211"/>
                <a:gd name="connsiteY55" fmla="*/ 53113 h 51145"/>
                <a:gd name="connsiteX56" fmla="*/ 46425 w 47211"/>
                <a:gd name="connsiteY56" fmla="*/ 53899 h 51145"/>
                <a:gd name="connsiteX57" fmla="*/ 47605 w 47211"/>
                <a:gd name="connsiteY57" fmla="*/ 50752 h 51145"/>
                <a:gd name="connsiteX58" fmla="*/ 44851 w 47211"/>
                <a:gd name="connsiteY58" fmla="*/ 49178 h 51145"/>
                <a:gd name="connsiteX59" fmla="*/ 43671 w 47211"/>
                <a:gd name="connsiteY59" fmla="*/ 46424 h 51145"/>
                <a:gd name="connsiteX60" fmla="*/ 44457 w 47211"/>
                <a:gd name="connsiteY60" fmla="*/ 43670 h 5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47211" h="51145">
                  <a:moveTo>
                    <a:pt x="45638" y="40523"/>
                  </a:moveTo>
                  <a:lnTo>
                    <a:pt x="47605" y="37769"/>
                  </a:lnTo>
                  <a:lnTo>
                    <a:pt x="50359" y="36589"/>
                  </a:lnTo>
                  <a:lnTo>
                    <a:pt x="47605" y="35015"/>
                  </a:lnTo>
                  <a:lnTo>
                    <a:pt x="44457" y="34228"/>
                  </a:lnTo>
                  <a:lnTo>
                    <a:pt x="41704" y="33835"/>
                  </a:lnTo>
                  <a:lnTo>
                    <a:pt x="38556" y="32654"/>
                  </a:lnTo>
                  <a:lnTo>
                    <a:pt x="35802" y="31868"/>
                  </a:lnTo>
                  <a:lnTo>
                    <a:pt x="33835" y="29114"/>
                  </a:lnTo>
                  <a:lnTo>
                    <a:pt x="33048" y="25966"/>
                  </a:lnTo>
                  <a:lnTo>
                    <a:pt x="31868" y="23212"/>
                  </a:lnTo>
                  <a:lnTo>
                    <a:pt x="31474" y="20065"/>
                  </a:lnTo>
                  <a:lnTo>
                    <a:pt x="31081" y="16917"/>
                  </a:lnTo>
                  <a:lnTo>
                    <a:pt x="31081" y="13770"/>
                  </a:lnTo>
                  <a:lnTo>
                    <a:pt x="30294" y="11016"/>
                  </a:lnTo>
                  <a:lnTo>
                    <a:pt x="29114" y="8262"/>
                  </a:lnTo>
                  <a:lnTo>
                    <a:pt x="27147" y="5508"/>
                  </a:lnTo>
                  <a:lnTo>
                    <a:pt x="27540" y="2361"/>
                  </a:lnTo>
                  <a:lnTo>
                    <a:pt x="24786" y="787"/>
                  </a:lnTo>
                  <a:lnTo>
                    <a:pt x="22032" y="0"/>
                  </a:lnTo>
                  <a:lnTo>
                    <a:pt x="18885" y="394"/>
                  </a:lnTo>
                  <a:lnTo>
                    <a:pt x="18491" y="3541"/>
                  </a:lnTo>
                  <a:lnTo>
                    <a:pt x="18885" y="6295"/>
                  </a:lnTo>
                  <a:lnTo>
                    <a:pt x="20458" y="9049"/>
                  </a:lnTo>
                  <a:lnTo>
                    <a:pt x="17704" y="9049"/>
                  </a:lnTo>
                  <a:lnTo>
                    <a:pt x="16524" y="5901"/>
                  </a:lnTo>
                  <a:lnTo>
                    <a:pt x="14950" y="3147"/>
                  </a:lnTo>
                  <a:lnTo>
                    <a:pt x="12197" y="1574"/>
                  </a:lnTo>
                  <a:lnTo>
                    <a:pt x="9049" y="2754"/>
                  </a:lnTo>
                  <a:lnTo>
                    <a:pt x="6688" y="5508"/>
                  </a:lnTo>
                  <a:lnTo>
                    <a:pt x="6688" y="6688"/>
                  </a:lnTo>
                  <a:lnTo>
                    <a:pt x="7869" y="9836"/>
                  </a:lnTo>
                  <a:lnTo>
                    <a:pt x="5115" y="12196"/>
                  </a:lnTo>
                  <a:lnTo>
                    <a:pt x="2361" y="13770"/>
                  </a:lnTo>
                  <a:lnTo>
                    <a:pt x="0" y="16524"/>
                  </a:lnTo>
                  <a:lnTo>
                    <a:pt x="2754" y="18884"/>
                  </a:lnTo>
                  <a:lnTo>
                    <a:pt x="5509" y="20852"/>
                  </a:lnTo>
                  <a:lnTo>
                    <a:pt x="8655" y="20852"/>
                  </a:lnTo>
                  <a:lnTo>
                    <a:pt x="11803" y="19671"/>
                  </a:lnTo>
                  <a:lnTo>
                    <a:pt x="14557" y="20458"/>
                  </a:lnTo>
                  <a:lnTo>
                    <a:pt x="17311" y="20852"/>
                  </a:lnTo>
                  <a:lnTo>
                    <a:pt x="19671" y="23999"/>
                  </a:lnTo>
                  <a:lnTo>
                    <a:pt x="20852" y="27147"/>
                  </a:lnTo>
                  <a:lnTo>
                    <a:pt x="20458" y="29901"/>
                  </a:lnTo>
                  <a:lnTo>
                    <a:pt x="23213" y="32261"/>
                  </a:lnTo>
                  <a:lnTo>
                    <a:pt x="23606" y="35015"/>
                  </a:lnTo>
                  <a:lnTo>
                    <a:pt x="22819" y="37769"/>
                  </a:lnTo>
                  <a:lnTo>
                    <a:pt x="22819" y="40916"/>
                  </a:lnTo>
                  <a:lnTo>
                    <a:pt x="24392" y="43670"/>
                  </a:lnTo>
                  <a:lnTo>
                    <a:pt x="27540" y="45244"/>
                  </a:lnTo>
                  <a:lnTo>
                    <a:pt x="30294" y="46424"/>
                  </a:lnTo>
                  <a:lnTo>
                    <a:pt x="33048" y="47211"/>
                  </a:lnTo>
                  <a:lnTo>
                    <a:pt x="36195" y="49178"/>
                  </a:lnTo>
                  <a:lnTo>
                    <a:pt x="38950" y="50752"/>
                  </a:lnTo>
                  <a:lnTo>
                    <a:pt x="40523" y="53506"/>
                  </a:lnTo>
                  <a:lnTo>
                    <a:pt x="43277" y="53113"/>
                  </a:lnTo>
                  <a:lnTo>
                    <a:pt x="46425" y="53899"/>
                  </a:lnTo>
                  <a:lnTo>
                    <a:pt x="47605" y="50752"/>
                  </a:lnTo>
                  <a:lnTo>
                    <a:pt x="44851" y="49178"/>
                  </a:lnTo>
                  <a:lnTo>
                    <a:pt x="43671" y="46424"/>
                  </a:lnTo>
                  <a:lnTo>
                    <a:pt x="44457" y="4367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59" name="Freeform: Shape 3853">
              <a:extLst>
                <a:ext uri="{FF2B5EF4-FFF2-40B4-BE49-F238E27FC236}">
                  <a16:creationId xmlns:a16="http://schemas.microsoft.com/office/drawing/2014/main" id="{D973A2E9-0295-4037-99DE-90C82EA46A03}"/>
                </a:ext>
              </a:extLst>
            </p:cNvPr>
            <p:cNvSpPr/>
            <p:nvPr/>
          </p:nvSpPr>
          <p:spPr>
            <a:xfrm>
              <a:off x="9199348" y="3926726"/>
              <a:ext cx="275399" cy="94422"/>
            </a:xfrm>
            <a:custGeom>
              <a:avLst/>
              <a:gdLst>
                <a:gd name="connsiteX0" fmla="*/ 108585 w 275398"/>
                <a:gd name="connsiteY0" fmla="*/ 60588 h 94422"/>
                <a:gd name="connsiteX1" fmla="*/ 111733 w 275398"/>
                <a:gd name="connsiteY1" fmla="*/ 61768 h 94422"/>
                <a:gd name="connsiteX2" fmla="*/ 112913 w 275398"/>
                <a:gd name="connsiteY2" fmla="*/ 61375 h 94422"/>
                <a:gd name="connsiteX3" fmla="*/ 139666 w 275398"/>
                <a:gd name="connsiteY3" fmla="*/ 66489 h 94422"/>
                <a:gd name="connsiteX4" fmla="*/ 140847 w 275398"/>
                <a:gd name="connsiteY4" fmla="*/ 66882 h 94422"/>
                <a:gd name="connsiteX5" fmla="*/ 141634 w 275398"/>
                <a:gd name="connsiteY5" fmla="*/ 66882 h 94422"/>
                <a:gd name="connsiteX6" fmla="*/ 142814 w 275398"/>
                <a:gd name="connsiteY6" fmla="*/ 67669 h 94422"/>
                <a:gd name="connsiteX7" fmla="*/ 145568 w 275398"/>
                <a:gd name="connsiteY7" fmla="*/ 69637 h 94422"/>
                <a:gd name="connsiteX8" fmla="*/ 148715 w 275398"/>
                <a:gd name="connsiteY8" fmla="*/ 70817 h 94422"/>
                <a:gd name="connsiteX9" fmla="*/ 151469 w 275398"/>
                <a:gd name="connsiteY9" fmla="*/ 72391 h 94422"/>
                <a:gd name="connsiteX10" fmla="*/ 154223 w 275398"/>
                <a:gd name="connsiteY10" fmla="*/ 74358 h 94422"/>
                <a:gd name="connsiteX11" fmla="*/ 156977 w 275398"/>
                <a:gd name="connsiteY11" fmla="*/ 75931 h 94422"/>
                <a:gd name="connsiteX12" fmla="*/ 159731 w 275398"/>
                <a:gd name="connsiteY12" fmla="*/ 76718 h 94422"/>
                <a:gd name="connsiteX13" fmla="*/ 162878 w 275398"/>
                <a:gd name="connsiteY13" fmla="*/ 77898 h 94422"/>
                <a:gd name="connsiteX14" fmla="*/ 166026 w 275398"/>
                <a:gd name="connsiteY14" fmla="*/ 77898 h 94422"/>
                <a:gd name="connsiteX15" fmla="*/ 166026 w 275398"/>
                <a:gd name="connsiteY15" fmla="*/ 77898 h 94422"/>
                <a:gd name="connsiteX16" fmla="*/ 169173 w 275398"/>
                <a:gd name="connsiteY16" fmla="*/ 79079 h 94422"/>
                <a:gd name="connsiteX17" fmla="*/ 171927 w 275398"/>
                <a:gd name="connsiteY17" fmla="*/ 79865 h 94422"/>
                <a:gd name="connsiteX18" fmla="*/ 174288 w 275398"/>
                <a:gd name="connsiteY18" fmla="*/ 79865 h 94422"/>
                <a:gd name="connsiteX19" fmla="*/ 186484 w 275398"/>
                <a:gd name="connsiteY19" fmla="*/ 81833 h 94422"/>
                <a:gd name="connsiteX20" fmla="*/ 186484 w 275398"/>
                <a:gd name="connsiteY20" fmla="*/ 81833 h 94422"/>
                <a:gd name="connsiteX21" fmla="*/ 189238 w 275398"/>
                <a:gd name="connsiteY21" fmla="*/ 82620 h 94422"/>
                <a:gd name="connsiteX22" fmla="*/ 189631 w 275398"/>
                <a:gd name="connsiteY22" fmla="*/ 82620 h 94422"/>
                <a:gd name="connsiteX23" fmla="*/ 270678 w 275398"/>
                <a:gd name="connsiteY23" fmla="*/ 96783 h 94422"/>
                <a:gd name="connsiteX24" fmla="*/ 271070 w 275398"/>
                <a:gd name="connsiteY24" fmla="*/ 96783 h 94422"/>
                <a:gd name="connsiteX25" fmla="*/ 275399 w 275398"/>
                <a:gd name="connsiteY25" fmla="*/ 97570 h 94422"/>
                <a:gd name="connsiteX26" fmla="*/ 276579 w 275398"/>
                <a:gd name="connsiteY26" fmla="*/ 97963 h 94422"/>
                <a:gd name="connsiteX27" fmla="*/ 278152 w 275398"/>
                <a:gd name="connsiteY27" fmla="*/ 95209 h 94422"/>
                <a:gd name="connsiteX28" fmla="*/ 276185 w 275398"/>
                <a:gd name="connsiteY28" fmla="*/ 93635 h 94422"/>
                <a:gd name="connsiteX29" fmla="*/ 273431 w 275398"/>
                <a:gd name="connsiteY29" fmla="*/ 74751 h 94422"/>
                <a:gd name="connsiteX30" fmla="*/ 274218 w 275398"/>
                <a:gd name="connsiteY30" fmla="*/ 71997 h 94422"/>
                <a:gd name="connsiteX31" fmla="*/ 274218 w 275398"/>
                <a:gd name="connsiteY31" fmla="*/ 68850 h 94422"/>
                <a:gd name="connsiteX32" fmla="*/ 275399 w 275398"/>
                <a:gd name="connsiteY32" fmla="*/ 66096 h 94422"/>
                <a:gd name="connsiteX33" fmla="*/ 273431 w 275398"/>
                <a:gd name="connsiteY33" fmla="*/ 62948 h 94422"/>
                <a:gd name="connsiteX34" fmla="*/ 270284 w 275398"/>
                <a:gd name="connsiteY34" fmla="*/ 61768 h 94422"/>
                <a:gd name="connsiteX35" fmla="*/ 267530 w 275398"/>
                <a:gd name="connsiteY35" fmla="*/ 61768 h 94422"/>
                <a:gd name="connsiteX36" fmla="*/ 264776 w 275398"/>
                <a:gd name="connsiteY36" fmla="*/ 59801 h 94422"/>
                <a:gd name="connsiteX37" fmla="*/ 261629 w 275398"/>
                <a:gd name="connsiteY37" fmla="*/ 58621 h 94422"/>
                <a:gd name="connsiteX38" fmla="*/ 258875 w 275398"/>
                <a:gd name="connsiteY38" fmla="*/ 60588 h 94422"/>
                <a:gd name="connsiteX39" fmla="*/ 256120 w 275398"/>
                <a:gd name="connsiteY39" fmla="*/ 61768 h 94422"/>
                <a:gd name="connsiteX40" fmla="*/ 252973 w 275398"/>
                <a:gd name="connsiteY40" fmla="*/ 61375 h 94422"/>
                <a:gd name="connsiteX41" fmla="*/ 249826 w 275398"/>
                <a:gd name="connsiteY41" fmla="*/ 61768 h 94422"/>
                <a:gd name="connsiteX42" fmla="*/ 247072 w 275398"/>
                <a:gd name="connsiteY42" fmla="*/ 60981 h 94422"/>
                <a:gd name="connsiteX43" fmla="*/ 244711 w 275398"/>
                <a:gd name="connsiteY43" fmla="*/ 62161 h 94422"/>
                <a:gd name="connsiteX44" fmla="*/ 225040 w 275398"/>
                <a:gd name="connsiteY44" fmla="*/ 55473 h 94422"/>
                <a:gd name="connsiteX45" fmla="*/ 225040 w 275398"/>
                <a:gd name="connsiteY45" fmla="*/ 52719 h 94422"/>
                <a:gd name="connsiteX46" fmla="*/ 226613 w 275398"/>
                <a:gd name="connsiteY46" fmla="*/ 49965 h 94422"/>
                <a:gd name="connsiteX47" fmla="*/ 227401 w 275398"/>
                <a:gd name="connsiteY47" fmla="*/ 47211 h 94422"/>
                <a:gd name="connsiteX48" fmla="*/ 225826 w 275398"/>
                <a:gd name="connsiteY48" fmla="*/ 44064 h 94422"/>
                <a:gd name="connsiteX49" fmla="*/ 223073 w 275398"/>
                <a:gd name="connsiteY49" fmla="*/ 45244 h 94422"/>
                <a:gd name="connsiteX50" fmla="*/ 222679 w 275398"/>
                <a:gd name="connsiteY50" fmla="*/ 44851 h 94422"/>
                <a:gd name="connsiteX51" fmla="*/ 223073 w 275398"/>
                <a:gd name="connsiteY51" fmla="*/ 42490 h 94422"/>
                <a:gd name="connsiteX52" fmla="*/ 221892 w 275398"/>
                <a:gd name="connsiteY52" fmla="*/ 40916 h 94422"/>
                <a:gd name="connsiteX53" fmla="*/ 221499 w 275398"/>
                <a:gd name="connsiteY53" fmla="*/ 38949 h 94422"/>
                <a:gd name="connsiteX54" fmla="*/ 220712 w 275398"/>
                <a:gd name="connsiteY54" fmla="*/ 35802 h 94422"/>
                <a:gd name="connsiteX55" fmla="*/ 220712 w 275398"/>
                <a:gd name="connsiteY55" fmla="*/ 33048 h 94422"/>
                <a:gd name="connsiteX56" fmla="*/ 217958 w 275398"/>
                <a:gd name="connsiteY56" fmla="*/ 33835 h 94422"/>
                <a:gd name="connsiteX57" fmla="*/ 215204 w 275398"/>
                <a:gd name="connsiteY57" fmla="*/ 33048 h 94422"/>
                <a:gd name="connsiteX58" fmla="*/ 212056 w 275398"/>
                <a:gd name="connsiteY58" fmla="*/ 33441 h 94422"/>
                <a:gd name="connsiteX59" fmla="*/ 209303 w 275398"/>
                <a:gd name="connsiteY59" fmla="*/ 33835 h 94422"/>
                <a:gd name="connsiteX60" fmla="*/ 208516 w 275398"/>
                <a:gd name="connsiteY60" fmla="*/ 33835 h 94422"/>
                <a:gd name="connsiteX61" fmla="*/ 204975 w 275398"/>
                <a:gd name="connsiteY61" fmla="*/ 32654 h 94422"/>
                <a:gd name="connsiteX62" fmla="*/ 203795 w 275398"/>
                <a:gd name="connsiteY62" fmla="*/ 31474 h 94422"/>
                <a:gd name="connsiteX63" fmla="*/ 201040 w 275398"/>
                <a:gd name="connsiteY63" fmla="*/ 30294 h 94422"/>
                <a:gd name="connsiteX64" fmla="*/ 199073 w 275398"/>
                <a:gd name="connsiteY64" fmla="*/ 30294 h 94422"/>
                <a:gd name="connsiteX65" fmla="*/ 193566 w 275398"/>
                <a:gd name="connsiteY65" fmla="*/ 28327 h 94422"/>
                <a:gd name="connsiteX66" fmla="*/ 191205 w 275398"/>
                <a:gd name="connsiteY66" fmla="*/ 25179 h 94422"/>
                <a:gd name="connsiteX67" fmla="*/ 188058 w 275398"/>
                <a:gd name="connsiteY67" fmla="*/ 24392 h 94422"/>
                <a:gd name="connsiteX68" fmla="*/ 185303 w 275398"/>
                <a:gd name="connsiteY68" fmla="*/ 27147 h 94422"/>
                <a:gd name="connsiteX69" fmla="*/ 182549 w 275398"/>
                <a:gd name="connsiteY69" fmla="*/ 27147 h 94422"/>
                <a:gd name="connsiteX70" fmla="*/ 181763 w 275398"/>
                <a:gd name="connsiteY70" fmla="*/ 27147 h 94422"/>
                <a:gd name="connsiteX71" fmla="*/ 179009 w 275398"/>
                <a:gd name="connsiteY71" fmla="*/ 26753 h 94422"/>
                <a:gd name="connsiteX72" fmla="*/ 176648 w 275398"/>
                <a:gd name="connsiteY72" fmla="*/ 23606 h 94422"/>
                <a:gd name="connsiteX73" fmla="*/ 176255 w 275398"/>
                <a:gd name="connsiteY73" fmla="*/ 20852 h 94422"/>
                <a:gd name="connsiteX74" fmla="*/ 175075 w 275398"/>
                <a:gd name="connsiteY74" fmla="*/ 18098 h 94422"/>
                <a:gd name="connsiteX75" fmla="*/ 171927 w 275398"/>
                <a:gd name="connsiteY75" fmla="*/ 17311 h 94422"/>
                <a:gd name="connsiteX76" fmla="*/ 169173 w 275398"/>
                <a:gd name="connsiteY76" fmla="*/ 17704 h 94422"/>
                <a:gd name="connsiteX77" fmla="*/ 166026 w 275398"/>
                <a:gd name="connsiteY77" fmla="*/ 18491 h 94422"/>
                <a:gd name="connsiteX78" fmla="*/ 164059 w 275398"/>
                <a:gd name="connsiteY78" fmla="*/ 21638 h 94422"/>
                <a:gd name="connsiteX79" fmla="*/ 163665 w 275398"/>
                <a:gd name="connsiteY79" fmla="*/ 24392 h 94422"/>
                <a:gd name="connsiteX80" fmla="*/ 162485 w 275398"/>
                <a:gd name="connsiteY80" fmla="*/ 27147 h 94422"/>
                <a:gd name="connsiteX81" fmla="*/ 161698 w 275398"/>
                <a:gd name="connsiteY81" fmla="*/ 29114 h 94422"/>
                <a:gd name="connsiteX82" fmla="*/ 161305 w 275398"/>
                <a:gd name="connsiteY82" fmla="*/ 29507 h 94422"/>
                <a:gd name="connsiteX83" fmla="*/ 149108 w 275398"/>
                <a:gd name="connsiteY83" fmla="*/ 33048 h 94422"/>
                <a:gd name="connsiteX84" fmla="*/ 148715 w 275398"/>
                <a:gd name="connsiteY84" fmla="*/ 32261 h 94422"/>
                <a:gd name="connsiteX85" fmla="*/ 145961 w 275398"/>
                <a:gd name="connsiteY85" fmla="*/ 33835 h 94422"/>
                <a:gd name="connsiteX86" fmla="*/ 143207 w 275398"/>
                <a:gd name="connsiteY86" fmla="*/ 34621 h 94422"/>
                <a:gd name="connsiteX87" fmla="*/ 140059 w 275398"/>
                <a:gd name="connsiteY87" fmla="*/ 34228 h 94422"/>
                <a:gd name="connsiteX88" fmla="*/ 137699 w 275398"/>
                <a:gd name="connsiteY88" fmla="*/ 33441 h 94422"/>
                <a:gd name="connsiteX89" fmla="*/ 134552 w 275398"/>
                <a:gd name="connsiteY89" fmla="*/ 32654 h 94422"/>
                <a:gd name="connsiteX90" fmla="*/ 131798 w 275398"/>
                <a:gd name="connsiteY90" fmla="*/ 32261 h 94422"/>
                <a:gd name="connsiteX91" fmla="*/ 128650 w 275398"/>
                <a:gd name="connsiteY91" fmla="*/ 31081 h 94422"/>
                <a:gd name="connsiteX92" fmla="*/ 125896 w 275398"/>
                <a:gd name="connsiteY92" fmla="*/ 32654 h 94422"/>
                <a:gd name="connsiteX93" fmla="*/ 125896 w 275398"/>
                <a:gd name="connsiteY93" fmla="*/ 32654 h 94422"/>
                <a:gd name="connsiteX94" fmla="*/ 116454 w 275398"/>
                <a:gd name="connsiteY94" fmla="*/ 31868 h 94422"/>
                <a:gd name="connsiteX95" fmla="*/ 114487 w 275398"/>
                <a:gd name="connsiteY95" fmla="*/ 30294 h 94422"/>
                <a:gd name="connsiteX96" fmla="*/ 112127 w 275398"/>
                <a:gd name="connsiteY96" fmla="*/ 31081 h 94422"/>
                <a:gd name="connsiteX97" fmla="*/ 110552 w 275398"/>
                <a:gd name="connsiteY97" fmla="*/ 31081 h 94422"/>
                <a:gd name="connsiteX98" fmla="*/ 100324 w 275398"/>
                <a:gd name="connsiteY98" fmla="*/ 20852 h 94422"/>
                <a:gd name="connsiteX99" fmla="*/ 100324 w 275398"/>
                <a:gd name="connsiteY99" fmla="*/ 20065 h 94422"/>
                <a:gd name="connsiteX100" fmla="*/ 97176 w 275398"/>
                <a:gd name="connsiteY100" fmla="*/ 17311 h 94422"/>
                <a:gd name="connsiteX101" fmla="*/ 95209 w 275398"/>
                <a:gd name="connsiteY101" fmla="*/ 14557 h 94422"/>
                <a:gd name="connsiteX102" fmla="*/ 92455 w 275398"/>
                <a:gd name="connsiteY102" fmla="*/ 12196 h 94422"/>
                <a:gd name="connsiteX103" fmla="*/ 91275 w 275398"/>
                <a:gd name="connsiteY103" fmla="*/ 11803 h 94422"/>
                <a:gd name="connsiteX104" fmla="*/ 80259 w 275398"/>
                <a:gd name="connsiteY104" fmla="*/ 10623 h 94422"/>
                <a:gd name="connsiteX105" fmla="*/ 67275 w 275398"/>
                <a:gd name="connsiteY105" fmla="*/ 5114 h 94422"/>
                <a:gd name="connsiteX106" fmla="*/ 67275 w 275398"/>
                <a:gd name="connsiteY106" fmla="*/ 5114 h 94422"/>
                <a:gd name="connsiteX107" fmla="*/ 65308 w 275398"/>
                <a:gd name="connsiteY107" fmla="*/ 2361 h 94422"/>
                <a:gd name="connsiteX108" fmla="*/ 62554 w 275398"/>
                <a:gd name="connsiteY108" fmla="*/ 1967 h 94422"/>
                <a:gd name="connsiteX109" fmla="*/ 60194 w 275398"/>
                <a:gd name="connsiteY109" fmla="*/ 2361 h 94422"/>
                <a:gd name="connsiteX110" fmla="*/ 57833 w 275398"/>
                <a:gd name="connsiteY110" fmla="*/ 1574 h 94422"/>
                <a:gd name="connsiteX111" fmla="*/ 56653 w 275398"/>
                <a:gd name="connsiteY111" fmla="*/ 787 h 94422"/>
                <a:gd name="connsiteX112" fmla="*/ 55473 w 275398"/>
                <a:gd name="connsiteY112" fmla="*/ 394 h 94422"/>
                <a:gd name="connsiteX113" fmla="*/ 54293 w 275398"/>
                <a:gd name="connsiteY113" fmla="*/ 5901 h 94422"/>
                <a:gd name="connsiteX114" fmla="*/ 46425 w 275398"/>
                <a:gd name="connsiteY114" fmla="*/ 5114 h 94422"/>
                <a:gd name="connsiteX115" fmla="*/ 43670 w 275398"/>
                <a:gd name="connsiteY115" fmla="*/ 3541 h 94422"/>
                <a:gd name="connsiteX116" fmla="*/ 40523 w 275398"/>
                <a:gd name="connsiteY116" fmla="*/ 3541 h 94422"/>
                <a:gd name="connsiteX117" fmla="*/ 37768 w 275398"/>
                <a:gd name="connsiteY117" fmla="*/ 3934 h 94422"/>
                <a:gd name="connsiteX118" fmla="*/ 35015 w 275398"/>
                <a:gd name="connsiteY118" fmla="*/ 2361 h 94422"/>
                <a:gd name="connsiteX119" fmla="*/ 32261 w 275398"/>
                <a:gd name="connsiteY119" fmla="*/ 1574 h 94422"/>
                <a:gd name="connsiteX120" fmla="*/ 29113 w 275398"/>
                <a:gd name="connsiteY120" fmla="*/ 3147 h 94422"/>
                <a:gd name="connsiteX121" fmla="*/ 28327 w 275398"/>
                <a:gd name="connsiteY121" fmla="*/ 394 h 94422"/>
                <a:gd name="connsiteX122" fmla="*/ 25573 w 275398"/>
                <a:gd name="connsiteY122" fmla="*/ 0 h 94422"/>
                <a:gd name="connsiteX123" fmla="*/ 23998 w 275398"/>
                <a:gd name="connsiteY123" fmla="*/ 2754 h 94422"/>
                <a:gd name="connsiteX124" fmla="*/ 21245 w 275398"/>
                <a:gd name="connsiteY124" fmla="*/ 5508 h 94422"/>
                <a:gd name="connsiteX125" fmla="*/ 20064 w 275398"/>
                <a:gd name="connsiteY125" fmla="*/ 8262 h 94422"/>
                <a:gd name="connsiteX126" fmla="*/ 19278 w 275398"/>
                <a:gd name="connsiteY126" fmla="*/ 11409 h 94422"/>
                <a:gd name="connsiteX127" fmla="*/ 19278 w 275398"/>
                <a:gd name="connsiteY127" fmla="*/ 14163 h 94422"/>
                <a:gd name="connsiteX128" fmla="*/ 18885 w 275398"/>
                <a:gd name="connsiteY128" fmla="*/ 17311 h 94422"/>
                <a:gd name="connsiteX129" fmla="*/ 16130 w 275398"/>
                <a:gd name="connsiteY129" fmla="*/ 20065 h 94422"/>
                <a:gd name="connsiteX130" fmla="*/ 13376 w 275398"/>
                <a:gd name="connsiteY130" fmla="*/ 18884 h 94422"/>
                <a:gd name="connsiteX131" fmla="*/ 12983 w 275398"/>
                <a:gd name="connsiteY131" fmla="*/ 21638 h 94422"/>
                <a:gd name="connsiteX132" fmla="*/ 12589 w 275398"/>
                <a:gd name="connsiteY132" fmla="*/ 24392 h 94422"/>
                <a:gd name="connsiteX133" fmla="*/ 9836 w 275398"/>
                <a:gd name="connsiteY133" fmla="*/ 27540 h 94422"/>
                <a:gd name="connsiteX134" fmla="*/ 8261 w 275398"/>
                <a:gd name="connsiteY134" fmla="*/ 30294 h 94422"/>
                <a:gd name="connsiteX135" fmla="*/ 5901 w 275398"/>
                <a:gd name="connsiteY135" fmla="*/ 27147 h 94422"/>
                <a:gd name="connsiteX136" fmla="*/ 3148 w 275398"/>
                <a:gd name="connsiteY136" fmla="*/ 27933 h 94422"/>
                <a:gd name="connsiteX137" fmla="*/ 0 w 275398"/>
                <a:gd name="connsiteY137" fmla="*/ 29507 h 94422"/>
                <a:gd name="connsiteX138" fmla="*/ 3148 w 275398"/>
                <a:gd name="connsiteY138" fmla="*/ 30687 h 94422"/>
                <a:gd name="connsiteX139" fmla="*/ 6294 w 275398"/>
                <a:gd name="connsiteY139" fmla="*/ 32261 h 94422"/>
                <a:gd name="connsiteX140" fmla="*/ 9049 w 275398"/>
                <a:gd name="connsiteY140" fmla="*/ 32654 h 94422"/>
                <a:gd name="connsiteX141" fmla="*/ 11803 w 275398"/>
                <a:gd name="connsiteY141" fmla="*/ 32261 h 94422"/>
                <a:gd name="connsiteX142" fmla="*/ 14557 w 275398"/>
                <a:gd name="connsiteY142" fmla="*/ 31868 h 94422"/>
                <a:gd name="connsiteX143" fmla="*/ 17704 w 275398"/>
                <a:gd name="connsiteY143" fmla="*/ 32261 h 94422"/>
                <a:gd name="connsiteX144" fmla="*/ 20458 w 275398"/>
                <a:gd name="connsiteY144" fmla="*/ 31474 h 94422"/>
                <a:gd name="connsiteX145" fmla="*/ 23212 w 275398"/>
                <a:gd name="connsiteY145" fmla="*/ 31474 h 94422"/>
                <a:gd name="connsiteX146" fmla="*/ 26359 w 275398"/>
                <a:gd name="connsiteY146" fmla="*/ 32654 h 94422"/>
                <a:gd name="connsiteX147" fmla="*/ 29113 w 275398"/>
                <a:gd name="connsiteY147" fmla="*/ 34621 h 94422"/>
                <a:gd name="connsiteX148" fmla="*/ 32261 w 275398"/>
                <a:gd name="connsiteY148" fmla="*/ 36589 h 94422"/>
                <a:gd name="connsiteX149" fmla="*/ 35015 w 275398"/>
                <a:gd name="connsiteY149" fmla="*/ 36982 h 94422"/>
                <a:gd name="connsiteX150" fmla="*/ 37768 w 275398"/>
                <a:gd name="connsiteY150" fmla="*/ 36589 h 94422"/>
                <a:gd name="connsiteX151" fmla="*/ 39735 w 275398"/>
                <a:gd name="connsiteY151" fmla="*/ 39343 h 94422"/>
                <a:gd name="connsiteX152" fmla="*/ 36589 w 275398"/>
                <a:gd name="connsiteY152" fmla="*/ 42490 h 94422"/>
                <a:gd name="connsiteX153" fmla="*/ 34228 w 275398"/>
                <a:gd name="connsiteY153" fmla="*/ 45638 h 94422"/>
                <a:gd name="connsiteX154" fmla="*/ 34622 w 275398"/>
                <a:gd name="connsiteY154" fmla="*/ 48391 h 94422"/>
                <a:gd name="connsiteX155" fmla="*/ 37376 w 275398"/>
                <a:gd name="connsiteY155" fmla="*/ 49965 h 94422"/>
                <a:gd name="connsiteX156" fmla="*/ 40523 w 275398"/>
                <a:gd name="connsiteY156" fmla="*/ 51539 h 94422"/>
                <a:gd name="connsiteX157" fmla="*/ 43277 w 275398"/>
                <a:gd name="connsiteY157" fmla="*/ 51539 h 94422"/>
                <a:gd name="connsiteX158" fmla="*/ 46031 w 275398"/>
                <a:gd name="connsiteY158" fmla="*/ 51539 h 94422"/>
                <a:gd name="connsiteX159" fmla="*/ 49178 w 275398"/>
                <a:gd name="connsiteY159" fmla="*/ 51932 h 94422"/>
                <a:gd name="connsiteX160" fmla="*/ 54686 w 275398"/>
                <a:gd name="connsiteY160" fmla="*/ 52719 h 94422"/>
                <a:gd name="connsiteX161" fmla="*/ 57833 w 275398"/>
                <a:gd name="connsiteY161" fmla="*/ 53113 h 94422"/>
                <a:gd name="connsiteX162" fmla="*/ 60981 w 275398"/>
                <a:gd name="connsiteY162" fmla="*/ 53506 h 94422"/>
                <a:gd name="connsiteX163" fmla="*/ 63735 w 275398"/>
                <a:gd name="connsiteY163" fmla="*/ 53899 h 94422"/>
                <a:gd name="connsiteX164" fmla="*/ 66489 w 275398"/>
                <a:gd name="connsiteY164" fmla="*/ 54686 h 94422"/>
                <a:gd name="connsiteX165" fmla="*/ 69636 w 275398"/>
                <a:gd name="connsiteY165" fmla="*/ 56260 h 94422"/>
                <a:gd name="connsiteX166" fmla="*/ 72390 w 275398"/>
                <a:gd name="connsiteY166" fmla="*/ 58227 h 94422"/>
                <a:gd name="connsiteX167" fmla="*/ 75144 w 275398"/>
                <a:gd name="connsiteY167" fmla="*/ 59801 h 94422"/>
                <a:gd name="connsiteX168" fmla="*/ 77111 w 275398"/>
                <a:gd name="connsiteY168" fmla="*/ 61375 h 94422"/>
                <a:gd name="connsiteX169" fmla="*/ 79078 w 275398"/>
                <a:gd name="connsiteY169" fmla="*/ 61768 h 94422"/>
                <a:gd name="connsiteX170" fmla="*/ 81833 w 275398"/>
                <a:gd name="connsiteY170" fmla="*/ 61768 h 94422"/>
                <a:gd name="connsiteX171" fmla="*/ 84587 w 275398"/>
                <a:gd name="connsiteY171" fmla="*/ 62948 h 94422"/>
                <a:gd name="connsiteX172" fmla="*/ 87340 w 275398"/>
                <a:gd name="connsiteY172" fmla="*/ 63735 h 94422"/>
                <a:gd name="connsiteX173" fmla="*/ 90488 w 275398"/>
                <a:gd name="connsiteY173" fmla="*/ 64128 h 94422"/>
                <a:gd name="connsiteX174" fmla="*/ 93242 w 275398"/>
                <a:gd name="connsiteY174" fmla="*/ 64522 h 94422"/>
                <a:gd name="connsiteX175" fmla="*/ 96389 w 275398"/>
                <a:gd name="connsiteY175" fmla="*/ 64128 h 94422"/>
                <a:gd name="connsiteX176" fmla="*/ 97176 w 275398"/>
                <a:gd name="connsiteY176" fmla="*/ 61375 h 94422"/>
                <a:gd name="connsiteX177" fmla="*/ 100324 w 275398"/>
                <a:gd name="connsiteY177" fmla="*/ 60588 h 94422"/>
                <a:gd name="connsiteX178" fmla="*/ 101504 w 275398"/>
                <a:gd name="connsiteY178" fmla="*/ 60194 h 94422"/>
                <a:gd name="connsiteX179" fmla="*/ 105831 w 275398"/>
                <a:gd name="connsiteY179" fmla="*/ 59801 h 94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</a:cxnLst>
              <a:rect l="l" t="t" r="r" b="b"/>
              <a:pathLst>
                <a:path w="275398" h="94422">
                  <a:moveTo>
                    <a:pt x="108585" y="60588"/>
                  </a:moveTo>
                  <a:lnTo>
                    <a:pt x="111733" y="61768"/>
                  </a:lnTo>
                  <a:lnTo>
                    <a:pt x="112913" y="61375"/>
                  </a:lnTo>
                  <a:lnTo>
                    <a:pt x="139666" y="66489"/>
                  </a:lnTo>
                  <a:lnTo>
                    <a:pt x="140847" y="66882"/>
                  </a:lnTo>
                  <a:lnTo>
                    <a:pt x="141634" y="66882"/>
                  </a:lnTo>
                  <a:lnTo>
                    <a:pt x="142814" y="67669"/>
                  </a:lnTo>
                  <a:lnTo>
                    <a:pt x="145568" y="69637"/>
                  </a:lnTo>
                  <a:lnTo>
                    <a:pt x="148715" y="70817"/>
                  </a:lnTo>
                  <a:lnTo>
                    <a:pt x="151469" y="72391"/>
                  </a:lnTo>
                  <a:lnTo>
                    <a:pt x="154223" y="74358"/>
                  </a:lnTo>
                  <a:lnTo>
                    <a:pt x="156977" y="75931"/>
                  </a:lnTo>
                  <a:lnTo>
                    <a:pt x="159731" y="76718"/>
                  </a:lnTo>
                  <a:lnTo>
                    <a:pt x="162878" y="77898"/>
                  </a:lnTo>
                  <a:lnTo>
                    <a:pt x="166026" y="77898"/>
                  </a:lnTo>
                  <a:lnTo>
                    <a:pt x="166026" y="77898"/>
                  </a:lnTo>
                  <a:lnTo>
                    <a:pt x="169173" y="79079"/>
                  </a:lnTo>
                  <a:lnTo>
                    <a:pt x="171927" y="79865"/>
                  </a:lnTo>
                  <a:lnTo>
                    <a:pt x="174288" y="79865"/>
                  </a:lnTo>
                  <a:lnTo>
                    <a:pt x="186484" y="81833"/>
                  </a:lnTo>
                  <a:lnTo>
                    <a:pt x="186484" y="81833"/>
                  </a:lnTo>
                  <a:lnTo>
                    <a:pt x="189238" y="82620"/>
                  </a:lnTo>
                  <a:lnTo>
                    <a:pt x="189631" y="82620"/>
                  </a:lnTo>
                  <a:lnTo>
                    <a:pt x="270678" y="96783"/>
                  </a:lnTo>
                  <a:lnTo>
                    <a:pt x="271070" y="96783"/>
                  </a:lnTo>
                  <a:lnTo>
                    <a:pt x="275399" y="97570"/>
                  </a:lnTo>
                  <a:lnTo>
                    <a:pt x="276579" y="97963"/>
                  </a:lnTo>
                  <a:lnTo>
                    <a:pt x="278152" y="95209"/>
                  </a:lnTo>
                  <a:lnTo>
                    <a:pt x="276185" y="93635"/>
                  </a:lnTo>
                  <a:lnTo>
                    <a:pt x="273431" y="74751"/>
                  </a:lnTo>
                  <a:lnTo>
                    <a:pt x="274218" y="71997"/>
                  </a:lnTo>
                  <a:lnTo>
                    <a:pt x="274218" y="68850"/>
                  </a:lnTo>
                  <a:lnTo>
                    <a:pt x="275399" y="66096"/>
                  </a:lnTo>
                  <a:lnTo>
                    <a:pt x="273431" y="62948"/>
                  </a:lnTo>
                  <a:lnTo>
                    <a:pt x="270284" y="61768"/>
                  </a:lnTo>
                  <a:lnTo>
                    <a:pt x="267530" y="61768"/>
                  </a:lnTo>
                  <a:lnTo>
                    <a:pt x="264776" y="59801"/>
                  </a:lnTo>
                  <a:lnTo>
                    <a:pt x="261629" y="58621"/>
                  </a:lnTo>
                  <a:lnTo>
                    <a:pt x="258875" y="60588"/>
                  </a:lnTo>
                  <a:lnTo>
                    <a:pt x="256120" y="61768"/>
                  </a:lnTo>
                  <a:lnTo>
                    <a:pt x="252973" y="61375"/>
                  </a:lnTo>
                  <a:lnTo>
                    <a:pt x="249826" y="61768"/>
                  </a:lnTo>
                  <a:lnTo>
                    <a:pt x="247072" y="60981"/>
                  </a:lnTo>
                  <a:lnTo>
                    <a:pt x="244711" y="62161"/>
                  </a:lnTo>
                  <a:lnTo>
                    <a:pt x="225040" y="55473"/>
                  </a:lnTo>
                  <a:lnTo>
                    <a:pt x="225040" y="52719"/>
                  </a:lnTo>
                  <a:lnTo>
                    <a:pt x="226613" y="49965"/>
                  </a:lnTo>
                  <a:lnTo>
                    <a:pt x="227401" y="47211"/>
                  </a:lnTo>
                  <a:lnTo>
                    <a:pt x="225826" y="44064"/>
                  </a:lnTo>
                  <a:lnTo>
                    <a:pt x="223073" y="45244"/>
                  </a:lnTo>
                  <a:lnTo>
                    <a:pt x="222679" y="44851"/>
                  </a:lnTo>
                  <a:lnTo>
                    <a:pt x="223073" y="42490"/>
                  </a:lnTo>
                  <a:lnTo>
                    <a:pt x="221892" y="40916"/>
                  </a:lnTo>
                  <a:lnTo>
                    <a:pt x="221499" y="38949"/>
                  </a:lnTo>
                  <a:lnTo>
                    <a:pt x="220712" y="35802"/>
                  </a:lnTo>
                  <a:lnTo>
                    <a:pt x="220712" y="33048"/>
                  </a:lnTo>
                  <a:lnTo>
                    <a:pt x="217958" y="33835"/>
                  </a:lnTo>
                  <a:lnTo>
                    <a:pt x="215204" y="33048"/>
                  </a:lnTo>
                  <a:lnTo>
                    <a:pt x="212056" y="33441"/>
                  </a:lnTo>
                  <a:lnTo>
                    <a:pt x="209303" y="33835"/>
                  </a:lnTo>
                  <a:lnTo>
                    <a:pt x="208516" y="33835"/>
                  </a:lnTo>
                  <a:lnTo>
                    <a:pt x="204975" y="32654"/>
                  </a:lnTo>
                  <a:lnTo>
                    <a:pt x="203795" y="31474"/>
                  </a:lnTo>
                  <a:lnTo>
                    <a:pt x="201040" y="30294"/>
                  </a:lnTo>
                  <a:lnTo>
                    <a:pt x="199073" y="30294"/>
                  </a:lnTo>
                  <a:lnTo>
                    <a:pt x="193566" y="28327"/>
                  </a:lnTo>
                  <a:lnTo>
                    <a:pt x="191205" y="25179"/>
                  </a:lnTo>
                  <a:lnTo>
                    <a:pt x="188058" y="24392"/>
                  </a:lnTo>
                  <a:lnTo>
                    <a:pt x="185303" y="27147"/>
                  </a:lnTo>
                  <a:lnTo>
                    <a:pt x="182549" y="27147"/>
                  </a:lnTo>
                  <a:lnTo>
                    <a:pt x="181763" y="27147"/>
                  </a:lnTo>
                  <a:lnTo>
                    <a:pt x="179009" y="26753"/>
                  </a:lnTo>
                  <a:lnTo>
                    <a:pt x="176648" y="23606"/>
                  </a:lnTo>
                  <a:lnTo>
                    <a:pt x="176255" y="20852"/>
                  </a:lnTo>
                  <a:lnTo>
                    <a:pt x="175075" y="18098"/>
                  </a:lnTo>
                  <a:lnTo>
                    <a:pt x="171927" y="17311"/>
                  </a:lnTo>
                  <a:lnTo>
                    <a:pt x="169173" y="17704"/>
                  </a:lnTo>
                  <a:lnTo>
                    <a:pt x="166026" y="18491"/>
                  </a:lnTo>
                  <a:lnTo>
                    <a:pt x="164059" y="21638"/>
                  </a:lnTo>
                  <a:lnTo>
                    <a:pt x="163665" y="24392"/>
                  </a:lnTo>
                  <a:lnTo>
                    <a:pt x="162485" y="27147"/>
                  </a:lnTo>
                  <a:lnTo>
                    <a:pt x="161698" y="29114"/>
                  </a:lnTo>
                  <a:lnTo>
                    <a:pt x="161305" y="29507"/>
                  </a:lnTo>
                  <a:lnTo>
                    <a:pt x="149108" y="33048"/>
                  </a:lnTo>
                  <a:lnTo>
                    <a:pt x="148715" y="32261"/>
                  </a:lnTo>
                  <a:lnTo>
                    <a:pt x="145961" y="33835"/>
                  </a:lnTo>
                  <a:lnTo>
                    <a:pt x="143207" y="34621"/>
                  </a:lnTo>
                  <a:lnTo>
                    <a:pt x="140059" y="34228"/>
                  </a:lnTo>
                  <a:lnTo>
                    <a:pt x="137699" y="33441"/>
                  </a:lnTo>
                  <a:lnTo>
                    <a:pt x="134552" y="32654"/>
                  </a:lnTo>
                  <a:lnTo>
                    <a:pt x="131798" y="32261"/>
                  </a:lnTo>
                  <a:lnTo>
                    <a:pt x="128650" y="31081"/>
                  </a:lnTo>
                  <a:lnTo>
                    <a:pt x="125896" y="32654"/>
                  </a:lnTo>
                  <a:lnTo>
                    <a:pt x="125896" y="32654"/>
                  </a:lnTo>
                  <a:lnTo>
                    <a:pt x="116454" y="31868"/>
                  </a:lnTo>
                  <a:lnTo>
                    <a:pt x="114487" y="30294"/>
                  </a:lnTo>
                  <a:lnTo>
                    <a:pt x="112127" y="31081"/>
                  </a:lnTo>
                  <a:lnTo>
                    <a:pt x="110552" y="31081"/>
                  </a:lnTo>
                  <a:lnTo>
                    <a:pt x="100324" y="20852"/>
                  </a:lnTo>
                  <a:lnTo>
                    <a:pt x="100324" y="20065"/>
                  </a:lnTo>
                  <a:lnTo>
                    <a:pt x="97176" y="17311"/>
                  </a:lnTo>
                  <a:lnTo>
                    <a:pt x="95209" y="14557"/>
                  </a:lnTo>
                  <a:lnTo>
                    <a:pt x="92455" y="12196"/>
                  </a:lnTo>
                  <a:lnTo>
                    <a:pt x="91275" y="11803"/>
                  </a:lnTo>
                  <a:lnTo>
                    <a:pt x="80259" y="10623"/>
                  </a:lnTo>
                  <a:lnTo>
                    <a:pt x="67275" y="5114"/>
                  </a:lnTo>
                  <a:lnTo>
                    <a:pt x="67275" y="5114"/>
                  </a:lnTo>
                  <a:lnTo>
                    <a:pt x="65308" y="2361"/>
                  </a:lnTo>
                  <a:lnTo>
                    <a:pt x="62554" y="1967"/>
                  </a:lnTo>
                  <a:lnTo>
                    <a:pt x="60194" y="2361"/>
                  </a:lnTo>
                  <a:lnTo>
                    <a:pt x="57833" y="1574"/>
                  </a:lnTo>
                  <a:lnTo>
                    <a:pt x="56653" y="787"/>
                  </a:lnTo>
                  <a:lnTo>
                    <a:pt x="55473" y="394"/>
                  </a:lnTo>
                  <a:lnTo>
                    <a:pt x="54293" y="5901"/>
                  </a:lnTo>
                  <a:lnTo>
                    <a:pt x="46425" y="5114"/>
                  </a:lnTo>
                  <a:lnTo>
                    <a:pt x="43670" y="3541"/>
                  </a:lnTo>
                  <a:lnTo>
                    <a:pt x="40523" y="3541"/>
                  </a:lnTo>
                  <a:lnTo>
                    <a:pt x="37768" y="3934"/>
                  </a:lnTo>
                  <a:lnTo>
                    <a:pt x="35015" y="2361"/>
                  </a:lnTo>
                  <a:lnTo>
                    <a:pt x="32261" y="1574"/>
                  </a:lnTo>
                  <a:lnTo>
                    <a:pt x="29113" y="3147"/>
                  </a:lnTo>
                  <a:lnTo>
                    <a:pt x="28327" y="394"/>
                  </a:lnTo>
                  <a:lnTo>
                    <a:pt x="25573" y="0"/>
                  </a:lnTo>
                  <a:lnTo>
                    <a:pt x="23998" y="2754"/>
                  </a:lnTo>
                  <a:lnTo>
                    <a:pt x="21245" y="5508"/>
                  </a:lnTo>
                  <a:lnTo>
                    <a:pt x="20064" y="8262"/>
                  </a:lnTo>
                  <a:lnTo>
                    <a:pt x="19278" y="11409"/>
                  </a:lnTo>
                  <a:lnTo>
                    <a:pt x="19278" y="14163"/>
                  </a:lnTo>
                  <a:lnTo>
                    <a:pt x="18885" y="17311"/>
                  </a:lnTo>
                  <a:lnTo>
                    <a:pt x="16130" y="20065"/>
                  </a:lnTo>
                  <a:lnTo>
                    <a:pt x="13376" y="18884"/>
                  </a:lnTo>
                  <a:lnTo>
                    <a:pt x="12983" y="21638"/>
                  </a:lnTo>
                  <a:lnTo>
                    <a:pt x="12589" y="24392"/>
                  </a:lnTo>
                  <a:lnTo>
                    <a:pt x="9836" y="27540"/>
                  </a:lnTo>
                  <a:lnTo>
                    <a:pt x="8261" y="30294"/>
                  </a:lnTo>
                  <a:lnTo>
                    <a:pt x="5901" y="27147"/>
                  </a:lnTo>
                  <a:lnTo>
                    <a:pt x="3148" y="27933"/>
                  </a:lnTo>
                  <a:lnTo>
                    <a:pt x="0" y="29507"/>
                  </a:lnTo>
                  <a:lnTo>
                    <a:pt x="3148" y="30687"/>
                  </a:lnTo>
                  <a:lnTo>
                    <a:pt x="6294" y="32261"/>
                  </a:lnTo>
                  <a:lnTo>
                    <a:pt x="9049" y="32654"/>
                  </a:lnTo>
                  <a:lnTo>
                    <a:pt x="11803" y="32261"/>
                  </a:lnTo>
                  <a:lnTo>
                    <a:pt x="14557" y="31868"/>
                  </a:lnTo>
                  <a:lnTo>
                    <a:pt x="17704" y="32261"/>
                  </a:lnTo>
                  <a:lnTo>
                    <a:pt x="20458" y="31474"/>
                  </a:lnTo>
                  <a:lnTo>
                    <a:pt x="23212" y="31474"/>
                  </a:lnTo>
                  <a:lnTo>
                    <a:pt x="26359" y="32654"/>
                  </a:lnTo>
                  <a:lnTo>
                    <a:pt x="29113" y="34621"/>
                  </a:lnTo>
                  <a:lnTo>
                    <a:pt x="32261" y="36589"/>
                  </a:lnTo>
                  <a:lnTo>
                    <a:pt x="35015" y="36982"/>
                  </a:lnTo>
                  <a:lnTo>
                    <a:pt x="37768" y="36589"/>
                  </a:lnTo>
                  <a:lnTo>
                    <a:pt x="39735" y="39343"/>
                  </a:lnTo>
                  <a:lnTo>
                    <a:pt x="36589" y="42490"/>
                  </a:lnTo>
                  <a:lnTo>
                    <a:pt x="34228" y="45638"/>
                  </a:lnTo>
                  <a:lnTo>
                    <a:pt x="34622" y="48391"/>
                  </a:lnTo>
                  <a:lnTo>
                    <a:pt x="37376" y="49965"/>
                  </a:lnTo>
                  <a:lnTo>
                    <a:pt x="40523" y="51539"/>
                  </a:lnTo>
                  <a:lnTo>
                    <a:pt x="43277" y="51539"/>
                  </a:lnTo>
                  <a:lnTo>
                    <a:pt x="46031" y="51539"/>
                  </a:lnTo>
                  <a:lnTo>
                    <a:pt x="49178" y="51932"/>
                  </a:lnTo>
                  <a:lnTo>
                    <a:pt x="54686" y="52719"/>
                  </a:lnTo>
                  <a:lnTo>
                    <a:pt x="57833" y="53113"/>
                  </a:lnTo>
                  <a:lnTo>
                    <a:pt x="60981" y="53506"/>
                  </a:lnTo>
                  <a:lnTo>
                    <a:pt x="63735" y="53899"/>
                  </a:lnTo>
                  <a:lnTo>
                    <a:pt x="66489" y="54686"/>
                  </a:lnTo>
                  <a:lnTo>
                    <a:pt x="69636" y="56260"/>
                  </a:lnTo>
                  <a:lnTo>
                    <a:pt x="72390" y="58227"/>
                  </a:lnTo>
                  <a:lnTo>
                    <a:pt x="75144" y="59801"/>
                  </a:lnTo>
                  <a:lnTo>
                    <a:pt x="77111" y="61375"/>
                  </a:lnTo>
                  <a:lnTo>
                    <a:pt x="79078" y="61768"/>
                  </a:lnTo>
                  <a:lnTo>
                    <a:pt x="81833" y="61768"/>
                  </a:lnTo>
                  <a:lnTo>
                    <a:pt x="84587" y="62948"/>
                  </a:lnTo>
                  <a:lnTo>
                    <a:pt x="87340" y="63735"/>
                  </a:lnTo>
                  <a:lnTo>
                    <a:pt x="90488" y="64128"/>
                  </a:lnTo>
                  <a:lnTo>
                    <a:pt x="93242" y="64522"/>
                  </a:lnTo>
                  <a:lnTo>
                    <a:pt x="96389" y="64128"/>
                  </a:lnTo>
                  <a:lnTo>
                    <a:pt x="97176" y="61375"/>
                  </a:lnTo>
                  <a:lnTo>
                    <a:pt x="100324" y="60588"/>
                  </a:lnTo>
                  <a:lnTo>
                    <a:pt x="101504" y="60194"/>
                  </a:lnTo>
                  <a:lnTo>
                    <a:pt x="105831" y="598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60" name="Freeform: Shape 3854">
              <a:extLst>
                <a:ext uri="{FF2B5EF4-FFF2-40B4-BE49-F238E27FC236}">
                  <a16:creationId xmlns:a16="http://schemas.microsoft.com/office/drawing/2014/main" id="{624E1B29-7F56-481D-B69A-C4DD6D97273B}"/>
                </a:ext>
              </a:extLst>
            </p:cNvPr>
            <p:cNvSpPr/>
            <p:nvPr/>
          </p:nvSpPr>
          <p:spPr>
            <a:xfrm>
              <a:off x="9627002" y="4018394"/>
              <a:ext cx="3934" cy="3934"/>
            </a:xfrm>
            <a:custGeom>
              <a:avLst/>
              <a:gdLst>
                <a:gd name="connsiteX0" fmla="*/ 2754 w 3934"/>
                <a:gd name="connsiteY0" fmla="*/ 6295 h 3934"/>
                <a:gd name="connsiteX1" fmla="*/ 3148 w 3934"/>
                <a:gd name="connsiteY1" fmla="*/ 3541 h 3934"/>
                <a:gd name="connsiteX2" fmla="*/ 3934 w 3934"/>
                <a:gd name="connsiteY2" fmla="*/ 394 h 3934"/>
                <a:gd name="connsiteX3" fmla="*/ 787 w 3934"/>
                <a:gd name="connsiteY3" fmla="*/ 0 h 3934"/>
                <a:gd name="connsiteX4" fmla="*/ 787 w 3934"/>
                <a:gd name="connsiteY4" fmla="*/ 394 h 3934"/>
                <a:gd name="connsiteX5" fmla="*/ 1573 w 3934"/>
                <a:gd name="connsiteY5" fmla="*/ 3541 h 3934"/>
                <a:gd name="connsiteX6" fmla="*/ 0 w 3934"/>
                <a:gd name="connsiteY6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2754" y="6295"/>
                  </a:moveTo>
                  <a:lnTo>
                    <a:pt x="3148" y="3541"/>
                  </a:lnTo>
                  <a:lnTo>
                    <a:pt x="3934" y="394"/>
                  </a:lnTo>
                  <a:lnTo>
                    <a:pt x="787" y="0"/>
                  </a:lnTo>
                  <a:lnTo>
                    <a:pt x="787" y="394"/>
                  </a:lnTo>
                  <a:lnTo>
                    <a:pt x="1573" y="3541"/>
                  </a:lnTo>
                  <a:lnTo>
                    <a:pt x="0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61" name="Freeform: Shape 3855">
              <a:extLst>
                <a:ext uri="{FF2B5EF4-FFF2-40B4-BE49-F238E27FC236}">
                  <a16:creationId xmlns:a16="http://schemas.microsoft.com/office/drawing/2014/main" id="{DE0B33DD-2F91-406C-A03E-2A3DE6A779E9}"/>
                </a:ext>
              </a:extLst>
            </p:cNvPr>
            <p:cNvSpPr/>
            <p:nvPr/>
          </p:nvSpPr>
          <p:spPr>
            <a:xfrm>
              <a:off x="9620314" y="4012887"/>
              <a:ext cx="3934" cy="7869"/>
            </a:xfrm>
            <a:custGeom>
              <a:avLst/>
              <a:gdLst>
                <a:gd name="connsiteX0" fmla="*/ 1180 w 3934"/>
                <a:gd name="connsiteY0" fmla="*/ 2360 h 7868"/>
                <a:gd name="connsiteX1" fmla="*/ 0 w 3934"/>
                <a:gd name="connsiteY1" fmla="*/ 5114 h 7868"/>
                <a:gd name="connsiteX2" fmla="*/ 1967 w 3934"/>
                <a:gd name="connsiteY2" fmla="*/ 8262 h 7868"/>
                <a:gd name="connsiteX3" fmla="*/ 2754 w 3934"/>
                <a:gd name="connsiteY3" fmla="*/ 5508 h 7868"/>
                <a:gd name="connsiteX4" fmla="*/ 5901 w 3934"/>
                <a:gd name="connsiteY4" fmla="*/ 4721 h 7868"/>
                <a:gd name="connsiteX5" fmla="*/ 5508 w 3934"/>
                <a:gd name="connsiteY5" fmla="*/ 1967 h 7868"/>
                <a:gd name="connsiteX6" fmla="*/ 2754 w 3934"/>
                <a:gd name="connsiteY6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1180" y="2360"/>
                  </a:moveTo>
                  <a:lnTo>
                    <a:pt x="0" y="5114"/>
                  </a:lnTo>
                  <a:lnTo>
                    <a:pt x="1967" y="8262"/>
                  </a:lnTo>
                  <a:lnTo>
                    <a:pt x="2754" y="5508"/>
                  </a:lnTo>
                  <a:lnTo>
                    <a:pt x="5901" y="4721"/>
                  </a:lnTo>
                  <a:lnTo>
                    <a:pt x="5508" y="196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62" name="Freeform: Shape 3856">
              <a:extLst>
                <a:ext uri="{FF2B5EF4-FFF2-40B4-BE49-F238E27FC236}">
                  <a16:creationId xmlns:a16="http://schemas.microsoft.com/office/drawing/2014/main" id="{AB70A284-9C57-4FCB-B6BD-7509D5B1F09F}"/>
                </a:ext>
              </a:extLst>
            </p:cNvPr>
            <p:cNvSpPr/>
            <p:nvPr/>
          </p:nvSpPr>
          <p:spPr>
            <a:xfrm>
              <a:off x="9564448" y="4002657"/>
              <a:ext cx="3934" cy="7869"/>
            </a:xfrm>
            <a:custGeom>
              <a:avLst/>
              <a:gdLst>
                <a:gd name="connsiteX0" fmla="*/ 0 w 3934"/>
                <a:gd name="connsiteY0" fmla="*/ 2754 h 7868"/>
                <a:gd name="connsiteX1" fmla="*/ 393 w 3934"/>
                <a:gd name="connsiteY1" fmla="*/ 5508 h 7868"/>
                <a:gd name="connsiteX2" fmla="*/ 1180 w 3934"/>
                <a:gd name="connsiteY2" fmla="*/ 8655 h 7868"/>
                <a:gd name="connsiteX3" fmla="*/ 2754 w 3934"/>
                <a:gd name="connsiteY3" fmla="*/ 6295 h 7868"/>
                <a:gd name="connsiteX4" fmla="*/ 4327 w 3934"/>
                <a:gd name="connsiteY4" fmla="*/ 3541 h 7868"/>
                <a:gd name="connsiteX5" fmla="*/ 5901 w 3934"/>
                <a:gd name="connsiteY5" fmla="*/ 787 h 7868"/>
                <a:gd name="connsiteX6" fmla="*/ 3147 w 3934"/>
                <a:gd name="connsiteY6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0" y="2754"/>
                  </a:moveTo>
                  <a:lnTo>
                    <a:pt x="393" y="5508"/>
                  </a:lnTo>
                  <a:lnTo>
                    <a:pt x="1180" y="8655"/>
                  </a:lnTo>
                  <a:lnTo>
                    <a:pt x="2754" y="6295"/>
                  </a:lnTo>
                  <a:lnTo>
                    <a:pt x="4327" y="3541"/>
                  </a:lnTo>
                  <a:lnTo>
                    <a:pt x="5901" y="78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63" name="Freeform: Shape 3857">
              <a:extLst>
                <a:ext uri="{FF2B5EF4-FFF2-40B4-BE49-F238E27FC236}">
                  <a16:creationId xmlns:a16="http://schemas.microsoft.com/office/drawing/2014/main" id="{6392A074-0DD6-46E6-B9CA-E94CCBDE2534}"/>
                </a:ext>
              </a:extLst>
            </p:cNvPr>
            <p:cNvSpPr/>
            <p:nvPr/>
          </p:nvSpPr>
          <p:spPr>
            <a:xfrm>
              <a:off x="9610871" y="4002657"/>
              <a:ext cx="3934" cy="3934"/>
            </a:xfrm>
            <a:custGeom>
              <a:avLst/>
              <a:gdLst>
                <a:gd name="connsiteX0" fmla="*/ 0 w 0"/>
                <a:gd name="connsiteY0" fmla="*/ 787 h 3934"/>
                <a:gd name="connsiteX1" fmla="*/ 0 w 0"/>
                <a:gd name="connsiteY1" fmla="*/ 3934 h 3934"/>
                <a:gd name="connsiteX2" fmla="*/ 2755 w 0"/>
                <a:gd name="connsiteY2" fmla="*/ 3148 h 3934"/>
                <a:gd name="connsiteX3" fmla="*/ 1967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787"/>
                  </a:moveTo>
                  <a:lnTo>
                    <a:pt x="0" y="3934"/>
                  </a:lnTo>
                  <a:lnTo>
                    <a:pt x="2755" y="3148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64" name="Freeform: Shape 3858">
              <a:extLst>
                <a:ext uri="{FF2B5EF4-FFF2-40B4-BE49-F238E27FC236}">
                  <a16:creationId xmlns:a16="http://schemas.microsoft.com/office/drawing/2014/main" id="{A8118375-DE70-40A4-866E-3D547FFE4619}"/>
                </a:ext>
              </a:extLst>
            </p:cNvPr>
            <p:cNvSpPr/>
            <p:nvPr/>
          </p:nvSpPr>
          <p:spPr>
            <a:xfrm>
              <a:off x="9498745" y="3958200"/>
              <a:ext cx="7869" cy="3934"/>
            </a:xfrm>
            <a:custGeom>
              <a:avLst/>
              <a:gdLst>
                <a:gd name="connsiteX0" fmla="*/ 4722 w 7868"/>
                <a:gd name="connsiteY0" fmla="*/ 3147 h 3934"/>
                <a:gd name="connsiteX1" fmla="*/ 7869 w 7868"/>
                <a:gd name="connsiteY1" fmla="*/ 2754 h 3934"/>
                <a:gd name="connsiteX2" fmla="*/ 10623 w 7868"/>
                <a:gd name="connsiteY2" fmla="*/ 3934 h 3934"/>
                <a:gd name="connsiteX3" fmla="*/ 8656 w 7868"/>
                <a:gd name="connsiteY3" fmla="*/ 787 h 3934"/>
                <a:gd name="connsiteX4" fmla="*/ 5509 w 7868"/>
                <a:gd name="connsiteY4" fmla="*/ 394 h 3934"/>
                <a:gd name="connsiteX5" fmla="*/ 2755 w 7868"/>
                <a:gd name="connsiteY5" fmla="*/ 0 h 3934"/>
                <a:gd name="connsiteX6" fmla="*/ 0 w 7868"/>
                <a:gd name="connsiteY6" fmla="*/ 2754 h 3934"/>
                <a:gd name="connsiteX7" fmla="*/ 1967 w 7868"/>
                <a:gd name="connsiteY7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4722" y="3147"/>
                  </a:moveTo>
                  <a:lnTo>
                    <a:pt x="7869" y="2754"/>
                  </a:lnTo>
                  <a:lnTo>
                    <a:pt x="10623" y="3934"/>
                  </a:lnTo>
                  <a:lnTo>
                    <a:pt x="8656" y="787"/>
                  </a:lnTo>
                  <a:lnTo>
                    <a:pt x="5509" y="394"/>
                  </a:lnTo>
                  <a:lnTo>
                    <a:pt x="2755" y="0"/>
                  </a:lnTo>
                  <a:lnTo>
                    <a:pt x="0" y="2754"/>
                  </a:lnTo>
                  <a:lnTo>
                    <a:pt x="1967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65" name="Freeform: Shape 3859">
              <a:extLst>
                <a:ext uri="{FF2B5EF4-FFF2-40B4-BE49-F238E27FC236}">
                  <a16:creationId xmlns:a16="http://schemas.microsoft.com/office/drawing/2014/main" id="{D9EF054C-5E81-40EE-9ED9-B12B5B3E5365}"/>
                </a:ext>
              </a:extLst>
            </p:cNvPr>
            <p:cNvSpPr/>
            <p:nvPr/>
          </p:nvSpPr>
          <p:spPr>
            <a:xfrm>
              <a:off x="9423207" y="3920825"/>
              <a:ext cx="3934" cy="3934"/>
            </a:xfrm>
            <a:custGeom>
              <a:avLst/>
              <a:gdLst>
                <a:gd name="connsiteX0" fmla="*/ 2361 w 0"/>
                <a:gd name="connsiteY0" fmla="*/ 0 h 3934"/>
                <a:gd name="connsiteX1" fmla="*/ 0 w 0"/>
                <a:gd name="connsiteY1" fmla="*/ 787 h 3934"/>
                <a:gd name="connsiteX2" fmla="*/ 394 w 0"/>
                <a:gd name="connsiteY2" fmla="*/ 3934 h 3934"/>
                <a:gd name="connsiteX3" fmla="*/ 3148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2361" y="0"/>
                  </a:moveTo>
                  <a:lnTo>
                    <a:pt x="0" y="787"/>
                  </a:lnTo>
                  <a:lnTo>
                    <a:pt x="394" y="3934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66" name="Freeform: Shape 3860">
              <a:extLst>
                <a:ext uri="{FF2B5EF4-FFF2-40B4-BE49-F238E27FC236}">
                  <a16:creationId xmlns:a16="http://schemas.microsoft.com/office/drawing/2014/main" id="{6C6F0B2A-FEEB-4B05-A300-233F1747A904}"/>
                </a:ext>
              </a:extLst>
            </p:cNvPr>
            <p:cNvSpPr/>
            <p:nvPr/>
          </p:nvSpPr>
          <p:spPr>
            <a:xfrm>
              <a:off x="9528252" y="3836632"/>
              <a:ext cx="7869" cy="23606"/>
            </a:xfrm>
            <a:custGeom>
              <a:avLst/>
              <a:gdLst>
                <a:gd name="connsiteX0" fmla="*/ 7869 w 7868"/>
                <a:gd name="connsiteY0" fmla="*/ 3541 h 23605"/>
                <a:gd name="connsiteX1" fmla="*/ 8262 w 7868"/>
                <a:gd name="connsiteY1" fmla="*/ 787 h 23605"/>
                <a:gd name="connsiteX2" fmla="*/ 6295 w 7868"/>
                <a:gd name="connsiteY2" fmla="*/ 0 h 23605"/>
                <a:gd name="connsiteX3" fmla="*/ 3541 w 7868"/>
                <a:gd name="connsiteY3" fmla="*/ 2360 h 23605"/>
                <a:gd name="connsiteX4" fmla="*/ 2361 w 7868"/>
                <a:gd name="connsiteY4" fmla="*/ 5508 h 23605"/>
                <a:gd name="connsiteX5" fmla="*/ 788 w 7868"/>
                <a:gd name="connsiteY5" fmla="*/ 8262 h 23605"/>
                <a:gd name="connsiteX6" fmla="*/ 788 w 7868"/>
                <a:gd name="connsiteY6" fmla="*/ 11016 h 23605"/>
                <a:gd name="connsiteX7" fmla="*/ 0 w 7868"/>
                <a:gd name="connsiteY7" fmla="*/ 14163 h 23605"/>
                <a:gd name="connsiteX8" fmla="*/ 788 w 7868"/>
                <a:gd name="connsiteY8" fmla="*/ 17311 h 23605"/>
                <a:gd name="connsiteX9" fmla="*/ 1574 w 7868"/>
                <a:gd name="connsiteY9" fmla="*/ 20458 h 23605"/>
                <a:gd name="connsiteX10" fmla="*/ 1967 w 7868"/>
                <a:gd name="connsiteY10" fmla="*/ 23212 h 23605"/>
                <a:gd name="connsiteX11" fmla="*/ 3541 w 7868"/>
                <a:gd name="connsiteY11" fmla="*/ 25966 h 23605"/>
                <a:gd name="connsiteX12" fmla="*/ 5901 w 7868"/>
                <a:gd name="connsiteY12" fmla="*/ 23212 h 23605"/>
                <a:gd name="connsiteX13" fmla="*/ 8656 w 7868"/>
                <a:gd name="connsiteY13" fmla="*/ 21245 h 23605"/>
                <a:gd name="connsiteX14" fmla="*/ 8262 w 7868"/>
                <a:gd name="connsiteY14" fmla="*/ 18098 h 23605"/>
                <a:gd name="connsiteX15" fmla="*/ 8656 w 7868"/>
                <a:gd name="connsiteY15" fmla="*/ 15343 h 23605"/>
                <a:gd name="connsiteX16" fmla="*/ 8656 w 7868"/>
                <a:gd name="connsiteY16" fmla="*/ 12196 h 23605"/>
                <a:gd name="connsiteX17" fmla="*/ 7869 w 7868"/>
                <a:gd name="connsiteY17" fmla="*/ 9442 h 23605"/>
                <a:gd name="connsiteX18" fmla="*/ 9049 w 7868"/>
                <a:gd name="connsiteY18" fmla="*/ 6688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868" h="23605">
                  <a:moveTo>
                    <a:pt x="7869" y="3541"/>
                  </a:moveTo>
                  <a:lnTo>
                    <a:pt x="8262" y="787"/>
                  </a:lnTo>
                  <a:lnTo>
                    <a:pt x="6295" y="0"/>
                  </a:lnTo>
                  <a:lnTo>
                    <a:pt x="3541" y="2360"/>
                  </a:lnTo>
                  <a:lnTo>
                    <a:pt x="2361" y="5508"/>
                  </a:lnTo>
                  <a:lnTo>
                    <a:pt x="788" y="8262"/>
                  </a:lnTo>
                  <a:lnTo>
                    <a:pt x="788" y="11016"/>
                  </a:lnTo>
                  <a:lnTo>
                    <a:pt x="0" y="14163"/>
                  </a:lnTo>
                  <a:lnTo>
                    <a:pt x="788" y="17311"/>
                  </a:lnTo>
                  <a:lnTo>
                    <a:pt x="1574" y="20458"/>
                  </a:lnTo>
                  <a:lnTo>
                    <a:pt x="1967" y="23212"/>
                  </a:lnTo>
                  <a:lnTo>
                    <a:pt x="3541" y="25966"/>
                  </a:lnTo>
                  <a:lnTo>
                    <a:pt x="5901" y="23212"/>
                  </a:lnTo>
                  <a:lnTo>
                    <a:pt x="8656" y="21245"/>
                  </a:lnTo>
                  <a:lnTo>
                    <a:pt x="8262" y="18098"/>
                  </a:lnTo>
                  <a:lnTo>
                    <a:pt x="8656" y="15343"/>
                  </a:lnTo>
                  <a:lnTo>
                    <a:pt x="8656" y="12196"/>
                  </a:lnTo>
                  <a:lnTo>
                    <a:pt x="7869" y="9442"/>
                  </a:lnTo>
                  <a:lnTo>
                    <a:pt x="9049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67" name="Freeform: Shape 3861">
              <a:extLst>
                <a:ext uri="{FF2B5EF4-FFF2-40B4-BE49-F238E27FC236}">
                  <a16:creationId xmlns:a16="http://schemas.microsoft.com/office/drawing/2014/main" id="{61F8E63B-E227-4109-9320-796A27D0994A}"/>
                </a:ext>
              </a:extLst>
            </p:cNvPr>
            <p:cNvSpPr/>
            <p:nvPr/>
          </p:nvSpPr>
          <p:spPr>
            <a:xfrm>
              <a:off x="9538088" y="3841746"/>
              <a:ext cx="3934" cy="3934"/>
            </a:xfrm>
            <a:custGeom>
              <a:avLst/>
              <a:gdLst>
                <a:gd name="connsiteX0" fmla="*/ 0 w 0"/>
                <a:gd name="connsiteY0" fmla="*/ 2754 h 3934"/>
                <a:gd name="connsiteX1" fmla="*/ 2361 w 0"/>
                <a:gd name="connsiteY1" fmla="*/ 5508 h 3934"/>
                <a:gd name="connsiteX2" fmla="*/ 2755 w 0"/>
                <a:gd name="connsiteY2" fmla="*/ 2754 h 3934"/>
                <a:gd name="connsiteX3" fmla="*/ 3148 w 0"/>
                <a:gd name="connsiteY3" fmla="*/ 0 h 3934"/>
                <a:gd name="connsiteX4" fmla="*/ 1967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2754"/>
                  </a:moveTo>
                  <a:lnTo>
                    <a:pt x="2361" y="5508"/>
                  </a:lnTo>
                  <a:lnTo>
                    <a:pt x="2755" y="2754"/>
                  </a:lnTo>
                  <a:lnTo>
                    <a:pt x="3148" y="0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68" name="Freeform: Shape 3862">
              <a:extLst>
                <a:ext uri="{FF2B5EF4-FFF2-40B4-BE49-F238E27FC236}">
                  <a16:creationId xmlns:a16="http://schemas.microsoft.com/office/drawing/2014/main" id="{597FB5CA-039E-49F5-B7C1-C37CB1E35F53}"/>
                </a:ext>
              </a:extLst>
            </p:cNvPr>
            <p:cNvSpPr/>
            <p:nvPr/>
          </p:nvSpPr>
          <p:spPr>
            <a:xfrm>
              <a:off x="9503467" y="4020755"/>
              <a:ext cx="3934" cy="3934"/>
            </a:xfrm>
            <a:custGeom>
              <a:avLst/>
              <a:gdLst>
                <a:gd name="connsiteX0" fmla="*/ 2754 w 0"/>
                <a:gd name="connsiteY0" fmla="*/ 4721 h 3934"/>
                <a:gd name="connsiteX1" fmla="*/ 3540 w 0"/>
                <a:gd name="connsiteY1" fmla="*/ 3147 h 3934"/>
                <a:gd name="connsiteX2" fmla="*/ 2754 w 0"/>
                <a:gd name="connsiteY2" fmla="*/ 0 h 3934"/>
                <a:gd name="connsiteX3" fmla="*/ 0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2754" y="4721"/>
                  </a:moveTo>
                  <a:lnTo>
                    <a:pt x="3540" y="3147"/>
                  </a:lnTo>
                  <a:lnTo>
                    <a:pt x="275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69" name="Freeform: Shape 3863">
              <a:extLst>
                <a:ext uri="{FF2B5EF4-FFF2-40B4-BE49-F238E27FC236}">
                  <a16:creationId xmlns:a16="http://schemas.microsoft.com/office/drawing/2014/main" id="{86E6AC46-149C-4863-A822-9E11CE566912}"/>
                </a:ext>
              </a:extLst>
            </p:cNvPr>
            <p:cNvSpPr/>
            <p:nvPr/>
          </p:nvSpPr>
          <p:spPr>
            <a:xfrm>
              <a:off x="9540842" y="4001477"/>
              <a:ext cx="70817" cy="31474"/>
            </a:xfrm>
            <a:custGeom>
              <a:avLst/>
              <a:gdLst>
                <a:gd name="connsiteX0" fmla="*/ 59014 w 70816"/>
                <a:gd name="connsiteY0" fmla="*/ 23999 h 31474"/>
                <a:gd name="connsiteX1" fmla="*/ 61768 w 70816"/>
                <a:gd name="connsiteY1" fmla="*/ 24786 h 31474"/>
                <a:gd name="connsiteX2" fmla="*/ 64915 w 70816"/>
                <a:gd name="connsiteY2" fmla="*/ 25573 h 31474"/>
                <a:gd name="connsiteX3" fmla="*/ 62161 w 70816"/>
                <a:gd name="connsiteY3" fmla="*/ 22819 h 31474"/>
                <a:gd name="connsiteX4" fmla="*/ 59014 w 70816"/>
                <a:gd name="connsiteY4" fmla="*/ 22425 h 31474"/>
                <a:gd name="connsiteX5" fmla="*/ 62161 w 70816"/>
                <a:gd name="connsiteY5" fmla="*/ 20852 h 31474"/>
                <a:gd name="connsiteX6" fmla="*/ 64915 w 70816"/>
                <a:gd name="connsiteY6" fmla="*/ 20065 h 31474"/>
                <a:gd name="connsiteX7" fmla="*/ 67669 w 70816"/>
                <a:gd name="connsiteY7" fmla="*/ 22425 h 31474"/>
                <a:gd name="connsiteX8" fmla="*/ 70423 w 70816"/>
                <a:gd name="connsiteY8" fmla="*/ 22425 h 31474"/>
                <a:gd name="connsiteX9" fmla="*/ 73177 w 70816"/>
                <a:gd name="connsiteY9" fmla="*/ 19278 h 31474"/>
                <a:gd name="connsiteX10" fmla="*/ 73963 w 70816"/>
                <a:gd name="connsiteY10" fmla="*/ 16131 h 31474"/>
                <a:gd name="connsiteX11" fmla="*/ 71210 w 70816"/>
                <a:gd name="connsiteY11" fmla="*/ 18491 h 31474"/>
                <a:gd name="connsiteX12" fmla="*/ 69242 w 70816"/>
                <a:gd name="connsiteY12" fmla="*/ 15344 h 31474"/>
                <a:gd name="connsiteX13" fmla="*/ 70029 w 70816"/>
                <a:gd name="connsiteY13" fmla="*/ 12196 h 31474"/>
                <a:gd name="connsiteX14" fmla="*/ 68850 w 70816"/>
                <a:gd name="connsiteY14" fmla="*/ 9442 h 31474"/>
                <a:gd name="connsiteX15" fmla="*/ 67275 w 70816"/>
                <a:gd name="connsiteY15" fmla="*/ 6688 h 31474"/>
                <a:gd name="connsiteX16" fmla="*/ 64522 w 70816"/>
                <a:gd name="connsiteY16" fmla="*/ 6688 h 31474"/>
                <a:gd name="connsiteX17" fmla="*/ 61768 w 70816"/>
                <a:gd name="connsiteY17" fmla="*/ 7082 h 31474"/>
                <a:gd name="connsiteX18" fmla="*/ 60193 w 70816"/>
                <a:gd name="connsiteY18" fmla="*/ 10229 h 31474"/>
                <a:gd name="connsiteX19" fmla="*/ 59801 w 70816"/>
                <a:gd name="connsiteY19" fmla="*/ 13377 h 31474"/>
                <a:gd name="connsiteX20" fmla="*/ 59014 w 70816"/>
                <a:gd name="connsiteY20" fmla="*/ 10229 h 31474"/>
                <a:gd name="connsiteX21" fmla="*/ 58620 w 70816"/>
                <a:gd name="connsiteY21" fmla="*/ 7082 h 31474"/>
                <a:gd name="connsiteX22" fmla="*/ 55866 w 70816"/>
                <a:gd name="connsiteY22" fmla="*/ 5508 h 31474"/>
                <a:gd name="connsiteX23" fmla="*/ 52719 w 70816"/>
                <a:gd name="connsiteY23" fmla="*/ 5114 h 31474"/>
                <a:gd name="connsiteX24" fmla="*/ 49965 w 70816"/>
                <a:gd name="connsiteY24" fmla="*/ 7869 h 31474"/>
                <a:gd name="connsiteX25" fmla="*/ 47211 w 70816"/>
                <a:gd name="connsiteY25" fmla="*/ 8262 h 31474"/>
                <a:gd name="connsiteX26" fmla="*/ 44850 w 70816"/>
                <a:gd name="connsiteY26" fmla="*/ 5114 h 31474"/>
                <a:gd name="connsiteX27" fmla="*/ 44064 w 70816"/>
                <a:gd name="connsiteY27" fmla="*/ 1967 h 31474"/>
                <a:gd name="connsiteX28" fmla="*/ 40916 w 70816"/>
                <a:gd name="connsiteY28" fmla="*/ 0 h 31474"/>
                <a:gd name="connsiteX29" fmla="*/ 38162 w 70816"/>
                <a:gd name="connsiteY29" fmla="*/ 0 h 31474"/>
                <a:gd name="connsiteX30" fmla="*/ 35408 w 70816"/>
                <a:gd name="connsiteY30" fmla="*/ 0 h 31474"/>
                <a:gd name="connsiteX31" fmla="*/ 32261 w 70816"/>
                <a:gd name="connsiteY31" fmla="*/ 1180 h 31474"/>
                <a:gd name="connsiteX32" fmla="*/ 29900 w 70816"/>
                <a:gd name="connsiteY32" fmla="*/ 4328 h 31474"/>
                <a:gd name="connsiteX33" fmla="*/ 32654 w 70816"/>
                <a:gd name="connsiteY33" fmla="*/ 7082 h 31474"/>
                <a:gd name="connsiteX34" fmla="*/ 35015 w 70816"/>
                <a:gd name="connsiteY34" fmla="*/ 10229 h 31474"/>
                <a:gd name="connsiteX35" fmla="*/ 38162 w 70816"/>
                <a:gd name="connsiteY35" fmla="*/ 12590 h 31474"/>
                <a:gd name="connsiteX36" fmla="*/ 40916 w 70816"/>
                <a:gd name="connsiteY36" fmla="*/ 12196 h 31474"/>
                <a:gd name="connsiteX37" fmla="*/ 43670 w 70816"/>
                <a:gd name="connsiteY37" fmla="*/ 14557 h 31474"/>
                <a:gd name="connsiteX38" fmla="*/ 46817 w 70816"/>
                <a:gd name="connsiteY38" fmla="*/ 16524 h 31474"/>
                <a:gd name="connsiteX39" fmla="*/ 44064 w 70816"/>
                <a:gd name="connsiteY39" fmla="*/ 18884 h 31474"/>
                <a:gd name="connsiteX40" fmla="*/ 40916 w 70816"/>
                <a:gd name="connsiteY40" fmla="*/ 18491 h 31474"/>
                <a:gd name="connsiteX41" fmla="*/ 38162 w 70816"/>
                <a:gd name="connsiteY41" fmla="*/ 20852 h 31474"/>
                <a:gd name="connsiteX42" fmla="*/ 35015 w 70816"/>
                <a:gd name="connsiteY42" fmla="*/ 21245 h 31474"/>
                <a:gd name="connsiteX43" fmla="*/ 31867 w 70816"/>
                <a:gd name="connsiteY43" fmla="*/ 21245 h 31474"/>
                <a:gd name="connsiteX44" fmla="*/ 31474 w 70816"/>
                <a:gd name="connsiteY44" fmla="*/ 18491 h 31474"/>
                <a:gd name="connsiteX45" fmla="*/ 28327 w 70816"/>
                <a:gd name="connsiteY45" fmla="*/ 15737 h 31474"/>
                <a:gd name="connsiteX46" fmla="*/ 27540 w 70816"/>
                <a:gd name="connsiteY46" fmla="*/ 12983 h 31474"/>
                <a:gd name="connsiteX47" fmla="*/ 24785 w 70816"/>
                <a:gd name="connsiteY47" fmla="*/ 10623 h 31474"/>
                <a:gd name="connsiteX48" fmla="*/ 21638 w 70816"/>
                <a:gd name="connsiteY48" fmla="*/ 11409 h 31474"/>
                <a:gd name="connsiteX49" fmla="*/ 18884 w 70816"/>
                <a:gd name="connsiteY49" fmla="*/ 11409 h 31474"/>
                <a:gd name="connsiteX50" fmla="*/ 15737 w 70816"/>
                <a:gd name="connsiteY50" fmla="*/ 9836 h 31474"/>
                <a:gd name="connsiteX51" fmla="*/ 12982 w 70816"/>
                <a:gd name="connsiteY51" fmla="*/ 9049 h 31474"/>
                <a:gd name="connsiteX52" fmla="*/ 9836 w 70816"/>
                <a:gd name="connsiteY52" fmla="*/ 11803 h 31474"/>
                <a:gd name="connsiteX53" fmla="*/ 7081 w 70816"/>
                <a:gd name="connsiteY53" fmla="*/ 13770 h 31474"/>
                <a:gd name="connsiteX54" fmla="*/ 4327 w 70816"/>
                <a:gd name="connsiteY54" fmla="*/ 14557 h 31474"/>
                <a:gd name="connsiteX55" fmla="*/ 1967 w 70816"/>
                <a:gd name="connsiteY55" fmla="*/ 17704 h 31474"/>
                <a:gd name="connsiteX56" fmla="*/ 1573 w 70816"/>
                <a:gd name="connsiteY56" fmla="*/ 20458 h 31474"/>
                <a:gd name="connsiteX57" fmla="*/ 2754 w 70816"/>
                <a:gd name="connsiteY57" fmla="*/ 23606 h 31474"/>
                <a:gd name="connsiteX58" fmla="*/ 393 w 70816"/>
                <a:gd name="connsiteY58" fmla="*/ 26360 h 31474"/>
                <a:gd name="connsiteX59" fmla="*/ 0 w 70816"/>
                <a:gd name="connsiteY59" fmla="*/ 29507 h 31474"/>
                <a:gd name="connsiteX60" fmla="*/ 2754 w 70816"/>
                <a:gd name="connsiteY60" fmla="*/ 32261 h 31474"/>
                <a:gd name="connsiteX61" fmla="*/ 5508 w 70816"/>
                <a:gd name="connsiteY61" fmla="*/ 32654 h 31474"/>
                <a:gd name="connsiteX62" fmla="*/ 8655 w 70816"/>
                <a:gd name="connsiteY62" fmla="*/ 34228 h 31474"/>
                <a:gd name="connsiteX63" fmla="*/ 11409 w 70816"/>
                <a:gd name="connsiteY63" fmla="*/ 33441 h 31474"/>
                <a:gd name="connsiteX64" fmla="*/ 14163 w 70816"/>
                <a:gd name="connsiteY64" fmla="*/ 31081 h 31474"/>
                <a:gd name="connsiteX65" fmla="*/ 17310 w 70816"/>
                <a:gd name="connsiteY65" fmla="*/ 32261 h 31474"/>
                <a:gd name="connsiteX66" fmla="*/ 20064 w 70816"/>
                <a:gd name="connsiteY66" fmla="*/ 31868 h 31474"/>
                <a:gd name="connsiteX67" fmla="*/ 23212 w 70816"/>
                <a:gd name="connsiteY67" fmla="*/ 31081 h 31474"/>
                <a:gd name="connsiteX68" fmla="*/ 25966 w 70816"/>
                <a:gd name="connsiteY68" fmla="*/ 29507 h 31474"/>
                <a:gd name="connsiteX69" fmla="*/ 29113 w 70816"/>
                <a:gd name="connsiteY69" fmla="*/ 27540 h 31474"/>
                <a:gd name="connsiteX70" fmla="*/ 32261 w 70816"/>
                <a:gd name="connsiteY70" fmla="*/ 27540 h 31474"/>
                <a:gd name="connsiteX71" fmla="*/ 34621 w 70816"/>
                <a:gd name="connsiteY71" fmla="*/ 27933 h 31474"/>
                <a:gd name="connsiteX72" fmla="*/ 37376 w 70816"/>
                <a:gd name="connsiteY72" fmla="*/ 26360 h 31474"/>
                <a:gd name="connsiteX73" fmla="*/ 40522 w 70816"/>
                <a:gd name="connsiteY73" fmla="*/ 25179 h 31474"/>
                <a:gd name="connsiteX74" fmla="*/ 43277 w 70816"/>
                <a:gd name="connsiteY74" fmla="*/ 25573 h 31474"/>
                <a:gd name="connsiteX75" fmla="*/ 46031 w 70816"/>
                <a:gd name="connsiteY75" fmla="*/ 22819 h 31474"/>
                <a:gd name="connsiteX76" fmla="*/ 48391 w 70816"/>
                <a:gd name="connsiteY76" fmla="*/ 20065 h 31474"/>
                <a:gd name="connsiteX77" fmla="*/ 49965 w 70816"/>
                <a:gd name="connsiteY77" fmla="*/ 17311 h 31474"/>
                <a:gd name="connsiteX78" fmla="*/ 51145 w 70816"/>
                <a:gd name="connsiteY78" fmla="*/ 20065 h 31474"/>
                <a:gd name="connsiteX79" fmla="*/ 49178 w 70816"/>
                <a:gd name="connsiteY79" fmla="*/ 22819 h 31474"/>
                <a:gd name="connsiteX80" fmla="*/ 50358 w 70816"/>
                <a:gd name="connsiteY80" fmla="*/ 25573 h 31474"/>
                <a:gd name="connsiteX81" fmla="*/ 53113 w 70816"/>
                <a:gd name="connsiteY81" fmla="*/ 25573 h 31474"/>
                <a:gd name="connsiteX82" fmla="*/ 56259 w 70816"/>
                <a:gd name="connsiteY82" fmla="*/ 24392 h 3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70816" h="31474">
                  <a:moveTo>
                    <a:pt x="59014" y="23999"/>
                  </a:moveTo>
                  <a:lnTo>
                    <a:pt x="61768" y="24786"/>
                  </a:lnTo>
                  <a:lnTo>
                    <a:pt x="64915" y="25573"/>
                  </a:lnTo>
                  <a:lnTo>
                    <a:pt x="62161" y="22819"/>
                  </a:lnTo>
                  <a:lnTo>
                    <a:pt x="59014" y="22425"/>
                  </a:lnTo>
                  <a:lnTo>
                    <a:pt x="62161" y="20852"/>
                  </a:lnTo>
                  <a:lnTo>
                    <a:pt x="64915" y="20065"/>
                  </a:lnTo>
                  <a:lnTo>
                    <a:pt x="67669" y="22425"/>
                  </a:lnTo>
                  <a:lnTo>
                    <a:pt x="70423" y="22425"/>
                  </a:lnTo>
                  <a:lnTo>
                    <a:pt x="73177" y="19278"/>
                  </a:lnTo>
                  <a:lnTo>
                    <a:pt x="73963" y="16131"/>
                  </a:lnTo>
                  <a:lnTo>
                    <a:pt x="71210" y="18491"/>
                  </a:lnTo>
                  <a:lnTo>
                    <a:pt x="69242" y="15344"/>
                  </a:lnTo>
                  <a:lnTo>
                    <a:pt x="70029" y="12196"/>
                  </a:lnTo>
                  <a:lnTo>
                    <a:pt x="68850" y="9442"/>
                  </a:lnTo>
                  <a:lnTo>
                    <a:pt x="67275" y="6688"/>
                  </a:lnTo>
                  <a:lnTo>
                    <a:pt x="64522" y="6688"/>
                  </a:lnTo>
                  <a:lnTo>
                    <a:pt x="61768" y="7082"/>
                  </a:lnTo>
                  <a:lnTo>
                    <a:pt x="60193" y="10229"/>
                  </a:lnTo>
                  <a:lnTo>
                    <a:pt x="59801" y="13377"/>
                  </a:lnTo>
                  <a:lnTo>
                    <a:pt x="59014" y="10229"/>
                  </a:lnTo>
                  <a:lnTo>
                    <a:pt x="58620" y="7082"/>
                  </a:lnTo>
                  <a:lnTo>
                    <a:pt x="55866" y="5508"/>
                  </a:lnTo>
                  <a:lnTo>
                    <a:pt x="52719" y="5114"/>
                  </a:lnTo>
                  <a:lnTo>
                    <a:pt x="49965" y="7869"/>
                  </a:lnTo>
                  <a:lnTo>
                    <a:pt x="47211" y="8262"/>
                  </a:lnTo>
                  <a:lnTo>
                    <a:pt x="44850" y="5114"/>
                  </a:lnTo>
                  <a:lnTo>
                    <a:pt x="44064" y="1967"/>
                  </a:lnTo>
                  <a:lnTo>
                    <a:pt x="40916" y="0"/>
                  </a:lnTo>
                  <a:lnTo>
                    <a:pt x="38162" y="0"/>
                  </a:lnTo>
                  <a:lnTo>
                    <a:pt x="35408" y="0"/>
                  </a:lnTo>
                  <a:lnTo>
                    <a:pt x="32261" y="1180"/>
                  </a:lnTo>
                  <a:lnTo>
                    <a:pt x="29900" y="4328"/>
                  </a:lnTo>
                  <a:lnTo>
                    <a:pt x="32654" y="7082"/>
                  </a:lnTo>
                  <a:lnTo>
                    <a:pt x="35015" y="10229"/>
                  </a:lnTo>
                  <a:lnTo>
                    <a:pt x="38162" y="12590"/>
                  </a:lnTo>
                  <a:lnTo>
                    <a:pt x="40916" y="12196"/>
                  </a:lnTo>
                  <a:lnTo>
                    <a:pt x="43670" y="14557"/>
                  </a:lnTo>
                  <a:lnTo>
                    <a:pt x="46817" y="16524"/>
                  </a:lnTo>
                  <a:lnTo>
                    <a:pt x="44064" y="18884"/>
                  </a:lnTo>
                  <a:lnTo>
                    <a:pt x="40916" y="18491"/>
                  </a:lnTo>
                  <a:lnTo>
                    <a:pt x="38162" y="20852"/>
                  </a:lnTo>
                  <a:lnTo>
                    <a:pt x="35015" y="21245"/>
                  </a:lnTo>
                  <a:lnTo>
                    <a:pt x="31867" y="21245"/>
                  </a:lnTo>
                  <a:lnTo>
                    <a:pt x="31474" y="18491"/>
                  </a:lnTo>
                  <a:lnTo>
                    <a:pt x="28327" y="15737"/>
                  </a:lnTo>
                  <a:lnTo>
                    <a:pt x="27540" y="12983"/>
                  </a:lnTo>
                  <a:lnTo>
                    <a:pt x="24785" y="10623"/>
                  </a:lnTo>
                  <a:lnTo>
                    <a:pt x="21638" y="11409"/>
                  </a:lnTo>
                  <a:lnTo>
                    <a:pt x="18884" y="11409"/>
                  </a:lnTo>
                  <a:lnTo>
                    <a:pt x="15737" y="9836"/>
                  </a:lnTo>
                  <a:lnTo>
                    <a:pt x="12982" y="9049"/>
                  </a:lnTo>
                  <a:lnTo>
                    <a:pt x="9836" y="11803"/>
                  </a:lnTo>
                  <a:lnTo>
                    <a:pt x="7081" y="13770"/>
                  </a:lnTo>
                  <a:lnTo>
                    <a:pt x="4327" y="14557"/>
                  </a:lnTo>
                  <a:lnTo>
                    <a:pt x="1967" y="17704"/>
                  </a:lnTo>
                  <a:lnTo>
                    <a:pt x="1573" y="20458"/>
                  </a:lnTo>
                  <a:lnTo>
                    <a:pt x="2754" y="23606"/>
                  </a:lnTo>
                  <a:lnTo>
                    <a:pt x="393" y="26360"/>
                  </a:lnTo>
                  <a:lnTo>
                    <a:pt x="0" y="29507"/>
                  </a:lnTo>
                  <a:lnTo>
                    <a:pt x="2754" y="32261"/>
                  </a:lnTo>
                  <a:lnTo>
                    <a:pt x="5508" y="32654"/>
                  </a:lnTo>
                  <a:lnTo>
                    <a:pt x="8655" y="34228"/>
                  </a:lnTo>
                  <a:lnTo>
                    <a:pt x="11409" y="33441"/>
                  </a:lnTo>
                  <a:lnTo>
                    <a:pt x="14163" y="31081"/>
                  </a:lnTo>
                  <a:lnTo>
                    <a:pt x="17310" y="32261"/>
                  </a:lnTo>
                  <a:lnTo>
                    <a:pt x="20064" y="31868"/>
                  </a:lnTo>
                  <a:lnTo>
                    <a:pt x="23212" y="31081"/>
                  </a:lnTo>
                  <a:lnTo>
                    <a:pt x="25966" y="29507"/>
                  </a:lnTo>
                  <a:lnTo>
                    <a:pt x="29113" y="27540"/>
                  </a:lnTo>
                  <a:lnTo>
                    <a:pt x="32261" y="27540"/>
                  </a:lnTo>
                  <a:lnTo>
                    <a:pt x="34621" y="27933"/>
                  </a:lnTo>
                  <a:lnTo>
                    <a:pt x="37376" y="26360"/>
                  </a:lnTo>
                  <a:lnTo>
                    <a:pt x="40522" y="25179"/>
                  </a:lnTo>
                  <a:lnTo>
                    <a:pt x="43277" y="25573"/>
                  </a:lnTo>
                  <a:lnTo>
                    <a:pt x="46031" y="22819"/>
                  </a:lnTo>
                  <a:lnTo>
                    <a:pt x="48391" y="20065"/>
                  </a:lnTo>
                  <a:lnTo>
                    <a:pt x="49965" y="17311"/>
                  </a:lnTo>
                  <a:lnTo>
                    <a:pt x="51145" y="20065"/>
                  </a:lnTo>
                  <a:lnTo>
                    <a:pt x="49178" y="22819"/>
                  </a:lnTo>
                  <a:lnTo>
                    <a:pt x="50358" y="25573"/>
                  </a:lnTo>
                  <a:lnTo>
                    <a:pt x="53113" y="25573"/>
                  </a:lnTo>
                  <a:lnTo>
                    <a:pt x="56259" y="2439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70" name="Freeform: Shape 3864">
              <a:extLst>
                <a:ext uri="{FF2B5EF4-FFF2-40B4-BE49-F238E27FC236}">
                  <a16:creationId xmlns:a16="http://schemas.microsoft.com/office/drawing/2014/main" id="{07BFB036-11D1-45F9-990F-5EBE2E203B2C}"/>
                </a:ext>
              </a:extLst>
            </p:cNvPr>
            <p:cNvSpPr/>
            <p:nvPr/>
          </p:nvSpPr>
          <p:spPr>
            <a:xfrm>
              <a:off x="9422814" y="3958987"/>
              <a:ext cx="39343" cy="11803"/>
            </a:xfrm>
            <a:custGeom>
              <a:avLst/>
              <a:gdLst>
                <a:gd name="connsiteX0" fmla="*/ 787 w 39342"/>
                <a:gd name="connsiteY0" fmla="*/ 9049 h 11802"/>
                <a:gd name="connsiteX1" fmla="*/ 3540 w 39342"/>
                <a:gd name="connsiteY1" fmla="*/ 10229 h 11802"/>
                <a:gd name="connsiteX2" fmla="*/ 6688 w 39342"/>
                <a:gd name="connsiteY2" fmla="*/ 11409 h 11802"/>
                <a:gd name="connsiteX3" fmla="*/ 9442 w 39342"/>
                <a:gd name="connsiteY3" fmla="*/ 12196 h 11802"/>
                <a:gd name="connsiteX4" fmla="*/ 12196 w 39342"/>
                <a:gd name="connsiteY4" fmla="*/ 12590 h 11802"/>
                <a:gd name="connsiteX5" fmla="*/ 12589 w 39342"/>
                <a:gd name="connsiteY5" fmla="*/ 9836 h 11802"/>
                <a:gd name="connsiteX6" fmla="*/ 15737 w 39342"/>
                <a:gd name="connsiteY6" fmla="*/ 12196 h 11802"/>
                <a:gd name="connsiteX7" fmla="*/ 18491 w 39342"/>
                <a:gd name="connsiteY7" fmla="*/ 12590 h 11802"/>
                <a:gd name="connsiteX8" fmla="*/ 21638 w 39342"/>
                <a:gd name="connsiteY8" fmla="*/ 12590 h 11802"/>
                <a:gd name="connsiteX9" fmla="*/ 24392 w 39342"/>
                <a:gd name="connsiteY9" fmla="*/ 12983 h 11802"/>
                <a:gd name="connsiteX10" fmla="*/ 27540 w 39342"/>
                <a:gd name="connsiteY10" fmla="*/ 10229 h 11802"/>
                <a:gd name="connsiteX11" fmla="*/ 30294 w 39342"/>
                <a:gd name="connsiteY11" fmla="*/ 8262 h 11802"/>
                <a:gd name="connsiteX12" fmla="*/ 33047 w 39342"/>
                <a:gd name="connsiteY12" fmla="*/ 8655 h 11802"/>
                <a:gd name="connsiteX13" fmla="*/ 35801 w 39342"/>
                <a:gd name="connsiteY13" fmla="*/ 9049 h 11802"/>
                <a:gd name="connsiteX14" fmla="*/ 36195 w 39342"/>
                <a:gd name="connsiteY14" fmla="*/ 6295 h 11802"/>
                <a:gd name="connsiteX15" fmla="*/ 39343 w 39342"/>
                <a:gd name="connsiteY15" fmla="*/ 5508 h 11802"/>
                <a:gd name="connsiteX16" fmla="*/ 42096 w 39342"/>
                <a:gd name="connsiteY16" fmla="*/ 4721 h 11802"/>
                <a:gd name="connsiteX17" fmla="*/ 40916 w 39342"/>
                <a:gd name="connsiteY17" fmla="*/ 1967 h 11802"/>
                <a:gd name="connsiteX18" fmla="*/ 37768 w 39342"/>
                <a:gd name="connsiteY18" fmla="*/ 0 h 11802"/>
                <a:gd name="connsiteX19" fmla="*/ 35015 w 39342"/>
                <a:gd name="connsiteY19" fmla="*/ 1180 h 11802"/>
                <a:gd name="connsiteX20" fmla="*/ 29113 w 39342"/>
                <a:gd name="connsiteY20" fmla="*/ 1180 h 11802"/>
                <a:gd name="connsiteX21" fmla="*/ 26359 w 39342"/>
                <a:gd name="connsiteY21" fmla="*/ 1180 h 11802"/>
                <a:gd name="connsiteX22" fmla="*/ 23606 w 39342"/>
                <a:gd name="connsiteY22" fmla="*/ 1180 h 11802"/>
                <a:gd name="connsiteX23" fmla="*/ 20458 w 39342"/>
                <a:gd name="connsiteY23" fmla="*/ 1180 h 11802"/>
                <a:gd name="connsiteX24" fmla="*/ 17310 w 39342"/>
                <a:gd name="connsiteY24" fmla="*/ 1180 h 11802"/>
                <a:gd name="connsiteX25" fmla="*/ 14557 w 39342"/>
                <a:gd name="connsiteY25" fmla="*/ 1180 h 11802"/>
                <a:gd name="connsiteX26" fmla="*/ 11803 w 39342"/>
                <a:gd name="connsiteY26" fmla="*/ 787 h 11802"/>
                <a:gd name="connsiteX27" fmla="*/ 8655 w 39342"/>
                <a:gd name="connsiteY27" fmla="*/ 1180 h 11802"/>
                <a:gd name="connsiteX28" fmla="*/ 8261 w 39342"/>
                <a:gd name="connsiteY28" fmla="*/ 1180 h 11802"/>
                <a:gd name="connsiteX29" fmla="*/ 5114 w 39342"/>
                <a:gd name="connsiteY29" fmla="*/ 1574 h 11802"/>
                <a:gd name="connsiteX30" fmla="*/ 3147 w 39342"/>
                <a:gd name="connsiteY30" fmla="*/ 4328 h 11802"/>
                <a:gd name="connsiteX31" fmla="*/ 0 w 39342"/>
                <a:gd name="connsiteY31" fmla="*/ 629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9342" h="11802">
                  <a:moveTo>
                    <a:pt x="787" y="9049"/>
                  </a:moveTo>
                  <a:lnTo>
                    <a:pt x="3540" y="10229"/>
                  </a:lnTo>
                  <a:lnTo>
                    <a:pt x="6688" y="11409"/>
                  </a:lnTo>
                  <a:lnTo>
                    <a:pt x="9442" y="12196"/>
                  </a:lnTo>
                  <a:lnTo>
                    <a:pt x="12196" y="12590"/>
                  </a:lnTo>
                  <a:lnTo>
                    <a:pt x="12589" y="9836"/>
                  </a:lnTo>
                  <a:lnTo>
                    <a:pt x="15737" y="12196"/>
                  </a:lnTo>
                  <a:lnTo>
                    <a:pt x="18491" y="12590"/>
                  </a:lnTo>
                  <a:lnTo>
                    <a:pt x="21638" y="12590"/>
                  </a:lnTo>
                  <a:lnTo>
                    <a:pt x="24392" y="12983"/>
                  </a:lnTo>
                  <a:lnTo>
                    <a:pt x="27540" y="10229"/>
                  </a:lnTo>
                  <a:lnTo>
                    <a:pt x="30294" y="8262"/>
                  </a:lnTo>
                  <a:lnTo>
                    <a:pt x="33047" y="8655"/>
                  </a:lnTo>
                  <a:lnTo>
                    <a:pt x="35801" y="9049"/>
                  </a:lnTo>
                  <a:lnTo>
                    <a:pt x="36195" y="6295"/>
                  </a:lnTo>
                  <a:lnTo>
                    <a:pt x="39343" y="5508"/>
                  </a:lnTo>
                  <a:lnTo>
                    <a:pt x="42096" y="4721"/>
                  </a:lnTo>
                  <a:lnTo>
                    <a:pt x="40916" y="1967"/>
                  </a:lnTo>
                  <a:lnTo>
                    <a:pt x="37768" y="0"/>
                  </a:lnTo>
                  <a:lnTo>
                    <a:pt x="35015" y="1180"/>
                  </a:lnTo>
                  <a:lnTo>
                    <a:pt x="29113" y="1180"/>
                  </a:lnTo>
                  <a:lnTo>
                    <a:pt x="26359" y="1180"/>
                  </a:lnTo>
                  <a:lnTo>
                    <a:pt x="23606" y="1180"/>
                  </a:lnTo>
                  <a:lnTo>
                    <a:pt x="20458" y="1180"/>
                  </a:lnTo>
                  <a:lnTo>
                    <a:pt x="17310" y="1180"/>
                  </a:lnTo>
                  <a:lnTo>
                    <a:pt x="14557" y="1180"/>
                  </a:lnTo>
                  <a:lnTo>
                    <a:pt x="11803" y="787"/>
                  </a:lnTo>
                  <a:lnTo>
                    <a:pt x="8655" y="1180"/>
                  </a:lnTo>
                  <a:lnTo>
                    <a:pt x="8261" y="1180"/>
                  </a:lnTo>
                  <a:lnTo>
                    <a:pt x="5114" y="1574"/>
                  </a:lnTo>
                  <a:lnTo>
                    <a:pt x="3147" y="4328"/>
                  </a:lnTo>
                  <a:lnTo>
                    <a:pt x="0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71" name="Freeform: Shape 3865">
              <a:extLst>
                <a:ext uri="{FF2B5EF4-FFF2-40B4-BE49-F238E27FC236}">
                  <a16:creationId xmlns:a16="http://schemas.microsoft.com/office/drawing/2014/main" id="{2B320EA5-1131-4922-BB68-89C1E41A416F}"/>
                </a:ext>
              </a:extLst>
            </p:cNvPr>
            <p:cNvSpPr/>
            <p:nvPr/>
          </p:nvSpPr>
          <p:spPr>
            <a:xfrm>
              <a:off x="9473566" y="4000297"/>
              <a:ext cx="35408" cy="23606"/>
            </a:xfrm>
            <a:custGeom>
              <a:avLst/>
              <a:gdLst>
                <a:gd name="connsiteX0" fmla="*/ 37376 w 35408"/>
                <a:gd name="connsiteY0" fmla="*/ 10229 h 23605"/>
                <a:gd name="connsiteX1" fmla="*/ 34622 w 35408"/>
                <a:gd name="connsiteY1" fmla="*/ 7475 h 23605"/>
                <a:gd name="connsiteX2" fmla="*/ 33047 w 35408"/>
                <a:gd name="connsiteY2" fmla="*/ 4721 h 23605"/>
                <a:gd name="connsiteX3" fmla="*/ 29901 w 35408"/>
                <a:gd name="connsiteY3" fmla="*/ 2754 h 23605"/>
                <a:gd name="connsiteX4" fmla="*/ 27146 w 35408"/>
                <a:gd name="connsiteY4" fmla="*/ 1180 h 23605"/>
                <a:gd name="connsiteX5" fmla="*/ 23999 w 35408"/>
                <a:gd name="connsiteY5" fmla="*/ 393 h 23605"/>
                <a:gd name="connsiteX6" fmla="*/ 21245 w 35408"/>
                <a:gd name="connsiteY6" fmla="*/ 0 h 23605"/>
                <a:gd name="connsiteX7" fmla="*/ 18098 w 35408"/>
                <a:gd name="connsiteY7" fmla="*/ 2754 h 23605"/>
                <a:gd name="connsiteX8" fmla="*/ 15343 w 35408"/>
                <a:gd name="connsiteY8" fmla="*/ 3934 h 23605"/>
                <a:gd name="connsiteX9" fmla="*/ 12589 w 35408"/>
                <a:gd name="connsiteY9" fmla="*/ 4328 h 23605"/>
                <a:gd name="connsiteX10" fmla="*/ 9442 w 35408"/>
                <a:gd name="connsiteY10" fmla="*/ 3541 h 23605"/>
                <a:gd name="connsiteX11" fmla="*/ 6688 w 35408"/>
                <a:gd name="connsiteY11" fmla="*/ 2360 h 23605"/>
                <a:gd name="connsiteX12" fmla="*/ 3934 w 35408"/>
                <a:gd name="connsiteY12" fmla="*/ 2360 h 23605"/>
                <a:gd name="connsiteX13" fmla="*/ 1180 w 35408"/>
                <a:gd name="connsiteY13" fmla="*/ 787 h 23605"/>
                <a:gd name="connsiteX14" fmla="*/ 0 w 35408"/>
                <a:gd name="connsiteY14" fmla="*/ 3541 h 23605"/>
                <a:gd name="connsiteX15" fmla="*/ 1180 w 35408"/>
                <a:gd name="connsiteY15" fmla="*/ 6295 h 23605"/>
                <a:gd name="connsiteX16" fmla="*/ 3148 w 35408"/>
                <a:gd name="connsiteY16" fmla="*/ 9442 h 23605"/>
                <a:gd name="connsiteX17" fmla="*/ 6295 w 35408"/>
                <a:gd name="connsiteY17" fmla="*/ 11409 h 23605"/>
                <a:gd name="connsiteX18" fmla="*/ 7869 w 35408"/>
                <a:gd name="connsiteY18" fmla="*/ 11409 h 23605"/>
                <a:gd name="connsiteX19" fmla="*/ 18098 w 35408"/>
                <a:gd name="connsiteY19" fmla="*/ 26753 h 23605"/>
                <a:gd name="connsiteX20" fmla="*/ 21245 w 35408"/>
                <a:gd name="connsiteY20" fmla="*/ 26753 h 23605"/>
                <a:gd name="connsiteX21" fmla="*/ 22032 w 35408"/>
                <a:gd name="connsiteY21" fmla="*/ 23606 h 23605"/>
                <a:gd name="connsiteX22" fmla="*/ 23606 w 35408"/>
                <a:gd name="connsiteY22" fmla="*/ 20458 h 23605"/>
                <a:gd name="connsiteX23" fmla="*/ 26359 w 35408"/>
                <a:gd name="connsiteY23" fmla="*/ 18098 h 23605"/>
                <a:gd name="connsiteX24" fmla="*/ 29507 w 35408"/>
                <a:gd name="connsiteY24" fmla="*/ 16917 h 23605"/>
                <a:gd name="connsiteX25" fmla="*/ 32261 w 35408"/>
                <a:gd name="connsiteY25" fmla="*/ 14950 h 23605"/>
                <a:gd name="connsiteX26" fmla="*/ 35408 w 35408"/>
                <a:gd name="connsiteY26" fmla="*/ 13377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5408" h="23605">
                  <a:moveTo>
                    <a:pt x="37376" y="10229"/>
                  </a:moveTo>
                  <a:lnTo>
                    <a:pt x="34622" y="7475"/>
                  </a:lnTo>
                  <a:lnTo>
                    <a:pt x="33047" y="4721"/>
                  </a:lnTo>
                  <a:lnTo>
                    <a:pt x="29901" y="2754"/>
                  </a:lnTo>
                  <a:lnTo>
                    <a:pt x="27146" y="1180"/>
                  </a:lnTo>
                  <a:lnTo>
                    <a:pt x="23999" y="393"/>
                  </a:lnTo>
                  <a:lnTo>
                    <a:pt x="21245" y="0"/>
                  </a:lnTo>
                  <a:lnTo>
                    <a:pt x="18098" y="2754"/>
                  </a:lnTo>
                  <a:lnTo>
                    <a:pt x="15343" y="3934"/>
                  </a:lnTo>
                  <a:lnTo>
                    <a:pt x="12589" y="4328"/>
                  </a:lnTo>
                  <a:lnTo>
                    <a:pt x="9442" y="3541"/>
                  </a:lnTo>
                  <a:lnTo>
                    <a:pt x="6688" y="2360"/>
                  </a:lnTo>
                  <a:lnTo>
                    <a:pt x="3934" y="2360"/>
                  </a:lnTo>
                  <a:lnTo>
                    <a:pt x="1180" y="787"/>
                  </a:lnTo>
                  <a:lnTo>
                    <a:pt x="0" y="3541"/>
                  </a:lnTo>
                  <a:lnTo>
                    <a:pt x="1180" y="6295"/>
                  </a:lnTo>
                  <a:lnTo>
                    <a:pt x="3148" y="9442"/>
                  </a:lnTo>
                  <a:lnTo>
                    <a:pt x="6295" y="11409"/>
                  </a:lnTo>
                  <a:lnTo>
                    <a:pt x="7869" y="11409"/>
                  </a:lnTo>
                  <a:lnTo>
                    <a:pt x="18098" y="26753"/>
                  </a:lnTo>
                  <a:lnTo>
                    <a:pt x="21245" y="26753"/>
                  </a:lnTo>
                  <a:lnTo>
                    <a:pt x="22032" y="23606"/>
                  </a:lnTo>
                  <a:lnTo>
                    <a:pt x="23606" y="20458"/>
                  </a:lnTo>
                  <a:lnTo>
                    <a:pt x="26359" y="18098"/>
                  </a:lnTo>
                  <a:lnTo>
                    <a:pt x="29507" y="16917"/>
                  </a:lnTo>
                  <a:lnTo>
                    <a:pt x="32261" y="14950"/>
                  </a:lnTo>
                  <a:lnTo>
                    <a:pt x="35408" y="1337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72" name="Freeform: Shape 3866">
              <a:extLst>
                <a:ext uri="{FF2B5EF4-FFF2-40B4-BE49-F238E27FC236}">
                  <a16:creationId xmlns:a16="http://schemas.microsoft.com/office/drawing/2014/main" id="{00D24224-BD0D-4B76-822F-50983D1BF611}"/>
                </a:ext>
              </a:extLst>
            </p:cNvPr>
            <p:cNvSpPr/>
            <p:nvPr/>
          </p:nvSpPr>
          <p:spPr>
            <a:xfrm>
              <a:off x="9514089" y="4004625"/>
              <a:ext cx="27540" cy="23606"/>
            </a:xfrm>
            <a:custGeom>
              <a:avLst/>
              <a:gdLst>
                <a:gd name="connsiteX0" fmla="*/ 23212 w 27539"/>
                <a:gd name="connsiteY0" fmla="*/ 15344 h 23605"/>
                <a:gd name="connsiteX1" fmla="*/ 25179 w 27539"/>
                <a:gd name="connsiteY1" fmla="*/ 12590 h 23605"/>
                <a:gd name="connsiteX2" fmla="*/ 25966 w 27539"/>
                <a:gd name="connsiteY2" fmla="*/ 9442 h 23605"/>
                <a:gd name="connsiteX3" fmla="*/ 27540 w 27539"/>
                <a:gd name="connsiteY3" fmla="*/ 6688 h 23605"/>
                <a:gd name="connsiteX4" fmla="*/ 26359 w 27539"/>
                <a:gd name="connsiteY4" fmla="*/ 3934 h 23605"/>
                <a:gd name="connsiteX5" fmla="*/ 23212 w 27539"/>
                <a:gd name="connsiteY5" fmla="*/ 2361 h 23605"/>
                <a:gd name="connsiteX6" fmla="*/ 20064 w 27539"/>
                <a:gd name="connsiteY6" fmla="*/ 1180 h 23605"/>
                <a:gd name="connsiteX7" fmla="*/ 17310 w 27539"/>
                <a:gd name="connsiteY7" fmla="*/ 0 h 23605"/>
                <a:gd name="connsiteX8" fmla="*/ 16130 w 27539"/>
                <a:gd name="connsiteY8" fmla="*/ 787 h 23605"/>
                <a:gd name="connsiteX9" fmla="*/ 12983 w 27539"/>
                <a:gd name="connsiteY9" fmla="*/ 2361 h 23605"/>
                <a:gd name="connsiteX10" fmla="*/ 10229 w 27539"/>
                <a:gd name="connsiteY10" fmla="*/ 5115 h 23605"/>
                <a:gd name="connsiteX11" fmla="*/ 7475 w 27539"/>
                <a:gd name="connsiteY11" fmla="*/ 7475 h 23605"/>
                <a:gd name="connsiteX12" fmla="*/ 7082 w 27539"/>
                <a:gd name="connsiteY12" fmla="*/ 10229 h 23605"/>
                <a:gd name="connsiteX13" fmla="*/ 7475 w 27539"/>
                <a:gd name="connsiteY13" fmla="*/ 12983 h 23605"/>
                <a:gd name="connsiteX14" fmla="*/ 7082 w 27539"/>
                <a:gd name="connsiteY14" fmla="*/ 16131 h 23605"/>
                <a:gd name="connsiteX15" fmla="*/ 7082 w 27539"/>
                <a:gd name="connsiteY15" fmla="*/ 19278 h 23605"/>
                <a:gd name="connsiteX16" fmla="*/ 3934 w 27539"/>
                <a:gd name="connsiteY16" fmla="*/ 19671 h 23605"/>
                <a:gd name="connsiteX17" fmla="*/ 1180 w 27539"/>
                <a:gd name="connsiteY17" fmla="*/ 18098 h 23605"/>
                <a:gd name="connsiteX18" fmla="*/ 0 w 27539"/>
                <a:gd name="connsiteY18" fmla="*/ 21245 h 23605"/>
                <a:gd name="connsiteX19" fmla="*/ 3148 w 27539"/>
                <a:gd name="connsiteY19" fmla="*/ 22425 h 23605"/>
                <a:gd name="connsiteX20" fmla="*/ 5901 w 27539"/>
                <a:gd name="connsiteY20" fmla="*/ 22819 h 23605"/>
                <a:gd name="connsiteX21" fmla="*/ 8655 w 27539"/>
                <a:gd name="connsiteY21" fmla="*/ 23212 h 23605"/>
                <a:gd name="connsiteX22" fmla="*/ 11803 w 27539"/>
                <a:gd name="connsiteY22" fmla="*/ 24392 h 23605"/>
                <a:gd name="connsiteX23" fmla="*/ 14557 w 27539"/>
                <a:gd name="connsiteY23" fmla="*/ 24392 h 23605"/>
                <a:gd name="connsiteX24" fmla="*/ 17310 w 27539"/>
                <a:gd name="connsiteY24" fmla="*/ 22425 h 23605"/>
                <a:gd name="connsiteX25" fmla="*/ 20064 w 27539"/>
                <a:gd name="connsiteY25" fmla="*/ 24392 h 23605"/>
                <a:gd name="connsiteX26" fmla="*/ 19671 w 27539"/>
                <a:gd name="connsiteY26" fmla="*/ 21245 h 23605"/>
                <a:gd name="connsiteX27" fmla="*/ 22031 w 27539"/>
                <a:gd name="connsiteY27" fmla="*/ 18491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7539" h="23605">
                  <a:moveTo>
                    <a:pt x="23212" y="15344"/>
                  </a:moveTo>
                  <a:lnTo>
                    <a:pt x="25179" y="12590"/>
                  </a:lnTo>
                  <a:lnTo>
                    <a:pt x="25966" y="9442"/>
                  </a:lnTo>
                  <a:lnTo>
                    <a:pt x="27540" y="6688"/>
                  </a:lnTo>
                  <a:lnTo>
                    <a:pt x="26359" y="3934"/>
                  </a:lnTo>
                  <a:lnTo>
                    <a:pt x="23212" y="2361"/>
                  </a:lnTo>
                  <a:lnTo>
                    <a:pt x="20064" y="1180"/>
                  </a:lnTo>
                  <a:lnTo>
                    <a:pt x="17310" y="0"/>
                  </a:lnTo>
                  <a:lnTo>
                    <a:pt x="16130" y="787"/>
                  </a:lnTo>
                  <a:lnTo>
                    <a:pt x="12983" y="2361"/>
                  </a:lnTo>
                  <a:lnTo>
                    <a:pt x="10229" y="5115"/>
                  </a:lnTo>
                  <a:lnTo>
                    <a:pt x="7475" y="7475"/>
                  </a:lnTo>
                  <a:lnTo>
                    <a:pt x="7082" y="10229"/>
                  </a:lnTo>
                  <a:lnTo>
                    <a:pt x="7475" y="12983"/>
                  </a:lnTo>
                  <a:lnTo>
                    <a:pt x="7082" y="16131"/>
                  </a:lnTo>
                  <a:lnTo>
                    <a:pt x="7082" y="19278"/>
                  </a:lnTo>
                  <a:lnTo>
                    <a:pt x="3934" y="19671"/>
                  </a:lnTo>
                  <a:lnTo>
                    <a:pt x="1180" y="18098"/>
                  </a:lnTo>
                  <a:lnTo>
                    <a:pt x="0" y="21245"/>
                  </a:lnTo>
                  <a:lnTo>
                    <a:pt x="3148" y="22425"/>
                  </a:lnTo>
                  <a:lnTo>
                    <a:pt x="5901" y="22819"/>
                  </a:lnTo>
                  <a:lnTo>
                    <a:pt x="8655" y="23212"/>
                  </a:lnTo>
                  <a:lnTo>
                    <a:pt x="11803" y="24392"/>
                  </a:lnTo>
                  <a:lnTo>
                    <a:pt x="14557" y="24392"/>
                  </a:lnTo>
                  <a:lnTo>
                    <a:pt x="17310" y="22425"/>
                  </a:lnTo>
                  <a:lnTo>
                    <a:pt x="20064" y="24392"/>
                  </a:lnTo>
                  <a:lnTo>
                    <a:pt x="19671" y="21245"/>
                  </a:lnTo>
                  <a:lnTo>
                    <a:pt x="22031" y="1849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73" name="Freeform: Shape 3867">
              <a:extLst>
                <a:ext uri="{FF2B5EF4-FFF2-40B4-BE49-F238E27FC236}">
                  <a16:creationId xmlns:a16="http://schemas.microsoft.com/office/drawing/2014/main" id="{C8982D06-1FA5-4D52-BB52-DEF601BEA63F}"/>
                </a:ext>
              </a:extLst>
            </p:cNvPr>
            <p:cNvSpPr/>
            <p:nvPr/>
          </p:nvSpPr>
          <p:spPr>
            <a:xfrm>
              <a:off x="9315015" y="3487269"/>
              <a:ext cx="306873" cy="377689"/>
            </a:xfrm>
            <a:custGeom>
              <a:avLst/>
              <a:gdLst>
                <a:gd name="connsiteX0" fmla="*/ 199467 w 306872"/>
                <a:gd name="connsiteY0" fmla="*/ 367460 h 377689"/>
                <a:gd name="connsiteX1" fmla="*/ 202615 w 306872"/>
                <a:gd name="connsiteY1" fmla="*/ 365493 h 377689"/>
                <a:gd name="connsiteX2" fmla="*/ 205368 w 306872"/>
                <a:gd name="connsiteY2" fmla="*/ 364706 h 377689"/>
                <a:gd name="connsiteX3" fmla="*/ 208123 w 306872"/>
                <a:gd name="connsiteY3" fmla="*/ 361952 h 377689"/>
                <a:gd name="connsiteX4" fmla="*/ 211270 w 306872"/>
                <a:gd name="connsiteY4" fmla="*/ 361559 h 377689"/>
                <a:gd name="connsiteX5" fmla="*/ 213237 w 306872"/>
                <a:gd name="connsiteY5" fmla="*/ 358412 h 377689"/>
                <a:gd name="connsiteX6" fmla="*/ 213237 w 306872"/>
                <a:gd name="connsiteY6" fmla="*/ 355658 h 377689"/>
                <a:gd name="connsiteX7" fmla="*/ 215204 w 306872"/>
                <a:gd name="connsiteY7" fmla="*/ 352510 h 377689"/>
                <a:gd name="connsiteX8" fmla="*/ 216385 w 306872"/>
                <a:gd name="connsiteY8" fmla="*/ 349363 h 377689"/>
                <a:gd name="connsiteX9" fmla="*/ 218352 w 306872"/>
                <a:gd name="connsiteY9" fmla="*/ 346609 h 377689"/>
                <a:gd name="connsiteX10" fmla="*/ 221105 w 306872"/>
                <a:gd name="connsiteY10" fmla="*/ 345429 h 377689"/>
                <a:gd name="connsiteX11" fmla="*/ 219138 w 306872"/>
                <a:gd name="connsiteY11" fmla="*/ 342281 h 377689"/>
                <a:gd name="connsiteX12" fmla="*/ 217171 w 306872"/>
                <a:gd name="connsiteY12" fmla="*/ 339527 h 377689"/>
                <a:gd name="connsiteX13" fmla="*/ 217565 w 306872"/>
                <a:gd name="connsiteY13" fmla="*/ 336773 h 377689"/>
                <a:gd name="connsiteX14" fmla="*/ 220319 w 306872"/>
                <a:gd name="connsiteY14" fmla="*/ 339527 h 377689"/>
                <a:gd name="connsiteX15" fmla="*/ 223073 w 306872"/>
                <a:gd name="connsiteY15" fmla="*/ 339134 h 377689"/>
                <a:gd name="connsiteX16" fmla="*/ 224647 w 306872"/>
                <a:gd name="connsiteY16" fmla="*/ 336380 h 377689"/>
                <a:gd name="connsiteX17" fmla="*/ 225040 w 306872"/>
                <a:gd name="connsiteY17" fmla="*/ 333232 h 377689"/>
                <a:gd name="connsiteX18" fmla="*/ 224647 w 306872"/>
                <a:gd name="connsiteY18" fmla="*/ 330085 h 377689"/>
                <a:gd name="connsiteX19" fmla="*/ 225434 w 306872"/>
                <a:gd name="connsiteY19" fmla="*/ 327331 h 377689"/>
                <a:gd name="connsiteX20" fmla="*/ 223073 w 306872"/>
                <a:gd name="connsiteY20" fmla="*/ 324183 h 377689"/>
                <a:gd name="connsiteX21" fmla="*/ 226220 w 306872"/>
                <a:gd name="connsiteY21" fmla="*/ 323790 h 377689"/>
                <a:gd name="connsiteX22" fmla="*/ 228974 w 306872"/>
                <a:gd name="connsiteY22" fmla="*/ 325757 h 377689"/>
                <a:gd name="connsiteX23" fmla="*/ 230548 w 306872"/>
                <a:gd name="connsiteY23" fmla="*/ 322610 h 377689"/>
                <a:gd name="connsiteX24" fmla="*/ 231335 w 306872"/>
                <a:gd name="connsiteY24" fmla="*/ 319462 h 377689"/>
                <a:gd name="connsiteX25" fmla="*/ 232122 w 306872"/>
                <a:gd name="connsiteY25" fmla="*/ 316708 h 377689"/>
                <a:gd name="connsiteX26" fmla="*/ 232122 w 306872"/>
                <a:gd name="connsiteY26" fmla="*/ 315922 h 377689"/>
                <a:gd name="connsiteX27" fmla="*/ 252187 w 306872"/>
                <a:gd name="connsiteY27" fmla="*/ 269104 h 377689"/>
                <a:gd name="connsiteX28" fmla="*/ 252973 w 306872"/>
                <a:gd name="connsiteY28" fmla="*/ 268317 h 377689"/>
                <a:gd name="connsiteX29" fmla="*/ 253760 w 306872"/>
                <a:gd name="connsiteY29" fmla="*/ 265563 h 377689"/>
                <a:gd name="connsiteX30" fmla="*/ 255334 w 306872"/>
                <a:gd name="connsiteY30" fmla="*/ 268710 h 377689"/>
                <a:gd name="connsiteX31" fmla="*/ 256514 w 306872"/>
                <a:gd name="connsiteY31" fmla="*/ 267137 h 377689"/>
                <a:gd name="connsiteX32" fmla="*/ 259661 w 306872"/>
                <a:gd name="connsiteY32" fmla="*/ 266350 h 377689"/>
                <a:gd name="connsiteX33" fmla="*/ 259661 w 306872"/>
                <a:gd name="connsiteY33" fmla="*/ 265956 h 377689"/>
                <a:gd name="connsiteX34" fmla="*/ 262809 w 306872"/>
                <a:gd name="connsiteY34" fmla="*/ 265563 h 377689"/>
                <a:gd name="connsiteX35" fmla="*/ 260448 w 306872"/>
                <a:gd name="connsiteY35" fmla="*/ 262809 h 377689"/>
                <a:gd name="connsiteX36" fmla="*/ 260842 w 306872"/>
                <a:gd name="connsiteY36" fmla="*/ 262022 h 377689"/>
                <a:gd name="connsiteX37" fmla="*/ 262809 w 306872"/>
                <a:gd name="connsiteY37" fmla="*/ 259661 h 377689"/>
                <a:gd name="connsiteX38" fmla="*/ 261236 w 306872"/>
                <a:gd name="connsiteY38" fmla="*/ 259268 h 377689"/>
                <a:gd name="connsiteX39" fmla="*/ 263203 w 306872"/>
                <a:gd name="connsiteY39" fmla="*/ 256514 h 377689"/>
                <a:gd name="connsiteX40" fmla="*/ 264382 w 306872"/>
                <a:gd name="connsiteY40" fmla="*/ 253367 h 377689"/>
                <a:gd name="connsiteX41" fmla="*/ 261629 w 306872"/>
                <a:gd name="connsiteY41" fmla="*/ 254154 h 377689"/>
                <a:gd name="connsiteX42" fmla="*/ 258875 w 306872"/>
                <a:gd name="connsiteY42" fmla="*/ 256121 h 377689"/>
                <a:gd name="connsiteX43" fmla="*/ 258481 w 306872"/>
                <a:gd name="connsiteY43" fmla="*/ 256121 h 377689"/>
                <a:gd name="connsiteX44" fmla="*/ 258875 w 306872"/>
                <a:gd name="connsiteY44" fmla="*/ 252973 h 377689"/>
                <a:gd name="connsiteX45" fmla="*/ 260448 w 306872"/>
                <a:gd name="connsiteY45" fmla="*/ 250219 h 377689"/>
                <a:gd name="connsiteX46" fmla="*/ 259661 w 306872"/>
                <a:gd name="connsiteY46" fmla="*/ 249039 h 377689"/>
                <a:gd name="connsiteX47" fmla="*/ 260842 w 306872"/>
                <a:gd name="connsiteY47" fmla="*/ 238417 h 377689"/>
                <a:gd name="connsiteX48" fmla="*/ 260842 w 306872"/>
                <a:gd name="connsiteY48" fmla="*/ 238417 h 377689"/>
                <a:gd name="connsiteX49" fmla="*/ 260842 w 306872"/>
                <a:gd name="connsiteY49" fmla="*/ 238023 h 377689"/>
                <a:gd name="connsiteX50" fmla="*/ 296644 w 306872"/>
                <a:gd name="connsiteY50" fmla="*/ 210090 h 377689"/>
                <a:gd name="connsiteX51" fmla="*/ 297824 w 306872"/>
                <a:gd name="connsiteY51" fmla="*/ 210877 h 377689"/>
                <a:gd name="connsiteX52" fmla="*/ 300971 w 306872"/>
                <a:gd name="connsiteY52" fmla="*/ 209696 h 377689"/>
                <a:gd name="connsiteX53" fmla="*/ 303725 w 306872"/>
                <a:gd name="connsiteY53" fmla="*/ 207729 h 377689"/>
                <a:gd name="connsiteX54" fmla="*/ 305299 w 306872"/>
                <a:gd name="connsiteY54" fmla="*/ 204582 h 377689"/>
                <a:gd name="connsiteX55" fmla="*/ 305299 w 306872"/>
                <a:gd name="connsiteY55" fmla="*/ 203795 h 377689"/>
                <a:gd name="connsiteX56" fmla="*/ 305299 w 306872"/>
                <a:gd name="connsiteY56" fmla="*/ 202615 h 377689"/>
                <a:gd name="connsiteX57" fmla="*/ 276579 w 306872"/>
                <a:gd name="connsiteY57" fmla="*/ 161698 h 377689"/>
                <a:gd name="connsiteX58" fmla="*/ 277366 w 306872"/>
                <a:gd name="connsiteY58" fmla="*/ 160125 h 377689"/>
                <a:gd name="connsiteX59" fmla="*/ 275792 w 306872"/>
                <a:gd name="connsiteY59" fmla="*/ 157371 h 377689"/>
                <a:gd name="connsiteX60" fmla="*/ 273825 w 306872"/>
                <a:gd name="connsiteY60" fmla="*/ 154223 h 377689"/>
                <a:gd name="connsiteX61" fmla="*/ 270678 w 306872"/>
                <a:gd name="connsiteY61" fmla="*/ 151469 h 377689"/>
                <a:gd name="connsiteX62" fmla="*/ 268317 w 306872"/>
                <a:gd name="connsiteY62" fmla="*/ 148715 h 377689"/>
                <a:gd name="connsiteX63" fmla="*/ 267924 w 306872"/>
                <a:gd name="connsiteY63" fmla="*/ 145568 h 377689"/>
                <a:gd name="connsiteX64" fmla="*/ 264776 w 306872"/>
                <a:gd name="connsiteY64" fmla="*/ 143207 h 377689"/>
                <a:gd name="connsiteX65" fmla="*/ 262809 w 306872"/>
                <a:gd name="connsiteY65" fmla="*/ 142027 h 377689"/>
                <a:gd name="connsiteX66" fmla="*/ 265563 w 306872"/>
                <a:gd name="connsiteY66" fmla="*/ 140453 h 377689"/>
                <a:gd name="connsiteX67" fmla="*/ 262809 w 306872"/>
                <a:gd name="connsiteY67" fmla="*/ 139273 h 377689"/>
                <a:gd name="connsiteX68" fmla="*/ 260055 w 306872"/>
                <a:gd name="connsiteY68" fmla="*/ 138880 h 377689"/>
                <a:gd name="connsiteX69" fmla="*/ 262809 w 306872"/>
                <a:gd name="connsiteY69" fmla="*/ 138093 h 377689"/>
                <a:gd name="connsiteX70" fmla="*/ 260842 w 306872"/>
                <a:gd name="connsiteY70" fmla="*/ 136913 h 377689"/>
                <a:gd name="connsiteX71" fmla="*/ 261629 w 306872"/>
                <a:gd name="connsiteY71" fmla="*/ 136126 h 377689"/>
                <a:gd name="connsiteX72" fmla="*/ 262415 w 306872"/>
                <a:gd name="connsiteY72" fmla="*/ 133765 h 377689"/>
                <a:gd name="connsiteX73" fmla="*/ 259661 w 306872"/>
                <a:gd name="connsiteY73" fmla="*/ 132978 h 377689"/>
                <a:gd name="connsiteX74" fmla="*/ 257694 w 306872"/>
                <a:gd name="connsiteY74" fmla="*/ 132978 h 377689"/>
                <a:gd name="connsiteX75" fmla="*/ 256908 w 306872"/>
                <a:gd name="connsiteY75" fmla="*/ 131798 h 377689"/>
                <a:gd name="connsiteX76" fmla="*/ 257301 w 306872"/>
                <a:gd name="connsiteY76" fmla="*/ 126290 h 377689"/>
                <a:gd name="connsiteX77" fmla="*/ 259269 w 306872"/>
                <a:gd name="connsiteY77" fmla="*/ 125896 h 377689"/>
                <a:gd name="connsiteX78" fmla="*/ 257694 w 306872"/>
                <a:gd name="connsiteY78" fmla="*/ 125110 h 377689"/>
                <a:gd name="connsiteX79" fmla="*/ 258088 w 306872"/>
                <a:gd name="connsiteY79" fmla="*/ 119602 h 377689"/>
                <a:gd name="connsiteX80" fmla="*/ 258481 w 306872"/>
                <a:gd name="connsiteY80" fmla="*/ 119602 h 377689"/>
                <a:gd name="connsiteX81" fmla="*/ 258088 w 306872"/>
                <a:gd name="connsiteY81" fmla="*/ 119208 h 377689"/>
                <a:gd name="connsiteX82" fmla="*/ 258481 w 306872"/>
                <a:gd name="connsiteY82" fmla="*/ 112520 h 377689"/>
                <a:gd name="connsiteX83" fmla="*/ 258481 w 306872"/>
                <a:gd name="connsiteY83" fmla="*/ 112520 h 377689"/>
                <a:gd name="connsiteX84" fmla="*/ 261629 w 306872"/>
                <a:gd name="connsiteY84" fmla="*/ 114881 h 377689"/>
                <a:gd name="connsiteX85" fmla="*/ 264776 w 306872"/>
                <a:gd name="connsiteY85" fmla="*/ 114881 h 377689"/>
                <a:gd name="connsiteX86" fmla="*/ 267530 w 306872"/>
                <a:gd name="connsiteY86" fmla="*/ 112520 h 377689"/>
                <a:gd name="connsiteX87" fmla="*/ 264776 w 306872"/>
                <a:gd name="connsiteY87" fmla="*/ 110553 h 377689"/>
                <a:gd name="connsiteX88" fmla="*/ 264776 w 306872"/>
                <a:gd name="connsiteY88" fmla="*/ 107799 h 377689"/>
                <a:gd name="connsiteX89" fmla="*/ 261629 w 306872"/>
                <a:gd name="connsiteY89" fmla="*/ 106619 h 377689"/>
                <a:gd name="connsiteX90" fmla="*/ 259269 w 306872"/>
                <a:gd name="connsiteY90" fmla="*/ 105045 h 377689"/>
                <a:gd name="connsiteX91" fmla="*/ 259269 w 306872"/>
                <a:gd name="connsiteY91" fmla="*/ 105045 h 377689"/>
                <a:gd name="connsiteX92" fmla="*/ 261629 w 306872"/>
                <a:gd name="connsiteY92" fmla="*/ 105438 h 377689"/>
                <a:gd name="connsiteX93" fmla="*/ 260055 w 306872"/>
                <a:gd name="connsiteY93" fmla="*/ 102684 h 377689"/>
                <a:gd name="connsiteX94" fmla="*/ 259661 w 306872"/>
                <a:gd name="connsiteY94" fmla="*/ 102291 h 377689"/>
                <a:gd name="connsiteX95" fmla="*/ 260055 w 306872"/>
                <a:gd name="connsiteY95" fmla="*/ 96389 h 377689"/>
                <a:gd name="connsiteX96" fmla="*/ 262809 w 306872"/>
                <a:gd name="connsiteY96" fmla="*/ 96389 h 377689"/>
                <a:gd name="connsiteX97" fmla="*/ 264382 w 306872"/>
                <a:gd name="connsiteY97" fmla="*/ 97570 h 377689"/>
                <a:gd name="connsiteX98" fmla="*/ 267137 w 306872"/>
                <a:gd name="connsiteY98" fmla="*/ 100717 h 377689"/>
                <a:gd name="connsiteX99" fmla="*/ 269891 w 306872"/>
                <a:gd name="connsiteY99" fmla="*/ 100717 h 377689"/>
                <a:gd name="connsiteX100" fmla="*/ 269891 w 306872"/>
                <a:gd name="connsiteY100" fmla="*/ 99930 h 377689"/>
                <a:gd name="connsiteX101" fmla="*/ 269891 w 306872"/>
                <a:gd name="connsiteY101" fmla="*/ 97570 h 377689"/>
                <a:gd name="connsiteX102" fmla="*/ 269497 w 306872"/>
                <a:gd name="connsiteY102" fmla="*/ 96389 h 377689"/>
                <a:gd name="connsiteX103" fmla="*/ 268317 w 306872"/>
                <a:gd name="connsiteY103" fmla="*/ 95603 h 377689"/>
                <a:gd name="connsiteX104" fmla="*/ 266743 w 306872"/>
                <a:gd name="connsiteY104" fmla="*/ 94422 h 377689"/>
                <a:gd name="connsiteX105" fmla="*/ 269891 w 306872"/>
                <a:gd name="connsiteY105" fmla="*/ 93636 h 377689"/>
                <a:gd name="connsiteX106" fmla="*/ 269891 w 306872"/>
                <a:gd name="connsiteY106" fmla="*/ 93636 h 377689"/>
                <a:gd name="connsiteX107" fmla="*/ 273039 w 306872"/>
                <a:gd name="connsiteY107" fmla="*/ 93636 h 377689"/>
                <a:gd name="connsiteX108" fmla="*/ 275792 w 306872"/>
                <a:gd name="connsiteY108" fmla="*/ 92455 h 377689"/>
                <a:gd name="connsiteX109" fmla="*/ 278940 w 306872"/>
                <a:gd name="connsiteY109" fmla="*/ 91669 h 377689"/>
                <a:gd name="connsiteX110" fmla="*/ 281694 w 306872"/>
                <a:gd name="connsiteY110" fmla="*/ 90882 h 377689"/>
                <a:gd name="connsiteX111" fmla="*/ 282480 w 306872"/>
                <a:gd name="connsiteY111" fmla="*/ 90095 h 377689"/>
                <a:gd name="connsiteX112" fmla="*/ 285234 w 306872"/>
                <a:gd name="connsiteY112" fmla="*/ 90488 h 377689"/>
                <a:gd name="connsiteX113" fmla="*/ 288382 w 306872"/>
                <a:gd name="connsiteY113" fmla="*/ 90488 h 377689"/>
                <a:gd name="connsiteX114" fmla="*/ 291136 w 306872"/>
                <a:gd name="connsiteY114" fmla="*/ 87341 h 377689"/>
                <a:gd name="connsiteX115" fmla="*/ 289562 w 306872"/>
                <a:gd name="connsiteY115" fmla="*/ 84193 h 377689"/>
                <a:gd name="connsiteX116" fmla="*/ 286808 w 306872"/>
                <a:gd name="connsiteY116" fmla="*/ 85374 h 377689"/>
                <a:gd name="connsiteX117" fmla="*/ 286415 w 306872"/>
                <a:gd name="connsiteY117" fmla="*/ 82226 h 377689"/>
                <a:gd name="connsiteX118" fmla="*/ 286021 w 306872"/>
                <a:gd name="connsiteY118" fmla="*/ 82226 h 377689"/>
                <a:gd name="connsiteX119" fmla="*/ 286808 w 306872"/>
                <a:gd name="connsiteY119" fmla="*/ 80652 h 377689"/>
                <a:gd name="connsiteX120" fmla="*/ 289168 w 306872"/>
                <a:gd name="connsiteY120" fmla="*/ 80259 h 377689"/>
                <a:gd name="connsiteX121" fmla="*/ 287201 w 306872"/>
                <a:gd name="connsiteY121" fmla="*/ 79866 h 377689"/>
                <a:gd name="connsiteX122" fmla="*/ 291529 w 306872"/>
                <a:gd name="connsiteY122" fmla="*/ 69637 h 377689"/>
                <a:gd name="connsiteX123" fmla="*/ 293889 w 306872"/>
                <a:gd name="connsiteY123" fmla="*/ 69243 h 377689"/>
                <a:gd name="connsiteX124" fmla="*/ 297037 w 306872"/>
                <a:gd name="connsiteY124" fmla="*/ 68063 h 377689"/>
                <a:gd name="connsiteX125" fmla="*/ 299791 w 306872"/>
                <a:gd name="connsiteY125" fmla="*/ 66882 h 377689"/>
                <a:gd name="connsiteX126" fmla="*/ 302546 w 306872"/>
                <a:gd name="connsiteY126" fmla="*/ 66096 h 377689"/>
                <a:gd name="connsiteX127" fmla="*/ 305299 w 306872"/>
                <a:gd name="connsiteY127" fmla="*/ 64522 h 377689"/>
                <a:gd name="connsiteX128" fmla="*/ 308447 w 306872"/>
                <a:gd name="connsiteY128" fmla="*/ 61375 h 377689"/>
                <a:gd name="connsiteX129" fmla="*/ 308447 w 306872"/>
                <a:gd name="connsiteY129" fmla="*/ 55867 h 377689"/>
                <a:gd name="connsiteX130" fmla="*/ 305299 w 306872"/>
                <a:gd name="connsiteY130" fmla="*/ 53113 h 377689"/>
                <a:gd name="connsiteX131" fmla="*/ 302152 w 306872"/>
                <a:gd name="connsiteY131" fmla="*/ 54293 h 377689"/>
                <a:gd name="connsiteX132" fmla="*/ 299398 w 306872"/>
                <a:gd name="connsiteY132" fmla="*/ 53113 h 377689"/>
                <a:gd name="connsiteX133" fmla="*/ 298217 w 306872"/>
                <a:gd name="connsiteY133" fmla="*/ 55080 h 377689"/>
                <a:gd name="connsiteX134" fmla="*/ 296250 w 306872"/>
                <a:gd name="connsiteY134" fmla="*/ 51932 h 377689"/>
                <a:gd name="connsiteX135" fmla="*/ 293103 w 306872"/>
                <a:gd name="connsiteY135" fmla="*/ 49965 h 377689"/>
                <a:gd name="connsiteX136" fmla="*/ 290349 w 306872"/>
                <a:gd name="connsiteY136" fmla="*/ 47605 h 377689"/>
                <a:gd name="connsiteX137" fmla="*/ 289562 w 306872"/>
                <a:gd name="connsiteY137" fmla="*/ 47998 h 377689"/>
                <a:gd name="connsiteX138" fmla="*/ 286808 w 306872"/>
                <a:gd name="connsiteY138" fmla="*/ 46424 h 377689"/>
                <a:gd name="connsiteX139" fmla="*/ 285628 w 306872"/>
                <a:gd name="connsiteY139" fmla="*/ 43670 h 377689"/>
                <a:gd name="connsiteX140" fmla="*/ 282480 w 306872"/>
                <a:gd name="connsiteY140" fmla="*/ 41703 h 377689"/>
                <a:gd name="connsiteX141" fmla="*/ 280119 w 306872"/>
                <a:gd name="connsiteY141" fmla="*/ 41310 h 377689"/>
                <a:gd name="connsiteX142" fmla="*/ 276973 w 306872"/>
                <a:gd name="connsiteY142" fmla="*/ 40130 h 377689"/>
                <a:gd name="connsiteX143" fmla="*/ 276973 w 306872"/>
                <a:gd name="connsiteY143" fmla="*/ 40523 h 377689"/>
                <a:gd name="connsiteX144" fmla="*/ 273039 w 306872"/>
                <a:gd name="connsiteY144" fmla="*/ 39343 h 377689"/>
                <a:gd name="connsiteX145" fmla="*/ 271858 w 306872"/>
                <a:gd name="connsiteY145" fmla="*/ 36195 h 377689"/>
                <a:gd name="connsiteX146" fmla="*/ 270678 w 306872"/>
                <a:gd name="connsiteY146" fmla="*/ 33441 h 377689"/>
                <a:gd name="connsiteX147" fmla="*/ 269104 w 306872"/>
                <a:gd name="connsiteY147" fmla="*/ 33441 h 377689"/>
                <a:gd name="connsiteX148" fmla="*/ 260448 w 306872"/>
                <a:gd name="connsiteY148" fmla="*/ 19671 h 377689"/>
                <a:gd name="connsiteX149" fmla="*/ 257694 w 306872"/>
                <a:gd name="connsiteY149" fmla="*/ 16524 h 377689"/>
                <a:gd name="connsiteX150" fmla="*/ 254941 w 306872"/>
                <a:gd name="connsiteY150" fmla="*/ 15737 h 377689"/>
                <a:gd name="connsiteX151" fmla="*/ 253760 w 306872"/>
                <a:gd name="connsiteY151" fmla="*/ 12590 h 377689"/>
                <a:gd name="connsiteX152" fmla="*/ 252580 w 306872"/>
                <a:gd name="connsiteY152" fmla="*/ 15737 h 377689"/>
                <a:gd name="connsiteX153" fmla="*/ 249433 w 306872"/>
                <a:gd name="connsiteY153" fmla="*/ 13377 h 377689"/>
                <a:gd name="connsiteX154" fmla="*/ 246678 w 306872"/>
                <a:gd name="connsiteY154" fmla="*/ 12590 h 377689"/>
                <a:gd name="connsiteX155" fmla="*/ 246285 w 306872"/>
                <a:gd name="connsiteY155" fmla="*/ 9442 h 377689"/>
                <a:gd name="connsiteX156" fmla="*/ 244711 w 306872"/>
                <a:gd name="connsiteY156" fmla="*/ 6295 h 377689"/>
                <a:gd name="connsiteX157" fmla="*/ 245105 w 306872"/>
                <a:gd name="connsiteY157" fmla="*/ 3541 h 377689"/>
                <a:gd name="connsiteX158" fmla="*/ 243532 w 306872"/>
                <a:gd name="connsiteY158" fmla="*/ 787 h 377689"/>
                <a:gd name="connsiteX159" fmla="*/ 240384 w 306872"/>
                <a:gd name="connsiteY159" fmla="*/ 394 h 377689"/>
                <a:gd name="connsiteX160" fmla="*/ 238417 w 306872"/>
                <a:gd name="connsiteY160" fmla="*/ 3541 h 377689"/>
                <a:gd name="connsiteX161" fmla="*/ 239203 w 306872"/>
                <a:gd name="connsiteY161" fmla="*/ 6295 h 377689"/>
                <a:gd name="connsiteX162" fmla="*/ 237630 w 306872"/>
                <a:gd name="connsiteY162" fmla="*/ 9049 h 377689"/>
                <a:gd name="connsiteX163" fmla="*/ 235663 w 306872"/>
                <a:gd name="connsiteY163" fmla="*/ 11803 h 377689"/>
                <a:gd name="connsiteX164" fmla="*/ 232515 w 306872"/>
                <a:gd name="connsiteY164" fmla="*/ 14557 h 377689"/>
                <a:gd name="connsiteX165" fmla="*/ 231729 w 306872"/>
                <a:gd name="connsiteY165" fmla="*/ 11409 h 377689"/>
                <a:gd name="connsiteX166" fmla="*/ 233302 w 306872"/>
                <a:gd name="connsiteY166" fmla="*/ 8655 h 377689"/>
                <a:gd name="connsiteX167" fmla="*/ 233302 w 306872"/>
                <a:gd name="connsiteY167" fmla="*/ 5901 h 377689"/>
                <a:gd name="connsiteX168" fmla="*/ 232908 w 306872"/>
                <a:gd name="connsiteY168" fmla="*/ 2754 h 377689"/>
                <a:gd name="connsiteX169" fmla="*/ 231335 w 306872"/>
                <a:gd name="connsiteY169" fmla="*/ 0 h 377689"/>
                <a:gd name="connsiteX170" fmla="*/ 228974 w 306872"/>
                <a:gd name="connsiteY170" fmla="*/ 2754 h 377689"/>
                <a:gd name="connsiteX171" fmla="*/ 227794 w 306872"/>
                <a:gd name="connsiteY171" fmla="*/ 5901 h 377689"/>
                <a:gd name="connsiteX172" fmla="*/ 227401 w 306872"/>
                <a:gd name="connsiteY172" fmla="*/ 8655 h 377689"/>
                <a:gd name="connsiteX173" fmla="*/ 226220 w 306872"/>
                <a:gd name="connsiteY173" fmla="*/ 11409 h 377689"/>
                <a:gd name="connsiteX174" fmla="*/ 224253 w 306872"/>
                <a:gd name="connsiteY174" fmla="*/ 14557 h 377689"/>
                <a:gd name="connsiteX175" fmla="*/ 223073 w 306872"/>
                <a:gd name="connsiteY175" fmla="*/ 17704 h 377689"/>
                <a:gd name="connsiteX176" fmla="*/ 220319 w 306872"/>
                <a:gd name="connsiteY176" fmla="*/ 20065 h 377689"/>
                <a:gd name="connsiteX177" fmla="*/ 218352 w 306872"/>
                <a:gd name="connsiteY177" fmla="*/ 22819 h 377689"/>
                <a:gd name="connsiteX178" fmla="*/ 217565 w 306872"/>
                <a:gd name="connsiteY178" fmla="*/ 25966 h 377689"/>
                <a:gd name="connsiteX179" fmla="*/ 214811 w 306872"/>
                <a:gd name="connsiteY179" fmla="*/ 26753 h 377689"/>
                <a:gd name="connsiteX180" fmla="*/ 213237 w 306872"/>
                <a:gd name="connsiteY180" fmla="*/ 29507 h 377689"/>
                <a:gd name="connsiteX181" fmla="*/ 213237 w 306872"/>
                <a:gd name="connsiteY181" fmla="*/ 32655 h 377689"/>
                <a:gd name="connsiteX182" fmla="*/ 212057 w 306872"/>
                <a:gd name="connsiteY182" fmla="*/ 35408 h 377689"/>
                <a:gd name="connsiteX183" fmla="*/ 211270 w 306872"/>
                <a:gd name="connsiteY183" fmla="*/ 38162 h 377689"/>
                <a:gd name="connsiteX184" fmla="*/ 208910 w 306872"/>
                <a:gd name="connsiteY184" fmla="*/ 41310 h 377689"/>
                <a:gd name="connsiteX185" fmla="*/ 207336 w 306872"/>
                <a:gd name="connsiteY185" fmla="*/ 42490 h 377689"/>
                <a:gd name="connsiteX186" fmla="*/ 197894 w 306872"/>
                <a:gd name="connsiteY186" fmla="*/ 50359 h 377689"/>
                <a:gd name="connsiteX187" fmla="*/ 198288 w 306872"/>
                <a:gd name="connsiteY187" fmla="*/ 47605 h 377689"/>
                <a:gd name="connsiteX188" fmla="*/ 195927 w 306872"/>
                <a:gd name="connsiteY188" fmla="*/ 50359 h 377689"/>
                <a:gd name="connsiteX189" fmla="*/ 193173 w 306872"/>
                <a:gd name="connsiteY189" fmla="*/ 53113 h 377689"/>
                <a:gd name="connsiteX190" fmla="*/ 191206 w 306872"/>
                <a:gd name="connsiteY190" fmla="*/ 56260 h 377689"/>
                <a:gd name="connsiteX191" fmla="*/ 191992 w 306872"/>
                <a:gd name="connsiteY191" fmla="*/ 57440 h 377689"/>
                <a:gd name="connsiteX192" fmla="*/ 194746 w 306872"/>
                <a:gd name="connsiteY192" fmla="*/ 60194 h 377689"/>
                <a:gd name="connsiteX193" fmla="*/ 197500 w 306872"/>
                <a:gd name="connsiteY193" fmla="*/ 60981 h 377689"/>
                <a:gd name="connsiteX194" fmla="*/ 193173 w 306872"/>
                <a:gd name="connsiteY194" fmla="*/ 69243 h 377689"/>
                <a:gd name="connsiteX195" fmla="*/ 188845 w 306872"/>
                <a:gd name="connsiteY195" fmla="*/ 70423 h 377689"/>
                <a:gd name="connsiteX196" fmla="*/ 187664 w 306872"/>
                <a:gd name="connsiteY196" fmla="*/ 69637 h 377689"/>
                <a:gd name="connsiteX197" fmla="*/ 185304 w 306872"/>
                <a:gd name="connsiteY197" fmla="*/ 71210 h 377689"/>
                <a:gd name="connsiteX198" fmla="*/ 181763 w 306872"/>
                <a:gd name="connsiteY198" fmla="*/ 74358 h 377689"/>
                <a:gd name="connsiteX199" fmla="*/ 181763 w 306872"/>
                <a:gd name="connsiteY199" fmla="*/ 73177 h 377689"/>
                <a:gd name="connsiteX200" fmla="*/ 181763 w 306872"/>
                <a:gd name="connsiteY200" fmla="*/ 71604 h 377689"/>
                <a:gd name="connsiteX201" fmla="*/ 182157 w 306872"/>
                <a:gd name="connsiteY201" fmla="*/ 68850 h 377689"/>
                <a:gd name="connsiteX202" fmla="*/ 182157 w 306872"/>
                <a:gd name="connsiteY202" fmla="*/ 68063 h 377689"/>
                <a:gd name="connsiteX203" fmla="*/ 179403 w 306872"/>
                <a:gd name="connsiteY203" fmla="*/ 67669 h 377689"/>
                <a:gd name="connsiteX204" fmla="*/ 176649 w 306872"/>
                <a:gd name="connsiteY204" fmla="*/ 69637 h 377689"/>
                <a:gd name="connsiteX205" fmla="*/ 175075 w 306872"/>
                <a:gd name="connsiteY205" fmla="*/ 70423 h 377689"/>
                <a:gd name="connsiteX206" fmla="*/ 172321 w 306872"/>
                <a:gd name="connsiteY206" fmla="*/ 72784 h 377689"/>
                <a:gd name="connsiteX207" fmla="*/ 169567 w 306872"/>
                <a:gd name="connsiteY207" fmla="*/ 75538 h 377689"/>
                <a:gd name="connsiteX208" fmla="*/ 167600 w 306872"/>
                <a:gd name="connsiteY208" fmla="*/ 78292 h 377689"/>
                <a:gd name="connsiteX209" fmla="*/ 154617 w 306872"/>
                <a:gd name="connsiteY209" fmla="*/ 82226 h 377689"/>
                <a:gd name="connsiteX210" fmla="*/ 151076 w 306872"/>
                <a:gd name="connsiteY210" fmla="*/ 81833 h 377689"/>
                <a:gd name="connsiteX211" fmla="*/ 126683 w 306872"/>
                <a:gd name="connsiteY211" fmla="*/ 126290 h 377689"/>
                <a:gd name="connsiteX212" fmla="*/ 125896 w 306872"/>
                <a:gd name="connsiteY212" fmla="*/ 127077 h 377689"/>
                <a:gd name="connsiteX213" fmla="*/ 124323 w 306872"/>
                <a:gd name="connsiteY213" fmla="*/ 129831 h 377689"/>
                <a:gd name="connsiteX214" fmla="*/ 105832 w 306872"/>
                <a:gd name="connsiteY214" fmla="*/ 136519 h 377689"/>
                <a:gd name="connsiteX215" fmla="*/ 83406 w 306872"/>
                <a:gd name="connsiteY215" fmla="*/ 141633 h 377689"/>
                <a:gd name="connsiteX216" fmla="*/ 82620 w 306872"/>
                <a:gd name="connsiteY216" fmla="*/ 142027 h 377689"/>
                <a:gd name="connsiteX217" fmla="*/ 79866 w 306872"/>
                <a:gd name="connsiteY217" fmla="*/ 143994 h 377689"/>
                <a:gd name="connsiteX218" fmla="*/ 77112 w 306872"/>
                <a:gd name="connsiteY218" fmla="*/ 146748 h 377689"/>
                <a:gd name="connsiteX219" fmla="*/ 76718 w 306872"/>
                <a:gd name="connsiteY219" fmla="*/ 149502 h 377689"/>
                <a:gd name="connsiteX220" fmla="*/ 77112 w 306872"/>
                <a:gd name="connsiteY220" fmla="*/ 152650 h 377689"/>
                <a:gd name="connsiteX221" fmla="*/ 76718 w 306872"/>
                <a:gd name="connsiteY221" fmla="*/ 155403 h 377689"/>
                <a:gd name="connsiteX222" fmla="*/ 78685 w 306872"/>
                <a:gd name="connsiteY222" fmla="*/ 158157 h 377689"/>
                <a:gd name="connsiteX223" fmla="*/ 76325 w 306872"/>
                <a:gd name="connsiteY223" fmla="*/ 158157 h 377689"/>
                <a:gd name="connsiteX224" fmla="*/ 73178 w 306872"/>
                <a:gd name="connsiteY224" fmla="*/ 156977 h 377689"/>
                <a:gd name="connsiteX225" fmla="*/ 70424 w 306872"/>
                <a:gd name="connsiteY225" fmla="*/ 156584 h 377689"/>
                <a:gd name="connsiteX226" fmla="*/ 70030 w 306872"/>
                <a:gd name="connsiteY226" fmla="*/ 159731 h 377689"/>
                <a:gd name="connsiteX227" fmla="*/ 71211 w 306872"/>
                <a:gd name="connsiteY227" fmla="*/ 162485 h 377689"/>
                <a:gd name="connsiteX228" fmla="*/ 69636 w 306872"/>
                <a:gd name="connsiteY228" fmla="*/ 165239 h 377689"/>
                <a:gd name="connsiteX229" fmla="*/ 72391 w 306872"/>
                <a:gd name="connsiteY229" fmla="*/ 165239 h 377689"/>
                <a:gd name="connsiteX230" fmla="*/ 75538 w 306872"/>
                <a:gd name="connsiteY230" fmla="*/ 164846 h 377689"/>
                <a:gd name="connsiteX231" fmla="*/ 71603 w 306872"/>
                <a:gd name="connsiteY231" fmla="*/ 166420 h 377689"/>
                <a:gd name="connsiteX232" fmla="*/ 70424 w 306872"/>
                <a:gd name="connsiteY232" fmla="*/ 168387 h 377689"/>
                <a:gd name="connsiteX233" fmla="*/ 69636 w 306872"/>
                <a:gd name="connsiteY233" fmla="*/ 171534 h 377689"/>
                <a:gd name="connsiteX234" fmla="*/ 68457 w 306872"/>
                <a:gd name="connsiteY234" fmla="*/ 174288 h 377689"/>
                <a:gd name="connsiteX235" fmla="*/ 67669 w 306872"/>
                <a:gd name="connsiteY235" fmla="*/ 177042 h 377689"/>
                <a:gd name="connsiteX236" fmla="*/ 68063 w 306872"/>
                <a:gd name="connsiteY236" fmla="*/ 179796 h 377689"/>
                <a:gd name="connsiteX237" fmla="*/ 70817 w 306872"/>
                <a:gd name="connsiteY237" fmla="*/ 182550 h 377689"/>
                <a:gd name="connsiteX238" fmla="*/ 67669 w 306872"/>
                <a:gd name="connsiteY238" fmla="*/ 180976 h 377689"/>
                <a:gd name="connsiteX239" fmla="*/ 64915 w 306872"/>
                <a:gd name="connsiteY239" fmla="*/ 183337 h 377689"/>
                <a:gd name="connsiteX240" fmla="*/ 64915 w 306872"/>
                <a:gd name="connsiteY240" fmla="*/ 186091 h 377689"/>
                <a:gd name="connsiteX241" fmla="*/ 67276 w 306872"/>
                <a:gd name="connsiteY241" fmla="*/ 189238 h 377689"/>
                <a:gd name="connsiteX242" fmla="*/ 70030 w 306872"/>
                <a:gd name="connsiteY242" fmla="*/ 190812 h 377689"/>
                <a:gd name="connsiteX243" fmla="*/ 73178 w 306872"/>
                <a:gd name="connsiteY243" fmla="*/ 190418 h 377689"/>
                <a:gd name="connsiteX244" fmla="*/ 75931 w 306872"/>
                <a:gd name="connsiteY244" fmla="*/ 192779 h 377689"/>
                <a:gd name="connsiteX245" fmla="*/ 74358 w 306872"/>
                <a:gd name="connsiteY245" fmla="*/ 192779 h 377689"/>
                <a:gd name="connsiteX246" fmla="*/ 71997 w 306872"/>
                <a:gd name="connsiteY246" fmla="*/ 190812 h 377689"/>
                <a:gd name="connsiteX247" fmla="*/ 68850 w 306872"/>
                <a:gd name="connsiteY247" fmla="*/ 191599 h 377689"/>
                <a:gd name="connsiteX248" fmla="*/ 66096 w 306872"/>
                <a:gd name="connsiteY248" fmla="*/ 190025 h 377689"/>
                <a:gd name="connsiteX249" fmla="*/ 63342 w 306872"/>
                <a:gd name="connsiteY249" fmla="*/ 187271 h 377689"/>
                <a:gd name="connsiteX250" fmla="*/ 60588 w 306872"/>
                <a:gd name="connsiteY250" fmla="*/ 185697 h 377689"/>
                <a:gd name="connsiteX251" fmla="*/ 57441 w 306872"/>
                <a:gd name="connsiteY251" fmla="*/ 187271 h 377689"/>
                <a:gd name="connsiteX252" fmla="*/ 56260 w 306872"/>
                <a:gd name="connsiteY252" fmla="*/ 188058 h 377689"/>
                <a:gd name="connsiteX253" fmla="*/ 54293 w 306872"/>
                <a:gd name="connsiteY253" fmla="*/ 184910 h 377689"/>
                <a:gd name="connsiteX254" fmla="*/ 51539 w 306872"/>
                <a:gd name="connsiteY254" fmla="*/ 184124 h 377689"/>
                <a:gd name="connsiteX255" fmla="*/ 48392 w 306872"/>
                <a:gd name="connsiteY255" fmla="*/ 183337 h 377689"/>
                <a:gd name="connsiteX256" fmla="*/ 48392 w 306872"/>
                <a:gd name="connsiteY256" fmla="*/ 182550 h 377689"/>
                <a:gd name="connsiteX257" fmla="*/ 48392 w 306872"/>
                <a:gd name="connsiteY257" fmla="*/ 179796 h 377689"/>
                <a:gd name="connsiteX258" fmla="*/ 45244 w 306872"/>
                <a:gd name="connsiteY258" fmla="*/ 179796 h 377689"/>
                <a:gd name="connsiteX259" fmla="*/ 44064 w 306872"/>
                <a:gd name="connsiteY259" fmla="*/ 177042 h 377689"/>
                <a:gd name="connsiteX260" fmla="*/ 43671 w 306872"/>
                <a:gd name="connsiteY260" fmla="*/ 179796 h 377689"/>
                <a:gd name="connsiteX261" fmla="*/ 34228 w 306872"/>
                <a:gd name="connsiteY261" fmla="*/ 180976 h 377689"/>
                <a:gd name="connsiteX262" fmla="*/ 23606 w 306872"/>
                <a:gd name="connsiteY262" fmla="*/ 167600 h 377689"/>
                <a:gd name="connsiteX263" fmla="*/ 23213 w 306872"/>
                <a:gd name="connsiteY263" fmla="*/ 167993 h 377689"/>
                <a:gd name="connsiteX264" fmla="*/ 20065 w 306872"/>
                <a:gd name="connsiteY264" fmla="*/ 170747 h 377689"/>
                <a:gd name="connsiteX265" fmla="*/ 16918 w 306872"/>
                <a:gd name="connsiteY265" fmla="*/ 171927 h 377689"/>
                <a:gd name="connsiteX266" fmla="*/ 14164 w 306872"/>
                <a:gd name="connsiteY266" fmla="*/ 174288 h 377689"/>
                <a:gd name="connsiteX267" fmla="*/ 14557 w 306872"/>
                <a:gd name="connsiteY267" fmla="*/ 177042 h 377689"/>
                <a:gd name="connsiteX268" fmla="*/ 12983 w 306872"/>
                <a:gd name="connsiteY268" fmla="*/ 180189 h 377689"/>
                <a:gd name="connsiteX269" fmla="*/ 10622 w 306872"/>
                <a:gd name="connsiteY269" fmla="*/ 182943 h 377689"/>
                <a:gd name="connsiteX270" fmla="*/ 7869 w 306872"/>
                <a:gd name="connsiteY270" fmla="*/ 184910 h 377689"/>
                <a:gd name="connsiteX271" fmla="*/ 6295 w 306872"/>
                <a:gd name="connsiteY271" fmla="*/ 187664 h 377689"/>
                <a:gd name="connsiteX272" fmla="*/ 6295 w 306872"/>
                <a:gd name="connsiteY272" fmla="*/ 190418 h 377689"/>
                <a:gd name="connsiteX273" fmla="*/ 5509 w 306872"/>
                <a:gd name="connsiteY273" fmla="*/ 193566 h 377689"/>
                <a:gd name="connsiteX274" fmla="*/ 6688 w 306872"/>
                <a:gd name="connsiteY274" fmla="*/ 196713 h 377689"/>
                <a:gd name="connsiteX275" fmla="*/ 9443 w 306872"/>
                <a:gd name="connsiteY275" fmla="*/ 193566 h 377689"/>
                <a:gd name="connsiteX276" fmla="*/ 11410 w 306872"/>
                <a:gd name="connsiteY276" fmla="*/ 190812 h 377689"/>
                <a:gd name="connsiteX277" fmla="*/ 11803 w 306872"/>
                <a:gd name="connsiteY277" fmla="*/ 191599 h 377689"/>
                <a:gd name="connsiteX278" fmla="*/ 10622 w 306872"/>
                <a:gd name="connsiteY278" fmla="*/ 193172 h 377689"/>
                <a:gd name="connsiteX279" fmla="*/ 8262 w 306872"/>
                <a:gd name="connsiteY279" fmla="*/ 196320 h 377689"/>
                <a:gd name="connsiteX280" fmla="*/ 5509 w 306872"/>
                <a:gd name="connsiteY280" fmla="*/ 197500 h 377689"/>
                <a:gd name="connsiteX281" fmla="*/ 2754 w 306872"/>
                <a:gd name="connsiteY281" fmla="*/ 200254 h 377689"/>
                <a:gd name="connsiteX282" fmla="*/ 3541 w 306872"/>
                <a:gd name="connsiteY282" fmla="*/ 203008 h 377689"/>
                <a:gd name="connsiteX283" fmla="*/ 3934 w 306872"/>
                <a:gd name="connsiteY283" fmla="*/ 204582 h 377689"/>
                <a:gd name="connsiteX284" fmla="*/ 1574 w 306872"/>
                <a:gd name="connsiteY284" fmla="*/ 208910 h 377689"/>
                <a:gd name="connsiteX285" fmla="*/ 0 w 306872"/>
                <a:gd name="connsiteY285" fmla="*/ 210877 h 377689"/>
                <a:gd name="connsiteX286" fmla="*/ 787 w 306872"/>
                <a:gd name="connsiteY286" fmla="*/ 213631 h 377689"/>
                <a:gd name="connsiteX287" fmla="*/ 2361 w 306872"/>
                <a:gd name="connsiteY287" fmla="*/ 216384 h 377689"/>
                <a:gd name="connsiteX288" fmla="*/ 2361 w 306872"/>
                <a:gd name="connsiteY288" fmla="*/ 219532 h 377689"/>
                <a:gd name="connsiteX289" fmla="*/ 2754 w 306872"/>
                <a:gd name="connsiteY289" fmla="*/ 222286 h 377689"/>
                <a:gd name="connsiteX290" fmla="*/ 2754 w 306872"/>
                <a:gd name="connsiteY290" fmla="*/ 225040 h 377689"/>
                <a:gd name="connsiteX291" fmla="*/ 3541 w 306872"/>
                <a:gd name="connsiteY291" fmla="*/ 228187 h 377689"/>
                <a:gd name="connsiteX292" fmla="*/ 6688 w 306872"/>
                <a:gd name="connsiteY292" fmla="*/ 228974 h 377689"/>
                <a:gd name="connsiteX293" fmla="*/ 7082 w 306872"/>
                <a:gd name="connsiteY293" fmla="*/ 230154 h 377689"/>
                <a:gd name="connsiteX294" fmla="*/ 9443 w 306872"/>
                <a:gd name="connsiteY294" fmla="*/ 238023 h 377689"/>
                <a:gd name="connsiteX295" fmla="*/ 10229 w 306872"/>
                <a:gd name="connsiteY295" fmla="*/ 241957 h 377689"/>
                <a:gd name="connsiteX296" fmla="*/ 10622 w 306872"/>
                <a:gd name="connsiteY296" fmla="*/ 244318 h 377689"/>
                <a:gd name="connsiteX297" fmla="*/ 11410 w 306872"/>
                <a:gd name="connsiteY297" fmla="*/ 246285 h 377689"/>
                <a:gd name="connsiteX298" fmla="*/ 8655 w 306872"/>
                <a:gd name="connsiteY298" fmla="*/ 245498 h 377689"/>
                <a:gd name="connsiteX299" fmla="*/ 7869 w 306872"/>
                <a:gd name="connsiteY299" fmla="*/ 248252 h 377689"/>
                <a:gd name="connsiteX300" fmla="*/ 7869 w 306872"/>
                <a:gd name="connsiteY300" fmla="*/ 251400 h 377689"/>
                <a:gd name="connsiteX301" fmla="*/ 8262 w 306872"/>
                <a:gd name="connsiteY301" fmla="*/ 254154 h 377689"/>
                <a:gd name="connsiteX302" fmla="*/ 9443 w 306872"/>
                <a:gd name="connsiteY302" fmla="*/ 257301 h 377689"/>
                <a:gd name="connsiteX303" fmla="*/ 12197 w 306872"/>
                <a:gd name="connsiteY303" fmla="*/ 258481 h 377689"/>
                <a:gd name="connsiteX304" fmla="*/ 14950 w 306872"/>
                <a:gd name="connsiteY304" fmla="*/ 258481 h 377689"/>
                <a:gd name="connsiteX305" fmla="*/ 17311 w 306872"/>
                <a:gd name="connsiteY305" fmla="*/ 261235 h 377689"/>
                <a:gd name="connsiteX306" fmla="*/ 20065 w 306872"/>
                <a:gd name="connsiteY306" fmla="*/ 263202 h 377689"/>
                <a:gd name="connsiteX307" fmla="*/ 17311 w 306872"/>
                <a:gd name="connsiteY307" fmla="*/ 262809 h 377689"/>
                <a:gd name="connsiteX308" fmla="*/ 14557 w 306872"/>
                <a:gd name="connsiteY308" fmla="*/ 262022 h 377689"/>
                <a:gd name="connsiteX309" fmla="*/ 12589 w 306872"/>
                <a:gd name="connsiteY309" fmla="*/ 265169 h 377689"/>
                <a:gd name="connsiteX310" fmla="*/ 12983 w 306872"/>
                <a:gd name="connsiteY310" fmla="*/ 267923 h 377689"/>
                <a:gd name="connsiteX311" fmla="*/ 16131 w 306872"/>
                <a:gd name="connsiteY311" fmla="*/ 269497 h 377689"/>
                <a:gd name="connsiteX312" fmla="*/ 18885 w 306872"/>
                <a:gd name="connsiteY312" fmla="*/ 267530 h 377689"/>
                <a:gd name="connsiteX313" fmla="*/ 22032 w 306872"/>
                <a:gd name="connsiteY313" fmla="*/ 268317 h 377689"/>
                <a:gd name="connsiteX314" fmla="*/ 23999 w 306872"/>
                <a:gd name="connsiteY314" fmla="*/ 271464 h 377689"/>
                <a:gd name="connsiteX315" fmla="*/ 26359 w 306872"/>
                <a:gd name="connsiteY315" fmla="*/ 269104 h 377689"/>
                <a:gd name="connsiteX316" fmla="*/ 26753 w 306872"/>
                <a:gd name="connsiteY316" fmla="*/ 269891 h 377689"/>
                <a:gd name="connsiteX317" fmla="*/ 27147 w 306872"/>
                <a:gd name="connsiteY317" fmla="*/ 271464 h 377689"/>
                <a:gd name="connsiteX318" fmla="*/ 29114 w 306872"/>
                <a:gd name="connsiteY318" fmla="*/ 274612 h 377689"/>
                <a:gd name="connsiteX319" fmla="*/ 30294 w 306872"/>
                <a:gd name="connsiteY319" fmla="*/ 275005 h 377689"/>
                <a:gd name="connsiteX320" fmla="*/ 32261 w 306872"/>
                <a:gd name="connsiteY320" fmla="*/ 277759 h 377689"/>
                <a:gd name="connsiteX321" fmla="*/ 32261 w 306872"/>
                <a:gd name="connsiteY321" fmla="*/ 278939 h 377689"/>
                <a:gd name="connsiteX322" fmla="*/ 34622 w 306872"/>
                <a:gd name="connsiteY322" fmla="*/ 281693 h 377689"/>
                <a:gd name="connsiteX323" fmla="*/ 34228 w 306872"/>
                <a:gd name="connsiteY323" fmla="*/ 296644 h 377689"/>
                <a:gd name="connsiteX324" fmla="*/ 31474 w 306872"/>
                <a:gd name="connsiteY324" fmla="*/ 299004 h 377689"/>
                <a:gd name="connsiteX325" fmla="*/ 32655 w 306872"/>
                <a:gd name="connsiteY325" fmla="*/ 301758 h 377689"/>
                <a:gd name="connsiteX326" fmla="*/ 34228 w 306872"/>
                <a:gd name="connsiteY326" fmla="*/ 302938 h 377689"/>
                <a:gd name="connsiteX327" fmla="*/ 37376 w 306872"/>
                <a:gd name="connsiteY327" fmla="*/ 306479 h 377689"/>
                <a:gd name="connsiteX328" fmla="*/ 38162 w 306872"/>
                <a:gd name="connsiteY328" fmla="*/ 308446 h 377689"/>
                <a:gd name="connsiteX329" fmla="*/ 36983 w 306872"/>
                <a:gd name="connsiteY329" fmla="*/ 311200 h 377689"/>
                <a:gd name="connsiteX330" fmla="*/ 36983 w 306872"/>
                <a:gd name="connsiteY330" fmla="*/ 314348 h 377689"/>
                <a:gd name="connsiteX331" fmla="*/ 38162 w 306872"/>
                <a:gd name="connsiteY331" fmla="*/ 317102 h 377689"/>
                <a:gd name="connsiteX332" fmla="*/ 38556 w 306872"/>
                <a:gd name="connsiteY332" fmla="*/ 320249 h 377689"/>
                <a:gd name="connsiteX333" fmla="*/ 39343 w 306872"/>
                <a:gd name="connsiteY333" fmla="*/ 323003 h 377689"/>
                <a:gd name="connsiteX334" fmla="*/ 39343 w 306872"/>
                <a:gd name="connsiteY334" fmla="*/ 326151 h 377689"/>
                <a:gd name="connsiteX335" fmla="*/ 40129 w 306872"/>
                <a:gd name="connsiteY335" fmla="*/ 329298 h 377689"/>
                <a:gd name="connsiteX336" fmla="*/ 40129 w 306872"/>
                <a:gd name="connsiteY336" fmla="*/ 332052 h 377689"/>
                <a:gd name="connsiteX337" fmla="*/ 40523 w 306872"/>
                <a:gd name="connsiteY337" fmla="*/ 335199 h 377689"/>
                <a:gd name="connsiteX338" fmla="*/ 40129 w 306872"/>
                <a:gd name="connsiteY338" fmla="*/ 337953 h 377689"/>
                <a:gd name="connsiteX339" fmla="*/ 41310 w 306872"/>
                <a:gd name="connsiteY339" fmla="*/ 340707 h 377689"/>
                <a:gd name="connsiteX340" fmla="*/ 44064 w 306872"/>
                <a:gd name="connsiteY340" fmla="*/ 338740 h 377689"/>
                <a:gd name="connsiteX341" fmla="*/ 47211 w 306872"/>
                <a:gd name="connsiteY341" fmla="*/ 337166 h 377689"/>
                <a:gd name="connsiteX342" fmla="*/ 50359 w 306872"/>
                <a:gd name="connsiteY342" fmla="*/ 335986 h 377689"/>
                <a:gd name="connsiteX343" fmla="*/ 52326 w 306872"/>
                <a:gd name="connsiteY343" fmla="*/ 339134 h 377689"/>
                <a:gd name="connsiteX344" fmla="*/ 52326 w 306872"/>
                <a:gd name="connsiteY344" fmla="*/ 341888 h 377689"/>
                <a:gd name="connsiteX345" fmla="*/ 55080 w 306872"/>
                <a:gd name="connsiteY345" fmla="*/ 341494 h 377689"/>
                <a:gd name="connsiteX346" fmla="*/ 57047 w 306872"/>
                <a:gd name="connsiteY346" fmla="*/ 338740 h 377689"/>
                <a:gd name="connsiteX347" fmla="*/ 60194 w 306872"/>
                <a:gd name="connsiteY347" fmla="*/ 337560 h 377689"/>
                <a:gd name="connsiteX348" fmla="*/ 58621 w 306872"/>
                <a:gd name="connsiteY348" fmla="*/ 338740 h 377689"/>
                <a:gd name="connsiteX349" fmla="*/ 55866 w 306872"/>
                <a:gd name="connsiteY349" fmla="*/ 341494 h 377689"/>
                <a:gd name="connsiteX350" fmla="*/ 59014 w 306872"/>
                <a:gd name="connsiteY350" fmla="*/ 342281 h 377689"/>
                <a:gd name="connsiteX351" fmla="*/ 61768 w 306872"/>
                <a:gd name="connsiteY351" fmla="*/ 343855 h 377689"/>
                <a:gd name="connsiteX352" fmla="*/ 64915 w 306872"/>
                <a:gd name="connsiteY352" fmla="*/ 343068 h 377689"/>
                <a:gd name="connsiteX353" fmla="*/ 67669 w 306872"/>
                <a:gd name="connsiteY353" fmla="*/ 341101 h 377689"/>
                <a:gd name="connsiteX354" fmla="*/ 70030 w 306872"/>
                <a:gd name="connsiteY354" fmla="*/ 339527 h 377689"/>
                <a:gd name="connsiteX355" fmla="*/ 87734 w 306872"/>
                <a:gd name="connsiteY355" fmla="*/ 346215 h 377689"/>
                <a:gd name="connsiteX356" fmla="*/ 87734 w 306872"/>
                <a:gd name="connsiteY356" fmla="*/ 348576 h 377689"/>
                <a:gd name="connsiteX357" fmla="*/ 88521 w 306872"/>
                <a:gd name="connsiteY357" fmla="*/ 354477 h 377689"/>
                <a:gd name="connsiteX358" fmla="*/ 87734 w 306872"/>
                <a:gd name="connsiteY358" fmla="*/ 357231 h 377689"/>
                <a:gd name="connsiteX359" fmla="*/ 90488 w 306872"/>
                <a:gd name="connsiteY359" fmla="*/ 359592 h 377689"/>
                <a:gd name="connsiteX360" fmla="*/ 95997 w 306872"/>
                <a:gd name="connsiteY360" fmla="*/ 354084 h 377689"/>
                <a:gd name="connsiteX361" fmla="*/ 99143 w 306872"/>
                <a:gd name="connsiteY361" fmla="*/ 351723 h 377689"/>
                <a:gd name="connsiteX362" fmla="*/ 101504 w 306872"/>
                <a:gd name="connsiteY362" fmla="*/ 351330 h 377689"/>
                <a:gd name="connsiteX363" fmla="*/ 105438 w 306872"/>
                <a:gd name="connsiteY363" fmla="*/ 352903 h 377689"/>
                <a:gd name="connsiteX364" fmla="*/ 107799 w 306872"/>
                <a:gd name="connsiteY364" fmla="*/ 354477 h 377689"/>
                <a:gd name="connsiteX365" fmla="*/ 110159 w 306872"/>
                <a:gd name="connsiteY365" fmla="*/ 354477 h 377689"/>
                <a:gd name="connsiteX366" fmla="*/ 142420 w 306872"/>
                <a:gd name="connsiteY366" fmla="*/ 349363 h 377689"/>
                <a:gd name="connsiteX367" fmla="*/ 142420 w 306872"/>
                <a:gd name="connsiteY367" fmla="*/ 352510 h 377689"/>
                <a:gd name="connsiteX368" fmla="*/ 141241 w 306872"/>
                <a:gd name="connsiteY368" fmla="*/ 355264 h 377689"/>
                <a:gd name="connsiteX369" fmla="*/ 144387 w 306872"/>
                <a:gd name="connsiteY369" fmla="*/ 356444 h 377689"/>
                <a:gd name="connsiteX370" fmla="*/ 147142 w 306872"/>
                <a:gd name="connsiteY370" fmla="*/ 356444 h 377689"/>
                <a:gd name="connsiteX371" fmla="*/ 150289 w 306872"/>
                <a:gd name="connsiteY371" fmla="*/ 354871 h 377689"/>
                <a:gd name="connsiteX372" fmla="*/ 153043 w 306872"/>
                <a:gd name="connsiteY372" fmla="*/ 353297 h 377689"/>
                <a:gd name="connsiteX373" fmla="*/ 155797 w 306872"/>
                <a:gd name="connsiteY373" fmla="*/ 350543 h 377689"/>
                <a:gd name="connsiteX374" fmla="*/ 156584 w 306872"/>
                <a:gd name="connsiteY374" fmla="*/ 347789 h 377689"/>
                <a:gd name="connsiteX375" fmla="*/ 156584 w 306872"/>
                <a:gd name="connsiteY375" fmla="*/ 350149 h 377689"/>
                <a:gd name="connsiteX376" fmla="*/ 156584 w 306872"/>
                <a:gd name="connsiteY376" fmla="*/ 352903 h 377689"/>
                <a:gd name="connsiteX377" fmla="*/ 159732 w 306872"/>
                <a:gd name="connsiteY377" fmla="*/ 353297 h 377689"/>
                <a:gd name="connsiteX378" fmla="*/ 162092 w 306872"/>
                <a:gd name="connsiteY378" fmla="*/ 350543 h 377689"/>
                <a:gd name="connsiteX379" fmla="*/ 163666 w 306872"/>
                <a:gd name="connsiteY379" fmla="*/ 348182 h 377689"/>
                <a:gd name="connsiteX380" fmla="*/ 162485 w 306872"/>
                <a:gd name="connsiteY380" fmla="*/ 350936 h 377689"/>
                <a:gd name="connsiteX381" fmla="*/ 160912 w 306872"/>
                <a:gd name="connsiteY381" fmla="*/ 354084 h 377689"/>
                <a:gd name="connsiteX382" fmla="*/ 162485 w 306872"/>
                <a:gd name="connsiteY382" fmla="*/ 355658 h 377689"/>
                <a:gd name="connsiteX383" fmla="*/ 165239 w 306872"/>
                <a:gd name="connsiteY383" fmla="*/ 356838 h 377689"/>
                <a:gd name="connsiteX384" fmla="*/ 167600 w 306872"/>
                <a:gd name="connsiteY384" fmla="*/ 354084 h 377689"/>
                <a:gd name="connsiteX385" fmla="*/ 169567 w 306872"/>
                <a:gd name="connsiteY385" fmla="*/ 352510 h 377689"/>
                <a:gd name="connsiteX386" fmla="*/ 168781 w 306872"/>
                <a:gd name="connsiteY386" fmla="*/ 355264 h 377689"/>
                <a:gd name="connsiteX387" fmla="*/ 168781 w 306872"/>
                <a:gd name="connsiteY387" fmla="*/ 358018 h 377689"/>
                <a:gd name="connsiteX388" fmla="*/ 169960 w 306872"/>
                <a:gd name="connsiteY388" fmla="*/ 361166 h 377689"/>
                <a:gd name="connsiteX389" fmla="*/ 171141 w 306872"/>
                <a:gd name="connsiteY389" fmla="*/ 363919 h 377689"/>
                <a:gd name="connsiteX390" fmla="*/ 170748 w 306872"/>
                <a:gd name="connsiteY390" fmla="*/ 367067 h 377689"/>
                <a:gd name="connsiteX391" fmla="*/ 170748 w 306872"/>
                <a:gd name="connsiteY391" fmla="*/ 369821 h 377689"/>
                <a:gd name="connsiteX392" fmla="*/ 170748 w 306872"/>
                <a:gd name="connsiteY392" fmla="*/ 372968 h 377689"/>
                <a:gd name="connsiteX393" fmla="*/ 171141 w 306872"/>
                <a:gd name="connsiteY393" fmla="*/ 375722 h 377689"/>
                <a:gd name="connsiteX394" fmla="*/ 170748 w 306872"/>
                <a:gd name="connsiteY394" fmla="*/ 378870 h 377689"/>
                <a:gd name="connsiteX395" fmla="*/ 173501 w 306872"/>
                <a:gd name="connsiteY395" fmla="*/ 380443 h 377689"/>
                <a:gd name="connsiteX396" fmla="*/ 176255 w 306872"/>
                <a:gd name="connsiteY396" fmla="*/ 378870 h 377689"/>
                <a:gd name="connsiteX397" fmla="*/ 179009 w 306872"/>
                <a:gd name="connsiteY397" fmla="*/ 376903 h 377689"/>
                <a:gd name="connsiteX398" fmla="*/ 181763 w 306872"/>
                <a:gd name="connsiteY398" fmla="*/ 374935 h 377689"/>
                <a:gd name="connsiteX399" fmla="*/ 184910 w 306872"/>
                <a:gd name="connsiteY399" fmla="*/ 373755 h 377689"/>
                <a:gd name="connsiteX400" fmla="*/ 187664 w 306872"/>
                <a:gd name="connsiteY400" fmla="*/ 372575 h 377689"/>
                <a:gd name="connsiteX401" fmla="*/ 190812 w 306872"/>
                <a:gd name="connsiteY401" fmla="*/ 371001 h 377689"/>
                <a:gd name="connsiteX402" fmla="*/ 193566 w 306872"/>
                <a:gd name="connsiteY402" fmla="*/ 369821 h 377689"/>
                <a:gd name="connsiteX403" fmla="*/ 196713 w 306872"/>
                <a:gd name="connsiteY403" fmla="*/ 368641 h 377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</a:cxnLst>
              <a:rect l="l" t="t" r="r" b="b"/>
              <a:pathLst>
                <a:path w="306872" h="377689">
                  <a:moveTo>
                    <a:pt x="199467" y="367460"/>
                  </a:moveTo>
                  <a:lnTo>
                    <a:pt x="202615" y="365493"/>
                  </a:lnTo>
                  <a:lnTo>
                    <a:pt x="205368" y="364706"/>
                  </a:lnTo>
                  <a:lnTo>
                    <a:pt x="208123" y="361952"/>
                  </a:lnTo>
                  <a:lnTo>
                    <a:pt x="211270" y="361559"/>
                  </a:lnTo>
                  <a:lnTo>
                    <a:pt x="213237" y="358412"/>
                  </a:lnTo>
                  <a:lnTo>
                    <a:pt x="213237" y="355658"/>
                  </a:lnTo>
                  <a:lnTo>
                    <a:pt x="215204" y="352510"/>
                  </a:lnTo>
                  <a:lnTo>
                    <a:pt x="216385" y="349363"/>
                  </a:lnTo>
                  <a:lnTo>
                    <a:pt x="218352" y="346609"/>
                  </a:lnTo>
                  <a:lnTo>
                    <a:pt x="221105" y="345429"/>
                  </a:lnTo>
                  <a:lnTo>
                    <a:pt x="219138" y="342281"/>
                  </a:lnTo>
                  <a:lnTo>
                    <a:pt x="217171" y="339527"/>
                  </a:lnTo>
                  <a:lnTo>
                    <a:pt x="217565" y="336773"/>
                  </a:lnTo>
                  <a:lnTo>
                    <a:pt x="220319" y="339527"/>
                  </a:lnTo>
                  <a:lnTo>
                    <a:pt x="223073" y="339134"/>
                  </a:lnTo>
                  <a:lnTo>
                    <a:pt x="224647" y="336380"/>
                  </a:lnTo>
                  <a:lnTo>
                    <a:pt x="225040" y="333232"/>
                  </a:lnTo>
                  <a:lnTo>
                    <a:pt x="224647" y="330085"/>
                  </a:lnTo>
                  <a:lnTo>
                    <a:pt x="225434" y="327331"/>
                  </a:lnTo>
                  <a:lnTo>
                    <a:pt x="223073" y="324183"/>
                  </a:lnTo>
                  <a:lnTo>
                    <a:pt x="226220" y="323790"/>
                  </a:lnTo>
                  <a:lnTo>
                    <a:pt x="228974" y="325757"/>
                  </a:lnTo>
                  <a:lnTo>
                    <a:pt x="230548" y="322610"/>
                  </a:lnTo>
                  <a:lnTo>
                    <a:pt x="231335" y="319462"/>
                  </a:lnTo>
                  <a:lnTo>
                    <a:pt x="232122" y="316708"/>
                  </a:lnTo>
                  <a:lnTo>
                    <a:pt x="232122" y="315922"/>
                  </a:lnTo>
                  <a:lnTo>
                    <a:pt x="252187" y="269104"/>
                  </a:lnTo>
                  <a:lnTo>
                    <a:pt x="252973" y="268317"/>
                  </a:lnTo>
                  <a:lnTo>
                    <a:pt x="253760" y="265563"/>
                  </a:lnTo>
                  <a:lnTo>
                    <a:pt x="255334" y="268710"/>
                  </a:lnTo>
                  <a:lnTo>
                    <a:pt x="256514" y="267137"/>
                  </a:lnTo>
                  <a:lnTo>
                    <a:pt x="259661" y="266350"/>
                  </a:lnTo>
                  <a:lnTo>
                    <a:pt x="259661" y="265956"/>
                  </a:lnTo>
                  <a:lnTo>
                    <a:pt x="262809" y="265563"/>
                  </a:lnTo>
                  <a:lnTo>
                    <a:pt x="260448" y="262809"/>
                  </a:lnTo>
                  <a:lnTo>
                    <a:pt x="260842" y="262022"/>
                  </a:lnTo>
                  <a:lnTo>
                    <a:pt x="262809" y="259661"/>
                  </a:lnTo>
                  <a:lnTo>
                    <a:pt x="261236" y="259268"/>
                  </a:lnTo>
                  <a:lnTo>
                    <a:pt x="263203" y="256514"/>
                  </a:lnTo>
                  <a:lnTo>
                    <a:pt x="264382" y="253367"/>
                  </a:lnTo>
                  <a:lnTo>
                    <a:pt x="261629" y="254154"/>
                  </a:lnTo>
                  <a:lnTo>
                    <a:pt x="258875" y="256121"/>
                  </a:lnTo>
                  <a:lnTo>
                    <a:pt x="258481" y="256121"/>
                  </a:lnTo>
                  <a:lnTo>
                    <a:pt x="258875" y="252973"/>
                  </a:lnTo>
                  <a:lnTo>
                    <a:pt x="260448" y="250219"/>
                  </a:lnTo>
                  <a:lnTo>
                    <a:pt x="259661" y="249039"/>
                  </a:lnTo>
                  <a:lnTo>
                    <a:pt x="260842" y="238417"/>
                  </a:lnTo>
                  <a:lnTo>
                    <a:pt x="260842" y="238417"/>
                  </a:lnTo>
                  <a:lnTo>
                    <a:pt x="260842" y="238023"/>
                  </a:lnTo>
                  <a:lnTo>
                    <a:pt x="296644" y="210090"/>
                  </a:lnTo>
                  <a:lnTo>
                    <a:pt x="297824" y="210877"/>
                  </a:lnTo>
                  <a:lnTo>
                    <a:pt x="300971" y="209696"/>
                  </a:lnTo>
                  <a:lnTo>
                    <a:pt x="303725" y="207729"/>
                  </a:lnTo>
                  <a:lnTo>
                    <a:pt x="305299" y="204582"/>
                  </a:lnTo>
                  <a:lnTo>
                    <a:pt x="305299" y="203795"/>
                  </a:lnTo>
                  <a:lnTo>
                    <a:pt x="305299" y="202615"/>
                  </a:lnTo>
                  <a:lnTo>
                    <a:pt x="276579" y="161698"/>
                  </a:lnTo>
                  <a:lnTo>
                    <a:pt x="277366" y="160125"/>
                  </a:lnTo>
                  <a:lnTo>
                    <a:pt x="275792" y="157371"/>
                  </a:lnTo>
                  <a:lnTo>
                    <a:pt x="273825" y="154223"/>
                  </a:lnTo>
                  <a:lnTo>
                    <a:pt x="270678" y="151469"/>
                  </a:lnTo>
                  <a:lnTo>
                    <a:pt x="268317" y="148715"/>
                  </a:lnTo>
                  <a:lnTo>
                    <a:pt x="267924" y="145568"/>
                  </a:lnTo>
                  <a:lnTo>
                    <a:pt x="264776" y="143207"/>
                  </a:lnTo>
                  <a:lnTo>
                    <a:pt x="262809" y="142027"/>
                  </a:lnTo>
                  <a:lnTo>
                    <a:pt x="265563" y="140453"/>
                  </a:lnTo>
                  <a:lnTo>
                    <a:pt x="262809" y="139273"/>
                  </a:lnTo>
                  <a:lnTo>
                    <a:pt x="260055" y="138880"/>
                  </a:lnTo>
                  <a:lnTo>
                    <a:pt x="262809" y="138093"/>
                  </a:lnTo>
                  <a:lnTo>
                    <a:pt x="260842" y="136913"/>
                  </a:lnTo>
                  <a:lnTo>
                    <a:pt x="261629" y="136126"/>
                  </a:lnTo>
                  <a:lnTo>
                    <a:pt x="262415" y="133765"/>
                  </a:lnTo>
                  <a:lnTo>
                    <a:pt x="259661" y="132978"/>
                  </a:lnTo>
                  <a:lnTo>
                    <a:pt x="257694" y="132978"/>
                  </a:lnTo>
                  <a:lnTo>
                    <a:pt x="256908" y="131798"/>
                  </a:lnTo>
                  <a:lnTo>
                    <a:pt x="257301" y="126290"/>
                  </a:lnTo>
                  <a:lnTo>
                    <a:pt x="259269" y="125896"/>
                  </a:lnTo>
                  <a:lnTo>
                    <a:pt x="257694" y="125110"/>
                  </a:lnTo>
                  <a:lnTo>
                    <a:pt x="258088" y="119602"/>
                  </a:lnTo>
                  <a:lnTo>
                    <a:pt x="258481" y="119602"/>
                  </a:lnTo>
                  <a:lnTo>
                    <a:pt x="258088" y="119208"/>
                  </a:lnTo>
                  <a:lnTo>
                    <a:pt x="258481" y="112520"/>
                  </a:lnTo>
                  <a:lnTo>
                    <a:pt x="258481" y="112520"/>
                  </a:lnTo>
                  <a:lnTo>
                    <a:pt x="261629" y="114881"/>
                  </a:lnTo>
                  <a:lnTo>
                    <a:pt x="264776" y="114881"/>
                  </a:lnTo>
                  <a:lnTo>
                    <a:pt x="267530" y="112520"/>
                  </a:lnTo>
                  <a:lnTo>
                    <a:pt x="264776" y="110553"/>
                  </a:lnTo>
                  <a:lnTo>
                    <a:pt x="264776" y="107799"/>
                  </a:lnTo>
                  <a:lnTo>
                    <a:pt x="261629" y="106619"/>
                  </a:lnTo>
                  <a:lnTo>
                    <a:pt x="259269" y="105045"/>
                  </a:lnTo>
                  <a:lnTo>
                    <a:pt x="259269" y="105045"/>
                  </a:lnTo>
                  <a:lnTo>
                    <a:pt x="261629" y="105438"/>
                  </a:lnTo>
                  <a:lnTo>
                    <a:pt x="260055" y="102684"/>
                  </a:lnTo>
                  <a:lnTo>
                    <a:pt x="259661" y="102291"/>
                  </a:lnTo>
                  <a:lnTo>
                    <a:pt x="260055" y="96389"/>
                  </a:lnTo>
                  <a:lnTo>
                    <a:pt x="262809" y="96389"/>
                  </a:lnTo>
                  <a:lnTo>
                    <a:pt x="264382" y="97570"/>
                  </a:lnTo>
                  <a:lnTo>
                    <a:pt x="267137" y="100717"/>
                  </a:lnTo>
                  <a:lnTo>
                    <a:pt x="269891" y="100717"/>
                  </a:lnTo>
                  <a:lnTo>
                    <a:pt x="269891" y="99930"/>
                  </a:lnTo>
                  <a:lnTo>
                    <a:pt x="269891" y="97570"/>
                  </a:lnTo>
                  <a:lnTo>
                    <a:pt x="269497" y="96389"/>
                  </a:lnTo>
                  <a:lnTo>
                    <a:pt x="268317" y="95603"/>
                  </a:lnTo>
                  <a:lnTo>
                    <a:pt x="266743" y="94422"/>
                  </a:lnTo>
                  <a:lnTo>
                    <a:pt x="269891" y="93636"/>
                  </a:lnTo>
                  <a:lnTo>
                    <a:pt x="269891" y="93636"/>
                  </a:lnTo>
                  <a:lnTo>
                    <a:pt x="273039" y="93636"/>
                  </a:lnTo>
                  <a:lnTo>
                    <a:pt x="275792" y="92455"/>
                  </a:lnTo>
                  <a:lnTo>
                    <a:pt x="278940" y="91669"/>
                  </a:lnTo>
                  <a:lnTo>
                    <a:pt x="281694" y="90882"/>
                  </a:lnTo>
                  <a:lnTo>
                    <a:pt x="282480" y="90095"/>
                  </a:lnTo>
                  <a:lnTo>
                    <a:pt x="285234" y="90488"/>
                  </a:lnTo>
                  <a:lnTo>
                    <a:pt x="288382" y="90488"/>
                  </a:lnTo>
                  <a:lnTo>
                    <a:pt x="291136" y="87341"/>
                  </a:lnTo>
                  <a:lnTo>
                    <a:pt x="289562" y="84193"/>
                  </a:lnTo>
                  <a:lnTo>
                    <a:pt x="286808" y="85374"/>
                  </a:lnTo>
                  <a:lnTo>
                    <a:pt x="286415" y="82226"/>
                  </a:lnTo>
                  <a:lnTo>
                    <a:pt x="286021" y="82226"/>
                  </a:lnTo>
                  <a:lnTo>
                    <a:pt x="286808" y="80652"/>
                  </a:lnTo>
                  <a:lnTo>
                    <a:pt x="289168" y="80259"/>
                  </a:lnTo>
                  <a:lnTo>
                    <a:pt x="287201" y="79866"/>
                  </a:lnTo>
                  <a:lnTo>
                    <a:pt x="291529" y="69637"/>
                  </a:lnTo>
                  <a:lnTo>
                    <a:pt x="293889" y="69243"/>
                  </a:lnTo>
                  <a:lnTo>
                    <a:pt x="297037" y="68063"/>
                  </a:lnTo>
                  <a:lnTo>
                    <a:pt x="299791" y="66882"/>
                  </a:lnTo>
                  <a:lnTo>
                    <a:pt x="302546" y="66096"/>
                  </a:lnTo>
                  <a:lnTo>
                    <a:pt x="305299" y="64522"/>
                  </a:lnTo>
                  <a:lnTo>
                    <a:pt x="308447" y="61375"/>
                  </a:lnTo>
                  <a:lnTo>
                    <a:pt x="308447" y="55867"/>
                  </a:lnTo>
                  <a:lnTo>
                    <a:pt x="305299" y="53113"/>
                  </a:lnTo>
                  <a:lnTo>
                    <a:pt x="302152" y="54293"/>
                  </a:lnTo>
                  <a:lnTo>
                    <a:pt x="299398" y="53113"/>
                  </a:lnTo>
                  <a:lnTo>
                    <a:pt x="298217" y="55080"/>
                  </a:lnTo>
                  <a:lnTo>
                    <a:pt x="296250" y="51932"/>
                  </a:lnTo>
                  <a:lnTo>
                    <a:pt x="293103" y="49965"/>
                  </a:lnTo>
                  <a:lnTo>
                    <a:pt x="290349" y="47605"/>
                  </a:lnTo>
                  <a:lnTo>
                    <a:pt x="289562" y="47998"/>
                  </a:lnTo>
                  <a:lnTo>
                    <a:pt x="286808" y="46424"/>
                  </a:lnTo>
                  <a:lnTo>
                    <a:pt x="285628" y="43670"/>
                  </a:lnTo>
                  <a:lnTo>
                    <a:pt x="282480" y="41703"/>
                  </a:lnTo>
                  <a:lnTo>
                    <a:pt x="280119" y="41310"/>
                  </a:lnTo>
                  <a:lnTo>
                    <a:pt x="276973" y="40130"/>
                  </a:lnTo>
                  <a:lnTo>
                    <a:pt x="276973" y="40523"/>
                  </a:lnTo>
                  <a:lnTo>
                    <a:pt x="273039" y="39343"/>
                  </a:lnTo>
                  <a:lnTo>
                    <a:pt x="271858" y="36195"/>
                  </a:lnTo>
                  <a:lnTo>
                    <a:pt x="270678" y="33441"/>
                  </a:lnTo>
                  <a:lnTo>
                    <a:pt x="269104" y="33441"/>
                  </a:lnTo>
                  <a:lnTo>
                    <a:pt x="260448" y="19671"/>
                  </a:lnTo>
                  <a:lnTo>
                    <a:pt x="257694" y="16524"/>
                  </a:lnTo>
                  <a:lnTo>
                    <a:pt x="254941" y="15737"/>
                  </a:lnTo>
                  <a:lnTo>
                    <a:pt x="253760" y="12590"/>
                  </a:lnTo>
                  <a:lnTo>
                    <a:pt x="252580" y="15737"/>
                  </a:lnTo>
                  <a:lnTo>
                    <a:pt x="249433" y="13377"/>
                  </a:lnTo>
                  <a:lnTo>
                    <a:pt x="246678" y="12590"/>
                  </a:lnTo>
                  <a:lnTo>
                    <a:pt x="246285" y="9442"/>
                  </a:lnTo>
                  <a:lnTo>
                    <a:pt x="244711" y="6295"/>
                  </a:lnTo>
                  <a:lnTo>
                    <a:pt x="245105" y="3541"/>
                  </a:lnTo>
                  <a:lnTo>
                    <a:pt x="243532" y="787"/>
                  </a:lnTo>
                  <a:lnTo>
                    <a:pt x="240384" y="394"/>
                  </a:lnTo>
                  <a:lnTo>
                    <a:pt x="238417" y="3541"/>
                  </a:lnTo>
                  <a:lnTo>
                    <a:pt x="239203" y="6295"/>
                  </a:lnTo>
                  <a:lnTo>
                    <a:pt x="237630" y="9049"/>
                  </a:lnTo>
                  <a:lnTo>
                    <a:pt x="235663" y="11803"/>
                  </a:lnTo>
                  <a:lnTo>
                    <a:pt x="232515" y="14557"/>
                  </a:lnTo>
                  <a:lnTo>
                    <a:pt x="231729" y="11409"/>
                  </a:lnTo>
                  <a:lnTo>
                    <a:pt x="233302" y="8655"/>
                  </a:lnTo>
                  <a:lnTo>
                    <a:pt x="233302" y="5901"/>
                  </a:lnTo>
                  <a:lnTo>
                    <a:pt x="232908" y="2754"/>
                  </a:lnTo>
                  <a:lnTo>
                    <a:pt x="231335" y="0"/>
                  </a:lnTo>
                  <a:lnTo>
                    <a:pt x="228974" y="2754"/>
                  </a:lnTo>
                  <a:lnTo>
                    <a:pt x="227794" y="5901"/>
                  </a:lnTo>
                  <a:lnTo>
                    <a:pt x="227401" y="8655"/>
                  </a:lnTo>
                  <a:lnTo>
                    <a:pt x="226220" y="11409"/>
                  </a:lnTo>
                  <a:lnTo>
                    <a:pt x="224253" y="14557"/>
                  </a:lnTo>
                  <a:lnTo>
                    <a:pt x="223073" y="17704"/>
                  </a:lnTo>
                  <a:lnTo>
                    <a:pt x="220319" y="20065"/>
                  </a:lnTo>
                  <a:lnTo>
                    <a:pt x="218352" y="22819"/>
                  </a:lnTo>
                  <a:lnTo>
                    <a:pt x="217565" y="25966"/>
                  </a:lnTo>
                  <a:lnTo>
                    <a:pt x="214811" y="26753"/>
                  </a:lnTo>
                  <a:lnTo>
                    <a:pt x="213237" y="29507"/>
                  </a:lnTo>
                  <a:lnTo>
                    <a:pt x="213237" y="32655"/>
                  </a:lnTo>
                  <a:lnTo>
                    <a:pt x="212057" y="35408"/>
                  </a:lnTo>
                  <a:lnTo>
                    <a:pt x="211270" y="38162"/>
                  </a:lnTo>
                  <a:lnTo>
                    <a:pt x="208910" y="41310"/>
                  </a:lnTo>
                  <a:lnTo>
                    <a:pt x="207336" y="42490"/>
                  </a:lnTo>
                  <a:lnTo>
                    <a:pt x="197894" y="50359"/>
                  </a:lnTo>
                  <a:lnTo>
                    <a:pt x="198288" y="47605"/>
                  </a:lnTo>
                  <a:lnTo>
                    <a:pt x="195927" y="50359"/>
                  </a:lnTo>
                  <a:lnTo>
                    <a:pt x="193173" y="53113"/>
                  </a:lnTo>
                  <a:lnTo>
                    <a:pt x="191206" y="56260"/>
                  </a:lnTo>
                  <a:lnTo>
                    <a:pt x="191992" y="57440"/>
                  </a:lnTo>
                  <a:lnTo>
                    <a:pt x="194746" y="60194"/>
                  </a:lnTo>
                  <a:lnTo>
                    <a:pt x="197500" y="60981"/>
                  </a:lnTo>
                  <a:lnTo>
                    <a:pt x="193173" y="69243"/>
                  </a:lnTo>
                  <a:lnTo>
                    <a:pt x="188845" y="70423"/>
                  </a:lnTo>
                  <a:lnTo>
                    <a:pt x="187664" y="69637"/>
                  </a:lnTo>
                  <a:lnTo>
                    <a:pt x="185304" y="71210"/>
                  </a:lnTo>
                  <a:lnTo>
                    <a:pt x="181763" y="74358"/>
                  </a:lnTo>
                  <a:lnTo>
                    <a:pt x="181763" y="73177"/>
                  </a:lnTo>
                  <a:lnTo>
                    <a:pt x="181763" y="71604"/>
                  </a:lnTo>
                  <a:lnTo>
                    <a:pt x="182157" y="68850"/>
                  </a:lnTo>
                  <a:lnTo>
                    <a:pt x="182157" y="68063"/>
                  </a:lnTo>
                  <a:lnTo>
                    <a:pt x="179403" y="67669"/>
                  </a:lnTo>
                  <a:lnTo>
                    <a:pt x="176649" y="69637"/>
                  </a:lnTo>
                  <a:lnTo>
                    <a:pt x="175075" y="70423"/>
                  </a:lnTo>
                  <a:lnTo>
                    <a:pt x="172321" y="72784"/>
                  </a:lnTo>
                  <a:lnTo>
                    <a:pt x="169567" y="75538"/>
                  </a:lnTo>
                  <a:lnTo>
                    <a:pt x="167600" y="78292"/>
                  </a:lnTo>
                  <a:lnTo>
                    <a:pt x="154617" y="82226"/>
                  </a:lnTo>
                  <a:lnTo>
                    <a:pt x="151076" y="81833"/>
                  </a:lnTo>
                  <a:lnTo>
                    <a:pt x="126683" y="126290"/>
                  </a:lnTo>
                  <a:lnTo>
                    <a:pt x="125896" y="127077"/>
                  </a:lnTo>
                  <a:lnTo>
                    <a:pt x="124323" y="129831"/>
                  </a:lnTo>
                  <a:lnTo>
                    <a:pt x="105832" y="136519"/>
                  </a:lnTo>
                  <a:lnTo>
                    <a:pt x="83406" y="141633"/>
                  </a:lnTo>
                  <a:lnTo>
                    <a:pt x="82620" y="142027"/>
                  </a:lnTo>
                  <a:lnTo>
                    <a:pt x="79866" y="143994"/>
                  </a:lnTo>
                  <a:lnTo>
                    <a:pt x="77112" y="146748"/>
                  </a:lnTo>
                  <a:lnTo>
                    <a:pt x="76718" y="149502"/>
                  </a:lnTo>
                  <a:lnTo>
                    <a:pt x="77112" y="152650"/>
                  </a:lnTo>
                  <a:lnTo>
                    <a:pt x="76718" y="155403"/>
                  </a:lnTo>
                  <a:lnTo>
                    <a:pt x="78685" y="158157"/>
                  </a:lnTo>
                  <a:lnTo>
                    <a:pt x="76325" y="158157"/>
                  </a:lnTo>
                  <a:lnTo>
                    <a:pt x="73178" y="156977"/>
                  </a:lnTo>
                  <a:lnTo>
                    <a:pt x="70424" y="156584"/>
                  </a:lnTo>
                  <a:lnTo>
                    <a:pt x="70030" y="159731"/>
                  </a:lnTo>
                  <a:lnTo>
                    <a:pt x="71211" y="162485"/>
                  </a:lnTo>
                  <a:lnTo>
                    <a:pt x="69636" y="165239"/>
                  </a:lnTo>
                  <a:lnTo>
                    <a:pt x="72391" y="165239"/>
                  </a:lnTo>
                  <a:lnTo>
                    <a:pt x="75538" y="164846"/>
                  </a:lnTo>
                  <a:lnTo>
                    <a:pt x="71603" y="166420"/>
                  </a:lnTo>
                  <a:lnTo>
                    <a:pt x="70424" y="168387"/>
                  </a:lnTo>
                  <a:lnTo>
                    <a:pt x="69636" y="171534"/>
                  </a:lnTo>
                  <a:lnTo>
                    <a:pt x="68457" y="174288"/>
                  </a:lnTo>
                  <a:lnTo>
                    <a:pt x="67669" y="177042"/>
                  </a:lnTo>
                  <a:lnTo>
                    <a:pt x="68063" y="179796"/>
                  </a:lnTo>
                  <a:lnTo>
                    <a:pt x="70817" y="182550"/>
                  </a:lnTo>
                  <a:lnTo>
                    <a:pt x="67669" y="180976"/>
                  </a:lnTo>
                  <a:lnTo>
                    <a:pt x="64915" y="183337"/>
                  </a:lnTo>
                  <a:lnTo>
                    <a:pt x="64915" y="186091"/>
                  </a:lnTo>
                  <a:lnTo>
                    <a:pt x="67276" y="189238"/>
                  </a:lnTo>
                  <a:lnTo>
                    <a:pt x="70030" y="190812"/>
                  </a:lnTo>
                  <a:lnTo>
                    <a:pt x="73178" y="190418"/>
                  </a:lnTo>
                  <a:lnTo>
                    <a:pt x="75931" y="192779"/>
                  </a:lnTo>
                  <a:lnTo>
                    <a:pt x="74358" y="192779"/>
                  </a:lnTo>
                  <a:lnTo>
                    <a:pt x="71997" y="190812"/>
                  </a:lnTo>
                  <a:lnTo>
                    <a:pt x="68850" y="191599"/>
                  </a:lnTo>
                  <a:lnTo>
                    <a:pt x="66096" y="190025"/>
                  </a:lnTo>
                  <a:lnTo>
                    <a:pt x="63342" y="187271"/>
                  </a:lnTo>
                  <a:lnTo>
                    <a:pt x="60588" y="185697"/>
                  </a:lnTo>
                  <a:lnTo>
                    <a:pt x="57441" y="187271"/>
                  </a:lnTo>
                  <a:lnTo>
                    <a:pt x="56260" y="188058"/>
                  </a:lnTo>
                  <a:lnTo>
                    <a:pt x="54293" y="184910"/>
                  </a:lnTo>
                  <a:lnTo>
                    <a:pt x="51539" y="184124"/>
                  </a:lnTo>
                  <a:lnTo>
                    <a:pt x="48392" y="183337"/>
                  </a:lnTo>
                  <a:lnTo>
                    <a:pt x="48392" y="182550"/>
                  </a:lnTo>
                  <a:lnTo>
                    <a:pt x="48392" y="179796"/>
                  </a:lnTo>
                  <a:lnTo>
                    <a:pt x="45244" y="179796"/>
                  </a:lnTo>
                  <a:lnTo>
                    <a:pt x="44064" y="177042"/>
                  </a:lnTo>
                  <a:lnTo>
                    <a:pt x="43671" y="179796"/>
                  </a:lnTo>
                  <a:lnTo>
                    <a:pt x="34228" y="180976"/>
                  </a:lnTo>
                  <a:lnTo>
                    <a:pt x="23606" y="167600"/>
                  </a:lnTo>
                  <a:lnTo>
                    <a:pt x="23213" y="167993"/>
                  </a:lnTo>
                  <a:lnTo>
                    <a:pt x="20065" y="170747"/>
                  </a:lnTo>
                  <a:lnTo>
                    <a:pt x="16918" y="171927"/>
                  </a:lnTo>
                  <a:lnTo>
                    <a:pt x="14164" y="174288"/>
                  </a:lnTo>
                  <a:lnTo>
                    <a:pt x="14557" y="177042"/>
                  </a:lnTo>
                  <a:lnTo>
                    <a:pt x="12983" y="180189"/>
                  </a:lnTo>
                  <a:lnTo>
                    <a:pt x="10622" y="182943"/>
                  </a:lnTo>
                  <a:lnTo>
                    <a:pt x="7869" y="184910"/>
                  </a:lnTo>
                  <a:lnTo>
                    <a:pt x="6295" y="187664"/>
                  </a:lnTo>
                  <a:lnTo>
                    <a:pt x="6295" y="190418"/>
                  </a:lnTo>
                  <a:lnTo>
                    <a:pt x="5509" y="193566"/>
                  </a:lnTo>
                  <a:lnTo>
                    <a:pt x="6688" y="196713"/>
                  </a:lnTo>
                  <a:lnTo>
                    <a:pt x="9443" y="193566"/>
                  </a:lnTo>
                  <a:lnTo>
                    <a:pt x="11410" y="190812"/>
                  </a:lnTo>
                  <a:lnTo>
                    <a:pt x="11803" y="191599"/>
                  </a:lnTo>
                  <a:lnTo>
                    <a:pt x="10622" y="193172"/>
                  </a:lnTo>
                  <a:lnTo>
                    <a:pt x="8262" y="196320"/>
                  </a:lnTo>
                  <a:lnTo>
                    <a:pt x="5509" y="197500"/>
                  </a:lnTo>
                  <a:lnTo>
                    <a:pt x="2754" y="200254"/>
                  </a:lnTo>
                  <a:lnTo>
                    <a:pt x="3541" y="203008"/>
                  </a:lnTo>
                  <a:lnTo>
                    <a:pt x="3934" y="204582"/>
                  </a:lnTo>
                  <a:lnTo>
                    <a:pt x="1574" y="208910"/>
                  </a:lnTo>
                  <a:lnTo>
                    <a:pt x="0" y="210877"/>
                  </a:lnTo>
                  <a:lnTo>
                    <a:pt x="787" y="213631"/>
                  </a:lnTo>
                  <a:lnTo>
                    <a:pt x="2361" y="216384"/>
                  </a:lnTo>
                  <a:lnTo>
                    <a:pt x="2361" y="219532"/>
                  </a:lnTo>
                  <a:lnTo>
                    <a:pt x="2754" y="222286"/>
                  </a:lnTo>
                  <a:lnTo>
                    <a:pt x="2754" y="225040"/>
                  </a:lnTo>
                  <a:lnTo>
                    <a:pt x="3541" y="228187"/>
                  </a:lnTo>
                  <a:lnTo>
                    <a:pt x="6688" y="228974"/>
                  </a:lnTo>
                  <a:lnTo>
                    <a:pt x="7082" y="230154"/>
                  </a:lnTo>
                  <a:lnTo>
                    <a:pt x="9443" y="238023"/>
                  </a:lnTo>
                  <a:lnTo>
                    <a:pt x="10229" y="241957"/>
                  </a:lnTo>
                  <a:lnTo>
                    <a:pt x="10622" y="244318"/>
                  </a:lnTo>
                  <a:lnTo>
                    <a:pt x="11410" y="246285"/>
                  </a:lnTo>
                  <a:lnTo>
                    <a:pt x="8655" y="245498"/>
                  </a:lnTo>
                  <a:lnTo>
                    <a:pt x="7869" y="248252"/>
                  </a:lnTo>
                  <a:lnTo>
                    <a:pt x="7869" y="251400"/>
                  </a:lnTo>
                  <a:lnTo>
                    <a:pt x="8262" y="254154"/>
                  </a:lnTo>
                  <a:lnTo>
                    <a:pt x="9443" y="257301"/>
                  </a:lnTo>
                  <a:lnTo>
                    <a:pt x="12197" y="258481"/>
                  </a:lnTo>
                  <a:lnTo>
                    <a:pt x="14950" y="258481"/>
                  </a:lnTo>
                  <a:lnTo>
                    <a:pt x="17311" y="261235"/>
                  </a:lnTo>
                  <a:lnTo>
                    <a:pt x="20065" y="263202"/>
                  </a:lnTo>
                  <a:lnTo>
                    <a:pt x="17311" y="262809"/>
                  </a:lnTo>
                  <a:lnTo>
                    <a:pt x="14557" y="262022"/>
                  </a:lnTo>
                  <a:lnTo>
                    <a:pt x="12589" y="265169"/>
                  </a:lnTo>
                  <a:lnTo>
                    <a:pt x="12983" y="267923"/>
                  </a:lnTo>
                  <a:lnTo>
                    <a:pt x="16131" y="269497"/>
                  </a:lnTo>
                  <a:lnTo>
                    <a:pt x="18885" y="267530"/>
                  </a:lnTo>
                  <a:lnTo>
                    <a:pt x="22032" y="268317"/>
                  </a:lnTo>
                  <a:lnTo>
                    <a:pt x="23999" y="271464"/>
                  </a:lnTo>
                  <a:lnTo>
                    <a:pt x="26359" y="269104"/>
                  </a:lnTo>
                  <a:lnTo>
                    <a:pt x="26753" y="269891"/>
                  </a:lnTo>
                  <a:lnTo>
                    <a:pt x="27147" y="271464"/>
                  </a:lnTo>
                  <a:lnTo>
                    <a:pt x="29114" y="274612"/>
                  </a:lnTo>
                  <a:lnTo>
                    <a:pt x="30294" y="275005"/>
                  </a:lnTo>
                  <a:lnTo>
                    <a:pt x="32261" y="277759"/>
                  </a:lnTo>
                  <a:lnTo>
                    <a:pt x="32261" y="278939"/>
                  </a:lnTo>
                  <a:lnTo>
                    <a:pt x="34622" y="281693"/>
                  </a:lnTo>
                  <a:lnTo>
                    <a:pt x="34228" y="296644"/>
                  </a:lnTo>
                  <a:lnTo>
                    <a:pt x="31474" y="299004"/>
                  </a:lnTo>
                  <a:lnTo>
                    <a:pt x="32655" y="301758"/>
                  </a:lnTo>
                  <a:lnTo>
                    <a:pt x="34228" y="302938"/>
                  </a:lnTo>
                  <a:lnTo>
                    <a:pt x="37376" y="306479"/>
                  </a:lnTo>
                  <a:lnTo>
                    <a:pt x="38162" y="308446"/>
                  </a:lnTo>
                  <a:lnTo>
                    <a:pt x="36983" y="311200"/>
                  </a:lnTo>
                  <a:lnTo>
                    <a:pt x="36983" y="314348"/>
                  </a:lnTo>
                  <a:lnTo>
                    <a:pt x="38162" y="317102"/>
                  </a:lnTo>
                  <a:lnTo>
                    <a:pt x="38556" y="320249"/>
                  </a:lnTo>
                  <a:lnTo>
                    <a:pt x="39343" y="323003"/>
                  </a:lnTo>
                  <a:lnTo>
                    <a:pt x="39343" y="326151"/>
                  </a:lnTo>
                  <a:lnTo>
                    <a:pt x="40129" y="329298"/>
                  </a:lnTo>
                  <a:lnTo>
                    <a:pt x="40129" y="332052"/>
                  </a:lnTo>
                  <a:lnTo>
                    <a:pt x="40523" y="335199"/>
                  </a:lnTo>
                  <a:lnTo>
                    <a:pt x="40129" y="337953"/>
                  </a:lnTo>
                  <a:lnTo>
                    <a:pt x="41310" y="340707"/>
                  </a:lnTo>
                  <a:lnTo>
                    <a:pt x="44064" y="338740"/>
                  </a:lnTo>
                  <a:lnTo>
                    <a:pt x="47211" y="337166"/>
                  </a:lnTo>
                  <a:lnTo>
                    <a:pt x="50359" y="335986"/>
                  </a:lnTo>
                  <a:lnTo>
                    <a:pt x="52326" y="339134"/>
                  </a:lnTo>
                  <a:lnTo>
                    <a:pt x="52326" y="341888"/>
                  </a:lnTo>
                  <a:lnTo>
                    <a:pt x="55080" y="341494"/>
                  </a:lnTo>
                  <a:lnTo>
                    <a:pt x="57047" y="338740"/>
                  </a:lnTo>
                  <a:lnTo>
                    <a:pt x="60194" y="337560"/>
                  </a:lnTo>
                  <a:lnTo>
                    <a:pt x="58621" y="338740"/>
                  </a:lnTo>
                  <a:lnTo>
                    <a:pt x="55866" y="341494"/>
                  </a:lnTo>
                  <a:lnTo>
                    <a:pt x="59014" y="342281"/>
                  </a:lnTo>
                  <a:lnTo>
                    <a:pt x="61768" y="343855"/>
                  </a:lnTo>
                  <a:lnTo>
                    <a:pt x="64915" y="343068"/>
                  </a:lnTo>
                  <a:lnTo>
                    <a:pt x="67669" y="341101"/>
                  </a:lnTo>
                  <a:lnTo>
                    <a:pt x="70030" y="339527"/>
                  </a:lnTo>
                  <a:lnTo>
                    <a:pt x="87734" y="346215"/>
                  </a:lnTo>
                  <a:lnTo>
                    <a:pt x="87734" y="348576"/>
                  </a:lnTo>
                  <a:lnTo>
                    <a:pt x="88521" y="354477"/>
                  </a:lnTo>
                  <a:lnTo>
                    <a:pt x="87734" y="357231"/>
                  </a:lnTo>
                  <a:lnTo>
                    <a:pt x="90488" y="359592"/>
                  </a:lnTo>
                  <a:lnTo>
                    <a:pt x="95997" y="354084"/>
                  </a:lnTo>
                  <a:lnTo>
                    <a:pt x="99143" y="351723"/>
                  </a:lnTo>
                  <a:lnTo>
                    <a:pt x="101504" y="351330"/>
                  </a:lnTo>
                  <a:lnTo>
                    <a:pt x="105438" y="352903"/>
                  </a:lnTo>
                  <a:lnTo>
                    <a:pt x="107799" y="354477"/>
                  </a:lnTo>
                  <a:lnTo>
                    <a:pt x="110159" y="354477"/>
                  </a:lnTo>
                  <a:lnTo>
                    <a:pt x="142420" y="349363"/>
                  </a:lnTo>
                  <a:lnTo>
                    <a:pt x="142420" y="352510"/>
                  </a:lnTo>
                  <a:lnTo>
                    <a:pt x="141241" y="355264"/>
                  </a:lnTo>
                  <a:lnTo>
                    <a:pt x="144387" y="356444"/>
                  </a:lnTo>
                  <a:lnTo>
                    <a:pt x="147142" y="356444"/>
                  </a:lnTo>
                  <a:lnTo>
                    <a:pt x="150289" y="354871"/>
                  </a:lnTo>
                  <a:lnTo>
                    <a:pt x="153043" y="353297"/>
                  </a:lnTo>
                  <a:lnTo>
                    <a:pt x="155797" y="350543"/>
                  </a:lnTo>
                  <a:lnTo>
                    <a:pt x="156584" y="347789"/>
                  </a:lnTo>
                  <a:lnTo>
                    <a:pt x="156584" y="350149"/>
                  </a:lnTo>
                  <a:lnTo>
                    <a:pt x="156584" y="352903"/>
                  </a:lnTo>
                  <a:lnTo>
                    <a:pt x="159732" y="353297"/>
                  </a:lnTo>
                  <a:lnTo>
                    <a:pt x="162092" y="350543"/>
                  </a:lnTo>
                  <a:lnTo>
                    <a:pt x="163666" y="348182"/>
                  </a:lnTo>
                  <a:lnTo>
                    <a:pt x="162485" y="350936"/>
                  </a:lnTo>
                  <a:lnTo>
                    <a:pt x="160912" y="354084"/>
                  </a:lnTo>
                  <a:lnTo>
                    <a:pt x="162485" y="355658"/>
                  </a:lnTo>
                  <a:lnTo>
                    <a:pt x="165239" y="356838"/>
                  </a:lnTo>
                  <a:lnTo>
                    <a:pt x="167600" y="354084"/>
                  </a:lnTo>
                  <a:lnTo>
                    <a:pt x="169567" y="352510"/>
                  </a:lnTo>
                  <a:lnTo>
                    <a:pt x="168781" y="355264"/>
                  </a:lnTo>
                  <a:lnTo>
                    <a:pt x="168781" y="358018"/>
                  </a:lnTo>
                  <a:lnTo>
                    <a:pt x="169960" y="361166"/>
                  </a:lnTo>
                  <a:lnTo>
                    <a:pt x="171141" y="363919"/>
                  </a:lnTo>
                  <a:lnTo>
                    <a:pt x="170748" y="367067"/>
                  </a:lnTo>
                  <a:lnTo>
                    <a:pt x="170748" y="369821"/>
                  </a:lnTo>
                  <a:lnTo>
                    <a:pt x="170748" y="372968"/>
                  </a:lnTo>
                  <a:lnTo>
                    <a:pt x="171141" y="375722"/>
                  </a:lnTo>
                  <a:lnTo>
                    <a:pt x="170748" y="378870"/>
                  </a:lnTo>
                  <a:lnTo>
                    <a:pt x="173501" y="380443"/>
                  </a:lnTo>
                  <a:lnTo>
                    <a:pt x="176255" y="378870"/>
                  </a:lnTo>
                  <a:lnTo>
                    <a:pt x="179009" y="376903"/>
                  </a:lnTo>
                  <a:lnTo>
                    <a:pt x="181763" y="374935"/>
                  </a:lnTo>
                  <a:lnTo>
                    <a:pt x="184910" y="373755"/>
                  </a:lnTo>
                  <a:lnTo>
                    <a:pt x="187664" y="372575"/>
                  </a:lnTo>
                  <a:lnTo>
                    <a:pt x="190812" y="371001"/>
                  </a:lnTo>
                  <a:lnTo>
                    <a:pt x="193566" y="369821"/>
                  </a:lnTo>
                  <a:lnTo>
                    <a:pt x="196713" y="3686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74" name="Freeform: Shape 3868">
              <a:extLst>
                <a:ext uri="{FF2B5EF4-FFF2-40B4-BE49-F238E27FC236}">
                  <a16:creationId xmlns:a16="http://schemas.microsoft.com/office/drawing/2014/main" id="{F8408661-5956-47F1-8F1F-2DD2DC24BAC9}"/>
                </a:ext>
              </a:extLst>
            </p:cNvPr>
            <p:cNvSpPr/>
            <p:nvPr/>
          </p:nvSpPr>
          <p:spPr>
            <a:xfrm>
              <a:off x="9870140" y="3736308"/>
              <a:ext cx="15737" cy="15737"/>
            </a:xfrm>
            <a:custGeom>
              <a:avLst/>
              <a:gdLst>
                <a:gd name="connsiteX0" fmla="*/ 14557 w 15737"/>
                <a:gd name="connsiteY0" fmla="*/ 18884 h 15737"/>
                <a:gd name="connsiteX1" fmla="*/ 17310 w 15737"/>
                <a:gd name="connsiteY1" fmla="*/ 16524 h 15737"/>
                <a:gd name="connsiteX2" fmla="*/ 16130 w 15737"/>
                <a:gd name="connsiteY2" fmla="*/ 13376 h 15737"/>
                <a:gd name="connsiteX3" fmla="*/ 12983 w 15737"/>
                <a:gd name="connsiteY3" fmla="*/ 13376 h 15737"/>
                <a:gd name="connsiteX4" fmla="*/ 10229 w 15737"/>
                <a:gd name="connsiteY4" fmla="*/ 11409 h 15737"/>
                <a:gd name="connsiteX5" fmla="*/ 9442 w 15737"/>
                <a:gd name="connsiteY5" fmla="*/ 8655 h 15737"/>
                <a:gd name="connsiteX6" fmla="*/ 11409 w 15737"/>
                <a:gd name="connsiteY6" fmla="*/ 5508 h 15737"/>
                <a:gd name="connsiteX7" fmla="*/ 9442 w 15737"/>
                <a:gd name="connsiteY7" fmla="*/ 2754 h 15737"/>
                <a:gd name="connsiteX8" fmla="*/ 7082 w 15737"/>
                <a:gd name="connsiteY8" fmla="*/ 0 h 15737"/>
                <a:gd name="connsiteX9" fmla="*/ 6294 w 15737"/>
                <a:gd name="connsiteY9" fmla="*/ 787 h 15737"/>
                <a:gd name="connsiteX10" fmla="*/ 3934 w 15737"/>
                <a:gd name="connsiteY10" fmla="*/ 3541 h 15737"/>
                <a:gd name="connsiteX11" fmla="*/ 1180 w 15737"/>
                <a:gd name="connsiteY11" fmla="*/ 787 h 15737"/>
                <a:gd name="connsiteX12" fmla="*/ 393 w 15737"/>
                <a:gd name="connsiteY12" fmla="*/ 3541 h 15737"/>
                <a:gd name="connsiteX13" fmla="*/ 0 w 15737"/>
                <a:gd name="connsiteY13" fmla="*/ 6688 h 15737"/>
                <a:gd name="connsiteX14" fmla="*/ 1967 w 15737"/>
                <a:gd name="connsiteY14" fmla="*/ 9442 h 15737"/>
                <a:gd name="connsiteX15" fmla="*/ 5115 w 15737"/>
                <a:gd name="connsiteY15" fmla="*/ 11409 h 15737"/>
                <a:gd name="connsiteX16" fmla="*/ 3934 w 15737"/>
                <a:gd name="connsiteY16" fmla="*/ 14163 h 15737"/>
                <a:gd name="connsiteX17" fmla="*/ 4721 w 15737"/>
                <a:gd name="connsiteY17" fmla="*/ 16917 h 15737"/>
                <a:gd name="connsiteX18" fmla="*/ 7475 w 15737"/>
                <a:gd name="connsiteY18" fmla="*/ 16130 h 15737"/>
                <a:gd name="connsiteX19" fmla="*/ 10229 w 15737"/>
                <a:gd name="connsiteY19" fmla="*/ 15737 h 15737"/>
                <a:gd name="connsiteX20" fmla="*/ 11803 w 15737"/>
                <a:gd name="connsiteY20" fmla="*/ 18491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737" h="15737">
                  <a:moveTo>
                    <a:pt x="14557" y="18884"/>
                  </a:moveTo>
                  <a:lnTo>
                    <a:pt x="17310" y="16524"/>
                  </a:lnTo>
                  <a:lnTo>
                    <a:pt x="16130" y="13376"/>
                  </a:lnTo>
                  <a:lnTo>
                    <a:pt x="12983" y="13376"/>
                  </a:lnTo>
                  <a:lnTo>
                    <a:pt x="10229" y="11409"/>
                  </a:lnTo>
                  <a:lnTo>
                    <a:pt x="9442" y="8655"/>
                  </a:lnTo>
                  <a:lnTo>
                    <a:pt x="11409" y="5508"/>
                  </a:lnTo>
                  <a:lnTo>
                    <a:pt x="9442" y="2754"/>
                  </a:lnTo>
                  <a:lnTo>
                    <a:pt x="7082" y="0"/>
                  </a:lnTo>
                  <a:lnTo>
                    <a:pt x="6294" y="787"/>
                  </a:lnTo>
                  <a:lnTo>
                    <a:pt x="3934" y="3541"/>
                  </a:lnTo>
                  <a:lnTo>
                    <a:pt x="1180" y="787"/>
                  </a:lnTo>
                  <a:lnTo>
                    <a:pt x="393" y="3541"/>
                  </a:lnTo>
                  <a:lnTo>
                    <a:pt x="0" y="6688"/>
                  </a:lnTo>
                  <a:lnTo>
                    <a:pt x="1967" y="9442"/>
                  </a:lnTo>
                  <a:lnTo>
                    <a:pt x="5115" y="11409"/>
                  </a:lnTo>
                  <a:lnTo>
                    <a:pt x="3934" y="14163"/>
                  </a:lnTo>
                  <a:lnTo>
                    <a:pt x="4721" y="16917"/>
                  </a:lnTo>
                  <a:lnTo>
                    <a:pt x="7475" y="16130"/>
                  </a:lnTo>
                  <a:lnTo>
                    <a:pt x="10229" y="15737"/>
                  </a:lnTo>
                  <a:lnTo>
                    <a:pt x="11803" y="1849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75" name="Freeform: Shape 3869">
              <a:extLst>
                <a:ext uri="{FF2B5EF4-FFF2-40B4-BE49-F238E27FC236}">
                  <a16:creationId xmlns:a16="http://schemas.microsoft.com/office/drawing/2014/main" id="{D8A1607C-CC8D-4A4A-8BE6-B72117166FFE}"/>
                </a:ext>
              </a:extLst>
            </p:cNvPr>
            <p:cNvSpPr/>
            <p:nvPr/>
          </p:nvSpPr>
          <p:spPr>
            <a:xfrm>
              <a:off x="9866206" y="3746537"/>
              <a:ext cx="3934" cy="3934"/>
            </a:xfrm>
            <a:custGeom>
              <a:avLst/>
              <a:gdLst>
                <a:gd name="connsiteX0" fmla="*/ 4327 w 3934"/>
                <a:gd name="connsiteY0" fmla="*/ 5901 h 3934"/>
                <a:gd name="connsiteX1" fmla="*/ 3540 w 3934"/>
                <a:gd name="connsiteY1" fmla="*/ 2754 h 3934"/>
                <a:gd name="connsiteX2" fmla="*/ 1967 w 3934"/>
                <a:gd name="connsiteY2" fmla="*/ 0 h 3934"/>
                <a:gd name="connsiteX3" fmla="*/ 787 w 3934"/>
                <a:gd name="connsiteY3" fmla="*/ 0 h 3934"/>
                <a:gd name="connsiteX4" fmla="*/ 0 w 3934"/>
                <a:gd name="connsiteY4" fmla="*/ 3147 h 3934"/>
                <a:gd name="connsiteX5" fmla="*/ 1180 w 3934"/>
                <a:gd name="connsiteY5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4327" y="5901"/>
                  </a:moveTo>
                  <a:lnTo>
                    <a:pt x="3540" y="2754"/>
                  </a:lnTo>
                  <a:lnTo>
                    <a:pt x="1967" y="0"/>
                  </a:lnTo>
                  <a:lnTo>
                    <a:pt x="787" y="0"/>
                  </a:lnTo>
                  <a:lnTo>
                    <a:pt x="0" y="3147"/>
                  </a:lnTo>
                  <a:lnTo>
                    <a:pt x="1180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76" name="Freeform: Shape 3870">
              <a:extLst>
                <a:ext uri="{FF2B5EF4-FFF2-40B4-BE49-F238E27FC236}">
                  <a16:creationId xmlns:a16="http://schemas.microsoft.com/office/drawing/2014/main" id="{6AED6862-6B38-4C88-B2F9-06385B81EE20}"/>
                </a:ext>
              </a:extLst>
            </p:cNvPr>
            <p:cNvSpPr/>
            <p:nvPr/>
          </p:nvSpPr>
          <p:spPr>
            <a:xfrm>
              <a:off x="9702147" y="3739455"/>
              <a:ext cx="3934" cy="3934"/>
            </a:xfrm>
            <a:custGeom>
              <a:avLst/>
              <a:gdLst>
                <a:gd name="connsiteX0" fmla="*/ 1180 w 3934"/>
                <a:gd name="connsiteY0" fmla="*/ 0 h 0"/>
                <a:gd name="connsiteX1" fmla="*/ 0 w 3934"/>
                <a:gd name="connsiteY1" fmla="*/ 3147 h 0"/>
                <a:gd name="connsiteX2" fmla="*/ 3147 w 3934"/>
                <a:gd name="connsiteY2" fmla="*/ 3541 h 0"/>
                <a:gd name="connsiteX3" fmla="*/ 5901 w 3934"/>
                <a:gd name="connsiteY3" fmla="*/ 1967 h 0"/>
                <a:gd name="connsiteX4" fmla="*/ 3934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1180" y="0"/>
                  </a:moveTo>
                  <a:lnTo>
                    <a:pt x="0" y="3147"/>
                  </a:lnTo>
                  <a:lnTo>
                    <a:pt x="3147" y="3541"/>
                  </a:lnTo>
                  <a:lnTo>
                    <a:pt x="5901" y="1967"/>
                  </a:lnTo>
                  <a:lnTo>
                    <a:pt x="393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77" name="Freeform: Shape 3871">
              <a:extLst>
                <a:ext uri="{FF2B5EF4-FFF2-40B4-BE49-F238E27FC236}">
                  <a16:creationId xmlns:a16="http://schemas.microsoft.com/office/drawing/2014/main" id="{96DEAA24-E6D6-4A59-BC62-ADFBC68A7CA2}"/>
                </a:ext>
              </a:extLst>
            </p:cNvPr>
            <p:cNvSpPr/>
            <p:nvPr/>
          </p:nvSpPr>
          <p:spPr>
            <a:xfrm>
              <a:off x="9864239" y="3734341"/>
              <a:ext cx="3934" cy="7869"/>
            </a:xfrm>
            <a:custGeom>
              <a:avLst/>
              <a:gdLst>
                <a:gd name="connsiteX0" fmla="*/ 787 w 3934"/>
                <a:gd name="connsiteY0" fmla="*/ 393 h 7868"/>
                <a:gd name="connsiteX1" fmla="*/ 393 w 3934"/>
                <a:gd name="connsiteY1" fmla="*/ 3147 h 7868"/>
                <a:gd name="connsiteX2" fmla="*/ 0 w 3934"/>
                <a:gd name="connsiteY2" fmla="*/ 6295 h 7868"/>
                <a:gd name="connsiteX3" fmla="*/ 0 w 3934"/>
                <a:gd name="connsiteY3" fmla="*/ 9049 h 7868"/>
                <a:gd name="connsiteX4" fmla="*/ 2754 w 3934"/>
                <a:gd name="connsiteY4" fmla="*/ 9049 h 7868"/>
                <a:gd name="connsiteX5" fmla="*/ 4721 w 3934"/>
                <a:gd name="connsiteY5" fmla="*/ 6295 h 7868"/>
                <a:gd name="connsiteX6" fmla="*/ 4721 w 3934"/>
                <a:gd name="connsiteY6" fmla="*/ 3147 h 7868"/>
                <a:gd name="connsiteX7" fmla="*/ 3934 w 3934"/>
                <a:gd name="connsiteY7" fmla="*/ 393 h 7868"/>
                <a:gd name="connsiteX8" fmla="*/ 3934 w 3934"/>
                <a:gd name="connsiteY8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787" y="393"/>
                  </a:moveTo>
                  <a:lnTo>
                    <a:pt x="393" y="3147"/>
                  </a:lnTo>
                  <a:lnTo>
                    <a:pt x="0" y="6295"/>
                  </a:lnTo>
                  <a:lnTo>
                    <a:pt x="0" y="9049"/>
                  </a:lnTo>
                  <a:lnTo>
                    <a:pt x="2754" y="9049"/>
                  </a:lnTo>
                  <a:lnTo>
                    <a:pt x="4721" y="6295"/>
                  </a:lnTo>
                  <a:lnTo>
                    <a:pt x="4721" y="3147"/>
                  </a:lnTo>
                  <a:lnTo>
                    <a:pt x="3934" y="393"/>
                  </a:lnTo>
                  <a:lnTo>
                    <a:pt x="393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78" name="Freeform: Shape 3872">
              <a:extLst>
                <a:ext uri="{FF2B5EF4-FFF2-40B4-BE49-F238E27FC236}">
                  <a16:creationId xmlns:a16="http://schemas.microsoft.com/office/drawing/2014/main" id="{B12A6201-135E-44B8-A47C-7C350BDCA7DA}"/>
                </a:ext>
              </a:extLst>
            </p:cNvPr>
            <p:cNvSpPr/>
            <p:nvPr/>
          </p:nvSpPr>
          <p:spPr>
            <a:xfrm>
              <a:off x="9706081" y="3736308"/>
              <a:ext cx="3934" cy="3934"/>
            </a:xfrm>
            <a:custGeom>
              <a:avLst/>
              <a:gdLst>
                <a:gd name="connsiteX0" fmla="*/ 6294 w 3934"/>
                <a:gd name="connsiteY0" fmla="*/ 2360 h 0"/>
                <a:gd name="connsiteX1" fmla="*/ 3147 w 3934"/>
                <a:gd name="connsiteY1" fmla="*/ 0 h 0"/>
                <a:gd name="connsiteX2" fmla="*/ 0 w 3934"/>
                <a:gd name="connsiteY2" fmla="*/ 2360 h 0"/>
                <a:gd name="connsiteX3" fmla="*/ 3147 w 3934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4" y="2360"/>
                  </a:moveTo>
                  <a:lnTo>
                    <a:pt x="3147" y="0"/>
                  </a:lnTo>
                  <a:lnTo>
                    <a:pt x="0" y="2360"/>
                  </a:lnTo>
                  <a:lnTo>
                    <a:pt x="314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79" name="Freeform: Shape 3873">
              <a:extLst>
                <a:ext uri="{FF2B5EF4-FFF2-40B4-BE49-F238E27FC236}">
                  <a16:creationId xmlns:a16="http://schemas.microsoft.com/office/drawing/2014/main" id="{C0186E10-9F7C-426C-9F66-4A8EBAABCAB0}"/>
                </a:ext>
              </a:extLst>
            </p:cNvPr>
            <p:cNvSpPr/>
            <p:nvPr/>
          </p:nvSpPr>
          <p:spPr>
            <a:xfrm>
              <a:off x="9718671" y="3734341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80" name="Freeform: Shape 3874">
              <a:extLst>
                <a:ext uri="{FF2B5EF4-FFF2-40B4-BE49-F238E27FC236}">
                  <a16:creationId xmlns:a16="http://schemas.microsoft.com/office/drawing/2014/main" id="{771E3A7E-ABCB-44E2-96C1-D70FAEE8A4C9}"/>
                </a:ext>
              </a:extLst>
            </p:cNvPr>
            <p:cNvSpPr/>
            <p:nvPr/>
          </p:nvSpPr>
          <p:spPr>
            <a:xfrm>
              <a:off x="9931514" y="3725292"/>
              <a:ext cx="3934" cy="3934"/>
            </a:xfrm>
            <a:custGeom>
              <a:avLst/>
              <a:gdLst>
                <a:gd name="connsiteX0" fmla="*/ 394 w 3934"/>
                <a:gd name="connsiteY0" fmla="*/ 0 h 3934"/>
                <a:gd name="connsiteX1" fmla="*/ 0 w 3934"/>
                <a:gd name="connsiteY1" fmla="*/ 0 h 3934"/>
                <a:gd name="connsiteX2" fmla="*/ 788 w 3934"/>
                <a:gd name="connsiteY2" fmla="*/ 1574 h 3934"/>
                <a:gd name="connsiteX3" fmla="*/ 3541 w 3934"/>
                <a:gd name="connsiteY3" fmla="*/ 4328 h 3934"/>
                <a:gd name="connsiteX4" fmla="*/ 6295 w 3934"/>
                <a:gd name="connsiteY4" fmla="*/ 5901 h 3934"/>
                <a:gd name="connsiteX5" fmla="*/ 3541 w 3934"/>
                <a:gd name="connsiteY5" fmla="*/ 314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94" y="0"/>
                  </a:moveTo>
                  <a:lnTo>
                    <a:pt x="0" y="0"/>
                  </a:lnTo>
                  <a:lnTo>
                    <a:pt x="788" y="1574"/>
                  </a:lnTo>
                  <a:lnTo>
                    <a:pt x="3541" y="4328"/>
                  </a:lnTo>
                  <a:lnTo>
                    <a:pt x="6295" y="5901"/>
                  </a:lnTo>
                  <a:lnTo>
                    <a:pt x="3541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81" name="Freeform: Shape 3875">
              <a:extLst>
                <a:ext uri="{FF2B5EF4-FFF2-40B4-BE49-F238E27FC236}">
                  <a16:creationId xmlns:a16="http://schemas.microsoft.com/office/drawing/2014/main" id="{A8FE882F-BD0D-450D-AB54-5F0631171B7B}"/>
                </a:ext>
              </a:extLst>
            </p:cNvPr>
            <p:cNvSpPr/>
            <p:nvPr/>
          </p:nvSpPr>
          <p:spPr>
            <a:xfrm>
              <a:off x="9811519" y="3786273"/>
              <a:ext cx="27540" cy="3934"/>
            </a:xfrm>
            <a:custGeom>
              <a:avLst/>
              <a:gdLst>
                <a:gd name="connsiteX0" fmla="*/ 24786 w 27539"/>
                <a:gd name="connsiteY0" fmla="*/ 3148 h 3934"/>
                <a:gd name="connsiteX1" fmla="*/ 27540 w 27539"/>
                <a:gd name="connsiteY1" fmla="*/ 1180 h 3934"/>
                <a:gd name="connsiteX2" fmla="*/ 24786 w 27539"/>
                <a:gd name="connsiteY2" fmla="*/ 787 h 3934"/>
                <a:gd name="connsiteX3" fmla="*/ 22032 w 27539"/>
                <a:gd name="connsiteY3" fmla="*/ 787 h 3934"/>
                <a:gd name="connsiteX4" fmla="*/ 18885 w 27539"/>
                <a:gd name="connsiteY4" fmla="*/ 394 h 3934"/>
                <a:gd name="connsiteX5" fmla="*/ 16131 w 27539"/>
                <a:gd name="connsiteY5" fmla="*/ 394 h 3934"/>
                <a:gd name="connsiteX6" fmla="*/ 12983 w 27539"/>
                <a:gd name="connsiteY6" fmla="*/ 787 h 3934"/>
                <a:gd name="connsiteX7" fmla="*/ 9836 w 27539"/>
                <a:gd name="connsiteY7" fmla="*/ 1180 h 3934"/>
                <a:gd name="connsiteX8" fmla="*/ 7082 w 27539"/>
                <a:gd name="connsiteY8" fmla="*/ 787 h 3934"/>
                <a:gd name="connsiteX9" fmla="*/ 4328 w 27539"/>
                <a:gd name="connsiteY9" fmla="*/ 787 h 3934"/>
                <a:gd name="connsiteX10" fmla="*/ 1180 w 27539"/>
                <a:gd name="connsiteY10" fmla="*/ 0 h 3934"/>
                <a:gd name="connsiteX11" fmla="*/ 0 w 27539"/>
                <a:gd name="connsiteY11" fmla="*/ 394 h 3934"/>
                <a:gd name="connsiteX12" fmla="*/ 1180 w 27539"/>
                <a:gd name="connsiteY12" fmla="*/ 3148 h 3934"/>
                <a:gd name="connsiteX13" fmla="*/ 3934 w 27539"/>
                <a:gd name="connsiteY13" fmla="*/ 5115 h 3934"/>
                <a:gd name="connsiteX14" fmla="*/ 7082 w 27539"/>
                <a:gd name="connsiteY14" fmla="*/ 4721 h 3934"/>
                <a:gd name="connsiteX15" fmla="*/ 12983 w 27539"/>
                <a:gd name="connsiteY15" fmla="*/ 4721 h 3934"/>
                <a:gd name="connsiteX16" fmla="*/ 15737 w 27539"/>
                <a:gd name="connsiteY16" fmla="*/ 4721 h 3934"/>
                <a:gd name="connsiteX17" fmla="*/ 18885 w 27539"/>
                <a:gd name="connsiteY17" fmla="*/ 4328 h 3934"/>
                <a:gd name="connsiteX18" fmla="*/ 21638 w 27539"/>
                <a:gd name="connsiteY18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539" h="3934">
                  <a:moveTo>
                    <a:pt x="24786" y="3148"/>
                  </a:moveTo>
                  <a:lnTo>
                    <a:pt x="27540" y="1180"/>
                  </a:lnTo>
                  <a:lnTo>
                    <a:pt x="24786" y="787"/>
                  </a:lnTo>
                  <a:lnTo>
                    <a:pt x="22032" y="787"/>
                  </a:lnTo>
                  <a:lnTo>
                    <a:pt x="18885" y="394"/>
                  </a:lnTo>
                  <a:lnTo>
                    <a:pt x="16131" y="394"/>
                  </a:lnTo>
                  <a:lnTo>
                    <a:pt x="12983" y="787"/>
                  </a:lnTo>
                  <a:lnTo>
                    <a:pt x="9836" y="1180"/>
                  </a:lnTo>
                  <a:lnTo>
                    <a:pt x="7082" y="787"/>
                  </a:lnTo>
                  <a:lnTo>
                    <a:pt x="4328" y="787"/>
                  </a:lnTo>
                  <a:lnTo>
                    <a:pt x="1180" y="0"/>
                  </a:lnTo>
                  <a:lnTo>
                    <a:pt x="0" y="394"/>
                  </a:lnTo>
                  <a:lnTo>
                    <a:pt x="1180" y="3148"/>
                  </a:lnTo>
                  <a:lnTo>
                    <a:pt x="3934" y="5115"/>
                  </a:lnTo>
                  <a:lnTo>
                    <a:pt x="7082" y="4721"/>
                  </a:lnTo>
                  <a:lnTo>
                    <a:pt x="12983" y="4721"/>
                  </a:lnTo>
                  <a:lnTo>
                    <a:pt x="15737" y="4721"/>
                  </a:lnTo>
                  <a:lnTo>
                    <a:pt x="18885" y="4328"/>
                  </a:lnTo>
                  <a:lnTo>
                    <a:pt x="21638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82" name="Freeform: Shape 3876">
              <a:extLst>
                <a:ext uri="{FF2B5EF4-FFF2-40B4-BE49-F238E27FC236}">
                  <a16:creationId xmlns:a16="http://schemas.microsoft.com/office/drawing/2014/main" id="{4BB2EA00-48E0-430B-BDCD-4B1EB0273270}"/>
                </a:ext>
              </a:extLst>
            </p:cNvPr>
            <p:cNvSpPr/>
            <p:nvPr/>
          </p:nvSpPr>
          <p:spPr>
            <a:xfrm>
              <a:off x="9749751" y="3783126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1967 w 0"/>
                <a:gd name="connsiteY1" fmla="*/ 0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1967" y="0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83" name="Freeform: Shape 3877">
              <a:extLst>
                <a:ext uri="{FF2B5EF4-FFF2-40B4-BE49-F238E27FC236}">
                  <a16:creationId xmlns:a16="http://schemas.microsoft.com/office/drawing/2014/main" id="{4078D1E9-D0AC-43C3-8A04-4E46B20CF404}"/>
                </a:ext>
              </a:extLst>
            </p:cNvPr>
            <p:cNvSpPr/>
            <p:nvPr/>
          </p:nvSpPr>
          <p:spPr>
            <a:xfrm>
              <a:off x="9872107" y="3770929"/>
              <a:ext cx="19671" cy="11803"/>
            </a:xfrm>
            <a:custGeom>
              <a:avLst/>
              <a:gdLst>
                <a:gd name="connsiteX0" fmla="*/ 17310 w 19671"/>
                <a:gd name="connsiteY0" fmla="*/ 12196 h 11802"/>
                <a:gd name="connsiteX1" fmla="*/ 20064 w 19671"/>
                <a:gd name="connsiteY1" fmla="*/ 12983 h 11802"/>
                <a:gd name="connsiteX2" fmla="*/ 22819 w 19671"/>
                <a:gd name="connsiteY2" fmla="*/ 11803 h 11802"/>
                <a:gd name="connsiteX3" fmla="*/ 22819 w 19671"/>
                <a:gd name="connsiteY3" fmla="*/ 9049 h 11802"/>
                <a:gd name="connsiteX4" fmla="*/ 20064 w 19671"/>
                <a:gd name="connsiteY4" fmla="*/ 7475 h 11802"/>
                <a:gd name="connsiteX5" fmla="*/ 16918 w 19671"/>
                <a:gd name="connsiteY5" fmla="*/ 4721 h 11802"/>
                <a:gd name="connsiteX6" fmla="*/ 14163 w 19671"/>
                <a:gd name="connsiteY6" fmla="*/ 3541 h 11802"/>
                <a:gd name="connsiteX7" fmla="*/ 11016 w 19671"/>
                <a:gd name="connsiteY7" fmla="*/ 1180 h 11802"/>
                <a:gd name="connsiteX8" fmla="*/ 8261 w 19671"/>
                <a:gd name="connsiteY8" fmla="*/ 0 h 11802"/>
                <a:gd name="connsiteX9" fmla="*/ 5115 w 19671"/>
                <a:gd name="connsiteY9" fmla="*/ 1574 h 11802"/>
                <a:gd name="connsiteX10" fmla="*/ 2360 w 19671"/>
                <a:gd name="connsiteY10" fmla="*/ 3541 h 11802"/>
                <a:gd name="connsiteX11" fmla="*/ 1180 w 19671"/>
                <a:gd name="connsiteY11" fmla="*/ 4721 h 11802"/>
                <a:gd name="connsiteX12" fmla="*/ 0 w 19671"/>
                <a:gd name="connsiteY12" fmla="*/ 7475 h 11802"/>
                <a:gd name="connsiteX13" fmla="*/ 0 w 19671"/>
                <a:gd name="connsiteY13" fmla="*/ 10229 h 11802"/>
                <a:gd name="connsiteX14" fmla="*/ 2754 w 19671"/>
                <a:gd name="connsiteY14" fmla="*/ 12983 h 11802"/>
                <a:gd name="connsiteX15" fmla="*/ 5508 w 19671"/>
                <a:gd name="connsiteY15" fmla="*/ 13770 h 11802"/>
                <a:gd name="connsiteX16" fmla="*/ 8261 w 19671"/>
                <a:gd name="connsiteY16" fmla="*/ 12983 h 11802"/>
                <a:gd name="connsiteX17" fmla="*/ 11016 w 19671"/>
                <a:gd name="connsiteY17" fmla="*/ 12196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671" h="11802">
                  <a:moveTo>
                    <a:pt x="17310" y="12196"/>
                  </a:moveTo>
                  <a:lnTo>
                    <a:pt x="20064" y="12983"/>
                  </a:lnTo>
                  <a:lnTo>
                    <a:pt x="22819" y="11803"/>
                  </a:lnTo>
                  <a:lnTo>
                    <a:pt x="22819" y="9049"/>
                  </a:lnTo>
                  <a:lnTo>
                    <a:pt x="20064" y="7475"/>
                  </a:lnTo>
                  <a:lnTo>
                    <a:pt x="16918" y="4721"/>
                  </a:lnTo>
                  <a:lnTo>
                    <a:pt x="14163" y="3541"/>
                  </a:lnTo>
                  <a:lnTo>
                    <a:pt x="11016" y="1180"/>
                  </a:lnTo>
                  <a:lnTo>
                    <a:pt x="8261" y="0"/>
                  </a:lnTo>
                  <a:lnTo>
                    <a:pt x="5115" y="1574"/>
                  </a:lnTo>
                  <a:lnTo>
                    <a:pt x="2360" y="3541"/>
                  </a:lnTo>
                  <a:lnTo>
                    <a:pt x="1180" y="4721"/>
                  </a:lnTo>
                  <a:lnTo>
                    <a:pt x="0" y="7475"/>
                  </a:lnTo>
                  <a:lnTo>
                    <a:pt x="0" y="10229"/>
                  </a:lnTo>
                  <a:lnTo>
                    <a:pt x="2754" y="12983"/>
                  </a:lnTo>
                  <a:lnTo>
                    <a:pt x="5508" y="13770"/>
                  </a:lnTo>
                  <a:lnTo>
                    <a:pt x="8261" y="12983"/>
                  </a:lnTo>
                  <a:lnTo>
                    <a:pt x="11016" y="1219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84" name="Freeform: Shape 3878">
              <a:extLst>
                <a:ext uri="{FF2B5EF4-FFF2-40B4-BE49-F238E27FC236}">
                  <a16:creationId xmlns:a16="http://schemas.microsoft.com/office/drawing/2014/main" id="{C8DAE7C6-7FC6-4EC7-BEBD-3EC9D47124C2}"/>
                </a:ext>
              </a:extLst>
            </p:cNvPr>
            <p:cNvSpPr/>
            <p:nvPr/>
          </p:nvSpPr>
          <p:spPr>
            <a:xfrm>
              <a:off x="9874861" y="3765815"/>
              <a:ext cx="3934" cy="3934"/>
            </a:xfrm>
            <a:custGeom>
              <a:avLst/>
              <a:gdLst>
                <a:gd name="connsiteX0" fmla="*/ 2754 w 3934"/>
                <a:gd name="connsiteY0" fmla="*/ 0 h 0"/>
                <a:gd name="connsiteX1" fmla="*/ 0 w 3934"/>
                <a:gd name="connsiteY1" fmla="*/ 1967 h 0"/>
                <a:gd name="connsiteX2" fmla="*/ 3148 w 3934"/>
                <a:gd name="connsiteY2" fmla="*/ 1967 h 0"/>
                <a:gd name="connsiteX3" fmla="*/ 5901 w 3934"/>
                <a:gd name="connsiteY3" fmla="*/ 1180 h 0"/>
                <a:gd name="connsiteX4" fmla="*/ 3148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2754" y="0"/>
                  </a:moveTo>
                  <a:lnTo>
                    <a:pt x="0" y="1967"/>
                  </a:lnTo>
                  <a:lnTo>
                    <a:pt x="3148" y="1967"/>
                  </a:lnTo>
                  <a:lnTo>
                    <a:pt x="5901" y="1180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85" name="Freeform: Shape 3879">
              <a:extLst>
                <a:ext uri="{FF2B5EF4-FFF2-40B4-BE49-F238E27FC236}">
                  <a16:creationId xmlns:a16="http://schemas.microsoft.com/office/drawing/2014/main" id="{E95B847B-001C-4F21-A4F2-C0E9C53F1C93}"/>
                </a:ext>
              </a:extLst>
            </p:cNvPr>
            <p:cNvSpPr/>
            <p:nvPr/>
          </p:nvSpPr>
          <p:spPr>
            <a:xfrm>
              <a:off x="9944104" y="3764634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3147 w 0"/>
                <a:gd name="connsiteY1" fmla="*/ 0 h 0"/>
                <a:gd name="connsiteX2" fmla="*/ 0 w 0"/>
                <a:gd name="connsiteY2" fmla="*/ 2361 h 0"/>
                <a:gd name="connsiteX3" fmla="*/ 3147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3147" y="0"/>
                  </a:lnTo>
                  <a:lnTo>
                    <a:pt x="0" y="2361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86" name="Freeform: Shape 3880">
              <a:extLst>
                <a:ext uri="{FF2B5EF4-FFF2-40B4-BE49-F238E27FC236}">
                  <a16:creationId xmlns:a16="http://schemas.microsoft.com/office/drawing/2014/main" id="{FE954FD7-379A-4DBF-A673-BC0E15BD6D0C}"/>
                </a:ext>
              </a:extLst>
            </p:cNvPr>
            <p:cNvSpPr/>
            <p:nvPr/>
          </p:nvSpPr>
          <p:spPr>
            <a:xfrm>
              <a:off x="9666739" y="3973150"/>
              <a:ext cx="3934" cy="3934"/>
            </a:xfrm>
            <a:custGeom>
              <a:avLst/>
              <a:gdLst>
                <a:gd name="connsiteX0" fmla="*/ 0 w 3934"/>
                <a:gd name="connsiteY0" fmla="*/ 1180 h 0"/>
                <a:gd name="connsiteX1" fmla="*/ 3147 w 3934"/>
                <a:gd name="connsiteY1" fmla="*/ 1180 h 0"/>
                <a:gd name="connsiteX2" fmla="*/ 5901 w 3934"/>
                <a:gd name="connsiteY2" fmla="*/ 394 h 0"/>
                <a:gd name="connsiteX3" fmla="*/ 3147 w 3934"/>
                <a:gd name="connsiteY3" fmla="*/ 394 h 0"/>
                <a:gd name="connsiteX4" fmla="*/ 0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180"/>
                  </a:moveTo>
                  <a:lnTo>
                    <a:pt x="3147" y="1180"/>
                  </a:lnTo>
                  <a:lnTo>
                    <a:pt x="5901" y="394"/>
                  </a:lnTo>
                  <a:lnTo>
                    <a:pt x="3147" y="39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87" name="Freeform: Shape 3881">
              <a:extLst>
                <a:ext uri="{FF2B5EF4-FFF2-40B4-BE49-F238E27FC236}">
                  <a16:creationId xmlns:a16="http://schemas.microsoft.com/office/drawing/2014/main" id="{2B8B5CC3-506C-44C1-9873-D0CB0D87BAF5}"/>
                </a:ext>
              </a:extLst>
            </p:cNvPr>
            <p:cNvSpPr/>
            <p:nvPr/>
          </p:nvSpPr>
          <p:spPr>
            <a:xfrm>
              <a:off x="9898860" y="3966069"/>
              <a:ext cx="3934" cy="3934"/>
            </a:xfrm>
            <a:custGeom>
              <a:avLst/>
              <a:gdLst>
                <a:gd name="connsiteX0" fmla="*/ 787 w 0"/>
                <a:gd name="connsiteY0" fmla="*/ 787 h 0"/>
                <a:gd name="connsiteX1" fmla="*/ 0 w 0"/>
                <a:gd name="connsiteY1" fmla="*/ 3541 h 0"/>
                <a:gd name="connsiteX2" fmla="*/ 2754 w 0"/>
                <a:gd name="connsiteY2" fmla="*/ 3147 h 0"/>
                <a:gd name="connsiteX3" fmla="*/ 1967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787" y="787"/>
                  </a:moveTo>
                  <a:lnTo>
                    <a:pt x="0" y="3541"/>
                  </a:lnTo>
                  <a:lnTo>
                    <a:pt x="2754" y="3147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88" name="Freeform: Shape 3882">
              <a:extLst>
                <a:ext uri="{FF2B5EF4-FFF2-40B4-BE49-F238E27FC236}">
                  <a16:creationId xmlns:a16="http://schemas.microsoft.com/office/drawing/2014/main" id="{C32E99B2-B532-4D23-9FA6-F6F6B15C64C8}"/>
                </a:ext>
              </a:extLst>
            </p:cNvPr>
            <p:cNvSpPr/>
            <p:nvPr/>
          </p:nvSpPr>
          <p:spPr>
            <a:xfrm>
              <a:off x="9661230" y="3964495"/>
              <a:ext cx="3934" cy="3934"/>
            </a:xfrm>
            <a:custGeom>
              <a:avLst/>
              <a:gdLst>
                <a:gd name="connsiteX0" fmla="*/ 787 w 0"/>
                <a:gd name="connsiteY0" fmla="*/ 4328 h 3934"/>
                <a:gd name="connsiteX1" fmla="*/ 3541 w 0"/>
                <a:gd name="connsiteY1" fmla="*/ 1967 h 3934"/>
                <a:gd name="connsiteX2" fmla="*/ 787 w 0"/>
                <a:gd name="connsiteY2" fmla="*/ 0 h 3934"/>
                <a:gd name="connsiteX3" fmla="*/ 0 w 0"/>
                <a:gd name="connsiteY3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787" y="4328"/>
                  </a:moveTo>
                  <a:lnTo>
                    <a:pt x="3541" y="1967"/>
                  </a:lnTo>
                  <a:lnTo>
                    <a:pt x="787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89" name="Freeform: Shape 3883">
              <a:extLst>
                <a:ext uri="{FF2B5EF4-FFF2-40B4-BE49-F238E27FC236}">
                  <a16:creationId xmlns:a16="http://schemas.microsoft.com/office/drawing/2014/main" id="{9D7D145D-589F-4996-A9DA-3EB8DF152FA1}"/>
                </a:ext>
              </a:extLst>
            </p:cNvPr>
            <p:cNvSpPr/>
            <p:nvPr/>
          </p:nvSpPr>
          <p:spPr>
            <a:xfrm>
              <a:off x="9656903" y="3922005"/>
              <a:ext cx="3934" cy="23606"/>
            </a:xfrm>
            <a:custGeom>
              <a:avLst/>
              <a:gdLst>
                <a:gd name="connsiteX0" fmla="*/ 1180 w 3934"/>
                <a:gd name="connsiteY0" fmla="*/ 23999 h 23605"/>
                <a:gd name="connsiteX1" fmla="*/ 1967 w 3934"/>
                <a:gd name="connsiteY1" fmla="*/ 20852 h 23605"/>
                <a:gd name="connsiteX2" fmla="*/ 2754 w 3934"/>
                <a:gd name="connsiteY2" fmla="*/ 17704 h 23605"/>
                <a:gd name="connsiteX3" fmla="*/ 2754 w 3934"/>
                <a:gd name="connsiteY3" fmla="*/ 14950 h 23605"/>
                <a:gd name="connsiteX4" fmla="*/ 3540 w 3934"/>
                <a:gd name="connsiteY4" fmla="*/ 12196 h 23605"/>
                <a:gd name="connsiteX5" fmla="*/ 3934 w 3934"/>
                <a:gd name="connsiteY5" fmla="*/ 9442 h 23605"/>
                <a:gd name="connsiteX6" fmla="*/ 3934 w 3934"/>
                <a:gd name="connsiteY6" fmla="*/ 6295 h 23605"/>
                <a:gd name="connsiteX7" fmla="*/ 3147 w 3934"/>
                <a:gd name="connsiteY7" fmla="*/ 3541 h 23605"/>
                <a:gd name="connsiteX8" fmla="*/ 2754 w 3934"/>
                <a:gd name="connsiteY8" fmla="*/ 787 h 23605"/>
                <a:gd name="connsiteX9" fmla="*/ 1967 w 3934"/>
                <a:gd name="connsiteY9" fmla="*/ 0 h 23605"/>
                <a:gd name="connsiteX10" fmla="*/ 1180 w 3934"/>
                <a:gd name="connsiteY10" fmla="*/ 2754 h 23605"/>
                <a:gd name="connsiteX11" fmla="*/ 787 w 3934"/>
                <a:gd name="connsiteY11" fmla="*/ 5901 h 23605"/>
                <a:gd name="connsiteX12" fmla="*/ 787 w 3934"/>
                <a:gd name="connsiteY12" fmla="*/ 8655 h 23605"/>
                <a:gd name="connsiteX13" fmla="*/ 787 w 3934"/>
                <a:gd name="connsiteY13" fmla="*/ 11803 h 23605"/>
                <a:gd name="connsiteX14" fmla="*/ 0 w 3934"/>
                <a:gd name="connsiteY14" fmla="*/ 14950 h 23605"/>
                <a:gd name="connsiteX15" fmla="*/ 787 w 3934"/>
                <a:gd name="connsiteY15" fmla="*/ 17704 h 23605"/>
                <a:gd name="connsiteX16" fmla="*/ 787 w 3934"/>
                <a:gd name="connsiteY16" fmla="*/ 20852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34" h="23605">
                  <a:moveTo>
                    <a:pt x="1180" y="23999"/>
                  </a:moveTo>
                  <a:lnTo>
                    <a:pt x="1967" y="20852"/>
                  </a:lnTo>
                  <a:lnTo>
                    <a:pt x="2754" y="17704"/>
                  </a:lnTo>
                  <a:lnTo>
                    <a:pt x="2754" y="14950"/>
                  </a:lnTo>
                  <a:lnTo>
                    <a:pt x="3540" y="12196"/>
                  </a:lnTo>
                  <a:lnTo>
                    <a:pt x="3934" y="9442"/>
                  </a:lnTo>
                  <a:lnTo>
                    <a:pt x="3934" y="6295"/>
                  </a:lnTo>
                  <a:lnTo>
                    <a:pt x="3147" y="3541"/>
                  </a:lnTo>
                  <a:lnTo>
                    <a:pt x="2754" y="787"/>
                  </a:lnTo>
                  <a:lnTo>
                    <a:pt x="1967" y="0"/>
                  </a:lnTo>
                  <a:lnTo>
                    <a:pt x="1180" y="2754"/>
                  </a:lnTo>
                  <a:lnTo>
                    <a:pt x="787" y="5901"/>
                  </a:lnTo>
                  <a:lnTo>
                    <a:pt x="787" y="8655"/>
                  </a:lnTo>
                  <a:lnTo>
                    <a:pt x="787" y="11803"/>
                  </a:lnTo>
                  <a:lnTo>
                    <a:pt x="0" y="14950"/>
                  </a:lnTo>
                  <a:lnTo>
                    <a:pt x="787" y="17704"/>
                  </a:lnTo>
                  <a:lnTo>
                    <a:pt x="787" y="2085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90" name="Freeform: Shape 3884">
              <a:extLst>
                <a:ext uri="{FF2B5EF4-FFF2-40B4-BE49-F238E27FC236}">
                  <a16:creationId xmlns:a16="http://schemas.microsoft.com/office/drawing/2014/main" id="{75A8BD68-C1B0-44F3-A08A-FF43DC73F9D8}"/>
                </a:ext>
              </a:extLst>
            </p:cNvPr>
            <p:cNvSpPr/>
            <p:nvPr/>
          </p:nvSpPr>
          <p:spPr>
            <a:xfrm>
              <a:off x="9763521" y="3926333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1967 h 0"/>
                <a:gd name="connsiteX2" fmla="*/ 3148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1967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91" name="Freeform: Shape 3885">
              <a:extLst>
                <a:ext uri="{FF2B5EF4-FFF2-40B4-BE49-F238E27FC236}">
                  <a16:creationId xmlns:a16="http://schemas.microsoft.com/office/drawing/2014/main" id="{6033A181-4BAC-49B7-BA40-D6F0EA4BB239}"/>
                </a:ext>
              </a:extLst>
            </p:cNvPr>
            <p:cNvSpPr/>
            <p:nvPr/>
          </p:nvSpPr>
          <p:spPr>
            <a:xfrm>
              <a:off x="9756833" y="3911776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574 h 0"/>
                <a:gd name="connsiteX2" fmla="*/ 275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574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92" name="Freeform: Shape 3886">
              <a:extLst>
                <a:ext uri="{FF2B5EF4-FFF2-40B4-BE49-F238E27FC236}">
                  <a16:creationId xmlns:a16="http://schemas.microsoft.com/office/drawing/2014/main" id="{D769BE14-6086-43F9-9DE9-86CDD75D8812}"/>
                </a:ext>
              </a:extLst>
            </p:cNvPr>
            <p:cNvSpPr/>
            <p:nvPr/>
          </p:nvSpPr>
          <p:spPr>
            <a:xfrm>
              <a:off x="9700180" y="3898399"/>
              <a:ext cx="3934" cy="11803"/>
            </a:xfrm>
            <a:custGeom>
              <a:avLst/>
              <a:gdLst>
                <a:gd name="connsiteX0" fmla="*/ 5114 w 3934"/>
                <a:gd name="connsiteY0" fmla="*/ 0 h 11802"/>
                <a:gd name="connsiteX1" fmla="*/ 1967 w 3934"/>
                <a:gd name="connsiteY1" fmla="*/ 1967 h 11802"/>
                <a:gd name="connsiteX2" fmla="*/ 0 w 3934"/>
                <a:gd name="connsiteY2" fmla="*/ 5115 h 11802"/>
                <a:gd name="connsiteX3" fmla="*/ 0 w 3934"/>
                <a:gd name="connsiteY3" fmla="*/ 7869 h 11802"/>
                <a:gd name="connsiteX4" fmla="*/ 1573 w 3934"/>
                <a:gd name="connsiteY4" fmla="*/ 10623 h 11802"/>
                <a:gd name="connsiteX5" fmla="*/ 3934 w 3934"/>
                <a:gd name="connsiteY5" fmla="*/ 13377 h 11802"/>
                <a:gd name="connsiteX6" fmla="*/ 6688 w 3934"/>
                <a:gd name="connsiteY6" fmla="*/ 12196 h 11802"/>
                <a:gd name="connsiteX7" fmla="*/ 6688 w 3934"/>
                <a:gd name="connsiteY7" fmla="*/ 9049 h 11802"/>
                <a:gd name="connsiteX8" fmla="*/ 7081 w 3934"/>
                <a:gd name="connsiteY8" fmla="*/ 5901 h 11802"/>
                <a:gd name="connsiteX9" fmla="*/ 6688 w 3934"/>
                <a:gd name="connsiteY9" fmla="*/ 3148 h 11802"/>
                <a:gd name="connsiteX10" fmla="*/ 5114 w 3934"/>
                <a:gd name="connsiteY10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4" h="11802">
                  <a:moveTo>
                    <a:pt x="5114" y="0"/>
                  </a:moveTo>
                  <a:lnTo>
                    <a:pt x="1967" y="1967"/>
                  </a:lnTo>
                  <a:lnTo>
                    <a:pt x="0" y="5115"/>
                  </a:lnTo>
                  <a:lnTo>
                    <a:pt x="0" y="7869"/>
                  </a:lnTo>
                  <a:lnTo>
                    <a:pt x="1573" y="10623"/>
                  </a:lnTo>
                  <a:lnTo>
                    <a:pt x="3934" y="13377"/>
                  </a:lnTo>
                  <a:lnTo>
                    <a:pt x="6688" y="12196"/>
                  </a:lnTo>
                  <a:lnTo>
                    <a:pt x="6688" y="9049"/>
                  </a:lnTo>
                  <a:lnTo>
                    <a:pt x="7081" y="5901"/>
                  </a:lnTo>
                  <a:lnTo>
                    <a:pt x="6688" y="3148"/>
                  </a:lnTo>
                  <a:lnTo>
                    <a:pt x="511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93" name="Freeform: Shape 3887">
              <a:extLst>
                <a:ext uri="{FF2B5EF4-FFF2-40B4-BE49-F238E27FC236}">
                  <a16:creationId xmlns:a16="http://schemas.microsoft.com/office/drawing/2014/main" id="{C91AD2A4-17CC-4398-BC76-C67FF5CE898B}"/>
                </a:ext>
              </a:extLst>
            </p:cNvPr>
            <p:cNvSpPr/>
            <p:nvPr/>
          </p:nvSpPr>
          <p:spPr>
            <a:xfrm>
              <a:off x="9751718" y="390430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2361 h 0"/>
                <a:gd name="connsiteX2" fmla="*/ 2754 w 0"/>
                <a:gd name="connsiteY2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2361"/>
                  </a:lnTo>
                  <a:lnTo>
                    <a:pt x="2754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94" name="Freeform: Shape 3888">
              <a:extLst>
                <a:ext uri="{FF2B5EF4-FFF2-40B4-BE49-F238E27FC236}">
                  <a16:creationId xmlns:a16="http://schemas.microsoft.com/office/drawing/2014/main" id="{C7B9F2C2-7251-4A70-8BE3-3A71E239980D}"/>
                </a:ext>
              </a:extLst>
            </p:cNvPr>
            <p:cNvSpPr/>
            <p:nvPr/>
          </p:nvSpPr>
          <p:spPr>
            <a:xfrm>
              <a:off x="9736375" y="3861024"/>
              <a:ext cx="7869" cy="7869"/>
            </a:xfrm>
            <a:custGeom>
              <a:avLst/>
              <a:gdLst>
                <a:gd name="connsiteX0" fmla="*/ 8261 w 7868"/>
                <a:gd name="connsiteY0" fmla="*/ 1967 h 7868"/>
                <a:gd name="connsiteX1" fmla="*/ 5508 w 7868"/>
                <a:gd name="connsiteY1" fmla="*/ 787 h 7868"/>
                <a:gd name="connsiteX2" fmla="*/ 2754 w 7868"/>
                <a:gd name="connsiteY2" fmla="*/ 0 h 7868"/>
                <a:gd name="connsiteX3" fmla="*/ 1573 w 7868"/>
                <a:gd name="connsiteY3" fmla="*/ 394 h 7868"/>
                <a:gd name="connsiteX4" fmla="*/ 0 w 7868"/>
                <a:gd name="connsiteY4" fmla="*/ 3148 h 7868"/>
                <a:gd name="connsiteX5" fmla="*/ 1180 w 7868"/>
                <a:gd name="connsiteY5" fmla="*/ 5901 h 7868"/>
                <a:gd name="connsiteX6" fmla="*/ 3540 w 7868"/>
                <a:gd name="connsiteY6" fmla="*/ 9049 h 7868"/>
                <a:gd name="connsiteX7" fmla="*/ 6294 w 7868"/>
                <a:gd name="connsiteY7" fmla="*/ 7869 h 7868"/>
                <a:gd name="connsiteX8" fmla="*/ 8261 w 7868"/>
                <a:gd name="connsiteY8" fmla="*/ 511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7868">
                  <a:moveTo>
                    <a:pt x="8261" y="1967"/>
                  </a:moveTo>
                  <a:lnTo>
                    <a:pt x="5508" y="787"/>
                  </a:lnTo>
                  <a:lnTo>
                    <a:pt x="2754" y="0"/>
                  </a:lnTo>
                  <a:lnTo>
                    <a:pt x="1573" y="394"/>
                  </a:lnTo>
                  <a:lnTo>
                    <a:pt x="0" y="3148"/>
                  </a:lnTo>
                  <a:lnTo>
                    <a:pt x="1180" y="5901"/>
                  </a:lnTo>
                  <a:lnTo>
                    <a:pt x="3540" y="9049"/>
                  </a:lnTo>
                  <a:lnTo>
                    <a:pt x="6294" y="7869"/>
                  </a:lnTo>
                  <a:lnTo>
                    <a:pt x="8261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95" name="Freeform: Shape 3889">
              <a:extLst>
                <a:ext uri="{FF2B5EF4-FFF2-40B4-BE49-F238E27FC236}">
                  <a16:creationId xmlns:a16="http://schemas.microsoft.com/office/drawing/2014/main" id="{23455FE8-0208-4532-93EA-FDEF32474EDF}"/>
                </a:ext>
              </a:extLst>
            </p:cNvPr>
            <p:cNvSpPr/>
            <p:nvPr/>
          </p:nvSpPr>
          <p:spPr>
            <a:xfrm>
              <a:off x="9886270" y="3845287"/>
              <a:ext cx="11803" cy="7869"/>
            </a:xfrm>
            <a:custGeom>
              <a:avLst/>
              <a:gdLst>
                <a:gd name="connsiteX0" fmla="*/ 10623 w 11802"/>
                <a:gd name="connsiteY0" fmla="*/ 5901 h 7868"/>
                <a:gd name="connsiteX1" fmla="*/ 12197 w 11802"/>
                <a:gd name="connsiteY1" fmla="*/ 2754 h 7868"/>
                <a:gd name="connsiteX2" fmla="*/ 12197 w 11802"/>
                <a:gd name="connsiteY2" fmla="*/ 0 h 7868"/>
                <a:gd name="connsiteX3" fmla="*/ 9049 w 11802"/>
                <a:gd name="connsiteY3" fmla="*/ 394 h 7868"/>
                <a:gd name="connsiteX4" fmla="*/ 6295 w 11802"/>
                <a:gd name="connsiteY4" fmla="*/ 2361 h 7868"/>
                <a:gd name="connsiteX5" fmla="*/ 3148 w 11802"/>
                <a:gd name="connsiteY5" fmla="*/ 2361 h 7868"/>
                <a:gd name="connsiteX6" fmla="*/ 2755 w 11802"/>
                <a:gd name="connsiteY6" fmla="*/ 2754 h 7868"/>
                <a:gd name="connsiteX7" fmla="*/ 0 w 11802"/>
                <a:gd name="connsiteY7" fmla="*/ 5508 h 7868"/>
                <a:gd name="connsiteX8" fmla="*/ 0 w 11802"/>
                <a:gd name="connsiteY8" fmla="*/ 8655 h 7868"/>
                <a:gd name="connsiteX9" fmla="*/ 3148 w 11802"/>
                <a:gd name="connsiteY9" fmla="*/ 7475 h 7868"/>
                <a:gd name="connsiteX10" fmla="*/ 5901 w 11802"/>
                <a:gd name="connsiteY10" fmla="*/ 5508 h 7868"/>
                <a:gd name="connsiteX11" fmla="*/ 8656 w 11802"/>
                <a:gd name="connsiteY11" fmla="*/ 4721 h 7868"/>
                <a:gd name="connsiteX12" fmla="*/ 7476 w 11802"/>
                <a:gd name="connsiteY12" fmla="*/ 747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7868">
                  <a:moveTo>
                    <a:pt x="10623" y="5901"/>
                  </a:moveTo>
                  <a:lnTo>
                    <a:pt x="12197" y="2754"/>
                  </a:lnTo>
                  <a:lnTo>
                    <a:pt x="12197" y="0"/>
                  </a:lnTo>
                  <a:lnTo>
                    <a:pt x="9049" y="394"/>
                  </a:lnTo>
                  <a:lnTo>
                    <a:pt x="6295" y="2361"/>
                  </a:lnTo>
                  <a:lnTo>
                    <a:pt x="3148" y="2361"/>
                  </a:lnTo>
                  <a:lnTo>
                    <a:pt x="2755" y="2754"/>
                  </a:lnTo>
                  <a:lnTo>
                    <a:pt x="0" y="5508"/>
                  </a:lnTo>
                  <a:lnTo>
                    <a:pt x="0" y="8655"/>
                  </a:lnTo>
                  <a:lnTo>
                    <a:pt x="3148" y="7475"/>
                  </a:lnTo>
                  <a:lnTo>
                    <a:pt x="5901" y="5508"/>
                  </a:lnTo>
                  <a:lnTo>
                    <a:pt x="8656" y="4721"/>
                  </a:lnTo>
                  <a:lnTo>
                    <a:pt x="7476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96" name="Freeform: Shape 3890">
              <a:extLst>
                <a:ext uri="{FF2B5EF4-FFF2-40B4-BE49-F238E27FC236}">
                  <a16:creationId xmlns:a16="http://schemas.microsoft.com/office/drawing/2014/main" id="{58413495-F160-484D-B559-203764CF857F}"/>
                </a:ext>
              </a:extLst>
            </p:cNvPr>
            <p:cNvSpPr/>
            <p:nvPr/>
          </p:nvSpPr>
          <p:spPr>
            <a:xfrm>
              <a:off x="9901220" y="3845287"/>
              <a:ext cx="3934" cy="3934"/>
            </a:xfrm>
            <a:custGeom>
              <a:avLst/>
              <a:gdLst>
                <a:gd name="connsiteX0" fmla="*/ 3541 w 0"/>
                <a:gd name="connsiteY0" fmla="*/ 1180 h 0"/>
                <a:gd name="connsiteX1" fmla="*/ 787 w 0"/>
                <a:gd name="connsiteY1" fmla="*/ 0 h 0"/>
                <a:gd name="connsiteX2" fmla="*/ 0 w 0"/>
                <a:gd name="connsiteY2" fmla="*/ 394 h 0"/>
                <a:gd name="connsiteX3" fmla="*/ 394 w 0"/>
                <a:gd name="connsiteY3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541" y="1180"/>
                  </a:moveTo>
                  <a:lnTo>
                    <a:pt x="787" y="0"/>
                  </a:lnTo>
                  <a:lnTo>
                    <a:pt x="0" y="394"/>
                  </a:lnTo>
                  <a:lnTo>
                    <a:pt x="394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97" name="Freeform: Shape 3891">
              <a:extLst>
                <a:ext uri="{FF2B5EF4-FFF2-40B4-BE49-F238E27FC236}">
                  <a16:creationId xmlns:a16="http://schemas.microsoft.com/office/drawing/2014/main" id="{943E2961-A104-4E94-AAE3-7E7653B345F7}"/>
                </a:ext>
              </a:extLst>
            </p:cNvPr>
            <p:cNvSpPr/>
            <p:nvPr/>
          </p:nvSpPr>
          <p:spPr>
            <a:xfrm>
              <a:off x="9905548" y="3844500"/>
              <a:ext cx="3934" cy="3934"/>
            </a:xfrm>
            <a:custGeom>
              <a:avLst/>
              <a:gdLst>
                <a:gd name="connsiteX0" fmla="*/ 3540 w 3934"/>
                <a:gd name="connsiteY0" fmla="*/ 787 h 3934"/>
                <a:gd name="connsiteX1" fmla="*/ 787 w 3934"/>
                <a:gd name="connsiteY1" fmla="*/ 0 h 3934"/>
                <a:gd name="connsiteX2" fmla="*/ 0 w 3934"/>
                <a:gd name="connsiteY2" fmla="*/ 1574 h 3934"/>
                <a:gd name="connsiteX3" fmla="*/ 1967 w 3934"/>
                <a:gd name="connsiteY3" fmla="*/ 4328 h 3934"/>
                <a:gd name="connsiteX4" fmla="*/ 5115 w 3934"/>
                <a:gd name="connsiteY4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540" y="787"/>
                  </a:moveTo>
                  <a:lnTo>
                    <a:pt x="787" y="0"/>
                  </a:lnTo>
                  <a:lnTo>
                    <a:pt x="0" y="1574"/>
                  </a:lnTo>
                  <a:lnTo>
                    <a:pt x="1967" y="4328"/>
                  </a:lnTo>
                  <a:lnTo>
                    <a:pt x="5115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98" name="Freeform: Shape 3892">
              <a:extLst>
                <a:ext uri="{FF2B5EF4-FFF2-40B4-BE49-F238E27FC236}">
                  <a16:creationId xmlns:a16="http://schemas.microsoft.com/office/drawing/2014/main" id="{6D16A99B-84FB-4FBC-886D-257E0AB06206}"/>
                </a:ext>
              </a:extLst>
            </p:cNvPr>
            <p:cNvSpPr/>
            <p:nvPr/>
          </p:nvSpPr>
          <p:spPr>
            <a:xfrm>
              <a:off x="9720638" y="3841746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787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78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99" name="Freeform: Shape 3893">
              <a:extLst>
                <a:ext uri="{FF2B5EF4-FFF2-40B4-BE49-F238E27FC236}">
                  <a16:creationId xmlns:a16="http://schemas.microsoft.com/office/drawing/2014/main" id="{5C7E6E43-6C05-4AB4-87E2-7804648845C2}"/>
                </a:ext>
              </a:extLst>
            </p:cNvPr>
            <p:cNvSpPr/>
            <p:nvPr/>
          </p:nvSpPr>
          <p:spPr>
            <a:xfrm>
              <a:off x="9875255" y="3836632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2360 h 0"/>
                <a:gd name="connsiteX2" fmla="*/ 3147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2360"/>
                  </a:lnTo>
                  <a:lnTo>
                    <a:pt x="314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00" name="Freeform: Shape 3894">
              <a:extLst>
                <a:ext uri="{FF2B5EF4-FFF2-40B4-BE49-F238E27FC236}">
                  <a16:creationId xmlns:a16="http://schemas.microsoft.com/office/drawing/2014/main" id="{E529595D-16C3-4C67-B542-FD2F6D7EE4D4}"/>
                </a:ext>
              </a:extLst>
            </p:cNvPr>
            <p:cNvSpPr/>
            <p:nvPr/>
          </p:nvSpPr>
          <p:spPr>
            <a:xfrm>
              <a:off x="9879582" y="3833091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394 w 0"/>
                <a:gd name="connsiteY1" fmla="*/ 393 h 0"/>
                <a:gd name="connsiteX2" fmla="*/ 0 w 0"/>
                <a:gd name="connsiteY2" fmla="*/ 3541 h 0"/>
                <a:gd name="connsiteX3" fmla="*/ 3148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394" y="393"/>
                  </a:lnTo>
                  <a:lnTo>
                    <a:pt x="0" y="3541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01" name="Freeform: Shape 3895">
              <a:extLst>
                <a:ext uri="{FF2B5EF4-FFF2-40B4-BE49-F238E27FC236}">
                  <a16:creationId xmlns:a16="http://schemas.microsoft.com/office/drawing/2014/main" id="{56BB2B6A-152D-4AC2-87FD-E3120F9D6578}"/>
                </a:ext>
              </a:extLst>
            </p:cNvPr>
            <p:cNvSpPr/>
            <p:nvPr/>
          </p:nvSpPr>
          <p:spPr>
            <a:xfrm>
              <a:off x="9885090" y="3824829"/>
              <a:ext cx="3934" cy="3934"/>
            </a:xfrm>
            <a:custGeom>
              <a:avLst/>
              <a:gdLst>
                <a:gd name="connsiteX0" fmla="*/ 2754 w 0"/>
                <a:gd name="connsiteY0" fmla="*/ 2754 h 3934"/>
                <a:gd name="connsiteX1" fmla="*/ 2754 w 0"/>
                <a:gd name="connsiteY1" fmla="*/ 0 h 3934"/>
                <a:gd name="connsiteX2" fmla="*/ 2360 w 0"/>
                <a:gd name="connsiteY2" fmla="*/ 1180 h 3934"/>
                <a:gd name="connsiteX3" fmla="*/ 0 w 0"/>
                <a:gd name="connsiteY3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2754" y="2754"/>
                  </a:moveTo>
                  <a:lnTo>
                    <a:pt x="2754" y="0"/>
                  </a:lnTo>
                  <a:lnTo>
                    <a:pt x="2360" y="1180"/>
                  </a:lnTo>
                  <a:lnTo>
                    <a:pt x="0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02" name="Freeform: Shape 3896">
              <a:extLst>
                <a:ext uri="{FF2B5EF4-FFF2-40B4-BE49-F238E27FC236}">
                  <a16:creationId xmlns:a16="http://schemas.microsoft.com/office/drawing/2014/main" id="{21655EEA-347A-4FEF-802C-D90CC7AA94DA}"/>
                </a:ext>
              </a:extLst>
            </p:cNvPr>
            <p:cNvSpPr/>
            <p:nvPr/>
          </p:nvSpPr>
          <p:spPr>
            <a:xfrm>
              <a:off x="9726539" y="4012887"/>
              <a:ext cx="3934" cy="3934"/>
            </a:xfrm>
            <a:custGeom>
              <a:avLst/>
              <a:gdLst>
                <a:gd name="connsiteX0" fmla="*/ 0 w 3934"/>
                <a:gd name="connsiteY0" fmla="*/ 2754 h 3934"/>
                <a:gd name="connsiteX1" fmla="*/ 787 w 3934"/>
                <a:gd name="connsiteY1" fmla="*/ 5114 h 3934"/>
                <a:gd name="connsiteX2" fmla="*/ 2754 w 3934"/>
                <a:gd name="connsiteY2" fmla="*/ 2360 h 3934"/>
                <a:gd name="connsiteX3" fmla="*/ 5508 w 3934"/>
                <a:gd name="connsiteY3" fmla="*/ 0 h 3934"/>
                <a:gd name="connsiteX4" fmla="*/ 2754 w 3934"/>
                <a:gd name="connsiteY4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2754"/>
                  </a:moveTo>
                  <a:lnTo>
                    <a:pt x="787" y="5114"/>
                  </a:lnTo>
                  <a:lnTo>
                    <a:pt x="2754" y="2360"/>
                  </a:lnTo>
                  <a:lnTo>
                    <a:pt x="5508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03" name="Freeform: Shape 3897">
              <a:extLst>
                <a:ext uri="{FF2B5EF4-FFF2-40B4-BE49-F238E27FC236}">
                  <a16:creationId xmlns:a16="http://schemas.microsoft.com/office/drawing/2014/main" id="{65C11D82-140A-4322-9526-E0B10ED4C02E}"/>
                </a:ext>
              </a:extLst>
            </p:cNvPr>
            <p:cNvSpPr/>
            <p:nvPr/>
          </p:nvSpPr>
          <p:spPr>
            <a:xfrm>
              <a:off x="9757227" y="4005018"/>
              <a:ext cx="7869" cy="11803"/>
            </a:xfrm>
            <a:custGeom>
              <a:avLst/>
              <a:gdLst>
                <a:gd name="connsiteX0" fmla="*/ 0 w 7868"/>
                <a:gd name="connsiteY0" fmla="*/ 8655 h 11802"/>
                <a:gd name="connsiteX1" fmla="*/ 3147 w 7868"/>
                <a:gd name="connsiteY1" fmla="*/ 8655 h 11802"/>
                <a:gd name="connsiteX2" fmla="*/ 5901 w 7868"/>
                <a:gd name="connsiteY2" fmla="*/ 11803 h 11802"/>
                <a:gd name="connsiteX3" fmla="*/ 7869 w 7868"/>
                <a:gd name="connsiteY3" fmla="*/ 8655 h 11802"/>
                <a:gd name="connsiteX4" fmla="*/ 9442 w 7868"/>
                <a:gd name="connsiteY4" fmla="*/ 5508 h 11802"/>
                <a:gd name="connsiteX5" fmla="*/ 11015 w 7868"/>
                <a:gd name="connsiteY5" fmla="*/ 2754 h 11802"/>
                <a:gd name="connsiteX6" fmla="*/ 9836 w 7868"/>
                <a:gd name="connsiteY6" fmla="*/ 0 h 11802"/>
                <a:gd name="connsiteX7" fmla="*/ 7475 w 7868"/>
                <a:gd name="connsiteY7" fmla="*/ 2754 h 11802"/>
                <a:gd name="connsiteX8" fmla="*/ 4721 w 7868"/>
                <a:gd name="connsiteY8" fmla="*/ 3541 h 11802"/>
                <a:gd name="connsiteX9" fmla="*/ 1573 w 7868"/>
                <a:gd name="connsiteY9" fmla="*/ 4721 h 11802"/>
                <a:gd name="connsiteX10" fmla="*/ 787 w 7868"/>
                <a:gd name="connsiteY10" fmla="*/ 5508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68" h="11802">
                  <a:moveTo>
                    <a:pt x="0" y="8655"/>
                  </a:moveTo>
                  <a:lnTo>
                    <a:pt x="3147" y="8655"/>
                  </a:lnTo>
                  <a:lnTo>
                    <a:pt x="5901" y="11803"/>
                  </a:lnTo>
                  <a:lnTo>
                    <a:pt x="7869" y="8655"/>
                  </a:lnTo>
                  <a:lnTo>
                    <a:pt x="9442" y="5508"/>
                  </a:lnTo>
                  <a:lnTo>
                    <a:pt x="11015" y="2754"/>
                  </a:lnTo>
                  <a:lnTo>
                    <a:pt x="9836" y="0"/>
                  </a:lnTo>
                  <a:lnTo>
                    <a:pt x="7475" y="2754"/>
                  </a:lnTo>
                  <a:lnTo>
                    <a:pt x="4721" y="3541"/>
                  </a:lnTo>
                  <a:lnTo>
                    <a:pt x="1573" y="4721"/>
                  </a:lnTo>
                  <a:lnTo>
                    <a:pt x="787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04" name="Freeform: Shape 3898">
              <a:extLst>
                <a:ext uri="{FF2B5EF4-FFF2-40B4-BE49-F238E27FC236}">
                  <a16:creationId xmlns:a16="http://schemas.microsoft.com/office/drawing/2014/main" id="{6F6FD36A-9A6F-4D36-8392-0FE68FAC90C1}"/>
                </a:ext>
              </a:extLst>
            </p:cNvPr>
            <p:cNvSpPr/>
            <p:nvPr/>
          </p:nvSpPr>
          <p:spPr>
            <a:xfrm>
              <a:off x="9770209" y="4002657"/>
              <a:ext cx="23606" cy="7869"/>
            </a:xfrm>
            <a:custGeom>
              <a:avLst/>
              <a:gdLst>
                <a:gd name="connsiteX0" fmla="*/ 5509 w 23605"/>
                <a:gd name="connsiteY0" fmla="*/ 10229 h 7868"/>
                <a:gd name="connsiteX1" fmla="*/ 8656 w 23605"/>
                <a:gd name="connsiteY1" fmla="*/ 9049 h 7868"/>
                <a:gd name="connsiteX2" fmla="*/ 11410 w 23605"/>
                <a:gd name="connsiteY2" fmla="*/ 9442 h 7868"/>
                <a:gd name="connsiteX3" fmla="*/ 14558 w 23605"/>
                <a:gd name="connsiteY3" fmla="*/ 8655 h 7868"/>
                <a:gd name="connsiteX4" fmla="*/ 17311 w 23605"/>
                <a:gd name="connsiteY4" fmla="*/ 7869 h 7868"/>
                <a:gd name="connsiteX5" fmla="*/ 20459 w 23605"/>
                <a:gd name="connsiteY5" fmla="*/ 7869 h 7868"/>
                <a:gd name="connsiteX6" fmla="*/ 23213 w 23605"/>
                <a:gd name="connsiteY6" fmla="*/ 6295 h 7868"/>
                <a:gd name="connsiteX7" fmla="*/ 23606 w 23605"/>
                <a:gd name="connsiteY7" fmla="*/ 3541 h 7868"/>
                <a:gd name="connsiteX8" fmla="*/ 21246 w 23605"/>
                <a:gd name="connsiteY8" fmla="*/ 787 h 7868"/>
                <a:gd name="connsiteX9" fmla="*/ 18098 w 23605"/>
                <a:gd name="connsiteY9" fmla="*/ 394 h 7868"/>
                <a:gd name="connsiteX10" fmla="*/ 15344 w 23605"/>
                <a:gd name="connsiteY10" fmla="*/ 1180 h 7868"/>
                <a:gd name="connsiteX11" fmla="*/ 12590 w 23605"/>
                <a:gd name="connsiteY11" fmla="*/ 787 h 7868"/>
                <a:gd name="connsiteX12" fmla="*/ 9836 w 23605"/>
                <a:gd name="connsiteY12" fmla="*/ 1180 h 7868"/>
                <a:gd name="connsiteX13" fmla="*/ 6689 w 23605"/>
                <a:gd name="connsiteY13" fmla="*/ 0 h 7868"/>
                <a:gd name="connsiteX14" fmla="*/ 3934 w 23605"/>
                <a:gd name="connsiteY14" fmla="*/ 0 h 7868"/>
                <a:gd name="connsiteX15" fmla="*/ 2755 w 23605"/>
                <a:gd name="connsiteY15" fmla="*/ 1574 h 7868"/>
                <a:gd name="connsiteX16" fmla="*/ 2361 w 23605"/>
                <a:gd name="connsiteY16" fmla="*/ 4328 h 7868"/>
                <a:gd name="connsiteX17" fmla="*/ 5509 w 23605"/>
                <a:gd name="connsiteY17" fmla="*/ 3541 h 7868"/>
                <a:gd name="connsiteX18" fmla="*/ 2755 w 23605"/>
                <a:gd name="connsiteY18" fmla="*/ 5115 h 7868"/>
                <a:gd name="connsiteX19" fmla="*/ 394 w 23605"/>
                <a:gd name="connsiteY19" fmla="*/ 7869 h 7868"/>
                <a:gd name="connsiteX20" fmla="*/ 0 w 23605"/>
                <a:gd name="connsiteY20" fmla="*/ 11016 h 7868"/>
                <a:gd name="connsiteX21" fmla="*/ 2755 w 23605"/>
                <a:gd name="connsiteY21" fmla="*/ 10623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3605" h="7868">
                  <a:moveTo>
                    <a:pt x="5509" y="10229"/>
                  </a:moveTo>
                  <a:lnTo>
                    <a:pt x="8656" y="9049"/>
                  </a:lnTo>
                  <a:lnTo>
                    <a:pt x="11410" y="9442"/>
                  </a:lnTo>
                  <a:lnTo>
                    <a:pt x="14558" y="8655"/>
                  </a:lnTo>
                  <a:lnTo>
                    <a:pt x="17311" y="7869"/>
                  </a:lnTo>
                  <a:lnTo>
                    <a:pt x="20459" y="7869"/>
                  </a:lnTo>
                  <a:lnTo>
                    <a:pt x="23213" y="6295"/>
                  </a:lnTo>
                  <a:lnTo>
                    <a:pt x="23606" y="3541"/>
                  </a:lnTo>
                  <a:lnTo>
                    <a:pt x="21246" y="787"/>
                  </a:lnTo>
                  <a:lnTo>
                    <a:pt x="18098" y="394"/>
                  </a:lnTo>
                  <a:lnTo>
                    <a:pt x="15344" y="1180"/>
                  </a:lnTo>
                  <a:lnTo>
                    <a:pt x="12590" y="787"/>
                  </a:lnTo>
                  <a:lnTo>
                    <a:pt x="9836" y="1180"/>
                  </a:lnTo>
                  <a:lnTo>
                    <a:pt x="6689" y="0"/>
                  </a:lnTo>
                  <a:lnTo>
                    <a:pt x="3934" y="0"/>
                  </a:lnTo>
                  <a:lnTo>
                    <a:pt x="2755" y="1574"/>
                  </a:lnTo>
                  <a:lnTo>
                    <a:pt x="2361" y="4328"/>
                  </a:lnTo>
                  <a:lnTo>
                    <a:pt x="5509" y="3541"/>
                  </a:lnTo>
                  <a:lnTo>
                    <a:pt x="2755" y="5115"/>
                  </a:lnTo>
                  <a:lnTo>
                    <a:pt x="394" y="7869"/>
                  </a:lnTo>
                  <a:lnTo>
                    <a:pt x="0" y="11016"/>
                  </a:lnTo>
                  <a:lnTo>
                    <a:pt x="2755" y="1062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05" name="Freeform: Shape 3899">
              <a:extLst>
                <a:ext uri="{FF2B5EF4-FFF2-40B4-BE49-F238E27FC236}">
                  <a16:creationId xmlns:a16="http://schemas.microsoft.com/office/drawing/2014/main" id="{02FE3D45-FE8B-4DE7-96B3-12C253738DBB}"/>
                </a:ext>
              </a:extLst>
            </p:cNvPr>
            <p:cNvSpPr/>
            <p:nvPr/>
          </p:nvSpPr>
          <p:spPr>
            <a:xfrm>
              <a:off x="9730474" y="4006592"/>
              <a:ext cx="7869" cy="3934"/>
            </a:xfrm>
            <a:custGeom>
              <a:avLst/>
              <a:gdLst>
                <a:gd name="connsiteX0" fmla="*/ 5901 w 7868"/>
                <a:gd name="connsiteY0" fmla="*/ 5115 h 3934"/>
                <a:gd name="connsiteX1" fmla="*/ 8655 w 7868"/>
                <a:gd name="connsiteY1" fmla="*/ 2754 h 3934"/>
                <a:gd name="connsiteX2" fmla="*/ 7869 w 7868"/>
                <a:gd name="connsiteY2" fmla="*/ 0 h 3934"/>
                <a:gd name="connsiteX3" fmla="*/ 4721 w 7868"/>
                <a:gd name="connsiteY3" fmla="*/ 0 h 3934"/>
                <a:gd name="connsiteX4" fmla="*/ 1967 w 7868"/>
                <a:gd name="connsiteY4" fmla="*/ 1180 h 3934"/>
                <a:gd name="connsiteX5" fmla="*/ 393 w 7868"/>
                <a:gd name="connsiteY5" fmla="*/ 2361 h 3934"/>
                <a:gd name="connsiteX6" fmla="*/ 0 w 7868"/>
                <a:gd name="connsiteY6" fmla="*/ 5115 h 3934"/>
                <a:gd name="connsiteX7" fmla="*/ 2754 w 7868"/>
                <a:gd name="connsiteY7" fmla="*/ 511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901" y="5115"/>
                  </a:moveTo>
                  <a:lnTo>
                    <a:pt x="8655" y="2754"/>
                  </a:lnTo>
                  <a:lnTo>
                    <a:pt x="7869" y="0"/>
                  </a:lnTo>
                  <a:lnTo>
                    <a:pt x="4721" y="0"/>
                  </a:lnTo>
                  <a:lnTo>
                    <a:pt x="1967" y="1180"/>
                  </a:lnTo>
                  <a:lnTo>
                    <a:pt x="393" y="2361"/>
                  </a:lnTo>
                  <a:lnTo>
                    <a:pt x="0" y="5115"/>
                  </a:lnTo>
                  <a:lnTo>
                    <a:pt x="2754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06" name="Freeform: Shape 3900">
              <a:extLst>
                <a:ext uri="{FF2B5EF4-FFF2-40B4-BE49-F238E27FC236}">
                  <a16:creationId xmlns:a16="http://schemas.microsoft.com/office/drawing/2014/main" id="{5671459B-EDBA-4C32-8D32-00E6F4E75434}"/>
                </a:ext>
              </a:extLst>
            </p:cNvPr>
            <p:cNvSpPr/>
            <p:nvPr/>
          </p:nvSpPr>
          <p:spPr>
            <a:xfrm>
              <a:off x="9805225" y="4002657"/>
              <a:ext cx="3934" cy="3934"/>
            </a:xfrm>
            <a:custGeom>
              <a:avLst/>
              <a:gdLst>
                <a:gd name="connsiteX0" fmla="*/ 0 w 3934"/>
                <a:gd name="connsiteY0" fmla="*/ 5508 h 3934"/>
                <a:gd name="connsiteX1" fmla="*/ 2754 w 3934"/>
                <a:gd name="connsiteY1" fmla="*/ 3541 h 3934"/>
                <a:gd name="connsiteX2" fmla="*/ 4327 w 3934"/>
                <a:gd name="connsiteY2" fmla="*/ 394 h 3934"/>
                <a:gd name="connsiteX3" fmla="*/ 3934 w 3934"/>
                <a:gd name="connsiteY3" fmla="*/ 0 h 3934"/>
                <a:gd name="connsiteX4" fmla="*/ 1180 w 3934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5508"/>
                  </a:moveTo>
                  <a:lnTo>
                    <a:pt x="2754" y="3541"/>
                  </a:lnTo>
                  <a:lnTo>
                    <a:pt x="4327" y="394"/>
                  </a:lnTo>
                  <a:lnTo>
                    <a:pt x="3934" y="0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07" name="Freeform: Shape 3901">
              <a:extLst>
                <a:ext uri="{FF2B5EF4-FFF2-40B4-BE49-F238E27FC236}">
                  <a16:creationId xmlns:a16="http://schemas.microsoft.com/office/drawing/2014/main" id="{292175CB-C0F9-4DC0-BBE5-EF0DFD898916}"/>
                </a:ext>
              </a:extLst>
            </p:cNvPr>
            <p:cNvSpPr/>
            <p:nvPr/>
          </p:nvSpPr>
          <p:spPr>
            <a:xfrm>
              <a:off x="9883123" y="4005018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08" name="Freeform: Shape 3902">
              <a:extLst>
                <a:ext uri="{FF2B5EF4-FFF2-40B4-BE49-F238E27FC236}">
                  <a16:creationId xmlns:a16="http://schemas.microsoft.com/office/drawing/2014/main" id="{AB6E7F78-D5B0-46A9-9024-6F9EA5C5ECBC}"/>
                </a:ext>
              </a:extLst>
            </p:cNvPr>
            <p:cNvSpPr/>
            <p:nvPr/>
          </p:nvSpPr>
          <p:spPr>
            <a:xfrm>
              <a:off x="9905548" y="4004231"/>
              <a:ext cx="3934" cy="3934"/>
            </a:xfrm>
            <a:custGeom>
              <a:avLst/>
              <a:gdLst>
                <a:gd name="connsiteX0" fmla="*/ 1573 w 3934"/>
                <a:gd name="connsiteY0" fmla="*/ 2360 h 0"/>
                <a:gd name="connsiteX1" fmla="*/ 4327 w 3934"/>
                <a:gd name="connsiteY1" fmla="*/ 2754 h 0"/>
                <a:gd name="connsiteX2" fmla="*/ 3148 w 3934"/>
                <a:gd name="connsiteY2" fmla="*/ 0 h 0"/>
                <a:gd name="connsiteX3" fmla="*/ 0 w 3934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573" y="2360"/>
                  </a:moveTo>
                  <a:lnTo>
                    <a:pt x="4327" y="2754"/>
                  </a:lnTo>
                  <a:lnTo>
                    <a:pt x="3148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09" name="Freeform: Shape 3903">
              <a:extLst>
                <a:ext uri="{FF2B5EF4-FFF2-40B4-BE49-F238E27FC236}">
                  <a16:creationId xmlns:a16="http://schemas.microsoft.com/office/drawing/2014/main" id="{BF8755FA-FC24-4E68-87D1-8F519E86D9F1}"/>
                </a:ext>
              </a:extLst>
            </p:cNvPr>
            <p:cNvSpPr/>
            <p:nvPr/>
          </p:nvSpPr>
          <p:spPr>
            <a:xfrm>
              <a:off x="9873288" y="4001477"/>
              <a:ext cx="7869" cy="3934"/>
            </a:xfrm>
            <a:custGeom>
              <a:avLst/>
              <a:gdLst>
                <a:gd name="connsiteX0" fmla="*/ 0 w 7868"/>
                <a:gd name="connsiteY0" fmla="*/ 787 h 3934"/>
                <a:gd name="connsiteX1" fmla="*/ 2360 w 7868"/>
                <a:gd name="connsiteY1" fmla="*/ 3934 h 3934"/>
                <a:gd name="connsiteX2" fmla="*/ 5114 w 7868"/>
                <a:gd name="connsiteY2" fmla="*/ 4721 h 3934"/>
                <a:gd name="connsiteX3" fmla="*/ 7869 w 7868"/>
                <a:gd name="connsiteY3" fmla="*/ 4328 h 3934"/>
                <a:gd name="connsiteX4" fmla="*/ 9442 w 7868"/>
                <a:gd name="connsiteY4" fmla="*/ 1180 h 3934"/>
                <a:gd name="connsiteX5" fmla="*/ 6294 w 7868"/>
                <a:gd name="connsiteY5" fmla="*/ 1180 h 3934"/>
                <a:gd name="connsiteX6" fmla="*/ 3540 w 7868"/>
                <a:gd name="connsiteY6" fmla="*/ 787 h 3934"/>
                <a:gd name="connsiteX7" fmla="*/ 393 w 7868"/>
                <a:gd name="connsiteY7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0" y="787"/>
                  </a:moveTo>
                  <a:lnTo>
                    <a:pt x="2360" y="3934"/>
                  </a:lnTo>
                  <a:lnTo>
                    <a:pt x="5114" y="4721"/>
                  </a:lnTo>
                  <a:lnTo>
                    <a:pt x="7869" y="4328"/>
                  </a:lnTo>
                  <a:lnTo>
                    <a:pt x="9442" y="1180"/>
                  </a:lnTo>
                  <a:lnTo>
                    <a:pt x="6294" y="1180"/>
                  </a:lnTo>
                  <a:lnTo>
                    <a:pt x="3540" y="787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10" name="Freeform: Shape 3904">
              <a:extLst>
                <a:ext uri="{FF2B5EF4-FFF2-40B4-BE49-F238E27FC236}">
                  <a16:creationId xmlns:a16="http://schemas.microsoft.com/office/drawing/2014/main" id="{8CB1329A-21C7-407D-B09D-E0D22D57B608}"/>
                </a:ext>
              </a:extLst>
            </p:cNvPr>
            <p:cNvSpPr/>
            <p:nvPr/>
          </p:nvSpPr>
          <p:spPr>
            <a:xfrm>
              <a:off x="9869746" y="4003444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2754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2754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11" name="Freeform: Shape 3905">
              <a:extLst>
                <a:ext uri="{FF2B5EF4-FFF2-40B4-BE49-F238E27FC236}">
                  <a16:creationId xmlns:a16="http://schemas.microsoft.com/office/drawing/2014/main" id="{C487739E-976A-4CCC-9FBE-00C5B9695AD6}"/>
                </a:ext>
              </a:extLst>
            </p:cNvPr>
            <p:cNvSpPr/>
            <p:nvPr/>
          </p:nvSpPr>
          <p:spPr>
            <a:xfrm>
              <a:off x="9855583" y="3998723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180 w 0"/>
                <a:gd name="connsiteY1" fmla="*/ 2754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180" y="2754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12" name="Freeform: Shape 3906">
              <a:extLst>
                <a:ext uri="{FF2B5EF4-FFF2-40B4-BE49-F238E27FC236}">
                  <a16:creationId xmlns:a16="http://schemas.microsoft.com/office/drawing/2014/main" id="{EB9DC382-6D40-4861-9176-A2FAF4D61482}"/>
                </a:ext>
              </a:extLst>
            </p:cNvPr>
            <p:cNvSpPr/>
            <p:nvPr/>
          </p:nvSpPr>
          <p:spPr>
            <a:xfrm>
              <a:off x="9927580" y="3991248"/>
              <a:ext cx="7869" cy="7869"/>
            </a:xfrm>
            <a:custGeom>
              <a:avLst/>
              <a:gdLst>
                <a:gd name="connsiteX0" fmla="*/ 3541 w 7868"/>
                <a:gd name="connsiteY0" fmla="*/ 8262 h 7868"/>
                <a:gd name="connsiteX1" fmla="*/ 6295 w 7868"/>
                <a:gd name="connsiteY1" fmla="*/ 6688 h 7868"/>
                <a:gd name="connsiteX2" fmla="*/ 8656 w 7868"/>
                <a:gd name="connsiteY2" fmla="*/ 3934 h 7868"/>
                <a:gd name="connsiteX3" fmla="*/ 7869 w 7868"/>
                <a:gd name="connsiteY3" fmla="*/ 787 h 7868"/>
                <a:gd name="connsiteX4" fmla="*/ 5115 w 7868"/>
                <a:gd name="connsiteY4" fmla="*/ 0 h 7868"/>
                <a:gd name="connsiteX5" fmla="*/ 1967 w 7868"/>
                <a:gd name="connsiteY5" fmla="*/ 0 h 7868"/>
                <a:gd name="connsiteX6" fmla="*/ 0 w 7868"/>
                <a:gd name="connsiteY6" fmla="*/ 2360 h 7868"/>
                <a:gd name="connsiteX7" fmla="*/ 1180 w 7868"/>
                <a:gd name="connsiteY7" fmla="*/ 511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7868">
                  <a:moveTo>
                    <a:pt x="3541" y="8262"/>
                  </a:moveTo>
                  <a:lnTo>
                    <a:pt x="6295" y="6688"/>
                  </a:lnTo>
                  <a:lnTo>
                    <a:pt x="8656" y="3934"/>
                  </a:lnTo>
                  <a:lnTo>
                    <a:pt x="7869" y="787"/>
                  </a:lnTo>
                  <a:lnTo>
                    <a:pt x="5115" y="0"/>
                  </a:lnTo>
                  <a:lnTo>
                    <a:pt x="1967" y="0"/>
                  </a:lnTo>
                  <a:lnTo>
                    <a:pt x="0" y="2360"/>
                  </a:lnTo>
                  <a:lnTo>
                    <a:pt x="1180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13" name="Freeform: Shape 3907">
              <a:extLst>
                <a:ext uri="{FF2B5EF4-FFF2-40B4-BE49-F238E27FC236}">
                  <a16:creationId xmlns:a16="http://schemas.microsoft.com/office/drawing/2014/main" id="{0740EEF7-90FC-4FE5-BF8B-0014B4C7B814}"/>
                </a:ext>
              </a:extLst>
            </p:cNvPr>
            <p:cNvSpPr/>
            <p:nvPr/>
          </p:nvSpPr>
          <p:spPr>
            <a:xfrm>
              <a:off x="9862272" y="3981413"/>
              <a:ext cx="3934" cy="3934"/>
            </a:xfrm>
            <a:custGeom>
              <a:avLst/>
              <a:gdLst>
                <a:gd name="connsiteX0" fmla="*/ 0 w 0"/>
                <a:gd name="connsiteY0" fmla="*/ 5114 h 3934"/>
                <a:gd name="connsiteX1" fmla="*/ 2754 w 0"/>
                <a:gd name="connsiteY1" fmla="*/ 2754 h 3934"/>
                <a:gd name="connsiteX2" fmla="*/ 1573 w 0"/>
                <a:gd name="connsiteY2" fmla="*/ 0 h 3934"/>
                <a:gd name="connsiteX3" fmla="*/ 0 w 0"/>
                <a:gd name="connsiteY3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5114"/>
                  </a:moveTo>
                  <a:lnTo>
                    <a:pt x="2754" y="2754"/>
                  </a:lnTo>
                  <a:lnTo>
                    <a:pt x="1573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14" name="Freeform: Shape 3908">
              <a:extLst>
                <a:ext uri="{FF2B5EF4-FFF2-40B4-BE49-F238E27FC236}">
                  <a16:creationId xmlns:a16="http://schemas.microsoft.com/office/drawing/2014/main" id="{914BEFA0-DE54-4737-8BAF-EA7AFAEEE679}"/>
                </a:ext>
              </a:extLst>
            </p:cNvPr>
            <p:cNvSpPr/>
            <p:nvPr/>
          </p:nvSpPr>
          <p:spPr>
            <a:xfrm>
              <a:off x="9885090" y="3820501"/>
              <a:ext cx="86554" cy="35408"/>
            </a:xfrm>
            <a:custGeom>
              <a:avLst/>
              <a:gdLst>
                <a:gd name="connsiteX0" fmla="*/ 35408 w 86553"/>
                <a:gd name="connsiteY0" fmla="*/ 19278 h 35408"/>
                <a:gd name="connsiteX1" fmla="*/ 38555 w 86553"/>
                <a:gd name="connsiteY1" fmla="*/ 20065 h 35408"/>
                <a:gd name="connsiteX2" fmla="*/ 41310 w 86553"/>
                <a:gd name="connsiteY2" fmla="*/ 21245 h 35408"/>
                <a:gd name="connsiteX3" fmla="*/ 44456 w 86553"/>
                <a:gd name="connsiteY3" fmla="*/ 21245 h 35408"/>
                <a:gd name="connsiteX4" fmla="*/ 47211 w 86553"/>
                <a:gd name="connsiteY4" fmla="*/ 22425 h 35408"/>
                <a:gd name="connsiteX5" fmla="*/ 49965 w 86553"/>
                <a:gd name="connsiteY5" fmla="*/ 20458 h 35408"/>
                <a:gd name="connsiteX6" fmla="*/ 50752 w 86553"/>
                <a:gd name="connsiteY6" fmla="*/ 17704 h 35408"/>
                <a:gd name="connsiteX7" fmla="*/ 53899 w 86553"/>
                <a:gd name="connsiteY7" fmla="*/ 18098 h 35408"/>
                <a:gd name="connsiteX8" fmla="*/ 57047 w 86553"/>
                <a:gd name="connsiteY8" fmla="*/ 18491 h 35408"/>
                <a:gd name="connsiteX9" fmla="*/ 59801 w 86553"/>
                <a:gd name="connsiteY9" fmla="*/ 18884 h 35408"/>
                <a:gd name="connsiteX10" fmla="*/ 62554 w 86553"/>
                <a:gd name="connsiteY10" fmla="*/ 20458 h 35408"/>
                <a:gd name="connsiteX11" fmla="*/ 63735 w 86553"/>
                <a:gd name="connsiteY11" fmla="*/ 23212 h 35408"/>
                <a:gd name="connsiteX12" fmla="*/ 64915 w 86553"/>
                <a:gd name="connsiteY12" fmla="*/ 23999 h 35408"/>
                <a:gd name="connsiteX13" fmla="*/ 67669 w 86553"/>
                <a:gd name="connsiteY13" fmla="*/ 25573 h 35408"/>
                <a:gd name="connsiteX14" fmla="*/ 70423 w 86553"/>
                <a:gd name="connsiteY14" fmla="*/ 26753 h 35408"/>
                <a:gd name="connsiteX15" fmla="*/ 73571 w 86553"/>
                <a:gd name="connsiteY15" fmla="*/ 27933 h 35408"/>
                <a:gd name="connsiteX16" fmla="*/ 76324 w 86553"/>
                <a:gd name="connsiteY16" fmla="*/ 29507 h 35408"/>
                <a:gd name="connsiteX17" fmla="*/ 79078 w 86553"/>
                <a:gd name="connsiteY17" fmla="*/ 31474 h 35408"/>
                <a:gd name="connsiteX18" fmla="*/ 82226 w 86553"/>
                <a:gd name="connsiteY18" fmla="*/ 34228 h 35408"/>
                <a:gd name="connsiteX19" fmla="*/ 85373 w 86553"/>
                <a:gd name="connsiteY19" fmla="*/ 35408 h 35408"/>
                <a:gd name="connsiteX20" fmla="*/ 88127 w 86553"/>
                <a:gd name="connsiteY20" fmla="*/ 35408 h 35408"/>
                <a:gd name="connsiteX21" fmla="*/ 88127 w 86553"/>
                <a:gd name="connsiteY21" fmla="*/ 32654 h 35408"/>
                <a:gd name="connsiteX22" fmla="*/ 88914 w 86553"/>
                <a:gd name="connsiteY22" fmla="*/ 29901 h 35408"/>
                <a:gd name="connsiteX23" fmla="*/ 89700 w 86553"/>
                <a:gd name="connsiteY23" fmla="*/ 27147 h 35408"/>
                <a:gd name="connsiteX24" fmla="*/ 88127 w 86553"/>
                <a:gd name="connsiteY24" fmla="*/ 24392 h 35408"/>
                <a:gd name="connsiteX25" fmla="*/ 86160 w 86553"/>
                <a:gd name="connsiteY25" fmla="*/ 21245 h 35408"/>
                <a:gd name="connsiteX26" fmla="*/ 83406 w 86553"/>
                <a:gd name="connsiteY26" fmla="*/ 20065 h 35408"/>
                <a:gd name="connsiteX27" fmla="*/ 83012 w 86553"/>
                <a:gd name="connsiteY27" fmla="*/ 17311 h 35408"/>
                <a:gd name="connsiteX28" fmla="*/ 82226 w 86553"/>
                <a:gd name="connsiteY28" fmla="*/ 14163 h 35408"/>
                <a:gd name="connsiteX29" fmla="*/ 81439 w 86553"/>
                <a:gd name="connsiteY29" fmla="*/ 11409 h 35408"/>
                <a:gd name="connsiteX30" fmla="*/ 78685 w 86553"/>
                <a:gd name="connsiteY30" fmla="*/ 9836 h 35408"/>
                <a:gd name="connsiteX31" fmla="*/ 75931 w 86553"/>
                <a:gd name="connsiteY31" fmla="*/ 7082 h 35408"/>
                <a:gd name="connsiteX32" fmla="*/ 73177 w 86553"/>
                <a:gd name="connsiteY32" fmla="*/ 6688 h 35408"/>
                <a:gd name="connsiteX33" fmla="*/ 70029 w 86553"/>
                <a:gd name="connsiteY33" fmla="*/ 7082 h 35408"/>
                <a:gd name="connsiteX34" fmla="*/ 67275 w 86553"/>
                <a:gd name="connsiteY34" fmla="*/ 7082 h 35408"/>
                <a:gd name="connsiteX35" fmla="*/ 64522 w 86553"/>
                <a:gd name="connsiteY35" fmla="*/ 7082 h 35408"/>
                <a:gd name="connsiteX36" fmla="*/ 62948 w 86553"/>
                <a:gd name="connsiteY36" fmla="*/ 6295 h 35408"/>
                <a:gd name="connsiteX37" fmla="*/ 60193 w 86553"/>
                <a:gd name="connsiteY37" fmla="*/ 3934 h 35408"/>
                <a:gd name="connsiteX38" fmla="*/ 57440 w 86553"/>
                <a:gd name="connsiteY38" fmla="*/ 2754 h 35408"/>
                <a:gd name="connsiteX39" fmla="*/ 54292 w 86553"/>
                <a:gd name="connsiteY39" fmla="*/ 1574 h 35408"/>
                <a:gd name="connsiteX40" fmla="*/ 51538 w 86553"/>
                <a:gd name="connsiteY40" fmla="*/ 394 h 35408"/>
                <a:gd name="connsiteX41" fmla="*/ 48391 w 86553"/>
                <a:gd name="connsiteY41" fmla="*/ 0 h 35408"/>
                <a:gd name="connsiteX42" fmla="*/ 45637 w 86553"/>
                <a:gd name="connsiteY42" fmla="*/ 1967 h 35408"/>
                <a:gd name="connsiteX43" fmla="*/ 42489 w 86553"/>
                <a:gd name="connsiteY43" fmla="*/ 3934 h 35408"/>
                <a:gd name="connsiteX44" fmla="*/ 39735 w 86553"/>
                <a:gd name="connsiteY44" fmla="*/ 5901 h 35408"/>
                <a:gd name="connsiteX45" fmla="*/ 36588 w 86553"/>
                <a:gd name="connsiteY45" fmla="*/ 3934 h 35408"/>
                <a:gd name="connsiteX46" fmla="*/ 34621 w 86553"/>
                <a:gd name="connsiteY46" fmla="*/ 1180 h 35408"/>
                <a:gd name="connsiteX47" fmla="*/ 31474 w 86553"/>
                <a:gd name="connsiteY47" fmla="*/ 2361 h 35408"/>
                <a:gd name="connsiteX48" fmla="*/ 22818 w 86553"/>
                <a:gd name="connsiteY48" fmla="*/ 2361 h 35408"/>
                <a:gd name="connsiteX49" fmla="*/ 20064 w 86553"/>
                <a:gd name="connsiteY49" fmla="*/ 1967 h 35408"/>
                <a:gd name="connsiteX50" fmla="*/ 17310 w 86553"/>
                <a:gd name="connsiteY50" fmla="*/ 1967 h 35408"/>
                <a:gd name="connsiteX51" fmla="*/ 14557 w 86553"/>
                <a:gd name="connsiteY51" fmla="*/ 2754 h 35408"/>
                <a:gd name="connsiteX52" fmla="*/ 11409 w 86553"/>
                <a:gd name="connsiteY52" fmla="*/ 2361 h 35408"/>
                <a:gd name="connsiteX53" fmla="*/ 8261 w 86553"/>
                <a:gd name="connsiteY53" fmla="*/ 3934 h 35408"/>
                <a:gd name="connsiteX54" fmla="*/ 7869 w 86553"/>
                <a:gd name="connsiteY54" fmla="*/ 6688 h 35408"/>
                <a:gd name="connsiteX55" fmla="*/ 5901 w 86553"/>
                <a:gd name="connsiteY55" fmla="*/ 9442 h 35408"/>
                <a:gd name="connsiteX56" fmla="*/ 3147 w 86553"/>
                <a:gd name="connsiteY56" fmla="*/ 11016 h 35408"/>
                <a:gd name="connsiteX57" fmla="*/ 0 w 86553"/>
                <a:gd name="connsiteY57" fmla="*/ 13770 h 35408"/>
                <a:gd name="connsiteX58" fmla="*/ 393 w 86553"/>
                <a:gd name="connsiteY58" fmla="*/ 16524 h 35408"/>
                <a:gd name="connsiteX59" fmla="*/ 1967 w 86553"/>
                <a:gd name="connsiteY59" fmla="*/ 19671 h 35408"/>
                <a:gd name="connsiteX60" fmla="*/ 1180 w 86553"/>
                <a:gd name="connsiteY60" fmla="*/ 22425 h 35408"/>
                <a:gd name="connsiteX61" fmla="*/ 1573 w 86553"/>
                <a:gd name="connsiteY61" fmla="*/ 25179 h 35408"/>
                <a:gd name="connsiteX62" fmla="*/ 2360 w 86553"/>
                <a:gd name="connsiteY62" fmla="*/ 22425 h 35408"/>
                <a:gd name="connsiteX63" fmla="*/ 4327 w 86553"/>
                <a:gd name="connsiteY63" fmla="*/ 19671 h 35408"/>
                <a:gd name="connsiteX64" fmla="*/ 5508 w 86553"/>
                <a:gd name="connsiteY64" fmla="*/ 16917 h 35408"/>
                <a:gd name="connsiteX65" fmla="*/ 5901 w 86553"/>
                <a:gd name="connsiteY65" fmla="*/ 14163 h 35408"/>
                <a:gd name="connsiteX66" fmla="*/ 7081 w 86553"/>
                <a:gd name="connsiteY66" fmla="*/ 11016 h 35408"/>
                <a:gd name="connsiteX67" fmla="*/ 10229 w 86553"/>
                <a:gd name="connsiteY67" fmla="*/ 11016 h 35408"/>
                <a:gd name="connsiteX68" fmla="*/ 9836 w 86553"/>
                <a:gd name="connsiteY68" fmla="*/ 14163 h 35408"/>
                <a:gd name="connsiteX69" fmla="*/ 12589 w 86553"/>
                <a:gd name="connsiteY69" fmla="*/ 15344 h 35408"/>
                <a:gd name="connsiteX70" fmla="*/ 14557 w 86553"/>
                <a:gd name="connsiteY70" fmla="*/ 18098 h 35408"/>
                <a:gd name="connsiteX71" fmla="*/ 15737 w 86553"/>
                <a:gd name="connsiteY71" fmla="*/ 21245 h 35408"/>
                <a:gd name="connsiteX72" fmla="*/ 18491 w 86553"/>
                <a:gd name="connsiteY72" fmla="*/ 22819 h 35408"/>
                <a:gd name="connsiteX73" fmla="*/ 21638 w 86553"/>
                <a:gd name="connsiteY73" fmla="*/ 22032 h 35408"/>
                <a:gd name="connsiteX74" fmla="*/ 24392 w 86553"/>
                <a:gd name="connsiteY74" fmla="*/ 19278 h 35408"/>
                <a:gd name="connsiteX75" fmla="*/ 27540 w 86553"/>
                <a:gd name="connsiteY75" fmla="*/ 16524 h 35408"/>
                <a:gd name="connsiteX76" fmla="*/ 30294 w 86553"/>
                <a:gd name="connsiteY76" fmla="*/ 14163 h 35408"/>
                <a:gd name="connsiteX77" fmla="*/ 33047 w 86553"/>
                <a:gd name="connsiteY77" fmla="*/ 16131 h 35408"/>
                <a:gd name="connsiteX78" fmla="*/ 32654 w 86553"/>
                <a:gd name="connsiteY78" fmla="*/ 19278 h 35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86553" h="35408">
                  <a:moveTo>
                    <a:pt x="35408" y="19278"/>
                  </a:moveTo>
                  <a:lnTo>
                    <a:pt x="38555" y="20065"/>
                  </a:lnTo>
                  <a:lnTo>
                    <a:pt x="41310" y="21245"/>
                  </a:lnTo>
                  <a:lnTo>
                    <a:pt x="44456" y="21245"/>
                  </a:lnTo>
                  <a:lnTo>
                    <a:pt x="47211" y="22425"/>
                  </a:lnTo>
                  <a:lnTo>
                    <a:pt x="49965" y="20458"/>
                  </a:lnTo>
                  <a:lnTo>
                    <a:pt x="50752" y="17704"/>
                  </a:lnTo>
                  <a:lnTo>
                    <a:pt x="53899" y="18098"/>
                  </a:lnTo>
                  <a:lnTo>
                    <a:pt x="57047" y="18491"/>
                  </a:lnTo>
                  <a:lnTo>
                    <a:pt x="59801" y="18884"/>
                  </a:lnTo>
                  <a:lnTo>
                    <a:pt x="62554" y="20458"/>
                  </a:lnTo>
                  <a:lnTo>
                    <a:pt x="63735" y="23212"/>
                  </a:lnTo>
                  <a:lnTo>
                    <a:pt x="64915" y="23999"/>
                  </a:lnTo>
                  <a:lnTo>
                    <a:pt x="67669" y="25573"/>
                  </a:lnTo>
                  <a:lnTo>
                    <a:pt x="70423" y="26753"/>
                  </a:lnTo>
                  <a:lnTo>
                    <a:pt x="73571" y="27933"/>
                  </a:lnTo>
                  <a:lnTo>
                    <a:pt x="76324" y="29507"/>
                  </a:lnTo>
                  <a:lnTo>
                    <a:pt x="79078" y="31474"/>
                  </a:lnTo>
                  <a:lnTo>
                    <a:pt x="82226" y="34228"/>
                  </a:lnTo>
                  <a:lnTo>
                    <a:pt x="85373" y="35408"/>
                  </a:lnTo>
                  <a:lnTo>
                    <a:pt x="88127" y="35408"/>
                  </a:lnTo>
                  <a:lnTo>
                    <a:pt x="88127" y="32654"/>
                  </a:lnTo>
                  <a:lnTo>
                    <a:pt x="88914" y="29901"/>
                  </a:lnTo>
                  <a:lnTo>
                    <a:pt x="89700" y="27147"/>
                  </a:lnTo>
                  <a:lnTo>
                    <a:pt x="88127" y="24392"/>
                  </a:lnTo>
                  <a:lnTo>
                    <a:pt x="86160" y="21245"/>
                  </a:lnTo>
                  <a:lnTo>
                    <a:pt x="83406" y="20065"/>
                  </a:lnTo>
                  <a:lnTo>
                    <a:pt x="83012" y="17311"/>
                  </a:lnTo>
                  <a:lnTo>
                    <a:pt x="82226" y="14163"/>
                  </a:lnTo>
                  <a:lnTo>
                    <a:pt x="81439" y="11409"/>
                  </a:lnTo>
                  <a:lnTo>
                    <a:pt x="78685" y="9836"/>
                  </a:lnTo>
                  <a:lnTo>
                    <a:pt x="75931" y="7082"/>
                  </a:lnTo>
                  <a:lnTo>
                    <a:pt x="73177" y="6688"/>
                  </a:lnTo>
                  <a:lnTo>
                    <a:pt x="70029" y="7082"/>
                  </a:lnTo>
                  <a:lnTo>
                    <a:pt x="67275" y="7082"/>
                  </a:lnTo>
                  <a:lnTo>
                    <a:pt x="64522" y="7082"/>
                  </a:lnTo>
                  <a:lnTo>
                    <a:pt x="62948" y="6295"/>
                  </a:lnTo>
                  <a:lnTo>
                    <a:pt x="60193" y="3934"/>
                  </a:lnTo>
                  <a:lnTo>
                    <a:pt x="57440" y="2754"/>
                  </a:lnTo>
                  <a:lnTo>
                    <a:pt x="54292" y="1574"/>
                  </a:lnTo>
                  <a:lnTo>
                    <a:pt x="51538" y="394"/>
                  </a:lnTo>
                  <a:lnTo>
                    <a:pt x="48391" y="0"/>
                  </a:lnTo>
                  <a:lnTo>
                    <a:pt x="45637" y="1967"/>
                  </a:lnTo>
                  <a:lnTo>
                    <a:pt x="42489" y="3934"/>
                  </a:lnTo>
                  <a:lnTo>
                    <a:pt x="39735" y="5901"/>
                  </a:lnTo>
                  <a:lnTo>
                    <a:pt x="36588" y="3934"/>
                  </a:lnTo>
                  <a:lnTo>
                    <a:pt x="34621" y="1180"/>
                  </a:lnTo>
                  <a:lnTo>
                    <a:pt x="31474" y="2361"/>
                  </a:lnTo>
                  <a:lnTo>
                    <a:pt x="22818" y="2361"/>
                  </a:lnTo>
                  <a:lnTo>
                    <a:pt x="20064" y="1967"/>
                  </a:lnTo>
                  <a:lnTo>
                    <a:pt x="17310" y="1967"/>
                  </a:lnTo>
                  <a:lnTo>
                    <a:pt x="14557" y="2754"/>
                  </a:lnTo>
                  <a:lnTo>
                    <a:pt x="11409" y="2361"/>
                  </a:lnTo>
                  <a:lnTo>
                    <a:pt x="8261" y="3934"/>
                  </a:lnTo>
                  <a:lnTo>
                    <a:pt x="7869" y="6688"/>
                  </a:lnTo>
                  <a:lnTo>
                    <a:pt x="5901" y="9442"/>
                  </a:lnTo>
                  <a:lnTo>
                    <a:pt x="3147" y="11016"/>
                  </a:lnTo>
                  <a:lnTo>
                    <a:pt x="0" y="13770"/>
                  </a:lnTo>
                  <a:lnTo>
                    <a:pt x="393" y="16524"/>
                  </a:lnTo>
                  <a:lnTo>
                    <a:pt x="1967" y="19671"/>
                  </a:lnTo>
                  <a:lnTo>
                    <a:pt x="1180" y="22425"/>
                  </a:lnTo>
                  <a:lnTo>
                    <a:pt x="1573" y="25179"/>
                  </a:lnTo>
                  <a:lnTo>
                    <a:pt x="2360" y="22425"/>
                  </a:lnTo>
                  <a:lnTo>
                    <a:pt x="4327" y="19671"/>
                  </a:lnTo>
                  <a:lnTo>
                    <a:pt x="5508" y="16917"/>
                  </a:lnTo>
                  <a:lnTo>
                    <a:pt x="5901" y="14163"/>
                  </a:lnTo>
                  <a:lnTo>
                    <a:pt x="7081" y="11016"/>
                  </a:lnTo>
                  <a:lnTo>
                    <a:pt x="10229" y="11016"/>
                  </a:lnTo>
                  <a:lnTo>
                    <a:pt x="9836" y="14163"/>
                  </a:lnTo>
                  <a:lnTo>
                    <a:pt x="12589" y="15344"/>
                  </a:lnTo>
                  <a:lnTo>
                    <a:pt x="14557" y="18098"/>
                  </a:lnTo>
                  <a:lnTo>
                    <a:pt x="15737" y="21245"/>
                  </a:lnTo>
                  <a:lnTo>
                    <a:pt x="18491" y="22819"/>
                  </a:lnTo>
                  <a:lnTo>
                    <a:pt x="21638" y="22032"/>
                  </a:lnTo>
                  <a:lnTo>
                    <a:pt x="24392" y="19278"/>
                  </a:lnTo>
                  <a:lnTo>
                    <a:pt x="27540" y="16524"/>
                  </a:lnTo>
                  <a:lnTo>
                    <a:pt x="30294" y="14163"/>
                  </a:lnTo>
                  <a:lnTo>
                    <a:pt x="33047" y="16131"/>
                  </a:lnTo>
                  <a:lnTo>
                    <a:pt x="32654" y="1927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15" name="Freeform: Shape 3909">
              <a:extLst>
                <a:ext uri="{FF2B5EF4-FFF2-40B4-BE49-F238E27FC236}">
                  <a16:creationId xmlns:a16="http://schemas.microsoft.com/office/drawing/2014/main" id="{A6C35FFB-D01E-4957-89C8-5D814157FFFD}"/>
                </a:ext>
              </a:extLst>
            </p:cNvPr>
            <p:cNvSpPr/>
            <p:nvPr/>
          </p:nvSpPr>
          <p:spPr>
            <a:xfrm>
              <a:off x="9780045" y="3781158"/>
              <a:ext cx="27540" cy="11803"/>
            </a:xfrm>
            <a:custGeom>
              <a:avLst/>
              <a:gdLst>
                <a:gd name="connsiteX0" fmla="*/ 27147 w 27539"/>
                <a:gd name="connsiteY0" fmla="*/ 5114 h 11802"/>
                <a:gd name="connsiteX1" fmla="*/ 25573 w 27539"/>
                <a:gd name="connsiteY1" fmla="*/ 2361 h 11802"/>
                <a:gd name="connsiteX2" fmla="*/ 22819 w 27539"/>
                <a:gd name="connsiteY2" fmla="*/ 4721 h 11802"/>
                <a:gd name="connsiteX3" fmla="*/ 19671 w 27539"/>
                <a:gd name="connsiteY3" fmla="*/ 2754 h 11802"/>
                <a:gd name="connsiteX4" fmla="*/ 16918 w 27539"/>
                <a:gd name="connsiteY4" fmla="*/ 2361 h 11802"/>
                <a:gd name="connsiteX5" fmla="*/ 14164 w 27539"/>
                <a:gd name="connsiteY5" fmla="*/ 1180 h 11802"/>
                <a:gd name="connsiteX6" fmla="*/ 11016 w 27539"/>
                <a:gd name="connsiteY6" fmla="*/ 394 h 11802"/>
                <a:gd name="connsiteX7" fmla="*/ 8262 w 27539"/>
                <a:gd name="connsiteY7" fmla="*/ 0 h 11802"/>
                <a:gd name="connsiteX8" fmla="*/ 5115 w 27539"/>
                <a:gd name="connsiteY8" fmla="*/ 394 h 11802"/>
                <a:gd name="connsiteX9" fmla="*/ 3148 w 27539"/>
                <a:gd name="connsiteY9" fmla="*/ 787 h 11802"/>
                <a:gd name="connsiteX10" fmla="*/ 1180 w 27539"/>
                <a:gd name="connsiteY10" fmla="*/ 3934 h 11802"/>
                <a:gd name="connsiteX11" fmla="*/ 0 w 27539"/>
                <a:gd name="connsiteY11" fmla="*/ 6688 h 11802"/>
                <a:gd name="connsiteX12" fmla="*/ 788 w 27539"/>
                <a:gd name="connsiteY12" fmla="*/ 9442 h 11802"/>
                <a:gd name="connsiteX13" fmla="*/ 1967 w 27539"/>
                <a:gd name="connsiteY13" fmla="*/ 12590 h 11802"/>
                <a:gd name="connsiteX14" fmla="*/ 5115 w 27539"/>
                <a:gd name="connsiteY14" fmla="*/ 12983 h 11802"/>
                <a:gd name="connsiteX15" fmla="*/ 7869 w 27539"/>
                <a:gd name="connsiteY15" fmla="*/ 12196 h 11802"/>
                <a:gd name="connsiteX16" fmla="*/ 10623 w 27539"/>
                <a:gd name="connsiteY16" fmla="*/ 11803 h 11802"/>
                <a:gd name="connsiteX17" fmla="*/ 13377 w 27539"/>
                <a:gd name="connsiteY17" fmla="*/ 9836 h 11802"/>
                <a:gd name="connsiteX18" fmla="*/ 16131 w 27539"/>
                <a:gd name="connsiteY18" fmla="*/ 9049 h 11802"/>
                <a:gd name="connsiteX19" fmla="*/ 19278 w 27539"/>
                <a:gd name="connsiteY19" fmla="*/ 10229 h 11802"/>
                <a:gd name="connsiteX20" fmla="*/ 22032 w 27539"/>
                <a:gd name="connsiteY20" fmla="*/ 9049 h 11802"/>
                <a:gd name="connsiteX21" fmla="*/ 24786 w 27539"/>
                <a:gd name="connsiteY21" fmla="*/ 8262 h 11802"/>
                <a:gd name="connsiteX22" fmla="*/ 27934 w 27539"/>
                <a:gd name="connsiteY22" fmla="*/ 8262 h 11802"/>
                <a:gd name="connsiteX23" fmla="*/ 29901 w 27539"/>
                <a:gd name="connsiteY23" fmla="*/ 5508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7539" h="11802">
                  <a:moveTo>
                    <a:pt x="27147" y="5114"/>
                  </a:moveTo>
                  <a:lnTo>
                    <a:pt x="25573" y="2361"/>
                  </a:lnTo>
                  <a:lnTo>
                    <a:pt x="22819" y="4721"/>
                  </a:lnTo>
                  <a:lnTo>
                    <a:pt x="19671" y="2754"/>
                  </a:lnTo>
                  <a:lnTo>
                    <a:pt x="16918" y="2361"/>
                  </a:lnTo>
                  <a:lnTo>
                    <a:pt x="14164" y="1180"/>
                  </a:lnTo>
                  <a:lnTo>
                    <a:pt x="11016" y="394"/>
                  </a:lnTo>
                  <a:lnTo>
                    <a:pt x="8262" y="0"/>
                  </a:lnTo>
                  <a:lnTo>
                    <a:pt x="5115" y="394"/>
                  </a:lnTo>
                  <a:lnTo>
                    <a:pt x="3148" y="787"/>
                  </a:lnTo>
                  <a:lnTo>
                    <a:pt x="1180" y="3934"/>
                  </a:lnTo>
                  <a:lnTo>
                    <a:pt x="0" y="6688"/>
                  </a:lnTo>
                  <a:lnTo>
                    <a:pt x="788" y="9442"/>
                  </a:lnTo>
                  <a:lnTo>
                    <a:pt x="1967" y="12590"/>
                  </a:lnTo>
                  <a:lnTo>
                    <a:pt x="5115" y="12983"/>
                  </a:lnTo>
                  <a:lnTo>
                    <a:pt x="7869" y="12196"/>
                  </a:lnTo>
                  <a:lnTo>
                    <a:pt x="10623" y="11803"/>
                  </a:lnTo>
                  <a:lnTo>
                    <a:pt x="13377" y="9836"/>
                  </a:lnTo>
                  <a:lnTo>
                    <a:pt x="16131" y="9049"/>
                  </a:lnTo>
                  <a:lnTo>
                    <a:pt x="19278" y="10229"/>
                  </a:lnTo>
                  <a:lnTo>
                    <a:pt x="22032" y="9049"/>
                  </a:lnTo>
                  <a:lnTo>
                    <a:pt x="24786" y="8262"/>
                  </a:lnTo>
                  <a:lnTo>
                    <a:pt x="27934" y="8262"/>
                  </a:lnTo>
                  <a:lnTo>
                    <a:pt x="29901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16" name="Freeform: Shape 3910">
              <a:extLst>
                <a:ext uri="{FF2B5EF4-FFF2-40B4-BE49-F238E27FC236}">
                  <a16:creationId xmlns:a16="http://schemas.microsoft.com/office/drawing/2014/main" id="{BA5F4773-FDA9-4733-8E84-FD0879045A1E}"/>
                </a:ext>
              </a:extLst>
            </p:cNvPr>
            <p:cNvSpPr/>
            <p:nvPr/>
          </p:nvSpPr>
          <p:spPr>
            <a:xfrm>
              <a:off x="9734801" y="3765421"/>
              <a:ext cx="19671" cy="15737"/>
            </a:xfrm>
            <a:custGeom>
              <a:avLst/>
              <a:gdLst>
                <a:gd name="connsiteX0" fmla="*/ 22032 w 19671"/>
                <a:gd name="connsiteY0" fmla="*/ 5508 h 15737"/>
                <a:gd name="connsiteX1" fmla="*/ 20065 w 19671"/>
                <a:gd name="connsiteY1" fmla="*/ 2754 h 15737"/>
                <a:gd name="connsiteX2" fmla="*/ 16918 w 19671"/>
                <a:gd name="connsiteY2" fmla="*/ 1967 h 15737"/>
                <a:gd name="connsiteX3" fmla="*/ 14950 w 19671"/>
                <a:gd name="connsiteY3" fmla="*/ 4721 h 15737"/>
                <a:gd name="connsiteX4" fmla="*/ 12983 w 19671"/>
                <a:gd name="connsiteY4" fmla="*/ 7475 h 15737"/>
                <a:gd name="connsiteX5" fmla="*/ 11803 w 19671"/>
                <a:gd name="connsiteY5" fmla="*/ 4328 h 15737"/>
                <a:gd name="connsiteX6" fmla="*/ 12983 w 19671"/>
                <a:gd name="connsiteY6" fmla="*/ 1574 h 15737"/>
                <a:gd name="connsiteX7" fmla="*/ 9836 w 19671"/>
                <a:gd name="connsiteY7" fmla="*/ 394 h 15737"/>
                <a:gd name="connsiteX8" fmla="*/ 6689 w 19671"/>
                <a:gd name="connsiteY8" fmla="*/ 0 h 15737"/>
                <a:gd name="connsiteX9" fmla="*/ 3934 w 19671"/>
                <a:gd name="connsiteY9" fmla="*/ 394 h 15737"/>
                <a:gd name="connsiteX10" fmla="*/ 1180 w 19671"/>
                <a:gd name="connsiteY10" fmla="*/ 2754 h 15737"/>
                <a:gd name="connsiteX11" fmla="*/ 0 w 19671"/>
                <a:gd name="connsiteY11" fmla="*/ 5508 h 15737"/>
                <a:gd name="connsiteX12" fmla="*/ 0 w 19671"/>
                <a:gd name="connsiteY12" fmla="*/ 8655 h 15737"/>
                <a:gd name="connsiteX13" fmla="*/ 788 w 19671"/>
                <a:gd name="connsiteY13" fmla="*/ 11409 h 15737"/>
                <a:gd name="connsiteX14" fmla="*/ 1967 w 19671"/>
                <a:gd name="connsiteY14" fmla="*/ 14557 h 15737"/>
                <a:gd name="connsiteX15" fmla="*/ 4722 w 19671"/>
                <a:gd name="connsiteY15" fmla="*/ 12590 h 15737"/>
                <a:gd name="connsiteX16" fmla="*/ 6689 w 19671"/>
                <a:gd name="connsiteY16" fmla="*/ 9442 h 15737"/>
                <a:gd name="connsiteX17" fmla="*/ 8262 w 19671"/>
                <a:gd name="connsiteY17" fmla="*/ 6688 h 15737"/>
                <a:gd name="connsiteX18" fmla="*/ 11016 w 19671"/>
                <a:gd name="connsiteY18" fmla="*/ 9442 h 15737"/>
                <a:gd name="connsiteX19" fmla="*/ 10229 w 19671"/>
                <a:gd name="connsiteY19" fmla="*/ 12590 h 15737"/>
                <a:gd name="connsiteX20" fmla="*/ 10229 w 19671"/>
                <a:gd name="connsiteY20" fmla="*/ 15344 h 15737"/>
                <a:gd name="connsiteX21" fmla="*/ 12983 w 19671"/>
                <a:gd name="connsiteY21" fmla="*/ 16131 h 15737"/>
                <a:gd name="connsiteX22" fmla="*/ 12983 w 19671"/>
                <a:gd name="connsiteY22" fmla="*/ 12983 h 15737"/>
                <a:gd name="connsiteX23" fmla="*/ 13377 w 19671"/>
                <a:gd name="connsiteY23" fmla="*/ 10229 h 15737"/>
                <a:gd name="connsiteX24" fmla="*/ 16131 w 19671"/>
                <a:gd name="connsiteY24" fmla="*/ 11409 h 15737"/>
                <a:gd name="connsiteX25" fmla="*/ 18885 w 19671"/>
                <a:gd name="connsiteY25" fmla="*/ 11409 h 15737"/>
                <a:gd name="connsiteX26" fmla="*/ 21638 w 19671"/>
                <a:gd name="connsiteY26" fmla="*/ 8655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9671" h="15737">
                  <a:moveTo>
                    <a:pt x="22032" y="5508"/>
                  </a:moveTo>
                  <a:lnTo>
                    <a:pt x="20065" y="2754"/>
                  </a:lnTo>
                  <a:lnTo>
                    <a:pt x="16918" y="1967"/>
                  </a:lnTo>
                  <a:lnTo>
                    <a:pt x="14950" y="4721"/>
                  </a:lnTo>
                  <a:lnTo>
                    <a:pt x="12983" y="7475"/>
                  </a:lnTo>
                  <a:lnTo>
                    <a:pt x="11803" y="4328"/>
                  </a:lnTo>
                  <a:lnTo>
                    <a:pt x="12983" y="1574"/>
                  </a:lnTo>
                  <a:lnTo>
                    <a:pt x="9836" y="394"/>
                  </a:lnTo>
                  <a:lnTo>
                    <a:pt x="6689" y="0"/>
                  </a:lnTo>
                  <a:lnTo>
                    <a:pt x="3934" y="394"/>
                  </a:lnTo>
                  <a:lnTo>
                    <a:pt x="1180" y="2754"/>
                  </a:lnTo>
                  <a:lnTo>
                    <a:pt x="0" y="5508"/>
                  </a:lnTo>
                  <a:lnTo>
                    <a:pt x="0" y="8655"/>
                  </a:lnTo>
                  <a:lnTo>
                    <a:pt x="788" y="11409"/>
                  </a:lnTo>
                  <a:lnTo>
                    <a:pt x="1967" y="14557"/>
                  </a:lnTo>
                  <a:lnTo>
                    <a:pt x="4722" y="12590"/>
                  </a:lnTo>
                  <a:lnTo>
                    <a:pt x="6689" y="9442"/>
                  </a:lnTo>
                  <a:lnTo>
                    <a:pt x="8262" y="6688"/>
                  </a:lnTo>
                  <a:lnTo>
                    <a:pt x="11016" y="9442"/>
                  </a:lnTo>
                  <a:lnTo>
                    <a:pt x="10229" y="12590"/>
                  </a:lnTo>
                  <a:lnTo>
                    <a:pt x="10229" y="15344"/>
                  </a:lnTo>
                  <a:lnTo>
                    <a:pt x="12983" y="16131"/>
                  </a:lnTo>
                  <a:lnTo>
                    <a:pt x="12983" y="12983"/>
                  </a:lnTo>
                  <a:lnTo>
                    <a:pt x="13377" y="10229"/>
                  </a:lnTo>
                  <a:lnTo>
                    <a:pt x="16131" y="11409"/>
                  </a:lnTo>
                  <a:lnTo>
                    <a:pt x="18885" y="11409"/>
                  </a:lnTo>
                  <a:lnTo>
                    <a:pt x="21638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17" name="Freeform: Shape 3911">
              <a:extLst>
                <a:ext uri="{FF2B5EF4-FFF2-40B4-BE49-F238E27FC236}">
                  <a16:creationId xmlns:a16="http://schemas.microsoft.com/office/drawing/2014/main" id="{C2706AE5-52E7-48BF-AF6B-DE419D12DBED}"/>
                </a:ext>
              </a:extLst>
            </p:cNvPr>
            <p:cNvSpPr/>
            <p:nvPr/>
          </p:nvSpPr>
          <p:spPr>
            <a:xfrm>
              <a:off x="9737556" y="4005018"/>
              <a:ext cx="19671" cy="11803"/>
            </a:xfrm>
            <a:custGeom>
              <a:avLst/>
              <a:gdLst>
                <a:gd name="connsiteX0" fmla="*/ 5508 w 19671"/>
                <a:gd name="connsiteY0" fmla="*/ 11409 h 11802"/>
                <a:gd name="connsiteX1" fmla="*/ 8261 w 19671"/>
                <a:gd name="connsiteY1" fmla="*/ 12590 h 11802"/>
                <a:gd name="connsiteX2" fmla="*/ 8655 w 19671"/>
                <a:gd name="connsiteY2" fmla="*/ 9836 h 11802"/>
                <a:gd name="connsiteX3" fmla="*/ 11409 w 19671"/>
                <a:gd name="connsiteY3" fmla="*/ 7082 h 11802"/>
                <a:gd name="connsiteX4" fmla="*/ 14557 w 19671"/>
                <a:gd name="connsiteY4" fmla="*/ 4721 h 11802"/>
                <a:gd name="connsiteX5" fmla="*/ 17310 w 19671"/>
                <a:gd name="connsiteY5" fmla="*/ 2754 h 11802"/>
                <a:gd name="connsiteX6" fmla="*/ 20458 w 19671"/>
                <a:gd name="connsiteY6" fmla="*/ 1967 h 11802"/>
                <a:gd name="connsiteX7" fmla="*/ 17310 w 19671"/>
                <a:gd name="connsiteY7" fmla="*/ 0 h 11802"/>
                <a:gd name="connsiteX8" fmla="*/ 14557 w 19671"/>
                <a:gd name="connsiteY8" fmla="*/ 393 h 11802"/>
                <a:gd name="connsiteX9" fmla="*/ 11409 w 19671"/>
                <a:gd name="connsiteY9" fmla="*/ 787 h 11802"/>
                <a:gd name="connsiteX10" fmla="*/ 11015 w 19671"/>
                <a:gd name="connsiteY10" fmla="*/ 3541 h 11802"/>
                <a:gd name="connsiteX11" fmla="*/ 8261 w 19671"/>
                <a:gd name="connsiteY11" fmla="*/ 5508 h 11802"/>
                <a:gd name="connsiteX12" fmla="*/ 8655 w 19671"/>
                <a:gd name="connsiteY12" fmla="*/ 2754 h 11802"/>
                <a:gd name="connsiteX13" fmla="*/ 5901 w 19671"/>
                <a:gd name="connsiteY13" fmla="*/ 2360 h 11802"/>
                <a:gd name="connsiteX14" fmla="*/ 3934 w 19671"/>
                <a:gd name="connsiteY14" fmla="*/ 2360 h 11802"/>
                <a:gd name="connsiteX15" fmla="*/ 5901 w 19671"/>
                <a:gd name="connsiteY15" fmla="*/ 5114 h 11802"/>
                <a:gd name="connsiteX16" fmla="*/ 3147 w 19671"/>
                <a:gd name="connsiteY16" fmla="*/ 6688 h 11802"/>
                <a:gd name="connsiteX17" fmla="*/ 0 w 19671"/>
                <a:gd name="connsiteY17" fmla="*/ 9049 h 11802"/>
                <a:gd name="connsiteX18" fmla="*/ 0 w 19671"/>
                <a:gd name="connsiteY18" fmla="*/ 11803 h 11802"/>
                <a:gd name="connsiteX19" fmla="*/ 2754 w 19671"/>
                <a:gd name="connsiteY19" fmla="*/ 1259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671" h="11802">
                  <a:moveTo>
                    <a:pt x="5508" y="11409"/>
                  </a:moveTo>
                  <a:lnTo>
                    <a:pt x="8261" y="12590"/>
                  </a:lnTo>
                  <a:lnTo>
                    <a:pt x="8655" y="9836"/>
                  </a:lnTo>
                  <a:lnTo>
                    <a:pt x="11409" y="7082"/>
                  </a:lnTo>
                  <a:lnTo>
                    <a:pt x="14557" y="4721"/>
                  </a:lnTo>
                  <a:lnTo>
                    <a:pt x="17310" y="2754"/>
                  </a:lnTo>
                  <a:lnTo>
                    <a:pt x="20458" y="1967"/>
                  </a:lnTo>
                  <a:lnTo>
                    <a:pt x="17310" y="0"/>
                  </a:lnTo>
                  <a:lnTo>
                    <a:pt x="14557" y="393"/>
                  </a:lnTo>
                  <a:lnTo>
                    <a:pt x="11409" y="787"/>
                  </a:lnTo>
                  <a:lnTo>
                    <a:pt x="11015" y="3541"/>
                  </a:lnTo>
                  <a:lnTo>
                    <a:pt x="8261" y="5508"/>
                  </a:lnTo>
                  <a:lnTo>
                    <a:pt x="8655" y="2754"/>
                  </a:lnTo>
                  <a:lnTo>
                    <a:pt x="5901" y="2360"/>
                  </a:lnTo>
                  <a:lnTo>
                    <a:pt x="3934" y="2360"/>
                  </a:lnTo>
                  <a:lnTo>
                    <a:pt x="5901" y="5114"/>
                  </a:lnTo>
                  <a:lnTo>
                    <a:pt x="3147" y="6688"/>
                  </a:lnTo>
                  <a:lnTo>
                    <a:pt x="0" y="9049"/>
                  </a:lnTo>
                  <a:lnTo>
                    <a:pt x="0" y="11803"/>
                  </a:lnTo>
                  <a:lnTo>
                    <a:pt x="2754" y="1259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18" name="Freeform: Shape 3912">
              <a:extLst>
                <a:ext uri="{FF2B5EF4-FFF2-40B4-BE49-F238E27FC236}">
                  <a16:creationId xmlns:a16="http://schemas.microsoft.com/office/drawing/2014/main" id="{6676A50F-0E5A-4291-80CC-2D786F2D284F}"/>
                </a:ext>
              </a:extLst>
            </p:cNvPr>
            <p:cNvSpPr/>
            <p:nvPr/>
          </p:nvSpPr>
          <p:spPr>
            <a:xfrm>
              <a:off x="9813486" y="3983773"/>
              <a:ext cx="27540" cy="11803"/>
            </a:xfrm>
            <a:custGeom>
              <a:avLst/>
              <a:gdLst>
                <a:gd name="connsiteX0" fmla="*/ 12197 w 27539"/>
                <a:gd name="connsiteY0" fmla="*/ 4721 h 11802"/>
                <a:gd name="connsiteX1" fmla="*/ 9049 w 27539"/>
                <a:gd name="connsiteY1" fmla="*/ 3541 h 11802"/>
                <a:gd name="connsiteX2" fmla="*/ 6689 w 27539"/>
                <a:gd name="connsiteY2" fmla="*/ 2754 h 11802"/>
                <a:gd name="connsiteX3" fmla="*/ 4328 w 27539"/>
                <a:gd name="connsiteY3" fmla="*/ 5508 h 11802"/>
                <a:gd name="connsiteX4" fmla="*/ 2361 w 27539"/>
                <a:gd name="connsiteY4" fmla="*/ 8262 h 11802"/>
                <a:gd name="connsiteX5" fmla="*/ 1180 w 27539"/>
                <a:gd name="connsiteY5" fmla="*/ 11016 h 11802"/>
                <a:gd name="connsiteX6" fmla="*/ 0 w 27539"/>
                <a:gd name="connsiteY6" fmla="*/ 14163 h 11802"/>
                <a:gd name="connsiteX7" fmla="*/ 0 w 27539"/>
                <a:gd name="connsiteY7" fmla="*/ 14950 h 11802"/>
                <a:gd name="connsiteX8" fmla="*/ 3148 w 27539"/>
                <a:gd name="connsiteY8" fmla="*/ 12590 h 11802"/>
                <a:gd name="connsiteX9" fmla="*/ 5901 w 27539"/>
                <a:gd name="connsiteY9" fmla="*/ 11016 h 11802"/>
                <a:gd name="connsiteX10" fmla="*/ 9049 w 27539"/>
                <a:gd name="connsiteY10" fmla="*/ 10229 h 11802"/>
                <a:gd name="connsiteX11" fmla="*/ 12197 w 27539"/>
                <a:gd name="connsiteY11" fmla="*/ 11409 h 11802"/>
                <a:gd name="connsiteX12" fmla="*/ 14950 w 27539"/>
                <a:gd name="connsiteY12" fmla="*/ 11409 h 11802"/>
                <a:gd name="connsiteX13" fmla="*/ 17704 w 27539"/>
                <a:gd name="connsiteY13" fmla="*/ 11803 h 11802"/>
                <a:gd name="connsiteX14" fmla="*/ 20459 w 27539"/>
                <a:gd name="connsiteY14" fmla="*/ 12983 h 11802"/>
                <a:gd name="connsiteX15" fmla="*/ 22426 w 27539"/>
                <a:gd name="connsiteY15" fmla="*/ 10229 h 11802"/>
                <a:gd name="connsiteX16" fmla="*/ 25180 w 27539"/>
                <a:gd name="connsiteY16" fmla="*/ 7475 h 11802"/>
                <a:gd name="connsiteX17" fmla="*/ 28327 w 27539"/>
                <a:gd name="connsiteY17" fmla="*/ 5901 h 11802"/>
                <a:gd name="connsiteX18" fmla="*/ 31081 w 27539"/>
                <a:gd name="connsiteY18" fmla="*/ 5508 h 11802"/>
                <a:gd name="connsiteX19" fmla="*/ 28720 w 27539"/>
                <a:gd name="connsiteY19" fmla="*/ 2754 h 11802"/>
                <a:gd name="connsiteX20" fmla="*/ 26360 w 27539"/>
                <a:gd name="connsiteY20" fmla="*/ 0 h 11802"/>
                <a:gd name="connsiteX21" fmla="*/ 23606 w 27539"/>
                <a:gd name="connsiteY21" fmla="*/ 0 h 11802"/>
                <a:gd name="connsiteX22" fmla="*/ 20852 w 27539"/>
                <a:gd name="connsiteY22" fmla="*/ 1574 h 11802"/>
                <a:gd name="connsiteX23" fmla="*/ 18098 w 27539"/>
                <a:gd name="connsiteY23" fmla="*/ 3541 h 11802"/>
                <a:gd name="connsiteX24" fmla="*/ 14950 w 27539"/>
                <a:gd name="connsiteY24" fmla="*/ 3541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7539" h="11802">
                  <a:moveTo>
                    <a:pt x="12197" y="4721"/>
                  </a:moveTo>
                  <a:lnTo>
                    <a:pt x="9049" y="3541"/>
                  </a:lnTo>
                  <a:lnTo>
                    <a:pt x="6689" y="2754"/>
                  </a:lnTo>
                  <a:lnTo>
                    <a:pt x="4328" y="5508"/>
                  </a:lnTo>
                  <a:lnTo>
                    <a:pt x="2361" y="8262"/>
                  </a:lnTo>
                  <a:lnTo>
                    <a:pt x="1180" y="11016"/>
                  </a:lnTo>
                  <a:lnTo>
                    <a:pt x="0" y="14163"/>
                  </a:lnTo>
                  <a:lnTo>
                    <a:pt x="0" y="14950"/>
                  </a:lnTo>
                  <a:lnTo>
                    <a:pt x="3148" y="12590"/>
                  </a:lnTo>
                  <a:lnTo>
                    <a:pt x="5901" y="11016"/>
                  </a:lnTo>
                  <a:lnTo>
                    <a:pt x="9049" y="10229"/>
                  </a:lnTo>
                  <a:lnTo>
                    <a:pt x="12197" y="11409"/>
                  </a:lnTo>
                  <a:lnTo>
                    <a:pt x="14950" y="11409"/>
                  </a:lnTo>
                  <a:lnTo>
                    <a:pt x="17704" y="11803"/>
                  </a:lnTo>
                  <a:lnTo>
                    <a:pt x="20459" y="12983"/>
                  </a:lnTo>
                  <a:lnTo>
                    <a:pt x="22426" y="10229"/>
                  </a:lnTo>
                  <a:lnTo>
                    <a:pt x="25180" y="7475"/>
                  </a:lnTo>
                  <a:lnTo>
                    <a:pt x="28327" y="5901"/>
                  </a:lnTo>
                  <a:lnTo>
                    <a:pt x="31081" y="5508"/>
                  </a:lnTo>
                  <a:lnTo>
                    <a:pt x="28720" y="2754"/>
                  </a:lnTo>
                  <a:lnTo>
                    <a:pt x="26360" y="0"/>
                  </a:lnTo>
                  <a:lnTo>
                    <a:pt x="23606" y="0"/>
                  </a:lnTo>
                  <a:lnTo>
                    <a:pt x="20852" y="1574"/>
                  </a:lnTo>
                  <a:lnTo>
                    <a:pt x="18098" y="3541"/>
                  </a:lnTo>
                  <a:lnTo>
                    <a:pt x="1495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19" name="Freeform: Shape 3913">
              <a:extLst>
                <a:ext uri="{FF2B5EF4-FFF2-40B4-BE49-F238E27FC236}">
                  <a16:creationId xmlns:a16="http://schemas.microsoft.com/office/drawing/2014/main" id="{F467AB46-8BCC-43C8-B43B-82B5D34800FD}"/>
                </a:ext>
              </a:extLst>
            </p:cNvPr>
            <p:cNvSpPr/>
            <p:nvPr/>
          </p:nvSpPr>
          <p:spPr>
            <a:xfrm>
              <a:off x="9722605" y="3875581"/>
              <a:ext cx="19671" cy="43277"/>
            </a:xfrm>
            <a:custGeom>
              <a:avLst/>
              <a:gdLst>
                <a:gd name="connsiteX0" fmla="*/ 12983 w 19671"/>
                <a:gd name="connsiteY0" fmla="*/ 21245 h 43276"/>
                <a:gd name="connsiteX1" fmla="*/ 12983 w 19671"/>
                <a:gd name="connsiteY1" fmla="*/ 18491 h 43276"/>
                <a:gd name="connsiteX2" fmla="*/ 14163 w 19671"/>
                <a:gd name="connsiteY2" fmla="*/ 15344 h 43276"/>
                <a:gd name="connsiteX3" fmla="*/ 15343 w 19671"/>
                <a:gd name="connsiteY3" fmla="*/ 12590 h 43276"/>
                <a:gd name="connsiteX4" fmla="*/ 18097 w 19671"/>
                <a:gd name="connsiteY4" fmla="*/ 10623 h 43276"/>
                <a:gd name="connsiteX5" fmla="*/ 19278 w 19671"/>
                <a:gd name="connsiteY5" fmla="*/ 13377 h 43276"/>
                <a:gd name="connsiteX6" fmla="*/ 20458 w 19671"/>
                <a:gd name="connsiteY6" fmla="*/ 10623 h 43276"/>
                <a:gd name="connsiteX7" fmla="*/ 20064 w 19671"/>
                <a:gd name="connsiteY7" fmla="*/ 7475 h 43276"/>
                <a:gd name="connsiteX8" fmla="*/ 19278 w 19671"/>
                <a:gd name="connsiteY8" fmla="*/ 4721 h 43276"/>
                <a:gd name="connsiteX9" fmla="*/ 16918 w 19671"/>
                <a:gd name="connsiteY9" fmla="*/ 1967 h 43276"/>
                <a:gd name="connsiteX10" fmla="*/ 16918 w 19671"/>
                <a:gd name="connsiteY10" fmla="*/ 0 h 43276"/>
                <a:gd name="connsiteX11" fmla="*/ 14163 w 19671"/>
                <a:gd name="connsiteY11" fmla="*/ 394 h 43276"/>
                <a:gd name="connsiteX12" fmla="*/ 11016 w 19671"/>
                <a:gd name="connsiteY12" fmla="*/ 3541 h 43276"/>
                <a:gd name="connsiteX13" fmla="*/ 9836 w 19671"/>
                <a:gd name="connsiteY13" fmla="*/ 6688 h 43276"/>
                <a:gd name="connsiteX14" fmla="*/ 9442 w 19671"/>
                <a:gd name="connsiteY14" fmla="*/ 9836 h 43276"/>
                <a:gd name="connsiteX15" fmla="*/ 9442 w 19671"/>
                <a:gd name="connsiteY15" fmla="*/ 12590 h 43276"/>
                <a:gd name="connsiteX16" fmla="*/ 8261 w 19671"/>
                <a:gd name="connsiteY16" fmla="*/ 15344 h 43276"/>
                <a:gd name="connsiteX17" fmla="*/ 8261 w 19671"/>
                <a:gd name="connsiteY17" fmla="*/ 18098 h 43276"/>
                <a:gd name="connsiteX18" fmla="*/ 5901 w 19671"/>
                <a:gd name="connsiteY18" fmla="*/ 20852 h 43276"/>
                <a:gd name="connsiteX19" fmla="*/ 7082 w 19671"/>
                <a:gd name="connsiteY19" fmla="*/ 23999 h 43276"/>
                <a:gd name="connsiteX20" fmla="*/ 5901 w 19671"/>
                <a:gd name="connsiteY20" fmla="*/ 26753 h 43276"/>
                <a:gd name="connsiteX21" fmla="*/ 4721 w 19671"/>
                <a:gd name="connsiteY21" fmla="*/ 29901 h 43276"/>
                <a:gd name="connsiteX22" fmla="*/ 2754 w 19671"/>
                <a:gd name="connsiteY22" fmla="*/ 33048 h 43276"/>
                <a:gd name="connsiteX23" fmla="*/ 1573 w 19671"/>
                <a:gd name="connsiteY23" fmla="*/ 35802 h 43276"/>
                <a:gd name="connsiteX24" fmla="*/ 0 w 19671"/>
                <a:gd name="connsiteY24" fmla="*/ 38556 h 43276"/>
                <a:gd name="connsiteX25" fmla="*/ 1180 w 19671"/>
                <a:gd name="connsiteY25" fmla="*/ 41703 h 43276"/>
                <a:gd name="connsiteX26" fmla="*/ 3934 w 19671"/>
                <a:gd name="connsiteY26" fmla="*/ 41703 h 43276"/>
                <a:gd name="connsiteX27" fmla="*/ 7082 w 19671"/>
                <a:gd name="connsiteY27" fmla="*/ 43670 h 43276"/>
                <a:gd name="connsiteX28" fmla="*/ 9049 w 19671"/>
                <a:gd name="connsiteY28" fmla="*/ 40523 h 43276"/>
                <a:gd name="connsiteX29" fmla="*/ 9836 w 19671"/>
                <a:gd name="connsiteY29" fmla="*/ 37769 h 43276"/>
                <a:gd name="connsiteX30" fmla="*/ 10229 w 19671"/>
                <a:gd name="connsiteY30" fmla="*/ 35015 h 43276"/>
                <a:gd name="connsiteX31" fmla="*/ 12983 w 19671"/>
                <a:gd name="connsiteY31" fmla="*/ 33835 h 43276"/>
                <a:gd name="connsiteX32" fmla="*/ 16130 w 19671"/>
                <a:gd name="connsiteY32" fmla="*/ 33835 h 43276"/>
                <a:gd name="connsiteX33" fmla="*/ 18885 w 19671"/>
                <a:gd name="connsiteY33" fmla="*/ 31081 h 43276"/>
                <a:gd name="connsiteX34" fmla="*/ 17310 w 19671"/>
                <a:gd name="connsiteY34" fmla="*/ 27933 h 43276"/>
                <a:gd name="connsiteX35" fmla="*/ 14950 w 19671"/>
                <a:gd name="connsiteY35" fmla="*/ 25179 h 43276"/>
                <a:gd name="connsiteX36" fmla="*/ 12196 w 19671"/>
                <a:gd name="connsiteY36" fmla="*/ 26753 h 43276"/>
                <a:gd name="connsiteX37" fmla="*/ 12589 w 19671"/>
                <a:gd name="connsiteY37" fmla="*/ 23999 h 43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9671" h="43276">
                  <a:moveTo>
                    <a:pt x="12983" y="21245"/>
                  </a:moveTo>
                  <a:lnTo>
                    <a:pt x="12983" y="18491"/>
                  </a:lnTo>
                  <a:lnTo>
                    <a:pt x="14163" y="15344"/>
                  </a:lnTo>
                  <a:lnTo>
                    <a:pt x="15343" y="12590"/>
                  </a:lnTo>
                  <a:lnTo>
                    <a:pt x="18097" y="10623"/>
                  </a:lnTo>
                  <a:lnTo>
                    <a:pt x="19278" y="13377"/>
                  </a:lnTo>
                  <a:lnTo>
                    <a:pt x="20458" y="10623"/>
                  </a:lnTo>
                  <a:lnTo>
                    <a:pt x="20064" y="7475"/>
                  </a:lnTo>
                  <a:lnTo>
                    <a:pt x="19278" y="4721"/>
                  </a:lnTo>
                  <a:lnTo>
                    <a:pt x="16918" y="1967"/>
                  </a:lnTo>
                  <a:lnTo>
                    <a:pt x="16918" y="0"/>
                  </a:lnTo>
                  <a:lnTo>
                    <a:pt x="14163" y="394"/>
                  </a:lnTo>
                  <a:lnTo>
                    <a:pt x="11016" y="3541"/>
                  </a:lnTo>
                  <a:lnTo>
                    <a:pt x="9836" y="6688"/>
                  </a:lnTo>
                  <a:lnTo>
                    <a:pt x="9442" y="9836"/>
                  </a:lnTo>
                  <a:lnTo>
                    <a:pt x="9442" y="12590"/>
                  </a:lnTo>
                  <a:lnTo>
                    <a:pt x="8261" y="15344"/>
                  </a:lnTo>
                  <a:lnTo>
                    <a:pt x="8261" y="18098"/>
                  </a:lnTo>
                  <a:lnTo>
                    <a:pt x="5901" y="20852"/>
                  </a:lnTo>
                  <a:lnTo>
                    <a:pt x="7082" y="23999"/>
                  </a:lnTo>
                  <a:lnTo>
                    <a:pt x="5901" y="26753"/>
                  </a:lnTo>
                  <a:lnTo>
                    <a:pt x="4721" y="29901"/>
                  </a:lnTo>
                  <a:lnTo>
                    <a:pt x="2754" y="33048"/>
                  </a:lnTo>
                  <a:lnTo>
                    <a:pt x="1573" y="35802"/>
                  </a:lnTo>
                  <a:lnTo>
                    <a:pt x="0" y="38556"/>
                  </a:lnTo>
                  <a:lnTo>
                    <a:pt x="1180" y="41703"/>
                  </a:lnTo>
                  <a:lnTo>
                    <a:pt x="3934" y="41703"/>
                  </a:lnTo>
                  <a:lnTo>
                    <a:pt x="7082" y="43670"/>
                  </a:lnTo>
                  <a:lnTo>
                    <a:pt x="9049" y="40523"/>
                  </a:lnTo>
                  <a:lnTo>
                    <a:pt x="9836" y="37769"/>
                  </a:lnTo>
                  <a:lnTo>
                    <a:pt x="10229" y="35015"/>
                  </a:lnTo>
                  <a:lnTo>
                    <a:pt x="12983" y="33835"/>
                  </a:lnTo>
                  <a:lnTo>
                    <a:pt x="16130" y="33835"/>
                  </a:lnTo>
                  <a:lnTo>
                    <a:pt x="18885" y="31081"/>
                  </a:lnTo>
                  <a:lnTo>
                    <a:pt x="17310" y="27933"/>
                  </a:lnTo>
                  <a:lnTo>
                    <a:pt x="14950" y="25179"/>
                  </a:lnTo>
                  <a:lnTo>
                    <a:pt x="12196" y="26753"/>
                  </a:lnTo>
                  <a:lnTo>
                    <a:pt x="12589" y="2399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20" name="Freeform: Shape 3914">
              <a:extLst>
                <a:ext uri="{FF2B5EF4-FFF2-40B4-BE49-F238E27FC236}">
                  <a16:creationId xmlns:a16="http://schemas.microsoft.com/office/drawing/2014/main" id="{7CA65F98-A088-45A1-A2DB-0CC23681BAA1}"/>
                </a:ext>
              </a:extLst>
            </p:cNvPr>
            <p:cNvSpPr/>
            <p:nvPr/>
          </p:nvSpPr>
          <p:spPr>
            <a:xfrm>
              <a:off x="9713950" y="3882662"/>
              <a:ext cx="15737" cy="27540"/>
            </a:xfrm>
            <a:custGeom>
              <a:avLst/>
              <a:gdLst>
                <a:gd name="connsiteX0" fmla="*/ 1180 w 15737"/>
                <a:gd name="connsiteY0" fmla="*/ 18885 h 27539"/>
                <a:gd name="connsiteX1" fmla="*/ 1180 w 15737"/>
                <a:gd name="connsiteY1" fmla="*/ 22032 h 27539"/>
                <a:gd name="connsiteX2" fmla="*/ 0 w 15737"/>
                <a:gd name="connsiteY2" fmla="*/ 24786 h 27539"/>
                <a:gd name="connsiteX3" fmla="*/ 2754 w 15737"/>
                <a:gd name="connsiteY3" fmla="*/ 26360 h 27539"/>
                <a:gd name="connsiteX4" fmla="*/ 5508 w 15737"/>
                <a:gd name="connsiteY4" fmla="*/ 26753 h 27539"/>
                <a:gd name="connsiteX5" fmla="*/ 6688 w 15737"/>
                <a:gd name="connsiteY5" fmla="*/ 23606 h 27539"/>
                <a:gd name="connsiteX6" fmla="*/ 7475 w 15737"/>
                <a:gd name="connsiteY6" fmla="*/ 26753 h 27539"/>
                <a:gd name="connsiteX7" fmla="*/ 7869 w 15737"/>
                <a:gd name="connsiteY7" fmla="*/ 27933 h 27539"/>
                <a:gd name="connsiteX8" fmla="*/ 9836 w 15737"/>
                <a:gd name="connsiteY8" fmla="*/ 25179 h 27539"/>
                <a:gd name="connsiteX9" fmla="*/ 11409 w 15737"/>
                <a:gd name="connsiteY9" fmla="*/ 22032 h 27539"/>
                <a:gd name="connsiteX10" fmla="*/ 9836 w 15737"/>
                <a:gd name="connsiteY10" fmla="*/ 19278 h 27539"/>
                <a:gd name="connsiteX11" fmla="*/ 11015 w 15737"/>
                <a:gd name="connsiteY11" fmla="*/ 16524 h 27539"/>
                <a:gd name="connsiteX12" fmla="*/ 13770 w 15737"/>
                <a:gd name="connsiteY12" fmla="*/ 13377 h 27539"/>
                <a:gd name="connsiteX13" fmla="*/ 15737 w 15737"/>
                <a:gd name="connsiteY13" fmla="*/ 10623 h 27539"/>
                <a:gd name="connsiteX14" fmla="*/ 14949 w 15737"/>
                <a:gd name="connsiteY14" fmla="*/ 7475 h 27539"/>
                <a:gd name="connsiteX15" fmla="*/ 14949 w 15737"/>
                <a:gd name="connsiteY15" fmla="*/ 1574 h 27539"/>
                <a:gd name="connsiteX16" fmla="*/ 14163 w 15737"/>
                <a:gd name="connsiteY16" fmla="*/ 0 h 27539"/>
                <a:gd name="connsiteX17" fmla="*/ 11015 w 15737"/>
                <a:gd name="connsiteY17" fmla="*/ 1180 h 27539"/>
                <a:gd name="connsiteX18" fmla="*/ 8261 w 15737"/>
                <a:gd name="connsiteY18" fmla="*/ 3541 h 27539"/>
                <a:gd name="connsiteX19" fmla="*/ 5508 w 15737"/>
                <a:gd name="connsiteY19" fmla="*/ 4721 h 27539"/>
                <a:gd name="connsiteX20" fmla="*/ 2360 w 15737"/>
                <a:gd name="connsiteY20" fmla="*/ 7475 h 27539"/>
                <a:gd name="connsiteX21" fmla="*/ 3147 w 15737"/>
                <a:gd name="connsiteY21" fmla="*/ 10229 h 27539"/>
                <a:gd name="connsiteX22" fmla="*/ 3540 w 15737"/>
                <a:gd name="connsiteY22" fmla="*/ 12983 h 27539"/>
                <a:gd name="connsiteX23" fmla="*/ 3540 w 15737"/>
                <a:gd name="connsiteY23" fmla="*/ 16131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5737" h="27539">
                  <a:moveTo>
                    <a:pt x="1180" y="18885"/>
                  </a:moveTo>
                  <a:lnTo>
                    <a:pt x="1180" y="22032"/>
                  </a:lnTo>
                  <a:lnTo>
                    <a:pt x="0" y="24786"/>
                  </a:lnTo>
                  <a:lnTo>
                    <a:pt x="2754" y="26360"/>
                  </a:lnTo>
                  <a:lnTo>
                    <a:pt x="5508" y="26753"/>
                  </a:lnTo>
                  <a:lnTo>
                    <a:pt x="6688" y="23606"/>
                  </a:lnTo>
                  <a:lnTo>
                    <a:pt x="7475" y="26753"/>
                  </a:lnTo>
                  <a:lnTo>
                    <a:pt x="7869" y="27933"/>
                  </a:lnTo>
                  <a:lnTo>
                    <a:pt x="9836" y="25179"/>
                  </a:lnTo>
                  <a:lnTo>
                    <a:pt x="11409" y="22032"/>
                  </a:lnTo>
                  <a:lnTo>
                    <a:pt x="9836" y="19278"/>
                  </a:lnTo>
                  <a:lnTo>
                    <a:pt x="11015" y="16524"/>
                  </a:lnTo>
                  <a:lnTo>
                    <a:pt x="13770" y="13377"/>
                  </a:lnTo>
                  <a:lnTo>
                    <a:pt x="15737" y="10623"/>
                  </a:lnTo>
                  <a:lnTo>
                    <a:pt x="14949" y="7475"/>
                  </a:lnTo>
                  <a:lnTo>
                    <a:pt x="14949" y="1574"/>
                  </a:lnTo>
                  <a:lnTo>
                    <a:pt x="14163" y="0"/>
                  </a:lnTo>
                  <a:lnTo>
                    <a:pt x="11015" y="1180"/>
                  </a:lnTo>
                  <a:lnTo>
                    <a:pt x="8261" y="3541"/>
                  </a:lnTo>
                  <a:lnTo>
                    <a:pt x="5508" y="4721"/>
                  </a:lnTo>
                  <a:lnTo>
                    <a:pt x="2360" y="7475"/>
                  </a:lnTo>
                  <a:lnTo>
                    <a:pt x="3147" y="10229"/>
                  </a:lnTo>
                  <a:lnTo>
                    <a:pt x="3540" y="12983"/>
                  </a:lnTo>
                  <a:lnTo>
                    <a:pt x="3540" y="1613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21" name="Freeform: Shape 3915">
              <a:extLst>
                <a:ext uri="{FF2B5EF4-FFF2-40B4-BE49-F238E27FC236}">
                  <a16:creationId xmlns:a16="http://schemas.microsoft.com/office/drawing/2014/main" id="{E67872F7-0EF0-4CE2-81FC-FB9A34ABBF54}"/>
                </a:ext>
              </a:extLst>
            </p:cNvPr>
            <p:cNvSpPr/>
            <p:nvPr/>
          </p:nvSpPr>
          <p:spPr>
            <a:xfrm>
              <a:off x="9829617" y="3829550"/>
              <a:ext cx="35408" cy="23606"/>
            </a:xfrm>
            <a:custGeom>
              <a:avLst/>
              <a:gdLst>
                <a:gd name="connsiteX0" fmla="*/ 36589 w 35408"/>
                <a:gd name="connsiteY0" fmla="*/ 14557 h 23605"/>
                <a:gd name="connsiteX1" fmla="*/ 36982 w 35408"/>
                <a:gd name="connsiteY1" fmla="*/ 11409 h 23605"/>
                <a:gd name="connsiteX2" fmla="*/ 34228 w 35408"/>
                <a:gd name="connsiteY2" fmla="*/ 10229 h 23605"/>
                <a:gd name="connsiteX3" fmla="*/ 31474 w 35408"/>
                <a:gd name="connsiteY3" fmla="*/ 9049 h 23605"/>
                <a:gd name="connsiteX4" fmla="*/ 32655 w 35408"/>
                <a:gd name="connsiteY4" fmla="*/ 6295 h 23605"/>
                <a:gd name="connsiteX5" fmla="*/ 29901 w 35408"/>
                <a:gd name="connsiteY5" fmla="*/ 3541 h 23605"/>
                <a:gd name="connsiteX6" fmla="*/ 27146 w 35408"/>
                <a:gd name="connsiteY6" fmla="*/ 1967 h 23605"/>
                <a:gd name="connsiteX7" fmla="*/ 24392 w 35408"/>
                <a:gd name="connsiteY7" fmla="*/ 787 h 23605"/>
                <a:gd name="connsiteX8" fmla="*/ 21245 w 35408"/>
                <a:gd name="connsiteY8" fmla="*/ 0 h 23605"/>
                <a:gd name="connsiteX9" fmla="*/ 18491 w 35408"/>
                <a:gd name="connsiteY9" fmla="*/ 0 h 23605"/>
                <a:gd name="connsiteX10" fmla="*/ 15343 w 35408"/>
                <a:gd name="connsiteY10" fmla="*/ 394 h 23605"/>
                <a:gd name="connsiteX11" fmla="*/ 12197 w 35408"/>
                <a:gd name="connsiteY11" fmla="*/ 787 h 23605"/>
                <a:gd name="connsiteX12" fmla="*/ 9442 w 35408"/>
                <a:gd name="connsiteY12" fmla="*/ 1574 h 23605"/>
                <a:gd name="connsiteX13" fmla="*/ 6688 w 35408"/>
                <a:gd name="connsiteY13" fmla="*/ 2754 h 23605"/>
                <a:gd name="connsiteX14" fmla="*/ 3934 w 35408"/>
                <a:gd name="connsiteY14" fmla="*/ 3148 h 23605"/>
                <a:gd name="connsiteX15" fmla="*/ 1180 w 35408"/>
                <a:gd name="connsiteY15" fmla="*/ 2754 h 23605"/>
                <a:gd name="connsiteX16" fmla="*/ 0 w 35408"/>
                <a:gd name="connsiteY16" fmla="*/ 5508 h 23605"/>
                <a:gd name="connsiteX17" fmla="*/ 0 w 35408"/>
                <a:gd name="connsiteY17" fmla="*/ 8655 h 23605"/>
                <a:gd name="connsiteX18" fmla="*/ 0 w 35408"/>
                <a:gd name="connsiteY18" fmla="*/ 11409 h 23605"/>
                <a:gd name="connsiteX19" fmla="*/ 1967 w 35408"/>
                <a:gd name="connsiteY19" fmla="*/ 14163 h 23605"/>
                <a:gd name="connsiteX20" fmla="*/ 3934 w 35408"/>
                <a:gd name="connsiteY20" fmla="*/ 17311 h 23605"/>
                <a:gd name="connsiteX21" fmla="*/ 6688 w 35408"/>
                <a:gd name="connsiteY21" fmla="*/ 19671 h 23605"/>
                <a:gd name="connsiteX22" fmla="*/ 9836 w 35408"/>
                <a:gd name="connsiteY22" fmla="*/ 22032 h 23605"/>
                <a:gd name="connsiteX23" fmla="*/ 12589 w 35408"/>
                <a:gd name="connsiteY23" fmla="*/ 23606 h 23605"/>
                <a:gd name="connsiteX24" fmla="*/ 18098 w 35408"/>
                <a:gd name="connsiteY24" fmla="*/ 25966 h 23605"/>
                <a:gd name="connsiteX25" fmla="*/ 19278 w 35408"/>
                <a:gd name="connsiteY25" fmla="*/ 26360 h 23605"/>
                <a:gd name="connsiteX26" fmla="*/ 22032 w 35408"/>
                <a:gd name="connsiteY26" fmla="*/ 25179 h 23605"/>
                <a:gd name="connsiteX27" fmla="*/ 25179 w 35408"/>
                <a:gd name="connsiteY27" fmla="*/ 24786 h 23605"/>
                <a:gd name="connsiteX28" fmla="*/ 27934 w 35408"/>
                <a:gd name="connsiteY28" fmla="*/ 23212 h 23605"/>
                <a:gd name="connsiteX29" fmla="*/ 30687 w 35408"/>
                <a:gd name="connsiteY29" fmla="*/ 21638 h 23605"/>
                <a:gd name="connsiteX30" fmla="*/ 33441 w 35408"/>
                <a:gd name="connsiteY30" fmla="*/ 20458 h 23605"/>
                <a:gd name="connsiteX31" fmla="*/ 36195 w 35408"/>
                <a:gd name="connsiteY31" fmla="*/ 17311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5408" h="23605">
                  <a:moveTo>
                    <a:pt x="36589" y="14557"/>
                  </a:moveTo>
                  <a:lnTo>
                    <a:pt x="36982" y="11409"/>
                  </a:lnTo>
                  <a:lnTo>
                    <a:pt x="34228" y="10229"/>
                  </a:lnTo>
                  <a:lnTo>
                    <a:pt x="31474" y="9049"/>
                  </a:lnTo>
                  <a:lnTo>
                    <a:pt x="32655" y="6295"/>
                  </a:lnTo>
                  <a:lnTo>
                    <a:pt x="29901" y="3541"/>
                  </a:lnTo>
                  <a:lnTo>
                    <a:pt x="27146" y="1967"/>
                  </a:lnTo>
                  <a:lnTo>
                    <a:pt x="24392" y="787"/>
                  </a:lnTo>
                  <a:lnTo>
                    <a:pt x="21245" y="0"/>
                  </a:lnTo>
                  <a:lnTo>
                    <a:pt x="18491" y="0"/>
                  </a:lnTo>
                  <a:lnTo>
                    <a:pt x="15343" y="394"/>
                  </a:lnTo>
                  <a:lnTo>
                    <a:pt x="12197" y="787"/>
                  </a:lnTo>
                  <a:lnTo>
                    <a:pt x="9442" y="1574"/>
                  </a:lnTo>
                  <a:lnTo>
                    <a:pt x="6688" y="2754"/>
                  </a:lnTo>
                  <a:lnTo>
                    <a:pt x="3934" y="3148"/>
                  </a:lnTo>
                  <a:lnTo>
                    <a:pt x="1180" y="2754"/>
                  </a:lnTo>
                  <a:lnTo>
                    <a:pt x="0" y="5508"/>
                  </a:lnTo>
                  <a:lnTo>
                    <a:pt x="0" y="8655"/>
                  </a:lnTo>
                  <a:lnTo>
                    <a:pt x="0" y="11409"/>
                  </a:lnTo>
                  <a:lnTo>
                    <a:pt x="1967" y="14163"/>
                  </a:lnTo>
                  <a:lnTo>
                    <a:pt x="3934" y="17311"/>
                  </a:lnTo>
                  <a:lnTo>
                    <a:pt x="6688" y="19671"/>
                  </a:lnTo>
                  <a:lnTo>
                    <a:pt x="9836" y="22032"/>
                  </a:lnTo>
                  <a:lnTo>
                    <a:pt x="12589" y="23606"/>
                  </a:lnTo>
                  <a:lnTo>
                    <a:pt x="18098" y="25966"/>
                  </a:lnTo>
                  <a:lnTo>
                    <a:pt x="19278" y="26360"/>
                  </a:lnTo>
                  <a:lnTo>
                    <a:pt x="22032" y="25179"/>
                  </a:lnTo>
                  <a:lnTo>
                    <a:pt x="25179" y="24786"/>
                  </a:lnTo>
                  <a:lnTo>
                    <a:pt x="27934" y="23212"/>
                  </a:lnTo>
                  <a:lnTo>
                    <a:pt x="30687" y="21638"/>
                  </a:lnTo>
                  <a:lnTo>
                    <a:pt x="33441" y="20458"/>
                  </a:lnTo>
                  <a:lnTo>
                    <a:pt x="36195" y="1731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22" name="Freeform: Shape 3916">
              <a:extLst>
                <a:ext uri="{FF2B5EF4-FFF2-40B4-BE49-F238E27FC236}">
                  <a16:creationId xmlns:a16="http://schemas.microsoft.com/office/drawing/2014/main" id="{876626C3-EB7A-47E7-A6CC-18DFD489C70B}"/>
                </a:ext>
              </a:extLst>
            </p:cNvPr>
            <p:cNvSpPr/>
            <p:nvPr/>
          </p:nvSpPr>
          <p:spPr>
            <a:xfrm>
              <a:off x="9632510" y="4000297"/>
              <a:ext cx="94422" cy="27540"/>
            </a:xfrm>
            <a:custGeom>
              <a:avLst/>
              <a:gdLst>
                <a:gd name="connsiteX0" fmla="*/ 85767 w 94422"/>
                <a:gd name="connsiteY0" fmla="*/ 19671 h 27539"/>
                <a:gd name="connsiteX1" fmla="*/ 88521 w 94422"/>
                <a:gd name="connsiteY1" fmla="*/ 18491 h 27539"/>
                <a:gd name="connsiteX2" fmla="*/ 91276 w 94422"/>
                <a:gd name="connsiteY2" fmla="*/ 18098 h 27539"/>
                <a:gd name="connsiteX3" fmla="*/ 91276 w 94422"/>
                <a:gd name="connsiteY3" fmla="*/ 15344 h 27539"/>
                <a:gd name="connsiteX4" fmla="*/ 90882 w 94422"/>
                <a:gd name="connsiteY4" fmla="*/ 12590 h 27539"/>
                <a:gd name="connsiteX5" fmla="*/ 94030 w 94422"/>
                <a:gd name="connsiteY5" fmla="*/ 12196 h 27539"/>
                <a:gd name="connsiteX6" fmla="*/ 95210 w 94422"/>
                <a:gd name="connsiteY6" fmla="*/ 9049 h 27539"/>
                <a:gd name="connsiteX7" fmla="*/ 97964 w 94422"/>
                <a:gd name="connsiteY7" fmla="*/ 8262 h 27539"/>
                <a:gd name="connsiteX8" fmla="*/ 97177 w 94422"/>
                <a:gd name="connsiteY8" fmla="*/ 5508 h 27539"/>
                <a:gd name="connsiteX9" fmla="*/ 96389 w 94422"/>
                <a:gd name="connsiteY9" fmla="*/ 2360 h 27539"/>
                <a:gd name="connsiteX10" fmla="*/ 93636 w 94422"/>
                <a:gd name="connsiteY10" fmla="*/ 0 h 27539"/>
                <a:gd name="connsiteX11" fmla="*/ 90882 w 94422"/>
                <a:gd name="connsiteY11" fmla="*/ 2754 h 27539"/>
                <a:gd name="connsiteX12" fmla="*/ 90095 w 94422"/>
                <a:gd name="connsiteY12" fmla="*/ 5508 h 27539"/>
                <a:gd name="connsiteX13" fmla="*/ 92849 w 94422"/>
                <a:gd name="connsiteY13" fmla="*/ 4328 h 27539"/>
                <a:gd name="connsiteX14" fmla="*/ 95603 w 94422"/>
                <a:gd name="connsiteY14" fmla="*/ 5114 h 27539"/>
                <a:gd name="connsiteX15" fmla="*/ 92849 w 94422"/>
                <a:gd name="connsiteY15" fmla="*/ 7869 h 27539"/>
                <a:gd name="connsiteX16" fmla="*/ 90095 w 94422"/>
                <a:gd name="connsiteY16" fmla="*/ 9836 h 27539"/>
                <a:gd name="connsiteX17" fmla="*/ 86948 w 94422"/>
                <a:gd name="connsiteY17" fmla="*/ 10623 h 27539"/>
                <a:gd name="connsiteX18" fmla="*/ 83800 w 94422"/>
                <a:gd name="connsiteY18" fmla="*/ 12590 h 27539"/>
                <a:gd name="connsiteX19" fmla="*/ 81046 w 94422"/>
                <a:gd name="connsiteY19" fmla="*/ 15344 h 27539"/>
                <a:gd name="connsiteX20" fmla="*/ 80652 w 94422"/>
                <a:gd name="connsiteY20" fmla="*/ 18098 h 27539"/>
                <a:gd name="connsiteX21" fmla="*/ 77506 w 94422"/>
                <a:gd name="connsiteY21" fmla="*/ 18491 h 27539"/>
                <a:gd name="connsiteX22" fmla="*/ 75539 w 94422"/>
                <a:gd name="connsiteY22" fmla="*/ 19278 h 27539"/>
                <a:gd name="connsiteX23" fmla="*/ 68850 w 94422"/>
                <a:gd name="connsiteY23" fmla="*/ 15344 h 27539"/>
                <a:gd name="connsiteX24" fmla="*/ 66490 w 94422"/>
                <a:gd name="connsiteY24" fmla="*/ 12983 h 27539"/>
                <a:gd name="connsiteX25" fmla="*/ 63342 w 94422"/>
                <a:gd name="connsiteY25" fmla="*/ 14557 h 27539"/>
                <a:gd name="connsiteX26" fmla="*/ 60588 w 94422"/>
                <a:gd name="connsiteY26" fmla="*/ 14557 h 27539"/>
                <a:gd name="connsiteX27" fmla="*/ 58621 w 94422"/>
                <a:gd name="connsiteY27" fmla="*/ 14950 h 27539"/>
                <a:gd name="connsiteX28" fmla="*/ 56654 w 94422"/>
                <a:gd name="connsiteY28" fmla="*/ 14557 h 27539"/>
                <a:gd name="connsiteX29" fmla="*/ 54687 w 94422"/>
                <a:gd name="connsiteY29" fmla="*/ 14557 h 27539"/>
                <a:gd name="connsiteX30" fmla="*/ 54687 w 94422"/>
                <a:gd name="connsiteY30" fmla="*/ 14557 h 27539"/>
                <a:gd name="connsiteX31" fmla="*/ 45244 w 94422"/>
                <a:gd name="connsiteY31" fmla="*/ 14163 h 27539"/>
                <a:gd name="connsiteX32" fmla="*/ 44457 w 94422"/>
                <a:gd name="connsiteY32" fmla="*/ 13377 h 27539"/>
                <a:gd name="connsiteX33" fmla="*/ 41704 w 94422"/>
                <a:gd name="connsiteY33" fmla="*/ 12590 h 27539"/>
                <a:gd name="connsiteX34" fmla="*/ 38556 w 94422"/>
                <a:gd name="connsiteY34" fmla="*/ 11409 h 27539"/>
                <a:gd name="connsiteX35" fmla="*/ 35802 w 94422"/>
                <a:gd name="connsiteY35" fmla="*/ 9049 h 27539"/>
                <a:gd name="connsiteX36" fmla="*/ 33048 w 94422"/>
                <a:gd name="connsiteY36" fmla="*/ 9442 h 27539"/>
                <a:gd name="connsiteX37" fmla="*/ 30295 w 94422"/>
                <a:gd name="connsiteY37" fmla="*/ 8655 h 27539"/>
                <a:gd name="connsiteX38" fmla="*/ 27147 w 94422"/>
                <a:gd name="connsiteY38" fmla="*/ 7475 h 27539"/>
                <a:gd name="connsiteX39" fmla="*/ 24393 w 94422"/>
                <a:gd name="connsiteY39" fmla="*/ 7082 h 27539"/>
                <a:gd name="connsiteX40" fmla="*/ 21246 w 94422"/>
                <a:gd name="connsiteY40" fmla="*/ 7475 h 27539"/>
                <a:gd name="connsiteX41" fmla="*/ 18492 w 94422"/>
                <a:gd name="connsiteY41" fmla="*/ 7082 h 27539"/>
                <a:gd name="connsiteX42" fmla="*/ 15737 w 94422"/>
                <a:gd name="connsiteY42" fmla="*/ 6688 h 27539"/>
                <a:gd name="connsiteX43" fmla="*/ 12590 w 94422"/>
                <a:gd name="connsiteY43" fmla="*/ 8655 h 27539"/>
                <a:gd name="connsiteX44" fmla="*/ 9836 w 94422"/>
                <a:gd name="connsiteY44" fmla="*/ 11409 h 27539"/>
                <a:gd name="connsiteX45" fmla="*/ 7082 w 94422"/>
                <a:gd name="connsiteY45" fmla="*/ 12590 h 27539"/>
                <a:gd name="connsiteX46" fmla="*/ 2755 w 94422"/>
                <a:gd name="connsiteY46" fmla="*/ 12590 h 27539"/>
                <a:gd name="connsiteX47" fmla="*/ 1967 w 94422"/>
                <a:gd name="connsiteY47" fmla="*/ 15344 h 27539"/>
                <a:gd name="connsiteX48" fmla="*/ 394 w 94422"/>
                <a:gd name="connsiteY48" fmla="*/ 18491 h 27539"/>
                <a:gd name="connsiteX49" fmla="*/ 0 w 94422"/>
                <a:gd name="connsiteY49" fmla="*/ 21638 h 27539"/>
                <a:gd name="connsiteX50" fmla="*/ 788 w 94422"/>
                <a:gd name="connsiteY50" fmla="*/ 24392 h 27539"/>
                <a:gd name="connsiteX51" fmla="*/ 2755 w 94422"/>
                <a:gd name="connsiteY51" fmla="*/ 27540 h 27539"/>
                <a:gd name="connsiteX52" fmla="*/ 5901 w 94422"/>
                <a:gd name="connsiteY52" fmla="*/ 25573 h 27539"/>
                <a:gd name="connsiteX53" fmla="*/ 6295 w 94422"/>
                <a:gd name="connsiteY53" fmla="*/ 25573 h 27539"/>
                <a:gd name="connsiteX54" fmla="*/ 6295 w 94422"/>
                <a:gd name="connsiteY54" fmla="*/ 25573 h 27539"/>
                <a:gd name="connsiteX55" fmla="*/ 12197 w 94422"/>
                <a:gd name="connsiteY55" fmla="*/ 25179 h 27539"/>
                <a:gd name="connsiteX56" fmla="*/ 14950 w 94422"/>
                <a:gd name="connsiteY56" fmla="*/ 25966 h 27539"/>
                <a:gd name="connsiteX57" fmla="*/ 17704 w 94422"/>
                <a:gd name="connsiteY57" fmla="*/ 25179 h 27539"/>
                <a:gd name="connsiteX58" fmla="*/ 20852 w 94422"/>
                <a:gd name="connsiteY58" fmla="*/ 25179 h 27539"/>
                <a:gd name="connsiteX59" fmla="*/ 23606 w 94422"/>
                <a:gd name="connsiteY59" fmla="*/ 24786 h 27539"/>
                <a:gd name="connsiteX60" fmla="*/ 26753 w 94422"/>
                <a:gd name="connsiteY60" fmla="*/ 26753 h 27539"/>
                <a:gd name="connsiteX61" fmla="*/ 29507 w 94422"/>
                <a:gd name="connsiteY61" fmla="*/ 25573 h 27539"/>
                <a:gd name="connsiteX62" fmla="*/ 32262 w 94422"/>
                <a:gd name="connsiteY62" fmla="*/ 27933 h 27539"/>
                <a:gd name="connsiteX63" fmla="*/ 35408 w 94422"/>
                <a:gd name="connsiteY63" fmla="*/ 29507 h 27539"/>
                <a:gd name="connsiteX64" fmla="*/ 38163 w 94422"/>
                <a:gd name="connsiteY64" fmla="*/ 29507 h 27539"/>
                <a:gd name="connsiteX65" fmla="*/ 41310 w 94422"/>
                <a:gd name="connsiteY65" fmla="*/ 27933 h 27539"/>
                <a:gd name="connsiteX66" fmla="*/ 44065 w 94422"/>
                <a:gd name="connsiteY66" fmla="*/ 28720 h 27539"/>
                <a:gd name="connsiteX67" fmla="*/ 46818 w 94422"/>
                <a:gd name="connsiteY67" fmla="*/ 27933 h 27539"/>
                <a:gd name="connsiteX68" fmla="*/ 47211 w 94422"/>
                <a:gd name="connsiteY68" fmla="*/ 24786 h 27539"/>
                <a:gd name="connsiteX69" fmla="*/ 50359 w 94422"/>
                <a:gd name="connsiteY69" fmla="*/ 25573 h 27539"/>
                <a:gd name="connsiteX70" fmla="*/ 53113 w 94422"/>
                <a:gd name="connsiteY70" fmla="*/ 25573 h 27539"/>
                <a:gd name="connsiteX71" fmla="*/ 54687 w 94422"/>
                <a:gd name="connsiteY71" fmla="*/ 28327 h 27539"/>
                <a:gd name="connsiteX72" fmla="*/ 57441 w 94422"/>
                <a:gd name="connsiteY72" fmla="*/ 27540 h 27539"/>
                <a:gd name="connsiteX73" fmla="*/ 60588 w 94422"/>
                <a:gd name="connsiteY73" fmla="*/ 27147 h 27539"/>
                <a:gd name="connsiteX74" fmla="*/ 63342 w 94422"/>
                <a:gd name="connsiteY74" fmla="*/ 25573 h 27539"/>
                <a:gd name="connsiteX75" fmla="*/ 66490 w 94422"/>
                <a:gd name="connsiteY75" fmla="*/ 24786 h 27539"/>
                <a:gd name="connsiteX76" fmla="*/ 68850 w 94422"/>
                <a:gd name="connsiteY76" fmla="*/ 22819 h 27539"/>
                <a:gd name="connsiteX77" fmla="*/ 70817 w 94422"/>
                <a:gd name="connsiteY77" fmla="*/ 22819 h 27539"/>
                <a:gd name="connsiteX78" fmla="*/ 72391 w 94422"/>
                <a:gd name="connsiteY78" fmla="*/ 22819 h 27539"/>
                <a:gd name="connsiteX79" fmla="*/ 75145 w 94422"/>
                <a:gd name="connsiteY79" fmla="*/ 22819 h 27539"/>
                <a:gd name="connsiteX80" fmla="*/ 77899 w 94422"/>
                <a:gd name="connsiteY80" fmla="*/ 23212 h 27539"/>
                <a:gd name="connsiteX81" fmla="*/ 80652 w 94422"/>
                <a:gd name="connsiteY81" fmla="*/ 22425 h 27539"/>
                <a:gd name="connsiteX82" fmla="*/ 82620 w 94422"/>
                <a:gd name="connsiteY82" fmla="*/ 20852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94422" h="27539">
                  <a:moveTo>
                    <a:pt x="85767" y="19671"/>
                  </a:moveTo>
                  <a:lnTo>
                    <a:pt x="88521" y="18491"/>
                  </a:lnTo>
                  <a:lnTo>
                    <a:pt x="91276" y="18098"/>
                  </a:lnTo>
                  <a:lnTo>
                    <a:pt x="91276" y="15344"/>
                  </a:lnTo>
                  <a:lnTo>
                    <a:pt x="90882" y="12590"/>
                  </a:lnTo>
                  <a:lnTo>
                    <a:pt x="94030" y="12196"/>
                  </a:lnTo>
                  <a:lnTo>
                    <a:pt x="95210" y="9049"/>
                  </a:lnTo>
                  <a:lnTo>
                    <a:pt x="97964" y="8262"/>
                  </a:lnTo>
                  <a:lnTo>
                    <a:pt x="97177" y="5508"/>
                  </a:lnTo>
                  <a:lnTo>
                    <a:pt x="96389" y="2360"/>
                  </a:lnTo>
                  <a:lnTo>
                    <a:pt x="93636" y="0"/>
                  </a:lnTo>
                  <a:lnTo>
                    <a:pt x="90882" y="2754"/>
                  </a:lnTo>
                  <a:lnTo>
                    <a:pt x="90095" y="5508"/>
                  </a:lnTo>
                  <a:lnTo>
                    <a:pt x="92849" y="4328"/>
                  </a:lnTo>
                  <a:lnTo>
                    <a:pt x="95603" y="5114"/>
                  </a:lnTo>
                  <a:lnTo>
                    <a:pt x="92849" y="7869"/>
                  </a:lnTo>
                  <a:lnTo>
                    <a:pt x="90095" y="9836"/>
                  </a:lnTo>
                  <a:lnTo>
                    <a:pt x="86948" y="10623"/>
                  </a:lnTo>
                  <a:lnTo>
                    <a:pt x="83800" y="12590"/>
                  </a:lnTo>
                  <a:lnTo>
                    <a:pt x="81046" y="15344"/>
                  </a:lnTo>
                  <a:lnTo>
                    <a:pt x="80652" y="18098"/>
                  </a:lnTo>
                  <a:lnTo>
                    <a:pt x="77506" y="18491"/>
                  </a:lnTo>
                  <a:lnTo>
                    <a:pt x="75539" y="19278"/>
                  </a:lnTo>
                  <a:lnTo>
                    <a:pt x="68850" y="15344"/>
                  </a:lnTo>
                  <a:lnTo>
                    <a:pt x="66490" y="12983"/>
                  </a:lnTo>
                  <a:lnTo>
                    <a:pt x="63342" y="14557"/>
                  </a:lnTo>
                  <a:lnTo>
                    <a:pt x="60588" y="14557"/>
                  </a:lnTo>
                  <a:lnTo>
                    <a:pt x="58621" y="14950"/>
                  </a:lnTo>
                  <a:lnTo>
                    <a:pt x="56654" y="14557"/>
                  </a:lnTo>
                  <a:lnTo>
                    <a:pt x="54687" y="14557"/>
                  </a:lnTo>
                  <a:lnTo>
                    <a:pt x="54687" y="14557"/>
                  </a:lnTo>
                  <a:lnTo>
                    <a:pt x="45244" y="14163"/>
                  </a:lnTo>
                  <a:lnTo>
                    <a:pt x="44457" y="13377"/>
                  </a:lnTo>
                  <a:lnTo>
                    <a:pt x="41704" y="12590"/>
                  </a:lnTo>
                  <a:lnTo>
                    <a:pt x="38556" y="11409"/>
                  </a:lnTo>
                  <a:lnTo>
                    <a:pt x="35802" y="9049"/>
                  </a:lnTo>
                  <a:lnTo>
                    <a:pt x="33048" y="9442"/>
                  </a:lnTo>
                  <a:lnTo>
                    <a:pt x="30295" y="8655"/>
                  </a:lnTo>
                  <a:lnTo>
                    <a:pt x="27147" y="7475"/>
                  </a:lnTo>
                  <a:lnTo>
                    <a:pt x="24393" y="7082"/>
                  </a:lnTo>
                  <a:lnTo>
                    <a:pt x="21246" y="7475"/>
                  </a:lnTo>
                  <a:lnTo>
                    <a:pt x="18492" y="7082"/>
                  </a:lnTo>
                  <a:lnTo>
                    <a:pt x="15737" y="6688"/>
                  </a:lnTo>
                  <a:lnTo>
                    <a:pt x="12590" y="8655"/>
                  </a:lnTo>
                  <a:lnTo>
                    <a:pt x="9836" y="11409"/>
                  </a:lnTo>
                  <a:lnTo>
                    <a:pt x="7082" y="12590"/>
                  </a:lnTo>
                  <a:lnTo>
                    <a:pt x="2755" y="12590"/>
                  </a:lnTo>
                  <a:lnTo>
                    <a:pt x="1967" y="15344"/>
                  </a:lnTo>
                  <a:lnTo>
                    <a:pt x="394" y="18491"/>
                  </a:lnTo>
                  <a:lnTo>
                    <a:pt x="0" y="21638"/>
                  </a:lnTo>
                  <a:lnTo>
                    <a:pt x="788" y="24392"/>
                  </a:lnTo>
                  <a:lnTo>
                    <a:pt x="2755" y="27540"/>
                  </a:lnTo>
                  <a:lnTo>
                    <a:pt x="5901" y="25573"/>
                  </a:lnTo>
                  <a:lnTo>
                    <a:pt x="6295" y="25573"/>
                  </a:lnTo>
                  <a:lnTo>
                    <a:pt x="6295" y="25573"/>
                  </a:lnTo>
                  <a:lnTo>
                    <a:pt x="12197" y="25179"/>
                  </a:lnTo>
                  <a:lnTo>
                    <a:pt x="14950" y="25966"/>
                  </a:lnTo>
                  <a:lnTo>
                    <a:pt x="17704" y="25179"/>
                  </a:lnTo>
                  <a:lnTo>
                    <a:pt x="20852" y="25179"/>
                  </a:lnTo>
                  <a:lnTo>
                    <a:pt x="23606" y="24786"/>
                  </a:lnTo>
                  <a:lnTo>
                    <a:pt x="26753" y="26753"/>
                  </a:lnTo>
                  <a:lnTo>
                    <a:pt x="29507" y="25573"/>
                  </a:lnTo>
                  <a:lnTo>
                    <a:pt x="32262" y="27933"/>
                  </a:lnTo>
                  <a:lnTo>
                    <a:pt x="35408" y="29507"/>
                  </a:lnTo>
                  <a:lnTo>
                    <a:pt x="38163" y="29507"/>
                  </a:lnTo>
                  <a:lnTo>
                    <a:pt x="41310" y="27933"/>
                  </a:lnTo>
                  <a:lnTo>
                    <a:pt x="44065" y="28720"/>
                  </a:lnTo>
                  <a:lnTo>
                    <a:pt x="46818" y="27933"/>
                  </a:lnTo>
                  <a:lnTo>
                    <a:pt x="47211" y="24786"/>
                  </a:lnTo>
                  <a:lnTo>
                    <a:pt x="50359" y="25573"/>
                  </a:lnTo>
                  <a:lnTo>
                    <a:pt x="53113" y="25573"/>
                  </a:lnTo>
                  <a:lnTo>
                    <a:pt x="54687" y="28327"/>
                  </a:lnTo>
                  <a:lnTo>
                    <a:pt x="57441" y="27540"/>
                  </a:lnTo>
                  <a:lnTo>
                    <a:pt x="60588" y="27147"/>
                  </a:lnTo>
                  <a:lnTo>
                    <a:pt x="63342" y="25573"/>
                  </a:lnTo>
                  <a:lnTo>
                    <a:pt x="66490" y="24786"/>
                  </a:lnTo>
                  <a:lnTo>
                    <a:pt x="68850" y="22819"/>
                  </a:lnTo>
                  <a:lnTo>
                    <a:pt x="70817" y="22819"/>
                  </a:lnTo>
                  <a:lnTo>
                    <a:pt x="72391" y="22819"/>
                  </a:lnTo>
                  <a:lnTo>
                    <a:pt x="75145" y="22819"/>
                  </a:lnTo>
                  <a:lnTo>
                    <a:pt x="77899" y="23212"/>
                  </a:lnTo>
                  <a:lnTo>
                    <a:pt x="80652" y="22425"/>
                  </a:lnTo>
                  <a:lnTo>
                    <a:pt x="82620" y="2085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23" name="Freeform: Shape 3917">
              <a:extLst>
                <a:ext uri="{FF2B5EF4-FFF2-40B4-BE49-F238E27FC236}">
                  <a16:creationId xmlns:a16="http://schemas.microsoft.com/office/drawing/2014/main" id="{B7628667-179A-4FBF-ADF2-BB84347D13F3}"/>
                </a:ext>
              </a:extLst>
            </p:cNvPr>
            <p:cNvSpPr/>
            <p:nvPr/>
          </p:nvSpPr>
          <p:spPr>
            <a:xfrm>
              <a:off x="10081804" y="3794141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0 h 0"/>
                <a:gd name="connsiteX2" fmla="*/ 787 w 0"/>
                <a:gd name="connsiteY2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0"/>
                  </a:lnTo>
                  <a:lnTo>
                    <a:pt x="787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24" name="Freeform: Shape 3918">
              <a:extLst>
                <a:ext uri="{FF2B5EF4-FFF2-40B4-BE49-F238E27FC236}">
                  <a16:creationId xmlns:a16="http://schemas.microsoft.com/office/drawing/2014/main" id="{3D4A9084-F2CC-4E05-A4DF-8156385FCCA1}"/>
                </a:ext>
              </a:extLst>
            </p:cNvPr>
            <p:cNvSpPr/>
            <p:nvPr/>
          </p:nvSpPr>
          <p:spPr>
            <a:xfrm>
              <a:off x="10075902" y="3785093"/>
              <a:ext cx="3934" cy="3934"/>
            </a:xfrm>
            <a:custGeom>
              <a:avLst/>
              <a:gdLst>
                <a:gd name="connsiteX0" fmla="*/ 0 w 0"/>
                <a:gd name="connsiteY0" fmla="*/ 3147 h 3934"/>
                <a:gd name="connsiteX1" fmla="*/ 787 w 0"/>
                <a:gd name="connsiteY1" fmla="*/ 5901 h 3934"/>
                <a:gd name="connsiteX2" fmla="*/ 1180 w 0"/>
                <a:gd name="connsiteY2" fmla="*/ 3147 h 3934"/>
                <a:gd name="connsiteX3" fmla="*/ 2754 w 0"/>
                <a:gd name="connsiteY3" fmla="*/ 0 h 3934"/>
                <a:gd name="connsiteX4" fmla="*/ 1573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3147"/>
                  </a:moveTo>
                  <a:lnTo>
                    <a:pt x="787" y="5901"/>
                  </a:lnTo>
                  <a:lnTo>
                    <a:pt x="1180" y="3147"/>
                  </a:lnTo>
                  <a:lnTo>
                    <a:pt x="2754" y="0"/>
                  </a:lnTo>
                  <a:lnTo>
                    <a:pt x="157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25" name="Freeform: Shape 3919">
              <a:extLst>
                <a:ext uri="{FF2B5EF4-FFF2-40B4-BE49-F238E27FC236}">
                  <a16:creationId xmlns:a16="http://schemas.microsoft.com/office/drawing/2014/main" id="{86048458-FC8E-4794-9C3C-D77E6ABC6082}"/>
                </a:ext>
              </a:extLst>
            </p:cNvPr>
            <p:cNvSpPr/>
            <p:nvPr/>
          </p:nvSpPr>
          <p:spPr>
            <a:xfrm>
              <a:off x="10104622" y="3776044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3148 w 3934"/>
                <a:gd name="connsiteY1" fmla="*/ 1180 h 0"/>
                <a:gd name="connsiteX2" fmla="*/ 6295 w 3934"/>
                <a:gd name="connsiteY2" fmla="*/ 393 h 0"/>
                <a:gd name="connsiteX3" fmla="*/ 3148 w 3934"/>
                <a:gd name="connsiteY3" fmla="*/ 0 h 0"/>
                <a:gd name="connsiteX4" fmla="*/ 394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3148" y="1180"/>
                  </a:lnTo>
                  <a:lnTo>
                    <a:pt x="6295" y="393"/>
                  </a:lnTo>
                  <a:lnTo>
                    <a:pt x="3148" y="0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26" name="Freeform: Shape 3920">
              <a:extLst>
                <a:ext uri="{FF2B5EF4-FFF2-40B4-BE49-F238E27FC236}">
                  <a16:creationId xmlns:a16="http://schemas.microsoft.com/office/drawing/2014/main" id="{8D12B4CB-A1CF-4A93-B8DB-DE39F630D53A}"/>
                </a:ext>
              </a:extLst>
            </p:cNvPr>
            <p:cNvSpPr/>
            <p:nvPr/>
          </p:nvSpPr>
          <p:spPr>
            <a:xfrm>
              <a:off x="9970464" y="3755979"/>
              <a:ext cx="11803" cy="15737"/>
            </a:xfrm>
            <a:custGeom>
              <a:avLst/>
              <a:gdLst>
                <a:gd name="connsiteX0" fmla="*/ 2754 w 11802"/>
                <a:gd name="connsiteY0" fmla="*/ 9836 h 15737"/>
                <a:gd name="connsiteX1" fmla="*/ 3934 w 11802"/>
                <a:gd name="connsiteY1" fmla="*/ 12589 h 15737"/>
                <a:gd name="connsiteX2" fmla="*/ 7082 w 11802"/>
                <a:gd name="connsiteY2" fmla="*/ 14950 h 15737"/>
                <a:gd name="connsiteX3" fmla="*/ 9836 w 11802"/>
                <a:gd name="connsiteY3" fmla="*/ 15737 h 15737"/>
                <a:gd name="connsiteX4" fmla="*/ 11016 w 11802"/>
                <a:gd name="connsiteY4" fmla="*/ 12983 h 15737"/>
                <a:gd name="connsiteX5" fmla="*/ 12196 w 11802"/>
                <a:gd name="connsiteY5" fmla="*/ 9836 h 15737"/>
                <a:gd name="connsiteX6" fmla="*/ 12983 w 11802"/>
                <a:gd name="connsiteY6" fmla="*/ 6688 h 15737"/>
                <a:gd name="connsiteX7" fmla="*/ 12589 w 11802"/>
                <a:gd name="connsiteY7" fmla="*/ 3934 h 15737"/>
                <a:gd name="connsiteX8" fmla="*/ 10622 w 11802"/>
                <a:gd name="connsiteY8" fmla="*/ 1180 h 15737"/>
                <a:gd name="connsiteX9" fmla="*/ 7869 w 11802"/>
                <a:gd name="connsiteY9" fmla="*/ 0 h 15737"/>
                <a:gd name="connsiteX10" fmla="*/ 5901 w 11802"/>
                <a:gd name="connsiteY10" fmla="*/ 393 h 15737"/>
                <a:gd name="connsiteX11" fmla="*/ 3148 w 11802"/>
                <a:gd name="connsiteY11" fmla="*/ 1967 h 15737"/>
                <a:gd name="connsiteX12" fmla="*/ 0 w 11802"/>
                <a:gd name="connsiteY12" fmla="*/ 3934 h 15737"/>
                <a:gd name="connsiteX13" fmla="*/ 1967 w 11802"/>
                <a:gd name="connsiteY13" fmla="*/ 6688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802" h="15737">
                  <a:moveTo>
                    <a:pt x="2754" y="9836"/>
                  </a:moveTo>
                  <a:lnTo>
                    <a:pt x="3934" y="12589"/>
                  </a:lnTo>
                  <a:lnTo>
                    <a:pt x="7082" y="14950"/>
                  </a:lnTo>
                  <a:lnTo>
                    <a:pt x="9836" y="15737"/>
                  </a:lnTo>
                  <a:lnTo>
                    <a:pt x="11016" y="12983"/>
                  </a:lnTo>
                  <a:lnTo>
                    <a:pt x="12196" y="9836"/>
                  </a:lnTo>
                  <a:lnTo>
                    <a:pt x="12983" y="6688"/>
                  </a:lnTo>
                  <a:lnTo>
                    <a:pt x="12589" y="3934"/>
                  </a:lnTo>
                  <a:lnTo>
                    <a:pt x="10622" y="1180"/>
                  </a:lnTo>
                  <a:lnTo>
                    <a:pt x="7869" y="0"/>
                  </a:lnTo>
                  <a:lnTo>
                    <a:pt x="5901" y="393"/>
                  </a:lnTo>
                  <a:lnTo>
                    <a:pt x="3148" y="1967"/>
                  </a:lnTo>
                  <a:lnTo>
                    <a:pt x="0" y="3934"/>
                  </a:lnTo>
                  <a:lnTo>
                    <a:pt x="1967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27" name="Freeform: Shape 3921">
              <a:extLst>
                <a:ext uri="{FF2B5EF4-FFF2-40B4-BE49-F238E27FC236}">
                  <a16:creationId xmlns:a16="http://schemas.microsoft.com/office/drawing/2014/main" id="{EDF75A7A-60DB-4A59-99DF-429887B9B139}"/>
                </a:ext>
              </a:extLst>
            </p:cNvPr>
            <p:cNvSpPr/>
            <p:nvPr/>
          </p:nvSpPr>
          <p:spPr>
            <a:xfrm>
              <a:off x="10095966" y="3757946"/>
              <a:ext cx="3934" cy="3934"/>
            </a:xfrm>
            <a:custGeom>
              <a:avLst/>
              <a:gdLst>
                <a:gd name="connsiteX0" fmla="*/ 0 w 3934"/>
                <a:gd name="connsiteY0" fmla="*/ 787 h 3934"/>
                <a:gd name="connsiteX1" fmla="*/ 0 w 3934"/>
                <a:gd name="connsiteY1" fmla="*/ 3541 h 3934"/>
                <a:gd name="connsiteX2" fmla="*/ 1574 w 3934"/>
                <a:gd name="connsiteY2" fmla="*/ 6295 h 3934"/>
                <a:gd name="connsiteX3" fmla="*/ 4328 w 3934"/>
                <a:gd name="connsiteY3" fmla="*/ 5508 h 3934"/>
                <a:gd name="connsiteX4" fmla="*/ 3934 w 3934"/>
                <a:gd name="connsiteY4" fmla="*/ 2754 h 3934"/>
                <a:gd name="connsiteX5" fmla="*/ 2361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787"/>
                  </a:moveTo>
                  <a:lnTo>
                    <a:pt x="0" y="3541"/>
                  </a:lnTo>
                  <a:lnTo>
                    <a:pt x="1574" y="6295"/>
                  </a:lnTo>
                  <a:lnTo>
                    <a:pt x="4328" y="5508"/>
                  </a:lnTo>
                  <a:lnTo>
                    <a:pt x="3934" y="2754"/>
                  </a:lnTo>
                  <a:lnTo>
                    <a:pt x="236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28" name="Freeform: Shape 3922">
              <a:extLst>
                <a:ext uri="{FF2B5EF4-FFF2-40B4-BE49-F238E27FC236}">
                  <a16:creationId xmlns:a16="http://schemas.microsoft.com/office/drawing/2014/main" id="{D8691FB8-62C0-4F5E-A332-3FE0ABBA0723}"/>
                </a:ext>
              </a:extLst>
            </p:cNvPr>
            <p:cNvSpPr/>
            <p:nvPr/>
          </p:nvSpPr>
          <p:spPr>
            <a:xfrm>
              <a:off x="9966136" y="3739849"/>
              <a:ext cx="3934" cy="3934"/>
            </a:xfrm>
            <a:custGeom>
              <a:avLst/>
              <a:gdLst>
                <a:gd name="connsiteX0" fmla="*/ 5901 w 3934"/>
                <a:gd name="connsiteY0" fmla="*/ 1574 h 3934"/>
                <a:gd name="connsiteX1" fmla="*/ 5901 w 3934"/>
                <a:gd name="connsiteY1" fmla="*/ 787 h 3934"/>
                <a:gd name="connsiteX2" fmla="*/ 4328 w 3934"/>
                <a:gd name="connsiteY2" fmla="*/ 0 h 3934"/>
                <a:gd name="connsiteX3" fmla="*/ 2754 w 3934"/>
                <a:gd name="connsiteY3" fmla="*/ 787 h 3934"/>
                <a:gd name="connsiteX4" fmla="*/ 0 w 3934"/>
                <a:gd name="connsiteY4" fmla="*/ 3541 h 3934"/>
                <a:gd name="connsiteX5" fmla="*/ 3148 w 3934"/>
                <a:gd name="connsiteY5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5901" y="1574"/>
                  </a:moveTo>
                  <a:lnTo>
                    <a:pt x="5901" y="787"/>
                  </a:lnTo>
                  <a:lnTo>
                    <a:pt x="4328" y="0"/>
                  </a:lnTo>
                  <a:lnTo>
                    <a:pt x="2754" y="787"/>
                  </a:lnTo>
                  <a:lnTo>
                    <a:pt x="0" y="3541"/>
                  </a:lnTo>
                  <a:lnTo>
                    <a:pt x="3148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29" name="Freeform: Shape 3923">
              <a:extLst>
                <a:ext uri="{FF2B5EF4-FFF2-40B4-BE49-F238E27FC236}">
                  <a16:creationId xmlns:a16="http://schemas.microsoft.com/office/drawing/2014/main" id="{CF437B75-16C8-4140-BA90-96F0F140EAA4}"/>
                </a:ext>
              </a:extLst>
            </p:cNvPr>
            <p:cNvSpPr/>
            <p:nvPr/>
          </p:nvSpPr>
          <p:spPr>
            <a:xfrm>
              <a:off x="9738735" y="4008952"/>
              <a:ext cx="118028" cy="66882"/>
            </a:xfrm>
            <a:custGeom>
              <a:avLst/>
              <a:gdLst>
                <a:gd name="connsiteX0" fmla="*/ 68850 w 118027"/>
                <a:gd name="connsiteY0" fmla="*/ 29900 h 66882"/>
                <a:gd name="connsiteX1" fmla="*/ 71604 w 118027"/>
                <a:gd name="connsiteY1" fmla="*/ 27933 h 66882"/>
                <a:gd name="connsiteX2" fmla="*/ 74751 w 118027"/>
                <a:gd name="connsiteY2" fmla="*/ 27540 h 66882"/>
                <a:gd name="connsiteX3" fmla="*/ 77899 w 118027"/>
                <a:gd name="connsiteY3" fmla="*/ 26753 h 66882"/>
                <a:gd name="connsiteX4" fmla="*/ 80652 w 118027"/>
                <a:gd name="connsiteY4" fmla="*/ 25179 h 66882"/>
                <a:gd name="connsiteX5" fmla="*/ 83407 w 118027"/>
                <a:gd name="connsiteY5" fmla="*/ 22819 h 66882"/>
                <a:gd name="connsiteX6" fmla="*/ 86554 w 118027"/>
                <a:gd name="connsiteY6" fmla="*/ 22425 h 66882"/>
                <a:gd name="connsiteX7" fmla="*/ 89309 w 118027"/>
                <a:gd name="connsiteY7" fmla="*/ 22032 h 66882"/>
                <a:gd name="connsiteX8" fmla="*/ 92062 w 118027"/>
                <a:gd name="connsiteY8" fmla="*/ 21638 h 66882"/>
                <a:gd name="connsiteX9" fmla="*/ 95210 w 118027"/>
                <a:gd name="connsiteY9" fmla="*/ 19278 h 66882"/>
                <a:gd name="connsiteX10" fmla="*/ 97964 w 118027"/>
                <a:gd name="connsiteY10" fmla="*/ 16524 h 66882"/>
                <a:gd name="connsiteX11" fmla="*/ 100718 w 118027"/>
                <a:gd name="connsiteY11" fmla="*/ 14950 h 66882"/>
                <a:gd name="connsiteX12" fmla="*/ 103471 w 118027"/>
                <a:gd name="connsiteY12" fmla="*/ 14950 h 66882"/>
                <a:gd name="connsiteX13" fmla="*/ 106619 w 118027"/>
                <a:gd name="connsiteY13" fmla="*/ 13770 h 66882"/>
                <a:gd name="connsiteX14" fmla="*/ 109373 w 118027"/>
                <a:gd name="connsiteY14" fmla="*/ 12196 h 66882"/>
                <a:gd name="connsiteX15" fmla="*/ 112127 w 118027"/>
                <a:gd name="connsiteY15" fmla="*/ 9836 h 66882"/>
                <a:gd name="connsiteX16" fmla="*/ 115274 w 118027"/>
                <a:gd name="connsiteY16" fmla="*/ 7475 h 66882"/>
                <a:gd name="connsiteX17" fmla="*/ 118028 w 118027"/>
                <a:gd name="connsiteY17" fmla="*/ 5114 h 66882"/>
                <a:gd name="connsiteX18" fmla="*/ 119208 w 118027"/>
                <a:gd name="connsiteY18" fmla="*/ 2360 h 66882"/>
                <a:gd name="connsiteX19" fmla="*/ 116848 w 118027"/>
                <a:gd name="connsiteY19" fmla="*/ 393 h 66882"/>
                <a:gd name="connsiteX20" fmla="*/ 114094 w 118027"/>
                <a:gd name="connsiteY20" fmla="*/ 1574 h 66882"/>
                <a:gd name="connsiteX21" fmla="*/ 110947 w 118027"/>
                <a:gd name="connsiteY21" fmla="*/ 0 h 66882"/>
                <a:gd name="connsiteX22" fmla="*/ 108192 w 118027"/>
                <a:gd name="connsiteY22" fmla="*/ 787 h 66882"/>
                <a:gd name="connsiteX23" fmla="*/ 105046 w 118027"/>
                <a:gd name="connsiteY23" fmla="*/ 2754 h 66882"/>
                <a:gd name="connsiteX24" fmla="*/ 102291 w 118027"/>
                <a:gd name="connsiteY24" fmla="*/ 3147 h 66882"/>
                <a:gd name="connsiteX25" fmla="*/ 99144 w 118027"/>
                <a:gd name="connsiteY25" fmla="*/ 4721 h 66882"/>
                <a:gd name="connsiteX26" fmla="*/ 96389 w 118027"/>
                <a:gd name="connsiteY26" fmla="*/ 5508 h 66882"/>
                <a:gd name="connsiteX27" fmla="*/ 93636 w 118027"/>
                <a:gd name="connsiteY27" fmla="*/ 3934 h 66882"/>
                <a:gd name="connsiteX28" fmla="*/ 90882 w 118027"/>
                <a:gd name="connsiteY28" fmla="*/ 3934 h 66882"/>
                <a:gd name="connsiteX29" fmla="*/ 88128 w 118027"/>
                <a:gd name="connsiteY29" fmla="*/ 5508 h 66882"/>
                <a:gd name="connsiteX30" fmla="*/ 84981 w 118027"/>
                <a:gd name="connsiteY30" fmla="*/ 5901 h 66882"/>
                <a:gd name="connsiteX31" fmla="*/ 81833 w 118027"/>
                <a:gd name="connsiteY31" fmla="*/ 6688 h 66882"/>
                <a:gd name="connsiteX32" fmla="*/ 79079 w 118027"/>
                <a:gd name="connsiteY32" fmla="*/ 5901 h 66882"/>
                <a:gd name="connsiteX33" fmla="*/ 76325 w 118027"/>
                <a:gd name="connsiteY33" fmla="*/ 5508 h 66882"/>
                <a:gd name="connsiteX34" fmla="*/ 73178 w 118027"/>
                <a:gd name="connsiteY34" fmla="*/ 6295 h 66882"/>
                <a:gd name="connsiteX35" fmla="*/ 70424 w 118027"/>
                <a:gd name="connsiteY35" fmla="*/ 7082 h 66882"/>
                <a:gd name="connsiteX36" fmla="*/ 67670 w 118027"/>
                <a:gd name="connsiteY36" fmla="*/ 7869 h 66882"/>
                <a:gd name="connsiteX37" fmla="*/ 64523 w 118027"/>
                <a:gd name="connsiteY37" fmla="*/ 8262 h 66882"/>
                <a:gd name="connsiteX38" fmla="*/ 61769 w 118027"/>
                <a:gd name="connsiteY38" fmla="*/ 8655 h 66882"/>
                <a:gd name="connsiteX39" fmla="*/ 58621 w 118027"/>
                <a:gd name="connsiteY39" fmla="*/ 9836 h 66882"/>
                <a:gd name="connsiteX40" fmla="*/ 55867 w 118027"/>
                <a:gd name="connsiteY40" fmla="*/ 9836 h 66882"/>
                <a:gd name="connsiteX41" fmla="*/ 53113 w 118027"/>
                <a:gd name="connsiteY41" fmla="*/ 12196 h 66882"/>
                <a:gd name="connsiteX42" fmla="*/ 52720 w 118027"/>
                <a:gd name="connsiteY42" fmla="*/ 14950 h 66882"/>
                <a:gd name="connsiteX43" fmla="*/ 49966 w 118027"/>
                <a:gd name="connsiteY43" fmla="*/ 18098 h 66882"/>
                <a:gd name="connsiteX44" fmla="*/ 49572 w 118027"/>
                <a:gd name="connsiteY44" fmla="*/ 18491 h 66882"/>
                <a:gd name="connsiteX45" fmla="*/ 47211 w 118027"/>
                <a:gd name="connsiteY45" fmla="*/ 21245 h 66882"/>
                <a:gd name="connsiteX46" fmla="*/ 45244 w 118027"/>
                <a:gd name="connsiteY46" fmla="*/ 22819 h 66882"/>
                <a:gd name="connsiteX47" fmla="*/ 42097 w 118027"/>
                <a:gd name="connsiteY47" fmla="*/ 24392 h 66882"/>
                <a:gd name="connsiteX48" fmla="*/ 39343 w 118027"/>
                <a:gd name="connsiteY48" fmla="*/ 25966 h 66882"/>
                <a:gd name="connsiteX49" fmla="*/ 36196 w 118027"/>
                <a:gd name="connsiteY49" fmla="*/ 28720 h 66882"/>
                <a:gd name="connsiteX50" fmla="*/ 33441 w 118027"/>
                <a:gd name="connsiteY50" fmla="*/ 29113 h 66882"/>
                <a:gd name="connsiteX51" fmla="*/ 30295 w 118027"/>
                <a:gd name="connsiteY51" fmla="*/ 29900 h 66882"/>
                <a:gd name="connsiteX52" fmla="*/ 27540 w 118027"/>
                <a:gd name="connsiteY52" fmla="*/ 30294 h 66882"/>
                <a:gd name="connsiteX53" fmla="*/ 24393 w 118027"/>
                <a:gd name="connsiteY53" fmla="*/ 31867 h 66882"/>
                <a:gd name="connsiteX54" fmla="*/ 21638 w 118027"/>
                <a:gd name="connsiteY54" fmla="*/ 33835 h 66882"/>
                <a:gd name="connsiteX55" fmla="*/ 18885 w 118027"/>
                <a:gd name="connsiteY55" fmla="*/ 35015 h 66882"/>
                <a:gd name="connsiteX56" fmla="*/ 15737 w 118027"/>
                <a:gd name="connsiteY56" fmla="*/ 36982 h 66882"/>
                <a:gd name="connsiteX57" fmla="*/ 7082 w 118027"/>
                <a:gd name="connsiteY57" fmla="*/ 45244 h 66882"/>
                <a:gd name="connsiteX58" fmla="*/ 7082 w 118027"/>
                <a:gd name="connsiteY58" fmla="*/ 48391 h 66882"/>
                <a:gd name="connsiteX59" fmla="*/ 6689 w 118027"/>
                <a:gd name="connsiteY59" fmla="*/ 51145 h 66882"/>
                <a:gd name="connsiteX60" fmla="*/ 4722 w 118027"/>
                <a:gd name="connsiteY60" fmla="*/ 54293 h 66882"/>
                <a:gd name="connsiteX61" fmla="*/ 3934 w 118027"/>
                <a:gd name="connsiteY61" fmla="*/ 57047 h 66882"/>
                <a:gd name="connsiteX62" fmla="*/ 4722 w 118027"/>
                <a:gd name="connsiteY62" fmla="*/ 58620 h 66882"/>
                <a:gd name="connsiteX63" fmla="*/ 7476 w 118027"/>
                <a:gd name="connsiteY63" fmla="*/ 58227 h 66882"/>
                <a:gd name="connsiteX64" fmla="*/ 7476 w 118027"/>
                <a:gd name="connsiteY64" fmla="*/ 61374 h 66882"/>
                <a:gd name="connsiteX65" fmla="*/ 4722 w 118027"/>
                <a:gd name="connsiteY65" fmla="*/ 62555 h 66882"/>
                <a:gd name="connsiteX66" fmla="*/ 1967 w 118027"/>
                <a:gd name="connsiteY66" fmla="*/ 63342 h 66882"/>
                <a:gd name="connsiteX67" fmla="*/ 394 w 118027"/>
                <a:gd name="connsiteY67" fmla="*/ 66489 h 66882"/>
                <a:gd name="connsiteX68" fmla="*/ 0 w 118027"/>
                <a:gd name="connsiteY68" fmla="*/ 69637 h 66882"/>
                <a:gd name="connsiteX69" fmla="*/ 2755 w 118027"/>
                <a:gd name="connsiteY69" fmla="*/ 68850 h 66882"/>
                <a:gd name="connsiteX70" fmla="*/ 5901 w 118027"/>
                <a:gd name="connsiteY70" fmla="*/ 69637 h 66882"/>
                <a:gd name="connsiteX71" fmla="*/ 8656 w 118027"/>
                <a:gd name="connsiteY71" fmla="*/ 69637 h 66882"/>
                <a:gd name="connsiteX72" fmla="*/ 11410 w 118027"/>
                <a:gd name="connsiteY72" fmla="*/ 68456 h 66882"/>
                <a:gd name="connsiteX73" fmla="*/ 14164 w 118027"/>
                <a:gd name="connsiteY73" fmla="*/ 66882 h 66882"/>
                <a:gd name="connsiteX74" fmla="*/ 17311 w 118027"/>
                <a:gd name="connsiteY74" fmla="*/ 65309 h 66882"/>
                <a:gd name="connsiteX75" fmla="*/ 20065 w 118027"/>
                <a:gd name="connsiteY75" fmla="*/ 63342 h 66882"/>
                <a:gd name="connsiteX76" fmla="*/ 23213 w 118027"/>
                <a:gd name="connsiteY76" fmla="*/ 62948 h 66882"/>
                <a:gd name="connsiteX77" fmla="*/ 25967 w 118027"/>
                <a:gd name="connsiteY77" fmla="*/ 62948 h 66882"/>
                <a:gd name="connsiteX78" fmla="*/ 28720 w 118027"/>
                <a:gd name="connsiteY78" fmla="*/ 62555 h 66882"/>
                <a:gd name="connsiteX79" fmla="*/ 31868 w 118027"/>
                <a:gd name="connsiteY79" fmla="*/ 59801 h 66882"/>
                <a:gd name="connsiteX80" fmla="*/ 33835 w 118027"/>
                <a:gd name="connsiteY80" fmla="*/ 57047 h 66882"/>
                <a:gd name="connsiteX81" fmla="*/ 36196 w 118027"/>
                <a:gd name="connsiteY81" fmla="*/ 55473 h 66882"/>
                <a:gd name="connsiteX82" fmla="*/ 38950 w 118027"/>
                <a:gd name="connsiteY82" fmla="*/ 53113 h 66882"/>
                <a:gd name="connsiteX83" fmla="*/ 40917 w 118027"/>
                <a:gd name="connsiteY83" fmla="*/ 50752 h 66882"/>
                <a:gd name="connsiteX84" fmla="*/ 46425 w 118027"/>
                <a:gd name="connsiteY84" fmla="*/ 45244 h 66882"/>
                <a:gd name="connsiteX85" fmla="*/ 46818 w 118027"/>
                <a:gd name="connsiteY85" fmla="*/ 44457 h 66882"/>
                <a:gd name="connsiteX86" fmla="*/ 49966 w 118027"/>
                <a:gd name="connsiteY86" fmla="*/ 39343 h 66882"/>
                <a:gd name="connsiteX87" fmla="*/ 50359 w 118027"/>
                <a:gd name="connsiteY87" fmla="*/ 39343 h 66882"/>
                <a:gd name="connsiteX88" fmla="*/ 50359 w 118027"/>
                <a:gd name="connsiteY88" fmla="*/ 38949 h 66882"/>
                <a:gd name="connsiteX89" fmla="*/ 52326 w 118027"/>
                <a:gd name="connsiteY89" fmla="*/ 37769 h 66882"/>
                <a:gd name="connsiteX90" fmla="*/ 54293 w 118027"/>
                <a:gd name="connsiteY90" fmla="*/ 37376 h 66882"/>
                <a:gd name="connsiteX91" fmla="*/ 55474 w 118027"/>
                <a:gd name="connsiteY91" fmla="*/ 36195 h 66882"/>
                <a:gd name="connsiteX92" fmla="*/ 67670 w 118027"/>
                <a:gd name="connsiteY92" fmla="*/ 29900 h 66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118027" h="66882">
                  <a:moveTo>
                    <a:pt x="68850" y="29900"/>
                  </a:moveTo>
                  <a:lnTo>
                    <a:pt x="71604" y="27933"/>
                  </a:lnTo>
                  <a:lnTo>
                    <a:pt x="74751" y="27540"/>
                  </a:lnTo>
                  <a:lnTo>
                    <a:pt x="77899" y="26753"/>
                  </a:lnTo>
                  <a:lnTo>
                    <a:pt x="80652" y="25179"/>
                  </a:lnTo>
                  <a:lnTo>
                    <a:pt x="83407" y="22819"/>
                  </a:lnTo>
                  <a:lnTo>
                    <a:pt x="86554" y="22425"/>
                  </a:lnTo>
                  <a:lnTo>
                    <a:pt x="89309" y="22032"/>
                  </a:lnTo>
                  <a:lnTo>
                    <a:pt x="92062" y="21638"/>
                  </a:lnTo>
                  <a:lnTo>
                    <a:pt x="95210" y="19278"/>
                  </a:lnTo>
                  <a:lnTo>
                    <a:pt x="97964" y="16524"/>
                  </a:lnTo>
                  <a:lnTo>
                    <a:pt x="100718" y="14950"/>
                  </a:lnTo>
                  <a:lnTo>
                    <a:pt x="103471" y="14950"/>
                  </a:lnTo>
                  <a:lnTo>
                    <a:pt x="106619" y="13770"/>
                  </a:lnTo>
                  <a:lnTo>
                    <a:pt x="109373" y="12196"/>
                  </a:lnTo>
                  <a:lnTo>
                    <a:pt x="112127" y="9836"/>
                  </a:lnTo>
                  <a:lnTo>
                    <a:pt x="115274" y="7475"/>
                  </a:lnTo>
                  <a:lnTo>
                    <a:pt x="118028" y="5114"/>
                  </a:lnTo>
                  <a:lnTo>
                    <a:pt x="119208" y="2360"/>
                  </a:lnTo>
                  <a:lnTo>
                    <a:pt x="116848" y="393"/>
                  </a:lnTo>
                  <a:lnTo>
                    <a:pt x="114094" y="1574"/>
                  </a:lnTo>
                  <a:lnTo>
                    <a:pt x="110947" y="0"/>
                  </a:lnTo>
                  <a:lnTo>
                    <a:pt x="108192" y="787"/>
                  </a:lnTo>
                  <a:lnTo>
                    <a:pt x="105046" y="2754"/>
                  </a:lnTo>
                  <a:lnTo>
                    <a:pt x="102291" y="3147"/>
                  </a:lnTo>
                  <a:lnTo>
                    <a:pt x="99144" y="4721"/>
                  </a:lnTo>
                  <a:lnTo>
                    <a:pt x="96389" y="5508"/>
                  </a:lnTo>
                  <a:lnTo>
                    <a:pt x="93636" y="3934"/>
                  </a:lnTo>
                  <a:lnTo>
                    <a:pt x="90882" y="3934"/>
                  </a:lnTo>
                  <a:lnTo>
                    <a:pt x="88128" y="5508"/>
                  </a:lnTo>
                  <a:lnTo>
                    <a:pt x="84981" y="5901"/>
                  </a:lnTo>
                  <a:lnTo>
                    <a:pt x="81833" y="6688"/>
                  </a:lnTo>
                  <a:lnTo>
                    <a:pt x="79079" y="5901"/>
                  </a:lnTo>
                  <a:lnTo>
                    <a:pt x="76325" y="5508"/>
                  </a:lnTo>
                  <a:lnTo>
                    <a:pt x="73178" y="6295"/>
                  </a:lnTo>
                  <a:lnTo>
                    <a:pt x="70424" y="7082"/>
                  </a:lnTo>
                  <a:lnTo>
                    <a:pt x="67670" y="7869"/>
                  </a:lnTo>
                  <a:lnTo>
                    <a:pt x="64523" y="8262"/>
                  </a:lnTo>
                  <a:lnTo>
                    <a:pt x="61769" y="8655"/>
                  </a:lnTo>
                  <a:lnTo>
                    <a:pt x="58621" y="9836"/>
                  </a:lnTo>
                  <a:lnTo>
                    <a:pt x="55867" y="9836"/>
                  </a:lnTo>
                  <a:lnTo>
                    <a:pt x="53113" y="12196"/>
                  </a:lnTo>
                  <a:lnTo>
                    <a:pt x="52720" y="14950"/>
                  </a:lnTo>
                  <a:lnTo>
                    <a:pt x="49966" y="18098"/>
                  </a:lnTo>
                  <a:lnTo>
                    <a:pt x="49572" y="18491"/>
                  </a:lnTo>
                  <a:lnTo>
                    <a:pt x="47211" y="21245"/>
                  </a:lnTo>
                  <a:lnTo>
                    <a:pt x="45244" y="22819"/>
                  </a:lnTo>
                  <a:lnTo>
                    <a:pt x="42097" y="24392"/>
                  </a:lnTo>
                  <a:lnTo>
                    <a:pt x="39343" y="25966"/>
                  </a:lnTo>
                  <a:lnTo>
                    <a:pt x="36196" y="28720"/>
                  </a:lnTo>
                  <a:lnTo>
                    <a:pt x="33441" y="29113"/>
                  </a:lnTo>
                  <a:lnTo>
                    <a:pt x="30295" y="29900"/>
                  </a:lnTo>
                  <a:lnTo>
                    <a:pt x="27540" y="30294"/>
                  </a:lnTo>
                  <a:lnTo>
                    <a:pt x="24393" y="31867"/>
                  </a:lnTo>
                  <a:lnTo>
                    <a:pt x="21638" y="33835"/>
                  </a:lnTo>
                  <a:lnTo>
                    <a:pt x="18885" y="35015"/>
                  </a:lnTo>
                  <a:lnTo>
                    <a:pt x="15737" y="36982"/>
                  </a:lnTo>
                  <a:lnTo>
                    <a:pt x="7082" y="45244"/>
                  </a:lnTo>
                  <a:lnTo>
                    <a:pt x="7082" y="48391"/>
                  </a:lnTo>
                  <a:lnTo>
                    <a:pt x="6689" y="51145"/>
                  </a:lnTo>
                  <a:lnTo>
                    <a:pt x="4722" y="54293"/>
                  </a:lnTo>
                  <a:lnTo>
                    <a:pt x="3934" y="57047"/>
                  </a:lnTo>
                  <a:lnTo>
                    <a:pt x="4722" y="58620"/>
                  </a:lnTo>
                  <a:lnTo>
                    <a:pt x="7476" y="58227"/>
                  </a:lnTo>
                  <a:lnTo>
                    <a:pt x="7476" y="61374"/>
                  </a:lnTo>
                  <a:lnTo>
                    <a:pt x="4722" y="62555"/>
                  </a:lnTo>
                  <a:lnTo>
                    <a:pt x="1967" y="63342"/>
                  </a:lnTo>
                  <a:lnTo>
                    <a:pt x="394" y="66489"/>
                  </a:lnTo>
                  <a:lnTo>
                    <a:pt x="0" y="69637"/>
                  </a:lnTo>
                  <a:lnTo>
                    <a:pt x="2755" y="68850"/>
                  </a:lnTo>
                  <a:lnTo>
                    <a:pt x="5901" y="69637"/>
                  </a:lnTo>
                  <a:lnTo>
                    <a:pt x="8656" y="69637"/>
                  </a:lnTo>
                  <a:lnTo>
                    <a:pt x="11410" y="68456"/>
                  </a:lnTo>
                  <a:lnTo>
                    <a:pt x="14164" y="66882"/>
                  </a:lnTo>
                  <a:lnTo>
                    <a:pt x="17311" y="65309"/>
                  </a:lnTo>
                  <a:lnTo>
                    <a:pt x="20065" y="63342"/>
                  </a:lnTo>
                  <a:lnTo>
                    <a:pt x="23213" y="62948"/>
                  </a:lnTo>
                  <a:lnTo>
                    <a:pt x="25967" y="62948"/>
                  </a:lnTo>
                  <a:lnTo>
                    <a:pt x="28720" y="62555"/>
                  </a:lnTo>
                  <a:lnTo>
                    <a:pt x="31868" y="59801"/>
                  </a:lnTo>
                  <a:lnTo>
                    <a:pt x="33835" y="57047"/>
                  </a:lnTo>
                  <a:lnTo>
                    <a:pt x="36196" y="55473"/>
                  </a:lnTo>
                  <a:lnTo>
                    <a:pt x="38950" y="53113"/>
                  </a:lnTo>
                  <a:lnTo>
                    <a:pt x="40917" y="50752"/>
                  </a:lnTo>
                  <a:lnTo>
                    <a:pt x="46425" y="45244"/>
                  </a:lnTo>
                  <a:lnTo>
                    <a:pt x="46818" y="44457"/>
                  </a:lnTo>
                  <a:lnTo>
                    <a:pt x="49966" y="39343"/>
                  </a:lnTo>
                  <a:lnTo>
                    <a:pt x="50359" y="39343"/>
                  </a:lnTo>
                  <a:lnTo>
                    <a:pt x="50359" y="38949"/>
                  </a:lnTo>
                  <a:lnTo>
                    <a:pt x="52326" y="37769"/>
                  </a:lnTo>
                  <a:lnTo>
                    <a:pt x="54293" y="37376"/>
                  </a:lnTo>
                  <a:lnTo>
                    <a:pt x="55474" y="36195"/>
                  </a:lnTo>
                  <a:lnTo>
                    <a:pt x="67670" y="2990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30" name="Freeform: Shape 3924">
              <a:extLst>
                <a:ext uri="{FF2B5EF4-FFF2-40B4-BE49-F238E27FC236}">
                  <a16:creationId xmlns:a16="http://schemas.microsoft.com/office/drawing/2014/main" id="{8A4CA52B-987E-46CB-A558-7FE506DFE565}"/>
                </a:ext>
              </a:extLst>
            </p:cNvPr>
            <p:cNvSpPr/>
            <p:nvPr/>
          </p:nvSpPr>
          <p:spPr>
            <a:xfrm>
              <a:off x="9959842" y="3726079"/>
              <a:ext cx="27540" cy="11803"/>
            </a:xfrm>
            <a:custGeom>
              <a:avLst/>
              <a:gdLst>
                <a:gd name="connsiteX0" fmla="*/ 30686 w 27539"/>
                <a:gd name="connsiteY0" fmla="*/ 10623 h 11802"/>
                <a:gd name="connsiteX1" fmla="*/ 30686 w 27539"/>
                <a:gd name="connsiteY1" fmla="*/ 8262 h 11802"/>
                <a:gd name="connsiteX2" fmla="*/ 30686 w 27539"/>
                <a:gd name="connsiteY2" fmla="*/ 5508 h 11802"/>
                <a:gd name="connsiteX3" fmla="*/ 27540 w 27539"/>
                <a:gd name="connsiteY3" fmla="*/ 4328 h 11802"/>
                <a:gd name="connsiteX4" fmla="*/ 24785 w 27539"/>
                <a:gd name="connsiteY4" fmla="*/ 2361 h 11802"/>
                <a:gd name="connsiteX5" fmla="*/ 21638 w 27539"/>
                <a:gd name="connsiteY5" fmla="*/ 1180 h 11802"/>
                <a:gd name="connsiteX6" fmla="*/ 18884 w 27539"/>
                <a:gd name="connsiteY6" fmla="*/ 394 h 11802"/>
                <a:gd name="connsiteX7" fmla="*/ 16130 w 27539"/>
                <a:gd name="connsiteY7" fmla="*/ 0 h 11802"/>
                <a:gd name="connsiteX8" fmla="*/ 13376 w 27539"/>
                <a:gd name="connsiteY8" fmla="*/ 1180 h 11802"/>
                <a:gd name="connsiteX9" fmla="*/ 10622 w 27539"/>
                <a:gd name="connsiteY9" fmla="*/ 1180 h 11802"/>
                <a:gd name="connsiteX10" fmla="*/ 7475 w 27539"/>
                <a:gd name="connsiteY10" fmla="*/ 1967 h 11802"/>
                <a:gd name="connsiteX11" fmla="*/ 4721 w 27539"/>
                <a:gd name="connsiteY11" fmla="*/ 2361 h 11802"/>
                <a:gd name="connsiteX12" fmla="*/ 1573 w 27539"/>
                <a:gd name="connsiteY12" fmla="*/ 2754 h 11802"/>
                <a:gd name="connsiteX13" fmla="*/ 787 w 27539"/>
                <a:gd name="connsiteY13" fmla="*/ 5508 h 11802"/>
                <a:gd name="connsiteX14" fmla="*/ 3934 w 27539"/>
                <a:gd name="connsiteY14" fmla="*/ 4328 h 11802"/>
                <a:gd name="connsiteX15" fmla="*/ 2754 w 27539"/>
                <a:gd name="connsiteY15" fmla="*/ 7082 h 11802"/>
                <a:gd name="connsiteX16" fmla="*/ 0 w 27539"/>
                <a:gd name="connsiteY16" fmla="*/ 6688 h 11802"/>
                <a:gd name="connsiteX17" fmla="*/ 2754 w 27539"/>
                <a:gd name="connsiteY17" fmla="*/ 9049 h 11802"/>
                <a:gd name="connsiteX18" fmla="*/ 5508 w 27539"/>
                <a:gd name="connsiteY18" fmla="*/ 8262 h 11802"/>
                <a:gd name="connsiteX19" fmla="*/ 7475 w 27539"/>
                <a:gd name="connsiteY19" fmla="*/ 11409 h 11802"/>
                <a:gd name="connsiteX20" fmla="*/ 7475 w 27539"/>
                <a:gd name="connsiteY20" fmla="*/ 14163 h 11802"/>
                <a:gd name="connsiteX21" fmla="*/ 8655 w 27539"/>
                <a:gd name="connsiteY21" fmla="*/ 11409 h 11802"/>
                <a:gd name="connsiteX22" fmla="*/ 11409 w 27539"/>
                <a:gd name="connsiteY22" fmla="*/ 9836 h 11802"/>
                <a:gd name="connsiteX23" fmla="*/ 12589 w 27539"/>
                <a:gd name="connsiteY23" fmla="*/ 12590 h 11802"/>
                <a:gd name="connsiteX24" fmla="*/ 12982 w 27539"/>
                <a:gd name="connsiteY24" fmla="*/ 14557 h 11802"/>
                <a:gd name="connsiteX25" fmla="*/ 16130 w 27539"/>
                <a:gd name="connsiteY25" fmla="*/ 14557 h 11802"/>
                <a:gd name="connsiteX26" fmla="*/ 18884 w 27539"/>
                <a:gd name="connsiteY26" fmla="*/ 13377 h 11802"/>
                <a:gd name="connsiteX27" fmla="*/ 19671 w 27539"/>
                <a:gd name="connsiteY27" fmla="*/ 12590 h 11802"/>
                <a:gd name="connsiteX28" fmla="*/ 20851 w 27539"/>
                <a:gd name="connsiteY28" fmla="*/ 11803 h 11802"/>
                <a:gd name="connsiteX29" fmla="*/ 21245 w 27539"/>
                <a:gd name="connsiteY29" fmla="*/ 11803 h 11802"/>
                <a:gd name="connsiteX30" fmla="*/ 22031 w 27539"/>
                <a:gd name="connsiteY30" fmla="*/ 11409 h 11802"/>
                <a:gd name="connsiteX31" fmla="*/ 23606 w 27539"/>
                <a:gd name="connsiteY31" fmla="*/ 11409 h 11802"/>
                <a:gd name="connsiteX32" fmla="*/ 24785 w 27539"/>
                <a:gd name="connsiteY32" fmla="*/ 10623 h 11802"/>
                <a:gd name="connsiteX33" fmla="*/ 27540 w 27539"/>
                <a:gd name="connsiteY33" fmla="*/ 12196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7539" h="11802">
                  <a:moveTo>
                    <a:pt x="30686" y="10623"/>
                  </a:moveTo>
                  <a:lnTo>
                    <a:pt x="30686" y="8262"/>
                  </a:lnTo>
                  <a:lnTo>
                    <a:pt x="30686" y="5508"/>
                  </a:lnTo>
                  <a:lnTo>
                    <a:pt x="27540" y="4328"/>
                  </a:lnTo>
                  <a:lnTo>
                    <a:pt x="24785" y="2361"/>
                  </a:lnTo>
                  <a:lnTo>
                    <a:pt x="21638" y="1180"/>
                  </a:lnTo>
                  <a:lnTo>
                    <a:pt x="18884" y="394"/>
                  </a:lnTo>
                  <a:lnTo>
                    <a:pt x="16130" y="0"/>
                  </a:lnTo>
                  <a:lnTo>
                    <a:pt x="13376" y="1180"/>
                  </a:lnTo>
                  <a:lnTo>
                    <a:pt x="10622" y="1180"/>
                  </a:lnTo>
                  <a:lnTo>
                    <a:pt x="7475" y="1967"/>
                  </a:lnTo>
                  <a:lnTo>
                    <a:pt x="4721" y="2361"/>
                  </a:lnTo>
                  <a:lnTo>
                    <a:pt x="1573" y="2754"/>
                  </a:lnTo>
                  <a:lnTo>
                    <a:pt x="787" y="5508"/>
                  </a:lnTo>
                  <a:lnTo>
                    <a:pt x="3934" y="4328"/>
                  </a:lnTo>
                  <a:lnTo>
                    <a:pt x="2754" y="7082"/>
                  </a:lnTo>
                  <a:lnTo>
                    <a:pt x="0" y="6688"/>
                  </a:lnTo>
                  <a:lnTo>
                    <a:pt x="2754" y="9049"/>
                  </a:lnTo>
                  <a:lnTo>
                    <a:pt x="5508" y="8262"/>
                  </a:lnTo>
                  <a:lnTo>
                    <a:pt x="7475" y="11409"/>
                  </a:lnTo>
                  <a:lnTo>
                    <a:pt x="7475" y="14163"/>
                  </a:lnTo>
                  <a:lnTo>
                    <a:pt x="8655" y="11409"/>
                  </a:lnTo>
                  <a:lnTo>
                    <a:pt x="11409" y="9836"/>
                  </a:lnTo>
                  <a:lnTo>
                    <a:pt x="12589" y="12590"/>
                  </a:lnTo>
                  <a:lnTo>
                    <a:pt x="12982" y="14557"/>
                  </a:lnTo>
                  <a:lnTo>
                    <a:pt x="16130" y="14557"/>
                  </a:lnTo>
                  <a:lnTo>
                    <a:pt x="18884" y="13377"/>
                  </a:lnTo>
                  <a:lnTo>
                    <a:pt x="19671" y="12590"/>
                  </a:lnTo>
                  <a:lnTo>
                    <a:pt x="20851" y="11803"/>
                  </a:lnTo>
                  <a:lnTo>
                    <a:pt x="21245" y="11803"/>
                  </a:lnTo>
                  <a:lnTo>
                    <a:pt x="22031" y="11409"/>
                  </a:lnTo>
                  <a:lnTo>
                    <a:pt x="23606" y="11409"/>
                  </a:lnTo>
                  <a:lnTo>
                    <a:pt x="24785" y="10623"/>
                  </a:lnTo>
                  <a:lnTo>
                    <a:pt x="27540" y="1219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31" name="Freeform: Shape 3925">
              <a:extLst>
                <a:ext uri="{FF2B5EF4-FFF2-40B4-BE49-F238E27FC236}">
                  <a16:creationId xmlns:a16="http://schemas.microsoft.com/office/drawing/2014/main" id="{E9365689-F1A3-4C0E-83C3-35B0FF4FD6D9}"/>
                </a:ext>
              </a:extLst>
            </p:cNvPr>
            <p:cNvSpPr/>
            <p:nvPr/>
          </p:nvSpPr>
          <p:spPr>
            <a:xfrm>
              <a:off x="10024363" y="3918071"/>
              <a:ext cx="3934" cy="7869"/>
            </a:xfrm>
            <a:custGeom>
              <a:avLst/>
              <a:gdLst>
                <a:gd name="connsiteX0" fmla="*/ 394 w 3934"/>
                <a:gd name="connsiteY0" fmla="*/ 8655 h 7868"/>
                <a:gd name="connsiteX1" fmla="*/ 3540 w 3934"/>
                <a:gd name="connsiteY1" fmla="*/ 9836 h 7868"/>
                <a:gd name="connsiteX2" fmla="*/ 4721 w 3934"/>
                <a:gd name="connsiteY2" fmla="*/ 6688 h 7868"/>
                <a:gd name="connsiteX3" fmla="*/ 3934 w 3934"/>
                <a:gd name="connsiteY3" fmla="*/ 3541 h 7868"/>
                <a:gd name="connsiteX4" fmla="*/ 2754 w 3934"/>
                <a:gd name="connsiteY4" fmla="*/ 787 h 7868"/>
                <a:gd name="connsiteX5" fmla="*/ 2754 w 3934"/>
                <a:gd name="connsiteY5" fmla="*/ 0 h 7868"/>
                <a:gd name="connsiteX6" fmla="*/ 0 w 3934"/>
                <a:gd name="connsiteY6" fmla="*/ 0 h 7868"/>
                <a:gd name="connsiteX7" fmla="*/ 1180 w 3934"/>
                <a:gd name="connsiteY7" fmla="*/ 2754 h 7868"/>
                <a:gd name="connsiteX8" fmla="*/ 787 w 3934"/>
                <a:gd name="connsiteY8" fmla="*/ 550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394" y="8655"/>
                  </a:moveTo>
                  <a:lnTo>
                    <a:pt x="3540" y="9836"/>
                  </a:lnTo>
                  <a:lnTo>
                    <a:pt x="4721" y="6688"/>
                  </a:lnTo>
                  <a:lnTo>
                    <a:pt x="3934" y="3541"/>
                  </a:lnTo>
                  <a:lnTo>
                    <a:pt x="2754" y="787"/>
                  </a:lnTo>
                  <a:lnTo>
                    <a:pt x="2754" y="0"/>
                  </a:lnTo>
                  <a:lnTo>
                    <a:pt x="0" y="0"/>
                  </a:lnTo>
                  <a:lnTo>
                    <a:pt x="1180" y="2754"/>
                  </a:lnTo>
                  <a:lnTo>
                    <a:pt x="787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32" name="Freeform: Shape 3926">
              <a:extLst>
                <a:ext uri="{FF2B5EF4-FFF2-40B4-BE49-F238E27FC236}">
                  <a16:creationId xmlns:a16="http://schemas.microsoft.com/office/drawing/2014/main" id="{7EDC3509-4C59-43F0-B6D2-87666869A03C}"/>
                </a:ext>
              </a:extLst>
            </p:cNvPr>
            <p:cNvSpPr/>
            <p:nvPr/>
          </p:nvSpPr>
          <p:spPr>
            <a:xfrm>
              <a:off x="10027904" y="3915710"/>
              <a:ext cx="3934" cy="3934"/>
            </a:xfrm>
            <a:custGeom>
              <a:avLst/>
              <a:gdLst>
                <a:gd name="connsiteX0" fmla="*/ 1574 w 0"/>
                <a:gd name="connsiteY0" fmla="*/ 0 h 0"/>
                <a:gd name="connsiteX1" fmla="*/ 0 w 0"/>
                <a:gd name="connsiteY1" fmla="*/ 0 h 0"/>
                <a:gd name="connsiteX2" fmla="*/ 118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0"/>
                  </a:moveTo>
                  <a:lnTo>
                    <a:pt x="0" y="0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33" name="Freeform: Shape 3927">
              <a:extLst>
                <a:ext uri="{FF2B5EF4-FFF2-40B4-BE49-F238E27FC236}">
                  <a16:creationId xmlns:a16="http://schemas.microsoft.com/office/drawing/2014/main" id="{AA8B2DE5-E81B-4D69-A3E9-157854882BB4}"/>
                </a:ext>
              </a:extLst>
            </p:cNvPr>
            <p:cNvSpPr/>
            <p:nvPr/>
          </p:nvSpPr>
          <p:spPr>
            <a:xfrm>
              <a:off x="9995643" y="3876368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0 w 0"/>
                <a:gd name="connsiteY1" fmla="*/ 393 h 0"/>
                <a:gd name="connsiteX2" fmla="*/ 1967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0" y="393"/>
                  </a:lnTo>
                  <a:lnTo>
                    <a:pt x="196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34" name="Freeform: Shape 3928">
              <a:extLst>
                <a:ext uri="{FF2B5EF4-FFF2-40B4-BE49-F238E27FC236}">
                  <a16:creationId xmlns:a16="http://schemas.microsoft.com/office/drawing/2014/main" id="{AC403067-A63A-4355-BE58-E76714D97509}"/>
                </a:ext>
              </a:extLst>
            </p:cNvPr>
            <p:cNvSpPr/>
            <p:nvPr/>
          </p:nvSpPr>
          <p:spPr>
            <a:xfrm>
              <a:off x="10047575" y="3865352"/>
              <a:ext cx="7869" cy="3934"/>
            </a:xfrm>
            <a:custGeom>
              <a:avLst/>
              <a:gdLst>
                <a:gd name="connsiteX0" fmla="*/ 3148 w 7868"/>
                <a:gd name="connsiteY0" fmla="*/ 2754 h 3934"/>
                <a:gd name="connsiteX1" fmla="*/ 394 w 7868"/>
                <a:gd name="connsiteY1" fmla="*/ 0 h 3934"/>
                <a:gd name="connsiteX2" fmla="*/ 0 w 7868"/>
                <a:gd name="connsiteY2" fmla="*/ 2360 h 3934"/>
                <a:gd name="connsiteX3" fmla="*/ 3148 w 7868"/>
                <a:gd name="connsiteY3" fmla="*/ 3541 h 3934"/>
                <a:gd name="connsiteX4" fmla="*/ 5901 w 7868"/>
                <a:gd name="connsiteY4" fmla="*/ 4721 h 3934"/>
                <a:gd name="connsiteX5" fmla="*/ 8656 w 7868"/>
                <a:gd name="connsiteY5" fmla="*/ 6688 h 3934"/>
                <a:gd name="connsiteX6" fmla="*/ 5901 w 7868"/>
                <a:gd name="connsiteY6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3148" y="2754"/>
                  </a:moveTo>
                  <a:lnTo>
                    <a:pt x="394" y="0"/>
                  </a:lnTo>
                  <a:lnTo>
                    <a:pt x="0" y="2360"/>
                  </a:lnTo>
                  <a:lnTo>
                    <a:pt x="3148" y="3541"/>
                  </a:lnTo>
                  <a:lnTo>
                    <a:pt x="5901" y="4721"/>
                  </a:lnTo>
                  <a:lnTo>
                    <a:pt x="8656" y="6688"/>
                  </a:lnTo>
                  <a:lnTo>
                    <a:pt x="5901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35" name="Freeform: Shape 3929">
              <a:extLst>
                <a:ext uri="{FF2B5EF4-FFF2-40B4-BE49-F238E27FC236}">
                  <a16:creationId xmlns:a16="http://schemas.microsoft.com/office/drawing/2014/main" id="{B694B68B-0196-45EF-849B-021983D950E4}"/>
                </a:ext>
              </a:extLst>
            </p:cNvPr>
            <p:cNvSpPr/>
            <p:nvPr/>
          </p:nvSpPr>
          <p:spPr>
            <a:xfrm>
              <a:off x="9986594" y="3864172"/>
              <a:ext cx="3934" cy="3934"/>
            </a:xfrm>
            <a:custGeom>
              <a:avLst/>
              <a:gdLst>
                <a:gd name="connsiteX0" fmla="*/ 0 w 0"/>
                <a:gd name="connsiteY0" fmla="*/ 1574 h 0"/>
                <a:gd name="connsiteX1" fmla="*/ 2755 w 0"/>
                <a:gd name="connsiteY1" fmla="*/ 2754 h 0"/>
                <a:gd name="connsiteX2" fmla="*/ 39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574"/>
                  </a:moveTo>
                  <a:lnTo>
                    <a:pt x="2755" y="2754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36" name="Freeform: Shape 3930">
              <a:extLst>
                <a:ext uri="{FF2B5EF4-FFF2-40B4-BE49-F238E27FC236}">
                  <a16:creationId xmlns:a16="http://schemas.microsoft.com/office/drawing/2014/main" id="{8FF7BE12-221D-4A94-9F41-FDE919BB1D74}"/>
                </a:ext>
              </a:extLst>
            </p:cNvPr>
            <p:cNvSpPr/>
            <p:nvPr/>
          </p:nvSpPr>
          <p:spPr>
            <a:xfrm>
              <a:off x="9989348" y="3860631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0 h 0"/>
                <a:gd name="connsiteX2" fmla="*/ 196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0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37" name="Freeform: Shape 3931">
              <a:extLst>
                <a:ext uri="{FF2B5EF4-FFF2-40B4-BE49-F238E27FC236}">
                  <a16:creationId xmlns:a16="http://schemas.microsoft.com/office/drawing/2014/main" id="{601A6B26-2066-45F8-BDF6-DA645B37F526}"/>
                </a:ext>
              </a:extLst>
            </p:cNvPr>
            <p:cNvSpPr/>
            <p:nvPr/>
          </p:nvSpPr>
          <p:spPr>
            <a:xfrm>
              <a:off x="10028297" y="3841746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0 w 0"/>
                <a:gd name="connsiteY1" fmla="*/ 0 h 0"/>
                <a:gd name="connsiteX2" fmla="*/ 1967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0" y="0"/>
                  </a:lnTo>
                  <a:lnTo>
                    <a:pt x="196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38" name="Freeform: Shape 3932">
              <a:extLst>
                <a:ext uri="{FF2B5EF4-FFF2-40B4-BE49-F238E27FC236}">
                  <a16:creationId xmlns:a16="http://schemas.microsoft.com/office/drawing/2014/main" id="{7AB626D5-E2F1-456A-8473-6EAA923FC3FD}"/>
                </a:ext>
              </a:extLst>
            </p:cNvPr>
            <p:cNvSpPr/>
            <p:nvPr/>
          </p:nvSpPr>
          <p:spPr>
            <a:xfrm>
              <a:off x="10087311" y="3805158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0 h 0"/>
                <a:gd name="connsiteX2" fmla="*/ 39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0"/>
                  </a:lnTo>
                  <a:lnTo>
                    <a:pt x="39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39" name="Freeform: Shape 3933">
              <a:extLst>
                <a:ext uri="{FF2B5EF4-FFF2-40B4-BE49-F238E27FC236}">
                  <a16:creationId xmlns:a16="http://schemas.microsoft.com/office/drawing/2014/main" id="{D3096408-280B-42C4-8DF9-32A95C0793AC}"/>
                </a:ext>
              </a:extLst>
            </p:cNvPr>
            <p:cNvSpPr/>
            <p:nvPr/>
          </p:nvSpPr>
          <p:spPr>
            <a:xfrm>
              <a:off x="9943711" y="3782732"/>
              <a:ext cx="19671" cy="11803"/>
            </a:xfrm>
            <a:custGeom>
              <a:avLst/>
              <a:gdLst>
                <a:gd name="connsiteX0" fmla="*/ 18491 w 19671"/>
                <a:gd name="connsiteY0" fmla="*/ 3147 h 11802"/>
                <a:gd name="connsiteX1" fmla="*/ 17310 w 19671"/>
                <a:gd name="connsiteY1" fmla="*/ 0 h 11802"/>
                <a:gd name="connsiteX2" fmla="*/ 14557 w 19671"/>
                <a:gd name="connsiteY2" fmla="*/ 1180 h 11802"/>
                <a:gd name="connsiteX3" fmla="*/ 11803 w 19671"/>
                <a:gd name="connsiteY3" fmla="*/ 1574 h 11802"/>
                <a:gd name="connsiteX4" fmla="*/ 8655 w 19671"/>
                <a:gd name="connsiteY4" fmla="*/ 1967 h 11802"/>
                <a:gd name="connsiteX5" fmla="*/ 7082 w 19671"/>
                <a:gd name="connsiteY5" fmla="*/ 2754 h 11802"/>
                <a:gd name="connsiteX6" fmla="*/ 5901 w 19671"/>
                <a:gd name="connsiteY6" fmla="*/ 3541 h 11802"/>
                <a:gd name="connsiteX7" fmla="*/ 3148 w 19671"/>
                <a:gd name="connsiteY7" fmla="*/ 5114 h 11802"/>
                <a:gd name="connsiteX8" fmla="*/ 0 w 19671"/>
                <a:gd name="connsiteY8" fmla="*/ 5901 h 11802"/>
                <a:gd name="connsiteX9" fmla="*/ 1180 w 19671"/>
                <a:gd name="connsiteY9" fmla="*/ 8655 h 11802"/>
                <a:gd name="connsiteX10" fmla="*/ 3934 w 19671"/>
                <a:gd name="connsiteY10" fmla="*/ 11016 h 11802"/>
                <a:gd name="connsiteX11" fmla="*/ 6688 w 19671"/>
                <a:gd name="connsiteY11" fmla="*/ 11409 h 11802"/>
                <a:gd name="connsiteX12" fmla="*/ 9442 w 19671"/>
                <a:gd name="connsiteY12" fmla="*/ 12196 h 11802"/>
                <a:gd name="connsiteX13" fmla="*/ 12589 w 19671"/>
                <a:gd name="connsiteY13" fmla="*/ 12983 h 11802"/>
                <a:gd name="connsiteX14" fmla="*/ 15343 w 19671"/>
                <a:gd name="connsiteY14" fmla="*/ 11409 h 11802"/>
                <a:gd name="connsiteX15" fmla="*/ 18491 w 19671"/>
                <a:gd name="connsiteY15" fmla="*/ 11409 h 11802"/>
                <a:gd name="connsiteX16" fmla="*/ 17310 w 19671"/>
                <a:gd name="connsiteY16" fmla="*/ 8262 h 11802"/>
                <a:gd name="connsiteX17" fmla="*/ 20065 w 19671"/>
                <a:gd name="connsiteY17" fmla="*/ 5901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671" h="11802">
                  <a:moveTo>
                    <a:pt x="18491" y="3147"/>
                  </a:moveTo>
                  <a:lnTo>
                    <a:pt x="17310" y="0"/>
                  </a:lnTo>
                  <a:lnTo>
                    <a:pt x="14557" y="1180"/>
                  </a:lnTo>
                  <a:lnTo>
                    <a:pt x="11803" y="1574"/>
                  </a:lnTo>
                  <a:lnTo>
                    <a:pt x="8655" y="1967"/>
                  </a:lnTo>
                  <a:lnTo>
                    <a:pt x="7082" y="2754"/>
                  </a:lnTo>
                  <a:lnTo>
                    <a:pt x="5901" y="3541"/>
                  </a:lnTo>
                  <a:lnTo>
                    <a:pt x="3148" y="5114"/>
                  </a:lnTo>
                  <a:lnTo>
                    <a:pt x="0" y="5901"/>
                  </a:lnTo>
                  <a:lnTo>
                    <a:pt x="1180" y="8655"/>
                  </a:lnTo>
                  <a:lnTo>
                    <a:pt x="3934" y="11016"/>
                  </a:lnTo>
                  <a:lnTo>
                    <a:pt x="6688" y="11409"/>
                  </a:lnTo>
                  <a:lnTo>
                    <a:pt x="9442" y="12196"/>
                  </a:lnTo>
                  <a:lnTo>
                    <a:pt x="12589" y="12983"/>
                  </a:lnTo>
                  <a:lnTo>
                    <a:pt x="15343" y="11409"/>
                  </a:lnTo>
                  <a:lnTo>
                    <a:pt x="18491" y="11409"/>
                  </a:lnTo>
                  <a:lnTo>
                    <a:pt x="17310" y="8262"/>
                  </a:lnTo>
                  <a:lnTo>
                    <a:pt x="20065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40" name="Freeform: Shape 3934">
              <a:extLst>
                <a:ext uri="{FF2B5EF4-FFF2-40B4-BE49-F238E27FC236}">
                  <a16:creationId xmlns:a16="http://schemas.microsoft.com/office/drawing/2014/main" id="{96314546-8DBC-45AE-AD89-E5F435754676}"/>
                </a:ext>
              </a:extLst>
            </p:cNvPr>
            <p:cNvSpPr/>
            <p:nvPr/>
          </p:nvSpPr>
          <p:spPr>
            <a:xfrm>
              <a:off x="10115638" y="3779978"/>
              <a:ext cx="39343" cy="7869"/>
            </a:xfrm>
            <a:custGeom>
              <a:avLst/>
              <a:gdLst>
                <a:gd name="connsiteX0" fmla="*/ 5901 w 39342"/>
                <a:gd name="connsiteY0" fmla="*/ 3934 h 7868"/>
                <a:gd name="connsiteX1" fmla="*/ 8655 w 39342"/>
                <a:gd name="connsiteY1" fmla="*/ 4328 h 7868"/>
                <a:gd name="connsiteX2" fmla="*/ 11803 w 39342"/>
                <a:gd name="connsiteY2" fmla="*/ 5114 h 7868"/>
                <a:gd name="connsiteX3" fmla="*/ 14557 w 39342"/>
                <a:gd name="connsiteY3" fmla="*/ 7082 h 7868"/>
                <a:gd name="connsiteX4" fmla="*/ 17311 w 39342"/>
                <a:gd name="connsiteY4" fmla="*/ 8262 h 7868"/>
                <a:gd name="connsiteX5" fmla="*/ 20458 w 39342"/>
                <a:gd name="connsiteY5" fmla="*/ 9049 h 7868"/>
                <a:gd name="connsiteX6" fmla="*/ 23606 w 39342"/>
                <a:gd name="connsiteY6" fmla="*/ 10623 h 7868"/>
                <a:gd name="connsiteX7" fmla="*/ 26359 w 39342"/>
                <a:gd name="connsiteY7" fmla="*/ 9049 h 7868"/>
                <a:gd name="connsiteX8" fmla="*/ 29114 w 39342"/>
                <a:gd name="connsiteY8" fmla="*/ 10229 h 7868"/>
                <a:gd name="connsiteX9" fmla="*/ 32261 w 39342"/>
                <a:gd name="connsiteY9" fmla="*/ 9442 h 7868"/>
                <a:gd name="connsiteX10" fmla="*/ 35016 w 39342"/>
                <a:gd name="connsiteY10" fmla="*/ 9442 h 7868"/>
                <a:gd name="connsiteX11" fmla="*/ 37769 w 39342"/>
                <a:gd name="connsiteY11" fmla="*/ 7869 h 7868"/>
                <a:gd name="connsiteX12" fmla="*/ 40917 w 39342"/>
                <a:gd name="connsiteY12" fmla="*/ 7869 h 7868"/>
                <a:gd name="connsiteX13" fmla="*/ 37769 w 39342"/>
                <a:gd name="connsiteY13" fmla="*/ 5114 h 7868"/>
                <a:gd name="connsiteX14" fmla="*/ 35016 w 39342"/>
                <a:gd name="connsiteY14" fmla="*/ 5114 h 7868"/>
                <a:gd name="connsiteX15" fmla="*/ 32261 w 39342"/>
                <a:gd name="connsiteY15" fmla="*/ 4328 h 7868"/>
                <a:gd name="connsiteX16" fmla="*/ 29507 w 39342"/>
                <a:gd name="connsiteY16" fmla="*/ 3934 h 7868"/>
                <a:gd name="connsiteX17" fmla="*/ 26753 w 39342"/>
                <a:gd name="connsiteY17" fmla="*/ 4328 h 7868"/>
                <a:gd name="connsiteX18" fmla="*/ 23606 w 39342"/>
                <a:gd name="connsiteY18" fmla="*/ 3147 h 7868"/>
                <a:gd name="connsiteX19" fmla="*/ 20458 w 39342"/>
                <a:gd name="connsiteY19" fmla="*/ 1967 h 7868"/>
                <a:gd name="connsiteX20" fmla="*/ 17704 w 39342"/>
                <a:gd name="connsiteY20" fmla="*/ 1967 h 7868"/>
                <a:gd name="connsiteX21" fmla="*/ 14557 w 39342"/>
                <a:gd name="connsiteY21" fmla="*/ 1574 h 7868"/>
                <a:gd name="connsiteX22" fmla="*/ 11803 w 39342"/>
                <a:gd name="connsiteY22" fmla="*/ 1574 h 7868"/>
                <a:gd name="connsiteX23" fmla="*/ 9049 w 39342"/>
                <a:gd name="connsiteY23" fmla="*/ 1180 h 7868"/>
                <a:gd name="connsiteX24" fmla="*/ 5901 w 39342"/>
                <a:gd name="connsiteY24" fmla="*/ 1180 h 7868"/>
                <a:gd name="connsiteX25" fmla="*/ 3148 w 39342"/>
                <a:gd name="connsiteY25" fmla="*/ 393 h 7868"/>
                <a:gd name="connsiteX26" fmla="*/ 394 w 39342"/>
                <a:gd name="connsiteY26" fmla="*/ 0 h 7868"/>
                <a:gd name="connsiteX27" fmla="*/ 0 w 39342"/>
                <a:gd name="connsiteY27" fmla="*/ 3147 h 7868"/>
                <a:gd name="connsiteX28" fmla="*/ 3148 w 39342"/>
                <a:gd name="connsiteY28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9342" h="7868">
                  <a:moveTo>
                    <a:pt x="5901" y="3934"/>
                  </a:moveTo>
                  <a:lnTo>
                    <a:pt x="8655" y="4328"/>
                  </a:lnTo>
                  <a:lnTo>
                    <a:pt x="11803" y="5114"/>
                  </a:lnTo>
                  <a:lnTo>
                    <a:pt x="14557" y="7082"/>
                  </a:lnTo>
                  <a:lnTo>
                    <a:pt x="17311" y="8262"/>
                  </a:lnTo>
                  <a:lnTo>
                    <a:pt x="20458" y="9049"/>
                  </a:lnTo>
                  <a:lnTo>
                    <a:pt x="23606" y="10623"/>
                  </a:lnTo>
                  <a:lnTo>
                    <a:pt x="26359" y="9049"/>
                  </a:lnTo>
                  <a:lnTo>
                    <a:pt x="29114" y="10229"/>
                  </a:lnTo>
                  <a:lnTo>
                    <a:pt x="32261" y="9442"/>
                  </a:lnTo>
                  <a:lnTo>
                    <a:pt x="35016" y="9442"/>
                  </a:lnTo>
                  <a:lnTo>
                    <a:pt x="37769" y="7869"/>
                  </a:lnTo>
                  <a:lnTo>
                    <a:pt x="40917" y="7869"/>
                  </a:lnTo>
                  <a:lnTo>
                    <a:pt x="37769" y="5114"/>
                  </a:lnTo>
                  <a:lnTo>
                    <a:pt x="35016" y="5114"/>
                  </a:lnTo>
                  <a:lnTo>
                    <a:pt x="32261" y="4328"/>
                  </a:lnTo>
                  <a:lnTo>
                    <a:pt x="29507" y="3934"/>
                  </a:lnTo>
                  <a:lnTo>
                    <a:pt x="26753" y="4328"/>
                  </a:lnTo>
                  <a:lnTo>
                    <a:pt x="23606" y="3147"/>
                  </a:lnTo>
                  <a:lnTo>
                    <a:pt x="20458" y="1967"/>
                  </a:lnTo>
                  <a:lnTo>
                    <a:pt x="17704" y="1967"/>
                  </a:lnTo>
                  <a:lnTo>
                    <a:pt x="14557" y="1574"/>
                  </a:lnTo>
                  <a:lnTo>
                    <a:pt x="11803" y="1574"/>
                  </a:lnTo>
                  <a:lnTo>
                    <a:pt x="9049" y="1180"/>
                  </a:lnTo>
                  <a:lnTo>
                    <a:pt x="5901" y="1180"/>
                  </a:lnTo>
                  <a:lnTo>
                    <a:pt x="3148" y="393"/>
                  </a:lnTo>
                  <a:lnTo>
                    <a:pt x="394" y="0"/>
                  </a:lnTo>
                  <a:lnTo>
                    <a:pt x="0" y="3147"/>
                  </a:lnTo>
                  <a:lnTo>
                    <a:pt x="314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41" name="Freeform: Shape 3935">
              <a:extLst>
                <a:ext uri="{FF2B5EF4-FFF2-40B4-BE49-F238E27FC236}">
                  <a16:creationId xmlns:a16="http://schemas.microsoft.com/office/drawing/2014/main" id="{744A7D58-2A1F-48E9-90CB-E66280E175D9}"/>
                </a:ext>
              </a:extLst>
            </p:cNvPr>
            <p:cNvSpPr/>
            <p:nvPr/>
          </p:nvSpPr>
          <p:spPr>
            <a:xfrm>
              <a:off x="10197077" y="4003444"/>
              <a:ext cx="7869" cy="7869"/>
            </a:xfrm>
            <a:custGeom>
              <a:avLst/>
              <a:gdLst>
                <a:gd name="connsiteX0" fmla="*/ 3541 w 7868"/>
                <a:gd name="connsiteY0" fmla="*/ 8262 h 7868"/>
                <a:gd name="connsiteX1" fmla="*/ 6295 w 7868"/>
                <a:gd name="connsiteY1" fmla="*/ 8262 h 7868"/>
                <a:gd name="connsiteX2" fmla="*/ 9049 w 7868"/>
                <a:gd name="connsiteY2" fmla="*/ 7475 h 7868"/>
                <a:gd name="connsiteX3" fmla="*/ 9049 w 7868"/>
                <a:gd name="connsiteY3" fmla="*/ 6295 h 7868"/>
                <a:gd name="connsiteX4" fmla="*/ 8656 w 7868"/>
                <a:gd name="connsiteY4" fmla="*/ 5901 h 7868"/>
                <a:gd name="connsiteX5" fmla="*/ 6689 w 7868"/>
                <a:gd name="connsiteY5" fmla="*/ 394 h 7868"/>
                <a:gd name="connsiteX6" fmla="*/ 5115 w 7868"/>
                <a:gd name="connsiteY6" fmla="*/ 0 h 7868"/>
                <a:gd name="connsiteX7" fmla="*/ 2361 w 7868"/>
                <a:gd name="connsiteY7" fmla="*/ 1180 h 7868"/>
                <a:gd name="connsiteX8" fmla="*/ 0 w 7868"/>
                <a:gd name="connsiteY8" fmla="*/ 4328 h 7868"/>
                <a:gd name="connsiteX9" fmla="*/ 788 w 7868"/>
                <a:gd name="connsiteY9" fmla="*/ 708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7868">
                  <a:moveTo>
                    <a:pt x="3541" y="8262"/>
                  </a:moveTo>
                  <a:lnTo>
                    <a:pt x="6295" y="8262"/>
                  </a:lnTo>
                  <a:lnTo>
                    <a:pt x="9049" y="7475"/>
                  </a:lnTo>
                  <a:lnTo>
                    <a:pt x="9049" y="6295"/>
                  </a:lnTo>
                  <a:lnTo>
                    <a:pt x="8656" y="5901"/>
                  </a:lnTo>
                  <a:lnTo>
                    <a:pt x="6689" y="394"/>
                  </a:lnTo>
                  <a:lnTo>
                    <a:pt x="5115" y="0"/>
                  </a:lnTo>
                  <a:lnTo>
                    <a:pt x="2361" y="1180"/>
                  </a:lnTo>
                  <a:lnTo>
                    <a:pt x="0" y="4328"/>
                  </a:lnTo>
                  <a:lnTo>
                    <a:pt x="788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42" name="Freeform: Shape 3936">
              <a:extLst>
                <a:ext uri="{FF2B5EF4-FFF2-40B4-BE49-F238E27FC236}">
                  <a16:creationId xmlns:a16="http://schemas.microsoft.com/office/drawing/2014/main" id="{1BE042A0-E991-4451-8215-00B4B0CCB554}"/>
                </a:ext>
              </a:extLst>
            </p:cNvPr>
            <p:cNvSpPr/>
            <p:nvPr/>
          </p:nvSpPr>
          <p:spPr>
            <a:xfrm>
              <a:off x="9962201" y="4002264"/>
              <a:ext cx="11803" cy="7869"/>
            </a:xfrm>
            <a:custGeom>
              <a:avLst/>
              <a:gdLst>
                <a:gd name="connsiteX0" fmla="*/ 1967 w 11802"/>
                <a:gd name="connsiteY0" fmla="*/ 4721 h 7868"/>
                <a:gd name="connsiteX1" fmla="*/ 0 w 11802"/>
                <a:gd name="connsiteY1" fmla="*/ 7869 h 7868"/>
                <a:gd name="connsiteX2" fmla="*/ 1180 w 11802"/>
                <a:gd name="connsiteY2" fmla="*/ 7082 h 7868"/>
                <a:gd name="connsiteX3" fmla="*/ 3148 w 11802"/>
                <a:gd name="connsiteY3" fmla="*/ 6295 h 7868"/>
                <a:gd name="connsiteX4" fmla="*/ 3934 w 11802"/>
                <a:gd name="connsiteY4" fmla="*/ 5508 h 7868"/>
                <a:gd name="connsiteX5" fmla="*/ 9049 w 11802"/>
                <a:gd name="connsiteY5" fmla="*/ 2754 h 7868"/>
                <a:gd name="connsiteX6" fmla="*/ 10229 w 11802"/>
                <a:gd name="connsiteY6" fmla="*/ 2360 h 7868"/>
                <a:gd name="connsiteX7" fmla="*/ 10622 w 11802"/>
                <a:gd name="connsiteY7" fmla="*/ 1574 h 7868"/>
                <a:gd name="connsiteX8" fmla="*/ 12983 w 11802"/>
                <a:gd name="connsiteY8" fmla="*/ 393 h 7868"/>
                <a:gd name="connsiteX9" fmla="*/ 10229 w 11802"/>
                <a:gd name="connsiteY9" fmla="*/ 787 h 7868"/>
                <a:gd name="connsiteX10" fmla="*/ 7476 w 11802"/>
                <a:gd name="connsiteY10" fmla="*/ 0 h 7868"/>
                <a:gd name="connsiteX11" fmla="*/ 5115 w 11802"/>
                <a:gd name="connsiteY11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7868">
                  <a:moveTo>
                    <a:pt x="1967" y="4721"/>
                  </a:moveTo>
                  <a:lnTo>
                    <a:pt x="0" y="7869"/>
                  </a:lnTo>
                  <a:lnTo>
                    <a:pt x="1180" y="7082"/>
                  </a:lnTo>
                  <a:lnTo>
                    <a:pt x="3148" y="6295"/>
                  </a:lnTo>
                  <a:lnTo>
                    <a:pt x="3934" y="5508"/>
                  </a:lnTo>
                  <a:lnTo>
                    <a:pt x="9049" y="2754"/>
                  </a:lnTo>
                  <a:lnTo>
                    <a:pt x="10229" y="2360"/>
                  </a:lnTo>
                  <a:lnTo>
                    <a:pt x="10622" y="1574"/>
                  </a:lnTo>
                  <a:lnTo>
                    <a:pt x="12983" y="393"/>
                  </a:lnTo>
                  <a:lnTo>
                    <a:pt x="10229" y="787"/>
                  </a:lnTo>
                  <a:lnTo>
                    <a:pt x="7476" y="0"/>
                  </a:lnTo>
                  <a:lnTo>
                    <a:pt x="5115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43" name="Freeform: Shape 3937">
              <a:extLst>
                <a:ext uri="{FF2B5EF4-FFF2-40B4-BE49-F238E27FC236}">
                  <a16:creationId xmlns:a16="http://schemas.microsoft.com/office/drawing/2014/main" id="{81254B88-4039-4628-B907-90CA1BD8E4E6}"/>
                </a:ext>
              </a:extLst>
            </p:cNvPr>
            <p:cNvSpPr/>
            <p:nvPr/>
          </p:nvSpPr>
          <p:spPr>
            <a:xfrm>
              <a:off x="9972037" y="3984953"/>
              <a:ext cx="3934" cy="3934"/>
            </a:xfrm>
            <a:custGeom>
              <a:avLst/>
              <a:gdLst>
                <a:gd name="connsiteX0" fmla="*/ 2361 w 0"/>
                <a:gd name="connsiteY0" fmla="*/ 394 h 0"/>
                <a:gd name="connsiteX1" fmla="*/ 0 w 0"/>
                <a:gd name="connsiteY1" fmla="*/ 3148 h 0"/>
                <a:gd name="connsiteX2" fmla="*/ 2361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1" y="394"/>
                  </a:moveTo>
                  <a:lnTo>
                    <a:pt x="0" y="3148"/>
                  </a:lnTo>
                  <a:lnTo>
                    <a:pt x="236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44" name="Freeform: Shape 3938">
              <a:extLst>
                <a:ext uri="{FF2B5EF4-FFF2-40B4-BE49-F238E27FC236}">
                  <a16:creationId xmlns:a16="http://schemas.microsoft.com/office/drawing/2014/main" id="{AEC9AE12-D68B-433C-A9E5-03C0DF6CF95F}"/>
                </a:ext>
              </a:extLst>
            </p:cNvPr>
            <p:cNvSpPr/>
            <p:nvPr/>
          </p:nvSpPr>
          <p:spPr>
            <a:xfrm>
              <a:off x="9967316" y="398101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574 h 0"/>
                <a:gd name="connsiteX2" fmla="*/ 3148 w 0"/>
                <a:gd name="connsiteY2" fmla="*/ 3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574"/>
                  </a:lnTo>
                  <a:lnTo>
                    <a:pt x="3148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45" name="Freeform: Shape 3939">
              <a:extLst>
                <a:ext uri="{FF2B5EF4-FFF2-40B4-BE49-F238E27FC236}">
                  <a16:creationId xmlns:a16="http://schemas.microsoft.com/office/drawing/2014/main" id="{0108574C-60FA-441E-B694-386828829DE2}"/>
                </a:ext>
              </a:extLst>
            </p:cNvPr>
            <p:cNvSpPr/>
            <p:nvPr/>
          </p:nvSpPr>
          <p:spPr>
            <a:xfrm>
              <a:off x="9971250" y="3977872"/>
              <a:ext cx="3934" cy="3934"/>
            </a:xfrm>
            <a:custGeom>
              <a:avLst/>
              <a:gdLst>
                <a:gd name="connsiteX0" fmla="*/ 1180 w 3934"/>
                <a:gd name="connsiteY0" fmla="*/ 394 h 0"/>
                <a:gd name="connsiteX1" fmla="*/ 0 w 3934"/>
                <a:gd name="connsiteY1" fmla="*/ 2361 h 0"/>
                <a:gd name="connsiteX2" fmla="*/ 2754 w 3934"/>
                <a:gd name="connsiteY2" fmla="*/ 2754 h 0"/>
                <a:gd name="connsiteX3" fmla="*/ 4328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180" y="394"/>
                  </a:moveTo>
                  <a:lnTo>
                    <a:pt x="0" y="2361"/>
                  </a:lnTo>
                  <a:lnTo>
                    <a:pt x="2754" y="2754"/>
                  </a:lnTo>
                  <a:lnTo>
                    <a:pt x="432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46" name="Freeform: Shape 3940">
              <a:extLst>
                <a:ext uri="{FF2B5EF4-FFF2-40B4-BE49-F238E27FC236}">
                  <a16:creationId xmlns:a16="http://schemas.microsoft.com/office/drawing/2014/main" id="{3190B626-8FBC-48B5-BE33-DB22A84F3B2F}"/>
                </a:ext>
              </a:extLst>
            </p:cNvPr>
            <p:cNvSpPr/>
            <p:nvPr/>
          </p:nvSpPr>
          <p:spPr>
            <a:xfrm>
              <a:off x="9994462" y="3968036"/>
              <a:ext cx="3934" cy="3934"/>
            </a:xfrm>
            <a:custGeom>
              <a:avLst/>
              <a:gdLst>
                <a:gd name="connsiteX0" fmla="*/ 1180 w 3934"/>
                <a:gd name="connsiteY0" fmla="*/ 1574 h 3934"/>
                <a:gd name="connsiteX1" fmla="*/ 3934 w 3934"/>
                <a:gd name="connsiteY1" fmla="*/ 1574 h 3934"/>
                <a:gd name="connsiteX2" fmla="*/ 7082 w 3934"/>
                <a:gd name="connsiteY2" fmla="*/ 3934 h 3934"/>
                <a:gd name="connsiteX3" fmla="*/ 6295 w 3934"/>
                <a:gd name="connsiteY3" fmla="*/ 787 h 3934"/>
                <a:gd name="connsiteX4" fmla="*/ 3148 w 3934"/>
                <a:gd name="connsiteY4" fmla="*/ 0 h 3934"/>
                <a:gd name="connsiteX5" fmla="*/ 0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1180" y="1574"/>
                  </a:moveTo>
                  <a:lnTo>
                    <a:pt x="3934" y="1574"/>
                  </a:lnTo>
                  <a:lnTo>
                    <a:pt x="7082" y="3934"/>
                  </a:lnTo>
                  <a:lnTo>
                    <a:pt x="6295" y="787"/>
                  </a:lnTo>
                  <a:lnTo>
                    <a:pt x="314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47" name="Freeform: Shape 3941">
              <a:extLst>
                <a:ext uri="{FF2B5EF4-FFF2-40B4-BE49-F238E27FC236}">
                  <a16:creationId xmlns:a16="http://schemas.microsoft.com/office/drawing/2014/main" id="{CB4488B0-45E7-4703-9B0F-E6254C73ABE0}"/>
                </a:ext>
              </a:extLst>
            </p:cNvPr>
            <p:cNvSpPr/>
            <p:nvPr/>
          </p:nvSpPr>
          <p:spPr>
            <a:xfrm>
              <a:off x="10064492" y="3935775"/>
              <a:ext cx="11803" cy="23606"/>
            </a:xfrm>
            <a:custGeom>
              <a:avLst/>
              <a:gdLst>
                <a:gd name="connsiteX0" fmla="*/ 1574 w 11802"/>
                <a:gd name="connsiteY0" fmla="*/ 14163 h 23605"/>
                <a:gd name="connsiteX1" fmla="*/ 787 w 11802"/>
                <a:gd name="connsiteY1" fmla="*/ 17311 h 23605"/>
                <a:gd name="connsiteX2" fmla="*/ 0 w 11802"/>
                <a:gd name="connsiteY2" fmla="*/ 20458 h 23605"/>
                <a:gd name="connsiteX3" fmla="*/ 2754 w 11802"/>
                <a:gd name="connsiteY3" fmla="*/ 23212 h 23605"/>
                <a:gd name="connsiteX4" fmla="*/ 5509 w 11802"/>
                <a:gd name="connsiteY4" fmla="*/ 24392 h 23605"/>
                <a:gd name="connsiteX5" fmla="*/ 8262 w 11802"/>
                <a:gd name="connsiteY5" fmla="*/ 22425 h 23605"/>
                <a:gd name="connsiteX6" fmla="*/ 10229 w 11802"/>
                <a:gd name="connsiteY6" fmla="*/ 19671 h 23605"/>
                <a:gd name="connsiteX7" fmla="*/ 12589 w 11802"/>
                <a:gd name="connsiteY7" fmla="*/ 16918 h 23605"/>
                <a:gd name="connsiteX8" fmla="*/ 13377 w 11802"/>
                <a:gd name="connsiteY8" fmla="*/ 13770 h 23605"/>
                <a:gd name="connsiteX9" fmla="*/ 12983 w 11802"/>
                <a:gd name="connsiteY9" fmla="*/ 11016 h 23605"/>
                <a:gd name="connsiteX10" fmla="*/ 11016 w 11802"/>
                <a:gd name="connsiteY10" fmla="*/ 8262 h 23605"/>
                <a:gd name="connsiteX11" fmla="*/ 7869 w 11802"/>
                <a:gd name="connsiteY11" fmla="*/ 5115 h 23605"/>
                <a:gd name="connsiteX12" fmla="*/ 5901 w 11802"/>
                <a:gd name="connsiteY12" fmla="*/ 2361 h 23605"/>
                <a:gd name="connsiteX13" fmla="*/ 3148 w 11802"/>
                <a:gd name="connsiteY13" fmla="*/ 0 h 23605"/>
                <a:gd name="connsiteX14" fmla="*/ 2754 w 11802"/>
                <a:gd name="connsiteY14" fmla="*/ 1967 h 23605"/>
                <a:gd name="connsiteX15" fmla="*/ 2754 w 11802"/>
                <a:gd name="connsiteY15" fmla="*/ 5115 h 23605"/>
                <a:gd name="connsiteX16" fmla="*/ 2754 w 11802"/>
                <a:gd name="connsiteY16" fmla="*/ 7869 h 23605"/>
                <a:gd name="connsiteX17" fmla="*/ 4721 w 11802"/>
                <a:gd name="connsiteY17" fmla="*/ 11016 h 23605"/>
                <a:gd name="connsiteX18" fmla="*/ 1967 w 11802"/>
                <a:gd name="connsiteY18" fmla="*/ 11409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802" h="23605">
                  <a:moveTo>
                    <a:pt x="1574" y="14163"/>
                  </a:moveTo>
                  <a:lnTo>
                    <a:pt x="787" y="17311"/>
                  </a:lnTo>
                  <a:lnTo>
                    <a:pt x="0" y="20458"/>
                  </a:lnTo>
                  <a:lnTo>
                    <a:pt x="2754" y="23212"/>
                  </a:lnTo>
                  <a:lnTo>
                    <a:pt x="5509" y="24392"/>
                  </a:lnTo>
                  <a:lnTo>
                    <a:pt x="8262" y="22425"/>
                  </a:lnTo>
                  <a:lnTo>
                    <a:pt x="10229" y="19671"/>
                  </a:lnTo>
                  <a:lnTo>
                    <a:pt x="12589" y="16918"/>
                  </a:lnTo>
                  <a:lnTo>
                    <a:pt x="13377" y="13770"/>
                  </a:lnTo>
                  <a:lnTo>
                    <a:pt x="12983" y="11016"/>
                  </a:lnTo>
                  <a:lnTo>
                    <a:pt x="11016" y="8262"/>
                  </a:lnTo>
                  <a:lnTo>
                    <a:pt x="7869" y="5115"/>
                  </a:lnTo>
                  <a:lnTo>
                    <a:pt x="5901" y="2361"/>
                  </a:lnTo>
                  <a:lnTo>
                    <a:pt x="3148" y="0"/>
                  </a:lnTo>
                  <a:lnTo>
                    <a:pt x="2754" y="1967"/>
                  </a:lnTo>
                  <a:lnTo>
                    <a:pt x="2754" y="5115"/>
                  </a:lnTo>
                  <a:lnTo>
                    <a:pt x="2754" y="7869"/>
                  </a:lnTo>
                  <a:lnTo>
                    <a:pt x="4721" y="11016"/>
                  </a:lnTo>
                  <a:lnTo>
                    <a:pt x="1967" y="1140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48" name="Freeform: Shape 3942">
              <a:extLst>
                <a:ext uri="{FF2B5EF4-FFF2-40B4-BE49-F238E27FC236}">
                  <a16:creationId xmlns:a16="http://schemas.microsoft.com/office/drawing/2014/main" id="{1D45675C-F9ED-420D-8B6C-218D1E5BA777}"/>
                </a:ext>
              </a:extLst>
            </p:cNvPr>
            <p:cNvSpPr/>
            <p:nvPr/>
          </p:nvSpPr>
          <p:spPr>
            <a:xfrm>
              <a:off x="10201799" y="3954660"/>
              <a:ext cx="3934" cy="3934"/>
            </a:xfrm>
            <a:custGeom>
              <a:avLst/>
              <a:gdLst>
                <a:gd name="connsiteX0" fmla="*/ 3934 w 3934"/>
                <a:gd name="connsiteY0" fmla="*/ 4328 h 3934"/>
                <a:gd name="connsiteX1" fmla="*/ 3147 w 3934"/>
                <a:gd name="connsiteY1" fmla="*/ 1574 h 3934"/>
                <a:gd name="connsiteX2" fmla="*/ 0 w 3934"/>
                <a:gd name="connsiteY2" fmla="*/ 0 h 3934"/>
                <a:gd name="connsiteX3" fmla="*/ 787 w 3934"/>
                <a:gd name="connsiteY3" fmla="*/ 236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3934" y="4328"/>
                  </a:moveTo>
                  <a:lnTo>
                    <a:pt x="3147" y="1574"/>
                  </a:lnTo>
                  <a:lnTo>
                    <a:pt x="0" y="0"/>
                  </a:lnTo>
                  <a:lnTo>
                    <a:pt x="787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49" name="Freeform: Shape 3943">
              <a:extLst>
                <a:ext uri="{FF2B5EF4-FFF2-40B4-BE49-F238E27FC236}">
                  <a16:creationId xmlns:a16="http://schemas.microsoft.com/office/drawing/2014/main" id="{C4DB8FA5-AAC7-490B-B54A-7F876A15AD1A}"/>
                </a:ext>
              </a:extLst>
            </p:cNvPr>
            <p:cNvSpPr/>
            <p:nvPr/>
          </p:nvSpPr>
          <p:spPr>
            <a:xfrm>
              <a:off x="9990528" y="3953086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50" name="Freeform: Shape 3944">
              <a:extLst>
                <a:ext uri="{FF2B5EF4-FFF2-40B4-BE49-F238E27FC236}">
                  <a16:creationId xmlns:a16="http://schemas.microsoft.com/office/drawing/2014/main" id="{768C8B8E-DB09-4313-AD7C-0FED3D673CF9}"/>
                </a:ext>
              </a:extLst>
            </p:cNvPr>
            <p:cNvSpPr/>
            <p:nvPr/>
          </p:nvSpPr>
          <p:spPr>
            <a:xfrm>
              <a:off x="10082590" y="3949938"/>
              <a:ext cx="3934" cy="3934"/>
            </a:xfrm>
            <a:custGeom>
              <a:avLst/>
              <a:gdLst>
                <a:gd name="connsiteX0" fmla="*/ 0 w 0"/>
                <a:gd name="connsiteY0" fmla="*/ 3147 h 3934"/>
                <a:gd name="connsiteX1" fmla="*/ 393 w 0"/>
                <a:gd name="connsiteY1" fmla="*/ 6295 h 3934"/>
                <a:gd name="connsiteX2" fmla="*/ 1967 w 0"/>
                <a:gd name="connsiteY2" fmla="*/ 3147 h 3934"/>
                <a:gd name="connsiteX3" fmla="*/ 1967 w 0"/>
                <a:gd name="connsiteY3" fmla="*/ 0 h 3934"/>
                <a:gd name="connsiteX4" fmla="*/ 1180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3147"/>
                  </a:moveTo>
                  <a:lnTo>
                    <a:pt x="393" y="6295"/>
                  </a:lnTo>
                  <a:lnTo>
                    <a:pt x="1967" y="3147"/>
                  </a:lnTo>
                  <a:lnTo>
                    <a:pt x="1967" y="0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51" name="Freeform: Shape 3945">
              <a:extLst>
                <a:ext uri="{FF2B5EF4-FFF2-40B4-BE49-F238E27FC236}">
                  <a16:creationId xmlns:a16="http://schemas.microsoft.com/office/drawing/2014/main" id="{C8474162-B70F-409A-BC04-65AB67A20EBD}"/>
                </a:ext>
              </a:extLst>
            </p:cNvPr>
            <p:cNvSpPr/>
            <p:nvPr/>
          </p:nvSpPr>
          <p:spPr>
            <a:xfrm>
              <a:off x="10087311" y="3939709"/>
              <a:ext cx="3934" cy="3934"/>
            </a:xfrm>
            <a:custGeom>
              <a:avLst/>
              <a:gdLst>
                <a:gd name="connsiteX0" fmla="*/ 3148 w 0"/>
                <a:gd name="connsiteY0" fmla="*/ 787 h 3934"/>
                <a:gd name="connsiteX1" fmla="*/ 2361 w 0"/>
                <a:gd name="connsiteY1" fmla="*/ 0 h 3934"/>
                <a:gd name="connsiteX2" fmla="*/ 1573 w 0"/>
                <a:gd name="connsiteY2" fmla="*/ 394 h 3934"/>
                <a:gd name="connsiteX3" fmla="*/ 0 w 0"/>
                <a:gd name="connsiteY3" fmla="*/ 3148 h 3934"/>
                <a:gd name="connsiteX4" fmla="*/ 1180 w 0"/>
                <a:gd name="connsiteY4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3148" y="787"/>
                  </a:moveTo>
                  <a:lnTo>
                    <a:pt x="2361" y="0"/>
                  </a:lnTo>
                  <a:lnTo>
                    <a:pt x="1573" y="394"/>
                  </a:lnTo>
                  <a:lnTo>
                    <a:pt x="0" y="3148"/>
                  </a:lnTo>
                  <a:lnTo>
                    <a:pt x="1180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52" name="Freeform: Shape 3946">
              <a:extLst>
                <a:ext uri="{FF2B5EF4-FFF2-40B4-BE49-F238E27FC236}">
                  <a16:creationId xmlns:a16="http://schemas.microsoft.com/office/drawing/2014/main" id="{5775D1BA-882E-42E2-A653-0D5DEE3FF90C}"/>
                </a:ext>
              </a:extLst>
            </p:cNvPr>
            <p:cNvSpPr/>
            <p:nvPr/>
          </p:nvSpPr>
          <p:spPr>
            <a:xfrm>
              <a:off x="10029478" y="3906662"/>
              <a:ext cx="11803" cy="19671"/>
            </a:xfrm>
            <a:custGeom>
              <a:avLst/>
              <a:gdLst>
                <a:gd name="connsiteX0" fmla="*/ 6688 w 11802"/>
                <a:gd name="connsiteY0" fmla="*/ 11803 h 19671"/>
                <a:gd name="connsiteX1" fmla="*/ 9442 w 11802"/>
                <a:gd name="connsiteY1" fmla="*/ 9049 h 19671"/>
                <a:gd name="connsiteX2" fmla="*/ 10229 w 11802"/>
                <a:gd name="connsiteY2" fmla="*/ 5901 h 19671"/>
                <a:gd name="connsiteX3" fmla="*/ 11016 w 11802"/>
                <a:gd name="connsiteY3" fmla="*/ 2754 h 19671"/>
                <a:gd name="connsiteX4" fmla="*/ 11803 w 11802"/>
                <a:gd name="connsiteY4" fmla="*/ 0 h 19671"/>
                <a:gd name="connsiteX5" fmla="*/ 9049 w 11802"/>
                <a:gd name="connsiteY5" fmla="*/ 1967 h 19671"/>
                <a:gd name="connsiteX6" fmla="*/ 7475 w 11802"/>
                <a:gd name="connsiteY6" fmla="*/ 4721 h 19671"/>
                <a:gd name="connsiteX7" fmla="*/ 6688 w 11802"/>
                <a:gd name="connsiteY7" fmla="*/ 7475 h 19671"/>
                <a:gd name="connsiteX8" fmla="*/ 6294 w 11802"/>
                <a:gd name="connsiteY8" fmla="*/ 10229 h 19671"/>
                <a:gd name="connsiteX9" fmla="*/ 3540 w 11802"/>
                <a:gd name="connsiteY9" fmla="*/ 13376 h 19671"/>
                <a:gd name="connsiteX10" fmla="*/ 2754 w 11802"/>
                <a:gd name="connsiteY10" fmla="*/ 16130 h 19671"/>
                <a:gd name="connsiteX11" fmla="*/ 1573 w 11802"/>
                <a:gd name="connsiteY11" fmla="*/ 19278 h 19671"/>
                <a:gd name="connsiteX12" fmla="*/ 393 w 11802"/>
                <a:gd name="connsiteY12" fmla="*/ 22032 h 19671"/>
                <a:gd name="connsiteX13" fmla="*/ 0 w 11802"/>
                <a:gd name="connsiteY13" fmla="*/ 23212 h 19671"/>
                <a:gd name="connsiteX14" fmla="*/ 393 w 11802"/>
                <a:gd name="connsiteY14" fmla="*/ 23212 h 19671"/>
                <a:gd name="connsiteX15" fmla="*/ 2360 w 11802"/>
                <a:gd name="connsiteY15" fmla="*/ 20065 h 19671"/>
                <a:gd name="connsiteX16" fmla="*/ 3540 w 11802"/>
                <a:gd name="connsiteY16" fmla="*/ 17311 h 19671"/>
                <a:gd name="connsiteX17" fmla="*/ 4327 w 11802"/>
                <a:gd name="connsiteY17" fmla="*/ 14557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802" h="19671">
                  <a:moveTo>
                    <a:pt x="6688" y="11803"/>
                  </a:moveTo>
                  <a:lnTo>
                    <a:pt x="9442" y="9049"/>
                  </a:lnTo>
                  <a:lnTo>
                    <a:pt x="10229" y="5901"/>
                  </a:lnTo>
                  <a:lnTo>
                    <a:pt x="11016" y="2754"/>
                  </a:lnTo>
                  <a:lnTo>
                    <a:pt x="11803" y="0"/>
                  </a:lnTo>
                  <a:lnTo>
                    <a:pt x="9049" y="1967"/>
                  </a:lnTo>
                  <a:lnTo>
                    <a:pt x="7475" y="4721"/>
                  </a:lnTo>
                  <a:lnTo>
                    <a:pt x="6688" y="7475"/>
                  </a:lnTo>
                  <a:lnTo>
                    <a:pt x="6294" y="10229"/>
                  </a:lnTo>
                  <a:lnTo>
                    <a:pt x="3540" y="13376"/>
                  </a:lnTo>
                  <a:lnTo>
                    <a:pt x="2754" y="16130"/>
                  </a:lnTo>
                  <a:lnTo>
                    <a:pt x="1573" y="19278"/>
                  </a:lnTo>
                  <a:lnTo>
                    <a:pt x="393" y="22032"/>
                  </a:lnTo>
                  <a:lnTo>
                    <a:pt x="0" y="23212"/>
                  </a:lnTo>
                  <a:lnTo>
                    <a:pt x="393" y="23212"/>
                  </a:lnTo>
                  <a:lnTo>
                    <a:pt x="2360" y="20065"/>
                  </a:lnTo>
                  <a:lnTo>
                    <a:pt x="3540" y="17311"/>
                  </a:lnTo>
                  <a:lnTo>
                    <a:pt x="4327" y="1455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53" name="Freeform: Shape 3947">
              <a:extLst>
                <a:ext uri="{FF2B5EF4-FFF2-40B4-BE49-F238E27FC236}">
                  <a16:creationId xmlns:a16="http://schemas.microsoft.com/office/drawing/2014/main" id="{D7F5F884-7E57-406D-83F3-FA0449F05301}"/>
                </a:ext>
              </a:extLst>
            </p:cNvPr>
            <p:cNvSpPr/>
            <p:nvPr/>
          </p:nvSpPr>
          <p:spPr>
            <a:xfrm>
              <a:off x="9972824" y="3968036"/>
              <a:ext cx="19671" cy="27540"/>
            </a:xfrm>
            <a:custGeom>
              <a:avLst/>
              <a:gdLst>
                <a:gd name="connsiteX0" fmla="*/ 18885 w 19671"/>
                <a:gd name="connsiteY0" fmla="*/ 0 h 27539"/>
                <a:gd name="connsiteX1" fmla="*/ 18492 w 19671"/>
                <a:gd name="connsiteY1" fmla="*/ 0 h 27539"/>
                <a:gd name="connsiteX2" fmla="*/ 15737 w 19671"/>
                <a:gd name="connsiteY2" fmla="*/ 787 h 27539"/>
                <a:gd name="connsiteX3" fmla="*/ 14950 w 19671"/>
                <a:gd name="connsiteY3" fmla="*/ 3541 h 27539"/>
                <a:gd name="connsiteX4" fmla="*/ 12197 w 19671"/>
                <a:gd name="connsiteY4" fmla="*/ 6295 h 27539"/>
                <a:gd name="connsiteX5" fmla="*/ 9836 w 19671"/>
                <a:gd name="connsiteY5" fmla="*/ 9442 h 27539"/>
                <a:gd name="connsiteX6" fmla="*/ 7082 w 19671"/>
                <a:gd name="connsiteY6" fmla="*/ 11409 h 27539"/>
                <a:gd name="connsiteX7" fmla="*/ 5115 w 19671"/>
                <a:gd name="connsiteY7" fmla="*/ 14163 h 27539"/>
                <a:gd name="connsiteX8" fmla="*/ 3541 w 19671"/>
                <a:gd name="connsiteY8" fmla="*/ 17311 h 27539"/>
                <a:gd name="connsiteX9" fmla="*/ 5509 w 19671"/>
                <a:gd name="connsiteY9" fmla="*/ 20065 h 27539"/>
                <a:gd name="connsiteX10" fmla="*/ 2755 w 19671"/>
                <a:gd name="connsiteY10" fmla="*/ 19278 h 27539"/>
                <a:gd name="connsiteX11" fmla="*/ 1967 w 19671"/>
                <a:gd name="connsiteY11" fmla="*/ 22425 h 27539"/>
                <a:gd name="connsiteX12" fmla="*/ 0 w 19671"/>
                <a:gd name="connsiteY12" fmla="*/ 25573 h 27539"/>
                <a:gd name="connsiteX13" fmla="*/ 788 w 19671"/>
                <a:gd name="connsiteY13" fmla="*/ 28327 h 27539"/>
                <a:gd name="connsiteX14" fmla="*/ 3541 w 19671"/>
                <a:gd name="connsiteY14" fmla="*/ 30294 h 27539"/>
                <a:gd name="connsiteX15" fmla="*/ 6689 w 19671"/>
                <a:gd name="connsiteY15" fmla="*/ 30687 h 27539"/>
                <a:gd name="connsiteX16" fmla="*/ 7869 w 19671"/>
                <a:gd name="connsiteY16" fmla="*/ 27933 h 27539"/>
                <a:gd name="connsiteX17" fmla="*/ 9049 w 19671"/>
                <a:gd name="connsiteY17" fmla="*/ 25179 h 27539"/>
                <a:gd name="connsiteX18" fmla="*/ 14558 w 19671"/>
                <a:gd name="connsiteY18" fmla="*/ 20065 h 27539"/>
                <a:gd name="connsiteX19" fmla="*/ 16918 w 19671"/>
                <a:gd name="connsiteY19" fmla="*/ 16917 h 27539"/>
                <a:gd name="connsiteX20" fmla="*/ 18098 w 19671"/>
                <a:gd name="connsiteY20" fmla="*/ 14163 h 27539"/>
                <a:gd name="connsiteX21" fmla="*/ 18885 w 19671"/>
                <a:gd name="connsiteY21" fmla="*/ 11016 h 27539"/>
                <a:gd name="connsiteX22" fmla="*/ 18885 w 19671"/>
                <a:gd name="connsiteY22" fmla="*/ 8262 h 27539"/>
                <a:gd name="connsiteX23" fmla="*/ 18098 w 19671"/>
                <a:gd name="connsiteY23" fmla="*/ 5114 h 27539"/>
                <a:gd name="connsiteX24" fmla="*/ 21246 w 19671"/>
                <a:gd name="connsiteY24" fmla="*/ 3147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9671" h="27539">
                  <a:moveTo>
                    <a:pt x="18885" y="0"/>
                  </a:moveTo>
                  <a:lnTo>
                    <a:pt x="18492" y="0"/>
                  </a:lnTo>
                  <a:lnTo>
                    <a:pt x="15737" y="787"/>
                  </a:lnTo>
                  <a:lnTo>
                    <a:pt x="14950" y="3541"/>
                  </a:lnTo>
                  <a:lnTo>
                    <a:pt x="12197" y="6295"/>
                  </a:lnTo>
                  <a:lnTo>
                    <a:pt x="9836" y="9442"/>
                  </a:lnTo>
                  <a:lnTo>
                    <a:pt x="7082" y="11409"/>
                  </a:lnTo>
                  <a:lnTo>
                    <a:pt x="5115" y="14163"/>
                  </a:lnTo>
                  <a:lnTo>
                    <a:pt x="3541" y="17311"/>
                  </a:lnTo>
                  <a:lnTo>
                    <a:pt x="5509" y="20065"/>
                  </a:lnTo>
                  <a:lnTo>
                    <a:pt x="2755" y="19278"/>
                  </a:lnTo>
                  <a:lnTo>
                    <a:pt x="1967" y="22425"/>
                  </a:lnTo>
                  <a:lnTo>
                    <a:pt x="0" y="25573"/>
                  </a:lnTo>
                  <a:lnTo>
                    <a:pt x="788" y="28327"/>
                  </a:lnTo>
                  <a:lnTo>
                    <a:pt x="3541" y="30294"/>
                  </a:lnTo>
                  <a:lnTo>
                    <a:pt x="6689" y="30687"/>
                  </a:lnTo>
                  <a:lnTo>
                    <a:pt x="7869" y="27933"/>
                  </a:lnTo>
                  <a:lnTo>
                    <a:pt x="9049" y="25179"/>
                  </a:lnTo>
                  <a:lnTo>
                    <a:pt x="14558" y="20065"/>
                  </a:lnTo>
                  <a:lnTo>
                    <a:pt x="16918" y="16917"/>
                  </a:lnTo>
                  <a:lnTo>
                    <a:pt x="18098" y="14163"/>
                  </a:lnTo>
                  <a:lnTo>
                    <a:pt x="18885" y="11016"/>
                  </a:lnTo>
                  <a:lnTo>
                    <a:pt x="18885" y="8262"/>
                  </a:lnTo>
                  <a:lnTo>
                    <a:pt x="18098" y="5114"/>
                  </a:lnTo>
                  <a:lnTo>
                    <a:pt x="21246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54" name="Freeform: Shape 3948">
              <a:extLst>
                <a:ext uri="{FF2B5EF4-FFF2-40B4-BE49-F238E27FC236}">
                  <a16:creationId xmlns:a16="http://schemas.microsoft.com/office/drawing/2014/main" id="{96BC3D18-66E6-4297-AE11-B357E4663D69}"/>
                </a:ext>
              </a:extLst>
            </p:cNvPr>
            <p:cNvSpPr/>
            <p:nvPr/>
          </p:nvSpPr>
          <p:spPr>
            <a:xfrm>
              <a:off x="10067640" y="3910596"/>
              <a:ext cx="19671" cy="35408"/>
            </a:xfrm>
            <a:custGeom>
              <a:avLst/>
              <a:gdLst>
                <a:gd name="connsiteX0" fmla="*/ 18491 w 19671"/>
                <a:gd name="connsiteY0" fmla="*/ 13376 h 35408"/>
                <a:gd name="connsiteX1" fmla="*/ 18885 w 19671"/>
                <a:gd name="connsiteY1" fmla="*/ 10623 h 35408"/>
                <a:gd name="connsiteX2" fmla="*/ 20065 w 19671"/>
                <a:gd name="connsiteY2" fmla="*/ 7475 h 35408"/>
                <a:gd name="connsiteX3" fmla="*/ 16918 w 19671"/>
                <a:gd name="connsiteY3" fmla="*/ 5114 h 35408"/>
                <a:gd name="connsiteX4" fmla="*/ 17704 w 19671"/>
                <a:gd name="connsiteY4" fmla="*/ 2360 h 35408"/>
                <a:gd name="connsiteX5" fmla="*/ 14950 w 19671"/>
                <a:gd name="connsiteY5" fmla="*/ 0 h 35408"/>
                <a:gd name="connsiteX6" fmla="*/ 13376 w 19671"/>
                <a:gd name="connsiteY6" fmla="*/ 0 h 35408"/>
                <a:gd name="connsiteX7" fmla="*/ 12983 w 19671"/>
                <a:gd name="connsiteY7" fmla="*/ 3147 h 35408"/>
                <a:gd name="connsiteX8" fmla="*/ 9836 w 19671"/>
                <a:gd name="connsiteY8" fmla="*/ 5901 h 35408"/>
                <a:gd name="connsiteX9" fmla="*/ 7869 w 19671"/>
                <a:gd name="connsiteY9" fmla="*/ 9049 h 35408"/>
                <a:gd name="connsiteX10" fmla="*/ 5115 w 19671"/>
                <a:gd name="connsiteY10" fmla="*/ 8262 h 35408"/>
                <a:gd name="connsiteX11" fmla="*/ 4721 w 19671"/>
                <a:gd name="connsiteY11" fmla="*/ 11016 h 35408"/>
                <a:gd name="connsiteX12" fmla="*/ 7869 w 19671"/>
                <a:gd name="connsiteY12" fmla="*/ 12196 h 35408"/>
                <a:gd name="connsiteX13" fmla="*/ 6688 w 19671"/>
                <a:gd name="connsiteY13" fmla="*/ 14950 h 35408"/>
                <a:gd name="connsiteX14" fmla="*/ 6688 w 19671"/>
                <a:gd name="connsiteY14" fmla="*/ 18098 h 35408"/>
                <a:gd name="connsiteX15" fmla="*/ 7475 w 19671"/>
                <a:gd name="connsiteY15" fmla="*/ 21245 h 35408"/>
                <a:gd name="connsiteX16" fmla="*/ 5115 w 19671"/>
                <a:gd name="connsiteY16" fmla="*/ 23999 h 35408"/>
                <a:gd name="connsiteX17" fmla="*/ 5901 w 19671"/>
                <a:gd name="connsiteY17" fmla="*/ 26360 h 35408"/>
                <a:gd name="connsiteX18" fmla="*/ 5901 w 19671"/>
                <a:gd name="connsiteY18" fmla="*/ 25966 h 35408"/>
                <a:gd name="connsiteX19" fmla="*/ 3934 w 19671"/>
                <a:gd name="connsiteY19" fmla="*/ 23212 h 35408"/>
                <a:gd name="connsiteX20" fmla="*/ 3148 w 19671"/>
                <a:gd name="connsiteY20" fmla="*/ 20065 h 35408"/>
                <a:gd name="connsiteX21" fmla="*/ 394 w 19671"/>
                <a:gd name="connsiteY21" fmla="*/ 20852 h 35408"/>
                <a:gd name="connsiteX22" fmla="*/ 0 w 19671"/>
                <a:gd name="connsiteY22" fmla="*/ 23606 h 35408"/>
                <a:gd name="connsiteX23" fmla="*/ 5901 w 19671"/>
                <a:gd name="connsiteY23" fmla="*/ 29113 h 35408"/>
                <a:gd name="connsiteX24" fmla="*/ 8655 w 19671"/>
                <a:gd name="connsiteY24" fmla="*/ 28720 h 35408"/>
                <a:gd name="connsiteX25" fmla="*/ 7475 w 19671"/>
                <a:gd name="connsiteY25" fmla="*/ 27540 h 35408"/>
                <a:gd name="connsiteX26" fmla="*/ 9049 w 19671"/>
                <a:gd name="connsiteY26" fmla="*/ 28327 h 35408"/>
                <a:gd name="connsiteX27" fmla="*/ 9836 w 19671"/>
                <a:gd name="connsiteY27" fmla="*/ 29113 h 35408"/>
                <a:gd name="connsiteX28" fmla="*/ 7869 w 19671"/>
                <a:gd name="connsiteY28" fmla="*/ 29900 h 35408"/>
                <a:gd name="connsiteX29" fmla="*/ 7869 w 19671"/>
                <a:gd name="connsiteY29" fmla="*/ 33048 h 35408"/>
                <a:gd name="connsiteX30" fmla="*/ 10622 w 19671"/>
                <a:gd name="connsiteY30" fmla="*/ 35802 h 35408"/>
                <a:gd name="connsiteX31" fmla="*/ 13376 w 19671"/>
                <a:gd name="connsiteY31" fmla="*/ 34621 h 35408"/>
                <a:gd name="connsiteX32" fmla="*/ 12983 w 19671"/>
                <a:gd name="connsiteY32" fmla="*/ 31867 h 35408"/>
                <a:gd name="connsiteX33" fmla="*/ 10229 w 19671"/>
                <a:gd name="connsiteY33" fmla="*/ 29113 h 35408"/>
                <a:gd name="connsiteX34" fmla="*/ 11803 w 19671"/>
                <a:gd name="connsiteY34" fmla="*/ 30294 h 35408"/>
                <a:gd name="connsiteX35" fmla="*/ 14950 w 19671"/>
                <a:gd name="connsiteY35" fmla="*/ 31474 h 35408"/>
                <a:gd name="connsiteX36" fmla="*/ 18098 w 19671"/>
                <a:gd name="connsiteY36" fmla="*/ 29113 h 35408"/>
                <a:gd name="connsiteX37" fmla="*/ 18885 w 19671"/>
                <a:gd name="connsiteY37" fmla="*/ 26360 h 35408"/>
                <a:gd name="connsiteX38" fmla="*/ 19278 w 19671"/>
                <a:gd name="connsiteY38" fmla="*/ 23606 h 35408"/>
                <a:gd name="connsiteX39" fmla="*/ 18885 w 19671"/>
                <a:gd name="connsiteY39" fmla="*/ 20458 h 35408"/>
                <a:gd name="connsiteX40" fmla="*/ 17310 w 19671"/>
                <a:gd name="connsiteY40" fmla="*/ 19278 h 35408"/>
                <a:gd name="connsiteX41" fmla="*/ 18098 w 19671"/>
                <a:gd name="connsiteY41" fmla="*/ 16130 h 35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9671" h="35408">
                  <a:moveTo>
                    <a:pt x="18491" y="13376"/>
                  </a:moveTo>
                  <a:lnTo>
                    <a:pt x="18885" y="10623"/>
                  </a:lnTo>
                  <a:lnTo>
                    <a:pt x="20065" y="7475"/>
                  </a:lnTo>
                  <a:lnTo>
                    <a:pt x="16918" y="5114"/>
                  </a:lnTo>
                  <a:lnTo>
                    <a:pt x="17704" y="2360"/>
                  </a:lnTo>
                  <a:lnTo>
                    <a:pt x="14950" y="0"/>
                  </a:lnTo>
                  <a:lnTo>
                    <a:pt x="13376" y="0"/>
                  </a:lnTo>
                  <a:lnTo>
                    <a:pt x="12983" y="3147"/>
                  </a:lnTo>
                  <a:lnTo>
                    <a:pt x="9836" y="5901"/>
                  </a:lnTo>
                  <a:lnTo>
                    <a:pt x="7869" y="9049"/>
                  </a:lnTo>
                  <a:lnTo>
                    <a:pt x="5115" y="8262"/>
                  </a:lnTo>
                  <a:lnTo>
                    <a:pt x="4721" y="11016"/>
                  </a:lnTo>
                  <a:lnTo>
                    <a:pt x="7869" y="12196"/>
                  </a:lnTo>
                  <a:lnTo>
                    <a:pt x="6688" y="14950"/>
                  </a:lnTo>
                  <a:lnTo>
                    <a:pt x="6688" y="18098"/>
                  </a:lnTo>
                  <a:lnTo>
                    <a:pt x="7475" y="21245"/>
                  </a:lnTo>
                  <a:lnTo>
                    <a:pt x="5115" y="23999"/>
                  </a:lnTo>
                  <a:lnTo>
                    <a:pt x="5901" y="26360"/>
                  </a:lnTo>
                  <a:lnTo>
                    <a:pt x="5901" y="25966"/>
                  </a:lnTo>
                  <a:lnTo>
                    <a:pt x="3934" y="23212"/>
                  </a:lnTo>
                  <a:lnTo>
                    <a:pt x="3148" y="20065"/>
                  </a:lnTo>
                  <a:lnTo>
                    <a:pt x="394" y="20852"/>
                  </a:lnTo>
                  <a:lnTo>
                    <a:pt x="0" y="23606"/>
                  </a:lnTo>
                  <a:lnTo>
                    <a:pt x="5901" y="29113"/>
                  </a:lnTo>
                  <a:lnTo>
                    <a:pt x="8655" y="28720"/>
                  </a:lnTo>
                  <a:lnTo>
                    <a:pt x="7475" y="27540"/>
                  </a:lnTo>
                  <a:lnTo>
                    <a:pt x="9049" y="28327"/>
                  </a:lnTo>
                  <a:lnTo>
                    <a:pt x="9836" y="29113"/>
                  </a:lnTo>
                  <a:lnTo>
                    <a:pt x="7869" y="29900"/>
                  </a:lnTo>
                  <a:lnTo>
                    <a:pt x="7869" y="33048"/>
                  </a:lnTo>
                  <a:lnTo>
                    <a:pt x="10622" y="35802"/>
                  </a:lnTo>
                  <a:lnTo>
                    <a:pt x="13376" y="34621"/>
                  </a:lnTo>
                  <a:lnTo>
                    <a:pt x="12983" y="31867"/>
                  </a:lnTo>
                  <a:lnTo>
                    <a:pt x="10229" y="29113"/>
                  </a:lnTo>
                  <a:lnTo>
                    <a:pt x="11803" y="30294"/>
                  </a:lnTo>
                  <a:lnTo>
                    <a:pt x="14950" y="31474"/>
                  </a:lnTo>
                  <a:lnTo>
                    <a:pt x="18098" y="29113"/>
                  </a:lnTo>
                  <a:lnTo>
                    <a:pt x="18885" y="26360"/>
                  </a:lnTo>
                  <a:lnTo>
                    <a:pt x="19278" y="23606"/>
                  </a:lnTo>
                  <a:lnTo>
                    <a:pt x="18885" y="20458"/>
                  </a:lnTo>
                  <a:lnTo>
                    <a:pt x="17310" y="19278"/>
                  </a:lnTo>
                  <a:lnTo>
                    <a:pt x="18098" y="1613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55" name="Freeform: Shape 3949">
              <a:extLst>
                <a:ext uri="{FF2B5EF4-FFF2-40B4-BE49-F238E27FC236}">
                  <a16:creationId xmlns:a16="http://schemas.microsoft.com/office/drawing/2014/main" id="{E642BAD6-F065-4470-B335-58156810548F}"/>
                </a:ext>
              </a:extLst>
            </p:cNvPr>
            <p:cNvSpPr/>
            <p:nvPr/>
          </p:nvSpPr>
          <p:spPr>
            <a:xfrm>
              <a:off x="10112884" y="3747717"/>
              <a:ext cx="7869" cy="3934"/>
            </a:xfrm>
            <a:custGeom>
              <a:avLst/>
              <a:gdLst>
                <a:gd name="connsiteX0" fmla="*/ 6295 w 7868"/>
                <a:gd name="connsiteY0" fmla="*/ 6688 h 3934"/>
                <a:gd name="connsiteX1" fmla="*/ 9049 w 7868"/>
                <a:gd name="connsiteY1" fmla="*/ 7475 h 3934"/>
                <a:gd name="connsiteX2" fmla="*/ 11409 w 7868"/>
                <a:gd name="connsiteY2" fmla="*/ 3934 h 3934"/>
                <a:gd name="connsiteX3" fmla="*/ 9049 w 7868"/>
                <a:gd name="connsiteY3" fmla="*/ 1574 h 3934"/>
                <a:gd name="connsiteX4" fmla="*/ 6688 w 7868"/>
                <a:gd name="connsiteY4" fmla="*/ 1574 h 3934"/>
                <a:gd name="connsiteX5" fmla="*/ 3934 w 7868"/>
                <a:gd name="connsiteY5" fmla="*/ 787 h 3934"/>
                <a:gd name="connsiteX6" fmla="*/ 1180 w 7868"/>
                <a:gd name="connsiteY6" fmla="*/ 0 h 3934"/>
                <a:gd name="connsiteX7" fmla="*/ 0 w 7868"/>
                <a:gd name="connsiteY7" fmla="*/ 0 h 3934"/>
                <a:gd name="connsiteX8" fmla="*/ 394 w 7868"/>
                <a:gd name="connsiteY8" fmla="*/ 2754 h 3934"/>
                <a:gd name="connsiteX9" fmla="*/ 3148 w 7868"/>
                <a:gd name="connsiteY9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3934">
                  <a:moveTo>
                    <a:pt x="6295" y="6688"/>
                  </a:moveTo>
                  <a:lnTo>
                    <a:pt x="9049" y="7475"/>
                  </a:lnTo>
                  <a:lnTo>
                    <a:pt x="11409" y="3934"/>
                  </a:lnTo>
                  <a:lnTo>
                    <a:pt x="9049" y="1574"/>
                  </a:lnTo>
                  <a:lnTo>
                    <a:pt x="6688" y="1574"/>
                  </a:lnTo>
                  <a:lnTo>
                    <a:pt x="3934" y="787"/>
                  </a:lnTo>
                  <a:lnTo>
                    <a:pt x="1180" y="0"/>
                  </a:lnTo>
                  <a:lnTo>
                    <a:pt x="0" y="0"/>
                  </a:lnTo>
                  <a:lnTo>
                    <a:pt x="394" y="2754"/>
                  </a:lnTo>
                  <a:lnTo>
                    <a:pt x="3148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56" name="Freeform: Shape 3950">
              <a:extLst>
                <a:ext uri="{FF2B5EF4-FFF2-40B4-BE49-F238E27FC236}">
                  <a16:creationId xmlns:a16="http://schemas.microsoft.com/office/drawing/2014/main" id="{59381D51-B159-4FE7-B063-399E0E48CE23}"/>
                </a:ext>
              </a:extLst>
            </p:cNvPr>
            <p:cNvSpPr/>
            <p:nvPr/>
          </p:nvSpPr>
          <p:spPr>
            <a:xfrm>
              <a:off x="10167570" y="3976298"/>
              <a:ext cx="43277" cy="35408"/>
            </a:xfrm>
            <a:custGeom>
              <a:avLst/>
              <a:gdLst>
                <a:gd name="connsiteX0" fmla="*/ 31474 w 43276"/>
                <a:gd name="connsiteY0" fmla="*/ 27540 h 35408"/>
                <a:gd name="connsiteX1" fmla="*/ 34229 w 43276"/>
                <a:gd name="connsiteY1" fmla="*/ 26753 h 35408"/>
                <a:gd name="connsiteX2" fmla="*/ 37376 w 43276"/>
                <a:gd name="connsiteY2" fmla="*/ 24392 h 35408"/>
                <a:gd name="connsiteX3" fmla="*/ 38950 w 43276"/>
                <a:gd name="connsiteY3" fmla="*/ 21245 h 35408"/>
                <a:gd name="connsiteX4" fmla="*/ 38950 w 43276"/>
                <a:gd name="connsiteY4" fmla="*/ 18491 h 35408"/>
                <a:gd name="connsiteX5" fmla="*/ 41704 w 43276"/>
                <a:gd name="connsiteY5" fmla="*/ 16524 h 35408"/>
                <a:gd name="connsiteX6" fmla="*/ 42490 w 43276"/>
                <a:gd name="connsiteY6" fmla="*/ 13376 h 35408"/>
                <a:gd name="connsiteX7" fmla="*/ 45244 w 43276"/>
                <a:gd name="connsiteY7" fmla="*/ 7869 h 35408"/>
                <a:gd name="connsiteX8" fmla="*/ 42490 w 43276"/>
                <a:gd name="connsiteY8" fmla="*/ 6295 h 35408"/>
                <a:gd name="connsiteX9" fmla="*/ 39736 w 43276"/>
                <a:gd name="connsiteY9" fmla="*/ 3541 h 35408"/>
                <a:gd name="connsiteX10" fmla="*/ 38163 w 43276"/>
                <a:gd name="connsiteY10" fmla="*/ 787 h 35408"/>
                <a:gd name="connsiteX11" fmla="*/ 35408 w 43276"/>
                <a:gd name="connsiteY11" fmla="*/ 0 h 35408"/>
                <a:gd name="connsiteX12" fmla="*/ 32262 w 43276"/>
                <a:gd name="connsiteY12" fmla="*/ 0 h 35408"/>
                <a:gd name="connsiteX13" fmla="*/ 30687 w 43276"/>
                <a:gd name="connsiteY13" fmla="*/ 393 h 35408"/>
                <a:gd name="connsiteX14" fmla="*/ 27934 w 43276"/>
                <a:gd name="connsiteY14" fmla="*/ 1180 h 35408"/>
                <a:gd name="connsiteX15" fmla="*/ 24786 w 43276"/>
                <a:gd name="connsiteY15" fmla="*/ 1574 h 35408"/>
                <a:gd name="connsiteX16" fmla="*/ 22032 w 43276"/>
                <a:gd name="connsiteY16" fmla="*/ 3147 h 35408"/>
                <a:gd name="connsiteX17" fmla="*/ 19278 w 43276"/>
                <a:gd name="connsiteY17" fmla="*/ 4328 h 35408"/>
                <a:gd name="connsiteX18" fmla="*/ 18885 w 43276"/>
                <a:gd name="connsiteY18" fmla="*/ 4721 h 35408"/>
                <a:gd name="connsiteX19" fmla="*/ 16131 w 43276"/>
                <a:gd name="connsiteY19" fmla="*/ 6688 h 35408"/>
                <a:gd name="connsiteX20" fmla="*/ 13377 w 43276"/>
                <a:gd name="connsiteY20" fmla="*/ 9836 h 35408"/>
                <a:gd name="connsiteX21" fmla="*/ 12197 w 43276"/>
                <a:gd name="connsiteY21" fmla="*/ 12589 h 35408"/>
                <a:gd name="connsiteX22" fmla="*/ 9443 w 43276"/>
                <a:gd name="connsiteY22" fmla="*/ 15343 h 35408"/>
                <a:gd name="connsiteX23" fmla="*/ 6689 w 43276"/>
                <a:gd name="connsiteY23" fmla="*/ 21245 h 35408"/>
                <a:gd name="connsiteX24" fmla="*/ 5115 w 43276"/>
                <a:gd name="connsiteY24" fmla="*/ 24392 h 35408"/>
                <a:gd name="connsiteX25" fmla="*/ 3541 w 43276"/>
                <a:gd name="connsiteY25" fmla="*/ 27146 h 35408"/>
                <a:gd name="connsiteX26" fmla="*/ 1180 w 43276"/>
                <a:gd name="connsiteY26" fmla="*/ 32654 h 35408"/>
                <a:gd name="connsiteX27" fmla="*/ 788 w 43276"/>
                <a:gd name="connsiteY27" fmla="*/ 33441 h 35408"/>
                <a:gd name="connsiteX28" fmla="*/ 0 w 43276"/>
                <a:gd name="connsiteY28" fmla="*/ 36195 h 35408"/>
                <a:gd name="connsiteX29" fmla="*/ 3148 w 43276"/>
                <a:gd name="connsiteY29" fmla="*/ 35408 h 35408"/>
                <a:gd name="connsiteX30" fmla="*/ 5901 w 43276"/>
                <a:gd name="connsiteY30" fmla="*/ 34621 h 35408"/>
                <a:gd name="connsiteX31" fmla="*/ 9049 w 43276"/>
                <a:gd name="connsiteY31" fmla="*/ 34228 h 35408"/>
                <a:gd name="connsiteX32" fmla="*/ 11803 w 43276"/>
                <a:gd name="connsiteY32" fmla="*/ 34621 h 35408"/>
                <a:gd name="connsiteX33" fmla="*/ 14558 w 43276"/>
                <a:gd name="connsiteY33" fmla="*/ 35015 h 35408"/>
                <a:gd name="connsiteX34" fmla="*/ 17704 w 43276"/>
                <a:gd name="connsiteY34" fmla="*/ 35015 h 35408"/>
                <a:gd name="connsiteX35" fmla="*/ 20459 w 43276"/>
                <a:gd name="connsiteY35" fmla="*/ 36195 h 35408"/>
                <a:gd name="connsiteX36" fmla="*/ 23213 w 43276"/>
                <a:gd name="connsiteY36" fmla="*/ 35408 h 35408"/>
                <a:gd name="connsiteX37" fmla="*/ 26360 w 43276"/>
                <a:gd name="connsiteY37" fmla="*/ 32654 h 35408"/>
                <a:gd name="connsiteX38" fmla="*/ 29507 w 43276"/>
                <a:gd name="connsiteY38" fmla="*/ 30687 h 35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3276" h="35408">
                  <a:moveTo>
                    <a:pt x="31474" y="27540"/>
                  </a:moveTo>
                  <a:lnTo>
                    <a:pt x="34229" y="26753"/>
                  </a:lnTo>
                  <a:lnTo>
                    <a:pt x="37376" y="24392"/>
                  </a:lnTo>
                  <a:lnTo>
                    <a:pt x="38950" y="21245"/>
                  </a:lnTo>
                  <a:lnTo>
                    <a:pt x="38950" y="18491"/>
                  </a:lnTo>
                  <a:lnTo>
                    <a:pt x="41704" y="16524"/>
                  </a:lnTo>
                  <a:lnTo>
                    <a:pt x="42490" y="13376"/>
                  </a:lnTo>
                  <a:lnTo>
                    <a:pt x="45244" y="7869"/>
                  </a:lnTo>
                  <a:lnTo>
                    <a:pt x="42490" y="6295"/>
                  </a:lnTo>
                  <a:lnTo>
                    <a:pt x="39736" y="3541"/>
                  </a:lnTo>
                  <a:lnTo>
                    <a:pt x="38163" y="787"/>
                  </a:lnTo>
                  <a:lnTo>
                    <a:pt x="35408" y="0"/>
                  </a:lnTo>
                  <a:lnTo>
                    <a:pt x="32262" y="0"/>
                  </a:lnTo>
                  <a:lnTo>
                    <a:pt x="30687" y="393"/>
                  </a:lnTo>
                  <a:lnTo>
                    <a:pt x="27934" y="1180"/>
                  </a:lnTo>
                  <a:lnTo>
                    <a:pt x="24786" y="1574"/>
                  </a:lnTo>
                  <a:lnTo>
                    <a:pt x="22032" y="3147"/>
                  </a:lnTo>
                  <a:lnTo>
                    <a:pt x="19278" y="4328"/>
                  </a:lnTo>
                  <a:lnTo>
                    <a:pt x="18885" y="4721"/>
                  </a:lnTo>
                  <a:lnTo>
                    <a:pt x="16131" y="6688"/>
                  </a:lnTo>
                  <a:lnTo>
                    <a:pt x="13377" y="9836"/>
                  </a:lnTo>
                  <a:lnTo>
                    <a:pt x="12197" y="12589"/>
                  </a:lnTo>
                  <a:lnTo>
                    <a:pt x="9443" y="15343"/>
                  </a:lnTo>
                  <a:lnTo>
                    <a:pt x="6689" y="21245"/>
                  </a:lnTo>
                  <a:lnTo>
                    <a:pt x="5115" y="24392"/>
                  </a:lnTo>
                  <a:lnTo>
                    <a:pt x="3541" y="27146"/>
                  </a:lnTo>
                  <a:lnTo>
                    <a:pt x="1180" y="32654"/>
                  </a:lnTo>
                  <a:lnTo>
                    <a:pt x="788" y="33441"/>
                  </a:lnTo>
                  <a:lnTo>
                    <a:pt x="0" y="36195"/>
                  </a:lnTo>
                  <a:lnTo>
                    <a:pt x="3148" y="35408"/>
                  </a:lnTo>
                  <a:lnTo>
                    <a:pt x="5901" y="34621"/>
                  </a:lnTo>
                  <a:lnTo>
                    <a:pt x="9049" y="34228"/>
                  </a:lnTo>
                  <a:lnTo>
                    <a:pt x="11803" y="34621"/>
                  </a:lnTo>
                  <a:lnTo>
                    <a:pt x="14558" y="35015"/>
                  </a:lnTo>
                  <a:lnTo>
                    <a:pt x="17704" y="35015"/>
                  </a:lnTo>
                  <a:lnTo>
                    <a:pt x="20459" y="36195"/>
                  </a:lnTo>
                  <a:lnTo>
                    <a:pt x="23213" y="35408"/>
                  </a:lnTo>
                  <a:lnTo>
                    <a:pt x="26360" y="32654"/>
                  </a:lnTo>
                  <a:lnTo>
                    <a:pt x="29507" y="306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57" name="Freeform: Shape 3951">
              <a:extLst>
                <a:ext uri="{FF2B5EF4-FFF2-40B4-BE49-F238E27FC236}">
                  <a16:creationId xmlns:a16="http://schemas.microsoft.com/office/drawing/2014/main" id="{BEA8977E-069E-49E8-B1FA-7139EB485EF6}"/>
                </a:ext>
              </a:extLst>
            </p:cNvPr>
            <p:cNvSpPr/>
            <p:nvPr/>
          </p:nvSpPr>
          <p:spPr>
            <a:xfrm>
              <a:off x="10478377" y="3912956"/>
              <a:ext cx="7869" cy="11803"/>
            </a:xfrm>
            <a:custGeom>
              <a:avLst/>
              <a:gdLst>
                <a:gd name="connsiteX0" fmla="*/ 6295 w 7868"/>
                <a:gd name="connsiteY0" fmla="*/ 11803 h 11802"/>
                <a:gd name="connsiteX1" fmla="*/ 8262 w 7868"/>
                <a:gd name="connsiteY1" fmla="*/ 9836 h 11802"/>
                <a:gd name="connsiteX2" fmla="*/ 9049 w 7868"/>
                <a:gd name="connsiteY2" fmla="*/ 7082 h 11802"/>
                <a:gd name="connsiteX3" fmla="*/ 8656 w 7868"/>
                <a:gd name="connsiteY3" fmla="*/ 3934 h 11802"/>
                <a:gd name="connsiteX4" fmla="*/ 5901 w 7868"/>
                <a:gd name="connsiteY4" fmla="*/ 1574 h 11802"/>
                <a:gd name="connsiteX5" fmla="*/ 3148 w 7868"/>
                <a:gd name="connsiteY5" fmla="*/ 0 h 11802"/>
                <a:gd name="connsiteX6" fmla="*/ 394 w 7868"/>
                <a:gd name="connsiteY6" fmla="*/ 394 h 11802"/>
                <a:gd name="connsiteX7" fmla="*/ 0 w 7868"/>
                <a:gd name="connsiteY7" fmla="*/ 3541 h 11802"/>
                <a:gd name="connsiteX8" fmla="*/ 1574 w 7868"/>
                <a:gd name="connsiteY8" fmla="*/ 6295 h 11802"/>
                <a:gd name="connsiteX9" fmla="*/ 3541 w 7868"/>
                <a:gd name="connsiteY9" fmla="*/ 904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11802">
                  <a:moveTo>
                    <a:pt x="6295" y="11803"/>
                  </a:moveTo>
                  <a:lnTo>
                    <a:pt x="8262" y="9836"/>
                  </a:lnTo>
                  <a:lnTo>
                    <a:pt x="9049" y="7082"/>
                  </a:lnTo>
                  <a:lnTo>
                    <a:pt x="8656" y="3934"/>
                  </a:lnTo>
                  <a:lnTo>
                    <a:pt x="5901" y="1574"/>
                  </a:lnTo>
                  <a:lnTo>
                    <a:pt x="3148" y="0"/>
                  </a:lnTo>
                  <a:lnTo>
                    <a:pt x="394" y="394"/>
                  </a:lnTo>
                  <a:lnTo>
                    <a:pt x="0" y="3541"/>
                  </a:lnTo>
                  <a:lnTo>
                    <a:pt x="1574" y="6295"/>
                  </a:lnTo>
                  <a:lnTo>
                    <a:pt x="3541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58" name="Freeform: Shape 3952">
              <a:extLst>
                <a:ext uri="{FF2B5EF4-FFF2-40B4-BE49-F238E27FC236}">
                  <a16:creationId xmlns:a16="http://schemas.microsoft.com/office/drawing/2014/main" id="{C774BCAD-B111-4D5D-BCCC-2E1176FA88CF}"/>
                </a:ext>
              </a:extLst>
            </p:cNvPr>
            <p:cNvSpPr/>
            <p:nvPr/>
          </p:nvSpPr>
          <p:spPr>
            <a:xfrm>
              <a:off x="10477984" y="3916497"/>
              <a:ext cx="3934" cy="3934"/>
            </a:xfrm>
            <a:custGeom>
              <a:avLst/>
              <a:gdLst>
                <a:gd name="connsiteX0" fmla="*/ 1967 w 0"/>
                <a:gd name="connsiteY0" fmla="*/ 3147 h 3934"/>
                <a:gd name="connsiteX1" fmla="*/ 0 w 0"/>
                <a:gd name="connsiteY1" fmla="*/ 0 h 3934"/>
                <a:gd name="connsiteX2" fmla="*/ 3540 w 0"/>
                <a:gd name="connsiteY2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967" y="3147"/>
                  </a:moveTo>
                  <a:lnTo>
                    <a:pt x="0" y="0"/>
                  </a:lnTo>
                  <a:lnTo>
                    <a:pt x="3540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59" name="Freeform: Shape 3953">
              <a:extLst>
                <a:ext uri="{FF2B5EF4-FFF2-40B4-BE49-F238E27FC236}">
                  <a16:creationId xmlns:a16="http://schemas.microsoft.com/office/drawing/2014/main" id="{35517452-FFB6-4612-9BB2-66C019166D4F}"/>
                </a:ext>
              </a:extLst>
            </p:cNvPr>
            <p:cNvSpPr/>
            <p:nvPr/>
          </p:nvSpPr>
          <p:spPr>
            <a:xfrm>
              <a:off x="10480738" y="3911383"/>
              <a:ext cx="3934" cy="3934"/>
            </a:xfrm>
            <a:custGeom>
              <a:avLst/>
              <a:gdLst>
                <a:gd name="connsiteX0" fmla="*/ 3148 w 0"/>
                <a:gd name="connsiteY0" fmla="*/ 2360 h 0"/>
                <a:gd name="connsiteX1" fmla="*/ 3540 w 0"/>
                <a:gd name="connsiteY1" fmla="*/ 236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2360"/>
                  </a:moveTo>
                  <a:lnTo>
                    <a:pt x="3540" y="236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60" name="Freeform: Shape 3954">
              <a:extLst>
                <a:ext uri="{FF2B5EF4-FFF2-40B4-BE49-F238E27FC236}">
                  <a16:creationId xmlns:a16="http://schemas.microsoft.com/office/drawing/2014/main" id="{BC38AD43-7212-42B4-B496-54DCC5E87970}"/>
                </a:ext>
              </a:extLst>
            </p:cNvPr>
            <p:cNvSpPr/>
            <p:nvPr/>
          </p:nvSpPr>
          <p:spPr>
            <a:xfrm>
              <a:off x="10488606" y="3908629"/>
              <a:ext cx="3934" cy="3934"/>
            </a:xfrm>
            <a:custGeom>
              <a:avLst/>
              <a:gdLst>
                <a:gd name="connsiteX0" fmla="*/ 787 w 0"/>
                <a:gd name="connsiteY0" fmla="*/ 3147 h 0"/>
                <a:gd name="connsiteX1" fmla="*/ 787 w 0"/>
                <a:gd name="connsiteY1" fmla="*/ 275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3147"/>
                  </a:moveTo>
                  <a:lnTo>
                    <a:pt x="787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61" name="Freeform: Shape 3955">
              <a:extLst>
                <a:ext uri="{FF2B5EF4-FFF2-40B4-BE49-F238E27FC236}">
                  <a16:creationId xmlns:a16="http://schemas.microsoft.com/office/drawing/2014/main" id="{1A71440B-D09F-4E0C-9177-FD885A0FC931}"/>
                </a:ext>
              </a:extLst>
            </p:cNvPr>
            <p:cNvSpPr/>
            <p:nvPr/>
          </p:nvSpPr>
          <p:spPr>
            <a:xfrm>
              <a:off x="10456345" y="3902727"/>
              <a:ext cx="3934" cy="7869"/>
            </a:xfrm>
            <a:custGeom>
              <a:avLst/>
              <a:gdLst>
                <a:gd name="connsiteX0" fmla="*/ 787 w 3934"/>
                <a:gd name="connsiteY0" fmla="*/ 5508 h 7868"/>
                <a:gd name="connsiteX1" fmla="*/ 2754 w 3934"/>
                <a:gd name="connsiteY1" fmla="*/ 7869 h 7868"/>
                <a:gd name="connsiteX2" fmla="*/ 1967 w 3934"/>
                <a:gd name="connsiteY2" fmla="*/ 7869 h 7868"/>
                <a:gd name="connsiteX3" fmla="*/ 2754 w 3934"/>
                <a:gd name="connsiteY3" fmla="*/ 7869 h 7868"/>
                <a:gd name="connsiteX4" fmla="*/ 3540 w 3934"/>
                <a:gd name="connsiteY4" fmla="*/ 8655 h 7868"/>
                <a:gd name="connsiteX5" fmla="*/ 3934 w 3934"/>
                <a:gd name="connsiteY5" fmla="*/ 8262 h 7868"/>
                <a:gd name="connsiteX6" fmla="*/ 4721 w 3934"/>
                <a:gd name="connsiteY6" fmla="*/ 8655 h 7868"/>
                <a:gd name="connsiteX7" fmla="*/ 5115 w 3934"/>
                <a:gd name="connsiteY7" fmla="*/ 7869 h 7868"/>
                <a:gd name="connsiteX8" fmla="*/ 5115 w 3934"/>
                <a:gd name="connsiteY8" fmla="*/ 7869 h 7868"/>
                <a:gd name="connsiteX9" fmla="*/ 6688 w 3934"/>
                <a:gd name="connsiteY9" fmla="*/ 7475 h 7868"/>
                <a:gd name="connsiteX10" fmla="*/ 6294 w 3934"/>
                <a:gd name="connsiteY10" fmla="*/ 4328 h 7868"/>
                <a:gd name="connsiteX11" fmla="*/ 5508 w 3934"/>
                <a:gd name="connsiteY11" fmla="*/ 1574 h 7868"/>
                <a:gd name="connsiteX12" fmla="*/ 2754 w 3934"/>
                <a:gd name="connsiteY12" fmla="*/ 0 h 7868"/>
                <a:gd name="connsiteX13" fmla="*/ 0 w 3934"/>
                <a:gd name="connsiteY13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934" h="7868">
                  <a:moveTo>
                    <a:pt x="787" y="5508"/>
                  </a:moveTo>
                  <a:lnTo>
                    <a:pt x="2754" y="7869"/>
                  </a:lnTo>
                  <a:lnTo>
                    <a:pt x="1967" y="7869"/>
                  </a:lnTo>
                  <a:lnTo>
                    <a:pt x="2754" y="7869"/>
                  </a:lnTo>
                  <a:lnTo>
                    <a:pt x="3540" y="8655"/>
                  </a:lnTo>
                  <a:lnTo>
                    <a:pt x="3934" y="8262"/>
                  </a:lnTo>
                  <a:lnTo>
                    <a:pt x="4721" y="8655"/>
                  </a:lnTo>
                  <a:lnTo>
                    <a:pt x="5115" y="7869"/>
                  </a:lnTo>
                  <a:lnTo>
                    <a:pt x="5115" y="7869"/>
                  </a:lnTo>
                  <a:lnTo>
                    <a:pt x="6688" y="7475"/>
                  </a:lnTo>
                  <a:lnTo>
                    <a:pt x="6294" y="4328"/>
                  </a:lnTo>
                  <a:lnTo>
                    <a:pt x="5508" y="1574"/>
                  </a:lnTo>
                  <a:lnTo>
                    <a:pt x="275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62" name="Freeform: Shape 3956">
              <a:extLst>
                <a:ext uri="{FF2B5EF4-FFF2-40B4-BE49-F238E27FC236}">
                  <a16:creationId xmlns:a16="http://schemas.microsoft.com/office/drawing/2014/main" id="{6073519E-FCC4-4214-A166-7571B973D5AC}"/>
                </a:ext>
              </a:extLst>
            </p:cNvPr>
            <p:cNvSpPr/>
            <p:nvPr/>
          </p:nvSpPr>
          <p:spPr>
            <a:xfrm>
              <a:off x="10472869" y="3905481"/>
              <a:ext cx="3934" cy="3934"/>
            </a:xfrm>
            <a:custGeom>
              <a:avLst/>
              <a:gdLst>
                <a:gd name="connsiteX0" fmla="*/ 3148 w 0"/>
                <a:gd name="connsiteY0" fmla="*/ 1180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1180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63" name="Freeform: Shape 3957">
              <a:extLst>
                <a:ext uri="{FF2B5EF4-FFF2-40B4-BE49-F238E27FC236}">
                  <a16:creationId xmlns:a16="http://schemas.microsoft.com/office/drawing/2014/main" id="{A13ADDC7-9320-4A35-BA1E-70D4607C24F7}"/>
                </a:ext>
              </a:extLst>
            </p:cNvPr>
            <p:cNvSpPr/>
            <p:nvPr/>
          </p:nvSpPr>
          <p:spPr>
            <a:xfrm>
              <a:off x="10432740" y="3888170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0 h 0"/>
                <a:gd name="connsiteX2" fmla="*/ 3148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0"/>
                  </a:lnTo>
                  <a:lnTo>
                    <a:pt x="314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64" name="Freeform: Shape 3958">
              <a:extLst>
                <a:ext uri="{FF2B5EF4-FFF2-40B4-BE49-F238E27FC236}">
                  <a16:creationId xmlns:a16="http://schemas.microsoft.com/office/drawing/2014/main" id="{1F81487C-02FE-4292-95FB-BE97F2526E96}"/>
                </a:ext>
              </a:extLst>
            </p:cNvPr>
            <p:cNvSpPr/>
            <p:nvPr/>
          </p:nvSpPr>
          <p:spPr>
            <a:xfrm>
              <a:off x="10423297" y="3879909"/>
              <a:ext cx="3934" cy="7869"/>
            </a:xfrm>
            <a:custGeom>
              <a:avLst/>
              <a:gdLst>
                <a:gd name="connsiteX0" fmla="*/ 2361 w 3934"/>
                <a:gd name="connsiteY0" fmla="*/ 7869 h 7868"/>
                <a:gd name="connsiteX1" fmla="*/ 5509 w 3934"/>
                <a:gd name="connsiteY1" fmla="*/ 5901 h 7868"/>
                <a:gd name="connsiteX2" fmla="*/ 5901 w 3934"/>
                <a:gd name="connsiteY2" fmla="*/ 3541 h 7868"/>
                <a:gd name="connsiteX3" fmla="*/ 6295 w 3934"/>
                <a:gd name="connsiteY3" fmla="*/ 5114 h 7868"/>
                <a:gd name="connsiteX4" fmla="*/ 6295 w 3934"/>
                <a:gd name="connsiteY4" fmla="*/ 2754 h 7868"/>
                <a:gd name="connsiteX5" fmla="*/ 5115 w 3934"/>
                <a:gd name="connsiteY5" fmla="*/ 0 h 7868"/>
                <a:gd name="connsiteX6" fmla="*/ 5509 w 3934"/>
                <a:gd name="connsiteY6" fmla="*/ 2754 h 7868"/>
                <a:gd name="connsiteX7" fmla="*/ 4328 w 3934"/>
                <a:gd name="connsiteY7" fmla="*/ 0 h 7868"/>
                <a:gd name="connsiteX8" fmla="*/ 1180 w 3934"/>
                <a:gd name="connsiteY8" fmla="*/ 2360 h 7868"/>
                <a:gd name="connsiteX9" fmla="*/ 0 w 3934"/>
                <a:gd name="connsiteY9" fmla="*/ 511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7868">
                  <a:moveTo>
                    <a:pt x="2361" y="7869"/>
                  </a:moveTo>
                  <a:lnTo>
                    <a:pt x="5509" y="5901"/>
                  </a:lnTo>
                  <a:lnTo>
                    <a:pt x="5901" y="3541"/>
                  </a:lnTo>
                  <a:lnTo>
                    <a:pt x="6295" y="5114"/>
                  </a:lnTo>
                  <a:lnTo>
                    <a:pt x="6295" y="2754"/>
                  </a:lnTo>
                  <a:lnTo>
                    <a:pt x="5115" y="0"/>
                  </a:lnTo>
                  <a:lnTo>
                    <a:pt x="5509" y="2754"/>
                  </a:lnTo>
                  <a:lnTo>
                    <a:pt x="4328" y="0"/>
                  </a:lnTo>
                  <a:lnTo>
                    <a:pt x="1180" y="2360"/>
                  </a:lnTo>
                  <a:lnTo>
                    <a:pt x="0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65" name="Freeform: Shape 3959">
              <a:extLst>
                <a:ext uri="{FF2B5EF4-FFF2-40B4-BE49-F238E27FC236}">
                  <a16:creationId xmlns:a16="http://schemas.microsoft.com/office/drawing/2014/main" id="{A5FA23E1-C54F-4349-B97E-A9271AEA0451}"/>
                </a:ext>
              </a:extLst>
            </p:cNvPr>
            <p:cNvSpPr/>
            <p:nvPr/>
          </p:nvSpPr>
          <p:spPr>
            <a:xfrm>
              <a:off x="10531097" y="3884236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180"/>
                  </a:lnTo>
                  <a:lnTo>
                    <a:pt x="275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66" name="Freeform: Shape 3960">
              <a:extLst>
                <a:ext uri="{FF2B5EF4-FFF2-40B4-BE49-F238E27FC236}">
                  <a16:creationId xmlns:a16="http://schemas.microsoft.com/office/drawing/2014/main" id="{8243A452-1E72-4020-BCCF-D1AC184E4BAA}"/>
                </a:ext>
              </a:extLst>
            </p:cNvPr>
            <p:cNvSpPr/>
            <p:nvPr/>
          </p:nvSpPr>
          <p:spPr>
            <a:xfrm>
              <a:off x="10405987" y="3874007"/>
              <a:ext cx="3934" cy="3934"/>
            </a:xfrm>
            <a:custGeom>
              <a:avLst/>
              <a:gdLst>
                <a:gd name="connsiteX0" fmla="*/ 3148 w 0"/>
                <a:gd name="connsiteY0" fmla="*/ 1180 h 0"/>
                <a:gd name="connsiteX1" fmla="*/ 0 w 0"/>
                <a:gd name="connsiteY1" fmla="*/ 0 h 0"/>
                <a:gd name="connsiteX2" fmla="*/ 354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1180"/>
                  </a:moveTo>
                  <a:lnTo>
                    <a:pt x="0" y="0"/>
                  </a:lnTo>
                  <a:lnTo>
                    <a:pt x="354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67" name="Freeform: Shape 3961">
              <a:extLst>
                <a:ext uri="{FF2B5EF4-FFF2-40B4-BE49-F238E27FC236}">
                  <a16:creationId xmlns:a16="http://schemas.microsoft.com/office/drawing/2014/main" id="{52D35A79-FBAE-4F0D-9683-2FBDF6C7CDA2}"/>
                </a:ext>
              </a:extLst>
            </p:cNvPr>
            <p:cNvSpPr/>
            <p:nvPr/>
          </p:nvSpPr>
          <p:spPr>
            <a:xfrm>
              <a:off x="10400479" y="3863385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393 w 0"/>
                <a:gd name="connsiteY1" fmla="*/ 275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393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68" name="Freeform: Shape 3962">
              <a:extLst>
                <a:ext uri="{FF2B5EF4-FFF2-40B4-BE49-F238E27FC236}">
                  <a16:creationId xmlns:a16="http://schemas.microsoft.com/office/drawing/2014/main" id="{6611456F-0D31-4D2D-A349-9E0CB46C56A5}"/>
                </a:ext>
              </a:extLst>
            </p:cNvPr>
            <p:cNvSpPr/>
            <p:nvPr/>
          </p:nvSpPr>
          <p:spPr>
            <a:xfrm>
              <a:off x="10335170" y="4013674"/>
              <a:ext cx="7869" cy="7869"/>
            </a:xfrm>
            <a:custGeom>
              <a:avLst/>
              <a:gdLst>
                <a:gd name="connsiteX0" fmla="*/ 0 w 7868"/>
                <a:gd name="connsiteY0" fmla="*/ 0 h 7868"/>
                <a:gd name="connsiteX1" fmla="*/ 2754 w 7868"/>
                <a:gd name="connsiteY1" fmla="*/ 1967 h 7868"/>
                <a:gd name="connsiteX2" fmla="*/ 5508 w 7868"/>
                <a:gd name="connsiteY2" fmla="*/ 5114 h 7868"/>
                <a:gd name="connsiteX3" fmla="*/ 8262 w 7868"/>
                <a:gd name="connsiteY3" fmla="*/ 6295 h 7868"/>
                <a:gd name="connsiteX4" fmla="*/ 11409 w 7868"/>
                <a:gd name="connsiteY4" fmla="*/ 9049 h 7868"/>
                <a:gd name="connsiteX5" fmla="*/ 11409 w 7868"/>
                <a:gd name="connsiteY5" fmla="*/ 6295 h 7868"/>
                <a:gd name="connsiteX6" fmla="*/ 8655 w 7868"/>
                <a:gd name="connsiteY6" fmla="*/ 3934 h 7868"/>
                <a:gd name="connsiteX7" fmla="*/ 5508 w 7868"/>
                <a:gd name="connsiteY7" fmla="*/ 1574 h 7868"/>
                <a:gd name="connsiteX8" fmla="*/ 2754 w 7868"/>
                <a:gd name="connsiteY8" fmla="*/ 78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7868">
                  <a:moveTo>
                    <a:pt x="0" y="0"/>
                  </a:moveTo>
                  <a:lnTo>
                    <a:pt x="2754" y="1967"/>
                  </a:lnTo>
                  <a:lnTo>
                    <a:pt x="5508" y="5114"/>
                  </a:lnTo>
                  <a:lnTo>
                    <a:pt x="8262" y="6295"/>
                  </a:lnTo>
                  <a:lnTo>
                    <a:pt x="11409" y="9049"/>
                  </a:lnTo>
                  <a:lnTo>
                    <a:pt x="11409" y="6295"/>
                  </a:lnTo>
                  <a:lnTo>
                    <a:pt x="8655" y="3934"/>
                  </a:lnTo>
                  <a:lnTo>
                    <a:pt x="5508" y="1574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69" name="Freeform: Shape 3963">
              <a:extLst>
                <a:ext uri="{FF2B5EF4-FFF2-40B4-BE49-F238E27FC236}">
                  <a16:creationId xmlns:a16="http://schemas.microsoft.com/office/drawing/2014/main" id="{C2A32C19-E96C-44BD-BF4C-AE767574B4A2}"/>
                </a:ext>
              </a:extLst>
            </p:cNvPr>
            <p:cNvSpPr/>
            <p:nvPr/>
          </p:nvSpPr>
          <p:spPr>
            <a:xfrm>
              <a:off x="10339498" y="4010526"/>
              <a:ext cx="3934" cy="3934"/>
            </a:xfrm>
            <a:custGeom>
              <a:avLst/>
              <a:gdLst>
                <a:gd name="connsiteX0" fmla="*/ 3147 w 3934"/>
                <a:gd name="connsiteY0" fmla="*/ 0 h 3934"/>
                <a:gd name="connsiteX1" fmla="*/ 0 w 3934"/>
                <a:gd name="connsiteY1" fmla="*/ 1967 h 3934"/>
                <a:gd name="connsiteX2" fmla="*/ 3147 w 3934"/>
                <a:gd name="connsiteY2" fmla="*/ 3148 h 3934"/>
                <a:gd name="connsiteX3" fmla="*/ 5901 w 3934"/>
                <a:gd name="connsiteY3" fmla="*/ 4328 h 3934"/>
                <a:gd name="connsiteX4" fmla="*/ 7475 w 3934"/>
                <a:gd name="connsiteY4" fmla="*/ 3148 h 3934"/>
                <a:gd name="connsiteX5" fmla="*/ 5901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147" y="0"/>
                  </a:moveTo>
                  <a:lnTo>
                    <a:pt x="0" y="1967"/>
                  </a:lnTo>
                  <a:lnTo>
                    <a:pt x="3147" y="3148"/>
                  </a:lnTo>
                  <a:lnTo>
                    <a:pt x="5901" y="4328"/>
                  </a:lnTo>
                  <a:lnTo>
                    <a:pt x="7475" y="3148"/>
                  </a:lnTo>
                  <a:lnTo>
                    <a:pt x="590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70" name="Freeform: Shape 3964">
              <a:extLst>
                <a:ext uri="{FF2B5EF4-FFF2-40B4-BE49-F238E27FC236}">
                  <a16:creationId xmlns:a16="http://schemas.microsoft.com/office/drawing/2014/main" id="{73EDE788-6DF1-4760-AEA5-2E86BBDF8F95}"/>
                </a:ext>
              </a:extLst>
            </p:cNvPr>
            <p:cNvSpPr/>
            <p:nvPr/>
          </p:nvSpPr>
          <p:spPr>
            <a:xfrm>
              <a:off x="10479164" y="3940890"/>
              <a:ext cx="3934" cy="3934"/>
            </a:xfrm>
            <a:custGeom>
              <a:avLst/>
              <a:gdLst>
                <a:gd name="connsiteX0" fmla="*/ 1180 w 0"/>
                <a:gd name="connsiteY0" fmla="*/ 3147 h 0"/>
                <a:gd name="connsiteX1" fmla="*/ 0 w 0"/>
                <a:gd name="connsiteY1" fmla="*/ 0 h 0"/>
                <a:gd name="connsiteX2" fmla="*/ 1180 w 0"/>
                <a:gd name="connsiteY2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3147"/>
                  </a:moveTo>
                  <a:lnTo>
                    <a:pt x="0" y="0"/>
                  </a:lnTo>
                  <a:lnTo>
                    <a:pt x="118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71" name="Freeform: Shape 3965">
              <a:extLst>
                <a:ext uri="{FF2B5EF4-FFF2-40B4-BE49-F238E27FC236}">
                  <a16:creationId xmlns:a16="http://schemas.microsoft.com/office/drawing/2014/main" id="{838DBD42-37C7-455E-AE28-9DB39FD54B0F}"/>
                </a:ext>
              </a:extLst>
            </p:cNvPr>
            <p:cNvSpPr/>
            <p:nvPr/>
          </p:nvSpPr>
          <p:spPr>
            <a:xfrm>
              <a:off x="10495294" y="3867712"/>
              <a:ext cx="121962" cy="70817"/>
            </a:xfrm>
            <a:custGeom>
              <a:avLst/>
              <a:gdLst>
                <a:gd name="connsiteX0" fmla="*/ 35802 w 121962"/>
                <a:gd name="connsiteY0" fmla="*/ 47211 h 70816"/>
                <a:gd name="connsiteX1" fmla="*/ 33048 w 121962"/>
                <a:gd name="connsiteY1" fmla="*/ 47605 h 70816"/>
                <a:gd name="connsiteX2" fmla="*/ 29901 w 121962"/>
                <a:gd name="connsiteY2" fmla="*/ 47998 h 70816"/>
                <a:gd name="connsiteX3" fmla="*/ 27147 w 121962"/>
                <a:gd name="connsiteY3" fmla="*/ 48785 h 70816"/>
                <a:gd name="connsiteX4" fmla="*/ 23999 w 121962"/>
                <a:gd name="connsiteY4" fmla="*/ 46031 h 70816"/>
                <a:gd name="connsiteX5" fmla="*/ 21246 w 121962"/>
                <a:gd name="connsiteY5" fmla="*/ 44851 h 70816"/>
                <a:gd name="connsiteX6" fmla="*/ 18491 w 121962"/>
                <a:gd name="connsiteY6" fmla="*/ 44851 h 70816"/>
                <a:gd name="connsiteX7" fmla="*/ 15344 w 121962"/>
                <a:gd name="connsiteY7" fmla="*/ 46424 h 70816"/>
                <a:gd name="connsiteX8" fmla="*/ 12589 w 121962"/>
                <a:gd name="connsiteY8" fmla="*/ 44851 h 70816"/>
                <a:gd name="connsiteX9" fmla="*/ 9443 w 121962"/>
                <a:gd name="connsiteY9" fmla="*/ 44851 h 70816"/>
                <a:gd name="connsiteX10" fmla="*/ 6688 w 121962"/>
                <a:gd name="connsiteY10" fmla="*/ 46424 h 70816"/>
                <a:gd name="connsiteX11" fmla="*/ 3934 w 121962"/>
                <a:gd name="connsiteY11" fmla="*/ 43670 h 70816"/>
                <a:gd name="connsiteX12" fmla="*/ 1180 w 121962"/>
                <a:gd name="connsiteY12" fmla="*/ 45638 h 70816"/>
                <a:gd name="connsiteX13" fmla="*/ 0 w 121962"/>
                <a:gd name="connsiteY13" fmla="*/ 48391 h 70816"/>
                <a:gd name="connsiteX14" fmla="*/ 0 w 121962"/>
                <a:gd name="connsiteY14" fmla="*/ 51145 h 70816"/>
                <a:gd name="connsiteX15" fmla="*/ 1180 w 121962"/>
                <a:gd name="connsiteY15" fmla="*/ 53899 h 70816"/>
                <a:gd name="connsiteX16" fmla="*/ 4328 w 121962"/>
                <a:gd name="connsiteY16" fmla="*/ 55473 h 70816"/>
                <a:gd name="connsiteX17" fmla="*/ 7082 w 121962"/>
                <a:gd name="connsiteY17" fmla="*/ 57047 h 70816"/>
                <a:gd name="connsiteX18" fmla="*/ 10229 w 121962"/>
                <a:gd name="connsiteY18" fmla="*/ 57047 h 70816"/>
                <a:gd name="connsiteX19" fmla="*/ 12983 w 121962"/>
                <a:gd name="connsiteY19" fmla="*/ 59801 h 70816"/>
                <a:gd name="connsiteX20" fmla="*/ 15737 w 121962"/>
                <a:gd name="connsiteY20" fmla="*/ 60588 h 70816"/>
                <a:gd name="connsiteX21" fmla="*/ 17311 w 121962"/>
                <a:gd name="connsiteY21" fmla="*/ 62161 h 70816"/>
                <a:gd name="connsiteX22" fmla="*/ 20458 w 121962"/>
                <a:gd name="connsiteY22" fmla="*/ 64128 h 70816"/>
                <a:gd name="connsiteX23" fmla="*/ 22032 w 121962"/>
                <a:gd name="connsiteY23" fmla="*/ 67276 h 70816"/>
                <a:gd name="connsiteX24" fmla="*/ 24786 w 121962"/>
                <a:gd name="connsiteY24" fmla="*/ 65309 h 70816"/>
                <a:gd name="connsiteX25" fmla="*/ 27147 w 121962"/>
                <a:gd name="connsiteY25" fmla="*/ 64522 h 70816"/>
                <a:gd name="connsiteX26" fmla="*/ 33835 w 121962"/>
                <a:gd name="connsiteY26" fmla="*/ 66882 h 70816"/>
                <a:gd name="connsiteX27" fmla="*/ 35408 w 121962"/>
                <a:gd name="connsiteY27" fmla="*/ 69243 h 70816"/>
                <a:gd name="connsiteX28" fmla="*/ 37376 w 121962"/>
                <a:gd name="connsiteY28" fmla="*/ 71997 h 70816"/>
                <a:gd name="connsiteX29" fmla="*/ 40129 w 121962"/>
                <a:gd name="connsiteY29" fmla="*/ 72391 h 70816"/>
                <a:gd name="connsiteX30" fmla="*/ 42884 w 121962"/>
                <a:gd name="connsiteY30" fmla="*/ 71997 h 70816"/>
                <a:gd name="connsiteX31" fmla="*/ 45638 w 121962"/>
                <a:gd name="connsiteY31" fmla="*/ 71997 h 70816"/>
                <a:gd name="connsiteX32" fmla="*/ 48785 w 121962"/>
                <a:gd name="connsiteY32" fmla="*/ 71997 h 70816"/>
                <a:gd name="connsiteX33" fmla="*/ 48785 w 121962"/>
                <a:gd name="connsiteY33" fmla="*/ 73177 h 70816"/>
                <a:gd name="connsiteX34" fmla="*/ 51539 w 121962"/>
                <a:gd name="connsiteY34" fmla="*/ 72391 h 70816"/>
                <a:gd name="connsiteX35" fmla="*/ 54687 w 121962"/>
                <a:gd name="connsiteY35" fmla="*/ 71210 h 70816"/>
                <a:gd name="connsiteX36" fmla="*/ 57833 w 121962"/>
                <a:gd name="connsiteY36" fmla="*/ 71997 h 70816"/>
                <a:gd name="connsiteX37" fmla="*/ 60588 w 121962"/>
                <a:gd name="connsiteY37" fmla="*/ 71997 h 70816"/>
                <a:gd name="connsiteX38" fmla="*/ 63735 w 121962"/>
                <a:gd name="connsiteY38" fmla="*/ 70817 h 70816"/>
                <a:gd name="connsiteX39" fmla="*/ 66490 w 121962"/>
                <a:gd name="connsiteY39" fmla="*/ 68456 h 70816"/>
                <a:gd name="connsiteX40" fmla="*/ 68850 w 121962"/>
                <a:gd name="connsiteY40" fmla="*/ 67669 h 70816"/>
                <a:gd name="connsiteX41" fmla="*/ 71997 w 121962"/>
                <a:gd name="connsiteY41" fmla="*/ 67276 h 70816"/>
                <a:gd name="connsiteX42" fmla="*/ 78685 w 121962"/>
                <a:gd name="connsiteY42" fmla="*/ 63342 h 70816"/>
                <a:gd name="connsiteX43" fmla="*/ 79866 w 121962"/>
                <a:gd name="connsiteY43" fmla="*/ 63342 h 70816"/>
                <a:gd name="connsiteX44" fmla="*/ 83013 w 121962"/>
                <a:gd name="connsiteY44" fmla="*/ 61375 h 70816"/>
                <a:gd name="connsiteX45" fmla="*/ 85767 w 121962"/>
                <a:gd name="connsiteY45" fmla="*/ 60194 h 70816"/>
                <a:gd name="connsiteX46" fmla="*/ 88128 w 121962"/>
                <a:gd name="connsiteY46" fmla="*/ 57440 h 70816"/>
                <a:gd name="connsiteX47" fmla="*/ 89308 w 121962"/>
                <a:gd name="connsiteY47" fmla="*/ 57047 h 70816"/>
                <a:gd name="connsiteX48" fmla="*/ 92062 w 121962"/>
                <a:gd name="connsiteY48" fmla="*/ 55080 h 70816"/>
                <a:gd name="connsiteX49" fmla="*/ 93242 w 121962"/>
                <a:gd name="connsiteY49" fmla="*/ 51932 h 70816"/>
                <a:gd name="connsiteX50" fmla="*/ 93636 w 121962"/>
                <a:gd name="connsiteY50" fmla="*/ 49965 h 70816"/>
                <a:gd name="connsiteX51" fmla="*/ 96783 w 121962"/>
                <a:gd name="connsiteY51" fmla="*/ 46424 h 70816"/>
                <a:gd name="connsiteX52" fmla="*/ 97176 w 121962"/>
                <a:gd name="connsiteY52" fmla="*/ 46424 h 70816"/>
                <a:gd name="connsiteX53" fmla="*/ 100324 w 121962"/>
                <a:gd name="connsiteY53" fmla="*/ 46424 h 70816"/>
                <a:gd name="connsiteX54" fmla="*/ 103078 w 121962"/>
                <a:gd name="connsiteY54" fmla="*/ 46818 h 70816"/>
                <a:gd name="connsiteX55" fmla="*/ 105832 w 121962"/>
                <a:gd name="connsiteY55" fmla="*/ 47998 h 70816"/>
                <a:gd name="connsiteX56" fmla="*/ 108979 w 121962"/>
                <a:gd name="connsiteY56" fmla="*/ 46424 h 70816"/>
                <a:gd name="connsiteX57" fmla="*/ 111734 w 121962"/>
                <a:gd name="connsiteY57" fmla="*/ 44457 h 70816"/>
                <a:gd name="connsiteX58" fmla="*/ 114487 w 121962"/>
                <a:gd name="connsiteY58" fmla="*/ 41703 h 70816"/>
                <a:gd name="connsiteX59" fmla="*/ 114880 w 121962"/>
                <a:gd name="connsiteY59" fmla="*/ 38949 h 70816"/>
                <a:gd name="connsiteX60" fmla="*/ 112520 w 121962"/>
                <a:gd name="connsiteY60" fmla="*/ 35802 h 70816"/>
                <a:gd name="connsiteX61" fmla="*/ 110553 w 121962"/>
                <a:gd name="connsiteY61" fmla="*/ 32654 h 70816"/>
                <a:gd name="connsiteX62" fmla="*/ 110553 w 121962"/>
                <a:gd name="connsiteY62" fmla="*/ 29901 h 70816"/>
                <a:gd name="connsiteX63" fmla="*/ 111340 w 121962"/>
                <a:gd name="connsiteY63" fmla="*/ 27147 h 70816"/>
                <a:gd name="connsiteX64" fmla="*/ 114487 w 121962"/>
                <a:gd name="connsiteY64" fmla="*/ 27540 h 70816"/>
                <a:gd name="connsiteX65" fmla="*/ 117241 w 121962"/>
                <a:gd name="connsiteY65" fmla="*/ 27933 h 70816"/>
                <a:gd name="connsiteX66" fmla="*/ 120389 w 121962"/>
                <a:gd name="connsiteY66" fmla="*/ 26360 h 70816"/>
                <a:gd name="connsiteX67" fmla="*/ 122356 w 121962"/>
                <a:gd name="connsiteY67" fmla="*/ 23606 h 70816"/>
                <a:gd name="connsiteX68" fmla="*/ 123536 w 121962"/>
                <a:gd name="connsiteY68" fmla="*/ 20458 h 70816"/>
                <a:gd name="connsiteX69" fmla="*/ 124716 w 121962"/>
                <a:gd name="connsiteY69" fmla="*/ 17704 h 70816"/>
                <a:gd name="connsiteX70" fmla="*/ 124716 w 121962"/>
                <a:gd name="connsiteY70" fmla="*/ 14557 h 70816"/>
                <a:gd name="connsiteX71" fmla="*/ 123536 w 121962"/>
                <a:gd name="connsiteY71" fmla="*/ 11409 h 70816"/>
                <a:gd name="connsiteX72" fmla="*/ 123536 w 121962"/>
                <a:gd name="connsiteY72" fmla="*/ 11409 h 70816"/>
                <a:gd name="connsiteX73" fmla="*/ 124716 w 121962"/>
                <a:gd name="connsiteY73" fmla="*/ 8262 h 70816"/>
                <a:gd name="connsiteX74" fmla="*/ 124323 w 121962"/>
                <a:gd name="connsiteY74" fmla="*/ 5508 h 70816"/>
                <a:gd name="connsiteX75" fmla="*/ 121569 w 121962"/>
                <a:gd name="connsiteY75" fmla="*/ 5508 h 70816"/>
                <a:gd name="connsiteX76" fmla="*/ 118422 w 121962"/>
                <a:gd name="connsiteY76" fmla="*/ 2754 h 70816"/>
                <a:gd name="connsiteX77" fmla="*/ 119995 w 121962"/>
                <a:gd name="connsiteY77" fmla="*/ 0 h 70816"/>
                <a:gd name="connsiteX78" fmla="*/ 117241 w 121962"/>
                <a:gd name="connsiteY78" fmla="*/ 1180 h 70816"/>
                <a:gd name="connsiteX79" fmla="*/ 114094 w 121962"/>
                <a:gd name="connsiteY79" fmla="*/ 2361 h 70816"/>
                <a:gd name="connsiteX80" fmla="*/ 112520 w 121962"/>
                <a:gd name="connsiteY80" fmla="*/ 5508 h 70816"/>
                <a:gd name="connsiteX81" fmla="*/ 109373 w 121962"/>
                <a:gd name="connsiteY81" fmla="*/ 4328 h 70816"/>
                <a:gd name="connsiteX82" fmla="*/ 107406 w 121962"/>
                <a:gd name="connsiteY82" fmla="*/ 1180 h 70816"/>
                <a:gd name="connsiteX83" fmla="*/ 104258 w 121962"/>
                <a:gd name="connsiteY83" fmla="*/ 787 h 70816"/>
                <a:gd name="connsiteX84" fmla="*/ 101504 w 121962"/>
                <a:gd name="connsiteY84" fmla="*/ 787 h 70816"/>
                <a:gd name="connsiteX85" fmla="*/ 98750 w 121962"/>
                <a:gd name="connsiteY85" fmla="*/ 3147 h 70816"/>
                <a:gd name="connsiteX86" fmla="*/ 99143 w 121962"/>
                <a:gd name="connsiteY86" fmla="*/ 5901 h 70816"/>
                <a:gd name="connsiteX87" fmla="*/ 100718 w 121962"/>
                <a:gd name="connsiteY87" fmla="*/ 9049 h 70816"/>
                <a:gd name="connsiteX88" fmla="*/ 101504 w 121962"/>
                <a:gd name="connsiteY88" fmla="*/ 11803 h 70816"/>
                <a:gd name="connsiteX89" fmla="*/ 101898 w 121962"/>
                <a:gd name="connsiteY89" fmla="*/ 14557 h 70816"/>
                <a:gd name="connsiteX90" fmla="*/ 102291 w 121962"/>
                <a:gd name="connsiteY90" fmla="*/ 17704 h 70816"/>
                <a:gd name="connsiteX91" fmla="*/ 101898 w 121962"/>
                <a:gd name="connsiteY91" fmla="*/ 20458 h 70816"/>
                <a:gd name="connsiteX92" fmla="*/ 102291 w 121962"/>
                <a:gd name="connsiteY92" fmla="*/ 23606 h 70816"/>
                <a:gd name="connsiteX93" fmla="*/ 101110 w 121962"/>
                <a:gd name="connsiteY93" fmla="*/ 26360 h 70816"/>
                <a:gd name="connsiteX94" fmla="*/ 99537 w 121962"/>
                <a:gd name="connsiteY94" fmla="*/ 26753 h 70816"/>
                <a:gd name="connsiteX95" fmla="*/ 96783 w 121962"/>
                <a:gd name="connsiteY95" fmla="*/ 26360 h 70816"/>
                <a:gd name="connsiteX96" fmla="*/ 93636 w 121962"/>
                <a:gd name="connsiteY96" fmla="*/ 25573 h 70816"/>
                <a:gd name="connsiteX97" fmla="*/ 90882 w 121962"/>
                <a:gd name="connsiteY97" fmla="*/ 27147 h 70816"/>
                <a:gd name="connsiteX98" fmla="*/ 88128 w 121962"/>
                <a:gd name="connsiteY98" fmla="*/ 29507 h 70816"/>
                <a:gd name="connsiteX99" fmla="*/ 84981 w 121962"/>
                <a:gd name="connsiteY99" fmla="*/ 32261 h 70816"/>
                <a:gd name="connsiteX100" fmla="*/ 83013 w 121962"/>
                <a:gd name="connsiteY100" fmla="*/ 35015 h 70816"/>
                <a:gd name="connsiteX101" fmla="*/ 81833 w 121962"/>
                <a:gd name="connsiteY101" fmla="*/ 37769 h 70816"/>
                <a:gd name="connsiteX102" fmla="*/ 81439 w 121962"/>
                <a:gd name="connsiteY102" fmla="*/ 39343 h 70816"/>
                <a:gd name="connsiteX103" fmla="*/ 73964 w 121962"/>
                <a:gd name="connsiteY103" fmla="*/ 44457 h 70816"/>
                <a:gd name="connsiteX104" fmla="*/ 73571 w 121962"/>
                <a:gd name="connsiteY104" fmla="*/ 44457 h 70816"/>
                <a:gd name="connsiteX105" fmla="*/ 70424 w 121962"/>
                <a:gd name="connsiteY105" fmla="*/ 46818 h 70816"/>
                <a:gd name="connsiteX106" fmla="*/ 69243 w 121962"/>
                <a:gd name="connsiteY106" fmla="*/ 46031 h 70816"/>
                <a:gd name="connsiteX107" fmla="*/ 67276 w 121962"/>
                <a:gd name="connsiteY107" fmla="*/ 44064 h 70816"/>
                <a:gd name="connsiteX108" fmla="*/ 64129 w 121962"/>
                <a:gd name="connsiteY108" fmla="*/ 43670 h 70816"/>
                <a:gd name="connsiteX109" fmla="*/ 64129 w 121962"/>
                <a:gd name="connsiteY109" fmla="*/ 43670 h 70816"/>
                <a:gd name="connsiteX110" fmla="*/ 52326 w 121962"/>
                <a:gd name="connsiteY110" fmla="*/ 37769 h 70816"/>
                <a:gd name="connsiteX111" fmla="*/ 53506 w 121962"/>
                <a:gd name="connsiteY111" fmla="*/ 35408 h 70816"/>
                <a:gd name="connsiteX112" fmla="*/ 54687 w 121962"/>
                <a:gd name="connsiteY112" fmla="*/ 32654 h 70816"/>
                <a:gd name="connsiteX113" fmla="*/ 57441 w 121962"/>
                <a:gd name="connsiteY113" fmla="*/ 30294 h 70816"/>
                <a:gd name="connsiteX114" fmla="*/ 54687 w 121962"/>
                <a:gd name="connsiteY114" fmla="*/ 28720 h 70816"/>
                <a:gd name="connsiteX115" fmla="*/ 51539 w 121962"/>
                <a:gd name="connsiteY115" fmla="*/ 31081 h 70816"/>
                <a:gd name="connsiteX116" fmla="*/ 51145 w 121962"/>
                <a:gd name="connsiteY116" fmla="*/ 33835 h 70816"/>
                <a:gd name="connsiteX117" fmla="*/ 50753 w 121962"/>
                <a:gd name="connsiteY117" fmla="*/ 36982 h 70816"/>
                <a:gd name="connsiteX118" fmla="*/ 36195 w 121962"/>
                <a:gd name="connsiteY118" fmla="*/ 46818 h 70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</a:cxnLst>
              <a:rect l="l" t="t" r="r" b="b"/>
              <a:pathLst>
                <a:path w="121962" h="70816">
                  <a:moveTo>
                    <a:pt x="35802" y="47211"/>
                  </a:moveTo>
                  <a:lnTo>
                    <a:pt x="33048" y="47605"/>
                  </a:lnTo>
                  <a:lnTo>
                    <a:pt x="29901" y="47998"/>
                  </a:lnTo>
                  <a:lnTo>
                    <a:pt x="27147" y="48785"/>
                  </a:lnTo>
                  <a:lnTo>
                    <a:pt x="23999" y="46031"/>
                  </a:lnTo>
                  <a:lnTo>
                    <a:pt x="21246" y="44851"/>
                  </a:lnTo>
                  <a:lnTo>
                    <a:pt x="18491" y="44851"/>
                  </a:lnTo>
                  <a:lnTo>
                    <a:pt x="15344" y="46424"/>
                  </a:lnTo>
                  <a:lnTo>
                    <a:pt x="12589" y="44851"/>
                  </a:lnTo>
                  <a:lnTo>
                    <a:pt x="9443" y="44851"/>
                  </a:lnTo>
                  <a:lnTo>
                    <a:pt x="6688" y="46424"/>
                  </a:lnTo>
                  <a:lnTo>
                    <a:pt x="3934" y="43670"/>
                  </a:lnTo>
                  <a:lnTo>
                    <a:pt x="1180" y="45638"/>
                  </a:lnTo>
                  <a:lnTo>
                    <a:pt x="0" y="48391"/>
                  </a:lnTo>
                  <a:lnTo>
                    <a:pt x="0" y="51145"/>
                  </a:lnTo>
                  <a:lnTo>
                    <a:pt x="1180" y="53899"/>
                  </a:lnTo>
                  <a:lnTo>
                    <a:pt x="4328" y="55473"/>
                  </a:lnTo>
                  <a:lnTo>
                    <a:pt x="7082" y="57047"/>
                  </a:lnTo>
                  <a:lnTo>
                    <a:pt x="10229" y="57047"/>
                  </a:lnTo>
                  <a:lnTo>
                    <a:pt x="12983" y="59801"/>
                  </a:lnTo>
                  <a:lnTo>
                    <a:pt x="15737" y="60588"/>
                  </a:lnTo>
                  <a:lnTo>
                    <a:pt x="17311" y="62161"/>
                  </a:lnTo>
                  <a:lnTo>
                    <a:pt x="20458" y="64128"/>
                  </a:lnTo>
                  <a:lnTo>
                    <a:pt x="22032" y="67276"/>
                  </a:lnTo>
                  <a:lnTo>
                    <a:pt x="24786" y="65309"/>
                  </a:lnTo>
                  <a:lnTo>
                    <a:pt x="27147" y="64522"/>
                  </a:lnTo>
                  <a:lnTo>
                    <a:pt x="33835" y="66882"/>
                  </a:lnTo>
                  <a:lnTo>
                    <a:pt x="35408" y="69243"/>
                  </a:lnTo>
                  <a:lnTo>
                    <a:pt x="37376" y="71997"/>
                  </a:lnTo>
                  <a:lnTo>
                    <a:pt x="40129" y="72391"/>
                  </a:lnTo>
                  <a:lnTo>
                    <a:pt x="42884" y="71997"/>
                  </a:lnTo>
                  <a:lnTo>
                    <a:pt x="45638" y="71997"/>
                  </a:lnTo>
                  <a:lnTo>
                    <a:pt x="48785" y="71997"/>
                  </a:lnTo>
                  <a:lnTo>
                    <a:pt x="48785" y="73177"/>
                  </a:lnTo>
                  <a:lnTo>
                    <a:pt x="51539" y="72391"/>
                  </a:lnTo>
                  <a:lnTo>
                    <a:pt x="54687" y="71210"/>
                  </a:lnTo>
                  <a:lnTo>
                    <a:pt x="57833" y="71997"/>
                  </a:lnTo>
                  <a:lnTo>
                    <a:pt x="60588" y="71997"/>
                  </a:lnTo>
                  <a:lnTo>
                    <a:pt x="63735" y="70817"/>
                  </a:lnTo>
                  <a:lnTo>
                    <a:pt x="66490" y="68456"/>
                  </a:lnTo>
                  <a:lnTo>
                    <a:pt x="68850" y="67669"/>
                  </a:lnTo>
                  <a:lnTo>
                    <a:pt x="71997" y="67276"/>
                  </a:lnTo>
                  <a:lnTo>
                    <a:pt x="78685" y="63342"/>
                  </a:lnTo>
                  <a:lnTo>
                    <a:pt x="79866" y="63342"/>
                  </a:lnTo>
                  <a:lnTo>
                    <a:pt x="83013" y="61375"/>
                  </a:lnTo>
                  <a:lnTo>
                    <a:pt x="85767" y="60194"/>
                  </a:lnTo>
                  <a:lnTo>
                    <a:pt x="88128" y="57440"/>
                  </a:lnTo>
                  <a:lnTo>
                    <a:pt x="89308" y="57047"/>
                  </a:lnTo>
                  <a:lnTo>
                    <a:pt x="92062" y="55080"/>
                  </a:lnTo>
                  <a:lnTo>
                    <a:pt x="93242" y="51932"/>
                  </a:lnTo>
                  <a:lnTo>
                    <a:pt x="93636" y="49965"/>
                  </a:lnTo>
                  <a:lnTo>
                    <a:pt x="96783" y="46424"/>
                  </a:lnTo>
                  <a:lnTo>
                    <a:pt x="97176" y="46424"/>
                  </a:lnTo>
                  <a:lnTo>
                    <a:pt x="100324" y="46424"/>
                  </a:lnTo>
                  <a:lnTo>
                    <a:pt x="103078" y="46818"/>
                  </a:lnTo>
                  <a:lnTo>
                    <a:pt x="105832" y="47998"/>
                  </a:lnTo>
                  <a:lnTo>
                    <a:pt x="108979" y="46424"/>
                  </a:lnTo>
                  <a:lnTo>
                    <a:pt x="111734" y="44457"/>
                  </a:lnTo>
                  <a:lnTo>
                    <a:pt x="114487" y="41703"/>
                  </a:lnTo>
                  <a:lnTo>
                    <a:pt x="114880" y="38949"/>
                  </a:lnTo>
                  <a:lnTo>
                    <a:pt x="112520" y="35802"/>
                  </a:lnTo>
                  <a:lnTo>
                    <a:pt x="110553" y="32654"/>
                  </a:lnTo>
                  <a:lnTo>
                    <a:pt x="110553" y="29901"/>
                  </a:lnTo>
                  <a:lnTo>
                    <a:pt x="111340" y="27147"/>
                  </a:lnTo>
                  <a:lnTo>
                    <a:pt x="114487" y="27540"/>
                  </a:lnTo>
                  <a:lnTo>
                    <a:pt x="117241" y="27933"/>
                  </a:lnTo>
                  <a:lnTo>
                    <a:pt x="120389" y="26360"/>
                  </a:lnTo>
                  <a:lnTo>
                    <a:pt x="122356" y="23606"/>
                  </a:lnTo>
                  <a:lnTo>
                    <a:pt x="123536" y="20458"/>
                  </a:lnTo>
                  <a:lnTo>
                    <a:pt x="124716" y="17704"/>
                  </a:lnTo>
                  <a:lnTo>
                    <a:pt x="124716" y="14557"/>
                  </a:lnTo>
                  <a:lnTo>
                    <a:pt x="123536" y="11409"/>
                  </a:lnTo>
                  <a:lnTo>
                    <a:pt x="123536" y="11409"/>
                  </a:lnTo>
                  <a:lnTo>
                    <a:pt x="124716" y="8262"/>
                  </a:lnTo>
                  <a:lnTo>
                    <a:pt x="124323" y="5508"/>
                  </a:lnTo>
                  <a:lnTo>
                    <a:pt x="121569" y="5508"/>
                  </a:lnTo>
                  <a:lnTo>
                    <a:pt x="118422" y="2754"/>
                  </a:lnTo>
                  <a:lnTo>
                    <a:pt x="119995" y="0"/>
                  </a:lnTo>
                  <a:lnTo>
                    <a:pt x="117241" y="1180"/>
                  </a:lnTo>
                  <a:lnTo>
                    <a:pt x="114094" y="2361"/>
                  </a:lnTo>
                  <a:lnTo>
                    <a:pt x="112520" y="5508"/>
                  </a:lnTo>
                  <a:lnTo>
                    <a:pt x="109373" y="4328"/>
                  </a:lnTo>
                  <a:lnTo>
                    <a:pt x="107406" y="1180"/>
                  </a:lnTo>
                  <a:lnTo>
                    <a:pt x="104258" y="787"/>
                  </a:lnTo>
                  <a:lnTo>
                    <a:pt x="101504" y="787"/>
                  </a:lnTo>
                  <a:lnTo>
                    <a:pt x="98750" y="3147"/>
                  </a:lnTo>
                  <a:lnTo>
                    <a:pt x="99143" y="5901"/>
                  </a:lnTo>
                  <a:lnTo>
                    <a:pt x="100718" y="9049"/>
                  </a:lnTo>
                  <a:lnTo>
                    <a:pt x="101504" y="11803"/>
                  </a:lnTo>
                  <a:lnTo>
                    <a:pt x="101898" y="14557"/>
                  </a:lnTo>
                  <a:lnTo>
                    <a:pt x="102291" y="17704"/>
                  </a:lnTo>
                  <a:lnTo>
                    <a:pt x="101898" y="20458"/>
                  </a:lnTo>
                  <a:lnTo>
                    <a:pt x="102291" y="23606"/>
                  </a:lnTo>
                  <a:lnTo>
                    <a:pt x="101110" y="26360"/>
                  </a:lnTo>
                  <a:lnTo>
                    <a:pt x="99537" y="26753"/>
                  </a:lnTo>
                  <a:lnTo>
                    <a:pt x="96783" y="26360"/>
                  </a:lnTo>
                  <a:lnTo>
                    <a:pt x="93636" y="25573"/>
                  </a:lnTo>
                  <a:lnTo>
                    <a:pt x="90882" y="27147"/>
                  </a:lnTo>
                  <a:lnTo>
                    <a:pt x="88128" y="29507"/>
                  </a:lnTo>
                  <a:lnTo>
                    <a:pt x="84981" y="32261"/>
                  </a:lnTo>
                  <a:lnTo>
                    <a:pt x="83013" y="35015"/>
                  </a:lnTo>
                  <a:lnTo>
                    <a:pt x="81833" y="37769"/>
                  </a:lnTo>
                  <a:lnTo>
                    <a:pt x="81439" y="39343"/>
                  </a:lnTo>
                  <a:lnTo>
                    <a:pt x="73964" y="44457"/>
                  </a:lnTo>
                  <a:lnTo>
                    <a:pt x="73571" y="44457"/>
                  </a:lnTo>
                  <a:lnTo>
                    <a:pt x="70424" y="46818"/>
                  </a:lnTo>
                  <a:lnTo>
                    <a:pt x="69243" y="46031"/>
                  </a:lnTo>
                  <a:lnTo>
                    <a:pt x="67276" y="44064"/>
                  </a:lnTo>
                  <a:lnTo>
                    <a:pt x="64129" y="43670"/>
                  </a:lnTo>
                  <a:lnTo>
                    <a:pt x="64129" y="43670"/>
                  </a:lnTo>
                  <a:lnTo>
                    <a:pt x="52326" y="37769"/>
                  </a:lnTo>
                  <a:lnTo>
                    <a:pt x="53506" y="35408"/>
                  </a:lnTo>
                  <a:lnTo>
                    <a:pt x="54687" y="32654"/>
                  </a:lnTo>
                  <a:lnTo>
                    <a:pt x="57441" y="30294"/>
                  </a:lnTo>
                  <a:lnTo>
                    <a:pt x="54687" y="28720"/>
                  </a:lnTo>
                  <a:lnTo>
                    <a:pt x="51539" y="31081"/>
                  </a:lnTo>
                  <a:lnTo>
                    <a:pt x="51145" y="33835"/>
                  </a:lnTo>
                  <a:lnTo>
                    <a:pt x="50753" y="36982"/>
                  </a:lnTo>
                  <a:lnTo>
                    <a:pt x="36195" y="4681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72" name="Freeform: Shape 3966">
              <a:extLst>
                <a:ext uri="{FF2B5EF4-FFF2-40B4-BE49-F238E27FC236}">
                  <a16:creationId xmlns:a16="http://schemas.microsoft.com/office/drawing/2014/main" id="{30B800E4-921E-4437-871F-CF15220E521D}"/>
                </a:ext>
              </a:extLst>
            </p:cNvPr>
            <p:cNvSpPr/>
            <p:nvPr/>
          </p:nvSpPr>
          <p:spPr>
            <a:xfrm>
              <a:off x="9981086" y="3737488"/>
              <a:ext cx="574403" cy="350149"/>
            </a:xfrm>
            <a:custGeom>
              <a:avLst/>
              <a:gdLst>
                <a:gd name="connsiteX0" fmla="*/ 439457 w 574402"/>
                <a:gd name="connsiteY0" fmla="*/ 159338 h 350149"/>
                <a:gd name="connsiteX1" fmla="*/ 439457 w 574402"/>
                <a:gd name="connsiteY1" fmla="*/ 156977 h 350149"/>
                <a:gd name="connsiteX2" fmla="*/ 439851 w 574402"/>
                <a:gd name="connsiteY2" fmla="*/ 154223 h 350149"/>
                <a:gd name="connsiteX3" fmla="*/ 437490 w 574402"/>
                <a:gd name="connsiteY3" fmla="*/ 151076 h 350149"/>
                <a:gd name="connsiteX4" fmla="*/ 434736 w 574402"/>
                <a:gd name="connsiteY4" fmla="*/ 148322 h 350149"/>
                <a:gd name="connsiteX5" fmla="*/ 433163 w 574402"/>
                <a:gd name="connsiteY5" fmla="*/ 145568 h 350149"/>
                <a:gd name="connsiteX6" fmla="*/ 431196 w 574402"/>
                <a:gd name="connsiteY6" fmla="*/ 142814 h 350149"/>
                <a:gd name="connsiteX7" fmla="*/ 428835 w 574402"/>
                <a:gd name="connsiteY7" fmla="*/ 139666 h 350149"/>
                <a:gd name="connsiteX8" fmla="*/ 426081 w 574402"/>
                <a:gd name="connsiteY8" fmla="*/ 136912 h 350149"/>
                <a:gd name="connsiteX9" fmla="*/ 423327 w 574402"/>
                <a:gd name="connsiteY9" fmla="*/ 137699 h 350149"/>
                <a:gd name="connsiteX10" fmla="*/ 420180 w 574402"/>
                <a:gd name="connsiteY10" fmla="*/ 136912 h 350149"/>
                <a:gd name="connsiteX11" fmla="*/ 418605 w 574402"/>
                <a:gd name="connsiteY11" fmla="*/ 135732 h 350149"/>
                <a:gd name="connsiteX12" fmla="*/ 422147 w 574402"/>
                <a:gd name="connsiteY12" fmla="*/ 136912 h 350149"/>
                <a:gd name="connsiteX13" fmla="*/ 421360 w 574402"/>
                <a:gd name="connsiteY13" fmla="*/ 136519 h 350149"/>
                <a:gd name="connsiteX14" fmla="*/ 418605 w 574402"/>
                <a:gd name="connsiteY14" fmla="*/ 135732 h 350149"/>
                <a:gd name="connsiteX15" fmla="*/ 417426 w 574402"/>
                <a:gd name="connsiteY15" fmla="*/ 134552 h 350149"/>
                <a:gd name="connsiteX16" fmla="*/ 416245 w 574402"/>
                <a:gd name="connsiteY16" fmla="*/ 131404 h 350149"/>
                <a:gd name="connsiteX17" fmla="*/ 413492 w 574402"/>
                <a:gd name="connsiteY17" fmla="*/ 130224 h 350149"/>
                <a:gd name="connsiteX18" fmla="*/ 412704 w 574402"/>
                <a:gd name="connsiteY18" fmla="*/ 127470 h 350149"/>
                <a:gd name="connsiteX19" fmla="*/ 409950 w 574402"/>
                <a:gd name="connsiteY19" fmla="*/ 125503 h 350149"/>
                <a:gd name="connsiteX20" fmla="*/ 407196 w 574402"/>
                <a:gd name="connsiteY20" fmla="*/ 124716 h 350149"/>
                <a:gd name="connsiteX21" fmla="*/ 404835 w 574402"/>
                <a:gd name="connsiteY21" fmla="*/ 124323 h 350149"/>
                <a:gd name="connsiteX22" fmla="*/ 404049 w 574402"/>
                <a:gd name="connsiteY22" fmla="*/ 119208 h 350149"/>
                <a:gd name="connsiteX23" fmla="*/ 376509 w 574402"/>
                <a:gd name="connsiteY23" fmla="*/ 107405 h 350149"/>
                <a:gd name="connsiteX24" fmla="*/ 375722 w 574402"/>
                <a:gd name="connsiteY24" fmla="*/ 106225 h 350149"/>
                <a:gd name="connsiteX25" fmla="*/ 372575 w 574402"/>
                <a:gd name="connsiteY25" fmla="*/ 104651 h 350149"/>
                <a:gd name="connsiteX26" fmla="*/ 369427 w 574402"/>
                <a:gd name="connsiteY26" fmla="*/ 103864 h 350149"/>
                <a:gd name="connsiteX27" fmla="*/ 367067 w 574402"/>
                <a:gd name="connsiteY27" fmla="*/ 103471 h 350149"/>
                <a:gd name="connsiteX28" fmla="*/ 365100 w 574402"/>
                <a:gd name="connsiteY28" fmla="*/ 102684 h 350149"/>
                <a:gd name="connsiteX29" fmla="*/ 362346 w 574402"/>
                <a:gd name="connsiteY29" fmla="*/ 102291 h 350149"/>
                <a:gd name="connsiteX30" fmla="*/ 361166 w 574402"/>
                <a:gd name="connsiteY30" fmla="*/ 102291 h 350149"/>
                <a:gd name="connsiteX31" fmla="*/ 319856 w 574402"/>
                <a:gd name="connsiteY31" fmla="*/ 85374 h 350149"/>
                <a:gd name="connsiteX32" fmla="*/ 318282 w 574402"/>
                <a:gd name="connsiteY32" fmla="*/ 84587 h 350149"/>
                <a:gd name="connsiteX33" fmla="*/ 315135 w 574402"/>
                <a:gd name="connsiteY33" fmla="*/ 83013 h 350149"/>
                <a:gd name="connsiteX34" fmla="*/ 312380 w 574402"/>
                <a:gd name="connsiteY34" fmla="*/ 81046 h 350149"/>
                <a:gd name="connsiteX35" fmla="*/ 309626 w 574402"/>
                <a:gd name="connsiteY35" fmla="*/ 79865 h 350149"/>
                <a:gd name="connsiteX36" fmla="*/ 306479 w 574402"/>
                <a:gd name="connsiteY36" fmla="*/ 77898 h 350149"/>
                <a:gd name="connsiteX37" fmla="*/ 303725 w 574402"/>
                <a:gd name="connsiteY37" fmla="*/ 77111 h 350149"/>
                <a:gd name="connsiteX38" fmla="*/ 300577 w 574402"/>
                <a:gd name="connsiteY38" fmla="*/ 76325 h 350149"/>
                <a:gd name="connsiteX39" fmla="*/ 299791 w 574402"/>
                <a:gd name="connsiteY39" fmla="*/ 77111 h 350149"/>
                <a:gd name="connsiteX40" fmla="*/ 291529 w 574402"/>
                <a:gd name="connsiteY40" fmla="*/ 74751 h 350149"/>
                <a:gd name="connsiteX41" fmla="*/ 289955 w 574402"/>
                <a:gd name="connsiteY41" fmla="*/ 72390 h 350149"/>
                <a:gd name="connsiteX42" fmla="*/ 286808 w 574402"/>
                <a:gd name="connsiteY42" fmla="*/ 71210 h 350149"/>
                <a:gd name="connsiteX43" fmla="*/ 284054 w 574402"/>
                <a:gd name="connsiteY43" fmla="*/ 70817 h 350149"/>
                <a:gd name="connsiteX44" fmla="*/ 281300 w 574402"/>
                <a:gd name="connsiteY44" fmla="*/ 70030 h 350149"/>
                <a:gd name="connsiteX45" fmla="*/ 278546 w 574402"/>
                <a:gd name="connsiteY45" fmla="*/ 70817 h 350149"/>
                <a:gd name="connsiteX46" fmla="*/ 278152 w 574402"/>
                <a:gd name="connsiteY46" fmla="*/ 70817 h 350149"/>
                <a:gd name="connsiteX47" fmla="*/ 275399 w 574402"/>
                <a:gd name="connsiteY47" fmla="*/ 68850 h 350149"/>
                <a:gd name="connsiteX48" fmla="*/ 272645 w 574402"/>
                <a:gd name="connsiteY48" fmla="*/ 67276 h 350149"/>
                <a:gd name="connsiteX49" fmla="*/ 269497 w 574402"/>
                <a:gd name="connsiteY49" fmla="*/ 68456 h 350149"/>
                <a:gd name="connsiteX50" fmla="*/ 251793 w 574402"/>
                <a:gd name="connsiteY50" fmla="*/ 61768 h 350149"/>
                <a:gd name="connsiteX51" fmla="*/ 251006 w 574402"/>
                <a:gd name="connsiteY51" fmla="*/ 61374 h 350149"/>
                <a:gd name="connsiteX52" fmla="*/ 248252 w 574402"/>
                <a:gd name="connsiteY52" fmla="*/ 60588 h 350149"/>
                <a:gd name="connsiteX53" fmla="*/ 247859 w 574402"/>
                <a:gd name="connsiteY53" fmla="*/ 60194 h 350149"/>
                <a:gd name="connsiteX54" fmla="*/ 245105 w 574402"/>
                <a:gd name="connsiteY54" fmla="*/ 58227 h 350149"/>
                <a:gd name="connsiteX55" fmla="*/ 239203 w 574402"/>
                <a:gd name="connsiteY55" fmla="*/ 55473 h 350149"/>
                <a:gd name="connsiteX56" fmla="*/ 238417 w 574402"/>
                <a:gd name="connsiteY56" fmla="*/ 55080 h 350149"/>
                <a:gd name="connsiteX57" fmla="*/ 233695 w 574402"/>
                <a:gd name="connsiteY57" fmla="*/ 52719 h 350149"/>
                <a:gd name="connsiteX58" fmla="*/ 233302 w 574402"/>
                <a:gd name="connsiteY58" fmla="*/ 52719 h 350149"/>
                <a:gd name="connsiteX59" fmla="*/ 230941 w 574402"/>
                <a:gd name="connsiteY59" fmla="*/ 49572 h 350149"/>
                <a:gd name="connsiteX60" fmla="*/ 227794 w 574402"/>
                <a:gd name="connsiteY60" fmla="*/ 48785 h 350149"/>
                <a:gd name="connsiteX61" fmla="*/ 225040 w 574402"/>
                <a:gd name="connsiteY61" fmla="*/ 47604 h 350149"/>
                <a:gd name="connsiteX62" fmla="*/ 223859 w 574402"/>
                <a:gd name="connsiteY62" fmla="*/ 47211 h 350149"/>
                <a:gd name="connsiteX63" fmla="*/ 207729 w 574402"/>
                <a:gd name="connsiteY63" fmla="*/ 38556 h 350149"/>
                <a:gd name="connsiteX64" fmla="*/ 206943 w 574402"/>
                <a:gd name="connsiteY64" fmla="*/ 38556 h 350149"/>
                <a:gd name="connsiteX65" fmla="*/ 203795 w 574402"/>
                <a:gd name="connsiteY65" fmla="*/ 38949 h 350149"/>
                <a:gd name="connsiteX66" fmla="*/ 201041 w 574402"/>
                <a:gd name="connsiteY66" fmla="*/ 40130 h 350149"/>
                <a:gd name="connsiteX67" fmla="*/ 197894 w 574402"/>
                <a:gd name="connsiteY67" fmla="*/ 41310 h 350149"/>
                <a:gd name="connsiteX68" fmla="*/ 195140 w 574402"/>
                <a:gd name="connsiteY68" fmla="*/ 43277 h 350149"/>
                <a:gd name="connsiteX69" fmla="*/ 192385 w 574402"/>
                <a:gd name="connsiteY69" fmla="*/ 45244 h 350149"/>
                <a:gd name="connsiteX70" fmla="*/ 189631 w 574402"/>
                <a:gd name="connsiteY70" fmla="*/ 46818 h 350149"/>
                <a:gd name="connsiteX71" fmla="*/ 186484 w 574402"/>
                <a:gd name="connsiteY71" fmla="*/ 47998 h 350149"/>
                <a:gd name="connsiteX72" fmla="*/ 183337 w 574402"/>
                <a:gd name="connsiteY72" fmla="*/ 49572 h 350149"/>
                <a:gd name="connsiteX73" fmla="*/ 182943 w 574402"/>
                <a:gd name="connsiteY73" fmla="*/ 52719 h 350149"/>
                <a:gd name="connsiteX74" fmla="*/ 185697 w 574402"/>
                <a:gd name="connsiteY74" fmla="*/ 54686 h 350149"/>
                <a:gd name="connsiteX75" fmla="*/ 171927 w 574402"/>
                <a:gd name="connsiteY75" fmla="*/ 64522 h 350149"/>
                <a:gd name="connsiteX76" fmla="*/ 169960 w 574402"/>
                <a:gd name="connsiteY76" fmla="*/ 64915 h 350149"/>
                <a:gd name="connsiteX77" fmla="*/ 167206 w 574402"/>
                <a:gd name="connsiteY77" fmla="*/ 64522 h 350149"/>
                <a:gd name="connsiteX78" fmla="*/ 164059 w 574402"/>
                <a:gd name="connsiteY78" fmla="*/ 63342 h 350149"/>
                <a:gd name="connsiteX79" fmla="*/ 161305 w 574402"/>
                <a:gd name="connsiteY79" fmla="*/ 64128 h 350149"/>
                <a:gd name="connsiteX80" fmla="*/ 159732 w 574402"/>
                <a:gd name="connsiteY80" fmla="*/ 66882 h 350149"/>
                <a:gd name="connsiteX81" fmla="*/ 158944 w 574402"/>
                <a:gd name="connsiteY81" fmla="*/ 70030 h 350149"/>
                <a:gd name="connsiteX82" fmla="*/ 157764 w 574402"/>
                <a:gd name="connsiteY82" fmla="*/ 72784 h 350149"/>
                <a:gd name="connsiteX83" fmla="*/ 157371 w 574402"/>
                <a:gd name="connsiteY83" fmla="*/ 75144 h 350149"/>
                <a:gd name="connsiteX84" fmla="*/ 151075 w 574402"/>
                <a:gd name="connsiteY84" fmla="*/ 79472 h 350149"/>
                <a:gd name="connsiteX85" fmla="*/ 147929 w 574402"/>
                <a:gd name="connsiteY85" fmla="*/ 82620 h 350149"/>
                <a:gd name="connsiteX86" fmla="*/ 147141 w 574402"/>
                <a:gd name="connsiteY86" fmla="*/ 85374 h 350149"/>
                <a:gd name="connsiteX87" fmla="*/ 146748 w 574402"/>
                <a:gd name="connsiteY87" fmla="*/ 86160 h 350149"/>
                <a:gd name="connsiteX88" fmla="*/ 146748 w 574402"/>
                <a:gd name="connsiteY88" fmla="*/ 86160 h 350149"/>
                <a:gd name="connsiteX89" fmla="*/ 143207 w 574402"/>
                <a:gd name="connsiteY89" fmla="*/ 90881 h 350149"/>
                <a:gd name="connsiteX90" fmla="*/ 140847 w 574402"/>
                <a:gd name="connsiteY90" fmla="*/ 92849 h 350149"/>
                <a:gd name="connsiteX91" fmla="*/ 140060 w 574402"/>
                <a:gd name="connsiteY91" fmla="*/ 95603 h 350149"/>
                <a:gd name="connsiteX92" fmla="*/ 138486 w 574402"/>
                <a:gd name="connsiteY92" fmla="*/ 95996 h 350149"/>
                <a:gd name="connsiteX93" fmla="*/ 135732 w 574402"/>
                <a:gd name="connsiteY93" fmla="*/ 98357 h 350149"/>
                <a:gd name="connsiteX94" fmla="*/ 135732 w 574402"/>
                <a:gd name="connsiteY94" fmla="*/ 98357 h 350149"/>
                <a:gd name="connsiteX95" fmla="*/ 128257 w 574402"/>
                <a:gd name="connsiteY95" fmla="*/ 103471 h 350149"/>
                <a:gd name="connsiteX96" fmla="*/ 113307 w 574402"/>
                <a:gd name="connsiteY96" fmla="*/ 91275 h 350149"/>
                <a:gd name="connsiteX97" fmla="*/ 112520 w 574402"/>
                <a:gd name="connsiteY97" fmla="*/ 88914 h 350149"/>
                <a:gd name="connsiteX98" fmla="*/ 109766 w 574402"/>
                <a:gd name="connsiteY98" fmla="*/ 88521 h 350149"/>
                <a:gd name="connsiteX99" fmla="*/ 108979 w 574402"/>
                <a:gd name="connsiteY99" fmla="*/ 85767 h 350149"/>
                <a:gd name="connsiteX100" fmla="*/ 108586 w 574402"/>
                <a:gd name="connsiteY100" fmla="*/ 83013 h 350149"/>
                <a:gd name="connsiteX101" fmla="*/ 108586 w 574402"/>
                <a:gd name="connsiteY101" fmla="*/ 77111 h 350149"/>
                <a:gd name="connsiteX102" fmla="*/ 108586 w 574402"/>
                <a:gd name="connsiteY102" fmla="*/ 73964 h 350149"/>
                <a:gd name="connsiteX103" fmla="*/ 105438 w 574402"/>
                <a:gd name="connsiteY103" fmla="*/ 72784 h 350149"/>
                <a:gd name="connsiteX104" fmla="*/ 103471 w 574402"/>
                <a:gd name="connsiteY104" fmla="*/ 75931 h 350149"/>
                <a:gd name="connsiteX105" fmla="*/ 103471 w 574402"/>
                <a:gd name="connsiteY105" fmla="*/ 79079 h 350149"/>
                <a:gd name="connsiteX106" fmla="*/ 103864 w 574402"/>
                <a:gd name="connsiteY106" fmla="*/ 81833 h 350149"/>
                <a:gd name="connsiteX107" fmla="*/ 103078 w 574402"/>
                <a:gd name="connsiteY107" fmla="*/ 83406 h 350149"/>
                <a:gd name="connsiteX108" fmla="*/ 101110 w 574402"/>
                <a:gd name="connsiteY108" fmla="*/ 81833 h 350149"/>
                <a:gd name="connsiteX109" fmla="*/ 101110 w 574402"/>
                <a:gd name="connsiteY109" fmla="*/ 81439 h 350149"/>
                <a:gd name="connsiteX110" fmla="*/ 100718 w 574402"/>
                <a:gd name="connsiteY110" fmla="*/ 80652 h 350149"/>
                <a:gd name="connsiteX111" fmla="*/ 92849 w 574402"/>
                <a:gd name="connsiteY111" fmla="*/ 46031 h 350149"/>
                <a:gd name="connsiteX112" fmla="*/ 94422 w 574402"/>
                <a:gd name="connsiteY112" fmla="*/ 43670 h 350149"/>
                <a:gd name="connsiteX113" fmla="*/ 96783 w 574402"/>
                <a:gd name="connsiteY113" fmla="*/ 40523 h 350149"/>
                <a:gd name="connsiteX114" fmla="*/ 97176 w 574402"/>
                <a:gd name="connsiteY114" fmla="*/ 37769 h 350149"/>
                <a:gd name="connsiteX115" fmla="*/ 98357 w 574402"/>
                <a:gd name="connsiteY115" fmla="*/ 34621 h 350149"/>
                <a:gd name="connsiteX116" fmla="*/ 97570 w 574402"/>
                <a:gd name="connsiteY116" fmla="*/ 31867 h 350149"/>
                <a:gd name="connsiteX117" fmla="*/ 95603 w 574402"/>
                <a:gd name="connsiteY117" fmla="*/ 29113 h 350149"/>
                <a:gd name="connsiteX118" fmla="*/ 93636 w 574402"/>
                <a:gd name="connsiteY118" fmla="*/ 26360 h 350149"/>
                <a:gd name="connsiteX119" fmla="*/ 92455 w 574402"/>
                <a:gd name="connsiteY119" fmla="*/ 23212 h 350149"/>
                <a:gd name="connsiteX120" fmla="*/ 92061 w 574402"/>
                <a:gd name="connsiteY120" fmla="*/ 20458 h 350149"/>
                <a:gd name="connsiteX121" fmla="*/ 94422 w 574402"/>
                <a:gd name="connsiteY121" fmla="*/ 17311 h 350149"/>
                <a:gd name="connsiteX122" fmla="*/ 91275 w 574402"/>
                <a:gd name="connsiteY122" fmla="*/ 14950 h 350149"/>
                <a:gd name="connsiteX123" fmla="*/ 88521 w 574402"/>
                <a:gd name="connsiteY123" fmla="*/ 13376 h 350149"/>
                <a:gd name="connsiteX124" fmla="*/ 85767 w 574402"/>
                <a:gd name="connsiteY124" fmla="*/ 13376 h 350149"/>
                <a:gd name="connsiteX125" fmla="*/ 62162 w 574402"/>
                <a:gd name="connsiteY125" fmla="*/ 5114 h 350149"/>
                <a:gd name="connsiteX126" fmla="*/ 59801 w 574402"/>
                <a:gd name="connsiteY126" fmla="*/ 3147 h 350149"/>
                <a:gd name="connsiteX127" fmla="*/ 56653 w 574402"/>
                <a:gd name="connsiteY127" fmla="*/ 3147 h 350149"/>
                <a:gd name="connsiteX128" fmla="*/ 56260 w 574402"/>
                <a:gd name="connsiteY128" fmla="*/ 3147 h 350149"/>
                <a:gd name="connsiteX129" fmla="*/ 53899 w 574402"/>
                <a:gd name="connsiteY129" fmla="*/ 1574 h 350149"/>
                <a:gd name="connsiteX130" fmla="*/ 50752 w 574402"/>
                <a:gd name="connsiteY130" fmla="*/ 787 h 350149"/>
                <a:gd name="connsiteX131" fmla="*/ 47998 w 574402"/>
                <a:gd name="connsiteY131" fmla="*/ 0 h 350149"/>
                <a:gd name="connsiteX132" fmla="*/ 44850 w 574402"/>
                <a:gd name="connsiteY132" fmla="*/ 0 h 350149"/>
                <a:gd name="connsiteX133" fmla="*/ 42883 w 574402"/>
                <a:gd name="connsiteY133" fmla="*/ 0 h 350149"/>
                <a:gd name="connsiteX134" fmla="*/ 41704 w 574402"/>
                <a:gd name="connsiteY134" fmla="*/ 393 h 350149"/>
                <a:gd name="connsiteX135" fmla="*/ 38949 w 574402"/>
                <a:gd name="connsiteY135" fmla="*/ 1180 h 350149"/>
                <a:gd name="connsiteX136" fmla="*/ 35802 w 574402"/>
                <a:gd name="connsiteY136" fmla="*/ 1967 h 350149"/>
                <a:gd name="connsiteX137" fmla="*/ 33047 w 574402"/>
                <a:gd name="connsiteY137" fmla="*/ 3934 h 350149"/>
                <a:gd name="connsiteX138" fmla="*/ 30294 w 574402"/>
                <a:gd name="connsiteY138" fmla="*/ 7082 h 350149"/>
                <a:gd name="connsiteX139" fmla="*/ 27540 w 574402"/>
                <a:gd name="connsiteY139" fmla="*/ 9836 h 350149"/>
                <a:gd name="connsiteX140" fmla="*/ 27146 w 574402"/>
                <a:gd name="connsiteY140" fmla="*/ 10229 h 350149"/>
                <a:gd name="connsiteX141" fmla="*/ 22819 w 574402"/>
                <a:gd name="connsiteY141" fmla="*/ 12983 h 350149"/>
                <a:gd name="connsiteX142" fmla="*/ 21638 w 574402"/>
                <a:gd name="connsiteY142" fmla="*/ 13376 h 350149"/>
                <a:gd name="connsiteX143" fmla="*/ 18491 w 574402"/>
                <a:gd name="connsiteY143" fmla="*/ 13770 h 350149"/>
                <a:gd name="connsiteX144" fmla="*/ 15737 w 574402"/>
                <a:gd name="connsiteY144" fmla="*/ 13376 h 350149"/>
                <a:gd name="connsiteX145" fmla="*/ 12983 w 574402"/>
                <a:gd name="connsiteY145" fmla="*/ 14163 h 350149"/>
                <a:gd name="connsiteX146" fmla="*/ 9836 w 574402"/>
                <a:gd name="connsiteY146" fmla="*/ 15343 h 350149"/>
                <a:gd name="connsiteX147" fmla="*/ 7082 w 574402"/>
                <a:gd name="connsiteY147" fmla="*/ 16130 h 350149"/>
                <a:gd name="connsiteX148" fmla="*/ 8655 w 574402"/>
                <a:gd name="connsiteY148" fmla="*/ 19278 h 350149"/>
                <a:gd name="connsiteX149" fmla="*/ 8262 w 574402"/>
                <a:gd name="connsiteY149" fmla="*/ 22425 h 350149"/>
                <a:gd name="connsiteX150" fmla="*/ 7475 w 574402"/>
                <a:gd name="connsiteY150" fmla="*/ 24392 h 350149"/>
                <a:gd name="connsiteX151" fmla="*/ 6295 w 574402"/>
                <a:gd name="connsiteY151" fmla="*/ 27540 h 350149"/>
                <a:gd name="connsiteX152" fmla="*/ 3540 w 574402"/>
                <a:gd name="connsiteY152" fmla="*/ 30294 h 350149"/>
                <a:gd name="connsiteX153" fmla="*/ 787 w 574402"/>
                <a:gd name="connsiteY153" fmla="*/ 31867 h 350149"/>
                <a:gd name="connsiteX154" fmla="*/ 0 w 574402"/>
                <a:gd name="connsiteY154" fmla="*/ 35015 h 350149"/>
                <a:gd name="connsiteX155" fmla="*/ 787 w 574402"/>
                <a:gd name="connsiteY155" fmla="*/ 37769 h 350149"/>
                <a:gd name="connsiteX156" fmla="*/ 3540 w 574402"/>
                <a:gd name="connsiteY156" fmla="*/ 37769 h 350149"/>
                <a:gd name="connsiteX157" fmla="*/ 6688 w 574402"/>
                <a:gd name="connsiteY157" fmla="*/ 39343 h 350149"/>
                <a:gd name="connsiteX158" fmla="*/ 9442 w 574402"/>
                <a:gd name="connsiteY158" fmla="*/ 38162 h 350149"/>
                <a:gd name="connsiteX159" fmla="*/ 8262 w 574402"/>
                <a:gd name="connsiteY159" fmla="*/ 35408 h 350149"/>
                <a:gd name="connsiteX160" fmla="*/ 11409 w 574402"/>
                <a:gd name="connsiteY160" fmla="*/ 35802 h 350149"/>
                <a:gd name="connsiteX161" fmla="*/ 12589 w 574402"/>
                <a:gd name="connsiteY161" fmla="*/ 38949 h 350149"/>
                <a:gd name="connsiteX162" fmla="*/ 15343 w 574402"/>
                <a:gd name="connsiteY162" fmla="*/ 38556 h 350149"/>
                <a:gd name="connsiteX163" fmla="*/ 18491 w 574402"/>
                <a:gd name="connsiteY163" fmla="*/ 39736 h 350149"/>
                <a:gd name="connsiteX164" fmla="*/ 21245 w 574402"/>
                <a:gd name="connsiteY164" fmla="*/ 41703 h 350149"/>
                <a:gd name="connsiteX165" fmla="*/ 23999 w 574402"/>
                <a:gd name="connsiteY165" fmla="*/ 39343 h 350149"/>
                <a:gd name="connsiteX166" fmla="*/ 23999 w 574402"/>
                <a:gd name="connsiteY166" fmla="*/ 39736 h 350149"/>
                <a:gd name="connsiteX167" fmla="*/ 24786 w 574402"/>
                <a:gd name="connsiteY167" fmla="*/ 42490 h 350149"/>
                <a:gd name="connsiteX168" fmla="*/ 26359 w 574402"/>
                <a:gd name="connsiteY168" fmla="*/ 42097 h 350149"/>
                <a:gd name="connsiteX169" fmla="*/ 27146 w 574402"/>
                <a:gd name="connsiteY169" fmla="*/ 42883 h 350149"/>
                <a:gd name="connsiteX170" fmla="*/ 26753 w 574402"/>
                <a:gd name="connsiteY170" fmla="*/ 44850 h 350149"/>
                <a:gd name="connsiteX171" fmla="*/ 29507 w 574402"/>
                <a:gd name="connsiteY171" fmla="*/ 45637 h 350149"/>
                <a:gd name="connsiteX172" fmla="*/ 29901 w 574402"/>
                <a:gd name="connsiteY172" fmla="*/ 47604 h 350149"/>
                <a:gd name="connsiteX173" fmla="*/ 29507 w 574402"/>
                <a:gd name="connsiteY173" fmla="*/ 47604 h 350149"/>
                <a:gd name="connsiteX174" fmla="*/ 27540 w 574402"/>
                <a:gd name="connsiteY174" fmla="*/ 49965 h 350149"/>
                <a:gd name="connsiteX175" fmla="*/ 27934 w 574402"/>
                <a:gd name="connsiteY175" fmla="*/ 52719 h 350149"/>
                <a:gd name="connsiteX176" fmla="*/ 27934 w 574402"/>
                <a:gd name="connsiteY176" fmla="*/ 53113 h 350149"/>
                <a:gd name="connsiteX177" fmla="*/ 28720 w 574402"/>
                <a:gd name="connsiteY177" fmla="*/ 54293 h 350149"/>
                <a:gd name="connsiteX178" fmla="*/ 29901 w 574402"/>
                <a:gd name="connsiteY178" fmla="*/ 55867 h 350149"/>
                <a:gd name="connsiteX179" fmla="*/ 32655 w 574402"/>
                <a:gd name="connsiteY179" fmla="*/ 56260 h 350149"/>
                <a:gd name="connsiteX180" fmla="*/ 30687 w 574402"/>
                <a:gd name="connsiteY180" fmla="*/ 59014 h 350149"/>
                <a:gd name="connsiteX181" fmla="*/ 33835 w 574402"/>
                <a:gd name="connsiteY181" fmla="*/ 60981 h 350149"/>
                <a:gd name="connsiteX182" fmla="*/ 36589 w 574402"/>
                <a:gd name="connsiteY182" fmla="*/ 62555 h 350149"/>
                <a:gd name="connsiteX183" fmla="*/ 38556 w 574402"/>
                <a:gd name="connsiteY183" fmla="*/ 65309 h 350149"/>
                <a:gd name="connsiteX184" fmla="*/ 41704 w 574402"/>
                <a:gd name="connsiteY184" fmla="*/ 64915 h 350149"/>
                <a:gd name="connsiteX185" fmla="*/ 44457 w 574402"/>
                <a:gd name="connsiteY185" fmla="*/ 63342 h 350149"/>
                <a:gd name="connsiteX186" fmla="*/ 46031 w 574402"/>
                <a:gd name="connsiteY186" fmla="*/ 63342 h 350149"/>
                <a:gd name="connsiteX187" fmla="*/ 48392 w 574402"/>
                <a:gd name="connsiteY187" fmla="*/ 65702 h 350149"/>
                <a:gd name="connsiteX188" fmla="*/ 48784 w 574402"/>
                <a:gd name="connsiteY188" fmla="*/ 65702 h 350149"/>
                <a:gd name="connsiteX189" fmla="*/ 57833 w 574402"/>
                <a:gd name="connsiteY189" fmla="*/ 65702 h 350149"/>
                <a:gd name="connsiteX190" fmla="*/ 72784 w 574402"/>
                <a:gd name="connsiteY190" fmla="*/ 63735 h 350149"/>
                <a:gd name="connsiteX191" fmla="*/ 74357 w 574402"/>
                <a:gd name="connsiteY191" fmla="*/ 64128 h 350149"/>
                <a:gd name="connsiteX192" fmla="*/ 77112 w 574402"/>
                <a:gd name="connsiteY192" fmla="*/ 63342 h 350149"/>
                <a:gd name="connsiteX193" fmla="*/ 82226 w 574402"/>
                <a:gd name="connsiteY193" fmla="*/ 70817 h 350149"/>
                <a:gd name="connsiteX194" fmla="*/ 72390 w 574402"/>
                <a:gd name="connsiteY194" fmla="*/ 74357 h 350149"/>
                <a:gd name="connsiteX195" fmla="*/ 72390 w 574402"/>
                <a:gd name="connsiteY195" fmla="*/ 73571 h 350149"/>
                <a:gd name="connsiteX196" fmla="*/ 71997 w 574402"/>
                <a:gd name="connsiteY196" fmla="*/ 74357 h 350149"/>
                <a:gd name="connsiteX197" fmla="*/ 70030 w 574402"/>
                <a:gd name="connsiteY197" fmla="*/ 75144 h 350149"/>
                <a:gd name="connsiteX198" fmla="*/ 68850 w 574402"/>
                <a:gd name="connsiteY198" fmla="*/ 73177 h 350149"/>
                <a:gd name="connsiteX199" fmla="*/ 66882 w 574402"/>
                <a:gd name="connsiteY199" fmla="*/ 70423 h 350149"/>
                <a:gd name="connsiteX200" fmla="*/ 63735 w 574402"/>
                <a:gd name="connsiteY200" fmla="*/ 70817 h 350149"/>
                <a:gd name="connsiteX201" fmla="*/ 60981 w 574402"/>
                <a:gd name="connsiteY201" fmla="*/ 72390 h 350149"/>
                <a:gd name="connsiteX202" fmla="*/ 58227 w 574402"/>
                <a:gd name="connsiteY202" fmla="*/ 75144 h 350149"/>
                <a:gd name="connsiteX203" fmla="*/ 56260 w 574402"/>
                <a:gd name="connsiteY203" fmla="*/ 77898 h 350149"/>
                <a:gd name="connsiteX204" fmla="*/ 53899 w 574402"/>
                <a:gd name="connsiteY204" fmla="*/ 81046 h 350149"/>
                <a:gd name="connsiteX205" fmla="*/ 52326 w 574402"/>
                <a:gd name="connsiteY205" fmla="*/ 82620 h 350149"/>
                <a:gd name="connsiteX206" fmla="*/ 49178 w 574402"/>
                <a:gd name="connsiteY206" fmla="*/ 83406 h 350149"/>
                <a:gd name="connsiteX207" fmla="*/ 46425 w 574402"/>
                <a:gd name="connsiteY207" fmla="*/ 81046 h 350149"/>
                <a:gd name="connsiteX208" fmla="*/ 43671 w 574402"/>
                <a:gd name="connsiteY208" fmla="*/ 79865 h 350149"/>
                <a:gd name="connsiteX209" fmla="*/ 40523 w 574402"/>
                <a:gd name="connsiteY209" fmla="*/ 79865 h 350149"/>
                <a:gd name="connsiteX210" fmla="*/ 37769 w 574402"/>
                <a:gd name="connsiteY210" fmla="*/ 79472 h 350149"/>
                <a:gd name="connsiteX211" fmla="*/ 34622 w 574402"/>
                <a:gd name="connsiteY211" fmla="*/ 79472 h 350149"/>
                <a:gd name="connsiteX212" fmla="*/ 31868 w 574402"/>
                <a:gd name="connsiteY212" fmla="*/ 81439 h 350149"/>
                <a:gd name="connsiteX213" fmla="*/ 28720 w 574402"/>
                <a:gd name="connsiteY213" fmla="*/ 81833 h 350149"/>
                <a:gd name="connsiteX214" fmla="*/ 28720 w 574402"/>
                <a:gd name="connsiteY214" fmla="*/ 84980 h 350149"/>
                <a:gd name="connsiteX215" fmla="*/ 29901 w 574402"/>
                <a:gd name="connsiteY215" fmla="*/ 87734 h 350149"/>
                <a:gd name="connsiteX216" fmla="*/ 32655 w 574402"/>
                <a:gd name="connsiteY216" fmla="*/ 88521 h 350149"/>
                <a:gd name="connsiteX217" fmla="*/ 35802 w 574402"/>
                <a:gd name="connsiteY217" fmla="*/ 88127 h 350149"/>
                <a:gd name="connsiteX218" fmla="*/ 38949 w 574402"/>
                <a:gd name="connsiteY218" fmla="*/ 89701 h 350149"/>
                <a:gd name="connsiteX219" fmla="*/ 41704 w 574402"/>
                <a:gd name="connsiteY219" fmla="*/ 91275 h 350149"/>
                <a:gd name="connsiteX220" fmla="*/ 44457 w 574402"/>
                <a:gd name="connsiteY220" fmla="*/ 93635 h 350149"/>
                <a:gd name="connsiteX221" fmla="*/ 46031 w 574402"/>
                <a:gd name="connsiteY221" fmla="*/ 96389 h 350149"/>
                <a:gd name="connsiteX222" fmla="*/ 47211 w 574402"/>
                <a:gd name="connsiteY222" fmla="*/ 99143 h 350149"/>
                <a:gd name="connsiteX223" fmla="*/ 49965 w 574402"/>
                <a:gd name="connsiteY223" fmla="*/ 101897 h 350149"/>
                <a:gd name="connsiteX224" fmla="*/ 52719 w 574402"/>
                <a:gd name="connsiteY224" fmla="*/ 101111 h 350149"/>
                <a:gd name="connsiteX225" fmla="*/ 52326 w 574402"/>
                <a:gd name="connsiteY225" fmla="*/ 103864 h 350149"/>
                <a:gd name="connsiteX226" fmla="*/ 54686 w 574402"/>
                <a:gd name="connsiteY226" fmla="*/ 107012 h 350149"/>
                <a:gd name="connsiteX227" fmla="*/ 55474 w 574402"/>
                <a:gd name="connsiteY227" fmla="*/ 109766 h 350149"/>
                <a:gd name="connsiteX228" fmla="*/ 52326 w 574402"/>
                <a:gd name="connsiteY228" fmla="*/ 112127 h 350149"/>
                <a:gd name="connsiteX229" fmla="*/ 49572 w 574402"/>
                <a:gd name="connsiteY229" fmla="*/ 113307 h 350149"/>
                <a:gd name="connsiteX230" fmla="*/ 50752 w 574402"/>
                <a:gd name="connsiteY230" fmla="*/ 116454 h 350149"/>
                <a:gd name="connsiteX231" fmla="*/ 51145 w 574402"/>
                <a:gd name="connsiteY231" fmla="*/ 119601 h 350149"/>
                <a:gd name="connsiteX232" fmla="*/ 50752 w 574402"/>
                <a:gd name="connsiteY232" fmla="*/ 122355 h 350149"/>
                <a:gd name="connsiteX233" fmla="*/ 53113 w 574402"/>
                <a:gd name="connsiteY233" fmla="*/ 125110 h 350149"/>
                <a:gd name="connsiteX234" fmla="*/ 55866 w 574402"/>
                <a:gd name="connsiteY234" fmla="*/ 127864 h 350149"/>
                <a:gd name="connsiteX235" fmla="*/ 58620 w 574402"/>
                <a:gd name="connsiteY235" fmla="*/ 126290 h 350149"/>
                <a:gd name="connsiteX236" fmla="*/ 61768 w 574402"/>
                <a:gd name="connsiteY236" fmla="*/ 126683 h 350149"/>
                <a:gd name="connsiteX237" fmla="*/ 64915 w 574402"/>
                <a:gd name="connsiteY237" fmla="*/ 126683 h 350149"/>
                <a:gd name="connsiteX238" fmla="*/ 67276 w 574402"/>
                <a:gd name="connsiteY238" fmla="*/ 123536 h 350149"/>
                <a:gd name="connsiteX239" fmla="*/ 69243 w 574402"/>
                <a:gd name="connsiteY239" fmla="*/ 120388 h 350149"/>
                <a:gd name="connsiteX240" fmla="*/ 69636 w 574402"/>
                <a:gd name="connsiteY240" fmla="*/ 117634 h 350149"/>
                <a:gd name="connsiteX241" fmla="*/ 69636 w 574402"/>
                <a:gd name="connsiteY241" fmla="*/ 114881 h 350149"/>
                <a:gd name="connsiteX242" fmla="*/ 72390 w 574402"/>
                <a:gd name="connsiteY242" fmla="*/ 112127 h 350149"/>
                <a:gd name="connsiteX243" fmla="*/ 75145 w 574402"/>
                <a:gd name="connsiteY243" fmla="*/ 109372 h 350149"/>
                <a:gd name="connsiteX244" fmla="*/ 75145 w 574402"/>
                <a:gd name="connsiteY244" fmla="*/ 106618 h 350149"/>
                <a:gd name="connsiteX245" fmla="*/ 77505 w 574402"/>
                <a:gd name="connsiteY245" fmla="*/ 107799 h 350149"/>
                <a:gd name="connsiteX246" fmla="*/ 78685 w 574402"/>
                <a:gd name="connsiteY246" fmla="*/ 110553 h 350149"/>
                <a:gd name="connsiteX247" fmla="*/ 79079 w 574402"/>
                <a:gd name="connsiteY247" fmla="*/ 113307 h 350149"/>
                <a:gd name="connsiteX248" fmla="*/ 81833 w 574402"/>
                <a:gd name="connsiteY248" fmla="*/ 113307 h 350149"/>
                <a:gd name="connsiteX249" fmla="*/ 83013 w 574402"/>
                <a:gd name="connsiteY249" fmla="*/ 110553 h 350149"/>
                <a:gd name="connsiteX250" fmla="*/ 83800 w 574402"/>
                <a:gd name="connsiteY250" fmla="*/ 113307 h 350149"/>
                <a:gd name="connsiteX251" fmla="*/ 87340 w 574402"/>
                <a:gd name="connsiteY251" fmla="*/ 119208 h 350149"/>
                <a:gd name="connsiteX252" fmla="*/ 90094 w 574402"/>
                <a:gd name="connsiteY252" fmla="*/ 118421 h 350149"/>
                <a:gd name="connsiteX253" fmla="*/ 93242 w 574402"/>
                <a:gd name="connsiteY253" fmla="*/ 118028 h 350149"/>
                <a:gd name="connsiteX254" fmla="*/ 91275 w 574402"/>
                <a:gd name="connsiteY254" fmla="*/ 120782 h 350149"/>
                <a:gd name="connsiteX255" fmla="*/ 94422 w 574402"/>
                <a:gd name="connsiteY255" fmla="*/ 123536 h 350149"/>
                <a:gd name="connsiteX256" fmla="*/ 97176 w 574402"/>
                <a:gd name="connsiteY256" fmla="*/ 123536 h 350149"/>
                <a:gd name="connsiteX257" fmla="*/ 97963 w 574402"/>
                <a:gd name="connsiteY257" fmla="*/ 120388 h 350149"/>
                <a:gd name="connsiteX258" fmla="*/ 101110 w 574402"/>
                <a:gd name="connsiteY258" fmla="*/ 122355 h 350149"/>
                <a:gd name="connsiteX259" fmla="*/ 102685 w 574402"/>
                <a:gd name="connsiteY259" fmla="*/ 125110 h 350149"/>
                <a:gd name="connsiteX260" fmla="*/ 105438 w 574402"/>
                <a:gd name="connsiteY260" fmla="*/ 124323 h 350149"/>
                <a:gd name="connsiteX261" fmla="*/ 107798 w 574402"/>
                <a:gd name="connsiteY261" fmla="*/ 121569 h 350149"/>
                <a:gd name="connsiteX262" fmla="*/ 109373 w 574402"/>
                <a:gd name="connsiteY262" fmla="*/ 121569 h 350149"/>
                <a:gd name="connsiteX263" fmla="*/ 112127 w 574402"/>
                <a:gd name="connsiteY263" fmla="*/ 122749 h 350149"/>
                <a:gd name="connsiteX264" fmla="*/ 110553 w 574402"/>
                <a:gd name="connsiteY264" fmla="*/ 122355 h 350149"/>
                <a:gd name="connsiteX265" fmla="*/ 107406 w 574402"/>
                <a:gd name="connsiteY265" fmla="*/ 124323 h 350149"/>
                <a:gd name="connsiteX266" fmla="*/ 107012 w 574402"/>
                <a:gd name="connsiteY266" fmla="*/ 127470 h 350149"/>
                <a:gd name="connsiteX267" fmla="*/ 108586 w 574402"/>
                <a:gd name="connsiteY267" fmla="*/ 130224 h 350149"/>
                <a:gd name="connsiteX268" fmla="*/ 111340 w 574402"/>
                <a:gd name="connsiteY268" fmla="*/ 132978 h 350149"/>
                <a:gd name="connsiteX269" fmla="*/ 114487 w 574402"/>
                <a:gd name="connsiteY269" fmla="*/ 134158 h 350149"/>
                <a:gd name="connsiteX270" fmla="*/ 117634 w 574402"/>
                <a:gd name="connsiteY270" fmla="*/ 136519 h 350149"/>
                <a:gd name="connsiteX271" fmla="*/ 120389 w 574402"/>
                <a:gd name="connsiteY271" fmla="*/ 138486 h 350149"/>
                <a:gd name="connsiteX272" fmla="*/ 123143 w 574402"/>
                <a:gd name="connsiteY272" fmla="*/ 140060 h 350149"/>
                <a:gd name="connsiteX273" fmla="*/ 125896 w 574402"/>
                <a:gd name="connsiteY273" fmla="*/ 139666 h 350149"/>
                <a:gd name="connsiteX274" fmla="*/ 129044 w 574402"/>
                <a:gd name="connsiteY274" fmla="*/ 139273 h 350149"/>
                <a:gd name="connsiteX275" fmla="*/ 131798 w 574402"/>
                <a:gd name="connsiteY275" fmla="*/ 139666 h 350149"/>
                <a:gd name="connsiteX276" fmla="*/ 134945 w 574402"/>
                <a:gd name="connsiteY276" fmla="*/ 140453 h 350149"/>
                <a:gd name="connsiteX277" fmla="*/ 167600 w 574402"/>
                <a:gd name="connsiteY277" fmla="*/ 154223 h 350149"/>
                <a:gd name="connsiteX278" fmla="*/ 167993 w 574402"/>
                <a:gd name="connsiteY278" fmla="*/ 154617 h 350149"/>
                <a:gd name="connsiteX279" fmla="*/ 169567 w 574402"/>
                <a:gd name="connsiteY279" fmla="*/ 155010 h 350149"/>
                <a:gd name="connsiteX280" fmla="*/ 171141 w 574402"/>
                <a:gd name="connsiteY280" fmla="*/ 155797 h 350149"/>
                <a:gd name="connsiteX281" fmla="*/ 186091 w 574402"/>
                <a:gd name="connsiteY281" fmla="*/ 160911 h 350149"/>
                <a:gd name="connsiteX282" fmla="*/ 186484 w 574402"/>
                <a:gd name="connsiteY282" fmla="*/ 160911 h 350149"/>
                <a:gd name="connsiteX283" fmla="*/ 189239 w 574402"/>
                <a:gd name="connsiteY283" fmla="*/ 162092 h 350149"/>
                <a:gd name="connsiteX284" fmla="*/ 189631 w 574402"/>
                <a:gd name="connsiteY284" fmla="*/ 162878 h 350149"/>
                <a:gd name="connsiteX285" fmla="*/ 190418 w 574402"/>
                <a:gd name="connsiteY285" fmla="*/ 162485 h 350149"/>
                <a:gd name="connsiteX286" fmla="*/ 192779 w 574402"/>
                <a:gd name="connsiteY286" fmla="*/ 164059 h 350149"/>
                <a:gd name="connsiteX287" fmla="*/ 192779 w 574402"/>
                <a:gd name="connsiteY287" fmla="*/ 165239 h 350149"/>
                <a:gd name="connsiteX288" fmla="*/ 195140 w 574402"/>
                <a:gd name="connsiteY288" fmla="*/ 165632 h 350149"/>
                <a:gd name="connsiteX289" fmla="*/ 197107 w 574402"/>
                <a:gd name="connsiteY289" fmla="*/ 166419 h 350149"/>
                <a:gd name="connsiteX290" fmla="*/ 198680 w 574402"/>
                <a:gd name="connsiteY290" fmla="*/ 167993 h 350149"/>
                <a:gd name="connsiteX291" fmla="*/ 199861 w 574402"/>
                <a:gd name="connsiteY291" fmla="*/ 171140 h 350149"/>
                <a:gd name="connsiteX292" fmla="*/ 202615 w 574402"/>
                <a:gd name="connsiteY292" fmla="*/ 171927 h 350149"/>
                <a:gd name="connsiteX293" fmla="*/ 204976 w 574402"/>
                <a:gd name="connsiteY293" fmla="*/ 175075 h 350149"/>
                <a:gd name="connsiteX294" fmla="*/ 206549 w 574402"/>
                <a:gd name="connsiteY294" fmla="*/ 171927 h 350149"/>
                <a:gd name="connsiteX295" fmla="*/ 206155 w 574402"/>
                <a:gd name="connsiteY295" fmla="*/ 178615 h 350149"/>
                <a:gd name="connsiteX296" fmla="*/ 205762 w 574402"/>
                <a:gd name="connsiteY296" fmla="*/ 179009 h 350149"/>
                <a:gd name="connsiteX297" fmla="*/ 205762 w 574402"/>
                <a:gd name="connsiteY297" fmla="*/ 182156 h 350149"/>
                <a:gd name="connsiteX298" fmla="*/ 206943 w 574402"/>
                <a:gd name="connsiteY298" fmla="*/ 183337 h 350149"/>
                <a:gd name="connsiteX299" fmla="*/ 214811 w 574402"/>
                <a:gd name="connsiteY299" fmla="*/ 181369 h 350149"/>
                <a:gd name="connsiteX300" fmla="*/ 213237 w 574402"/>
                <a:gd name="connsiteY300" fmla="*/ 182156 h 350149"/>
                <a:gd name="connsiteX301" fmla="*/ 210483 w 574402"/>
                <a:gd name="connsiteY301" fmla="*/ 183730 h 350149"/>
                <a:gd name="connsiteX302" fmla="*/ 210089 w 574402"/>
                <a:gd name="connsiteY302" fmla="*/ 186484 h 350149"/>
                <a:gd name="connsiteX303" fmla="*/ 212844 w 574402"/>
                <a:gd name="connsiteY303" fmla="*/ 187271 h 350149"/>
                <a:gd name="connsiteX304" fmla="*/ 215991 w 574402"/>
                <a:gd name="connsiteY304" fmla="*/ 186878 h 350149"/>
                <a:gd name="connsiteX305" fmla="*/ 214417 w 574402"/>
                <a:gd name="connsiteY305" fmla="*/ 187664 h 350149"/>
                <a:gd name="connsiteX306" fmla="*/ 211270 w 574402"/>
                <a:gd name="connsiteY306" fmla="*/ 189238 h 350149"/>
                <a:gd name="connsiteX307" fmla="*/ 212844 w 574402"/>
                <a:gd name="connsiteY307" fmla="*/ 192385 h 350149"/>
                <a:gd name="connsiteX308" fmla="*/ 212844 w 574402"/>
                <a:gd name="connsiteY308" fmla="*/ 193172 h 350149"/>
                <a:gd name="connsiteX309" fmla="*/ 214024 w 574402"/>
                <a:gd name="connsiteY309" fmla="*/ 195926 h 350149"/>
                <a:gd name="connsiteX310" fmla="*/ 214811 w 574402"/>
                <a:gd name="connsiteY310" fmla="*/ 199074 h 350149"/>
                <a:gd name="connsiteX311" fmla="*/ 214811 w 574402"/>
                <a:gd name="connsiteY311" fmla="*/ 201828 h 350149"/>
                <a:gd name="connsiteX312" fmla="*/ 215991 w 574402"/>
                <a:gd name="connsiteY312" fmla="*/ 204582 h 350149"/>
                <a:gd name="connsiteX313" fmla="*/ 217958 w 574402"/>
                <a:gd name="connsiteY313" fmla="*/ 207336 h 350149"/>
                <a:gd name="connsiteX314" fmla="*/ 220713 w 574402"/>
                <a:gd name="connsiteY314" fmla="*/ 210483 h 350149"/>
                <a:gd name="connsiteX315" fmla="*/ 222680 w 574402"/>
                <a:gd name="connsiteY315" fmla="*/ 213630 h 350149"/>
                <a:gd name="connsiteX316" fmla="*/ 225434 w 574402"/>
                <a:gd name="connsiteY316" fmla="*/ 215991 h 350149"/>
                <a:gd name="connsiteX317" fmla="*/ 222680 w 574402"/>
                <a:gd name="connsiteY317" fmla="*/ 217171 h 350149"/>
                <a:gd name="connsiteX318" fmla="*/ 228187 w 574402"/>
                <a:gd name="connsiteY318" fmla="*/ 220712 h 350149"/>
                <a:gd name="connsiteX319" fmla="*/ 230941 w 574402"/>
                <a:gd name="connsiteY319" fmla="*/ 221499 h 350149"/>
                <a:gd name="connsiteX320" fmla="*/ 234089 w 574402"/>
                <a:gd name="connsiteY320" fmla="*/ 224253 h 350149"/>
                <a:gd name="connsiteX321" fmla="*/ 237236 w 574402"/>
                <a:gd name="connsiteY321" fmla="*/ 225827 h 350149"/>
                <a:gd name="connsiteX322" fmla="*/ 236056 w 574402"/>
                <a:gd name="connsiteY322" fmla="*/ 225827 h 350149"/>
                <a:gd name="connsiteX323" fmla="*/ 232908 w 574402"/>
                <a:gd name="connsiteY323" fmla="*/ 224253 h 350149"/>
                <a:gd name="connsiteX324" fmla="*/ 229761 w 574402"/>
                <a:gd name="connsiteY324" fmla="*/ 221499 h 350149"/>
                <a:gd name="connsiteX325" fmla="*/ 227007 w 574402"/>
                <a:gd name="connsiteY325" fmla="*/ 221499 h 350149"/>
                <a:gd name="connsiteX326" fmla="*/ 224253 w 574402"/>
                <a:gd name="connsiteY326" fmla="*/ 222679 h 350149"/>
                <a:gd name="connsiteX327" fmla="*/ 221105 w 574402"/>
                <a:gd name="connsiteY327" fmla="*/ 222286 h 350149"/>
                <a:gd name="connsiteX328" fmla="*/ 218352 w 574402"/>
                <a:gd name="connsiteY328" fmla="*/ 224253 h 350149"/>
                <a:gd name="connsiteX329" fmla="*/ 221105 w 574402"/>
                <a:gd name="connsiteY329" fmla="*/ 227007 h 350149"/>
                <a:gd name="connsiteX330" fmla="*/ 223466 w 574402"/>
                <a:gd name="connsiteY330" fmla="*/ 230154 h 350149"/>
                <a:gd name="connsiteX331" fmla="*/ 226220 w 574402"/>
                <a:gd name="connsiteY331" fmla="*/ 231728 h 350149"/>
                <a:gd name="connsiteX332" fmla="*/ 228974 w 574402"/>
                <a:gd name="connsiteY332" fmla="*/ 231728 h 350149"/>
                <a:gd name="connsiteX333" fmla="*/ 231335 w 574402"/>
                <a:gd name="connsiteY333" fmla="*/ 233302 h 350149"/>
                <a:gd name="connsiteX334" fmla="*/ 229368 w 574402"/>
                <a:gd name="connsiteY334" fmla="*/ 233695 h 350149"/>
                <a:gd name="connsiteX335" fmla="*/ 228974 w 574402"/>
                <a:gd name="connsiteY335" fmla="*/ 233302 h 350149"/>
                <a:gd name="connsiteX336" fmla="*/ 225826 w 574402"/>
                <a:gd name="connsiteY336" fmla="*/ 233302 h 350149"/>
                <a:gd name="connsiteX337" fmla="*/ 223073 w 574402"/>
                <a:gd name="connsiteY337" fmla="*/ 234876 h 350149"/>
                <a:gd name="connsiteX338" fmla="*/ 223859 w 574402"/>
                <a:gd name="connsiteY338" fmla="*/ 235662 h 350149"/>
                <a:gd name="connsiteX339" fmla="*/ 226614 w 574402"/>
                <a:gd name="connsiteY339" fmla="*/ 238023 h 350149"/>
                <a:gd name="connsiteX340" fmla="*/ 227794 w 574402"/>
                <a:gd name="connsiteY340" fmla="*/ 241170 h 350149"/>
                <a:gd name="connsiteX341" fmla="*/ 228974 w 574402"/>
                <a:gd name="connsiteY341" fmla="*/ 243924 h 350149"/>
                <a:gd name="connsiteX342" fmla="*/ 232122 w 574402"/>
                <a:gd name="connsiteY342" fmla="*/ 244711 h 350149"/>
                <a:gd name="connsiteX343" fmla="*/ 231728 w 574402"/>
                <a:gd name="connsiteY343" fmla="*/ 247859 h 350149"/>
                <a:gd name="connsiteX344" fmla="*/ 230548 w 574402"/>
                <a:gd name="connsiteY344" fmla="*/ 250613 h 350149"/>
                <a:gd name="connsiteX345" fmla="*/ 229368 w 574402"/>
                <a:gd name="connsiteY345" fmla="*/ 253366 h 350149"/>
                <a:gd name="connsiteX346" fmla="*/ 227794 w 574402"/>
                <a:gd name="connsiteY346" fmla="*/ 256514 h 350149"/>
                <a:gd name="connsiteX347" fmla="*/ 226220 w 574402"/>
                <a:gd name="connsiteY347" fmla="*/ 259268 h 350149"/>
                <a:gd name="connsiteX348" fmla="*/ 225826 w 574402"/>
                <a:gd name="connsiteY348" fmla="*/ 262022 h 350149"/>
                <a:gd name="connsiteX349" fmla="*/ 223466 w 574402"/>
                <a:gd name="connsiteY349" fmla="*/ 265169 h 350149"/>
                <a:gd name="connsiteX350" fmla="*/ 224647 w 574402"/>
                <a:gd name="connsiteY350" fmla="*/ 268317 h 350149"/>
                <a:gd name="connsiteX351" fmla="*/ 227401 w 574402"/>
                <a:gd name="connsiteY351" fmla="*/ 268317 h 350149"/>
                <a:gd name="connsiteX352" fmla="*/ 230154 w 574402"/>
                <a:gd name="connsiteY352" fmla="*/ 265956 h 350149"/>
                <a:gd name="connsiteX353" fmla="*/ 232908 w 574402"/>
                <a:gd name="connsiteY353" fmla="*/ 264383 h 350149"/>
                <a:gd name="connsiteX354" fmla="*/ 236056 w 574402"/>
                <a:gd name="connsiteY354" fmla="*/ 261629 h 350149"/>
                <a:gd name="connsiteX355" fmla="*/ 235662 w 574402"/>
                <a:gd name="connsiteY355" fmla="*/ 264383 h 350149"/>
                <a:gd name="connsiteX356" fmla="*/ 238023 w 574402"/>
                <a:gd name="connsiteY356" fmla="*/ 267136 h 350149"/>
                <a:gd name="connsiteX357" fmla="*/ 241171 w 574402"/>
                <a:gd name="connsiteY357" fmla="*/ 267136 h 350149"/>
                <a:gd name="connsiteX358" fmla="*/ 244318 w 574402"/>
                <a:gd name="connsiteY358" fmla="*/ 266350 h 350149"/>
                <a:gd name="connsiteX359" fmla="*/ 247072 w 574402"/>
                <a:gd name="connsiteY359" fmla="*/ 264776 h 350149"/>
                <a:gd name="connsiteX360" fmla="*/ 249826 w 574402"/>
                <a:gd name="connsiteY360" fmla="*/ 264383 h 350149"/>
                <a:gd name="connsiteX361" fmla="*/ 252580 w 574402"/>
                <a:gd name="connsiteY361" fmla="*/ 263989 h 350149"/>
                <a:gd name="connsiteX362" fmla="*/ 255333 w 574402"/>
                <a:gd name="connsiteY362" fmla="*/ 264383 h 350149"/>
                <a:gd name="connsiteX363" fmla="*/ 258481 w 574402"/>
                <a:gd name="connsiteY363" fmla="*/ 263202 h 350149"/>
                <a:gd name="connsiteX364" fmla="*/ 259268 w 574402"/>
                <a:gd name="connsiteY364" fmla="*/ 262415 h 350149"/>
                <a:gd name="connsiteX365" fmla="*/ 259268 w 574402"/>
                <a:gd name="connsiteY365" fmla="*/ 262809 h 350149"/>
                <a:gd name="connsiteX366" fmla="*/ 258481 w 574402"/>
                <a:gd name="connsiteY366" fmla="*/ 263202 h 350149"/>
                <a:gd name="connsiteX367" fmla="*/ 258481 w 574402"/>
                <a:gd name="connsiteY367" fmla="*/ 263989 h 350149"/>
                <a:gd name="connsiteX368" fmla="*/ 257694 w 574402"/>
                <a:gd name="connsiteY368" fmla="*/ 264776 h 350149"/>
                <a:gd name="connsiteX369" fmla="*/ 258088 w 574402"/>
                <a:gd name="connsiteY369" fmla="*/ 267530 h 350149"/>
                <a:gd name="connsiteX370" fmla="*/ 258875 w 574402"/>
                <a:gd name="connsiteY370" fmla="*/ 268710 h 350149"/>
                <a:gd name="connsiteX371" fmla="*/ 261629 w 574402"/>
                <a:gd name="connsiteY371" fmla="*/ 271464 h 350149"/>
                <a:gd name="connsiteX372" fmla="*/ 264382 w 574402"/>
                <a:gd name="connsiteY372" fmla="*/ 274218 h 350149"/>
                <a:gd name="connsiteX373" fmla="*/ 265169 w 574402"/>
                <a:gd name="connsiteY373" fmla="*/ 275398 h 350149"/>
                <a:gd name="connsiteX374" fmla="*/ 268317 w 574402"/>
                <a:gd name="connsiteY374" fmla="*/ 277759 h 350149"/>
                <a:gd name="connsiteX375" fmla="*/ 270284 w 574402"/>
                <a:gd name="connsiteY375" fmla="*/ 280120 h 350149"/>
                <a:gd name="connsiteX376" fmla="*/ 272251 w 574402"/>
                <a:gd name="connsiteY376" fmla="*/ 282873 h 350149"/>
                <a:gd name="connsiteX377" fmla="*/ 275399 w 574402"/>
                <a:gd name="connsiteY377" fmla="*/ 288381 h 350149"/>
                <a:gd name="connsiteX378" fmla="*/ 277759 w 574402"/>
                <a:gd name="connsiteY378" fmla="*/ 291529 h 350149"/>
                <a:gd name="connsiteX379" fmla="*/ 280119 w 574402"/>
                <a:gd name="connsiteY379" fmla="*/ 294283 h 350149"/>
                <a:gd name="connsiteX380" fmla="*/ 282873 w 574402"/>
                <a:gd name="connsiteY380" fmla="*/ 297037 h 350149"/>
                <a:gd name="connsiteX381" fmla="*/ 285628 w 574402"/>
                <a:gd name="connsiteY381" fmla="*/ 298610 h 350149"/>
                <a:gd name="connsiteX382" fmla="*/ 285628 w 574402"/>
                <a:gd name="connsiteY382" fmla="*/ 299004 h 350149"/>
                <a:gd name="connsiteX383" fmla="*/ 288382 w 574402"/>
                <a:gd name="connsiteY383" fmla="*/ 301758 h 350149"/>
                <a:gd name="connsiteX384" fmla="*/ 291136 w 574402"/>
                <a:gd name="connsiteY384" fmla="*/ 302151 h 350149"/>
                <a:gd name="connsiteX385" fmla="*/ 293889 w 574402"/>
                <a:gd name="connsiteY385" fmla="*/ 300184 h 350149"/>
                <a:gd name="connsiteX386" fmla="*/ 295070 w 574402"/>
                <a:gd name="connsiteY386" fmla="*/ 299791 h 350149"/>
                <a:gd name="connsiteX387" fmla="*/ 298217 w 574402"/>
                <a:gd name="connsiteY387" fmla="*/ 300184 h 350149"/>
                <a:gd name="connsiteX388" fmla="*/ 299791 w 574402"/>
                <a:gd name="connsiteY388" fmla="*/ 300971 h 350149"/>
                <a:gd name="connsiteX389" fmla="*/ 302938 w 574402"/>
                <a:gd name="connsiteY389" fmla="*/ 301758 h 350149"/>
                <a:gd name="connsiteX390" fmla="*/ 305692 w 574402"/>
                <a:gd name="connsiteY390" fmla="*/ 302151 h 350149"/>
                <a:gd name="connsiteX391" fmla="*/ 308446 w 574402"/>
                <a:gd name="connsiteY391" fmla="*/ 301364 h 350149"/>
                <a:gd name="connsiteX392" fmla="*/ 311201 w 574402"/>
                <a:gd name="connsiteY392" fmla="*/ 302151 h 350149"/>
                <a:gd name="connsiteX393" fmla="*/ 313955 w 574402"/>
                <a:gd name="connsiteY393" fmla="*/ 301364 h 350149"/>
                <a:gd name="connsiteX394" fmla="*/ 317102 w 574402"/>
                <a:gd name="connsiteY394" fmla="*/ 300971 h 350149"/>
                <a:gd name="connsiteX395" fmla="*/ 319856 w 574402"/>
                <a:gd name="connsiteY395" fmla="*/ 300578 h 350149"/>
                <a:gd name="connsiteX396" fmla="*/ 321823 w 574402"/>
                <a:gd name="connsiteY396" fmla="*/ 300184 h 350149"/>
                <a:gd name="connsiteX397" fmla="*/ 324183 w 574402"/>
                <a:gd name="connsiteY397" fmla="*/ 301364 h 350149"/>
                <a:gd name="connsiteX398" fmla="*/ 324183 w 574402"/>
                <a:gd name="connsiteY398" fmla="*/ 302151 h 350149"/>
                <a:gd name="connsiteX399" fmla="*/ 324577 w 574402"/>
                <a:gd name="connsiteY399" fmla="*/ 302151 h 350149"/>
                <a:gd name="connsiteX400" fmla="*/ 324577 w 574402"/>
                <a:gd name="connsiteY400" fmla="*/ 302545 h 350149"/>
                <a:gd name="connsiteX401" fmla="*/ 324971 w 574402"/>
                <a:gd name="connsiteY401" fmla="*/ 302545 h 350149"/>
                <a:gd name="connsiteX402" fmla="*/ 324971 w 574402"/>
                <a:gd name="connsiteY402" fmla="*/ 302938 h 350149"/>
                <a:gd name="connsiteX403" fmla="*/ 325363 w 574402"/>
                <a:gd name="connsiteY403" fmla="*/ 302938 h 350149"/>
                <a:gd name="connsiteX404" fmla="*/ 325363 w 574402"/>
                <a:gd name="connsiteY404" fmla="*/ 303332 h 350149"/>
                <a:gd name="connsiteX405" fmla="*/ 325363 w 574402"/>
                <a:gd name="connsiteY405" fmla="*/ 303332 h 350149"/>
                <a:gd name="connsiteX406" fmla="*/ 325363 w 574402"/>
                <a:gd name="connsiteY406" fmla="*/ 303725 h 350149"/>
                <a:gd name="connsiteX407" fmla="*/ 326150 w 574402"/>
                <a:gd name="connsiteY407" fmla="*/ 303725 h 350149"/>
                <a:gd name="connsiteX408" fmla="*/ 326150 w 574402"/>
                <a:gd name="connsiteY408" fmla="*/ 303725 h 350149"/>
                <a:gd name="connsiteX409" fmla="*/ 327724 w 574402"/>
                <a:gd name="connsiteY409" fmla="*/ 303725 h 350149"/>
                <a:gd name="connsiteX410" fmla="*/ 327724 w 574402"/>
                <a:gd name="connsiteY410" fmla="*/ 303725 h 350149"/>
                <a:gd name="connsiteX411" fmla="*/ 328117 w 574402"/>
                <a:gd name="connsiteY411" fmla="*/ 303725 h 350149"/>
                <a:gd name="connsiteX412" fmla="*/ 328117 w 574402"/>
                <a:gd name="connsiteY412" fmla="*/ 303332 h 350149"/>
                <a:gd name="connsiteX413" fmla="*/ 332839 w 574402"/>
                <a:gd name="connsiteY413" fmla="*/ 305692 h 350149"/>
                <a:gd name="connsiteX414" fmla="*/ 334019 w 574402"/>
                <a:gd name="connsiteY414" fmla="*/ 305692 h 350149"/>
                <a:gd name="connsiteX415" fmla="*/ 336773 w 574402"/>
                <a:gd name="connsiteY415" fmla="*/ 304119 h 350149"/>
                <a:gd name="connsiteX416" fmla="*/ 339920 w 574402"/>
                <a:gd name="connsiteY416" fmla="*/ 302545 h 350149"/>
                <a:gd name="connsiteX417" fmla="*/ 342675 w 574402"/>
                <a:gd name="connsiteY417" fmla="*/ 300971 h 350149"/>
                <a:gd name="connsiteX418" fmla="*/ 345429 w 574402"/>
                <a:gd name="connsiteY418" fmla="*/ 298610 h 350149"/>
                <a:gd name="connsiteX419" fmla="*/ 348576 w 574402"/>
                <a:gd name="connsiteY419" fmla="*/ 297430 h 350149"/>
                <a:gd name="connsiteX420" fmla="*/ 351330 w 574402"/>
                <a:gd name="connsiteY420" fmla="*/ 295857 h 350149"/>
                <a:gd name="connsiteX421" fmla="*/ 354478 w 574402"/>
                <a:gd name="connsiteY421" fmla="*/ 295070 h 350149"/>
                <a:gd name="connsiteX422" fmla="*/ 355264 w 574402"/>
                <a:gd name="connsiteY422" fmla="*/ 294676 h 350149"/>
                <a:gd name="connsiteX423" fmla="*/ 355657 w 574402"/>
                <a:gd name="connsiteY423" fmla="*/ 294676 h 350149"/>
                <a:gd name="connsiteX424" fmla="*/ 355657 w 574402"/>
                <a:gd name="connsiteY424" fmla="*/ 295070 h 350149"/>
                <a:gd name="connsiteX425" fmla="*/ 355657 w 574402"/>
                <a:gd name="connsiteY425" fmla="*/ 295070 h 350149"/>
                <a:gd name="connsiteX426" fmla="*/ 355657 w 574402"/>
                <a:gd name="connsiteY426" fmla="*/ 295463 h 350149"/>
                <a:gd name="connsiteX427" fmla="*/ 356051 w 574402"/>
                <a:gd name="connsiteY427" fmla="*/ 295463 h 350149"/>
                <a:gd name="connsiteX428" fmla="*/ 356051 w 574402"/>
                <a:gd name="connsiteY428" fmla="*/ 295463 h 350149"/>
                <a:gd name="connsiteX429" fmla="*/ 356445 w 574402"/>
                <a:gd name="connsiteY429" fmla="*/ 295463 h 350149"/>
                <a:gd name="connsiteX430" fmla="*/ 356445 w 574402"/>
                <a:gd name="connsiteY430" fmla="*/ 295857 h 350149"/>
                <a:gd name="connsiteX431" fmla="*/ 358412 w 574402"/>
                <a:gd name="connsiteY431" fmla="*/ 295857 h 350149"/>
                <a:gd name="connsiteX432" fmla="*/ 358412 w 574402"/>
                <a:gd name="connsiteY432" fmla="*/ 295463 h 350149"/>
                <a:gd name="connsiteX433" fmla="*/ 358805 w 574402"/>
                <a:gd name="connsiteY433" fmla="*/ 295463 h 350149"/>
                <a:gd name="connsiteX434" fmla="*/ 358805 w 574402"/>
                <a:gd name="connsiteY434" fmla="*/ 295463 h 350149"/>
                <a:gd name="connsiteX435" fmla="*/ 359199 w 574402"/>
                <a:gd name="connsiteY435" fmla="*/ 295463 h 350149"/>
                <a:gd name="connsiteX436" fmla="*/ 359591 w 574402"/>
                <a:gd name="connsiteY436" fmla="*/ 295070 h 350149"/>
                <a:gd name="connsiteX437" fmla="*/ 359591 w 574402"/>
                <a:gd name="connsiteY437" fmla="*/ 294676 h 350149"/>
                <a:gd name="connsiteX438" fmla="*/ 359591 w 574402"/>
                <a:gd name="connsiteY438" fmla="*/ 294676 h 350149"/>
                <a:gd name="connsiteX439" fmla="*/ 359591 w 574402"/>
                <a:gd name="connsiteY439" fmla="*/ 294283 h 350149"/>
                <a:gd name="connsiteX440" fmla="*/ 359985 w 574402"/>
                <a:gd name="connsiteY440" fmla="*/ 294283 h 350149"/>
                <a:gd name="connsiteX441" fmla="*/ 359985 w 574402"/>
                <a:gd name="connsiteY441" fmla="*/ 293496 h 350149"/>
                <a:gd name="connsiteX442" fmla="*/ 359985 w 574402"/>
                <a:gd name="connsiteY442" fmla="*/ 292709 h 350149"/>
                <a:gd name="connsiteX443" fmla="*/ 359591 w 574402"/>
                <a:gd name="connsiteY443" fmla="*/ 292709 h 350149"/>
                <a:gd name="connsiteX444" fmla="*/ 359591 w 574402"/>
                <a:gd name="connsiteY444" fmla="*/ 291922 h 350149"/>
                <a:gd name="connsiteX445" fmla="*/ 359591 w 574402"/>
                <a:gd name="connsiteY445" fmla="*/ 291922 h 350149"/>
                <a:gd name="connsiteX446" fmla="*/ 359591 w 574402"/>
                <a:gd name="connsiteY446" fmla="*/ 291529 h 350149"/>
                <a:gd name="connsiteX447" fmla="*/ 359199 w 574402"/>
                <a:gd name="connsiteY447" fmla="*/ 291529 h 350149"/>
                <a:gd name="connsiteX448" fmla="*/ 359199 w 574402"/>
                <a:gd name="connsiteY448" fmla="*/ 291529 h 350149"/>
                <a:gd name="connsiteX449" fmla="*/ 358805 w 574402"/>
                <a:gd name="connsiteY449" fmla="*/ 291529 h 350149"/>
                <a:gd name="connsiteX450" fmla="*/ 358805 w 574402"/>
                <a:gd name="connsiteY450" fmla="*/ 291135 h 350149"/>
                <a:gd name="connsiteX451" fmla="*/ 358412 w 574402"/>
                <a:gd name="connsiteY451" fmla="*/ 291135 h 350149"/>
                <a:gd name="connsiteX452" fmla="*/ 358412 w 574402"/>
                <a:gd name="connsiteY452" fmla="*/ 290742 h 350149"/>
                <a:gd name="connsiteX453" fmla="*/ 358018 w 574402"/>
                <a:gd name="connsiteY453" fmla="*/ 290742 h 350149"/>
                <a:gd name="connsiteX454" fmla="*/ 358412 w 574402"/>
                <a:gd name="connsiteY454" fmla="*/ 288381 h 350149"/>
                <a:gd name="connsiteX455" fmla="*/ 357624 w 574402"/>
                <a:gd name="connsiteY455" fmla="*/ 285234 h 350149"/>
                <a:gd name="connsiteX456" fmla="*/ 356445 w 574402"/>
                <a:gd name="connsiteY456" fmla="*/ 283267 h 350149"/>
                <a:gd name="connsiteX457" fmla="*/ 354478 w 574402"/>
                <a:gd name="connsiteY457" fmla="*/ 280513 h 350149"/>
                <a:gd name="connsiteX458" fmla="*/ 351723 w 574402"/>
                <a:gd name="connsiteY458" fmla="*/ 277759 h 350149"/>
                <a:gd name="connsiteX459" fmla="*/ 348969 w 574402"/>
                <a:gd name="connsiteY459" fmla="*/ 275792 h 350149"/>
                <a:gd name="connsiteX460" fmla="*/ 346215 w 574402"/>
                <a:gd name="connsiteY460" fmla="*/ 275398 h 350149"/>
                <a:gd name="connsiteX461" fmla="*/ 343461 w 574402"/>
                <a:gd name="connsiteY461" fmla="*/ 273431 h 350149"/>
                <a:gd name="connsiteX462" fmla="*/ 340314 w 574402"/>
                <a:gd name="connsiteY462" fmla="*/ 271464 h 350149"/>
                <a:gd name="connsiteX463" fmla="*/ 337166 w 574402"/>
                <a:gd name="connsiteY463" fmla="*/ 271071 h 350149"/>
                <a:gd name="connsiteX464" fmla="*/ 334412 w 574402"/>
                <a:gd name="connsiteY464" fmla="*/ 272251 h 350149"/>
                <a:gd name="connsiteX465" fmla="*/ 332445 w 574402"/>
                <a:gd name="connsiteY465" fmla="*/ 273038 h 350149"/>
                <a:gd name="connsiteX466" fmla="*/ 330478 w 574402"/>
                <a:gd name="connsiteY466" fmla="*/ 272251 h 350149"/>
                <a:gd name="connsiteX467" fmla="*/ 329298 w 574402"/>
                <a:gd name="connsiteY467" fmla="*/ 270284 h 350149"/>
                <a:gd name="connsiteX468" fmla="*/ 329298 w 574402"/>
                <a:gd name="connsiteY468" fmla="*/ 269103 h 350149"/>
                <a:gd name="connsiteX469" fmla="*/ 329692 w 574402"/>
                <a:gd name="connsiteY469" fmla="*/ 269103 h 350149"/>
                <a:gd name="connsiteX470" fmla="*/ 330872 w 574402"/>
                <a:gd name="connsiteY470" fmla="*/ 271858 h 350149"/>
                <a:gd name="connsiteX471" fmla="*/ 334019 w 574402"/>
                <a:gd name="connsiteY471" fmla="*/ 271464 h 350149"/>
                <a:gd name="connsiteX472" fmla="*/ 336773 w 574402"/>
                <a:gd name="connsiteY472" fmla="*/ 270284 h 350149"/>
                <a:gd name="connsiteX473" fmla="*/ 338741 w 574402"/>
                <a:gd name="connsiteY473" fmla="*/ 269890 h 350149"/>
                <a:gd name="connsiteX474" fmla="*/ 341887 w 574402"/>
                <a:gd name="connsiteY474" fmla="*/ 269890 h 350149"/>
                <a:gd name="connsiteX475" fmla="*/ 342675 w 574402"/>
                <a:gd name="connsiteY475" fmla="*/ 270284 h 350149"/>
                <a:gd name="connsiteX476" fmla="*/ 345429 w 574402"/>
                <a:gd name="connsiteY476" fmla="*/ 271464 h 350149"/>
                <a:gd name="connsiteX477" fmla="*/ 348576 w 574402"/>
                <a:gd name="connsiteY477" fmla="*/ 271464 h 350149"/>
                <a:gd name="connsiteX478" fmla="*/ 351330 w 574402"/>
                <a:gd name="connsiteY478" fmla="*/ 270677 h 350149"/>
                <a:gd name="connsiteX479" fmla="*/ 354478 w 574402"/>
                <a:gd name="connsiteY479" fmla="*/ 270284 h 350149"/>
                <a:gd name="connsiteX480" fmla="*/ 357231 w 574402"/>
                <a:gd name="connsiteY480" fmla="*/ 269497 h 350149"/>
                <a:gd name="connsiteX481" fmla="*/ 359985 w 574402"/>
                <a:gd name="connsiteY481" fmla="*/ 269103 h 350149"/>
                <a:gd name="connsiteX482" fmla="*/ 363133 w 574402"/>
                <a:gd name="connsiteY482" fmla="*/ 268710 h 350149"/>
                <a:gd name="connsiteX483" fmla="*/ 365887 w 574402"/>
                <a:gd name="connsiteY483" fmla="*/ 268710 h 350149"/>
                <a:gd name="connsiteX484" fmla="*/ 366673 w 574402"/>
                <a:gd name="connsiteY484" fmla="*/ 265956 h 350149"/>
                <a:gd name="connsiteX485" fmla="*/ 365887 w 574402"/>
                <a:gd name="connsiteY485" fmla="*/ 265169 h 350149"/>
                <a:gd name="connsiteX486" fmla="*/ 365100 w 574402"/>
                <a:gd name="connsiteY486" fmla="*/ 262022 h 350149"/>
                <a:gd name="connsiteX487" fmla="*/ 362346 w 574402"/>
                <a:gd name="connsiteY487" fmla="*/ 260055 h 350149"/>
                <a:gd name="connsiteX488" fmla="*/ 360379 w 574402"/>
                <a:gd name="connsiteY488" fmla="*/ 258088 h 350149"/>
                <a:gd name="connsiteX489" fmla="*/ 359591 w 574402"/>
                <a:gd name="connsiteY489" fmla="*/ 257694 h 350149"/>
                <a:gd name="connsiteX490" fmla="*/ 359591 w 574402"/>
                <a:gd name="connsiteY490" fmla="*/ 256907 h 350149"/>
                <a:gd name="connsiteX491" fmla="*/ 362346 w 574402"/>
                <a:gd name="connsiteY491" fmla="*/ 258088 h 350149"/>
                <a:gd name="connsiteX492" fmla="*/ 365493 w 574402"/>
                <a:gd name="connsiteY492" fmla="*/ 260842 h 350149"/>
                <a:gd name="connsiteX493" fmla="*/ 368248 w 574402"/>
                <a:gd name="connsiteY493" fmla="*/ 260055 h 350149"/>
                <a:gd name="connsiteX494" fmla="*/ 371394 w 574402"/>
                <a:gd name="connsiteY494" fmla="*/ 262022 h 350149"/>
                <a:gd name="connsiteX495" fmla="*/ 374149 w 574402"/>
                <a:gd name="connsiteY495" fmla="*/ 262022 h 350149"/>
                <a:gd name="connsiteX496" fmla="*/ 373755 w 574402"/>
                <a:gd name="connsiteY496" fmla="*/ 259661 h 350149"/>
                <a:gd name="connsiteX497" fmla="*/ 376116 w 574402"/>
                <a:gd name="connsiteY497" fmla="*/ 260055 h 350149"/>
                <a:gd name="connsiteX498" fmla="*/ 376509 w 574402"/>
                <a:gd name="connsiteY498" fmla="*/ 260055 h 350149"/>
                <a:gd name="connsiteX499" fmla="*/ 376903 w 574402"/>
                <a:gd name="connsiteY499" fmla="*/ 260055 h 350149"/>
                <a:gd name="connsiteX500" fmla="*/ 376509 w 574402"/>
                <a:gd name="connsiteY500" fmla="*/ 257301 h 350149"/>
                <a:gd name="connsiteX501" fmla="*/ 374936 w 574402"/>
                <a:gd name="connsiteY501" fmla="*/ 254547 h 350149"/>
                <a:gd name="connsiteX502" fmla="*/ 374542 w 574402"/>
                <a:gd name="connsiteY502" fmla="*/ 251399 h 350149"/>
                <a:gd name="connsiteX503" fmla="*/ 373361 w 574402"/>
                <a:gd name="connsiteY503" fmla="*/ 248645 h 350149"/>
                <a:gd name="connsiteX504" fmla="*/ 372182 w 574402"/>
                <a:gd name="connsiteY504" fmla="*/ 245891 h 350149"/>
                <a:gd name="connsiteX505" fmla="*/ 370608 w 574402"/>
                <a:gd name="connsiteY505" fmla="*/ 243531 h 350149"/>
                <a:gd name="connsiteX506" fmla="*/ 369821 w 574402"/>
                <a:gd name="connsiteY506" fmla="*/ 242351 h 350149"/>
                <a:gd name="connsiteX507" fmla="*/ 373361 w 574402"/>
                <a:gd name="connsiteY507" fmla="*/ 244711 h 350149"/>
                <a:gd name="connsiteX508" fmla="*/ 373755 w 574402"/>
                <a:gd name="connsiteY508" fmla="*/ 246285 h 350149"/>
                <a:gd name="connsiteX509" fmla="*/ 376116 w 574402"/>
                <a:gd name="connsiteY509" fmla="*/ 249432 h 350149"/>
                <a:gd name="connsiteX510" fmla="*/ 378870 w 574402"/>
                <a:gd name="connsiteY510" fmla="*/ 250613 h 350149"/>
                <a:gd name="connsiteX511" fmla="*/ 381624 w 574402"/>
                <a:gd name="connsiteY511" fmla="*/ 251793 h 350149"/>
                <a:gd name="connsiteX512" fmla="*/ 384771 w 574402"/>
                <a:gd name="connsiteY512" fmla="*/ 252580 h 350149"/>
                <a:gd name="connsiteX513" fmla="*/ 386738 w 574402"/>
                <a:gd name="connsiteY513" fmla="*/ 251006 h 350149"/>
                <a:gd name="connsiteX514" fmla="*/ 387525 w 574402"/>
                <a:gd name="connsiteY514" fmla="*/ 248252 h 350149"/>
                <a:gd name="connsiteX515" fmla="*/ 389886 w 574402"/>
                <a:gd name="connsiteY515" fmla="*/ 249432 h 350149"/>
                <a:gd name="connsiteX516" fmla="*/ 393033 w 574402"/>
                <a:gd name="connsiteY516" fmla="*/ 252186 h 350149"/>
                <a:gd name="connsiteX517" fmla="*/ 392246 w 574402"/>
                <a:gd name="connsiteY517" fmla="*/ 246678 h 350149"/>
                <a:gd name="connsiteX518" fmla="*/ 392246 w 574402"/>
                <a:gd name="connsiteY518" fmla="*/ 243924 h 350149"/>
                <a:gd name="connsiteX519" fmla="*/ 393820 w 574402"/>
                <a:gd name="connsiteY519" fmla="*/ 247072 h 350149"/>
                <a:gd name="connsiteX520" fmla="*/ 395000 w 574402"/>
                <a:gd name="connsiteY520" fmla="*/ 243924 h 350149"/>
                <a:gd name="connsiteX521" fmla="*/ 395787 w 574402"/>
                <a:gd name="connsiteY521" fmla="*/ 243924 h 350149"/>
                <a:gd name="connsiteX522" fmla="*/ 396180 w 574402"/>
                <a:gd name="connsiteY522" fmla="*/ 247072 h 350149"/>
                <a:gd name="connsiteX523" fmla="*/ 398934 w 574402"/>
                <a:gd name="connsiteY523" fmla="*/ 248645 h 350149"/>
                <a:gd name="connsiteX524" fmla="*/ 399328 w 574402"/>
                <a:gd name="connsiteY524" fmla="*/ 245891 h 350149"/>
                <a:gd name="connsiteX525" fmla="*/ 399722 w 574402"/>
                <a:gd name="connsiteY525" fmla="*/ 245891 h 350149"/>
                <a:gd name="connsiteX526" fmla="*/ 402082 w 574402"/>
                <a:gd name="connsiteY526" fmla="*/ 249039 h 350149"/>
                <a:gd name="connsiteX527" fmla="*/ 404835 w 574402"/>
                <a:gd name="connsiteY527" fmla="*/ 248645 h 350149"/>
                <a:gd name="connsiteX528" fmla="*/ 405229 w 574402"/>
                <a:gd name="connsiteY528" fmla="*/ 245891 h 350149"/>
                <a:gd name="connsiteX529" fmla="*/ 405623 w 574402"/>
                <a:gd name="connsiteY529" fmla="*/ 249039 h 350149"/>
                <a:gd name="connsiteX530" fmla="*/ 404443 w 574402"/>
                <a:gd name="connsiteY530" fmla="*/ 251793 h 350149"/>
                <a:gd name="connsiteX531" fmla="*/ 407590 w 574402"/>
                <a:gd name="connsiteY531" fmla="*/ 253366 h 350149"/>
                <a:gd name="connsiteX532" fmla="*/ 409557 w 574402"/>
                <a:gd name="connsiteY532" fmla="*/ 254153 h 350149"/>
                <a:gd name="connsiteX533" fmla="*/ 412311 w 574402"/>
                <a:gd name="connsiteY533" fmla="*/ 254547 h 350149"/>
                <a:gd name="connsiteX534" fmla="*/ 414278 w 574402"/>
                <a:gd name="connsiteY534" fmla="*/ 254153 h 350149"/>
                <a:gd name="connsiteX535" fmla="*/ 445359 w 574402"/>
                <a:gd name="connsiteY535" fmla="*/ 273038 h 350149"/>
                <a:gd name="connsiteX536" fmla="*/ 445752 w 574402"/>
                <a:gd name="connsiteY536" fmla="*/ 276185 h 350149"/>
                <a:gd name="connsiteX537" fmla="*/ 447326 w 574402"/>
                <a:gd name="connsiteY537" fmla="*/ 278939 h 350149"/>
                <a:gd name="connsiteX538" fmla="*/ 448506 w 574402"/>
                <a:gd name="connsiteY538" fmla="*/ 280513 h 350149"/>
                <a:gd name="connsiteX539" fmla="*/ 450867 w 574402"/>
                <a:gd name="connsiteY539" fmla="*/ 283267 h 350149"/>
                <a:gd name="connsiteX540" fmla="*/ 451654 w 574402"/>
                <a:gd name="connsiteY540" fmla="*/ 286414 h 350149"/>
                <a:gd name="connsiteX541" fmla="*/ 454014 w 574402"/>
                <a:gd name="connsiteY541" fmla="*/ 289562 h 350149"/>
                <a:gd name="connsiteX542" fmla="*/ 452440 w 574402"/>
                <a:gd name="connsiteY542" fmla="*/ 292316 h 350149"/>
                <a:gd name="connsiteX543" fmla="*/ 454014 w 574402"/>
                <a:gd name="connsiteY543" fmla="*/ 295070 h 350149"/>
                <a:gd name="connsiteX544" fmla="*/ 457161 w 574402"/>
                <a:gd name="connsiteY544" fmla="*/ 296250 h 350149"/>
                <a:gd name="connsiteX545" fmla="*/ 459915 w 574402"/>
                <a:gd name="connsiteY545" fmla="*/ 297430 h 350149"/>
                <a:gd name="connsiteX546" fmla="*/ 462670 w 574402"/>
                <a:gd name="connsiteY546" fmla="*/ 298217 h 350149"/>
                <a:gd name="connsiteX547" fmla="*/ 461882 w 574402"/>
                <a:gd name="connsiteY547" fmla="*/ 298610 h 350149"/>
                <a:gd name="connsiteX548" fmla="*/ 461882 w 574402"/>
                <a:gd name="connsiteY548" fmla="*/ 301364 h 350149"/>
                <a:gd name="connsiteX549" fmla="*/ 463849 w 574402"/>
                <a:gd name="connsiteY549" fmla="*/ 304512 h 350149"/>
                <a:gd name="connsiteX550" fmla="*/ 464637 w 574402"/>
                <a:gd name="connsiteY550" fmla="*/ 307659 h 350149"/>
                <a:gd name="connsiteX551" fmla="*/ 465817 w 574402"/>
                <a:gd name="connsiteY551" fmla="*/ 310807 h 350149"/>
                <a:gd name="connsiteX552" fmla="*/ 467391 w 574402"/>
                <a:gd name="connsiteY552" fmla="*/ 310807 h 350149"/>
                <a:gd name="connsiteX553" fmla="*/ 470145 w 574402"/>
                <a:gd name="connsiteY553" fmla="*/ 312380 h 350149"/>
                <a:gd name="connsiteX554" fmla="*/ 472898 w 574402"/>
                <a:gd name="connsiteY554" fmla="*/ 311987 h 350149"/>
                <a:gd name="connsiteX555" fmla="*/ 474473 w 574402"/>
                <a:gd name="connsiteY555" fmla="*/ 315134 h 350149"/>
                <a:gd name="connsiteX556" fmla="*/ 476046 w 574402"/>
                <a:gd name="connsiteY556" fmla="*/ 317888 h 350149"/>
                <a:gd name="connsiteX557" fmla="*/ 477619 w 574402"/>
                <a:gd name="connsiteY557" fmla="*/ 321036 h 350149"/>
                <a:gd name="connsiteX558" fmla="*/ 477619 w 574402"/>
                <a:gd name="connsiteY558" fmla="*/ 323790 h 350149"/>
                <a:gd name="connsiteX559" fmla="*/ 479980 w 574402"/>
                <a:gd name="connsiteY559" fmla="*/ 326937 h 350149"/>
                <a:gd name="connsiteX560" fmla="*/ 481947 w 574402"/>
                <a:gd name="connsiteY560" fmla="*/ 328511 h 350149"/>
                <a:gd name="connsiteX561" fmla="*/ 483521 w 574402"/>
                <a:gd name="connsiteY561" fmla="*/ 331658 h 350149"/>
                <a:gd name="connsiteX562" fmla="*/ 485882 w 574402"/>
                <a:gd name="connsiteY562" fmla="*/ 330085 h 350149"/>
                <a:gd name="connsiteX563" fmla="*/ 488635 w 574402"/>
                <a:gd name="connsiteY563" fmla="*/ 332052 h 350149"/>
                <a:gd name="connsiteX564" fmla="*/ 491389 w 574402"/>
                <a:gd name="connsiteY564" fmla="*/ 334019 h 350149"/>
                <a:gd name="connsiteX565" fmla="*/ 494144 w 574402"/>
                <a:gd name="connsiteY565" fmla="*/ 333232 h 350149"/>
                <a:gd name="connsiteX566" fmla="*/ 496898 w 574402"/>
                <a:gd name="connsiteY566" fmla="*/ 330871 h 350149"/>
                <a:gd name="connsiteX567" fmla="*/ 499652 w 574402"/>
                <a:gd name="connsiteY567" fmla="*/ 332839 h 350149"/>
                <a:gd name="connsiteX568" fmla="*/ 502405 w 574402"/>
                <a:gd name="connsiteY568" fmla="*/ 334806 h 350149"/>
                <a:gd name="connsiteX569" fmla="*/ 505553 w 574402"/>
                <a:gd name="connsiteY569" fmla="*/ 335593 h 350149"/>
                <a:gd name="connsiteX570" fmla="*/ 508307 w 574402"/>
                <a:gd name="connsiteY570" fmla="*/ 334806 h 350149"/>
                <a:gd name="connsiteX571" fmla="*/ 511061 w 574402"/>
                <a:gd name="connsiteY571" fmla="*/ 334412 h 350149"/>
                <a:gd name="connsiteX572" fmla="*/ 512241 w 574402"/>
                <a:gd name="connsiteY572" fmla="*/ 334019 h 350149"/>
                <a:gd name="connsiteX573" fmla="*/ 514208 w 574402"/>
                <a:gd name="connsiteY573" fmla="*/ 334412 h 350149"/>
                <a:gd name="connsiteX574" fmla="*/ 513422 w 574402"/>
                <a:gd name="connsiteY574" fmla="*/ 336380 h 350149"/>
                <a:gd name="connsiteX575" fmla="*/ 516569 w 574402"/>
                <a:gd name="connsiteY575" fmla="*/ 336380 h 350149"/>
                <a:gd name="connsiteX576" fmla="*/ 519323 w 574402"/>
                <a:gd name="connsiteY576" fmla="*/ 337953 h 350149"/>
                <a:gd name="connsiteX577" fmla="*/ 522471 w 574402"/>
                <a:gd name="connsiteY577" fmla="*/ 336773 h 350149"/>
                <a:gd name="connsiteX578" fmla="*/ 525618 w 574402"/>
                <a:gd name="connsiteY578" fmla="*/ 336773 h 350149"/>
                <a:gd name="connsiteX579" fmla="*/ 528372 w 574402"/>
                <a:gd name="connsiteY579" fmla="*/ 337953 h 350149"/>
                <a:gd name="connsiteX580" fmla="*/ 531520 w 574402"/>
                <a:gd name="connsiteY580" fmla="*/ 339134 h 350149"/>
                <a:gd name="connsiteX581" fmla="*/ 534273 w 574402"/>
                <a:gd name="connsiteY581" fmla="*/ 339527 h 350149"/>
                <a:gd name="connsiteX582" fmla="*/ 537027 w 574402"/>
                <a:gd name="connsiteY582" fmla="*/ 340314 h 350149"/>
                <a:gd name="connsiteX583" fmla="*/ 539781 w 574402"/>
                <a:gd name="connsiteY583" fmla="*/ 339920 h 350149"/>
                <a:gd name="connsiteX584" fmla="*/ 541355 w 574402"/>
                <a:gd name="connsiteY584" fmla="*/ 339920 h 350149"/>
                <a:gd name="connsiteX585" fmla="*/ 546469 w 574402"/>
                <a:gd name="connsiteY585" fmla="*/ 341887 h 350149"/>
                <a:gd name="connsiteX586" fmla="*/ 547257 w 574402"/>
                <a:gd name="connsiteY586" fmla="*/ 342281 h 350149"/>
                <a:gd name="connsiteX587" fmla="*/ 548043 w 574402"/>
                <a:gd name="connsiteY587" fmla="*/ 345035 h 350149"/>
                <a:gd name="connsiteX588" fmla="*/ 550403 w 574402"/>
                <a:gd name="connsiteY588" fmla="*/ 343461 h 350149"/>
                <a:gd name="connsiteX589" fmla="*/ 550403 w 574402"/>
                <a:gd name="connsiteY589" fmla="*/ 346215 h 350149"/>
                <a:gd name="connsiteX590" fmla="*/ 547649 w 574402"/>
                <a:gd name="connsiteY590" fmla="*/ 345822 h 350149"/>
                <a:gd name="connsiteX591" fmla="*/ 549224 w 574402"/>
                <a:gd name="connsiteY591" fmla="*/ 348576 h 350149"/>
                <a:gd name="connsiteX592" fmla="*/ 550010 w 574402"/>
                <a:gd name="connsiteY592" fmla="*/ 348182 h 350149"/>
                <a:gd name="connsiteX593" fmla="*/ 552764 w 574402"/>
                <a:gd name="connsiteY593" fmla="*/ 350936 h 350149"/>
                <a:gd name="connsiteX594" fmla="*/ 555518 w 574402"/>
                <a:gd name="connsiteY594" fmla="*/ 352117 h 350149"/>
                <a:gd name="connsiteX595" fmla="*/ 558666 w 574402"/>
                <a:gd name="connsiteY595" fmla="*/ 351723 h 350149"/>
                <a:gd name="connsiteX596" fmla="*/ 561419 w 574402"/>
                <a:gd name="connsiteY596" fmla="*/ 352117 h 350149"/>
                <a:gd name="connsiteX597" fmla="*/ 564567 w 574402"/>
                <a:gd name="connsiteY597" fmla="*/ 349756 h 350149"/>
                <a:gd name="connsiteX598" fmla="*/ 567321 w 574402"/>
                <a:gd name="connsiteY598" fmla="*/ 349363 h 350149"/>
                <a:gd name="connsiteX599" fmla="*/ 570075 w 574402"/>
                <a:gd name="connsiteY599" fmla="*/ 348182 h 350149"/>
                <a:gd name="connsiteX600" fmla="*/ 570075 w 574402"/>
                <a:gd name="connsiteY600" fmla="*/ 345428 h 350149"/>
                <a:gd name="connsiteX601" fmla="*/ 567321 w 574402"/>
                <a:gd name="connsiteY601" fmla="*/ 343854 h 350149"/>
                <a:gd name="connsiteX602" fmla="*/ 564567 w 574402"/>
                <a:gd name="connsiteY602" fmla="*/ 343068 h 350149"/>
                <a:gd name="connsiteX603" fmla="*/ 561813 w 574402"/>
                <a:gd name="connsiteY603" fmla="*/ 341887 h 350149"/>
                <a:gd name="connsiteX604" fmla="*/ 562994 w 574402"/>
                <a:gd name="connsiteY604" fmla="*/ 339134 h 350149"/>
                <a:gd name="connsiteX605" fmla="*/ 565747 w 574402"/>
                <a:gd name="connsiteY605" fmla="*/ 339527 h 350149"/>
                <a:gd name="connsiteX606" fmla="*/ 568895 w 574402"/>
                <a:gd name="connsiteY606" fmla="*/ 340314 h 350149"/>
                <a:gd name="connsiteX607" fmla="*/ 571649 w 574402"/>
                <a:gd name="connsiteY607" fmla="*/ 339527 h 350149"/>
                <a:gd name="connsiteX608" fmla="*/ 574403 w 574402"/>
                <a:gd name="connsiteY608" fmla="*/ 337953 h 350149"/>
                <a:gd name="connsiteX609" fmla="*/ 577550 w 574402"/>
                <a:gd name="connsiteY609" fmla="*/ 336773 h 350149"/>
                <a:gd name="connsiteX610" fmla="*/ 574403 w 574402"/>
                <a:gd name="connsiteY610" fmla="*/ 337560 h 350149"/>
                <a:gd name="connsiteX611" fmla="*/ 571649 w 574402"/>
                <a:gd name="connsiteY611" fmla="*/ 337953 h 350149"/>
                <a:gd name="connsiteX612" fmla="*/ 568895 w 574402"/>
                <a:gd name="connsiteY612" fmla="*/ 336773 h 350149"/>
                <a:gd name="connsiteX613" fmla="*/ 565747 w 574402"/>
                <a:gd name="connsiteY613" fmla="*/ 335593 h 350149"/>
                <a:gd name="connsiteX614" fmla="*/ 562994 w 574402"/>
                <a:gd name="connsiteY614" fmla="*/ 335593 h 350149"/>
                <a:gd name="connsiteX615" fmla="*/ 559846 w 574402"/>
                <a:gd name="connsiteY615" fmla="*/ 334412 h 350149"/>
                <a:gd name="connsiteX616" fmla="*/ 557092 w 574402"/>
                <a:gd name="connsiteY616" fmla="*/ 332052 h 350149"/>
                <a:gd name="connsiteX617" fmla="*/ 553945 w 574402"/>
                <a:gd name="connsiteY617" fmla="*/ 331265 h 350149"/>
                <a:gd name="connsiteX618" fmla="*/ 551978 w 574402"/>
                <a:gd name="connsiteY618" fmla="*/ 331265 h 350149"/>
                <a:gd name="connsiteX619" fmla="*/ 548043 w 574402"/>
                <a:gd name="connsiteY619" fmla="*/ 328511 h 350149"/>
                <a:gd name="connsiteX620" fmla="*/ 553158 w 574402"/>
                <a:gd name="connsiteY620" fmla="*/ 319856 h 350149"/>
                <a:gd name="connsiteX621" fmla="*/ 553945 w 574402"/>
                <a:gd name="connsiteY621" fmla="*/ 316708 h 350149"/>
                <a:gd name="connsiteX622" fmla="*/ 553551 w 574402"/>
                <a:gd name="connsiteY622" fmla="*/ 315921 h 350149"/>
                <a:gd name="connsiteX623" fmla="*/ 546469 w 574402"/>
                <a:gd name="connsiteY623" fmla="*/ 315528 h 350149"/>
                <a:gd name="connsiteX624" fmla="*/ 544502 w 574402"/>
                <a:gd name="connsiteY624" fmla="*/ 315134 h 350149"/>
                <a:gd name="connsiteX625" fmla="*/ 543715 w 574402"/>
                <a:gd name="connsiteY625" fmla="*/ 315134 h 350149"/>
                <a:gd name="connsiteX626" fmla="*/ 540175 w 574402"/>
                <a:gd name="connsiteY626" fmla="*/ 315134 h 350149"/>
                <a:gd name="connsiteX627" fmla="*/ 538994 w 574402"/>
                <a:gd name="connsiteY627" fmla="*/ 314741 h 350149"/>
                <a:gd name="connsiteX628" fmla="*/ 537027 w 574402"/>
                <a:gd name="connsiteY628" fmla="*/ 314741 h 350149"/>
                <a:gd name="connsiteX629" fmla="*/ 530732 w 574402"/>
                <a:gd name="connsiteY629" fmla="*/ 305692 h 350149"/>
                <a:gd name="connsiteX630" fmla="*/ 532306 w 574402"/>
                <a:gd name="connsiteY630" fmla="*/ 302938 h 350149"/>
                <a:gd name="connsiteX631" fmla="*/ 534666 w 574402"/>
                <a:gd name="connsiteY631" fmla="*/ 300184 h 350149"/>
                <a:gd name="connsiteX632" fmla="*/ 534666 w 574402"/>
                <a:gd name="connsiteY632" fmla="*/ 297037 h 350149"/>
                <a:gd name="connsiteX633" fmla="*/ 531520 w 574402"/>
                <a:gd name="connsiteY633" fmla="*/ 294676 h 350149"/>
                <a:gd name="connsiteX634" fmla="*/ 528765 w 574402"/>
                <a:gd name="connsiteY634" fmla="*/ 294676 h 350149"/>
                <a:gd name="connsiteX635" fmla="*/ 526011 w 574402"/>
                <a:gd name="connsiteY635" fmla="*/ 296250 h 350149"/>
                <a:gd name="connsiteX636" fmla="*/ 524044 w 574402"/>
                <a:gd name="connsiteY636" fmla="*/ 296250 h 350149"/>
                <a:gd name="connsiteX637" fmla="*/ 502799 w 574402"/>
                <a:gd name="connsiteY637" fmla="*/ 264776 h 350149"/>
                <a:gd name="connsiteX638" fmla="*/ 502799 w 574402"/>
                <a:gd name="connsiteY638" fmla="*/ 262022 h 350149"/>
                <a:gd name="connsiteX639" fmla="*/ 499652 w 574402"/>
                <a:gd name="connsiteY639" fmla="*/ 262022 h 350149"/>
                <a:gd name="connsiteX640" fmla="*/ 499258 w 574402"/>
                <a:gd name="connsiteY640" fmla="*/ 262415 h 350149"/>
                <a:gd name="connsiteX641" fmla="*/ 498078 w 574402"/>
                <a:gd name="connsiteY641" fmla="*/ 260448 h 350149"/>
                <a:gd name="connsiteX642" fmla="*/ 470538 w 574402"/>
                <a:gd name="connsiteY642" fmla="*/ 217565 h 350149"/>
                <a:gd name="connsiteX643" fmla="*/ 473685 w 574402"/>
                <a:gd name="connsiteY643" fmla="*/ 217171 h 350149"/>
                <a:gd name="connsiteX644" fmla="*/ 476833 w 574402"/>
                <a:gd name="connsiteY644" fmla="*/ 216384 h 350149"/>
                <a:gd name="connsiteX645" fmla="*/ 479586 w 574402"/>
                <a:gd name="connsiteY645" fmla="*/ 217565 h 350149"/>
                <a:gd name="connsiteX646" fmla="*/ 482734 w 574402"/>
                <a:gd name="connsiteY646" fmla="*/ 217958 h 350149"/>
                <a:gd name="connsiteX647" fmla="*/ 485488 w 574402"/>
                <a:gd name="connsiteY647" fmla="*/ 217565 h 350149"/>
                <a:gd name="connsiteX648" fmla="*/ 488243 w 574402"/>
                <a:gd name="connsiteY648" fmla="*/ 217958 h 350149"/>
                <a:gd name="connsiteX649" fmla="*/ 490996 w 574402"/>
                <a:gd name="connsiteY649" fmla="*/ 217171 h 350149"/>
                <a:gd name="connsiteX650" fmla="*/ 494144 w 574402"/>
                <a:gd name="connsiteY650" fmla="*/ 217171 h 350149"/>
                <a:gd name="connsiteX651" fmla="*/ 497291 w 574402"/>
                <a:gd name="connsiteY651" fmla="*/ 216384 h 350149"/>
                <a:gd name="connsiteX652" fmla="*/ 498078 w 574402"/>
                <a:gd name="connsiteY652" fmla="*/ 213630 h 350149"/>
                <a:gd name="connsiteX653" fmla="*/ 498078 w 574402"/>
                <a:gd name="connsiteY653" fmla="*/ 210483 h 350149"/>
                <a:gd name="connsiteX654" fmla="*/ 498078 w 574402"/>
                <a:gd name="connsiteY654" fmla="*/ 207729 h 350149"/>
                <a:gd name="connsiteX655" fmla="*/ 497684 w 574402"/>
                <a:gd name="connsiteY655" fmla="*/ 204582 h 350149"/>
                <a:gd name="connsiteX656" fmla="*/ 494931 w 574402"/>
                <a:gd name="connsiteY656" fmla="*/ 201828 h 350149"/>
                <a:gd name="connsiteX657" fmla="*/ 493750 w 574402"/>
                <a:gd name="connsiteY657" fmla="*/ 199074 h 350149"/>
                <a:gd name="connsiteX658" fmla="*/ 491783 w 574402"/>
                <a:gd name="connsiteY658" fmla="*/ 196320 h 350149"/>
                <a:gd name="connsiteX659" fmla="*/ 489029 w 574402"/>
                <a:gd name="connsiteY659" fmla="*/ 193172 h 350149"/>
                <a:gd name="connsiteX660" fmla="*/ 488635 w 574402"/>
                <a:gd name="connsiteY660" fmla="*/ 192385 h 350149"/>
                <a:gd name="connsiteX661" fmla="*/ 485488 w 574402"/>
                <a:gd name="connsiteY661" fmla="*/ 191205 h 350149"/>
                <a:gd name="connsiteX662" fmla="*/ 482734 w 574402"/>
                <a:gd name="connsiteY662" fmla="*/ 190418 h 350149"/>
                <a:gd name="connsiteX663" fmla="*/ 482341 w 574402"/>
                <a:gd name="connsiteY663" fmla="*/ 190418 h 350149"/>
                <a:gd name="connsiteX664" fmla="*/ 475259 w 574402"/>
                <a:gd name="connsiteY664" fmla="*/ 188451 h 350149"/>
                <a:gd name="connsiteX665" fmla="*/ 470931 w 574402"/>
                <a:gd name="connsiteY665" fmla="*/ 186091 h 350149"/>
                <a:gd name="connsiteX666" fmla="*/ 473685 w 574402"/>
                <a:gd name="connsiteY666" fmla="*/ 188058 h 350149"/>
                <a:gd name="connsiteX667" fmla="*/ 472112 w 574402"/>
                <a:gd name="connsiteY667" fmla="*/ 187664 h 350149"/>
                <a:gd name="connsiteX668" fmla="*/ 471718 w 574402"/>
                <a:gd name="connsiteY668" fmla="*/ 187271 h 350149"/>
                <a:gd name="connsiteX669" fmla="*/ 470538 w 574402"/>
                <a:gd name="connsiteY669" fmla="*/ 187271 h 350149"/>
                <a:gd name="connsiteX670" fmla="*/ 467784 w 574402"/>
                <a:gd name="connsiteY670" fmla="*/ 186091 h 350149"/>
                <a:gd name="connsiteX671" fmla="*/ 464637 w 574402"/>
                <a:gd name="connsiteY671" fmla="*/ 184123 h 350149"/>
                <a:gd name="connsiteX672" fmla="*/ 461882 w 574402"/>
                <a:gd name="connsiteY672" fmla="*/ 182156 h 350149"/>
                <a:gd name="connsiteX673" fmla="*/ 458736 w 574402"/>
                <a:gd name="connsiteY673" fmla="*/ 180189 h 350149"/>
                <a:gd name="connsiteX674" fmla="*/ 456769 w 574402"/>
                <a:gd name="connsiteY674" fmla="*/ 179009 h 350149"/>
                <a:gd name="connsiteX675" fmla="*/ 456375 w 574402"/>
                <a:gd name="connsiteY675" fmla="*/ 178615 h 350149"/>
                <a:gd name="connsiteX676" fmla="*/ 461882 w 574402"/>
                <a:gd name="connsiteY676" fmla="*/ 180583 h 350149"/>
                <a:gd name="connsiteX677" fmla="*/ 459128 w 574402"/>
                <a:gd name="connsiteY677" fmla="*/ 179009 h 350149"/>
                <a:gd name="connsiteX678" fmla="*/ 456375 w 574402"/>
                <a:gd name="connsiteY678" fmla="*/ 177435 h 350149"/>
                <a:gd name="connsiteX679" fmla="*/ 455194 w 574402"/>
                <a:gd name="connsiteY679" fmla="*/ 177435 h 350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</a:cxnLst>
              <a:rect l="l" t="t" r="r" b="b"/>
              <a:pathLst>
                <a:path w="574402" h="350149">
                  <a:moveTo>
                    <a:pt x="439457" y="159338"/>
                  </a:moveTo>
                  <a:lnTo>
                    <a:pt x="439457" y="156977"/>
                  </a:lnTo>
                  <a:lnTo>
                    <a:pt x="439851" y="154223"/>
                  </a:lnTo>
                  <a:lnTo>
                    <a:pt x="437490" y="151076"/>
                  </a:lnTo>
                  <a:lnTo>
                    <a:pt x="434736" y="148322"/>
                  </a:lnTo>
                  <a:lnTo>
                    <a:pt x="433163" y="145568"/>
                  </a:lnTo>
                  <a:lnTo>
                    <a:pt x="431196" y="142814"/>
                  </a:lnTo>
                  <a:lnTo>
                    <a:pt x="428835" y="139666"/>
                  </a:lnTo>
                  <a:lnTo>
                    <a:pt x="426081" y="136912"/>
                  </a:lnTo>
                  <a:lnTo>
                    <a:pt x="423327" y="137699"/>
                  </a:lnTo>
                  <a:lnTo>
                    <a:pt x="420180" y="136912"/>
                  </a:lnTo>
                  <a:lnTo>
                    <a:pt x="418605" y="135732"/>
                  </a:lnTo>
                  <a:lnTo>
                    <a:pt x="422147" y="136912"/>
                  </a:lnTo>
                  <a:lnTo>
                    <a:pt x="421360" y="136519"/>
                  </a:lnTo>
                  <a:lnTo>
                    <a:pt x="418605" y="135732"/>
                  </a:lnTo>
                  <a:lnTo>
                    <a:pt x="417426" y="134552"/>
                  </a:lnTo>
                  <a:lnTo>
                    <a:pt x="416245" y="131404"/>
                  </a:lnTo>
                  <a:lnTo>
                    <a:pt x="413492" y="130224"/>
                  </a:lnTo>
                  <a:lnTo>
                    <a:pt x="412704" y="127470"/>
                  </a:lnTo>
                  <a:lnTo>
                    <a:pt x="409950" y="125503"/>
                  </a:lnTo>
                  <a:lnTo>
                    <a:pt x="407196" y="124716"/>
                  </a:lnTo>
                  <a:lnTo>
                    <a:pt x="404835" y="124323"/>
                  </a:lnTo>
                  <a:lnTo>
                    <a:pt x="404049" y="119208"/>
                  </a:lnTo>
                  <a:lnTo>
                    <a:pt x="376509" y="107405"/>
                  </a:lnTo>
                  <a:lnTo>
                    <a:pt x="375722" y="106225"/>
                  </a:lnTo>
                  <a:lnTo>
                    <a:pt x="372575" y="104651"/>
                  </a:lnTo>
                  <a:lnTo>
                    <a:pt x="369427" y="103864"/>
                  </a:lnTo>
                  <a:lnTo>
                    <a:pt x="367067" y="103471"/>
                  </a:lnTo>
                  <a:lnTo>
                    <a:pt x="365100" y="102684"/>
                  </a:lnTo>
                  <a:lnTo>
                    <a:pt x="362346" y="102291"/>
                  </a:lnTo>
                  <a:lnTo>
                    <a:pt x="361166" y="102291"/>
                  </a:lnTo>
                  <a:lnTo>
                    <a:pt x="319856" y="85374"/>
                  </a:lnTo>
                  <a:lnTo>
                    <a:pt x="318282" y="84587"/>
                  </a:lnTo>
                  <a:lnTo>
                    <a:pt x="315135" y="83013"/>
                  </a:lnTo>
                  <a:lnTo>
                    <a:pt x="312380" y="81046"/>
                  </a:lnTo>
                  <a:lnTo>
                    <a:pt x="309626" y="79865"/>
                  </a:lnTo>
                  <a:lnTo>
                    <a:pt x="306479" y="77898"/>
                  </a:lnTo>
                  <a:lnTo>
                    <a:pt x="303725" y="77111"/>
                  </a:lnTo>
                  <a:lnTo>
                    <a:pt x="300577" y="76325"/>
                  </a:lnTo>
                  <a:lnTo>
                    <a:pt x="299791" y="77111"/>
                  </a:lnTo>
                  <a:lnTo>
                    <a:pt x="291529" y="74751"/>
                  </a:lnTo>
                  <a:lnTo>
                    <a:pt x="289955" y="72390"/>
                  </a:lnTo>
                  <a:lnTo>
                    <a:pt x="286808" y="71210"/>
                  </a:lnTo>
                  <a:lnTo>
                    <a:pt x="284054" y="70817"/>
                  </a:lnTo>
                  <a:lnTo>
                    <a:pt x="281300" y="70030"/>
                  </a:lnTo>
                  <a:lnTo>
                    <a:pt x="278546" y="70817"/>
                  </a:lnTo>
                  <a:lnTo>
                    <a:pt x="278152" y="70817"/>
                  </a:lnTo>
                  <a:lnTo>
                    <a:pt x="275399" y="68850"/>
                  </a:lnTo>
                  <a:lnTo>
                    <a:pt x="272645" y="67276"/>
                  </a:lnTo>
                  <a:lnTo>
                    <a:pt x="269497" y="68456"/>
                  </a:lnTo>
                  <a:lnTo>
                    <a:pt x="251793" y="61768"/>
                  </a:lnTo>
                  <a:lnTo>
                    <a:pt x="251006" y="61374"/>
                  </a:lnTo>
                  <a:lnTo>
                    <a:pt x="248252" y="60588"/>
                  </a:lnTo>
                  <a:lnTo>
                    <a:pt x="247859" y="60194"/>
                  </a:lnTo>
                  <a:lnTo>
                    <a:pt x="245105" y="58227"/>
                  </a:lnTo>
                  <a:lnTo>
                    <a:pt x="239203" y="55473"/>
                  </a:lnTo>
                  <a:lnTo>
                    <a:pt x="238417" y="55080"/>
                  </a:lnTo>
                  <a:lnTo>
                    <a:pt x="233695" y="52719"/>
                  </a:lnTo>
                  <a:lnTo>
                    <a:pt x="233302" y="52719"/>
                  </a:lnTo>
                  <a:lnTo>
                    <a:pt x="230941" y="49572"/>
                  </a:lnTo>
                  <a:lnTo>
                    <a:pt x="227794" y="48785"/>
                  </a:lnTo>
                  <a:lnTo>
                    <a:pt x="225040" y="47604"/>
                  </a:lnTo>
                  <a:lnTo>
                    <a:pt x="223859" y="47211"/>
                  </a:lnTo>
                  <a:lnTo>
                    <a:pt x="207729" y="38556"/>
                  </a:lnTo>
                  <a:lnTo>
                    <a:pt x="206943" y="38556"/>
                  </a:lnTo>
                  <a:lnTo>
                    <a:pt x="203795" y="38949"/>
                  </a:lnTo>
                  <a:lnTo>
                    <a:pt x="201041" y="40130"/>
                  </a:lnTo>
                  <a:lnTo>
                    <a:pt x="197894" y="41310"/>
                  </a:lnTo>
                  <a:lnTo>
                    <a:pt x="195140" y="43277"/>
                  </a:lnTo>
                  <a:lnTo>
                    <a:pt x="192385" y="45244"/>
                  </a:lnTo>
                  <a:lnTo>
                    <a:pt x="189631" y="46818"/>
                  </a:lnTo>
                  <a:lnTo>
                    <a:pt x="186484" y="47998"/>
                  </a:lnTo>
                  <a:lnTo>
                    <a:pt x="183337" y="49572"/>
                  </a:lnTo>
                  <a:lnTo>
                    <a:pt x="182943" y="52719"/>
                  </a:lnTo>
                  <a:lnTo>
                    <a:pt x="185697" y="54686"/>
                  </a:lnTo>
                  <a:lnTo>
                    <a:pt x="171927" y="64522"/>
                  </a:lnTo>
                  <a:lnTo>
                    <a:pt x="169960" y="64915"/>
                  </a:lnTo>
                  <a:lnTo>
                    <a:pt x="167206" y="64522"/>
                  </a:lnTo>
                  <a:lnTo>
                    <a:pt x="164059" y="63342"/>
                  </a:lnTo>
                  <a:lnTo>
                    <a:pt x="161305" y="64128"/>
                  </a:lnTo>
                  <a:lnTo>
                    <a:pt x="159732" y="66882"/>
                  </a:lnTo>
                  <a:lnTo>
                    <a:pt x="158944" y="70030"/>
                  </a:lnTo>
                  <a:lnTo>
                    <a:pt x="157764" y="72784"/>
                  </a:lnTo>
                  <a:lnTo>
                    <a:pt x="157371" y="75144"/>
                  </a:lnTo>
                  <a:lnTo>
                    <a:pt x="151075" y="79472"/>
                  </a:lnTo>
                  <a:lnTo>
                    <a:pt x="147929" y="82620"/>
                  </a:lnTo>
                  <a:lnTo>
                    <a:pt x="147141" y="85374"/>
                  </a:lnTo>
                  <a:lnTo>
                    <a:pt x="146748" y="86160"/>
                  </a:lnTo>
                  <a:lnTo>
                    <a:pt x="146748" y="86160"/>
                  </a:lnTo>
                  <a:lnTo>
                    <a:pt x="143207" y="90881"/>
                  </a:lnTo>
                  <a:lnTo>
                    <a:pt x="140847" y="92849"/>
                  </a:lnTo>
                  <a:lnTo>
                    <a:pt x="140060" y="95603"/>
                  </a:lnTo>
                  <a:lnTo>
                    <a:pt x="138486" y="95996"/>
                  </a:lnTo>
                  <a:lnTo>
                    <a:pt x="135732" y="98357"/>
                  </a:lnTo>
                  <a:lnTo>
                    <a:pt x="135732" y="98357"/>
                  </a:lnTo>
                  <a:lnTo>
                    <a:pt x="128257" y="103471"/>
                  </a:lnTo>
                  <a:lnTo>
                    <a:pt x="113307" y="91275"/>
                  </a:lnTo>
                  <a:lnTo>
                    <a:pt x="112520" y="88914"/>
                  </a:lnTo>
                  <a:lnTo>
                    <a:pt x="109766" y="88521"/>
                  </a:lnTo>
                  <a:lnTo>
                    <a:pt x="108979" y="85767"/>
                  </a:lnTo>
                  <a:lnTo>
                    <a:pt x="108586" y="83013"/>
                  </a:lnTo>
                  <a:lnTo>
                    <a:pt x="108586" y="77111"/>
                  </a:lnTo>
                  <a:lnTo>
                    <a:pt x="108586" y="73964"/>
                  </a:lnTo>
                  <a:lnTo>
                    <a:pt x="105438" y="72784"/>
                  </a:lnTo>
                  <a:lnTo>
                    <a:pt x="103471" y="75931"/>
                  </a:lnTo>
                  <a:lnTo>
                    <a:pt x="103471" y="79079"/>
                  </a:lnTo>
                  <a:lnTo>
                    <a:pt x="103864" y="81833"/>
                  </a:lnTo>
                  <a:lnTo>
                    <a:pt x="103078" y="83406"/>
                  </a:lnTo>
                  <a:lnTo>
                    <a:pt x="101110" y="81833"/>
                  </a:lnTo>
                  <a:lnTo>
                    <a:pt x="101110" y="81439"/>
                  </a:lnTo>
                  <a:lnTo>
                    <a:pt x="100718" y="80652"/>
                  </a:lnTo>
                  <a:lnTo>
                    <a:pt x="92849" y="46031"/>
                  </a:lnTo>
                  <a:lnTo>
                    <a:pt x="94422" y="43670"/>
                  </a:lnTo>
                  <a:lnTo>
                    <a:pt x="96783" y="40523"/>
                  </a:lnTo>
                  <a:lnTo>
                    <a:pt x="97176" y="37769"/>
                  </a:lnTo>
                  <a:lnTo>
                    <a:pt x="98357" y="34621"/>
                  </a:lnTo>
                  <a:lnTo>
                    <a:pt x="97570" y="31867"/>
                  </a:lnTo>
                  <a:lnTo>
                    <a:pt x="95603" y="29113"/>
                  </a:lnTo>
                  <a:lnTo>
                    <a:pt x="93636" y="26360"/>
                  </a:lnTo>
                  <a:lnTo>
                    <a:pt x="92455" y="23212"/>
                  </a:lnTo>
                  <a:lnTo>
                    <a:pt x="92061" y="20458"/>
                  </a:lnTo>
                  <a:lnTo>
                    <a:pt x="94422" y="17311"/>
                  </a:lnTo>
                  <a:lnTo>
                    <a:pt x="91275" y="14950"/>
                  </a:lnTo>
                  <a:lnTo>
                    <a:pt x="88521" y="13376"/>
                  </a:lnTo>
                  <a:lnTo>
                    <a:pt x="85767" y="13376"/>
                  </a:lnTo>
                  <a:lnTo>
                    <a:pt x="62162" y="5114"/>
                  </a:lnTo>
                  <a:lnTo>
                    <a:pt x="59801" y="3147"/>
                  </a:lnTo>
                  <a:lnTo>
                    <a:pt x="56653" y="3147"/>
                  </a:lnTo>
                  <a:lnTo>
                    <a:pt x="56260" y="3147"/>
                  </a:lnTo>
                  <a:lnTo>
                    <a:pt x="53899" y="1574"/>
                  </a:lnTo>
                  <a:lnTo>
                    <a:pt x="50752" y="787"/>
                  </a:lnTo>
                  <a:lnTo>
                    <a:pt x="47998" y="0"/>
                  </a:lnTo>
                  <a:lnTo>
                    <a:pt x="44850" y="0"/>
                  </a:lnTo>
                  <a:lnTo>
                    <a:pt x="42883" y="0"/>
                  </a:lnTo>
                  <a:lnTo>
                    <a:pt x="41704" y="393"/>
                  </a:lnTo>
                  <a:lnTo>
                    <a:pt x="38949" y="1180"/>
                  </a:lnTo>
                  <a:lnTo>
                    <a:pt x="35802" y="1967"/>
                  </a:lnTo>
                  <a:lnTo>
                    <a:pt x="33047" y="3934"/>
                  </a:lnTo>
                  <a:lnTo>
                    <a:pt x="30294" y="7082"/>
                  </a:lnTo>
                  <a:lnTo>
                    <a:pt x="27540" y="9836"/>
                  </a:lnTo>
                  <a:lnTo>
                    <a:pt x="27146" y="10229"/>
                  </a:lnTo>
                  <a:lnTo>
                    <a:pt x="22819" y="12983"/>
                  </a:lnTo>
                  <a:lnTo>
                    <a:pt x="21638" y="13376"/>
                  </a:lnTo>
                  <a:lnTo>
                    <a:pt x="18491" y="13770"/>
                  </a:lnTo>
                  <a:lnTo>
                    <a:pt x="15737" y="13376"/>
                  </a:lnTo>
                  <a:lnTo>
                    <a:pt x="12983" y="14163"/>
                  </a:lnTo>
                  <a:lnTo>
                    <a:pt x="9836" y="15343"/>
                  </a:lnTo>
                  <a:lnTo>
                    <a:pt x="7082" y="16130"/>
                  </a:lnTo>
                  <a:lnTo>
                    <a:pt x="8655" y="19278"/>
                  </a:lnTo>
                  <a:lnTo>
                    <a:pt x="8262" y="22425"/>
                  </a:lnTo>
                  <a:lnTo>
                    <a:pt x="7475" y="24392"/>
                  </a:lnTo>
                  <a:lnTo>
                    <a:pt x="6295" y="27540"/>
                  </a:lnTo>
                  <a:lnTo>
                    <a:pt x="3540" y="30294"/>
                  </a:lnTo>
                  <a:lnTo>
                    <a:pt x="787" y="31867"/>
                  </a:lnTo>
                  <a:lnTo>
                    <a:pt x="0" y="35015"/>
                  </a:lnTo>
                  <a:lnTo>
                    <a:pt x="787" y="37769"/>
                  </a:lnTo>
                  <a:lnTo>
                    <a:pt x="3540" y="37769"/>
                  </a:lnTo>
                  <a:lnTo>
                    <a:pt x="6688" y="39343"/>
                  </a:lnTo>
                  <a:lnTo>
                    <a:pt x="9442" y="38162"/>
                  </a:lnTo>
                  <a:lnTo>
                    <a:pt x="8262" y="35408"/>
                  </a:lnTo>
                  <a:lnTo>
                    <a:pt x="11409" y="35802"/>
                  </a:lnTo>
                  <a:lnTo>
                    <a:pt x="12589" y="38949"/>
                  </a:lnTo>
                  <a:lnTo>
                    <a:pt x="15343" y="38556"/>
                  </a:lnTo>
                  <a:lnTo>
                    <a:pt x="18491" y="39736"/>
                  </a:lnTo>
                  <a:lnTo>
                    <a:pt x="21245" y="41703"/>
                  </a:lnTo>
                  <a:lnTo>
                    <a:pt x="23999" y="39343"/>
                  </a:lnTo>
                  <a:lnTo>
                    <a:pt x="23999" y="39736"/>
                  </a:lnTo>
                  <a:lnTo>
                    <a:pt x="24786" y="42490"/>
                  </a:lnTo>
                  <a:lnTo>
                    <a:pt x="26359" y="42097"/>
                  </a:lnTo>
                  <a:lnTo>
                    <a:pt x="27146" y="42883"/>
                  </a:lnTo>
                  <a:lnTo>
                    <a:pt x="26753" y="44850"/>
                  </a:lnTo>
                  <a:lnTo>
                    <a:pt x="29507" y="45637"/>
                  </a:lnTo>
                  <a:lnTo>
                    <a:pt x="29901" y="47604"/>
                  </a:lnTo>
                  <a:lnTo>
                    <a:pt x="29507" y="47604"/>
                  </a:lnTo>
                  <a:lnTo>
                    <a:pt x="27540" y="49965"/>
                  </a:lnTo>
                  <a:lnTo>
                    <a:pt x="27934" y="52719"/>
                  </a:lnTo>
                  <a:lnTo>
                    <a:pt x="27934" y="53113"/>
                  </a:lnTo>
                  <a:lnTo>
                    <a:pt x="28720" y="54293"/>
                  </a:lnTo>
                  <a:lnTo>
                    <a:pt x="29901" y="55867"/>
                  </a:lnTo>
                  <a:lnTo>
                    <a:pt x="32655" y="56260"/>
                  </a:lnTo>
                  <a:lnTo>
                    <a:pt x="30687" y="59014"/>
                  </a:lnTo>
                  <a:lnTo>
                    <a:pt x="33835" y="60981"/>
                  </a:lnTo>
                  <a:lnTo>
                    <a:pt x="36589" y="62555"/>
                  </a:lnTo>
                  <a:lnTo>
                    <a:pt x="38556" y="65309"/>
                  </a:lnTo>
                  <a:lnTo>
                    <a:pt x="41704" y="64915"/>
                  </a:lnTo>
                  <a:lnTo>
                    <a:pt x="44457" y="63342"/>
                  </a:lnTo>
                  <a:lnTo>
                    <a:pt x="46031" y="63342"/>
                  </a:lnTo>
                  <a:lnTo>
                    <a:pt x="48392" y="65702"/>
                  </a:lnTo>
                  <a:lnTo>
                    <a:pt x="48784" y="65702"/>
                  </a:lnTo>
                  <a:lnTo>
                    <a:pt x="57833" y="65702"/>
                  </a:lnTo>
                  <a:lnTo>
                    <a:pt x="72784" y="63735"/>
                  </a:lnTo>
                  <a:lnTo>
                    <a:pt x="74357" y="64128"/>
                  </a:lnTo>
                  <a:lnTo>
                    <a:pt x="77112" y="63342"/>
                  </a:lnTo>
                  <a:lnTo>
                    <a:pt x="82226" y="70817"/>
                  </a:lnTo>
                  <a:lnTo>
                    <a:pt x="72390" y="74357"/>
                  </a:lnTo>
                  <a:lnTo>
                    <a:pt x="72390" y="73571"/>
                  </a:lnTo>
                  <a:lnTo>
                    <a:pt x="71997" y="74357"/>
                  </a:lnTo>
                  <a:lnTo>
                    <a:pt x="70030" y="75144"/>
                  </a:lnTo>
                  <a:lnTo>
                    <a:pt x="68850" y="73177"/>
                  </a:lnTo>
                  <a:lnTo>
                    <a:pt x="66882" y="70423"/>
                  </a:lnTo>
                  <a:lnTo>
                    <a:pt x="63735" y="70817"/>
                  </a:lnTo>
                  <a:lnTo>
                    <a:pt x="60981" y="72390"/>
                  </a:lnTo>
                  <a:lnTo>
                    <a:pt x="58227" y="75144"/>
                  </a:lnTo>
                  <a:lnTo>
                    <a:pt x="56260" y="77898"/>
                  </a:lnTo>
                  <a:lnTo>
                    <a:pt x="53899" y="81046"/>
                  </a:lnTo>
                  <a:lnTo>
                    <a:pt x="52326" y="82620"/>
                  </a:lnTo>
                  <a:lnTo>
                    <a:pt x="49178" y="83406"/>
                  </a:lnTo>
                  <a:lnTo>
                    <a:pt x="46425" y="81046"/>
                  </a:lnTo>
                  <a:lnTo>
                    <a:pt x="43671" y="79865"/>
                  </a:lnTo>
                  <a:lnTo>
                    <a:pt x="40523" y="79865"/>
                  </a:lnTo>
                  <a:lnTo>
                    <a:pt x="37769" y="79472"/>
                  </a:lnTo>
                  <a:lnTo>
                    <a:pt x="34622" y="79472"/>
                  </a:lnTo>
                  <a:lnTo>
                    <a:pt x="31868" y="81439"/>
                  </a:lnTo>
                  <a:lnTo>
                    <a:pt x="28720" y="81833"/>
                  </a:lnTo>
                  <a:lnTo>
                    <a:pt x="28720" y="84980"/>
                  </a:lnTo>
                  <a:lnTo>
                    <a:pt x="29901" y="87734"/>
                  </a:lnTo>
                  <a:lnTo>
                    <a:pt x="32655" y="88521"/>
                  </a:lnTo>
                  <a:lnTo>
                    <a:pt x="35802" y="88127"/>
                  </a:lnTo>
                  <a:lnTo>
                    <a:pt x="38949" y="89701"/>
                  </a:lnTo>
                  <a:lnTo>
                    <a:pt x="41704" y="91275"/>
                  </a:lnTo>
                  <a:lnTo>
                    <a:pt x="44457" y="93635"/>
                  </a:lnTo>
                  <a:lnTo>
                    <a:pt x="46031" y="96389"/>
                  </a:lnTo>
                  <a:lnTo>
                    <a:pt x="47211" y="99143"/>
                  </a:lnTo>
                  <a:lnTo>
                    <a:pt x="49965" y="101897"/>
                  </a:lnTo>
                  <a:lnTo>
                    <a:pt x="52719" y="101111"/>
                  </a:lnTo>
                  <a:lnTo>
                    <a:pt x="52326" y="103864"/>
                  </a:lnTo>
                  <a:lnTo>
                    <a:pt x="54686" y="107012"/>
                  </a:lnTo>
                  <a:lnTo>
                    <a:pt x="55474" y="109766"/>
                  </a:lnTo>
                  <a:lnTo>
                    <a:pt x="52326" y="112127"/>
                  </a:lnTo>
                  <a:lnTo>
                    <a:pt x="49572" y="113307"/>
                  </a:lnTo>
                  <a:lnTo>
                    <a:pt x="50752" y="116454"/>
                  </a:lnTo>
                  <a:lnTo>
                    <a:pt x="51145" y="119601"/>
                  </a:lnTo>
                  <a:lnTo>
                    <a:pt x="50752" y="122355"/>
                  </a:lnTo>
                  <a:lnTo>
                    <a:pt x="53113" y="125110"/>
                  </a:lnTo>
                  <a:lnTo>
                    <a:pt x="55866" y="127864"/>
                  </a:lnTo>
                  <a:lnTo>
                    <a:pt x="58620" y="126290"/>
                  </a:lnTo>
                  <a:lnTo>
                    <a:pt x="61768" y="126683"/>
                  </a:lnTo>
                  <a:lnTo>
                    <a:pt x="64915" y="126683"/>
                  </a:lnTo>
                  <a:lnTo>
                    <a:pt x="67276" y="123536"/>
                  </a:lnTo>
                  <a:lnTo>
                    <a:pt x="69243" y="120388"/>
                  </a:lnTo>
                  <a:lnTo>
                    <a:pt x="69636" y="117634"/>
                  </a:lnTo>
                  <a:lnTo>
                    <a:pt x="69636" y="114881"/>
                  </a:lnTo>
                  <a:lnTo>
                    <a:pt x="72390" y="112127"/>
                  </a:lnTo>
                  <a:lnTo>
                    <a:pt x="75145" y="109372"/>
                  </a:lnTo>
                  <a:lnTo>
                    <a:pt x="75145" y="106618"/>
                  </a:lnTo>
                  <a:lnTo>
                    <a:pt x="77505" y="107799"/>
                  </a:lnTo>
                  <a:lnTo>
                    <a:pt x="78685" y="110553"/>
                  </a:lnTo>
                  <a:lnTo>
                    <a:pt x="79079" y="113307"/>
                  </a:lnTo>
                  <a:lnTo>
                    <a:pt x="81833" y="113307"/>
                  </a:lnTo>
                  <a:lnTo>
                    <a:pt x="83013" y="110553"/>
                  </a:lnTo>
                  <a:lnTo>
                    <a:pt x="83800" y="113307"/>
                  </a:lnTo>
                  <a:lnTo>
                    <a:pt x="87340" y="119208"/>
                  </a:lnTo>
                  <a:lnTo>
                    <a:pt x="90094" y="118421"/>
                  </a:lnTo>
                  <a:lnTo>
                    <a:pt x="93242" y="118028"/>
                  </a:lnTo>
                  <a:lnTo>
                    <a:pt x="91275" y="120782"/>
                  </a:lnTo>
                  <a:lnTo>
                    <a:pt x="94422" y="123536"/>
                  </a:lnTo>
                  <a:lnTo>
                    <a:pt x="97176" y="123536"/>
                  </a:lnTo>
                  <a:lnTo>
                    <a:pt x="97963" y="120388"/>
                  </a:lnTo>
                  <a:lnTo>
                    <a:pt x="101110" y="122355"/>
                  </a:lnTo>
                  <a:lnTo>
                    <a:pt x="102685" y="125110"/>
                  </a:lnTo>
                  <a:lnTo>
                    <a:pt x="105438" y="124323"/>
                  </a:lnTo>
                  <a:lnTo>
                    <a:pt x="107798" y="121569"/>
                  </a:lnTo>
                  <a:lnTo>
                    <a:pt x="109373" y="121569"/>
                  </a:lnTo>
                  <a:lnTo>
                    <a:pt x="112127" y="122749"/>
                  </a:lnTo>
                  <a:lnTo>
                    <a:pt x="110553" y="122355"/>
                  </a:lnTo>
                  <a:lnTo>
                    <a:pt x="107406" y="124323"/>
                  </a:lnTo>
                  <a:lnTo>
                    <a:pt x="107012" y="127470"/>
                  </a:lnTo>
                  <a:lnTo>
                    <a:pt x="108586" y="130224"/>
                  </a:lnTo>
                  <a:lnTo>
                    <a:pt x="111340" y="132978"/>
                  </a:lnTo>
                  <a:lnTo>
                    <a:pt x="114487" y="134158"/>
                  </a:lnTo>
                  <a:lnTo>
                    <a:pt x="117634" y="136519"/>
                  </a:lnTo>
                  <a:lnTo>
                    <a:pt x="120389" y="138486"/>
                  </a:lnTo>
                  <a:lnTo>
                    <a:pt x="123143" y="140060"/>
                  </a:lnTo>
                  <a:lnTo>
                    <a:pt x="125896" y="139666"/>
                  </a:lnTo>
                  <a:lnTo>
                    <a:pt x="129044" y="139273"/>
                  </a:lnTo>
                  <a:lnTo>
                    <a:pt x="131798" y="139666"/>
                  </a:lnTo>
                  <a:lnTo>
                    <a:pt x="134945" y="140453"/>
                  </a:lnTo>
                  <a:lnTo>
                    <a:pt x="167600" y="154223"/>
                  </a:lnTo>
                  <a:lnTo>
                    <a:pt x="167993" y="154617"/>
                  </a:lnTo>
                  <a:lnTo>
                    <a:pt x="169567" y="155010"/>
                  </a:lnTo>
                  <a:lnTo>
                    <a:pt x="171141" y="155797"/>
                  </a:lnTo>
                  <a:lnTo>
                    <a:pt x="186091" y="160911"/>
                  </a:lnTo>
                  <a:lnTo>
                    <a:pt x="186484" y="160911"/>
                  </a:lnTo>
                  <a:lnTo>
                    <a:pt x="189239" y="162092"/>
                  </a:lnTo>
                  <a:lnTo>
                    <a:pt x="189631" y="162878"/>
                  </a:lnTo>
                  <a:lnTo>
                    <a:pt x="190418" y="162485"/>
                  </a:lnTo>
                  <a:lnTo>
                    <a:pt x="192779" y="164059"/>
                  </a:lnTo>
                  <a:lnTo>
                    <a:pt x="192779" y="165239"/>
                  </a:lnTo>
                  <a:lnTo>
                    <a:pt x="195140" y="165632"/>
                  </a:lnTo>
                  <a:lnTo>
                    <a:pt x="197107" y="166419"/>
                  </a:lnTo>
                  <a:lnTo>
                    <a:pt x="198680" y="167993"/>
                  </a:lnTo>
                  <a:lnTo>
                    <a:pt x="199861" y="171140"/>
                  </a:lnTo>
                  <a:lnTo>
                    <a:pt x="202615" y="171927"/>
                  </a:lnTo>
                  <a:lnTo>
                    <a:pt x="204976" y="175075"/>
                  </a:lnTo>
                  <a:lnTo>
                    <a:pt x="206549" y="171927"/>
                  </a:lnTo>
                  <a:lnTo>
                    <a:pt x="206155" y="178615"/>
                  </a:lnTo>
                  <a:lnTo>
                    <a:pt x="205762" y="179009"/>
                  </a:lnTo>
                  <a:lnTo>
                    <a:pt x="205762" y="182156"/>
                  </a:lnTo>
                  <a:lnTo>
                    <a:pt x="206943" y="183337"/>
                  </a:lnTo>
                  <a:lnTo>
                    <a:pt x="214811" y="181369"/>
                  </a:lnTo>
                  <a:lnTo>
                    <a:pt x="213237" y="182156"/>
                  </a:lnTo>
                  <a:lnTo>
                    <a:pt x="210483" y="183730"/>
                  </a:lnTo>
                  <a:lnTo>
                    <a:pt x="210089" y="186484"/>
                  </a:lnTo>
                  <a:lnTo>
                    <a:pt x="212844" y="187271"/>
                  </a:lnTo>
                  <a:lnTo>
                    <a:pt x="215991" y="186878"/>
                  </a:lnTo>
                  <a:lnTo>
                    <a:pt x="214417" y="187664"/>
                  </a:lnTo>
                  <a:lnTo>
                    <a:pt x="211270" y="189238"/>
                  </a:lnTo>
                  <a:lnTo>
                    <a:pt x="212844" y="192385"/>
                  </a:lnTo>
                  <a:lnTo>
                    <a:pt x="212844" y="193172"/>
                  </a:lnTo>
                  <a:lnTo>
                    <a:pt x="214024" y="195926"/>
                  </a:lnTo>
                  <a:lnTo>
                    <a:pt x="214811" y="199074"/>
                  </a:lnTo>
                  <a:lnTo>
                    <a:pt x="214811" y="201828"/>
                  </a:lnTo>
                  <a:lnTo>
                    <a:pt x="215991" y="204582"/>
                  </a:lnTo>
                  <a:lnTo>
                    <a:pt x="217958" y="207336"/>
                  </a:lnTo>
                  <a:lnTo>
                    <a:pt x="220713" y="210483"/>
                  </a:lnTo>
                  <a:lnTo>
                    <a:pt x="222680" y="213630"/>
                  </a:lnTo>
                  <a:lnTo>
                    <a:pt x="225434" y="215991"/>
                  </a:lnTo>
                  <a:lnTo>
                    <a:pt x="222680" y="217171"/>
                  </a:lnTo>
                  <a:lnTo>
                    <a:pt x="228187" y="220712"/>
                  </a:lnTo>
                  <a:lnTo>
                    <a:pt x="230941" y="221499"/>
                  </a:lnTo>
                  <a:lnTo>
                    <a:pt x="234089" y="224253"/>
                  </a:lnTo>
                  <a:lnTo>
                    <a:pt x="237236" y="225827"/>
                  </a:lnTo>
                  <a:lnTo>
                    <a:pt x="236056" y="225827"/>
                  </a:lnTo>
                  <a:lnTo>
                    <a:pt x="232908" y="224253"/>
                  </a:lnTo>
                  <a:lnTo>
                    <a:pt x="229761" y="221499"/>
                  </a:lnTo>
                  <a:lnTo>
                    <a:pt x="227007" y="221499"/>
                  </a:lnTo>
                  <a:lnTo>
                    <a:pt x="224253" y="222679"/>
                  </a:lnTo>
                  <a:lnTo>
                    <a:pt x="221105" y="222286"/>
                  </a:lnTo>
                  <a:lnTo>
                    <a:pt x="218352" y="224253"/>
                  </a:lnTo>
                  <a:lnTo>
                    <a:pt x="221105" y="227007"/>
                  </a:lnTo>
                  <a:lnTo>
                    <a:pt x="223466" y="230154"/>
                  </a:lnTo>
                  <a:lnTo>
                    <a:pt x="226220" y="231728"/>
                  </a:lnTo>
                  <a:lnTo>
                    <a:pt x="228974" y="231728"/>
                  </a:lnTo>
                  <a:lnTo>
                    <a:pt x="231335" y="233302"/>
                  </a:lnTo>
                  <a:lnTo>
                    <a:pt x="229368" y="233695"/>
                  </a:lnTo>
                  <a:lnTo>
                    <a:pt x="228974" y="233302"/>
                  </a:lnTo>
                  <a:lnTo>
                    <a:pt x="225826" y="233302"/>
                  </a:lnTo>
                  <a:lnTo>
                    <a:pt x="223073" y="234876"/>
                  </a:lnTo>
                  <a:lnTo>
                    <a:pt x="223859" y="235662"/>
                  </a:lnTo>
                  <a:lnTo>
                    <a:pt x="226614" y="238023"/>
                  </a:lnTo>
                  <a:lnTo>
                    <a:pt x="227794" y="241170"/>
                  </a:lnTo>
                  <a:lnTo>
                    <a:pt x="228974" y="243924"/>
                  </a:lnTo>
                  <a:lnTo>
                    <a:pt x="232122" y="244711"/>
                  </a:lnTo>
                  <a:lnTo>
                    <a:pt x="231728" y="247859"/>
                  </a:lnTo>
                  <a:lnTo>
                    <a:pt x="230548" y="250613"/>
                  </a:lnTo>
                  <a:lnTo>
                    <a:pt x="229368" y="253366"/>
                  </a:lnTo>
                  <a:lnTo>
                    <a:pt x="227794" y="256514"/>
                  </a:lnTo>
                  <a:lnTo>
                    <a:pt x="226220" y="259268"/>
                  </a:lnTo>
                  <a:lnTo>
                    <a:pt x="225826" y="262022"/>
                  </a:lnTo>
                  <a:lnTo>
                    <a:pt x="223466" y="265169"/>
                  </a:lnTo>
                  <a:lnTo>
                    <a:pt x="224647" y="268317"/>
                  </a:lnTo>
                  <a:lnTo>
                    <a:pt x="227401" y="268317"/>
                  </a:lnTo>
                  <a:lnTo>
                    <a:pt x="230154" y="265956"/>
                  </a:lnTo>
                  <a:lnTo>
                    <a:pt x="232908" y="264383"/>
                  </a:lnTo>
                  <a:lnTo>
                    <a:pt x="236056" y="261629"/>
                  </a:lnTo>
                  <a:lnTo>
                    <a:pt x="235662" y="264383"/>
                  </a:lnTo>
                  <a:lnTo>
                    <a:pt x="238023" y="267136"/>
                  </a:lnTo>
                  <a:lnTo>
                    <a:pt x="241171" y="267136"/>
                  </a:lnTo>
                  <a:lnTo>
                    <a:pt x="244318" y="266350"/>
                  </a:lnTo>
                  <a:lnTo>
                    <a:pt x="247072" y="264776"/>
                  </a:lnTo>
                  <a:lnTo>
                    <a:pt x="249826" y="264383"/>
                  </a:lnTo>
                  <a:lnTo>
                    <a:pt x="252580" y="263989"/>
                  </a:lnTo>
                  <a:lnTo>
                    <a:pt x="255333" y="264383"/>
                  </a:lnTo>
                  <a:lnTo>
                    <a:pt x="258481" y="263202"/>
                  </a:lnTo>
                  <a:lnTo>
                    <a:pt x="259268" y="262415"/>
                  </a:lnTo>
                  <a:lnTo>
                    <a:pt x="259268" y="262809"/>
                  </a:lnTo>
                  <a:lnTo>
                    <a:pt x="258481" y="263202"/>
                  </a:lnTo>
                  <a:lnTo>
                    <a:pt x="258481" y="263989"/>
                  </a:lnTo>
                  <a:lnTo>
                    <a:pt x="257694" y="264776"/>
                  </a:lnTo>
                  <a:lnTo>
                    <a:pt x="258088" y="267530"/>
                  </a:lnTo>
                  <a:lnTo>
                    <a:pt x="258875" y="268710"/>
                  </a:lnTo>
                  <a:lnTo>
                    <a:pt x="261629" y="271464"/>
                  </a:lnTo>
                  <a:lnTo>
                    <a:pt x="264382" y="274218"/>
                  </a:lnTo>
                  <a:lnTo>
                    <a:pt x="265169" y="275398"/>
                  </a:lnTo>
                  <a:lnTo>
                    <a:pt x="268317" y="277759"/>
                  </a:lnTo>
                  <a:lnTo>
                    <a:pt x="270284" y="280120"/>
                  </a:lnTo>
                  <a:lnTo>
                    <a:pt x="272251" y="282873"/>
                  </a:lnTo>
                  <a:lnTo>
                    <a:pt x="275399" y="288381"/>
                  </a:lnTo>
                  <a:lnTo>
                    <a:pt x="277759" y="291529"/>
                  </a:lnTo>
                  <a:lnTo>
                    <a:pt x="280119" y="294283"/>
                  </a:lnTo>
                  <a:lnTo>
                    <a:pt x="282873" y="297037"/>
                  </a:lnTo>
                  <a:lnTo>
                    <a:pt x="285628" y="298610"/>
                  </a:lnTo>
                  <a:lnTo>
                    <a:pt x="285628" y="299004"/>
                  </a:lnTo>
                  <a:lnTo>
                    <a:pt x="288382" y="301758"/>
                  </a:lnTo>
                  <a:lnTo>
                    <a:pt x="291136" y="302151"/>
                  </a:lnTo>
                  <a:lnTo>
                    <a:pt x="293889" y="300184"/>
                  </a:lnTo>
                  <a:lnTo>
                    <a:pt x="295070" y="299791"/>
                  </a:lnTo>
                  <a:lnTo>
                    <a:pt x="298217" y="300184"/>
                  </a:lnTo>
                  <a:lnTo>
                    <a:pt x="299791" y="300971"/>
                  </a:lnTo>
                  <a:lnTo>
                    <a:pt x="302938" y="301758"/>
                  </a:lnTo>
                  <a:lnTo>
                    <a:pt x="305692" y="302151"/>
                  </a:lnTo>
                  <a:lnTo>
                    <a:pt x="308446" y="301364"/>
                  </a:lnTo>
                  <a:lnTo>
                    <a:pt x="311201" y="302151"/>
                  </a:lnTo>
                  <a:lnTo>
                    <a:pt x="313955" y="301364"/>
                  </a:lnTo>
                  <a:lnTo>
                    <a:pt x="317102" y="300971"/>
                  </a:lnTo>
                  <a:lnTo>
                    <a:pt x="319856" y="300578"/>
                  </a:lnTo>
                  <a:lnTo>
                    <a:pt x="321823" y="300184"/>
                  </a:lnTo>
                  <a:lnTo>
                    <a:pt x="324183" y="301364"/>
                  </a:lnTo>
                  <a:lnTo>
                    <a:pt x="324183" y="302151"/>
                  </a:lnTo>
                  <a:lnTo>
                    <a:pt x="324577" y="302151"/>
                  </a:lnTo>
                  <a:lnTo>
                    <a:pt x="324577" y="302545"/>
                  </a:lnTo>
                  <a:lnTo>
                    <a:pt x="324971" y="302545"/>
                  </a:lnTo>
                  <a:lnTo>
                    <a:pt x="324971" y="302938"/>
                  </a:lnTo>
                  <a:lnTo>
                    <a:pt x="325363" y="302938"/>
                  </a:lnTo>
                  <a:lnTo>
                    <a:pt x="325363" y="303332"/>
                  </a:lnTo>
                  <a:lnTo>
                    <a:pt x="325363" y="303332"/>
                  </a:lnTo>
                  <a:lnTo>
                    <a:pt x="325363" y="303725"/>
                  </a:lnTo>
                  <a:lnTo>
                    <a:pt x="326150" y="303725"/>
                  </a:lnTo>
                  <a:lnTo>
                    <a:pt x="326150" y="303725"/>
                  </a:lnTo>
                  <a:lnTo>
                    <a:pt x="327724" y="303725"/>
                  </a:lnTo>
                  <a:lnTo>
                    <a:pt x="327724" y="303725"/>
                  </a:lnTo>
                  <a:lnTo>
                    <a:pt x="328117" y="303725"/>
                  </a:lnTo>
                  <a:lnTo>
                    <a:pt x="328117" y="303332"/>
                  </a:lnTo>
                  <a:lnTo>
                    <a:pt x="332839" y="305692"/>
                  </a:lnTo>
                  <a:lnTo>
                    <a:pt x="334019" y="305692"/>
                  </a:lnTo>
                  <a:lnTo>
                    <a:pt x="336773" y="304119"/>
                  </a:lnTo>
                  <a:lnTo>
                    <a:pt x="339920" y="302545"/>
                  </a:lnTo>
                  <a:lnTo>
                    <a:pt x="342675" y="300971"/>
                  </a:lnTo>
                  <a:lnTo>
                    <a:pt x="345429" y="298610"/>
                  </a:lnTo>
                  <a:lnTo>
                    <a:pt x="348576" y="297430"/>
                  </a:lnTo>
                  <a:lnTo>
                    <a:pt x="351330" y="295857"/>
                  </a:lnTo>
                  <a:lnTo>
                    <a:pt x="354478" y="295070"/>
                  </a:lnTo>
                  <a:lnTo>
                    <a:pt x="355264" y="294676"/>
                  </a:lnTo>
                  <a:lnTo>
                    <a:pt x="355657" y="294676"/>
                  </a:lnTo>
                  <a:lnTo>
                    <a:pt x="355657" y="295070"/>
                  </a:lnTo>
                  <a:lnTo>
                    <a:pt x="355657" y="295070"/>
                  </a:lnTo>
                  <a:lnTo>
                    <a:pt x="355657" y="295463"/>
                  </a:lnTo>
                  <a:lnTo>
                    <a:pt x="356051" y="295463"/>
                  </a:lnTo>
                  <a:lnTo>
                    <a:pt x="356051" y="295463"/>
                  </a:lnTo>
                  <a:lnTo>
                    <a:pt x="356445" y="295463"/>
                  </a:lnTo>
                  <a:lnTo>
                    <a:pt x="356445" y="295857"/>
                  </a:lnTo>
                  <a:lnTo>
                    <a:pt x="358412" y="295857"/>
                  </a:lnTo>
                  <a:lnTo>
                    <a:pt x="358412" y="295463"/>
                  </a:lnTo>
                  <a:lnTo>
                    <a:pt x="358805" y="295463"/>
                  </a:lnTo>
                  <a:lnTo>
                    <a:pt x="358805" y="295463"/>
                  </a:lnTo>
                  <a:lnTo>
                    <a:pt x="359199" y="295463"/>
                  </a:lnTo>
                  <a:lnTo>
                    <a:pt x="359591" y="295070"/>
                  </a:lnTo>
                  <a:lnTo>
                    <a:pt x="359591" y="294676"/>
                  </a:lnTo>
                  <a:lnTo>
                    <a:pt x="359591" y="294676"/>
                  </a:lnTo>
                  <a:lnTo>
                    <a:pt x="359591" y="294283"/>
                  </a:lnTo>
                  <a:lnTo>
                    <a:pt x="359985" y="294283"/>
                  </a:lnTo>
                  <a:lnTo>
                    <a:pt x="359985" y="293496"/>
                  </a:lnTo>
                  <a:lnTo>
                    <a:pt x="359985" y="292709"/>
                  </a:lnTo>
                  <a:lnTo>
                    <a:pt x="359591" y="292709"/>
                  </a:lnTo>
                  <a:lnTo>
                    <a:pt x="359591" y="291922"/>
                  </a:lnTo>
                  <a:lnTo>
                    <a:pt x="359591" y="291922"/>
                  </a:lnTo>
                  <a:lnTo>
                    <a:pt x="359591" y="291529"/>
                  </a:lnTo>
                  <a:lnTo>
                    <a:pt x="359199" y="291529"/>
                  </a:lnTo>
                  <a:lnTo>
                    <a:pt x="359199" y="291529"/>
                  </a:lnTo>
                  <a:lnTo>
                    <a:pt x="358805" y="291529"/>
                  </a:lnTo>
                  <a:lnTo>
                    <a:pt x="358805" y="291135"/>
                  </a:lnTo>
                  <a:lnTo>
                    <a:pt x="358412" y="291135"/>
                  </a:lnTo>
                  <a:lnTo>
                    <a:pt x="358412" y="290742"/>
                  </a:lnTo>
                  <a:lnTo>
                    <a:pt x="358018" y="290742"/>
                  </a:lnTo>
                  <a:lnTo>
                    <a:pt x="358412" y="288381"/>
                  </a:lnTo>
                  <a:lnTo>
                    <a:pt x="357624" y="285234"/>
                  </a:lnTo>
                  <a:lnTo>
                    <a:pt x="356445" y="283267"/>
                  </a:lnTo>
                  <a:lnTo>
                    <a:pt x="354478" y="280513"/>
                  </a:lnTo>
                  <a:lnTo>
                    <a:pt x="351723" y="277759"/>
                  </a:lnTo>
                  <a:lnTo>
                    <a:pt x="348969" y="275792"/>
                  </a:lnTo>
                  <a:lnTo>
                    <a:pt x="346215" y="275398"/>
                  </a:lnTo>
                  <a:lnTo>
                    <a:pt x="343461" y="273431"/>
                  </a:lnTo>
                  <a:lnTo>
                    <a:pt x="340314" y="271464"/>
                  </a:lnTo>
                  <a:lnTo>
                    <a:pt x="337166" y="271071"/>
                  </a:lnTo>
                  <a:lnTo>
                    <a:pt x="334412" y="272251"/>
                  </a:lnTo>
                  <a:lnTo>
                    <a:pt x="332445" y="273038"/>
                  </a:lnTo>
                  <a:lnTo>
                    <a:pt x="330478" y="272251"/>
                  </a:lnTo>
                  <a:lnTo>
                    <a:pt x="329298" y="270284"/>
                  </a:lnTo>
                  <a:lnTo>
                    <a:pt x="329298" y="269103"/>
                  </a:lnTo>
                  <a:lnTo>
                    <a:pt x="329692" y="269103"/>
                  </a:lnTo>
                  <a:lnTo>
                    <a:pt x="330872" y="271858"/>
                  </a:lnTo>
                  <a:lnTo>
                    <a:pt x="334019" y="271464"/>
                  </a:lnTo>
                  <a:lnTo>
                    <a:pt x="336773" y="270284"/>
                  </a:lnTo>
                  <a:lnTo>
                    <a:pt x="338741" y="269890"/>
                  </a:lnTo>
                  <a:lnTo>
                    <a:pt x="341887" y="269890"/>
                  </a:lnTo>
                  <a:lnTo>
                    <a:pt x="342675" y="270284"/>
                  </a:lnTo>
                  <a:lnTo>
                    <a:pt x="345429" y="271464"/>
                  </a:lnTo>
                  <a:lnTo>
                    <a:pt x="348576" y="271464"/>
                  </a:lnTo>
                  <a:lnTo>
                    <a:pt x="351330" y="270677"/>
                  </a:lnTo>
                  <a:lnTo>
                    <a:pt x="354478" y="270284"/>
                  </a:lnTo>
                  <a:lnTo>
                    <a:pt x="357231" y="269497"/>
                  </a:lnTo>
                  <a:lnTo>
                    <a:pt x="359985" y="269103"/>
                  </a:lnTo>
                  <a:lnTo>
                    <a:pt x="363133" y="268710"/>
                  </a:lnTo>
                  <a:lnTo>
                    <a:pt x="365887" y="268710"/>
                  </a:lnTo>
                  <a:lnTo>
                    <a:pt x="366673" y="265956"/>
                  </a:lnTo>
                  <a:lnTo>
                    <a:pt x="365887" y="265169"/>
                  </a:lnTo>
                  <a:lnTo>
                    <a:pt x="365100" y="262022"/>
                  </a:lnTo>
                  <a:lnTo>
                    <a:pt x="362346" y="260055"/>
                  </a:lnTo>
                  <a:lnTo>
                    <a:pt x="360379" y="258088"/>
                  </a:lnTo>
                  <a:lnTo>
                    <a:pt x="359591" y="257694"/>
                  </a:lnTo>
                  <a:lnTo>
                    <a:pt x="359591" y="256907"/>
                  </a:lnTo>
                  <a:lnTo>
                    <a:pt x="362346" y="258088"/>
                  </a:lnTo>
                  <a:lnTo>
                    <a:pt x="365493" y="260842"/>
                  </a:lnTo>
                  <a:lnTo>
                    <a:pt x="368248" y="260055"/>
                  </a:lnTo>
                  <a:lnTo>
                    <a:pt x="371394" y="262022"/>
                  </a:lnTo>
                  <a:lnTo>
                    <a:pt x="374149" y="262022"/>
                  </a:lnTo>
                  <a:lnTo>
                    <a:pt x="373755" y="259661"/>
                  </a:lnTo>
                  <a:lnTo>
                    <a:pt x="376116" y="260055"/>
                  </a:lnTo>
                  <a:lnTo>
                    <a:pt x="376509" y="260055"/>
                  </a:lnTo>
                  <a:lnTo>
                    <a:pt x="376903" y="260055"/>
                  </a:lnTo>
                  <a:lnTo>
                    <a:pt x="376509" y="257301"/>
                  </a:lnTo>
                  <a:lnTo>
                    <a:pt x="374936" y="254547"/>
                  </a:lnTo>
                  <a:lnTo>
                    <a:pt x="374542" y="251399"/>
                  </a:lnTo>
                  <a:lnTo>
                    <a:pt x="373361" y="248645"/>
                  </a:lnTo>
                  <a:lnTo>
                    <a:pt x="372182" y="245891"/>
                  </a:lnTo>
                  <a:lnTo>
                    <a:pt x="370608" y="243531"/>
                  </a:lnTo>
                  <a:lnTo>
                    <a:pt x="369821" y="242351"/>
                  </a:lnTo>
                  <a:lnTo>
                    <a:pt x="373361" y="244711"/>
                  </a:lnTo>
                  <a:lnTo>
                    <a:pt x="373755" y="246285"/>
                  </a:lnTo>
                  <a:lnTo>
                    <a:pt x="376116" y="249432"/>
                  </a:lnTo>
                  <a:lnTo>
                    <a:pt x="378870" y="250613"/>
                  </a:lnTo>
                  <a:lnTo>
                    <a:pt x="381624" y="251793"/>
                  </a:lnTo>
                  <a:lnTo>
                    <a:pt x="384771" y="252580"/>
                  </a:lnTo>
                  <a:lnTo>
                    <a:pt x="386738" y="251006"/>
                  </a:lnTo>
                  <a:lnTo>
                    <a:pt x="387525" y="248252"/>
                  </a:lnTo>
                  <a:lnTo>
                    <a:pt x="389886" y="249432"/>
                  </a:lnTo>
                  <a:lnTo>
                    <a:pt x="393033" y="252186"/>
                  </a:lnTo>
                  <a:lnTo>
                    <a:pt x="392246" y="246678"/>
                  </a:lnTo>
                  <a:lnTo>
                    <a:pt x="392246" y="243924"/>
                  </a:lnTo>
                  <a:lnTo>
                    <a:pt x="393820" y="247072"/>
                  </a:lnTo>
                  <a:lnTo>
                    <a:pt x="395000" y="243924"/>
                  </a:lnTo>
                  <a:lnTo>
                    <a:pt x="395787" y="243924"/>
                  </a:lnTo>
                  <a:lnTo>
                    <a:pt x="396180" y="247072"/>
                  </a:lnTo>
                  <a:lnTo>
                    <a:pt x="398934" y="248645"/>
                  </a:lnTo>
                  <a:lnTo>
                    <a:pt x="399328" y="245891"/>
                  </a:lnTo>
                  <a:lnTo>
                    <a:pt x="399722" y="245891"/>
                  </a:lnTo>
                  <a:lnTo>
                    <a:pt x="402082" y="249039"/>
                  </a:lnTo>
                  <a:lnTo>
                    <a:pt x="404835" y="248645"/>
                  </a:lnTo>
                  <a:lnTo>
                    <a:pt x="405229" y="245891"/>
                  </a:lnTo>
                  <a:lnTo>
                    <a:pt x="405623" y="249039"/>
                  </a:lnTo>
                  <a:lnTo>
                    <a:pt x="404443" y="251793"/>
                  </a:lnTo>
                  <a:lnTo>
                    <a:pt x="407590" y="253366"/>
                  </a:lnTo>
                  <a:lnTo>
                    <a:pt x="409557" y="254153"/>
                  </a:lnTo>
                  <a:lnTo>
                    <a:pt x="412311" y="254547"/>
                  </a:lnTo>
                  <a:lnTo>
                    <a:pt x="414278" y="254153"/>
                  </a:lnTo>
                  <a:lnTo>
                    <a:pt x="445359" y="273038"/>
                  </a:lnTo>
                  <a:lnTo>
                    <a:pt x="445752" y="276185"/>
                  </a:lnTo>
                  <a:lnTo>
                    <a:pt x="447326" y="278939"/>
                  </a:lnTo>
                  <a:lnTo>
                    <a:pt x="448506" y="280513"/>
                  </a:lnTo>
                  <a:lnTo>
                    <a:pt x="450867" y="283267"/>
                  </a:lnTo>
                  <a:lnTo>
                    <a:pt x="451654" y="286414"/>
                  </a:lnTo>
                  <a:lnTo>
                    <a:pt x="454014" y="289562"/>
                  </a:lnTo>
                  <a:lnTo>
                    <a:pt x="452440" y="292316"/>
                  </a:lnTo>
                  <a:lnTo>
                    <a:pt x="454014" y="295070"/>
                  </a:lnTo>
                  <a:lnTo>
                    <a:pt x="457161" y="296250"/>
                  </a:lnTo>
                  <a:lnTo>
                    <a:pt x="459915" y="297430"/>
                  </a:lnTo>
                  <a:lnTo>
                    <a:pt x="462670" y="298217"/>
                  </a:lnTo>
                  <a:lnTo>
                    <a:pt x="461882" y="298610"/>
                  </a:lnTo>
                  <a:lnTo>
                    <a:pt x="461882" y="301364"/>
                  </a:lnTo>
                  <a:lnTo>
                    <a:pt x="463849" y="304512"/>
                  </a:lnTo>
                  <a:lnTo>
                    <a:pt x="464637" y="307659"/>
                  </a:lnTo>
                  <a:lnTo>
                    <a:pt x="465817" y="310807"/>
                  </a:lnTo>
                  <a:lnTo>
                    <a:pt x="467391" y="310807"/>
                  </a:lnTo>
                  <a:lnTo>
                    <a:pt x="470145" y="312380"/>
                  </a:lnTo>
                  <a:lnTo>
                    <a:pt x="472898" y="311987"/>
                  </a:lnTo>
                  <a:lnTo>
                    <a:pt x="474473" y="315134"/>
                  </a:lnTo>
                  <a:lnTo>
                    <a:pt x="476046" y="317888"/>
                  </a:lnTo>
                  <a:lnTo>
                    <a:pt x="477619" y="321036"/>
                  </a:lnTo>
                  <a:lnTo>
                    <a:pt x="477619" y="323790"/>
                  </a:lnTo>
                  <a:lnTo>
                    <a:pt x="479980" y="326937"/>
                  </a:lnTo>
                  <a:lnTo>
                    <a:pt x="481947" y="328511"/>
                  </a:lnTo>
                  <a:lnTo>
                    <a:pt x="483521" y="331658"/>
                  </a:lnTo>
                  <a:lnTo>
                    <a:pt x="485882" y="330085"/>
                  </a:lnTo>
                  <a:lnTo>
                    <a:pt x="488635" y="332052"/>
                  </a:lnTo>
                  <a:lnTo>
                    <a:pt x="491389" y="334019"/>
                  </a:lnTo>
                  <a:lnTo>
                    <a:pt x="494144" y="333232"/>
                  </a:lnTo>
                  <a:lnTo>
                    <a:pt x="496898" y="330871"/>
                  </a:lnTo>
                  <a:lnTo>
                    <a:pt x="499652" y="332839"/>
                  </a:lnTo>
                  <a:lnTo>
                    <a:pt x="502405" y="334806"/>
                  </a:lnTo>
                  <a:lnTo>
                    <a:pt x="505553" y="335593"/>
                  </a:lnTo>
                  <a:lnTo>
                    <a:pt x="508307" y="334806"/>
                  </a:lnTo>
                  <a:lnTo>
                    <a:pt x="511061" y="334412"/>
                  </a:lnTo>
                  <a:lnTo>
                    <a:pt x="512241" y="334019"/>
                  </a:lnTo>
                  <a:lnTo>
                    <a:pt x="514208" y="334412"/>
                  </a:lnTo>
                  <a:lnTo>
                    <a:pt x="513422" y="336380"/>
                  </a:lnTo>
                  <a:lnTo>
                    <a:pt x="516569" y="336380"/>
                  </a:lnTo>
                  <a:lnTo>
                    <a:pt x="519323" y="337953"/>
                  </a:lnTo>
                  <a:lnTo>
                    <a:pt x="522471" y="336773"/>
                  </a:lnTo>
                  <a:lnTo>
                    <a:pt x="525618" y="336773"/>
                  </a:lnTo>
                  <a:lnTo>
                    <a:pt x="528372" y="337953"/>
                  </a:lnTo>
                  <a:lnTo>
                    <a:pt x="531520" y="339134"/>
                  </a:lnTo>
                  <a:lnTo>
                    <a:pt x="534273" y="339527"/>
                  </a:lnTo>
                  <a:lnTo>
                    <a:pt x="537027" y="340314"/>
                  </a:lnTo>
                  <a:lnTo>
                    <a:pt x="539781" y="339920"/>
                  </a:lnTo>
                  <a:lnTo>
                    <a:pt x="541355" y="339920"/>
                  </a:lnTo>
                  <a:lnTo>
                    <a:pt x="546469" y="341887"/>
                  </a:lnTo>
                  <a:lnTo>
                    <a:pt x="547257" y="342281"/>
                  </a:lnTo>
                  <a:lnTo>
                    <a:pt x="548043" y="345035"/>
                  </a:lnTo>
                  <a:lnTo>
                    <a:pt x="550403" y="343461"/>
                  </a:lnTo>
                  <a:lnTo>
                    <a:pt x="550403" y="346215"/>
                  </a:lnTo>
                  <a:lnTo>
                    <a:pt x="547649" y="345822"/>
                  </a:lnTo>
                  <a:lnTo>
                    <a:pt x="549224" y="348576"/>
                  </a:lnTo>
                  <a:lnTo>
                    <a:pt x="550010" y="348182"/>
                  </a:lnTo>
                  <a:lnTo>
                    <a:pt x="552764" y="350936"/>
                  </a:lnTo>
                  <a:lnTo>
                    <a:pt x="555518" y="352117"/>
                  </a:lnTo>
                  <a:lnTo>
                    <a:pt x="558666" y="351723"/>
                  </a:lnTo>
                  <a:lnTo>
                    <a:pt x="561419" y="352117"/>
                  </a:lnTo>
                  <a:lnTo>
                    <a:pt x="564567" y="349756"/>
                  </a:lnTo>
                  <a:lnTo>
                    <a:pt x="567321" y="349363"/>
                  </a:lnTo>
                  <a:lnTo>
                    <a:pt x="570075" y="348182"/>
                  </a:lnTo>
                  <a:lnTo>
                    <a:pt x="570075" y="345428"/>
                  </a:lnTo>
                  <a:lnTo>
                    <a:pt x="567321" y="343854"/>
                  </a:lnTo>
                  <a:lnTo>
                    <a:pt x="564567" y="343068"/>
                  </a:lnTo>
                  <a:lnTo>
                    <a:pt x="561813" y="341887"/>
                  </a:lnTo>
                  <a:lnTo>
                    <a:pt x="562994" y="339134"/>
                  </a:lnTo>
                  <a:lnTo>
                    <a:pt x="565747" y="339527"/>
                  </a:lnTo>
                  <a:lnTo>
                    <a:pt x="568895" y="340314"/>
                  </a:lnTo>
                  <a:lnTo>
                    <a:pt x="571649" y="339527"/>
                  </a:lnTo>
                  <a:lnTo>
                    <a:pt x="574403" y="337953"/>
                  </a:lnTo>
                  <a:lnTo>
                    <a:pt x="577550" y="336773"/>
                  </a:lnTo>
                  <a:lnTo>
                    <a:pt x="574403" y="337560"/>
                  </a:lnTo>
                  <a:lnTo>
                    <a:pt x="571649" y="337953"/>
                  </a:lnTo>
                  <a:lnTo>
                    <a:pt x="568895" y="336773"/>
                  </a:lnTo>
                  <a:lnTo>
                    <a:pt x="565747" y="335593"/>
                  </a:lnTo>
                  <a:lnTo>
                    <a:pt x="562994" y="335593"/>
                  </a:lnTo>
                  <a:lnTo>
                    <a:pt x="559846" y="334412"/>
                  </a:lnTo>
                  <a:lnTo>
                    <a:pt x="557092" y="332052"/>
                  </a:lnTo>
                  <a:lnTo>
                    <a:pt x="553945" y="331265"/>
                  </a:lnTo>
                  <a:lnTo>
                    <a:pt x="551978" y="331265"/>
                  </a:lnTo>
                  <a:lnTo>
                    <a:pt x="548043" y="328511"/>
                  </a:lnTo>
                  <a:lnTo>
                    <a:pt x="553158" y="319856"/>
                  </a:lnTo>
                  <a:lnTo>
                    <a:pt x="553945" y="316708"/>
                  </a:lnTo>
                  <a:lnTo>
                    <a:pt x="553551" y="315921"/>
                  </a:lnTo>
                  <a:lnTo>
                    <a:pt x="546469" y="315528"/>
                  </a:lnTo>
                  <a:lnTo>
                    <a:pt x="544502" y="315134"/>
                  </a:lnTo>
                  <a:lnTo>
                    <a:pt x="543715" y="315134"/>
                  </a:lnTo>
                  <a:lnTo>
                    <a:pt x="540175" y="315134"/>
                  </a:lnTo>
                  <a:lnTo>
                    <a:pt x="538994" y="314741"/>
                  </a:lnTo>
                  <a:lnTo>
                    <a:pt x="537027" y="314741"/>
                  </a:lnTo>
                  <a:lnTo>
                    <a:pt x="530732" y="305692"/>
                  </a:lnTo>
                  <a:lnTo>
                    <a:pt x="532306" y="302938"/>
                  </a:lnTo>
                  <a:lnTo>
                    <a:pt x="534666" y="300184"/>
                  </a:lnTo>
                  <a:lnTo>
                    <a:pt x="534666" y="297037"/>
                  </a:lnTo>
                  <a:lnTo>
                    <a:pt x="531520" y="294676"/>
                  </a:lnTo>
                  <a:lnTo>
                    <a:pt x="528765" y="294676"/>
                  </a:lnTo>
                  <a:lnTo>
                    <a:pt x="526011" y="296250"/>
                  </a:lnTo>
                  <a:lnTo>
                    <a:pt x="524044" y="296250"/>
                  </a:lnTo>
                  <a:lnTo>
                    <a:pt x="502799" y="264776"/>
                  </a:lnTo>
                  <a:lnTo>
                    <a:pt x="502799" y="262022"/>
                  </a:lnTo>
                  <a:lnTo>
                    <a:pt x="499652" y="262022"/>
                  </a:lnTo>
                  <a:lnTo>
                    <a:pt x="499258" y="262415"/>
                  </a:lnTo>
                  <a:lnTo>
                    <a:pt x="498078" y="260448"/>
                  </a:lnTo>
                  <a:lnTo>
                    <a:pt x="470538" y="217565"/>
                  </a:lnTo>
                  <a:lnTo>
                    <a:pt x="473685" y="217171"/>
                  </a:lnTo>
                  <a:lnTo>
                    <a:pt x="476833" y="216384"/>
                  </a:lnTo>
                  <a:lnTo>
                    <a:pt x="479586" y="217565"/>
                  </a:lnTo>
                  <a:lnTo>
                    <a:pt x="482734" y="217958"/>
                  </a:lnTo>
                  <a:lnTo>
                    <a:pt x="485488" y="217565"/>
                  </a:lnTo>
                  <a:lnTo>
                    <a:pt x="488243" y="217958"/>
                  </a:lnTo>
                  <a:lnTo>
                    <a:pt x="490996" y="217171"/>
                  </a:lnTo>
                  <a:lnTo>
                    <a:pt x="494144" y="217171"/>
                  </a:lnTo>
                  <a:lnTo>
                    <a:pt x="497291" y="216384"/>
                  </a:lnTo>
                  <a:lnTo>
                    <a:pt x="498078" y="213630"/>
                  </a:lnTo>
                  <a:lnTo>
                    <a:pt x="498078" y="210483"/>
                  </a:lnTo>
                  <a:lnTo>
                    <a:pt x="498078" y="207729"/>
                  </a:lnTo>
                  <a:lnTo>
                    <a:pt x="497684" y="204582"/>
                  </a:lnTo>
                  <a:lnTo>
                    <a:pt x="494931" y="201828"/>
                  </a:lnTo>
                  <a:lnTo>
                    <a:pt x="493750" y="199074"/>
                  </a:lnTo>
                  <a:lnTo>
                    <a:pt x="491783" y="196320"/>
                  </a:lnTo>
                  <a:lnTo>
                    <a:pt x="489029" y="193172"/>
                  </a:lnTo>
                  <a:lnTo>
                    <a:pt x="488635" y="192385"/>
                  </a:lnTo>
                  <a:lnTo>
                    <a:pt x="485488" y="191205"/>
                  </a:lnTo>
                  <a:lnTo>
                    <a:pt x="482734" y="190418"/>
                  </a:lnTo>
                  <a:lnTo>
                    <a:pt x="482341" y="190418"/>
                  </a:lnTo>
                  <a:lnTo>
                    <a:pt x="475259" y="188451"/>
                  </a:lnTo>
                  <a:lnTo>
                    <a:pt x="470931" y="186091"/>
                  </a:lnTo>
                  <a:lnTo>
                    <a:pt x="473685" y="188058"/>
                  </a:lnTo>
                  <a:lnTo>
                    <a:pt x="472112" y="187664"/>
                  </a:lnTo>
                  <a:lnTo>
                    <a:pt x="471718" y="187271"/>
                  </a:lnTo>
                  <a:lnTo>
                    <a:pt x="470538" y="187271"/>
                  </a:lnTo>
                  <a:lnTo>
                    <a:pt x="467784" y="186091"/>
                  </a:lnTo>
                  <a:lnTo>
                    <a:pt x="464637" y="184123"/>
                  </a:lnTo>
                  <a:lnTo>
                    <a:pt x="461882" y="182156"/>
                  </a:lnTo>
                  <a:lnTo>
                    <a:pt x="458736" y="180189"/>
                  </a:lnTo>
                  <a:lnTo>
                    <a:pt x="456769" y="179009"/>
                  </a:lnTo>
                  <a:lnTo>
                    <a:pt x="456375" y="178615"/>
                  </a:lnTo>
                  <a:lnTo>
                    <a:pt x="461882" y="180583"/>
                  </a:lnTo>
                  <a:lnTo>
                    <a:pt x="459128" y="179009"/>
                  </a:lnTo>
                  <a:lnTo>
                    <a:pt x="456375" y="177435"/>
                  </a:lnTo>
                  <a:lnTo>
                    <a:pt x="455194" y="17743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73" name="Freeform: Shape 3967">
              <a:extLst>
                <a:ext uri="{FF2B5EF4-FFF2-40B4-BE49-F238E27FC236}">
                  <a16:creationId xmlns:a16="http://schemas.microsoft.com/office/drawing/2014/main" id="{D629627A-686D-4380-B05C-ADA54A811E83}"/>
                </a:ext>
              </a:extLst>
            </p:cNvPr>
            <p:cNvSpPr/>
            <p:nvPr/>
          </p:nvSpPr>
          <p:spPr>
            <a:xfrm>
              <a:off x="10343038" y="4057737"/>
              <a:ext cx="7869" cy="7869"/>
            </a:xfrm>
            <a:custGeom>
              <a:avLst/>
              <a:gdLst>
                <a:gd name="connsiteX0" fmla="*/ 5508 w 7868"/>
                <a:gd name="connsiteY0" fmla="*/ 0 h 7868"/>
                <a:gd name="connsiteX1" fmla="*/ 0 w 7868"/>
                <a:gd name="connsiteY1" fmla="*/ 7869 h 7868"/>
                <a:gd name="connsiteX2" fmla="*/ 3148 w 7868"/>
                <a:gd name="connsiteY2" fmla="*/ 7475 h 7868"/>
                <a:gd name="connsiteX3" fmla="*/ 5901 w 7868"/>
                <a:gd name="connsiteY3" fmla="*/ 6295 h 7868"/>
                <a:gd name="connsiteX4" fmla="*/ 7869 w 7868"/>
                <a:gd name="connsiteY4" fmla="*/ 3148 h 7868"/>
                <a:gd name="connsiteX5" fmla="*/ 5901 w 7868"/>
                <a:gd name="connsiteY5" fmla="*/ 39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7868">
                  <a:moveTo>
                    <a:pt x="5508" y="0"/>
                  </a:moveTo>
                  <a:lnTo>
                    <a:pt x="0" y="7869"/>
                  </a:lnTo>
                  <a:lnTo>
                    <a:pt x="3148" y="7475"/>
                  </a:lnTo>
                  <a:lnTo>
                    <a:pt x="5901" y="6295"/>
                  </a:lnTo>
                  <a:lnTo>
                    <a:pt x="7869" y="3148"/>
                  </a:lnTo>
                  <a:lnTo>
                    <a:pt x="5901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74" name="Freeform: Shape 3968">
              <a:extLst>
                <a:ext uri="{FF2B5EF4-FFF2-40B4-BE49-F238E27FC236}">
                  <a16:creationId xmlns:a16="http://schemas.microsoft.com/office/drawing/2014/main" id="{EAB07DD5-72DE-46DA-930C-E66D9AE9517F}"/>
                </a:ext>
              </a:extLst>
            </p:cNvPr>
            <p:cNvSpPr/>
            <p:nvPr/>
          </p:nvSpPr>
          <p:spPr>
            <a:xfrm>
              <a:off x="10300155" y="4061671"/>
              <a:ext cx="3934" cy="3934"/>
            </a:xfrm>
            <a:custGeom>
              <a:avLst/>
              <a:gdLst>
                <a:gd name="connsiteX0" fmla="*/ 0 w 3934"/>
                <a:gd name="connsiteY0" fmla="*/ 1967 h 0"/>
                <a:gd name="connsiteX1" fmla="*/ 1180 w 3934"/>
                <a:gd name="connsiteY1" fmla="*/ 2754 h 0"/>
                <a:gd name="connsiteX2" fmla="*/ 4327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0" y="1967"/>
                  </a:moveTo>
                  <a:lnTo>
                    <a:pt x="1180" y="2754"/>
                  </a:lnTo>
                  <a:lnTo>
                    <a:pt x="432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75" name="Freeform: Shape 3969">
              <a:extLst>
                <a:ext uri="{FF2B5EF4-FFF2-40B4-BE49-F238E27FC236}">
                  <a16:creationId xmlns:a16="http://schemas.microsoft.com/office/drawing/2014/main" id="{70238758-471A-4ECB-8D1F-ACEE07FD689A}"/>
                </a:ext>
              </a:extLst>
            </p:cNvPr>
            <p:cNvSpPr/>
            <p:nvPr/>
          </p:nvSpPr>
          <p:spPr>
            <a:xfrm>
              <a:off x="10357989" y="4058131"/>
              <a:ext cx="3934" cy="3934"/>
            </a:xfrm>
            <a:custGeom>
              <a:avLst/>
              <a:gdLst>
                <a:gd name="connsiteX0" fmla="*/ 2754 w 3934"/>
                <a:gd name="connsiteY0" fmla="*/ 3147 h 3934"/>
                <a:gd name="connsiteX1" fmla="*/ 3934 w 3934"/>
                <a:gd name="connsiteY1" fmla="*/ 0 h 3934"/>
                <a:gd name="connsiteX2" fmla="*/ 0 w 3934"/>
                <a:gd name="connsiteY2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2754" y="3147"/>
                  </a:moveTo>
                  <a:lnTo>
                    <a:pt x="3934" y="0"/>
                  </a:lnTo>
                  <a:lnTo>
                    <a:pt x="0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76" name="Freeform: Shape 3970">
              <a:extLst>
                <a:ext uri="{FF2B5EF4-FFF2-40B4-BE49-F238E27FC236}">
                  <a16:creationId xmlns:a16="http://schemas.microsoft.com/office/drawing/2014/main" id="{2C2F8951-97FD-49A1-B5AF-7D35C1BADDDD}"/>
                </a:ext>
              </a:extLst>
            </p:cNvPr>
            <p:cNvSpPr/>
            <p:nvPr/>
          </p:nvSpPr>
          <p:spPr>
            <a:xfrm>
              <a:off x="10305269" y="4058131"/>
              <a:ext cx="3934" cy="3934"/>
            </a:xfrm>
            <a:custGeom>
              <a:avLst/>
              <a:gdLst>
                <a:gd name="connsiteX0" fmla="*/ 1967 w 0"/>
                <a:gd name="connsiteY0" fmla="*/ 0 h 0"/>
                <a:gd name="connsiteX1" fmla="*/ 0 w 0"/>
                <a:gd name="connsiteY1" fmla="*/ 3147 h 0"/>
                <a:gd name="connsiteX2" fmla="*/ 394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0"/>
                  </a:moveTo>
                  <a:lnTo>
                    <a:pt x="0" y="3147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77" name="Freeform: Shape 3971">
              <a:extLst>
                <a:ext uri="{FF2B5EF4-FFF2-40B4-BE49-F238E27FC236}">
                  <a16:creationId xmlns:a16="http://schemas.microsoft.com/office/drawing/2014/main" id="{92C4AEE7-9764-478E-94F2-EB3DBEF8349A}"/>
                </a:ext>
              </a:extLst>
            </p:cNvPr>
            <p:cNvSpPr/>
            <p:nvPr/>
          </p:nvSpPr>
          <p:spPr>
            <a:xfrm>
              <a:off x="10324548" y="4055770"/>
              <a:ext cx="3934" cy="3934"/>
            </a:xfrm>
            <a:custGeom>
              <a:avLst/>
              <a:gdLst>
                <a:gd name="connsiteX0" fmla="*/ 787 w 0"/>
                <a:gd name="connsiteY0" fmla="*/ 3148 h 0"/>
                <a:gd name="connsiteX1" fmla="*/ 3540 w 0"/>
                <a:gd name="connsiteY1" fmla="*/ 0 h 0"/>
                <a:gd name="connsiteX2" fmla="*/ 0 w 0"/>
                <a:gd name="connsiteY2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3148"/>
                  </a:moveTo>
                  <a:lnTo>
                    <a:pt x="3540" y="0"/>
                  </a:lnTo>
                  <a:lnTo>
                    <a:pt x="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78" name="Freeform: Shape 3972">
              <a:extLst>
                <a:ext uri="{FF2B5EF4-FFF2-40B4-BE49-F238E27FC236}">
                  <a16:creationId xmlns:a16="http://schemas.microsoft.com/office/drawing/2014/main" id="{33EAF89F-A9A2-4230-A2CB-E85F1323FA34}"/>
                </a:ext>
              </a:extLst>
            </p:cNvPr>
            <p:cNvSpPr/>
            <p:nvPr/>
          </p:nvSpPr>
          <p:spPr>
            <a:xfrm>
              <a:off x="10324154" y="4052229"/>
              <a:ext cx="3934" cy="3934"/>
            </a:xfrm>
            <a:custGeom>
              <a:avLst/>
              <a:gdLst>
                <a:gd name="connsiteX0" fmla="*/ 0 w 3934"/>
                <a:gd name="connsiteY0" fmla="*/ 5901 h 3934"/>
                <a:gd name="connsiteX1" fmla="*/ 4721 w 3934"/>
                <a:gd name="connsiteY1" fmla="*/ 0 h 3934"/>
                <a:gd name="connsiteX2" fmla="*/ 2361 w 3934"/>
                <a:gd name="connsiteY2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0" y="5901"/>
                  </a:moveTo>
                  <a:lnTo>
                    <a:pt x="4721" y="0"/>
                  </a:lnTo>
                  <a:lnTo>
                    <a:pt x="236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79" name="Freeform: Shape 3973">
              <a:extLst>
                <a:ext uri="{FF2B5EF4-FFF2-40B4-BE49-F238E27FC236}">
                  <a16:creationId xmlns:a16="http://schemas.microsoft.com/office/drawing/2014/main" id="{513DB355-E513-48EE-9394-9F90B0C2B674}"/>
                </a:ext>
              </a:extLst>
            </p:cNvPr>
            <p:cNvSpPr/>
            <p:nvPr/>
          </p:nvSpPr>
          <p:spPr>
            <a:xfrm>
              <a:off x="10358382" y="4052229"/>
              <a:ext cx="3934" cy="3934"/>
            </a:xfrm>
            <a:custGeom>
              <a:avLst/>
              <a:gdLst>
                <a:gd name="connsiteX0" fmla="*/ 1574 w 0"/>
                <a:gd name="connsiteY0" fmla="*/ 0 h 0"/>
                <a:gd name="connsiteX1" fmla="*/ 0 w 0"/>
                <a:gd name="connsiteY1" fmla="*/ 3147 h 0"/>
                <a:gd name="connsiteX2" fmla="*/ 394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0"/>
                  </a:moveTo>
                  <a:lnTo>
                    <a:pt x="0" y="3147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80" name="Freeform: Shape 3974">
              <a:extLst>
                <a:ext uri="{FF2B5EF4-FFF2-40B4-BE49-F238E27FC236}">
                  <a16:creationId xmlns:a16="http://schemas.microsoft.com/office/drawing/2014/main" id="{52FB944A-7A2A-4F98-B3B2-C657A12294DD}"/>
                </a:ext>
              </a:extLst>
            </p:cNvPr>
            <p:cNvSpPr/>
            <p:nvPr/>
          </p:nvSpPr>
          <p:spPr>
            <a:xfrm>
              <a:off x="10349727" y="4047901"/>
              <a:ext cx="3934" cy="3934"/>
            </a:xfrm>
            <a:custGeom>
              <a:avLst/>
              <a:gdLst>
                <a:gd name="connsiteX0" fmla="*/ 0 w 0"/>
                <a:gd name="connsiteY0" fmla="*/ 5115 h 3934"/>
                <a:gd name="connsiteX1" fmla="*/ 1967 w 0"/>
                <a:gd name="connsiteY1" fmla="*/ 2754 h 3934"/>
                <a:gd name="connsiteX2" fmla="*/ 1574 w 0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0" y="5115"/>
                  </a:moveTo>
                  <a:lnTo>
                    <a:pt x="1967" y="2754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81" name="Freeform: Shape 3975">
              <a:extLst>
                <a:ext uri="{FF2B5EF4-FFF2-40B4-BE49-F238E27FC236}">
                  <a16:creationId xmlns:a16="http://schemas.microsoft.com/office/drawing/2014/main" id="{C2844713-E545-4C34-ADDE-F38A9D3C8D20}"/>
                </a:ext>
              </a:extLst>
            </p:cNvPr>
            <p:cNvSpPr/>
            <p:nvPr/>
          </p:nvSpPr>
          <p:spPr>
            <a:xfrm>
              <a:off x="10302123" y="4050262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393 h 0"/>
                <a:gd name="connsiteX2" fmla="*/ 354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393"/>
                  </a:lnTo>
                  <a:lnTo>
                    <a:pt x="354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82" name="Freeform: Shape 3976">
              <a:extLst>
                <a:ext uri="{FF2B5EF4-FFF2-40B4-BE49-F238E27FC236}">
                  <a16:creationId xmlns:a16="http://schemas.microsoft.com/office/drawing/2014/main" id="{EE7A1C6D-EA0D-4088-B811-85ADF35B3FBB}"/>
                </a:ext>
              </a:extLst>
            </p:cNvPr>
            <p:cNvSpPr/>
            <p:nvPr/>
          </p:nvSpPr>
          <p:spPr>
            <a:xfrm>
              <a:off x="10327695" y="4045541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0 w 0"/>
                <a:gd name="connsiteY1" fmla="*/ 3541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0" y="3541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83" name="Freeform: Shape 3977">
              <a:extLst>
                <a:ext uri="{FF2B5EF4-FFF2-40B4-BE49-F238E27FC236}">
                  <a16:creationId xmlns:a16="http://schemas.microsoft.com/office/drawing/2014/main" id="{26B798A7-F6F7-4B2B-B16B-BE3FBD7A654B}"/>
                </a:ext>
              </a:extLst>
            </p:cNvPr>
            <p:cNvSpPr/>
            <p:nvPr/>
          </p:nvSpPr>
          <p:spPr>
            <a:xfrm>
              <a:off x="10330842" y="4042000"/>
              <a:ext cx="3934" cy="3934"/>
            </a:xfrm>
            <a:custGeom>
              <a:avLst/>
              <a:gdLst>
                <a:gd name="connsiteX0" fmla="*/ 1574 w 0"/>
                <a:gd name="connsiteY0" fmla="*/ 0 h 3934"/>
                <a:gd name="connsiteX1" fmla="*/ 0 w 0"/>
                <a:gd name="connsiteY1" fmla="*/ 5115 h 3934"/>
                <a:gd name="connsiteX2" fmla="*/ 788 w 0"/>
                <a:gd name="connsiteY2" fmla="*/ 314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574" y="0"/>
                  </a:moveTo>
                  <a:lnTo>
                    <a:pt x="0" y="5115"/>
                  </a:lnTo>
                  <a:lnTo>
                    <a:pt x="788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84" name="Freeform: Shape 3978">
              <a:extLst>
                <a:ext uri="{FF2B5EF4-FFF2-40B4-BE49-F238E27FC236}">
                  <a16:creationId xmlns:a16="http://schemas.microsoft.com/office/drawing/2014/main" id="{32D6E1C7-9D27-45FA-A0D8-CC90F23ED435}"/>
                </a:ext>
              </a:extLst>
            </p:cNvPr>
            <p:cNvSpPr/>
            <p:nvPr/>
          </p:nvSpPr>
          <p:spPr>
            <a:xfrm>
              <a:off x="10327301" y="4041213"/>
              <a:ext cx="3934" cy="3934"/>
            </a:xfrm>
            <a:custGeom>
              <a:avLst/>
              <a:gdLst>
                <a:gd name="connsiteX0" fmla="*/ 0 w 3934"/>
                <a:gd name="connsiteY0" fmla="*/ 3934 h 3934"/>
                <a:gd name="connsiteX1" fmla="*/ 4721 w 3934"/>
                <a:gd name="connsiteY1" fmla="*/ 0 h 3934"/>
                <a:gd name="connsiteX2" fmla="*/ 1967 w 3934"/>
                <a:gd name="connsiteY2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0" y="3934"/>
                  </a:moveTo>
                  <a:lnTo>
                    <a:pt x="4721" y="0"/>
                  </a:lnTo>
                  <a:lnTo>
                    <a:pt x="196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85" name="Freeform: Shape 3979">
              <a:extLst>
                <a:ext uri="{FF2B5EF4-FFF2-40B4-BE49-F238E27FC236}">
                  <a16:creationId xmlns:a16="http://schemas.microsoft.com/office/drawing/2014/main" id="{2B9147E8-2321-4D54-A4DA-75EB0FFFDFCD}"/>
                </a:ext>
              </a:extLst>
            </p:cNvPr>
            <p:cNvSpPr/>
            <p:nvPr/>
          </p:nvSpPr>
          <p:spPr>
            <a:xfrm>
              <a:off x="10454771" y="4055377"/>
              <a:ext cx="3934" cy="7869"/>
            </a:xfrm>
            <a:custGeom>
              <a:avLst/>
              <a:gdLst>
                <a:gd name="connsiteX0" fmla="*/ 0 w 0"/>
                <a:gd name="connsiteY0" fmla="*/ 0 h 7868"/>
                <a:gd name="connsiteX1" fmla="*/ 2755 w 0"/>
                <a:gd name="connsiteY1" fmla="*/ 9836 h 7868"/>
                <a:gd name="connsiteX2" fmla="*/ 2755 w 0"/>
                <a:gd name="connsiteY2" fmla="*/ 5508 h 7868"/>
                <a:gd name="connsiteX3" fmla="*/ 1967 w 0"/>
                <a:gd name="connsiteY3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7868">
                  <a:moveTo>
                    <a:pt x="0" y="0"/>
                  </a:moveTo>
                  <a:lnTo>
                    <a:pt x="2755" y="9836"/>
                  </a:lnTo>
                  <a:lnTo>
                    <a:pt x="2755" y="5508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86" name="Freeform: Shape 3980">
              <a:extLst>
                <a:ext uri="{FF2B5EF4-FFF2-40B4-BE49-F238E27FC236}">
                  <a16:creationId xmlns:a16="http://schemas.microsoft.com/office/drawing/2014/main" id="{32A4E2AC-D21C-4918-9E8E-1750CF37684E}"/>
                </a:ext>
              </a:extLst>
            </p:cNvPr>
            <p:cNvSpPr/>
            <p:nvPr/>
          </p:nvSpPr>
          <p:spPr>
            <a:xfrm>
              <a:off x="10448870" y="4051049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5509 w 3934"/>
                <a:gd name="connsiteY1" fmla="*/ 3147 h 0"/>
                <a:gd name="connsiteX2" fmla="*/ 2755 w 3934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5509" y="3147"/>
                  </a:lnTo>
                  <a:lnTo>
                    <a:pt x="2755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87" name="Freeform: Shape 3981">
              <a:extLst>
                <a:ext uri="{FF2B5EF4-FFF2-40B4-BE49-F238E27FC236}">
                  <a16:creationId xmlns:a16="http://schemas.microsoft.com/office/drawing/2014/main" id="{315EC5FD-D414-4AC0-B910-2F17EC387625}"/>
                </a:ext>
              </a:extLst>
            </p:cNvPr>
            <p:cNvSpPr/>
            <p:nvPr/>
          </p:nvSpPr>
          <p:spPr>
            <a:xfrm>
              <a:off x="10378053" y="4048688"/>
              <a:ext cx="3934" cy="3934"/>
            </a:xfrm>
            <a:custGeom>
              <a:avLst/>
              <a:gdLst>
                <a:gd name="connsiteX0" fmla="*/ 788 w 3934"/>
                <a:gd name="connsiteY0" fmla="*/ 1574 h 3934"/>
                <a:gd name="connsiteX1" fmla="*/ 0 w 3934"/>
                <a:gd name="connsiteY1" fmla="*/ 4328 h 3934"/>
                <a:gd name="connsiteX2" fmla="*/ 1574 w 3934"/>
                <a:gd name="connsiteY2" fmla="*/ 4328 h 3934"/>
                <a:gd name="connsiteX3" fmla="*/ 3934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788" y="1574"/>
                  </a:moveTo>
                  <a:lnTo>
                    <a:pt x="0" y="4328"/>
                  </a:lnTo>
                  <a:lnTo>
                    <a:pt x="1574" y="4328"/>
                  </a:lnTo>
                  <a:lnTo>
                    <a:pt x="393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88" name="Freeform: Shape 3982">
              <a:extLst>
                <a:ext uri="{FF2B5EF4-FFF2-40B4-BE49-F238E27FC236}">
                  <a16:creationId xmlns:a16="http://schemas.microsoft.com/office/drawing/2014/main" id="{C4C94107-EAEC-43F0-8A13-595BCA219C7D}"/>
                </a:ext>
              </a:extLst>
            </p:cNvPr>
            <p:cNvSpPr/>
            <p:nvPr/>
          </p:nvSpPr>
          <p:spPr>
            <a:xfrm>
              <a:off x="10526376" y="4051836"/>
              <a:ext cx="3934" cy="3934"/>
            </a:xfrm>
            <a:custGeom>
              <a:avLst/>
              <a:gdLst>
                <a:gd name="connsiteX0" fmla="*/ 4327 w 3934"/>
                <a:gd name="connsiteY0" fmla="*/ 1180 h 0"/>
                <a:gd name="connsiteX1" fmla="*/ 1180 w 3934"/>
                <a:gd name="connsiteY1" fmla="*/ 0 h 0"/>
                <a:gd name="connsiteX2" fmla="*/ 0 w 3934"/>
                <a:gd name="connsiteY2" fmla="*/ 3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4327" y="1180"/>
                  </a:moveTo>
                  <a:lnTo>
                    <a:pt x="1180" y="0"/>
                  </a:lnTo>
                  <a:lnTo>
                    <a:pt x="0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89" name="Freeform: Shape 3983">
              <a:extLst>
                <a:ext uri="{FF2B5EF4-FFF2-40B4-BE49-F238E27FC236}">
                  <a16:creationId xmlns:a16="http://schemas.microsoft.com/office/drawing/2014/main" id="{CBBA5D99-3522-4735-882F-6C7ABCEBDE29}"/>
                </a:ext>
              </a:extLst>
            </p:cNvPr>
            <p:cNvSpPr/>
            <p:nvPr/>
          </p:nvSpPr>
          <p:spPr>
            <a:xfrm>
              <a:off x="10514966" y="4036099"/>
              <a:ext cx="3934" cy="3934"/>
            </a:xfrm>
            <a:custGeom>
              <a:avLst/>
              <a:gdLst>
                <a:gd name="connsiteX0" fmla="*/ 1967 w 0"/>
                <a:gd name="connsiteY0" fmla="*/ 0 h 0"/>
                <a:gd name="connsiteX1" fmla="*/ 1967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0"/>
                  </a:moveTo>
                  <a:lnTo>
                    <a:pt x="1967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90" name="Freeform: Shape 3984">
              <a:extLst>
                <a:ext uri="{FF2B5EF4-FFF2-40B4-BE49-F238E27FC236}">
                  <a16:creationId xmlns:a16="http://schemas.microsoft.com/office/drawing/2014/main" id="{30A5F3EC-6A88-4F17-BD95-E753029BF466}"/>
                </a:ext>
              </a:extLst>
            </p:cNvPr>
            <p:cNvSpPr/>
            <p:nvPr/>
          </p:nvSpPr>
          <p:spPr>
            <a:xfrm>
              <a:off x="10340678" y="4034132"/>
              <a:ext cx="3934" cy="3934"/>
            </a:xfrm>
            <a:custGeom>
              <a:avLst/>
              <a:gdLst>
                <a:gd name="connsiteX0" fmla="*/ 394 w 0"/>
                <a:gd name="connsiteY0" fmla="*/ 3148 h 0"/>
                <a:gd name="connsiteX1" fmla="*/ 1180 w 0"/>
                <a:gd name="connsiteY1" fmla="*/ 0 h 0"/>
                <a:gd name="connsiteX2" fmla="*/ 0 w 0"/>
                <a:gd name="connsiteY2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3148"/>
                  </a:moveTo>
                  <a:lnTo>
                    <a:pt x="1180" y="0"/>
                  </a:lnTo>
                  <a:lnTo>
                    <a:pt x="0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91" name="Freeform: Shape 3985">
              <a:extLst>
                <a:ext uri="{FF2B5EF4-FFF2-40B4-BE49-F238E27FC236}">
                  <a16:creationId xmlns:a16="http://schemas.microsoft.com/office/drawing/2014/main" id="{5F36B0CE-D669-4012-8EE8-4562DBA7D340}"/>
                </a:ext>
              </a:extLst>
            </p:cNvPr>
            <p:cNvSpPr/>
            <p:nvPr/>
          </p:nvSpPr>
          <p:spPr>
            <a:xfrm>
              <a:off x="10515752" y="4031771"/>
              <a:ext cx="3934" cy="3934"/>
            </a:xfrm>
            <a:custGeom>
              <a:avLst/>
              <a:gdLst>
                <a:gd name="connsiteX0" fmla="*/ 788 w 0"/>
                <a:gd name="connsiteY0" fmla="*/ 0 h 0"/>
                <a:gd name="connsiteX1" fmla="*/ 0 w 0"/>
                <a:gd name="connsiteY1" fmla="*/ 0 h 0"/>
                <a:gd name="connsiteX2" fmla="*/ 118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8" y="0"/>
                  </a:moveTo>
                  <a:lnTo>
                    <a:pt x="0" y="0"/>
                  </a:lnTo>
                  <a:lnTo>
                    <a:pt x="118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92" name="Freeform: Shape 3986">
              <a:extLst>
                <a:ext uri="{FF2B5EF4-FFF2-40B4-BE49-F238E27FC236}">
                  <a16:creationId xmlns:a16="http://schemas.microsoft.com/office/drawing/2014/main" id="{4308D5CF-EEF4-4F0B-9978-1D6CFAEEF4A7}"/>
                </a:ext>
              </a:extLst>
            </p:cNvPr>
            <p:cNvSpPr/>
            <p:nvPr/>
          </p:nvSpPr>
          <p:spPr>
            <a:xfrm>
              <a:off x="10433527" y="4030984"/>
              <a:ext cx="3934" cy="3934"/>
            </a:xfrm>
            <a:custGeom>
              <a:avLst/>
              <a:gdLst>
                <a:gd name="connsiteX0" fmla="*/ 2754 w 3934"/>
                <a:gd name="connsiteY0" fmla="*/ 3147 h 0"/>
                <a:gd name="connsiteX1" fmla="*/ 3934 w 3934"/>
                <a:gd name="connsiteY1" fmla="*/ 3541 h 0"/>
                <a:gd name="connsiteX2" fmla="*/ 0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2754" y="3147"/>
                  </a:moveTo>
                  <a:lnTo>
                    <a:pt x="3934" y="354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93" name="Freeform: Shape 3987">
              <a:extLst>
                <a:ext uri="{FF2B5EF4-FFF2-40B4-BE49-F238E27FC236}">
                  <a16:creationId xmlns:a16="http://schemas.microsoft.com/office/drawing/2014/main" id="{F548F8AD-0ACE-4422-9654-81FF81804578}"/>
                </a:ext>
              </a:extLst>
            </p:cNvPr>
            <p:cNvSpPr/>
            <p:nvPr/>
          </p:nvSpPr>
          <p:spPr>
            <a:xfrm>
              <a:off x="3244052" y="2759824"/>
              <a:ext cx="11803" cy="7869"/>
            </a:xfrm>
            <a:custGeom>
              <a:avLst/>
              <a:gdLst>
                <a:gd name="connsiteX0" fmla="*/ 5901 w 11802"/>
                <a:gd name="connsiteY0" fmla="*/ 3147 h 7868"/>
                <a:gd name="connsiteX1" fmla="*/ 2754 w 11802"/>
                <a:gd name="connsiteY1" fmla="*/ 4721 h 7868"/>
                <a:gd name="connsiteX2" fmla="*/ 0 w 11802"/>
                <a:gd name="connsiteY2" fmla="*/ 6295 h 7868"/>
                <a:gd name="connsiteX3" fmla="*/ 0 w 11802"/>
                <a:gd name="connsiteY3" fmla="*/ 8262 h 7868"/>
                <a:gd name="connsiteX4" fmla="*/ 2754 w 11802"/>
                <a:gd name="connsiteY4" fmla="*/ 6295 h 7868"/>
                <a:gd name="connsiteX5" fmla="*/ 8655 w 11802"/>
                <a:gd name="connsiteY5" fmla="*/ 2754 h 7868"/>
                <a:gd name="connsiteX6" fmla="*/ 11803 w 11802"/>
                <a:gd name="connsiteY6" fmla="*/ 0 h 7868"/>
                <a:gd name="connsiteX7" fmla="*/ 8655 w 11802"/>
                <a:gd name="connsiteY7" fmla="*/ 157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 h="7868">
                  <a:moveTo>
                    <a:pt x="5901" y="3147"/>
                  </a:moveTo>
                  <a:lnTo>
                    <a:pt x="2754" y="4721"/>
                  </a:lnTo>
                  <a:lnTo>
                    <a:pt x="0" y="6295"/>
                  </a:lnTo>
                  <a:lnTo>
                    <a:pt x="0" y="8262"/>
                  </a:lnTo>
                  <a:lnTo>
                    <a:pt x="2754" y="6295"/>
                  </a:lnTo>
                  <a:lnTo>
                    <a:pt x="8655" y="2754"/>
                  </a:lnTo>
                  <a:lnTo>
                    <a:pt x="11803" y="0"/>
                  </a:lnTo>
                  <a:lnTo>
                    <a:pt x="8655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94" name="Freeform: Shape 3988">
              <a:extLst>
                <a:ext uri="{FF2B5EF4-FFF2-40B4-BE49-F238E27FC236}">
                  <a16:creationId xmlns:a16="http://schemas.microsoft.com/office/drawing/2014/main" id="{DD09144C-6104-410F-873B-A7C3D2080A99}"/>
                </a:ext>
              </a:extLst>
            </p:cNvPr>
            <p:cNvSpPr/>
            <p:nvPr/>
          </p:nvSpPr>
          <p:spPr>
            <a:xfrm>
              <a:off x="3901467" y="2531637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2754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2754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95" name="Freeform: Shape 3989">
              <a:extLst>
                <a:ext uri="{FF2B5EF4-FFF2-40B4-BE49-F238E27FC236}">
                  <a16:creationId xmlns:a16="http://schemas.microsoft.com/office/drawing/2014/main" id="{D80B9E6A-6CA0-4959-ABD5-6391D30C3986}"/>
                </a:ext>
              </a:extLst>
            </p:cNvPr>
            <p:cNvSpPr/>
            <p:nvPr/>
          </p:nvSpPr>
          <p:spPr>
            <a:xfrm>
              <a:off x="3916417" y="2508424"/>
              <a:ext cx="7869" cy="15737"/>
            </a:xfrm>
            <a:custGeom>
              <a:avLst/>
              <a:gdLst>
                <a:gd name="connsiteX0" fmla="*/ 10229 w 7868"/>
                <a:gd name="connsiteY0" fmla="*/ 5901 h 15737"/>
                <a:gd name="connsiteX1" fmla="*/ 10229 w 7868"/>
                <a:gd name="connsiteY1" fmla="*/ 2754 h 15737"/>
                <a:gd name="connsiteX2" fmla="*/ 10623 w 7868"/>
                <a:gd name="connsiteY2" fmla="*/ 0 h 15737"/>
                <a:gd name="connsiteX3" fmla="*/ 10229 w 7868"/>
                <a:gd name="connsiteY3" fmla="*/ 3147 h 15737"/>
                <a:gd name="connsiteX4" fmla="*/ 9442 w 7868"/>
                <a:gd name="connsiteY4" fmla="*/ 5901 h 15737"/>
                <a:gd name="connsiteX5" fmla="*/ 8262 w 7868"/>
                <a:gd name="connsiteY5" fmla="*/ 9049 h 15737"/>
                <a:gd name="connsiteX6" fmla="*/ 7082 w 7868"/>
                <a:gd name="connsiteY6" fmla="*/ 12196 h 15737"/>
                <a:gd name="connsiteX7" fmla="*/ 5508 w 7868"/>
                <a:gd name="connsiteY7" fmla="*/ 14950 h 15737"/>
                <a:gd name="connsiteX8" fmla="*/ 2754 w 7868"/>
                <a:gd name="connsiteY8" fmla="*/ 16917 h 15737"/>
                <a:gd name="connsiteX9" fmla="*/ 0 w 7868"/>
                <a:gd name="connsiteY9" fmla="*/ 18098 h 15737"/>
                <a:gd name="connsiteX10" fmla="*/ 2754 w 7868"/>
                <a:gd name="connsiteY10" fmla="*/ 18098 h 15737"/>
                <a:gd name="connsiteX11" fmla="*/ 4328 w 7868"/>
                <a:gd name="connsiteY11" fmla="*/ 17704 h 15737"/>
                <a:gd name="connsiteX12" fmla="*/ 6295 w 7868"/>
                <a:gd name="connsiteY12" fmla="*/ 14950 h 15737"/>
                <a:gd name="connsiteX13" fmla="*/ 7475 w 7868"/>
                <a:gd name="connsiteY13" fmla="*/ 12196 h 15737"/>
                <a:gd name="connsiteX14" fmla="*/ 8655 w 7868"/>
                <a:gd name="connsiteY14" fmla="*/ 9049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68" h="15737">
                  <a:moveTo>
                    <a:pt x="10229" y="5901"/>
                  </a:moveTo>
                  <a:lnTo>
                    <a:pt x="10229" y="2754"/>
                  </a:lnTo>
                  <a:lnTo>
                    <a:pt x="10623" y="0"/>
                  </a:lnTo>
                  <a:lnTo>
                    <a:pt x="10229" y="3147"/>
                  </a:lnTo>
                  <a:lnTo>
                    <a:pt x="9442" y="5901"/>
                  </a:lnTo>
                  <a:lnTo>
                    <a:pt x="8262" y="9049"/>
                  </a:lnTo>
                  <a:lnTo>
                    <a:pt x="7082" y="12196"/>
                  </a:lnTo>
                  <a:lnTo>
                    <a:pt x="5508" y="14950"/>
                  </a:lnTo>
                  <a:lnTo>
                    <a:pt x="2754" y="16917"/>
                  </a:lnTo>
                  <a:lnTo>
                    <a:pt x="0" y="18098"/>
                  </a:lnTo>
                  <a:lnTo>
                    <a:pt x="2754" y="18098"/>
                  </a:lnTo>
                  <a:lnTo>
                    <a:pt x="4328" y="17704"/>
                  </a:lnTo>
                  <a:lnTo>
                    <a:pt x="6295" y="14950"/>
                  </a:lnTo>
                  <a:lnTo>
                    <a:pt x="7475" y="12196"/>
                  </a:lnTo>
                  <a:lnTo>
                    <a:pt x="8655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96" name="Freeform: Shape 3990">
              <a:extLst>
                <a:ext uri="{FF2B5EF4-FFF2-40B4-BE49-F238E27FC236}">
                  <a16:creationId xmlns:a16="http://schemas.microsoft.com/office/drawing/2014/main" id="{63F93FAB-3C48-4E8E-8AE2-E611A1480B29}"/>
                </a:ext>
              </a:extLst>
            </p:cNvPr>
            <p:cNvSpPr/>
            <p:nvPr/>
          </p:nvSpPr>
          <p:spPr>
            <a:xfrm>
              <a:off x="3952613" y="2422264"/>
              <a:ext cx="11803" cy="11803"/>
            </a:xfrm>
            <a:custGeom>
              <a:avLst/>
              <a:gdLst>
                <a:gd name="connsiteX0" fmla="*/ 5508 w 11802"/>
                <a:gd name="connsiteY0" fmla="*/ 9442 h 11802"/>
                <a:gd name="connsiteX1" fmla="*/ 6295 w 11802"/>
                <a:gd name="connsiteY1" fmla="*/ 8655 h 11802"/>
                <a:gd name="connsiteX2" fmla="*/ 8655 w 11802"/>
                <a:gd name="connsiteY2" fmla="*/ 5901 h 11802"/>
                <a:gd name="connsiteX3" fmla="*/ 10623 w 11802"/>
                <a:gd name="connsiteY3" fmla="*/ 3147 h 11802"/>
                <a:gd name="connsiteX4" fmla="*/ 12590 w 11802"/>
                <a:gd name="connsiteY4" fmla="*/ 0 h 11802"/>
                <a:gd name="connsiteX5" fmla="*/ 10229 w 11802"/>
                <a:gd name="connsiteY5" fmla="*/ 2754 h 11802"/>
                <a:gd name="connsiteX6" fmla="*/ 8262 w 11802"/>
                <a:gd name="connsiteY6" fmla="*/ 5901 h 11802"/>
                <a:gd name="connsiteX7" fmla="*/ 5508 w 11802"/>
                <a:gd name="connsiteY7" fmla="*/ 8655 h 11802"/>
                <a:gd name="connsiteX8" fmla="*/ 2754 w 11802"/>
                <a:gd name="connsiteY8" fmla="*/ 11803 h 11802"/>
                <a:gd name="connsiteX9" fmla="*/ 0 w 11802"/>
                <a:gd name="connsiteY9" fmla="*/ 14163 h 11802"/>
                <a:gd name="connsiteX10" fmla="*/ 2754 w 11802"/>
                <a:gd name="connsiteY10" fmla="*/ 1259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11802">
                  <a:moveTo>
                    <a:pt x="5508" y="9442"/>
                  </a:moveTo>
                  <a:lnTo>
                    <a:pt x="6295" y="8655"/>
                  </a:lnTo>
                  <a:lnTo>
                    <a:pt x="8655" y="5901"/>
                  </a:lnTo>
                  <a:lnTo>
                    <a:pt x="10623" y="3147"/>
                  </a:lnTo>
                  <a:lnTo>
                    <a:pt x="12590" y="0"/>
                  </a:lnTo>
                  <a:lnTo>
                    <a:pt x="10229" y="2754"/>
                  </a:lnTo>
                  <a:lnTo>
                    <a:pt x="8262" y="5901"/>
                  </a:lnTo>
                  <a:lnTo>
                    <a:pt x="5508" y="8655"/>
                  </a:lnTo>
                  <a:lnTo>
                    <a:pt x="2754" y="11803"/>
                  </a:lnTo>
                  <a:lnTo>
                    <a:pt x="0" y="14163"/>
                  </a:lnTo>
                  <a:lnTo>
                    <a:pt x="2754" y="1259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97" name="Freeform: Shape 3991">
              <a:extLst>
                <a:ext uri="{FF2B5EF4-FFF2-40B4-BE49-F238E27FC236}">
                  <a16:creationId xmlns:a16="http://schemas.microsoft.com/office/drawing/2014/main" id="{9D17E328-EE8B-4CC4-A8BA-D1331447BDBD}"/>
                </a:ext>
              </a:extLst>
            </p:cNvPr>
            <p:cNvSpPr/>
            <p:nvPr/>
          </p:nvSpPr>
          <p:spPr>
            <a:xfrm>
              <a:off x="3906582" y="2528096"/>
              <a:ext cx="3934" cy="3934"/>
            </a:xfrm>
            <a:custGeom>
              <a:avLst/>
              <a:gdLst>
                <a:gd name="connsiteX0" fmla="*/ 5901 w 3934"/>
                <a:gd name="connsiteY0" fmla="*/ 393 h 0"/>
                <a:gd name="connsiteX1" fmla="*/ 5901 w 3934"/>
                <a:gd name="connsiteY1" fmla="*/ 0 h 0"/>
                <a:gd name="connsiteX2" fmla="*/ 2754 w 3934"/>
                <a:gd name="connsiteY2" fmla="*/ 1180 h 0"/>
                <a:gd name="connsiteX3" fmla="*/ 0 w 3934"/>
                <a:gd name="connsiteY3" fmla="*/ 2754 h 0"/>
                <a:gd name="connsiteX4" fmla="*/ 2754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393"/>
                  </a:moveTo>
                  <a:lnTo>
                    <a:pt x="5901" y="0"/>
                  </a:lnTo>
                  <a:lnTo>
                    <a:pt x="2754" y="1180"/>
                  </a:lnTo>
                  <a:lnTo>
                    <a:pt x="0" y="2754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98" name="Freeform: Shape 3992">
              <a:extLst>
                <a:ext uri="{FF2B5EF4-FFF2-40B4-BE49-F238E27FC236}">
                  <a16:creationId xmlns:a16="http://schemas.microsoft.com/office/drawing/2014/main" id="{360D28CA-9704-4E64-A2AF-4F5F5A715471}"/>
                </a:ext>
              </a:extLst>
            </p:cNvPr>
            <p:cNvSpPr/>
            <p:nvPr/>
          </p:nvSpPr>
          <p:spPr>
            <a:xfrm>
              <a:off x="4002578" y="2374266"/>
              <a:ext cx="3934" cy="3934"/>
            </a:xfrm>
            <a:custGeom>
              <a:avLst/>
              <a:gdLst>
                <a:gd name="connsiteX0" fmla="*/ 5508 w 3934"/>
                <a:gd name="connsiteY0" fmla="*/ 0 h 3934"/>
                <a:gd name="connsiteX1" fmla="*/ 2754 w 3934"/>
                <a:gd name="connsiteY1" fmla="*/ 2754 h 3934"/>
                <a:gd name="connsiteX2" fmla="*/ 0 w 3934"/>
                <a:gd name="connsiteY2" fmla="*/ 5901 h 3934"/>
                <a:gd name="connsiteX3" fmla="*/ 787 w 3934"/>
                <a:gd name="connsiteY3" fmla="*/ 5901 h 3934"/>
                <a:gd name="connsiteX4" fmla="*/ 3541 w 3934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508" y="0"/>
                  </a:moveTo>
                  <a:lnTo>
                    <a:pt x="2754" y="2754"/>
                  </a:lnTo>
                  <a:lnTo>
                    <a:pt x="0" y="5901"/>
                  </a:lnTo>
                  <a:lnTo>
                    <a:pt x="787" y="5901"/>
                  </a:lnTo>
                  <a:lnTo>
                    <a:pt x="3541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99" name="Freeform: Shape 3993">
              <a:extLst>
                <a:ext uri="{FF2B5EF4-FFF2-40B4-BE49-F238E27FC236}">
                  <a16:creationId xmlns:a16="http://schemas.microsoft.com/office/drawing/2014/main" id="{0AE0CABC-6303-4576-A74B-959A2B7109D7}"/>
                </a:ext>
              </a:extLst>
            </p:cNvPr>
            <p:cNvSpPr/>
            <p:nvPr/>
          </p:nvSpPr>
          <p:spPr>
            <a:xfrm>
              <a:off x="3447453" y="3132005"/>
              <a:ext cx="3934" cy="7869"/>
            </a:xfrm>
            <a:custGeom>
              <a:avLst/>
              <a:gdLst>
                <a:gd name="connsiteX0" fmla="*/ 394 w 0"/>
                <a:gd name="connsiteY0" fmla="*/ 3541 h 7868"/>
                <a:gd name="connsiteX1" fmla="*/ 394 w 0"/>
                <a:gd name="connsiteY1" fmla="*/ 6295 h 7868"/>
                <a:gd name="connsiteX2" fmla="*/ 0 w 0"/>
                <a:gd name="connsiteY2" fmla="*/ 9442 h 7868"/>
                <a:gd name="connsiteX3" fmla="*/ 1967 w 0"/>
                <a:gd name="connsiteY3" fmla="*/ 6688 h 7868"/>
                <a:gd name="connsiteX4" fmla="*/ 2754 w 0"/>
                <a:gd name="connsiteY4" fmla="*/ 3147 h 7868"/>
                <a:gd name="connsiteX5" fmla="*/ 2361 w 0"/>
                <a:gd name="connsiteY5" fmla="*/ 0 h 7868"/>
                <a:gd name="connsiteX6" fmla="*/ 1574 w 0"/>
                <a:gd name="connsiteY6" fmla="*/ 39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7868">
                  <a:moveTo>
                    <a:pt x="394" y="3541"/>
                  </a:moveTo>
                  <a:lnTo>
                    <a:pt x="394" y="6295"/>
                  </a:lnTo>
                  <a:lnTo>
                    <a:pt x="0" y="9442"/>
                  </a:lnTo>
                  <a:lnTo>
                    <a:pt x="1967" y="6688"/>
                  </a:lnTo>
                  <a:lnTo>
                    <a:pt x="2754" y="3147"/>
                  </a:lnTo>
                  <a:lnTo>
                    <a:pt x="2361" y="0"/>
                  </a:lnTo>
                  <a:lnTo>
                    <a:pt x="1574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00" name="Freeform: Shape 3994">
              <a:extLst>
                <a:ext uri="{FF2B5EF4-FFF2-40B4-BE49-F238E27FC236}">
                  <a16:creationId xmlns:a16="http://schemas.microsoft.com/office/drawing/2014/main" id="{07C41E08-03AD-430A-85BF-52FE19B83809}"/>
                </a:ext>
              </a:extLst>
            </p:cNvPr>
            <p:cNvSpPr/>
            <p:nvPr/>
          </p:nvSpPr>
          <p:spPr>
            <a:xfrm>
              <a:off x="3437617" y="3150889"/>
              <a:ext cx="3934" cy="3934"/>
            </a:xfrm>
            <a:custGeom>
              <a:avLst/>
              <a:gdLst>
                <a:gd name="connsiteX0" fmla="*/ 0 w 0"/>
                <a:gd name="connsiteY0" fmla="*/ 2754 h 3934"/>
                <a:gd name="connsiteX1" fmla="*/ 1180 w 0"/>
                <a:gd name="connsiteY1" fmla="*/ 5901 h 3934"/>
                <a:gd name="connsiteX2" fmla="*/ 3541 w 0"/>
                <a:gd name="connsiteY2" fmla="*/ 2754 h 3934"/>
                <a:gd name="connsiteX3" fmla="*/ 3541 w 0"/>
                <a:gd name="connsiteY3" fmla="*/ 0 h 3934"/>
                <a:gd name="connsiteX4" fmla="*/ 1967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2754"/>
                  </a:moveTo>
                  <a:lnTo>
                    <a:pt x="1180" y="5901"/>
                  </a:lnTo>
                  <a:lnTo>
                    <a:pt x="3541" y="2754"/>
                  </a:lnTo>
                  <a:lnTo>
                    <a:pt x="3541" y="0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01" name="Freeform: Shape 3995">
              <a:extLst>
                <a:ext uri="{FF2B5EF4-FFF2-40B4-BE49-F238E27FC236}">
                  <a16:creationId xmlns:a16="http://schemas.microsoft.com/office/drawing/2014/main" id="{8BA20B48-12AC-4B0C-8655-8C84C89D4482}"/>
                </a:ext>
              </a:extLst>
            </p:cNvPr>
            <p:cNvSpPr/>
            <p:nvPr/>
          </p:nvSpPr>
          <p:spPr>
            <a:xfrm>
              <a:off x="3438798" y="3107219"/>
              <a:ext cx="3934" cy="7869"/>
            </a:xfrm>
            <a:custGeom>
              <a:avLst/>
              <a:gdLst>
                <a:gd name="connsiteX0" fmla="*/ 4328 w 3934"/>
                <a:gd name="connsiteY0" fmla="*/ 0 h 7868"/>
                <a:gd name="connsiteX1" fmla="*/ 3934 w 3934"/>
                <a:gd name="connsiteY1" fmla="*/ 0 h 7868"/>
                <a:gd name="connsiteX2" fmla="*/ 2361 w 3934"/>
                <a:gd name="connsiteY2" fmla="*/ 3147 h 7868"/>
                <a:gd name="connsiteX3" fmla="*/ 394 w 3934"/>
                <a:gd name="connsiteY3" fmla="*/ 5901 h 7868"/>
                <a:gd name="connsiteX4" fmla="*/ 0 w 3934"/>
                <a:gd name="connsiteY4" fmla="*/ 8655 h 7868"/>
                <a:gd name="connsiteX5" fmla="*/ 1180 w 3934"/>
                <a:gd name="connsiteY5" fmla="*/ 5901 h 7868"/>
                <a:gd name="connsiteX6" fmla="*/ 3148 w 3934"/>
                <a:gd name="connsiteY6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4328" y="0"/>
                  </a:moveTo>
                  <a:lnTo>
                    <a:pt x="3934" y="0"/>
                  </a:lnTo>
                  <a:lnTo>
                    <a:pt x="2361" y="3147"/>
                  </a:lnTo>
                  <a:lnTo>
                    <a:pt x="394" y="5901"/>
                  </a:lnTo>
                  <a:lnTo>
                    <a:pt x="0" y="8655"/>
                  </a:lnTo>
                  <a:lnTo>
                    <a:pt x="1180" y="5901"/>
                  </a:lnTo>
                  <a:lnTo>
                    <a:pt x="314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02" name="Freeform: Shape 3996">
              <a:extLst>
                <a:ext uri="{FF2B5EF4-FFF2-40B4-BE49-F238E27FC236}">
                  <a16:creationId xmlns:a16="http://schemas.microsoft.com/office/drawing/2014/main" id="{6202522E-889C-4AEC-ACD0-5CFBE644E383}"/>
                </a:ext>
              </a:extLst>
            </p:cNvPr>
            <p:cNvSpPr/>
            <p:nvPr/>
          </p:nvSpPr>
          <p:spPr>
            <a:xfrm>
              <a:off x="3471452" y="3166233"/>
              <a:ext cx="7869" cy="3934"/>
            </a:xfrm>
            <a:custGeom>
              <a:avLst/>
              <a:gdLst>
                <a:gd name="connsiteX0" fmla="*/ 5114 w 7868"/>
                <a:gd name="connsiteY0" fmla="*/ 1574 h 3934"/>
                <a:gd name="connsiteX1" fmla="*/ 2360 w 7868"/>
                <a:gd name="connsiteY1" fmla="*/ 2754 h 3934"/>
                <a:gd name="connsiteX2" fmla="*/ 0 w 7868"/>
                <a:gd name="connsiteY2" fmla="*/ 5508 h 3934"/>
                <a:gd name="connsiteX3" fmla="*/ 2360 w 7868"/>
                <a:gd name="connsiteY3" fmla="*/ 3934 h 3934"/>
                <a:gd name="connsiteX4" fmla="*/ 5114 w 7868"/>
                <a:gd name="connsiteY4" fmla="*/ 2754 h 3934"/>
                <a:gd name="connsiteX5" fmla="*/ 8262 w 7868"/>
                <a:gd name="connsiteY5" fmla="*/ 1180 h 3934"/>
                <a:gd name="connsiteX6" fmla="*/ 11016 w 7868"/>
                <a:gd name="connsiteY6" fmla="*/ 0 h 3934"/>
                <a:gd name="connsiteX7" fmla="*/ 8262 w 7868"/>
                <a:gd name="connsiteY7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114" y="1574"/>
                  </a:moveTo>
                  <a:lnTo>
                    <a:pt x="2360" y="2754"/>
                  </a:lnTo>
                  <a:lnTo>
                    <a:pt x="0" y="5508"/>
                  </a:lnTo>
                  <a:lnTo>
                    <a:pt x="2360" y="3934"/>
                  </a:lnTo>
                  <a:lnTo>
                    <a:pt x="5114" y="2754"/>
                  </a:lnTo>
                  <a:lnTo>
                    <a:pt x="8262" y="1180"/>
                  </a:lnTo>
                  <a:lnTo>
                    <a:pt x="11016" y="0"/>
                  </a:lnTo>
                  <a:lnTo>
                    <a:pt x="8262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03" name="Freeform: Shape 3997">
              <a:extLst>
                <a:ext uri="{FF2B5EF4-FFF2-40B4-BE49-F238E27FC236}">
                  <a16:creationId xmlns:a16="http://schemas.microsoft.com/office/drawing/2014/main" id="{B77530E7-8502-4879-B982-C199C7083C10}"/>
                </a:ext>
              </a:extLst>
            </p:cNvPr>
            <p:cNvSpPr/>
            <p:nvPr/>
          </p:nvSpPr>
          <p:spPr>
            <a:xfrm>
              <a:off x="3430536" y="3157184"/>
              <a:ext cx="3934" cy="7869"/>
            </a:xfrm>
            <a:custGeom>
              <a:avLst/>
              <a:gdLst>
                <a:gd name="connsiteX0" fmla="*/ 1574 w 0"/>
                <a:gd name="connsiteY0" fmla="*/ 5508 h 7868"/>
                <a:gd name="connsiteX1" fmla="*/ 393 w 0"/>
                <a:gd name="connsiteY1" fmla="*/ 2754 h 7868"/>
                <a:gd name="connsiteX2" fmla="*/ 0 w 0"/>
                <a:gd name="connsiteY2" fmla="*/ 0 h 7868"/>
                <a:gd name="connsiteX3" fmla="*/ 0 w 0"/>
                <a:gd name="connsiteY3" fmla="*/ 865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7868">
                  <a:moveTo>
                    <a:pt x="1574" y="5508"/>
                  </a:moveTo>
                  <a:lnTo>
                    <a:pt x="393" y="2754"/>
                  </a:lnTo>
                  <a:lnTo>
                    <a:pt x="0" y="0"/>
                  </a:lnTo>
                  <a:lnTo>
                    <a:pt x="0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04" name="Freeform: Shape 3998">
              <a:extLst>
                <a:ext uri="{FF2B5EF4-FFF2-40B4-BE49-F238E27FC236}">
                  <a16:creationId xmlns:a16="http://schemas.microsoft.com/office/drawing/2014/main" id="{D0A02742-4E2A-45EA-93EC-4CFEED303E88}"/>
                </a:ext>
              </a:extLst>
            </p:cNvPr>
            <p:cNvSpPr/>
            <p:nvPr/>
          </p:nvSpPr>
          <p:spPr>
            <a:xfrm>
              <a:off x="3432110" y="3142628"/>
              <a:ext cx="3934" cy="7869"/>
            </a:xfrm>
            <a:custGeom>
              <a:avLst/>
              <a:gdLst>
                <a:gd name="connsiteX0" fmla="*/ 0 w 0"/>
                <a:gd name="connsiteY0" fmla="*/ 8262 h 7868"/>
                <a:gd name="connsiteX1" fmla="*/ 1574 w 0"/>
                <a:gd name="connsiteY1" fmla="*/ 5114 h 7868"/>
                <a:gd name="connsiteX2" fmla="*/ 2754 w 0"/>
                <a:gd name="connsiteY2" fmla="*/ 1967 h 7868"/>
                <a:gd name="connsiteX3" fmla="*/ 787 w 0"/>
                <a:gd name="connsiteY3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7868">
                  <a:moveTo>
                    <a:pt x="0" y="8262"/>
                  </a:moveTo>
                  <a:lnTo>
                    <a:pt x="1574" y="5114"/>
                  </a:lnTo>
                  <a:lnTo>
                    <a:pt x="2754" y="1967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05" name="Freeform: Shape 3999">
              <a:extLst>
                <a:ext uri="{FF2B5EF4-FFF2-40B4-BE49-F238E27FC236}">
                  <a16:creationId xmlns:a16="http://schemas.microsoft.com/office/drawing/2014/main" id="{30BA14E6-436F-43B9-8C63-0D1FFF7FD080}"/>
                </a:ext>
              </a:extLst>
            </p:cNvPr>
            <p:cNvSpPr/>
            <p:nvPr/>
          </p:nvSpPr>
          <p:spPr>
            <a:xfrm>
              <a:off x="3437224" y="3128858"/>
              <a:ext cx="3934" cy="7869"/>
            </a:xfrm>
            <a:custGeom>
              <a:avLst/>
              <a:gdLst>
                <a:gd name="connsiteX0" fmla="*/ 3934 w 3934"/>
                <a:gd name="connsiteY0" fmla="*/ 0 h 7868"/>
                <a:gd name="connsiteX1" fmla="*/ 2360 w 3934"/>
                <a:gd name="connsiteY1" fmla="*/ 2754 h 7868"/>
                <a:gd name="connsiteX2" fmla="*/ 787 w 3934"/>
                <a:gd name="connsiteY2" fmla="*/ 5508 h 7868"/>
                <a:gd name="connsiteX3" fmla="*/ 0 w 3934"/>
                <a:gd name="connsiteY3" fmla="*/ 8655 h 7868"/>
                <a:gd name="connsiteX4" fmla="*/ 393 w 3934"/>
                <a:gd name="connsiteY4" fmla="*/ 7869 h 7868"/>
                <a:gd name="connsiteX5" fmla="*/ 1180 w 3934"/>
                <a:gd name="connsiteY5" fmla="*/ 4721 h 7868"/>
                <a:gd name="connsiteX6" fmla="*/ 4328 w 3934"/>
                <a:gd name="connsiteY6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3934" y="0"/>
                  </a:moveTo>
                  <a:lnTo>
                    <a:pt x="2360" y="2754"/>
                  </a:lnTo>
                  <a:lnTo>
                    <a:pt x="787" y="5508"/>
                  </a:lnTo>
                  <a:lnTo>
                    <a:pt x="0" y="8655"/>
                  </a:lnTo>
                  <a:lnTo>
                    <a:pt x="393" y="7869"/>
                  </a:lnTo>
                  <a:lnTo>
                    <a:pt x="1180" y="4721"/>
                  </a:lnTo>
                  <a:lnTo>
                    <a:pt x="432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06" name="Freeform: Shape 4000">
              <a:extLst>
                <a:ext uri="{FF2B5EF4-FFF2-40B4-BE49-F238E27FC236}">
                  <a16:creationId xmlns:a16="http://schemas.microsoft.com/office/drawing/2014/main" id="{D704F70D-82DA-4043-A5F7-EEB8904143D0}"/>
                </a:ext>
              </a:extLst>
            </p:cNvPr>
            <p:cNvSpPr/>
            <p:nvPr/>
          </p:nvSpPr>
          <p:spPr>
            <a:xfrm>
              <a:off x="3432110" y="3121776"/>
              <a:ext cx="3934" cy="3934"/>
            </a:xfrm>
            <a:custGeom>
              <a:avLst/>
              <a:gdLst>
                <a:gd name="connsiteX0" fmla="*/ 0 w 0"/>
                <a:gd name="connsiteY0" fmla="*/ 1967 h 0"/>
                <a:gd name="connsiteX1" fmla="*/ 0 w 0"/>
                <a:gd name="connsiteY1" fmla="*/ 2754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967"/>
                  </a:moveTo>
                  <a:lnTo>
                    <a:pt x="0" y="275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07" name="Freeform: Shape 4001">
              <a:extLst>
                <a:ext uri="{FF2B5EF4-FFF2-40B4-BE49-F238E27FC236}">
                  <a16:creationId xmlns:a16="http://schemas.microsoft.com/office/drawing/2014/main" id="{AF30ABFE-C8B6-42F7-9C96-4DCA768505AF}"/>
                </a:ext>
              </a:extLst>
            </p:cNvPr>
            <p:cNvSpPr/>
            <p:nvPr/>
          </p:nvSpPr>
          <p:spPr>
            <a:xfrm>
              <a:off x="3458863" y="3096203"/>
              <a:ext cx="3934" cy="3934"/>
            </a:xfrm>
            <a:custGeom>
              <a:avLst/>
              <a:gdLst>
                <a:gd name="connsiteX0" fmla="*/ 393 w 0"/>
                <a:gd name="connsiteY0" fmla="*/ 2754 h 0"/>
                <a:gd name="connsiteX1" fmla="*/ 1574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2754"/>
                  </a:moveTo>
                  <a:lnTo>
                    <a:pt x="157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08" name="Freeform: Shape 4002">
              <a:extLst>
                <a:ext uri="{FF2B5EF4-FFF2-40B4-BE49-F238E27FC236}">
                  <a16:creationId xmlns:a16="http://schemas.microsoft.com/office/drawing/2014/main" id="{213E8284-AE33-4271-B880-2A23A0D153A8}"/>
                </a:ext>
              </a:extLst>
            </p:cNvPr>
            <p:cNvSpPr/>
            <p:nvPr/>
          </p:nvSpPr>
          <p:spPr>
            <a:xfrm>
              <a:off x="3463190" y="3088335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3147 h 0"/>
                <a:gd name="connsiteX2" fmla="*/ 39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3147"/>
                  </a:lnTo>
                  <a:lnTo>
                    <a:pt x="39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09" name="Freeform: Shape 4003">
              <a:extLst>
                <a:ext uri="{FF2B5EF4-FFF2-40B4-BE49-F238E27FC236}">
                  <a16:creationId xmlns:a16="http://schemas.microsoft.com/office/drawing/2014/main" id="{F6E245DB-BBF9-4E6E-9067-692A61FBF170}"/>
                </a:ext>
              </a:extLst>
            </p:cNvPr>
            <p:cNvSpPr/>
            <p:nvPr/>
          </p:nvSpPr>
          <p:spPr>
            <a:xfrm>
              <a:off x="3327852" y="3085974"/>
              <a:ext cx="7869" cy="3934"/>
            </a:xfrm>
            <a:custGeom>
              <a:avLst/>
              <a:gdLst>
                <a:gd name="connsiteX0" fmla="*/ 1180 w 7868"/>
                <a:gd name="connsiteY0" fmla="*/ 5115 h 3934"/>
                <a:gd name="connsiteX1" fmla="*/ 3934 w 7868"/>
                <a:gd name="connsiteY1" fmla="*/ 4721 h 3934"/>
                <a:gd name="connsiteX2" fmla="*/ 6688 w 7868"/>
                <a:gd name="connsiteY2" fmla="*/ 2361 h 3934"/>
                <a:gd name="connsiteX3" fmla="*/ 9836 w 7868"/>
                <a:gd name="connsiteY3" fmla="*/ 787 h 3934"/>
                <a:gd name="connsiteX4" fmla="*/ 9049 w 7868"/>
                <a:gd name="connsiteY4" fmla="*/ 0 h 3934"/>
                <a:gd name="connsiteX5" fmla="*/ 5901 w 7868"/>
                <a:gd name="connsiteY5" fmla="*/ 1574 h 3934"/>
                <a:gd name="connsiteX6" fmla="*/ 0 w 7868"/>
                <a:gd name="connsiteY6" fmla="*/ 5115 h 3934"/>
                <a:gd name="connsiteX7" fmla="*/ 0 w 7868"/>
                <a:gd name="connsiteY7" fmla="*/ 5115 h 3934"/>
                <a:gd name="connsiteX8" fmla="*/ 0 w 7868"/>
                <a:gd name="connsiteY8" fmla="*/ 511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1180" y="5115"/>
                  </a:moveTo>
                  <a:lnTo>
                    <a:pt x="3934" y="4721"/>
                  </a:lnTo>
                  <a:lnTo>
                    <a:pt x="6688" y="2361"/>
                  </a:lnTo>
                  <a:lnTo>
                    <a:pt x="9836" y="787"/>
                  </a:lnTo>
                  <a:lnTo>
                    <a:pt x="9049" y="0"/>
                  </a:lnTo>
                  <a:lnTo>
                    <a:pt x="5901" y="1574"/>
                  </a:lnTo>
                  <a:lnTo>
                    <a:pt x="0" y="5115"/>
                  </a:lnTo>
                  <a:lnTo>
                    <a:pt x="0" y="5115"/>
                  </a:lnTo>
                  <a:lnTo>
                    <a:pt x="0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10" name="Freeform: Shape 4004">
              <a:extLst>
                <a:ext uri="{FF2B5EF4-FFF2-40B4-BE49-F238E27FC236}">
                  <a16:creationId xmlns:a16="http://schemas.microsoft.com/office/drawing/2014/main" id="{5B2EAD86-490A-49E5-883C-FDA530B778BC}"/>
                </a:ext>
              </a:extLst>
            </p:cNvPr>
            <p:cNvSpPr/>
            <p:nvPr/>
          </p:nvSpPr>
          <p:spPr>
            <a:xfrm>
              <a:off x="3412832" y="2726776"/>
              <a:ext cx="3934" cy="3934"/>
            </a:xfrm>
            <a:custGeom>
              <a:avLst/>
              <a:gdLst>
                <a:gd name="connsiteX0" fmla="*/ 3147 w 3934"/>
                <a:gd name="connsiteY0" fmla="*/ 3541 h 3934"/>
                <a:gd name="connsiteX1" fmla="*/ 3934 w 3934"/>
                <a:gd name="connsiteY1" fmla="*/ 393 h 3934"/>
                <a:gd name="connsiteX2" fmla="*/ 787 w 3934"/>
                <a:gd name="connsiteY2" fmla="*/ 0 h 3934"/>
                <a:gd name="connsiteX3" fmla="*/ 0 w 3934"/>
                <a:gd name="connsiteY3" fmla="*/ 2754 h 3934"/>
                <a:gd name="connsiteX4" fmla="*/ 2754 w 3934"/>
                <a:gd name="connsiteY4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147" y="3541"/>
                  </a:moveTo>
                  <a:lnTo>
                    <a:pt x="3934" y="393"/>
                  </a:lnTo>
                  <a:lnTo>
                    <a:pt x="787" y="0"/>
                  </a:lnTo>
                  <a:lnTo>
                    <a:pt x="0" y="2754"/>
                  </a:lnTo>
                  <a:lnTo>
                    <a:pt x="2754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11" name="Freeform: Shape 4005">
              <a:extLst>
                <a:ext uri="{FF2B5EF4-FFF2-40B4-BE49-F238E27FC236}">
                  <a16:creationId xmlns:a16="http://schemas.microsoft.com/office/drawing/2014/main" id="{319D25A1-05FF-4020-A90C-71CDD2297BBA}"/>
                </a:ext>
              </a:extLst>
            </p:cNvPr>
            <p:cNvSpPr/>
            <p:nvPr/>
          </p:nvSpPr>
          <p:spPr>
            <a:xfrm>
              <a:off x="3214545" y="2801527"/>
              <a:ext cx="3934" cy="35408"/>
            </a:xfrm>
            <a:custGeom>
              <a:avLst/>
              <a:gdLst>
                <a:gd name="connsiteX0" fmla="*/ 1180 w 0"/>
                <a:gd name="connsiteY0" fmla="*/ 9049 h 35408"/>
                <a:gd name="connsiteX1" fmla="*/ 1967 w 0"/>
                <a:gd name="connsiteY1" fmla="*/ 6295 h 35408"/>
                <a:gd name="connsiteX2" fmla="*/ 1967 w 0"/>
                <a:gd name="connsiteY2" fmla="*/ 3147 h 35408"/>
                <a:gd name="connsiteX3" fmla="*/ 2754 w 0"/>
                <a:gd name="connsiteY3" fmla="*/ 0 h 35408"/>
                <a:gd name="connsiteX4" fmla="*/ 1967 w 0"/>
                <a:gd name="connsiteY4" fmla="*/ 3147 h 35408"/>
                <a:gd name="connsiteX5" fmla="*/ 1574 w 0"/>
                <a:gd name="connsiteY5" fmla="*/ 6295 h 35408"/>
                <a:gd name="connsiteX6" fmla="*/ 787 w 0"/>
                <a:gd name="connsiteY6" fmla="*/ 9049 h 35408"/>
                <a:gd name="connsiteX7" fmla="*/ 394 w 0"/>
                <a:gd name="connsiteY7" fmla="*/ 12196 h 35408"/>
                <a:gd name="connsiteX8" fmla="*/ 0 w 0"/>
                <a:gd name="connsiteY8" fmla="*/ 14950 h 35408"/>
                <a:gd name="connsiteX9" fmla="*/ 787 w 0"/>
                <a:gd name="connsiteY9" fmla="*/ 24392 h 35408"/>
                <a:gd name="connsiteX10" fmla="*/ 787 w 0"/>
                <a:gd name="connsiteY10" fmla="*/ 24392 h 35408"/>
                <a:gd name="connsiteX11" fmla="*/ 1180 w 0"/>
                <a:gd name="connsiteY11" fmla="*/ 27540 h 35408"/>
                <a:gd name="connsiteX12" fmla="*/ 787 w 0"/>
                <a:gd name="connsiteY12" fmla="*/ 29507 h 35408"/>
                <a:gd name="connsiteX13" fmla="*/ 787 w 0"/>
                <a:gd name="connsiteY13" fmla="*/ 32654 h 35408"/>
                <a:gd name="connsiteX14" fmla="*/ 787 w 0"/>
                <a:gd name="connsiteY14" fmla="*/ 35408 h 35408"/>
                <a:gd name="connsiteX15" fmla="*/ 1180 w 0"/>
                <a:gd name="connsiteY15" fmla="*/ 32654 h 35408"/>
                <a:gd name="connsiteX16" fmla="*/ 1574 w 0"/>
                <a:gd name="connsiteY16" fmla="*/ 29507 h 35408"/>
                <a:gd name="connsiteX17" fmla="*/ 1574 w 0"/>
                <a:gd name="connsiteY17" fmla="*/ 20852 h 35408"/>
                <a:gd name="connsiteX18" fmla="*/ 1180 w 0"/>
                <a:gd name="connsiteY18" fmla="*/ 18098 h 35408"/>
                <a:gd name="connsiteX19" fmla="*/ 787 w 0"/>
                <a:gd name="connsiteY19" fmla="*/ 14950 h 35408"/>
                <a:gd name="connsiteX20" fmla="*/ 787 w 0"/>
                <a:gd name="connsiteY20" fmla="*/ 12196 h 35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h="35408">
                  <a:moveTo>
                    <a:pt x="1180" y="9049"/>
                  </a:moveTo>
                  <a:lnTo>
                    <a:pt x="1967" y="6295"/>
                  </a:lnTo>
                  <a:lnTo>
                    <a:pt x="1967" y="3147"/>
                  </a:lnTo>
                  <a:lnTo>
                    <a:pt x="2754" y="0"/>
                  </a:lnTo>
                  <a:lnTo>
                    <a:pt x="1967" y="3147"/>
                  </a:lnTo>
                  <a:lnTo>
                    <a:pt x="1574" y="6295"/>
                  </a:lnTo>
                  <a:lnTo>
                    <a:pt x="787" y="9049"/>
                  </a:lnTo>
                  <a:lnTo>
                    <a:pt x="394" y="12196"/>
                  </a:lnTo>
                  <a:lnTo>
                    <a:pt x="0" y="14950"/>
                  </a:lnTo>
                  <a:lnTo>
                    <a:pt x="787" y="24392"/>
                  </a:lnTo>
                  <a:lnTo>
                    <a:pt x="787" y="24392"/>
                  </a:lnTo>
                  <a:lnTo>
                    <a:pt x="1180" y="27540"/>
                  </a:lnTo>
                  <a:lnTo>
                    <a:pt x="787" y="29507"/>
                  </a:lnTo>
                  <a:lnTo>
                    <a:pt x="787" y="32654"/>
                  </a:lnTo>
                  <a:lnTo>
                    <a:pt x="787" y="35408"/>
                  </a:lnTo>
                  <a:lnTo>
                    <a:pt x="1180" y="32654"/>
                  </a:lnTo>
                  <a:lnTo>
                    <a:pt x="1574" y="29507"/>
                  </a:lnTo>
                  <a:lnTo>
                    <a:pt x="1574" y="20852"/>
                  </a:lnTo>
                  <a:lnTo>
                    <a:pt x="1180" y="18098"/>
                  </a:lnTo>
                  <a:lnTo>
                    <a:pt x="787" y="14950"/>
                  </a:lnTo>
                  <a:lnTo>
                    <a:pt x="787" y="1219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12" name="Freeform: Shape 4006">
              <a:extLst>
                <a:ext uri="{FF2B5EF4-FFF2-40B4-BE49-F238E27FC236}">
                  <a16:creationId xmlns:a16="http://schemas.microsoft.com/office/drawing/2014/main" id="{730CCD65-6DF6-4695-8BC4-4621ED417994}"/>
                </a:ext>
              </a:extLst>
            </p:cNvPr>
            <p:cNvSpPr/>
            <p:nvPr/>
          </p:nvSpPr>
          <p:spPr>
            <a:xfrm>
              <a:off x="3219659" y="2779495"/>
              <a:ext cx="7869" cy="15737"/>
            </a:xfrm>
            <a:custGeom>
              <a:avLst/>
              <a:gdLst>
                <a:gd name="connsiteX0" fmla="*/ 5901 w 7868"/>
                <a:gd name="connsiteY0" fmla="*/ 5901 h 15737"/>
                <a:gd name="connsiteX1" fmla="*/ 1967 w 7868"/>
                <a:gd name="connsiteY1" fmla="*/ 11409 h 15737"/>
                <a:gd name="connsiteX2" fmla="*/ 393 w 7868"/>
                <a:gd name="connsiteY2" fmla="*/ 14163 h 15737"/>
                <a:gd name="connsiteX3" fmla="*/ 0 w 7868"/>
                <a:gd name="connsiteY3" fmla="*/ 17311 h 15737"/>
                <a:gd name="connsiteX4" fmla="*/ 1574 w 7868"/>
                <a:gd name="connsiteY4" fmla="*/ 14163 h 15737"/>
                <a:gd name="connsiteX5" fmla="*/ 3147 w 7868"/>
                <a:gd name="connsiteY5" fmla="*/ 11409 h 15737"/>
                <a:gd name="connsiteX6" fmla="*/ 5114 w 7868"/>
                <a:gd name="connsiteY6" fmla="*/ 8262 h 15737"/>
                <a:gd name="connsiteX7" fmla="*/ 7475 w 7868"/>
                <a:gd name="connsiteY7" fmla="*/ 5901 h 15737"/>
                <a:gd name="connsiteX8" fmla="*/ 9836 w 7868"/>
                <a:gd name="connsiteY8" fmla="*/ 2754 h 15737"/>
                <a:gd name="connsiteX9" fmla="*/ 11409 w 7868"/>
                <a:gd name="connsiteY9" fmla="*/ 0 h 15737"/>
                <a:gd name="connsiteX10" fmla="*/ 9049 w 7868"/>
                <a:gd name="connsiteY10" fmla="*/ 2754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68" h="15737">
                  <a:moveTo>
                    <a:pt x="5901" y="5901"/>
                  </a:moveTo>
                  <a:lnTo>
                    <a:pt x="1967" y="11409"/>
                  </a:lnTo>
                  <a:lnTo>
                    <a:pt x="393" y="14163"/>
                  </a:lnTo>
                  <a:lnTo>
                    <a:pt x="0" y="17311"/>
                  </a:lnTo>
                  <a:lnTo>
                    <a:pt x="1574" y="14163"/>
                  </a:lnTo>
                  <a:lnTo>
                    <a:pt x="3147" y="11409"/>
                  </a:lnTo>
                  <a:lnTo>
                    <a:pt x="5114" y="8262"/>
                  </a:lnTo>
                  <a:lnTo>
                    <a:pt x="7475" y="5901"/>
                  </a:lnTo>
                  <a:lnTo>
                    <a:pt x="9836" y="2754"/>
                  </a:lnTo>
                  <a:lnTo>
                    <a:pt x="11409" y="0"/>
                  </a:lnTo>
                  <a:lnTo>
                    <a:pt x="9049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13" name="Freeform: Shape 4007">
              <a:extLst>
                <a:ext uri="{FF2B5EF4-FFF2-40B4-BE49-F238E27FC236}">
                  <a16:creationId xmlns:a16="http://schemas.microsoft.com/office/drawing/2014/main" id="{94E8A044-4DBB-4210-A959-B2CF00EB214F}"/>
                </a:ext>
              </a:extLst>
            </p:cNvPr>
            <p:cNvSpPr/>
            <p:nvPr/>
          </p:nvSpPr>
          <p:spPr>
            <a:xfrm>
              <a:off x="3233429" y="2768873"/>
              <a:ext cx="7869" cy="7869"/>
            </a:xfrm>
            <a:custGeom>
              <a:avLst/>
              <a:gdLst>
                <a:gd name="connsiteX0" fmla="*/ 2360 w 7868"/>
                <a:gd name="connsiteY0" fmla="*/ 5508 h 7868"/>
                <a:gd name="connsiteX1" fmla="*/ 0 w 7868"/>
                <a:gd name="connsiteY1" fmla="*/ 8655 h 7868"/>
                <a:gd name="connsiteX2" fmla="*/ 2754 w 7868"/>
                <a:gd name="connsiteY2" fmla="*/ 5901 h 7868"/>
                <a:gd name="connsiteX3" fmla="*/ 5508 w 7868"/>
                <a:gd name="connsiteY3" fmla="*/ 2754 h 7868"/>
                <a:gd name="connsiteX4" fmla="*/ 8262 w 7868"/>
                <a:gd name="connsiteY4" fmla="*/ 0 h 7868"/>
                <a:gd name="connsiteX5" fmla="*/ 6688 w 7868"/>
                <a:gd name="connsiteY5" fmla="*/ 0 h 7868"/>
                <a:gd name="connsiteX6" fmla="*/ 3934 w 7868"/>
                <a:gd name="connsiteY6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7868">
                  <a:moveTo>
                    <a:pt x="2360" y="5508"/>
                  </a:moveTo>
                  <a:lnTo>
                    <a:pt x="0" y="8655"/>
                  </a:lnTo>
                  <a:lnTo>
                    <a:pt x="2754" y="5901"/>
                  </a:lnTo>
                  <a:lnTo>
                    <a:pt x="5508" y="2754"/>
                  </a:lnTo>
                  <a:lnTo>
                    <a:pt x="8262" y="0"/>
                  </a:lnTo>
                  <a:lnTo>
                    <a:pt x="6688" y="0"/>
                  </a:lnTo>
                  <a:lnTo>
                    <a:pt x="393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14" name="Freeform: Shape 4008">
              <a:extLst>
                <a:ext uri="{FF2B5EF4-FFF2-40B4-BE49-F238E27FC236}">
                  <a16:creationId xmlns:a16="http://schemas.microsoft.com/office/drawing/2014/main" id="{546AA2D5-D0BF-44E6-9AA7-FC4CA48DC2A1}"/>
                </a:ext>
              </a:extLst>
            </p:cNvPr>
            <p:cNvSpPr/>
            <p:nvPr/>
          </p:nvSpPr>
          <p:spPr>
            <a:xfrm>
              <a:off x="3604430" y="3297638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2754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2754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15" name="Freeform: Shape 4009">
              <a:extLst>
                <a:ext uri="{FF2B5EF4-FFF2-40B4-BE49-F238E27FC236}">
                  <a16:creationId xmlns:a16="http://schemas.microsoft.com/office/drawing/2014/main" id="{4C3EED31-D6D9-4E1C-9EAB-DE85CD2656E7}"/>
                </a:ext>
              </a:extLst>
            </p:cNvPr>
            <p:cNvSpPr/>
            <p:nvPr/>
          </p:nvSpPr>
          <p:spPr>
            <a:xfrm>
              <a:off x="3640232" y="3066696"/>
              <a:ext cx="7869" cy="3934"/>
            </a:xfrm>
            <a:custGeom>
              <a:avLst/>
              <a:gdLst>
                <a:gd name="connsiteX0" fmla="*/ 3147 w 7868"/>
                <a:gd name="connsiteY0" fmla="*/ 1180 h 0"/>
                <a:gd name="connsiteX1" fmla="*/ 0 w 7868"/>
                <a:gd name="connsiteY1" fmla="*/ 1180 h 0"/>
                <a:gd name="connsiteX2" fmla="*/ 0 w 7868"/>
                <a:gd name="connsiteY2" fmla="*/ 3147 h 0"/>
                <a:gd name="connsiteX3" fmla="*/ 3147 w 7868"/>
                <a:gd name="connsiteY3" fmla="*/ 3147 h 0"/>
                <a:gd name="connsiteX4" fmla="*/ 5901 w 7868"/>
                <a:gd name="connsiteY4" fmla="*/ 1967 h 0"/>
                <a:gd name="connsiteX5" fmla="*/ 8655 w 7868"/>
                <a:gd name="connsiteY5" fmla="*/ 0 h 0"/>
                <a:gd name="connsiteX6" fmla="*/ 5901 w 7868"/>
                <a:gd name="connsiteY6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3147" y="1180"/>
                  </a:moveTo>
                  <a:lnTo>
                    <a:pt x="0" y="1180"/>
                  </a:lnTo>
                  <a:lnTo>
                    <a:pt x="0" y="3147"/>
                  </a:lnTo>
                  <a:lnTo>
                    <a:pt x="3147" y="3147"/>
                  </a:lnTo>
                  <a:lnTo>
                    <a:pt x="5901" y="1967"/>
                  </a:lnTo>
                  <a:lnTo>
                    <a:pt x="8655" y="0"/>
                  </a:lnTo>
                  <a:lnTo>
                    <a:pt x="590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16" name="Freeform: Shape 4010">
              <a:extLst>
                <a:ext uri="{FF2B5EF4-FFF2-40B4-BE49-F238E27FC236}">
                  <a16:creationId xmlns:a16="http://schemas.microsoft.com/office/drawing/2014/main" id="{C8DB5093-5626-444A-8E11-BCEADE8AAA2F}"/>
                </a:ext>
              </a:extLst>
            </p:cNvPr>
            <p:cNvSpPr/>
            <p:nvPr/>
          </p:nvSpPr>
          <p:spPr>
            <a:xfrm>
              <a:off x="3679968" y="3054500"/>
              <a:ext cx="3934" cy="3934"/>
            </a:xfrm>
            <a:custGeom>
              <a:avLst/>
              <a:gdLst>
                <a:gd name="connsiteX0" fmla="*/ 0 w 0"/>
                <a:gd name="connsiteY0" fmla="*/ 1967 h 0"/>
                <a:gd name="connsiteX1" fmla="*/ 2754 w 0"/>
                <a:gd name="connsiteY1" fmla="*/ 787 h 0"/>
                <a:gd name="connsiteX2" fmla="*/ 3541 w 0"/>
                <a:gd name="connsiteY2" fmla="*/ 0 h 0"/>
                <a:gd name="connsiteX3" fmla="*/ 2754 w 0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1967"/>
                  </a:moveTo>
                  <a:lnTo>
                    <a:pt x="2754" y="787"/>
                  </a:lnTo>
                  <a:lnTo>
                    <a:pt x="3541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17" name="Freeform: Shape 4011">
              <a:extLst>
                <a:ext uri="{FF2B5EF4-FFF2-40B4-BE49-F238E27FC236}">
                  <a16:creationId xmlns:a16="http://schemas.microsoft.com/office/drawing/2014/main" id="{866F24A5-FDC1-46D5-A7A6-7C662A05D6C1}"/>
                </a:ext>
              </a:extLst>
            </p:cNvPr>
            <p:cNvSpPr/>
            <p:nvPr/>
          </p:nvSpPr>
          <p:spPr>
            <a:xfrm>
              <a:off x="3542662" y="3317702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787 w 0"/>
                <a:gd name="connsiteY1" fmla="*/ 0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787" y="0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18" name="Freeform: Shape 4012">
              <a:extLst>
                <a:ext uri="{FF2B5EF4-FFF2-40B4-BE49-F238E27FC236}">
                  <a16:creationId xmlns:a16="http://schemas.microsoft.com/office/drawing/2014/main" id="{70FE2648-B8C9-49E0-99A3-83312D540FC7}"/>
                </a:ext>
              </a:extLst>
            </p:cNvPr>
            <p:cNvSpPr/>
            <p:nvPr/>
          </p:nvSpPr>
          <p:spPr>
            <a:xfrm>
              <a:off x="5968923" y="1887204"/>
              <a:ext cx="11803" cy="7869"/>
            </a:xfrm>
            <a:custGeom>
              <a:avLst/>
              <a:gdLst>
                <a:gd name="connsiteX0" fmla="*/ 7475 w 11802"/>
                <a:gd name="connsiteY0" fmla="*/ 8262 h 7868"/>
                <a:gd name="connsiteX1" fmla="*/ 10229 w 11802"/>
                <a:gd name="connsiteY1" fmla="*/ 5508 h 7868"/>
                <a:gd name="connsiteX2" fmla="*/ 12197 w 11802"/>
                <a:gd name="connsiteY2" fmla="*/ 2754 h 7868"/>
                <a:gd name="connsiteX3" fmla="*/ 9049 w 11802"/>
                <a:gd name="connsiteY3" fmla="*/ 0 h 7868"/>
                <a:gd name="connsiteX4" fmla="*/ 6295 w 11802"/>
                <a:gd name="connsiteY4" fmla="*/ 1967 h 7868"/>
                <a:gd name="connsiteX5" fmla="*/ 3541 w 11802"/>
                <a:gd name="connsiteY5" fmla="*/ 5115 h 7868"/>
                <a:gd name="connsiteX6" fmla="*/ 1574 w 11802"/>
                <a:gd name="connsiteY6" fmla="*/ 7869 h 7868"/>
                <a:gd name="connsiteX7" fmla="*/ 0 w 11802"/>
                <a:gd name="connsiteY7" fmla="*/ 10623 h 7868"/>
                <a:gd name="connsiteX8" fmla="*/ 1967 w 11802"/>
                <a:gd name="connsiteY8" fmla="*/ 10229 h 7868"/>
                <a:gd name="connsiteX9" fmla="*/ 4721 w 11802"/>
                <a:gd name="connsiteY9" fmla="*/ 9836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7868">
                  <a:moveTo>
                    <a:pt x="7475" y="8262"/>
                  </a:moveTo>
                  <a:lnTo>
                    <a:pt x="10229" y="5508"/>
                  </a:lnTo>
                  <a:lnTo>
                    <a:pt x="12197" y="2754"/>
                  </a:lnTo>
                  <a:lnTo>
                    <a:pt x="9049" y="0"/>
                  </a:lnTo>
                  <a:lnTo>
                    <a:pt x="6295" y="1967"/>
                  </a:lnTo>
                  <a:lnTo>
                    <a:pt x="3541" y="5115"/>
                  </a:lnTo>
                  <a:lnTo>
                    <a:pt x="1574" y="7869"/>
                  </a:lnTo>
                  <a:lnTo>
                    <a:pt x="0" y="10623"/>
                  </a:lnTo>
                  <a:lnTo>
                    <a:pt x="1967" y="10229"/>
                  </a:lnTo>
                  <a:lnTo>
                    <a:pt x="4721" y="983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19" name="Freeform: Shape 4013">
              <a:extLst>
                <a:ext uri="{FF2B5EF4-FFF2-40B4-BE49-F238E27FC236}">
                  <a16:creationId xmlns:a16="http://schemas.microsoft.com/office/drawing/2014/main" id="{C5525822-F8B5-4EB4-A676-CA2FFD745EA6}"/>
                </a:ext>
              </a:extLst>
            </p:cNvPr>
            <p:cNvSpPr/>
            <p:nvPr/>
          </p:nvSpPr>
          <p:spPr>
            <a:xfrm>
              <a:off x="6263600" y="1910023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93 w 0"/>
                <a:gd name="connsiteY1" fmla="*/ 393 h 0"/>
                <a:gd name="connsiteX2" fmla="*/ 3148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93" y="393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20" name="Freeform: Shape 4014">
              <a:extLst>
                <a:ext uri="{FF2B5EF4-FFF2-40B4-BE49-F238E27FC236}">
                  <a16:creationId xmlns:a16="http://schemas.microsoft.com/office/drawing/2014/main" id="{7FFDDA86-E005-4C80-BEA2-A645AD947F7B}"/>
                </a:ext>
              </a:extLst>
            </p:cNvPr>
            <p:cNvSpPr/>
            <p:nvPr/>
          </p:nvSpPr>
          <p:spPr>
            <a:xfrm>
              <a:off x="6304123" y="1875401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574 h 0"/>
                <a:gd name="connsiteX2" fmla="*/ 2754 w 0"/>
                <a:gd name="connsiteY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574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21" name="Freeform: Shape 4015">
              <a:extLst>
                <a:ext uri="{FF2B5EF4-FFF2-40B4-BE49-F238E27FC236}">
                  <a16:creationId xmlns:a16="http://schemas.microsoft.com/office/drawing/2014/main" id="{D23A8DA2-25F1-4191-9D7E-2B2608BE0C20}"/>
                </a:ext>
              </a:extLst>
            </p:cNvPr>
            <p:cNvSpPr/>
            <p:nvPr/>
          </p:nvSpPr>
          <p:spPr>
            <a:xfrm>
              <a:off x="6220716" y="1917498"/>
              <a:ext cx="7869" cy="3934"/>
            </a:xfrm>
            <a:custGeom>
              <a:avLst/>
              <a:gdLst>
                <a:gd name="connsiteX0" fmla="*/ 2754 w 7868"/>
                <a:gd name="connsiteY0" fmla="*/ 2361 h 0"/>
                <a:gd name="connsiteX1" fmla="*/ 5901 w 7868"/>
                <a:gd name="connsiteY1" fmla="*/ 1574 h 0"/>
                <a:gd name="connsiteX2" fmla="*/ 8656 w 7868"/>
                <a:gd name="connsiteY2" fmla="*/ 0 h 0"/>
                <a:gd name="connsiteX3" fmla="*/ 5901 w 7868"/>
                <a:gd name="connsiteY3" fmla="*/ 787 h 0"/>
                <a:gd name="connsiteX4" fmla="*/ 3148 w 7868"/>
                <a:gd name="connsiteY4" fmla="*/ 1574 h 0"/>
                <a:gd name="connsiteX5" fmla="*/ 0 w 7868"/>
                <a:gd name="connsiteY5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2754" y="2361"/>
                  </a:moveTo>
                  <a:lnTo>
                    <a:pt x="5901" y="1574"/>
                  </a:lnTo>
                  <a:lnTo>
                    <a:pt x="8656" y="0"/>
                  </a:lnTo>
                  <a:lnTo>
                    <a:pt x="5901" y="787"/>
                  </a:lnTo>
                  <a:lnTo>
                    <a:pt x="3148" y="1574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22" name="Freeform: Shape 4016">
              <a:extLst>
                <a:ext uri="{FF2B5EF4-FFF2-40B4-BE49-F238E27FC236}">
                  <a16:creationId xmlns:a16="http://schemas.microsoft.com/office/drawing/2014/main" id="{D1FC8727-4504-4B44-9071-D1A9603ABE4F}"/>
                </a:ext>
              </a:extLst>
            </p:cNvPr>
            <p:cNvSpPr/>
            <p:nvPr/>
          </p:nvSpPr>
          <p:spPr>
            <a:xfrm>
              <a:off x="6233306" y="1916711"/>
              <a:ext cx="3934" cy="3934"/>
            </a:xfrm>
            <a:custGeom>
              <a:avLst/>
              <a:gdLst>
                <a:gd name="connsiteX0" fmla="*/ 5901 w 3934"/>
                <a:gd name="connsiteY0" fmla="*/ 0 h 0"/>
                <a:gd name="connsiteX1" fmla="*/ 2754 w 3934"/>
                <a:gd name="connsiteY1" fmla="*/ 393 h 0"/>
                <a:gd name="connsiteX2" fmla="*/ 0 w 3934"/>
                <a:gd name="connsiteY2" fmla="*/ 1574 h 0"/>
                <a:gd name="connsiteX3" fmla="*/ 2754 w 3934"/>
                <a:gd name="connsiteY3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0"/>
                  </a:moveTo>
                  <a:lnTo>
                    <a:pt x="2754" y="393"/>
                  </a:lnTo>
                  <a:lnTo>
                    <a:pt x="0" y="1574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23" name="Freeform: Shape 4017">
              <a:extLst>
                <a:ext uri="{FF2B5EF4-FFF2-40B4-BE49-F238E27FC236}">
                  <a16:creationId xmlns:a16="http://schemas.microsoft.com/office/drawing/2014/main" id="{520719C8-5973-4768-B6A0-63E732CF5569}"/>
                </a:ext>
              </a:extLst>
            </p:cNvPr>
            <p:cNvSpPr/>
            <p:nvPr/>
          </p:nvSpPr>
          <p:spPr>
            <a:xfrm>
              <a:off x="10578308" y="3814600"/>
              <a:ext cx="3934" cy="3934"/>
            </a:xfrm>
            <a:custGeom>
              <a:avLst/>
              <a:gdLst>
                <a:gd name="connsiteX0" fmla="*/ 3148 w 3934"/>
                <a:gd name="connsiteY0" fmla="*/ 1967 h 3934"/>
                <a:gd name="connsiteX1" fmla="*/ 0 w 3934"/>
                <a:gd name="connsiteY1" fmla="*/ 0 h 3934"/>
                <a:gd name="connsiteX2" fmla="*/ 5115 w 3934"/>
                <a:gd name="connsiteY2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3148" y="1967"/>
                  </a:moveTo>
                  <a:lnTo>
                    <a:pt x="0" y="0"/>
                  </a:lnTo>
                  <a:lnTo>
                    <a:pt x="5115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24" name="Freeform: Shape 4018">
              <a:extLst>
                <a:ext uri="{FF2B5EF4-FFF2-40B4-BE49-F238E27FC236}">
                  <a16:creationId xmlns:a16="http://schemas.microsoft.com/office/drawing/2014/main" id="{9C0AC4BA-A97C-4DCF-9DFD-A3227E1719B3}"/>
                </a:ext>
              </a:extLst>
            </p:cNvPr>
            <p:cNvSpPr/>
            <p:nvPr/>
          </p:nvSpPr>
          <p:spPr>
            <a:xfrm>
              <a:off x="6368645" y="1882877"/>
              <a:ext cx="3934" cy="3934"/>
            </a:xfrm>
            <a:custGeom>
              <a:avLst/>
              <a:gdLst>
                <a:gd name="connsiteX0" fmla="*/ 0 w 3934"/>
                <a:gd name="connsiteY0" fmla="*/ 393 h 0"/>
                <a:gd name="connsiteX1" fmla="*/ 1967 w 3934"/>
                <a:gd name="connsiteY1" fmla="*/ 3147 h 0"/>
                <a:gd name="connsiteX2" fmla="*/ 2360 w 3934"/>
                <a:gd name="connsiteY2" fmla="*/ 3541 h 0"/>
                <a:gd name="connsiteX3" fmla="*/ 5114 w 3934"/>
                <a:gd name="connsiteY3" fmla="*/ 3147 h 0"/>
                <a:gd name="connsiteX4" fmla="*/ 7081 w 3934"/>
                <a:gd name="connsiteY4" fmla="*/ 3147 h 0"/>
                <a:gd name="connsiteX5" fmla="*/ 5114 w 3934"/>
                <a:gd name="connsiteY5" fmla="*/ 393 h 0"/>
                <a:gd name="connsiteX6" fmla="*/ 3147 w 3934"/>
                <a:gd name="connsiteY6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>
                  <a:moveTo>
                    <a:pt x="0" y="393"/>
                  </a:moveTo>
                  <a:lnTo>
                    <a:pt x="1967" y="3147"/>
                  </a:lnTo>
                  <a:lnTo>
                    <a:pt x="2360" y="3541"/>
                  </a:lnTo>
                  <a:lnTo>
                    <a:pt x="5114" y="3147"/>
                  </a:lnTo>
                  <a:lnTo>
                    <a:pt x="7081" y="3147"/>
                  </a:lnTo>
                  <a:lnTo>
                    <a:pt x="5114" y="393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25" name="Freeform: Shape 4019">
              <a:extLst>
                <a:ext uri="{FF2B5EF4-FFF2-40B4-BE49-F238E27FC236}">
                  <a16:creationId xmlns:a16="http://schemas.microsoft.com/office/drawing/2014/main" id="{EB5F7E1C-2318-4FB3-99AB-0F1A8684804F}"/>
                </a:ext>
              </a:extLst>
            </p:cNvPr>
            <p:cNvSpPr/>
            <p:nvPr/>
          </p:nvSpPr>
          <p:spPr>
            <a:xfrm>
              <a:off x="6367858" y="1869107"/>
              <a:ext cx="19671" cy="7869"/>
            </a:xfrm>
            <a:custGeom>
              <a:avLst/>
              <a:gdLst>
                <a:gd name="connsiteX0" fmla="*/ 10229 w 19671"/>
                <a:gd name="connsiteY0" fmla="*/ 9836 h 7868"/>
                <a:gd name="connsiteX1" fmla="*/ 12983 w 19671"/>
                <a:gd name="connsiteY1" fmla="*/ 9836 h 7868"/>
                <a:gd name="connsiteX2" fmla="*/ 15737 w 19671"/>
                <a:gd name="connsiteY2" fmla="*/ 9442 h 7868"/>
                <a:gd name="connsiteX3" fmla="*/ 18491 w 19671"/>
                <a:gd name="connsiteY3" fmla="*/ 9836 h 7868"/>
                <a:gd name="connsiteX4" fmla="*/ 21245 w 19671"/>
                <a:gd name="connsiteY4" fmla="*/ 9049 h 7868"/>
                <a:gd name="connsiteX5" fmla="*/ 21638 w 19671"/>
                <a:gd name="connsiteY5" fmla="*/ 5901 h 7868"/>
                <a:gd name="connsiteX6" fmla="*/ 18885 w 19671"/>
                <a:gd name="connsiteY6" fmla="*/ 2754 h 7868"/>
                <a:gd name="connsiteX7" fmla="*/ 18491 w 19671"/>
                <a:gd name="connsiteY7" fmla="*/ 2361 h 7868"/>
                <a:gd name="connsiteX8" fmla="*/ 15737 w 19671"/>
                <a:gd name="connsiteY8" fmla="*/ 2754 h 7868"/>
                <a:gd name="connsiteX9" fmla="*/ 14163 w 19671"/>
                <a:gd name="connsiteY9" fmla="*/ 3147 h 7868"/>
                <a:gd name="connsiteX10" fmla="*/ 12196 w 19671"/>
                <a:gd name="connsiteY10" fmla="*/ 3541 h 7868"/>
                <a:gd name="connsiteX11" fmla="*/ 9836 w 19671"/>
                <a:gd name="connsiteY11" fmla="*/ 2361 h 7868"/>
                <a:gd name="connsiteX12" fmla="*/ 7082 w 19671"/>
                <a:gd name="connsiteY12" fmla="*/ 0 h 7868"/>
                <a:gd name="connsiteX13" fmla="*/ 3934 w 19671"/>
                <a:gd name="connsiteY13" fmla="*/ 0 h 7868"/>
                <a:gd name="connsiteX14" fmla="*/ 787 w 19671"/>
                <a:gd name="connsiteY14" fmla="*/ 1180 h 7868"/>
                <a:gd name="connsiteX15" fmla="*/ 2754 w 19671"/>
                <a:gd name="connsiteY15" fmla="*/ 3934 h 7868"/>
                <a:gd name="connsiteX16" fmla="*/ 0 w 19671"/>
                <a:gd name="connsiteY16" fmla="*/ 4721 h 7868"/>
                <a:gd name="connsiteX17" fmla="*/ 0 w 19671"/>
                <a:gd name="connsiteY17" fmla="*/ 5115 h 7868"/>
                <a:gd name="connsiteX18" fmla="*/ 2754 w 19671"/>
                <a:gd name="connsiteY18" fmla="*/ 6688 h 7868"/>
                <a:gd name="connsiteX19" fmla="*/ 3934 w 19671"/>
                <a:gd name="connsiteY19" fmla="*/ 7082 h 7868"/>
                <a:gd name="connsiteX20" fmla="*/ 8656 w 19671"/>
                <a:gd name="connsiteY20" fmla="*/ 904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671" h="7868">
                  <a:moveTo>
                    <a:pt x="10229" y="9836"/>
                  </a:moveTo>
                  <a:lnTo>
                    <a:pt x="12983" y="9836"/>
                  </a:lnTo>
                  <a:lnTo>
                    <a:pt x="15737" y="9442"/>
                  </a:lnTo>
                  <a:lnTo>
                    <a:pt x="18491" y="9836"/>
                  </a:lnTo>
                  <a:lnTo>
                    <a:pt x="21245" y="9049"/>
                  </a:lnTo>
                  <a:lnTo>
                    <a:pt x="21638" y="5901"/>
                  </a:lnTo>
                  <a:lnTo>
                    <a:pt x="18885" y="2754"/>
                  </a:lnTo>
                  <a:lnTo>
                    <a:pt x="18491" y="2361"/>
                  </a:lnTo>
                  <a:lnTo>
                    <a:pt x="15737" y="2754"/>
                  </a:lnTo>
                  <a:lnTo>
                    <a:pt x="14163" y="3147"/>
                  </a:lnTo>
                  <a:lnTo>
                    <a:pt x="12196" y="3541"/>
                  </a:lnTo>
                  <a:lnTo>
                    <a:pt x="9836" y="2361"/>
                  </a:lnTo>
                  <a:lnTo>
                    <a:pt x="7082" y="0"/>
                  </a:lnTo>
                  <a:lnTo>
                    <a:pt x="3934" y="0"/>
                  </a:lnTo>
                  <a:lnTo>
                    <a:pt x="787" y="1180"/>
                  </a:lnTo>
                  <a:lnTo>
                    <a:pt x="2754" y="3934"/>
                  </a:lnTo>
                  <a:lnTo>
                    <a:pt x="0" y="4721"/>
                  </a:lnTo>
                  <a:lnTo>
                    <a:pt x="0" y="5115"/>
                  </a:lnTo>
                  <a:lnTo>
                    <a:pt x="2754" y="6688"/>
                  </a:lnTo>
                  <a:lnTo>
                    <a:pt x="3934" y="7082"/>
                  </a:lnTo>
                  <a:lnTo>
                    <a:pt x="8656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26" name="Freeform: Shape 4020">
              <a:extLst>
                <a:ext uri="{FF2B5EF4-FFF2-40B4-BE49-F238E27FC236}">
                  <a16:creationId xmlns:a16="http://schemas.microsoft.com/office/drawing/2014/main" id="{B309943F-921A-4E23-A2AA-FA47D869446F}"/>
                </a:ext>
              </a:extLst>
            </p:cNvPr>
            <p:cNvSpPr/>
            <p:nvPr/>
          </p:nvSpPr>
          <p:spPr>
            <a:xfrm>
              <a:off x="6358809" y="1864385"/>
              <a:ext cx="3934" cy="11803"/>
            </a:xfrm>
            <a:custGeom>
              <a:avLst/>
              <a:gdLst>
                <a:gd name="connsiteX0" fmla="*/ 3540 w 3934"/>
                <a:gd name="connsiteY0" fmla="*/ 8655 h 11802"/>
                <a:gd name="connsiteX1" fmla="*/ 5114 w 3934"/>
                <a:gd name="connsiteY1" fmla="*/ 5901 h 11802"/>
                <a:gd name="connsiteX2" fmla="*/ 6688 w 3934"/>
                <a:gd name="connsiteY2" fmla="*/ 3147 h 11802"/>
                <a:gd name="connsiteX3" fmla="*/ 5901 w 3934"/>
                <a:gd name="connsiteY3" fmla="*/ 0 h 11802"/>
                <a:gd name="connsiteX4" fmla="*/ 4328 w 3934"/>
                <a:gd name="connsiteY4" fmla="*/ 3147 h 11802"/>
                <a:gd name="connsiteX5" fmla="*/ 1967 w 3934"/>
                <a:gd name="connsiteY5" fmla="*/ 5114 h 11802"/>
                <a:gd name="connsiteX6" fmla="*/ 1180 w 3934"/>
                <a:gd name="connsiteY6" fmla="*/ 5901 h 11802"/>
                <a:gd name="connsiteX7" fmla="*/ 0 w 3934"/>
                <a:gd name="connsiteY7" fmla="*/ 8655 h 11802"/>
                <a:gd name="connsiteX8" fmla="*/ 2360 w 3934"/>
                <a:gd name="connsiteY8" fmla="*/ 11803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11802">
                  <a:moveTo>
                    <a:pt x="3540" y="8655"/>
                  </a:moveTo>
                  <a:lnTo>
                    <a:pt x="5114" y="5901"/>
                  </a:lnTo>
                  <a:lnTo>
                    <a:pt x="6688" y="3147"/>
                  </a:lnTo>
                  <a:lnTo>
                    <a:pt x="5901" y="0"/>
                  </a:lnTo>
                  <a:lnTo>
                    <a:pt x="4328" y="3147"/>
                  </a:lnTo>
                  <a:lnTo>
                    <a:pt x="1967" y="5114"/>
                  </a:lnTo>
                  <a:lnTo>
                    <a:pt x="1180" y="5901"/>
                  </a:lnTo>
                  <a:lnTo>
                    <a:pt x="0" y="8655"/>
                  </a:lnTo>
                  <a:lnTo>
                    <a:pt x="2360" y="1180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27" name="Freeform: Shape 4021">
              <a:extLst>
                <a:ext uri="{FF2B5EF4-FFF2-40B4-BE49-F238E27FC236}">
                  <a16:creationId xmlns:a16="http://schemas.microsoft.com/office/drawing/2014/main" id="{CB77244F-FEBE-4EA6-8D83-5B51B21C4CF1}"/>
                </a:ext>
              </a:extLst>
            </p:cNvPr>
            <p:cNvSpPr/>
            <p:nvPr/>
          </p:nvSpPr>
          <p:spPr>
            <a:xfrm>
              <a:off x="6347400" y="1867926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3147 w 3934"/>
                <a:gd name="connsiteY1" fmla="*/ 3147 h 3934"/>
                <a:gd name="connsiteX2" fmla="*/ 5901 w 3934"/>
                <a:gd name="connsiteY2" fmla="*/ 5115 h 3934"/>
                <a:gd name="connsiteX3" fmla="*/ 6295 w 3934"/>
                <a:gd name="connsiteY3" fmla="*/ 3541 h 3934"/>
                <a:gd name="connsiteX4" fmla="*/ 3147 w 3934"/>
                <a:gd name="connsiteY4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3147" y="3147"/>
                  </a:lnTo>
                  <a:lnTo>
                    <a:pt x="5901" y="5115"/>
                  </a:lnTo>
                  <a:lnTo>
                    <a:pt x="6295" y="3541"/>
                  </a:lnTo>
                  <a:lnTo>
                    <a:pt x="314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28" name="Freeform: Shape 4022">
              <a:extLst>
                <a:ext uri="{FF2B5EF4-FFF2-40B4-BE49-F238E27FC236}">
                  <a16:creationId xmlns:a16="http://schemas.microsoft.com/office/drawing/2014/main" id="{1135435D-10C9-4519-9516-191352BA810F}"/>
                </a:ext>
              </a:extLst>
            </p:cNvPr>
            <p:cNvSpPr/>
            <p:nvPr/>
          </p:nvSpPr>
          <p:spPr>
            <a:xfrm>
              <a:off x="10683746" y="3896826"/>
              <a:ext cx="3934" cy="11803"/>
            </a:xfrm>
            <a:custGeom>
              <a:avLst/>
              <a:gdLst>
                <a:gd name="connsiteX0" fmla="*/ 1180 w 3934"/>
                <a:gd name="connsiteY0" fmla="*/ 14557 h 11802"/>
                <a:gd name="connsiteX1" fmla="*/ 3540 w 3934"/>
                <a:gd name="connsiteY1" fmla="*/ 11803 h 11802"/>
                <a:gd name="connsiteX2" fmla="*/ 3934 w 3934"/>
                <a:gd name="connsiteY2" fmla="*/ 8655 h 11802"/>
                <a:gd name="connsiteX3" fmla="*/ 4721 w 3934"/>
                <a:gd name="connsiteY3" fmla="*/ 5901 h 11802"/>
                <a:gd name="connsiteX4" fmla="*/ 3934 w 3934"/>
                <a:gd name="connsiteY4" fmla="*/ 2754 h 11802"/>
                <a:gd name="connsiteX5" fmla="*/ 1180 w 3934"/>
                <a:gd name="connsiteY5" fmla="*/ 0 h 11802"/>
                <a:gd name="connsiteX6" fmla="*/ 0 w 3934"/>
                <a:gd name="connsiteY6" fmla="*/ 2754 h 11802"/>
                <a:gd name="connsiteX7" fmla="*/ 0 w 3934"/>
                <a:gd name="connsiteY7" fmla="*/ 5508 h 11802"/>
                <a:gd name="connsiteX8" fmla="*/ 0 w 3934"/>
                <a:gd name="connsiteY8" fmla="*/ 8655 h 11802"/>
                <a:gd name="connsiteX9" fmla="*/ 393 w 3934"/>
                <a:gd name="connsiteY9" fmla="*/ 11803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11802">
                  <a:moveTo>
                    <a:pt x="1180" y="14557"/>
                  </a:moveTo>
                  <a:lnTo>
                    <a:pt x="3540" y="11803"/>
                  </a:lnTo>
                  <a:lnTo>
                    <a:pt x="3934" y="8655"/>
                  </a:lnTo>
                  <a:lnTo>
                    <a:pt x="4721" y="5901"/>
                  </a:lnTo>
                  <a:lnTo>
                    <a:pt x="3934" y="2754"/>
                  </a:lnTo>
                  <a:lnTo>
                    <a:pt x="1180" y="0"/>
                  </a:lnTo>
                  <a:lnTo>
                    <a:pt x="0" y="2754"/>
                  </a:lnTo>
                  <a:lnTo>
                    <a:pt x="0" y="5508"/>
                  </a:lnTo>
                  <a:lnTo>
                    <a:pt x="0" y="8655"/>
                  </a:lnTo>
                  <a:lnTo>
                    <a:pt x="393" y="1180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29" name="Freeform: Shape 4023">
              <a:extLst>
                <a:ext uri="{FF2B5EF4-FFF2-40B4-BE49-F238E27FC236}">
                  <a16:creationId xmlns:a16="http://schemas.microsoft.com/office/drawing/2014/main" id="{C88C94A2-10A5-43F1-A5E5-78421E5A1CFB}"/>
                </a:ext>
              </a:extLst>
            </p:cNvPr>
            <p:cNvSpPr/>
            <p:nvPr/>
          </p:nvSpPr>
          <p:spPr>
            <a:xfrm>
              <a:off x="10682172" y="3901547"/>
              <a:ext cx="3934" cy="3934"/>
            </a:xfrm>
            <a:custGeom>
              <a:avLst/>
              <a:gdLst>
                <a:gd name="connsiteX0" fmla="*/ 394 w 0"/>
                <a:gd name="connsiteY0" fmla="*/ 2754 h 3934"/>
                <a:gd name="connsiteX1" fmla="*/ 0 w 0"/>
                <a:gd name="connsiteY1" fmla="*/ 0 h 3934"/>
                <a:gd name="connsiteX2" fmla="*/ 394 w 0"/>
                <a:gd name="connsiteY2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394" y="2754"/>
                  </a:moveTo>
                  <a:lnTo>
                    <a:pt x="0" y="0"/>
                  </a:lnTo>
                  <a:lnTo>
                    <a:pt x="394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30" name="Freeform: Shape 4024">
              <a:extLst>
                <a:ext uri="{FF2B5EF4-FFF2-40B4-BE49-F238E27FC236}">
                  <a16:creationId xmlns:a16="http://schemas.microsoft.com/office/drawing/2014/main" id="{E8B39207-2612-47B0-88A8-C7E0E96C931A}"/>
                </a:ext>
              </a:extLst>
            </p:cNvPr>
            <p:cNvSpPr/>
            <p:nvPr/>
          </p:nvSpPr>
          <p:spPr>
            <a:xfrm>
              <a:off x="10592470" y="3868106"/>
              <a:ext cx="3934" cy="7869"/>
            </a:xfrm>
            <a:custGeom>
              <a:avLst/>
              <a:gdLst>
                <a:gd name="connsiteX0" fmla="*/ 788 w 0"/>
                <a:gd name="connsiteY0" fmla="*/ 5901 h 7868"/>
                <a:gd name="connsiteX1" fmla="*/ 2361 w 0"/>
                <a:gd name="connsiteY1" fmla="*/ 9049 h 7868"/>
                <a:gd name="connsiteX2" fmla="*/ 3148 w 0"/>
                <a:gd name="connsiteY2" fmla="*/ 10229 h 7868"/>
                <a:gd name="connsiteX3" fmla="*/ 0 w 0"/>
                <a:gd name="connsiteY3" fmla="*/ 0 h 7868"/>
                <a:gd name="connsiteX4" fmla="*/ 394 w 0"/>
                <a:gd name="connsiteY4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7868">
                  <a:moveTo>
                    <a:pt x="788" y="5901"/>
                  </a:moveTo>
                  <a:lnTo>
                    <a:pt x="2361" y="9049"/>
                  </a:lnTo>
                  <a:lnTo>
                    <a:pt x="3148" y="10229"/>
                  </a:lnTo>
                  <a:lnTo>
                    <a:pt x="0" y="0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31" name="Freeform: Shape 4025">
              <a:extLst>
                <a:ext uri="{FF2B5EF4-FFF2-40B4-BE49-F238E27FC236}">
                  <a16:creationId xmlns:a16="http://schemas.microsoft.com/office/drawing/2014/main" id="{D30E9184-676A-4EC4-9B86-CA6CA84352CE}"/>
                </a:ext>
              </a:extLst>
            </p:cNvPr>
            <p:cNvSpPr/>
            <p:nvPr/>
          </p:nvSpPr>
          <p:spPr>
            <a:xfrm>
              <a:off x="10599552" y="3866925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541 w 0"/>
                <a:gd name="connsiteY1" fmla="*/ 1180 h 0"/>
                <a:gd name="connsiteX2" fmla="*/ 39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541" y="1180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32" name="Freeform: Shape 4026">
              <a:extLst>
                <a:ext uri="{FF2B5EF4-FFF2-40B4-BE49-F238E27FC236}">
                  <a16:creationId xmlns:a16="http://schemas.microsoft.com/office/drawing/2014/main" id="{5266F75E-BF93-4F07-9C42-A03670B12795}"/>
                </a:ext>
              </a:extLst>
            </p:cNvPr>
            <p:cNvSpPr/>
            <p:nvPr/>
          </p:nvSpPr>
          <p:spPr>
            <a:xfrm>
              <a:off x="10592470" y="3864565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0 w 3934"/>
                <a:gd name="connsiteY1" fmla="*/ 1967 h 0"/>
                <a:gd name="connsiteX2" fmla="*/ 5901 w 3934"/>
                <a:gd name="connsiteY2" fmla="*/ 1967 h 0"/>
                <a:gd name="connsiteX3" fmla="*/ 3148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0" y="1967"/>
                  </a:lnTo>
                  <a:lnTo>
                    <a:pt x="5901" y="1967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33" name="Freeform: Shape 4027">
              <a:extLst>
                <a:ext uri="{FF2B5EF4-FFF2-40B4-BE49-F238E27FC236}">
                  <a16:creationId xmlns:a16="http://schemas.microsoft.com/office/drawing/2014/main" id="{D2090A33-9755-4F46-B62C-2E25E810B1A0}"/>
                </a:ext>
              </a:extLst>
            </p:cNvPr>
            <p:cNvSpPr/>
            <p:nvPr/>
          </p:nvSpPr>
          <p:spPr>
            <a:xfrm>
              <a:off x="10573587" y="3827189"/>
              <a:ext cx="3934" cy="3934"/>
            </a:xfrm>
            <a:custGeom>
              <a:avLst/>
              <a:gdLst>
                <a:gd name="connsiteX0" fmla="*/ 5901 w 3934"/>
                <a:gd name="connsiteY0" fmla="*/ 393 h 0"/>
                <a:gd name="connsiteX1" fmla="*/ 2754 w 3934"/>
                <a:gd name="connsiteY1" fmla="*/ 0 h 0"/>
                <a:gd name="connsiteX2" fmla="*/ 0 w 3934"/>
                <a:gd name="connsiteY2" fmla="*/ 1574 h 0"/>
                <a:gd name="connsiteX3" fmla="*/ 6688 w 3934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393"/>
                  </a:moveTo>
                  <a:lnTo>
                    <a:pt x="2754" y="0"/>
                  </a:lnTo>
                  <a:lnTo>
                    <a:pt x="0" y="1574"/>
                  </a:lnTo>
                  <a:lnTo>
                    <a:pt x="6688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34" name="Freeform: Shape 4028">
              <a:extLst>
                <a:ext uri="{FF2B5EF4-FFF2-40B4-BE49-F238E27FC236}">
                  <a16:creationId xmlns:a16="http://schemas.microsoft.com/office/drawing/2014/main" id="{2E94E2EC-6A11-4048-A62E-04BB53953545}"/>
                </a:ext>
              </a:extLst>
            </p:cNvPr>
            <p:cNvSpPr/>
            <p:nvPr/>
          </p:nvSpPr>
          <p:spPr>
            <a:xfrm>
              <a:off x="10573980" y="3824829"/>
              <a:ext cx="3934" cy="3934"/>
            </a:xfrm>
            <a:custGeom>
              <a:avLst/>
              <a:gdLst>
                <a:gd name="connsiteX0" fmla="*/ 5509 w 3934"/>
                <a:gd name="connsiteY0" fmla="*/ 787 h 0"/>
                <a:gd name="connsiteX1" fmla="*/ 2754 w 3934"/>
                <a:gd name="connsiteY1" fmla="*/ 0 h 0"/>
                <a:gd name="connsiteX2" fmla="*/ 0 w 3934"/>
                <a:gd name="connsiteY2" fmla="*/ 2360 h 0"/>
                <a:gd name="connsiteX3" fmla="*/ 2754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509" y="787"/>
                  </a:moveTo>
                  <a:lnTo>
                    <a:pt x="2754" y="0"/>
                  </a:lnTo>
                  <a:lnTo>
                    <a:pt x="0" y="236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35" name="Freeform: Shape 4029">
              <a:extLst>
                <a:ext uri="{FF2B5EF4-FFF2-40B4-BE49-F238E27FC236}">
                  <a16:creationId xmlns:a16="http://schemas.microsoft.com/office/drawing/2014/main" id="{E574D79A-40D5-4667-A959-D973A8BA448D}"/>
                </a:ext>
              </a:extLst>
            </p:cNvPr>
            <p:cNvSpPr/>
            <p:nvPr/>
          </p:nvSpPr>
          <p:spPr>
            <a:xfrm>
              <a:off x="10747481" y="3992428"/>
              <a:ext cx="7869" cy="7869"/>
            </a:xfrm>
            <a:custGeom>
              <a:avLst/>
              <a:gdLst>
                <a:gd name="connsiteX0" fmla="*/ 7082 w 7868"/>
                <a:gd name="connsiteY0" fmla="*/ 9442 h 7868"/>
                <a:gd name="connsiteX1" fmla="*/ 7869 w 7868"/>
                <a:gd name="connsiteY1" fmla="*/ 6688 h 7868"/>
                <a:gd name="connsiteX2" fmla="*/ 7869 w 7868"/>
                <a:gd name="connsiteY2" fmla="*/ 3541 h 7868"/>
                <a:gd name="connsiteX3" fmla="*/ 5901 w 7868"/>
                <a:gd name="connsiteY3" fmla="*/ 787 h 7868"/>
                <a:gd name="connsiteX4" fmla="*/ 2754 w 7868"/>
                <a:gd name="connsiteY4" fmla="*/ 1180 h 7868"/>
                <a:gd name="connsiteX5" fmla="*/ 2360 w 7868"/>
                <a:gd name="connsiteY5" fmla="*/ 1574 h 7868"/>
                <a:gd name="connsiteX6" fmla="*/ 2754 w 7868"/>
                <a:gd name="connsiteY6" fmla="*/ 0 h 7868"/>
                <a:gd name="connsiteX7" fmla="*/ 0 w 7868"/>
                <a:gd name="connsiteY7" fmla="*/ 3147 h 7868"/>
                <a:gd name="connsiteX8" fmla="*/ 0 w 7868"/>
                <a:gd name="connsiteY8" fmla="*/ 5901 h 7868"/>
                <a:gd name="connsiteX9" fmla="*/ 787 w 7868"/>
                <a:gd name="connsiteY9" fmla="*/ 8262 h 7868"/>
                <a:gd name="connsiteX10" fmla="*/ 1180 w 7868"/>
                <a:gd name="connsiteY10" fmla="*/ 7082 h 7868"/>
                <a:gd name="connsiteX11" fmla="*/ 2754 w 7868"/>
                <a:gd name="connsiteY11" fmla="*/ 9836 h 7868"/>
                <a:gd name="connsiteX12" fmla="*/ 5901 w 7868"/>
                <a:gd name="connsiteY12" fmla="*/ 10623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868" h="7868">
                  <a:moveTo>
                    <a:pt x="7082" y="9442"/>
                  </a:moveTo>
                  <a:lnTo>
                    <a:pt x="7869" y="6688"/>
                  </a:lnTo>
                  <a:lnTo>
                    <a:pt x="7869" y="3541"/>
                  </a:lnTo>
                  <a:lnTo>
                    <a:pt x="5901" y="787"/>
                  </a:lnTo>
                  <a:lnTo>
                    <a:pt x="2754" y="1180"/>
                  </a:lnTo>
                  <a:lnTo>
                    <a:pt x="2360" y="1574"/>
                  </a:lnTo>
                  <a:lnTo>
                    <a:pt x="2754" y="0"/>
                  </a:lnTo>
                  <a:lnTo>
                    <a:pt x="0" y="3147"/>
                  </a:lnTo>
                  <a:lnTo>
                    <a:pt x="0" y="5901"/>
                  </a:lnTo>
                  <a:lnTo>
                    <a:pt x="787" y="8262"/>
                  </a:lnTo>
                  <a:lnTo>
                    <a:pt x="1180" y="7082"/>
                  </a:lnTo>
                  <a:lnTo>
                    <a:pt x="2754" y="9836"/>
                  </a:lnTo>
                  <a:lnTo>
                    <a:pt x="5901" y="1062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36" name="Freeform: Shape 4030">
              <a:extLst>
                <a:ext uri="{FF2B5EF4-FFF2-40B4-BE49-F238E27FC236}">
                  <a16:creationId xmlns:a16="http://schemas.microsoft.com/office/drawing/2014/main" id="{196EB77D-0D33-455E-810F-0F01219AD5FB}"/>
                </a:ext>
              </a:extLst>
            </p:cNvPr>
            <p:cNvSpPr/>
            <p:nvPr/>
          </p:nvSpPr>
          <p:spPr>
            <a:xfrm>
              <a:off x="10741973" y="3999510"/>
              <a:ext cx="3934" cy="3934"/>
            </a:xfrm>
            <a:custGeom>
              <a:avLst/>
              <a:gdLst>
                <a:gd name="connsiteX0" fmla="*/ 1574 w 0"/>
                <a:gd name="connsiteY0" fmla="*/ 3147 h 0"/>
                <a:gd name="connsiteX1" fmla="*/ 2755 w 0"/>
                <a:gd name="connsiteY1" fmla="*/ 3541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3147"/>
                  </a:moveTo>
                  <a:lnTo>
                    <a:pt x="2755" y="354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37" name="Freeform: Shape 4031">
              <a:extLst>
                <a:ext uri="{FF2B5EF4-FFF2-40B4-BE49-F238E27FC236}">
                  <a16:creationId xmlns:a16="http://schemas.microsoft.com/office/drawing/2014/main" id="{29011E8E-ACD7-462B-A421-351A6A322C16}"/>
                </a:ext>
              </a:extLst>
            </p:cNvPr>
            <p:cNvSpPr/>
            <p:nvPr/>
          </p:nvSpPr>
          <p:spPr>
            <a:xfrm>
              <a:off x="10821052" y="3995576"/>
              <a:ext cx="3934" cy="3934"/>
            </a:xfrm>
            <a:custGeom>
              <a:avLst/>
              <a:gdLst>
                <a:gd name="connsiteX0" fmla="*/ 3934 w 3934"/>
                <a:gd name="connsiteY0" fmla="*/ 3934 h 3934"/>
                <a:gd name="connsiteX1" fmla="*/ 0 w 3934"/>
                <a:gd name="connsiteY1" fmla="*/ 0 h 3934"/>
                <a:gd name="connsiteX2" fmla="*/ 1967 w 3934"/>
                <a:gd name="connsiteY2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3934" y="3934"/>
                  </a:moveTo>
                  <a:lnTo>
                    <a:pt x="0" y="0"/>
                  </a:lnTo>
                  <a:lnTo>
                    <a:pt x="196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38" name="Freeform: Shape 4032">
              <a:extLst>
                <a:ext uri="{FF2B5EF4-FFF2-40B4-BE49-F238E27FC236}">
                  <a16:creationId xmlns:a16="http://schemas.microsoft.com/office/drawing/2014/main" id="{45F2FF48-83CD-4495-8B92-7CAC983FD119}"/>
                </a:ext>
              </a:extLst>
            </p:cNvPr>
            <p:cNvSpPr/>
            <p:nvPr/>
          </p:nvSpPr>
          <p:spPr>
            <a:xfrm>
              <a:off x="10735284" y="3982593"/>
              <a:ext cx="7869" cy="11803"/>
            </a:xfrm>
            <a:custGeom>
              <a:avLst/>
              <a:gdLst>
                <a:gd name="connsiteX0" fmla="*/ 0 w 7868"/>
                <a:gd name="connsiteY0" fmla="*/ 5114 h 11802"/>
                <a:gd name="connsiteX1" fmla="*/ 2361 w 7868"/>
                <a:gd name="connsiteY1" fmla="*/ 7869 h 11802"/>
                <a:gd name="connsiteX2" fmla="*/ 2754 w 7868"/>
                <a:gd name="connsiteY2" fmla="*/ 11016 h 11802"/>
                <a:gd name="connsiteX3" fmla="*/ 5509 w 7868"/>
                <a:gd name="connsiteY3" fmla="*/ 13770 h 11802"/>
                <a:gd name="connsiteX4" fmla="*/ 5901 w 7868"/>
                <a:gd name="connsiteY4" fmla="*/ 11016 h 11802"/>
                <a:gd name="connsiteX5" fmla="*/ 8655 w 7868"/>
                <a:gd name="connsiteY5" fmla="*/ 8262 h 11802"/>
                <a:gd name="connsiteX6" fmla="*/ 8655 w 7868"/>
                <a:gd name="connsiteY6" fmla="*/ 5508 h 11802"/>
                <a:gd name="connsiteX7" fmla="*/ 5509 w 7868"/>
                <a:gd name="connsiteY7" fmla="*/ 3934 h 11802"/>
                <a:gd name="connsiteX8" fmla="*/ 3541 w 7868"/>
                <a:gd name="connsiteY8" fmla="*/ 1180 h 11802"/>
                <a:gd name="connsiteX9" fmla="*/ 4721 w 7868"/>
                <a:gd name="connsiteY9" fmla="*/ 1180 h 11802"/>
                <a:gd name="connsiteX10" fmla="*/ 3148 w 7868"/>
                <a:gd name="connsiteY10" fmla="*/ 0 h 11802"/>
                <a:gd name="connsiteX11" fmla="*/ 394 w 7868"/>
                <a:gd name="connsiteY11" fmla="*/ 1180 h 11802"/>
                <a:gd name="connsiteX12" fmla="*/ 3148 w 7868"/>
                <a:gd name="connsiteY12" fmla="*/ 1180 h 11802"/>
                <a:gd name="connsiteX13" fmla="*/ 787 w 7868"/>
                <a:gd name="connsiteY13" fmla="*/ 236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68" h="11802">
                  <a:moveTo>
                    <a:pt x="0" y="5114"/>
                  </a:moveTo>
                  <a:lnTo>
                    <a:pt x="2361" y="7869"/>
                  </a:lnTo>
                  <a:lnTo>
                    <a:pt x="2754" y="11016"/>
                  </a:lnTo>
                  <a:lnTo>
                    <a:pt x="5509" y="13770"/>
                  </a:lnTo>
                  <a:lnTo>
                    <a:pt x="5901" y="11016"/>
                  </a:lnTo>
                  <a:lnTo>
                    <a:pt x="8655" y="8262"/>
                  </a:lnTo>
                  <a:lnTo>
                    <a:pt x="8655" y="5508"/>
                  </a:lnTo>
                  <a:lnTo>
                    <a:pt x="5509" y="3934"/>
                  </a:lnTo>
                  <a:lnTo>
                    <a:pt x="3541" y="1180"/>
                  </a:lnTo>
                  <a:lnTo>
                    <a:pt x="4721" y="1180"/>
                  </a:lnTo>
                  <a:lnTo>
                    <a:pt x="3148" y="0"/>
                  </a:lnTo>
                  <a:lnTo>
                    <a:pt x="394" y="1180"/>
                  </a:lnTo>
                  <a:lnTo>
                    <a:pt x="3148" y="1180"/>
                  </a:lnTo>
                  <a:lnTo>
                    <a:pt x="787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39" name="Freeform: Shape 4033">
              <a:extLst>
                <a:ext uri="{FF2B5EF4-FFF2-40B4-BE49-F238E27FC236}">
                  <a16:creationId xmlns:a16="http://schemas.microsoft.com/office/drawing/2014/main" id="{D37FB1C7-D109-4D19-9ECB-6BCC12AD121E}"/>
                </a:ext>
              </a:extLst>
            </p:cNvPr>
            <p:cNvSpPr/>
            <p:nvPr/>
          </p:nvSpPr>
          <p:spPr>
            <a:xfrm>
              <a:off x="10752596" y="3992428"/>
              <a:ext cx="3934" cy="3934"/>
            </a:xfrm>
            <a:custGeom>
              <a:avLst/>
              <a:gdLst>
                <a:gd name="connsiteX0" fmla="*/ 2754 w 0"/>
                <a:gd name="connsiteY0" fmla="*/ 1967 h 0"/>
                <a:gd name="connsiteX1" fmla="*/ 0 w 0"/>
                <a:gd name="connsiteY1" fmla="*/ 0 h 0"/>
                <a:gd name="connsiteX2" fmla="*/ 314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967"/>
                  </a:moveTo>
                  <a:lnTo>
                    <a:pt x="0" y="0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40" name="Freeform: Shape 4034">
              <a:extLst>
                <a:ext uri="{FF2B5EF4-FFF2-40B4-BE49-F238E27FC236}">
                  <a16:creationId xmlns:a16="http://schemas.microsoft.com/office/drawing/2014/main" id="{DE05E41D-FB26-42BB-ABA0-8C8006E76102}"/>
                </a:ext>
              </a:extLst>
            </p:cNvPr>
            <p:cNvSpPr/>
            <p:nvPr/>
          </p:nvSpPr>
          <p:spPr>
            <a:xfrm>
              <a:off x="10790364" y="3983380"/>
              <a:ext cx="3934" cy="3934"/>
            </a:xfrm>
            <a:custGeom>
              <a:avLst/>
              <a:gdLst>
                <a:gd name="connsiteX0" fmla="*/ 5901 w 3934"/>
                <a:gd name="connsiteY0" fmla="*/ 3147 h 0"/>
                <a:gd name="connsiteX1" fmla="*/ 5901 w 3934"/>
                <a:gd name="connsiteY1" fmla="*/ 2754 h 0"/>
                <a:gd name="connsiteX2" fmla="*/ 3148 w 3934"/>
                <a:gd name="connsiteY2" fmla="*/ 0 h 0"/>
                <a:gd name="connsiteX3" fmla="*/ 0 w 3934"/>
                <a:gd name="connsiteY3" fmla="*/ 1180 h 0"/>
                <a:gd name="connsiteX4" fmla="*/ 2754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3147"/>
                  </a:moveTo>
                  <a:lnTo>
                    <a:pt x="5901" y="2754"/>
                  </a:lnTo>
                  <a:lnTo>
                    <a:pt x="3148" y="0"/>
                  </a:lnTo>
                  <a:lnTo>
                    <a:pt x="0" y="1180"/>
                  </a:lnTo>
                  <a:lnTo>
                    <a:pt x="275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41" name="Freeform: Shape 4035">
              <a:extLst>
                <a:ext uri="{FF2B5EF4-FFF2-40B4-BE49-F238E27FC236}">
                  <a16:creationId xmlns:a16="http://schemas.microsoft.com/office/drawing/2014/main" id="{B81B8D55-013F-466A-8D0B-22A770EFE6E0}"/>
                </a:ext>
              </a:extLst>
            </p:cNvPr>
            <p:cNvSpPr/>
            <p:nvPr/>
          </p:nvSpPr>
          <p:spPr>
            <a:xfrm>
              <a:off x="10790364" y="3981413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42" name="Freeform: Shape 4036">
              <a:extLst>
                <a:ext uri="{FF2B5EF4-FFF2-40B4-BE49-F238E27FC236}">
                  <a16:creationId xmlns:a16="http://schemas.microsoft.com/office/drawing/2014/main" id="{BACB9650-B877-4692-BABF-5C47B06291C3}"/>
                </a:ext>
              </a:extLst>
            </p:cNvPr>
            <p:cNvSpPr/>
            <p:nvPr/>
          </p:nvSpPr>
          <p:spPr>
            <a:xfrm>
              <a:off x="10769906" y="3976298"/>
              <a:ext cx="3934" cy="3934"/>
            </a:xfrm>
            <a:custGeom>
              <a:avLst/>
              <a:gdLst>
                <a:gd name="connsiteX0" fmla="*/ 2754 w 3934"/>
                <a:gd name="connsiteY0" fmla="*/ 3934 h 3934"/>
                <a:gd name="connsiteX1" fmla="*/ 4721 w 3934"/>
                <a:gd name="connsiteY1" fmla="*/ 3934 h 3934"/>
                <a:gd name="connsiteX2" fmla="*/ 4328 w 3934"/>
                <a:gd name="connsiteY2" fmla="*/ 3541 h 3934"/>
                <a:gd name="connsiteX3" fmla="*/ 5115 w 3934"/>
                <a:gd name="connsiteY3" fmla="*/ 3934 h 3934"/>
                <a:gd name="connsiteX4" fmla="*/ 5115 w 3934"/>
                <a:gd name="connsiteY4" fmla="*/ 1180 h 3934"/>
                <a:gd name="connsiteX5" fmla="*/ 2361 w 3934"/>
                <a:gd name="connsiteY5" fmla="*/ 0 h 3934"/>
                <a:gd name="connsiteX6" fmla="*/ 0 w 3934"/>
                <a:gd name="connsiteY6" fmla="*/ 787 h 3934"/>
                <a:gd name="connsiteX7" fmla="*/ 2754 w 3934"/>
                <a:gd name="connsiteY7" fmla="*/ 236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3934">
                  <a:moveTo>
                    <a:pt x="2754" y="3934"/>
                  </a:moveTo>
                  <a:lnTo>
                    <a:pt x="4721" y="3934"/>
                  </a:lnTo>
                  <a:lnTo>
                    <a:pt x="4328" y="3541"/>
                  </a:lnTo>
                  <a:lnTo>
                    <a:pt x="5115" y="3934"/>
                  </a:lnTo>
                  <a:lnTo>
                    <a:pt x="5115" y="1180"/>
                  </a:lnTo>
                  <a:lnTo>
                    <a:pt x="2361" y="0"/>
                  </a:lnTo>
                  <a:lnTo>
                    <a:pt x="0" y="787"/>
                  </a:lnTo>
                  <a:lnTo>
                    <a:pt x="2754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43" name="Freeform: Shape 4037">
              <a:extLst>
                <a:ext uri="{FF2B5EF4-FFF2-40B4-BE49-F238E27FC236}">
                  <a16:creationId xmlns:a16="http://schemas.microsoft.com/office/drawing/2014/main" id="{A67D8608-B197-4129-B0F9-FFE3C1E493F3}"/>
                </a:ext>
              </a:extLst>
            </p:cNvPr>
            <p:cNvSpPr/>
            <p:nvPr/>
          </p:nvSpPr>
          <p:spPr>
            <a:xfrm>
              <a:off x="10738432" y="3974331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3934 w 3934"/>
                <a:gd name="connsiteY1" fmla="*/ 3541 h 0"/>
                <a:gd name="connsiteX2" fmla="*/ 2754 w 3934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3934" y="3541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44" name="Freeform: Shape 4038">
              <a:extLst>
                <a:ext uri="{FF2B5EF4-FFF2-40B4-BE49-F238E27FC236}">
                  <a16:creationId xmlns:a16="http://schemas.microsoft.com/office/drawing/2014/main" id="{1A788128-77EA-407C-8A76-1AC5EDA074D5}"/>
                </a:ext>
              </a:extLst>
            </p:cNvPr>
            <p:cNvSpPr/>
            <p:nvPr/>
          </p:nvSpPr>
          <p:spPr>
            <a:xfrm>
              <a:off x="10781709" y="3975118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0 w 0"/>
                <a:gd name="connsiteY1" fmla="*/ 0 h 0"/>
                <a:gd name="connsiteX2" fmla="*/ 118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0" y="0"/>
                  </a:lnTo>
                  <a:lnTo>
                    <a:pt x="118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45" name="Freeform: Shape 4039">
              <a:extLst>
                <a:ext uri="{FF2B5EF4-FFF2-40B4-BE49-F238E27FC236}">
                  <a16:creationId xmlns:a16="http://schemas.microsoft.com/office/drawing/2014/main" id="{979A7AC3-F1CE-4A9A-8EC0-B6842FD7431A}"/>
                </a:ext>
              </a:extLst>
            </p:cNvPr>
            <p:cNvSpPr/>
            <p:nvPr/>
          </p:nvSpPr>
          <p:spPr>
            <a:xfrm>
              <a:off x="10712073" y="3964102"/>
              <a:ext cx="3934" cy="3934"/>
            </a:xfrm>
            <a:custGeom>
              <a:avLst/>
              <a:gdLst>
                <a:gd name="connsiteX0" fmla="*/ 0 w 3934"/>
                <a:gd name="connsiteY0" fmla="*/ 3147 h 3934"/>
                <a:gd name="connsiteX1" fmla="*/ 2754 w 3934"/>
                <a:gd name="connsiteY1" fmla="*/ 3934 h 3934"/>
                <a:gd name="connsiteX2" fmla="*/ 5901 w 3934"/>
                <a:gd name="connsiteY2" fmla="*/ 3147 h 3934"/>
                <a:gd name="connsiteX3" fmla="*/ 4327 w 3934"/>
                <a:gd name="connsiteY3" fmla="*/ 0 h 3934"/>
                <a:gd name="connsiteX4" fmla="*/ 1573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3147"/>
                  </a:moveTo>
                  <a:lnTo>
                    <a:pt x="2754" y="3934"/>
                  </a:lnTo>
                  <a:lnTo>
                    <a:pt x="5901" y="3147"/>
                  </a:lnTo>
                  <a:lnTo>
                    <a:pt x="4327" y="0"/>
                  </a:lnTo>
                  <a:lnTo>
                    <a:pt x="157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46" name="Freeform: Shape 4040">
              <a:extLst>
                <a:ext uri="{FF2B5EF4-FFF2-40B4-BE49-F238E27FC236}">
                  <a16:creationId xmlns:a16="http://schemas.microsoft.com/office/drawing/2014/main" id="{E10F6312-421B-44BC-AD7F-003522F1F570}"/>
                </a:ext>
              </a:extLst>
            </p:cNvPr>
            <p:cNvSpPr/>
            <p:nvPr/>
          </p:nvSpPr>
          <p:spPr>
            <a:xfrm>
              <a:off x="10758497" y="3964102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0 w 0"/>
                <a:gd name="connsiteY1" fmla="*/ 0 h 0"/>
                <a:gd name="connsiteX2" fmla="*/ 0 w 0"/>
                <a:gd name="connsiteY2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0" y="0"/>
                  </a:lnTo>
                  <a:lnTo>
                    <a:pt x="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47" name="Freeform: Shape 4041">
              <a:extLst>
                <a:ext uri="{FF2B5EF4-FFF2-40B4-BE49-F238E27FC236}">
                  <a16:creationId xmlns:a16="http://schemas.microsoft.com/office/drawing/2014/main" id="{409C9494-9846-45D9-9933-8F6DA1813312}"/>
                </a:ext>
              </a:extLst>
            </p:cNvPr>
            <p:cNvSpPr/>
            <p:nvPr/>
          </p:nvSpPr>
          <p:spPr>
            <a:xfrm>
              <a:off x="10725056" y="3957807"/>
              <a:ext cx="3934" cy="3934"/>
            </a:xfrm>
            <a:custGeom>
              <a:avLst/>
              <a:gdLst>
                <a:gd name="connsiteX0" fmla="*/ 0 w 0"/>
                <a:gd name="connsiteY0" fmla="*/ 0 h 3934"/>
                <a:gd name="connsiteX1" fmla="*/ 0 w 0"/>
                <a:gd name="connsiteY1" fmla="*/ 5508 h 3934"/>
                <a:gd name="connsiteX2" fmla="*/ 393 w 0"/>
                <a:gd name="connsiteY2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0" y="0"/>
                  </a:moveTo>
                  <a:lnTo>
                    <a:pt x="0" y="5508"/>
                  </a:lnTo>
                  <a:lnTo>
                    <a:pt x="393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48" name="Freeform: Shape 4042">
              <a:extLst>
                <a:ext uri="{FF2B5EF4-FFF2-40B4-BE49-F238E27FC236}">
                  <a16:creationId xmlns:a16="http://schemas.microsoft.com/office/drawing/2014/main" id="{1254FE76-DD51-42D2-95CE-C164AA064C08}"/>
                </a:ext>
              </a:extLst>
            </p:cNvPr>
            <p:cNvSpPr/>
            <p:nvPr/>
          </p:nvSpPr>
          <p:spPr>
            <a:xfrm>
              <a:off x="10740005" y="3950725"/>
              <a:ext cx="3934" cy="3934"/>
            </a:xfrm>
            <a:custGeom>
              <a:avLst/>
              <a:gdLst>
                <a:gd name="connsiteX0" fmla="*/ 3148 w 3934"/>
                <a:gd name="connsiteY0" fmla="*/ 393 h 0"/>
                <a:gd name="connsiteX1" fmla="*/ 0 w 3934"/>
                <a:gd name="connsiteY1" fmla="*/ 0 h 0"/>
                <a:gd name="connsiteX2" fmla="*/ 5115 w 3934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3148" y="393"/>
                  </a:moveTo>
                  <a:lnTo>
                    <a:pt x="0" y="0"/>
                  </a:lnTo>
                  <a:lnTo>
                    <a:pt x="5115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49" name="Freeform: Shape 4043">
              <a:extLst>
                <a:ext uri="{FF2B5EF4-FFF2-40B4-BE49-F238E27FC236}">
                  <a16:creationId xmlns:a16="http://schemas.microsoft.com/office/drawing/2014/main" id="{BEF042C1-016A-4842-9CCD-C30D03E6A891}"/>
                </a:ext>
              </a:extLst>
            </p:cNvPr>
            <p:cNvSpPr/>
            <p:nvPr/>
          </p:nvSpPr>
          <p:spPr>
            <a:xfrm>
              <a:off x="10718367" y="3939709"/>
              <a:ext cx="3934" cy="3934"/>
            </a:xfrm>
            <a:custGeom>
              <a:avLst/>
              <a:gdLst>
                <a:gd name="connsiteX0" fmla="*/ 3148 w 3934"/>
                <a:gd name="connsiteY0" fmla="*/ 2754 h 3934"/>
                <a:gd name="connsiteX1" fmla="*/ 0 w 3934"/>
                <a:gd name="connsiteY1" fmla="*/ 0 h 3934"/>
                <a:gd name="connsiteX2" fmla="*/ 5115 w 3934"/>
                <a:gd name="connsiteY2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3148" y="2754"/>
                  </a:moveTo>
                  <a:lnTo>
                    <a:pt x="0" y="0"/>
                  </a:lnTo>
                  <a:lnTo>
                    <a:pt x="5115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50" name="Freeform: Shape 4044">
              <a:extLst>
                <a:ext uri="{FF2B5EF4-FFF2-40B4-BE49-F238E27FC236}">
                  <a16:creationId xmlns:a16="http://schemas.microsoft.com/office/drawing/2014/main" id="{BC14EFDA-0E9F-4D20-8D83-3E46DAF0DCAC}"/>
                </a:ext>
              </a:extLst>
            </p:cNvPr>
            <p:cNvSpPr/>
            <p:nvPr/>
          </p:nvSpPr>
          <p:spPr>
            <a:xfrm>
              <a:off x="10710106" y="3933808"/>
              <a:ext cx="3934" cy="3934"/>
            </a:xfrm>
            <a:custGeom>
              <a:avLst/>
              <a:gdLst>
                <a:gd name="connsiteX0" fmla="*/ 3934 w 3934"/>
                <a:gd name="connsiteY0" fmla="*/ 394 h 0"/>
                <a:gd name="connsiteX1" fmla="*/ 0 w 3934"/>
                <a:gd name="connsiteY1" fmla="*/ 0 h 0"/>
                <a:gd name="connsiteX2" fmla="*/ 2754 w 3934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3934" y="394"/>
                  </a:moveTo>
                  <a:lnTo>
                    <a:pt x="0" y="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51" name="Freeform: Shape 4045">
              <a:extLst>
                <a:ext uri="{FF2B5EF4-FFF2-40B4-BE49-F238E27FC236}">
                  <a16:creationId xmlns:a16="http://schemas.microsoft.com/office/drawing/2014/main" id="{0583A630-56D0-4814-935B-ECAF0611B386}"/>
                </a:ext>
              </a:extLst>
            </p:cNvPr>
            <p:cNvSpPr/>
            <p:nvPr/>
          </p:nvSpPr>
          <p:spPr>
            <a:xfrm>
              <a:off x="10760464" y="4023509"/>
              <a:ext cx="3934" cy="3934"/>
            </a:xfrm>
            <a:custGeom>
              <a:avLst/>
              <a:gdLst>
                <a:gd name="connsiteX0" fmla="*/ 2754 w 3934"/>
                <a:gd name="connsiteY0" fmla="*/ 1574 h 0"/>
                <a:gd name="connsiteX1" fmla="*/ 5508 w 3934"/>
                <a:gd name="connsiteY1" fmla="*/ 2360 h 0"/>
                <a:gd name="connsiteX2" fmla="*/ 5901 w 3934"/>
                <a:gd name="connsiteY2" fmla="*/ 2360 h 0"/>
                <a:gd name="connsiteX3" fmla="*/ 0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2754" y="1574"/>
                  </a:moveTo>
                  <a:lnTo>
                    <a:pt x="5508" y="2360"/>
                  </a:lnTo>
                  <a:lnTo>
                    <a:pt x="5901" y="236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52" name="Freeform: Shape 4046">
              <a:extLst>
                <a:ext uri="{FF2B5EF4-FFF2-40B4-BE49-F238E27FC236}">
                  <a16:creationId xmlns:a16="http://schemas.microsoft.com/office/drawing/2014/main" id="{0A10DBD0-5B3B-405F-B641-A1A28E907444}"/>
                </a:ext>
              </a:extLst>
            </p:cNvPr>
            <p:cNvSpPr/>
            <p:nvPr/>
          </p:nvSpPr>
          <p:spPr>
            <a:xfrm>
              <a:off x="10762431" y="4022722"/>
              <a:ext cx="3934" cy="3934"/>
            </a:xfrm>
            <a:custGeom>
              <a:avLst/>
              <a:gdLst>
                <a:gd name="connsiteX0" fmla="*/ 0 w 0"/>
                <a:gd name="connsiteY0" fmla="*/ 1180 h 0"/>
                <a:gd name="connsiteX1" fmla="*/ 3147 w 0"/>
                <a:gd name="connsiteY1" fmla="*/ 2360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180"/>
                  </a:moveTo>
                  <a:lnTo>
                    <a:pt x="3147" y="236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53" name="Freeform: Shape 4047">
              <a:extLst>
                <a:ext uri="{FF2B5EF4-FFF2-40B4-BE49-F238E27FC236}">
                  <a16:creationId xmlns:a16="http://schemas.microsoft.com/office/drawing/2014/main" id="{7CBE1D29-4231-4E29-AD38-CB2E4D540F7E}"/>
                </a:ext>
              </a:extLst>
            </p:cNvPr>
            <p:cNvSpPr/>
            <p:nvPr/>
          </p:nvSpPr>
          <p:spPr>
            <a:xfrm>
              <a:off x="10773840" y="4015641"/>
              <a:ext cx="3934" cy="7869"/>
            </a:xfrm>
            <a:custGeom>
              <a:avLst/>
              <a:gdLst>
                <a:gd name="connsiteX0" fmla="*/ 0 w 3934"/>
                <a:gd name="connsiteY0" fmla="*/ 5901 h 7868"/>
                <a:gd name="connsiteX1" fmla="*/ 2754 w 3934"/>
                <a:gd name="connsiteY1" fmla="*/ 8655 h 7868"/>
                <a:gd name="connsiteX2" fmla="*/ 3540 w 3934"/>
                <a:gd name="connsiteY2" fmla="*/ 8262 h 7868"/>
                <a:gd name="connsiteX3" fmla="*/ 6688 w 3934"/>
                <a:gd name="connsiteY3" fmla="*/ 6295 h 7868"/>
                <a:gd name="connsiteX4" fmla="*/ 5508 w 3934"/>
                <a:gd name="connsiteY4" fmla="*/ 3147 h 7868"/>
                <a:gd name="connsiteX5" fmla="*/ 5901 w 3934"/>
                <a:gd name="connsiteY5" fmla="*/ 0 h 7868"/>
                <a:gd name="connsiteX6" fmla="*/ 2754 w 3934"/>
                <a:gd name="connsiteY6" fmla="*/ 0 h 7868"/>
                <a:gd name="connsiteX7" fmla="*/ 0 w 3934"/>
                <a:gd name="connsiteY7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0" y="5901"/>
                  </a:moveTo>
                  <a:lnTo>
                    <a:pt x="2754" y="8655"/>
                  </a:lnTo>
                  <a:lnTo>
                    <a:pt x="3540" y="8262"/>
                  </a:lnTo>
                  <a:lnTo>
                    <a:pt x="6688" y="6295"/>
                  </a:lnTo>
                  <a:lnTo>
                    <a:pt x="5508" y="3147"/>
                  </a:lnTo>
                  <a:lnTo>
                    <a:pt x="5901" y="0"/>
                  </a:lnTo>
                  <a:lnTo>
                    <a:pt x="2754" y="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54" name="Freeform: Shape 4048">
              <a:extLst>
                <a:ext uri="{FF2B5EF4-FFF2-40B4-BE49-F238E27FC236}">
                  <a16:creationId xmlns:a16="http://schemas.microsoft.com/office/drawing/2014/main" id="{BE79F415-A202-4339-BF6C-12F8EEECC9A6}"/>
                </a:ext>
              </a:extLst>
            </p:cNvPr>
            <p:cNvSpPr/>
            <p:nvPr/>
          </p:nvSpPr>
          <p:spPr>
            <a:xfrm>
              <a:off x="10753775" y="4012100"/>
              <a:ext cx="3934" cy="7869"/>
            </a:xfrm>
            <a:custGeom>
              <a:avLst/>
              <a:gdLst>
                <a:gd name="connsiteX0" fmla="*/ 6295 w 3934"/>
                <a:gd name="connsiteY0" fmla="*/ 3147 h 7868"/>
                <a:gd name="connsiteX1" fmla="*/ 5509 w 3934"/>
                <a:gd name="connsiteY1" fmla="*/ 0 h 7868"/>
                <a:gd name="connsiteX2" fmla="*/ 2755 w 3934"/>
                <a:gd name="connsiteY2" fmla="*/ 2360 h 7868"/>
                <a:gd name="connsiteX3" fmla="*/ 0 w 3934"/>
                <a:gd name="connsiteY3" fmla="*/ 5114 h 7868"/>
                <a:gd name="connsiteX4" fmla="*/ 2755 w 3934"/>
                <a:gd name="connsiteY4" fmla="*/ 7869 h 7868"/>
                <a:gd name="connsiteX5" fmla="*/ 4722 w 3934"/>
                <a:gd name="connsiteY5" fmla="*/ 10623 h 7868"/>
                <a:gd name="connsiteX6" fmla="*/ 3541 w 3934"/>
                <a:gd name="connsiteY6" fmla="*/ 8655 h 7868"/>
                <a:gd name="connsiteX7" fmla="*/ 3934 w 3934"/>
                <a:gd name="connsiteY7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6295" y="3147"/>
                  </a:moveTo>
                  <a:lnTo>
                    <a:pt x="5509" y="0"/>
                  </a:lnTo>
                  <a:lnTo>
                    <a:pt x="2755" y="2360"/>
                  </a:lnTo>
                  <a:lnTo>
                    <a:pt x="0" y="5114"/>
                  </a:lnTo>
                  <a:lnTo>
                    <a:pt x="2755" y="7869"/>
                  </a:lnTo>
                  <a:lnTo>
                    <a:pt x="4722" y="10623"/>
                  </a:lnTo>
                  <a:lnTo>
                    <a:pt x="3541" y="8655"/>
                  </a:lnTo>
                  <a:lnTo>
                    <a:pt x="3934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55" name="Freeform: Shape 4049">
              <a:extLst>
                <a:ext uri="{FF2B5EF4-FFF2-40B4-BE49-F238E27FC236}">
                  <a16:creationId xmlns:a16="http://schemas.microsoft.com/office/drawing/2014/main" id="{BF30D640-370A-4CA2-9E76-FC764A1F0578}"/>
                </a:ext>
              </a:extLst>
            </p:cNvPr>
            <p:cNvSpPr/>
            <p:nvPr/>
          </p:nvSpPr>
          <p:spPr>
            <a:xfrm>
              <a:off x="10824199" y="4010920"/>
              <a:ext cx="3934" cy="3934"/>
            </a:xfrm>
            <a:custGeom>
              <a:avLst/>
              <a:gdLst>
                <a:gd name="connsiteX0" fmla="*/ 0 w 3934"/>
                <a:gd name="connsiteY0" fmla="*/ 787 h 3934"/>
                <a:gd name="connsiteX1" fmla="*/ 1180 w 3934"/>
                <a:gd name="connsiteY1" fmla="*/ 3934 h 3934"/>
                <a:gd name="connsiteX2" fmla="*/ 3934 w 3934"/>
                <a:gd name="connsiteY2" fmla="*/ 5901 h 3934"/>
                <a:gd name="connsiteX3" fmla="*/ 3148 w 3934"/>
                <a:gd name="connsiteY3" fmla="*/ 2754 h 3934"/>
                <a:gd name="connsiteX4" fmla="*/ 3148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787"/>
                  </a:moveTo>
                  <a:lnTo>
                    <a:pt x="1180" y="3934"/>
                  </a:lnTo>
                  <a:lnTo>
                    <a:pt x="3934" y="5901"/>
                  </a:lnTo>
                  <a:lnTo>
                    <a:pt x="3148" y="2754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56" name="Freeform: Shape 4050">
              <a:extLst>
                <a:ext uri="{FF2B5EF4-FFF2-40B4-BE49-F238E27FC236}">
                  <a16:creationId xmlns:a16="http://schemas.microsoft.com/office/drawing/2014/main" id="{F0C32DE0-5B8F-4B85-B8DE-52F1A3F4074A}"/>
                </a:ext>
              </a:extLst>
            </p:cNvPr>
            <p:cNvSpPr/>
            <p:nvPr/>
          </p:nvSpPr>
          <p:spPr>
            <a:xfrm>
              <a:off x="10777381" y="4012887"/>
              <a:ext cx="3934" cy="3934"/>
            </a:xfrm>
            <a:custGeom>
              <a:avLst/>
              <a:gdLst>
                <a:gd name="connsiteX0" fmla="*/ 3148 w 0"/>
                <a:gd name="connsiteY0" fmla="*/ 787 h 0"/>
                <a:gd name="connsiteX1" fmla="*/ 0 w 0"/>
                <a:gd name="connsiteY1" fmla="*/ 0 h 0"/>
                <a:gd name="connsiteX2" fmla="*/ 3148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787"/>
                  </a:moveTo>
                  <a:lnTo>
                    <a:pt x="0" y="0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57" name="Freeform: Shape 4051">
              <a:extLst>
                <a:ext uri="{FF2B5EF4-FFF2-40B4-BE49-F238E27FC236}">
                  <a16:creationId xmlns:a16="http://schemas.microsoft.com/office/drawing/2014/main" id="{FA88D3DA-F200-412F-B22D-96C314F8A155}"/>
                </a:ext>
              </a:extLst>
            </p:cNvPr>
            <p:cNvSpPr/>
            <p:nvPr/>
          </p:nvSpPr>
          <p:spPr>
            <a:xfrm>
              <a:off x="10748268" y="4003051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58" name="Freeform: Shape 4052">
              <a:extLst>
                <a:ext uri="{FF2B5EF4-FFF2-40B4-BE49-F238E27FC236}">
                  <a16:creationId xmlns:a16="http://schemas.microsoft.com/office/drawing/2014/main" id="{D6A48C7E-A564-4FFF-8238-AD058D26135E}"/>
                </a:ext>
              </a:extLst>
            </p:cNvPr>
            <p:cNvSpPr/>
            <p:nvPr/>
          </p:nvSpPr>
          <p:spPr>
            <a:xfrm>
              <a:off x="10735678" y="3996363"/>
              <a:ext cx="3934" cy="7869"/>
            </a:xfrm>
            <a:custGeom>
              <a:avLst/>
              <a:gdLst>
                <a:gd name="connsiteX0" fmla="*/ 1573 w 0"/>
                <a:gd name="connsiteY0" fmla="*/ 5901 h 7868"/>
                <a:gd name="connsiteX1" fmla="*/ 1573 w 0"/>
                <a:gd name="connsiteY1" fmla="*/ 2754 h 7868"/>
                <a:gd name="connsiteX2" fmla="*/ 0 w 0"/>
                <a:gd name="connsiteY2" fmla="*/ 0 h 7868"/>
                <a:gd name="connsiteX3" fmla="*/ 0 w 0"/>
                <a:gd name="connsiteY3" fmla="*/ 5508 h 7868"/>
                <a:gd name="connsiteX4" fmla="*/ 1180 w 0"/>
                <a:gd name="connsiteY4" fmla="*/ 865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7868">
                  <a:moveTo>
                    <a:pt x="1573" y="5901"/>
                  </a:moveTo>
                  <a:lnTo>
                    <a:pt x="1573" y="2754"/>
                  </a:lnTo>
                  <a:lnTo>
                    <a:pt x="0" y="0"/>
                  </a:lnTo>
                  <a:lnTo>
                    <a:pt x="0" y="5508"/>
                  </a:lnTo>
                  <a:lnTo>
                    <a:pt x="1180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59" name="Freeform: Shape 4053">
              <a:extLst>
                <a:ext uri="{FF2B5EF4-FFF2-40B4-BE49-F238E27FC236}">
                  <a16:creationId xmlns:a16="http://schemas.microsoft.com/office/drawing/2014/main" id="{F1300CF3-9264-4647-BBBC-37CE8E302086}"/>
                </a:ext>
              </a:extLst>
            </p:cNvPr>
            <p:cNvSpPr/>
            <p:nvPr/>
          </p:nvSpPr>
          <p:spPr>
            <a:xfrm>
              <a:off x="10823019" y="4040820"/>
              <a:ext cx="31474" cy="19671"/>
            </a:xfrm>
            <a:custGeom>
              <a:avLst/>
              <a:gdLst>
                <a:gd name="connsiteX0" fmla="*/ 6688 w 31474"/>
                <a:gd name="connsiteY0" fmla="*/ 2361 h 19671"/>
                <a:gd name="connsiteX1" fmla="*/ 3934 w 31474"/>
                <a:gd name="connsiteY1" fmla="*/ 0 h 19671"/>
                <a:gd name="connsiteX2" fmla="*/ 1180 w 31474"/>
                <a:gd name="connsiteY2" fmla="*/ 1180 h 19671"/>
                <a:gd name="connsiteX3" fmla="*/ 0 w 31474"/>
                <a:gd name="connsiteY3" fmla="*/ 4328 h 19671"/>
                <a:gd name="connsiteX4" fmla="*/ 0 w 31474"/>
                <a:gd name="connsiteY4" fmla="*/ 7082 h 19671"/>
                <a:gd name="connsiteX5" fmla="*/ 0 w 31474"/>
                <a:gd name="connsiteY5" fmla="*/ 9836 h 19671"/>
                <a:gd name="connsiteX6" fmla="*/ 1180 w 31474"/>
                <a:gd name="connsiteY6" fmla="*/ 12590 h 19671"/>
                <a:gd name="connsiteX7" fmla="*/ 3148 w 31474"/>
                <a:gd name="connsiteY7" fmla="*/ 15344 h 19671"/>
                <a:gd name="connsiteX8" fmla="*/ 5901 w 31474"/>
                <a:gd name="connsiteY8" fmla="*/ 18098 h 19671"/>
                <a:gd name="connsiteX9" fmla="*/ 9049 w 31474"/>
                <a:gd name="connsiteY9" fmla="*/ 18491 h 19671"/>
                <a:gd name="connsiteX10" fmla="*/ 10229 w 31474"/>
                <a:gd name="connsiteY10" fmla="*/ 19278 h 19671"/>
                <a:gd name="connsiteX11" fmla="*/ 12197 w 31474"/>
                <a:gd name="connsiteY11" fmla="*/ 19278 h 19671"/>
                <a:gd name="connsiteX12" fmla="*/ 15343 w 31474"/>
                <a:gd name="connsiteY12" fmla="*/ 19278 h 19671"/>
                <a:gd name="connsiteX13" fmla="*/ 18098 w 31474"/>
                <a:gd name="connsiteY13" fmla="*/ 18884 h 19671"/>
                <a:gd name="connsiteX14" fmla="*/ 21245 w 31474"/>
                <a:gd name="connsiteY14" fmla="*/ 19278 h 19671"/>
                <a:gd name="connsiteX15" fmla="*/ 24392 w 31474"/>
                <a:gd name="connsiteY15" fmla="*/ 21638 h 19671"/>
                <a:gd name="connsiteX16" fmla="*/ 27146 w 31474"/>
                <a:gd name="connsiteY16" fmla="*/ 22425 h 19671"/>
                <a:gd name="connsiteX17" fmla="*/ 29901 w 31474"/>
                <a:gd name="connsiteY17" fmla="*/ 22425 h 19671"/>
                <a:gd name="connsiteX18" fmla="*/ 33047 w 31474"/>
                <a:gd name="connsiteY18" fmla="*/ 21638 h 19671"/>
                <a:gd name="connsiteX19" fmla="*/ 34622 w 31474"/>
                <a:gd name="connsiteY19" fmla="*/ 18491 h 19671"/>
                <a:gd name="connsiteX20" fmla="*/ 33047 w 31474"/>
                <a:gd name="connsiteY20" fmla="*/ 15737 h 19671"/>
                <a:gd name="connsiteX21" fmla="*/ 30687 w 31474"/>
                <a:gd name="connsiteY21" fmla="*/ 12983 h 19671"/>
                <a:gd name="connsiteX22" fmla="*/ 28720 w 31474"/>
                <a:gd name="connsiteY22" fmla="*/ 9836 h 19671"/>
                <a:gd name="connsiteX23" fmla="*/ 25967 w 31474"/>
                <a:gd name="connsiteY23" fmla="*/ 9049 h 19671"/>
                <a:gd name="connsiteX24" fmla="*/ 23606 w 31474"/>
                <a:gd name="connsiteY24" fmla="*/ 5901 h 19671"/>
                <a:gd name="connsiteX25" fmla="*/ 20458 w 31474"/>
                <a:gd name="connsiteY25" fmla="*/ 5508 h 19671"/>
                <a:gd name="connsiteX26" fmla="*/ 17704 w 31474"/>
                <a:gd name="connsiteY26" fmla="*/ 5508 h 19671"/>
                <a:gd name="connsiteX27" fmla="*/ 14950 w 31474"/>
                <a:gd name="connsiteY27" fmla="*/ 5901 h 19671"/>
                <a:gd name="connsiteX28" fmla="*/ 12197 w 31474"/>
                <a:gd name="connsiteY28" fmla="*/ 5901 h 19671"/>
                <a:gd name="connsiteX29" fmla="*/ 11409 w 31474"/>
                <a:gd name="connsiteY29" fmla="*/ 6295 h 19671"/>
                <a:gd name="connsiteX30" fmla="*/ 8655 w 31474"/>
                <a:gd name="connsiteY30" fmla="*/ 5114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1474" h="19671">
                  <a:moveTo>
                    <a:pt x="6688" y="2361"/>
                  </a:moveTo>
                  <a:lnTo>
                    <a:pt x="3934" y="0"/>
                  </a:lnTo>
                  <a:lnTo>
                    <a:pt x="1180" y="1180"/>
                  </a:lnTo>
                  <a:lnTo>
                    <a:pt x="0" y="4328"/>
                  </a:lnTo>
                  <a:lnTo>
                    <a:pt x="0" y="7082"/>
                  </a:lnTo>
                  <a:lnTo>
                    <a:pt x="0" y="9836"/>
                  </a:lnTo>
                  <a:lnTo>
                    <a:pt x="1180" y="12590"/>
                  </a:lnTo>
                  <a:lnTo>
                    <a:pt x="3148" y="15344"/>
                  </a:lnTo>
                  <a:lnTo>
                    <a:pt x="5901" y="18098"/>
                  </a:lnTo>
                  <a:lnTo>
                    <a:pt x="9049" y="18491"/>
                  </a:lnTo>
                  <a:lnTo>
                    <a:pt x="10229" y="19278"/>
                  </a:lnTo>
                  <a:lnTo>
                    <a:pt x="12197" y="19278"/>
                  </a:lnTo>
                  <a:lnTo>
                    <a:pt x="15343" y="19278"/>
                  </a:lnTo>
                  <a:lnTo>
                    <a:pt x="18098" y="18884"/>
                  </a:lnTo>
                  <a:lnTo>
                    <a:pt x="21245" y="19278"/>
                  </a:lnTo>
                  <a:lnTo>
                    <a:pt x="24392" y="21638"/>
                  </a:lnTo>
                  <a:lnTo>
                    <a:pt x="27146" y="22425"/>
                  </a:lnTo>
                  <a:lnTo>
                    <a:pt x="29901" y="22425"/>
                  </a:lnTo>
                  <a:lnTo>
                    <a:pt x="33047" y="21638"/>
                  </a:lnTo>
                  <a:lnTo>
                    <a:pt x="34622" y="18491"/>
                  </a:lnTo>
                  <a:lnTo>
                    <a:pt x="33047" y="15737"/>
                  </a:lnTo>
                  <a:lnTo>
                    <a:pt x="30687" y="12983"/>
                  </a:lnTo>
                  <a:lnTo>
                    <a:pt x="28720" y="9836"/>
                  </a:lnTo>
                  <a:lnTo>
                    <a:pt x="25967" y="9049"/>
                  </a:lnTo>
                  <a:lnTo>
                    <a:pt x="23606" y="5901"/>
                  </a:lnTo>
                  <a:lnTo>
                    <a:pt x="20458" y="5508"/>
                  </a:lnTo>
                  <a:lnTo>
                    <a:pt x="17704" y="5508"/>
                  </a:lnTo>
                  <a:lnTo>
                    <a:pt x="14950" y="5901"/>
                  </a:lnTo>
                  <a:lnTo>
                    <a:pt x="12197" y="5901"/>
                  </a:lnTo>
                  <a:lnTo>
                    <a:pt x="11409" y="6295"/>
                  </a:lnTo>
                  <a:lnTo>
                    <a:pt x="8655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60" name="Freeform: Shape 4054">
              <a:extLst>
                <a:ext uri="{FF2B5EF4-FFF2-40B4-BE49-F238E27FC236}">
                  <a16:creationId xmlns:a16="http://schemas.microsoft.com/office/drawing/2014/main" id="{AF53DDBB-7E66-4ECC-9FE0-419F1142AA46}"/>
                </a:ext>
              </a:extLst>
            </p:cNvPr>
            <p:cNvSpPr/>
            <p:nvPr/>
          </p:nvSpPr>
          <p:spPr>
            <a:xfrm>
              <a:off x="10755350" y="3997150"/>
              <a:ext cx="19671" cy="19671"/>
            </a:xfrm>
            <a:custGeom>
              <a:avLst/>
              <a:gdLst>
                <a:gd name="connsiteX0" fmla="*/ 18885 w 19671"/>
                <a:gd name="connsiteY0" fmla="*/ 20458 h 19671"/>
                <a:gd name="connsiteX1" fmla="*/ 19671 w 19671"/>
                <a:gd name="connsiteY1" fmla="*/ 17704 h 19671"/>
                <a:gd name="connsiteX2" fmla="*/ 19278 w 19671"/>
                <a:gd name="connsiteY2" fmla="*/ 14557 h 19671"/>
                <a:gd name="connsiteX3" fmla="*/ 18097 w 19671"/>
                <a:gd name="connsiteY3" fmla="*/ 11803 h 19671"/>
                <a:gd name="connsiteX4" fmla="*/ 16130 w 19671"/>
                <a:gd name="connsiteY4" fmla="*/ 9049 h 19671"/>
                <a:gd name="connsiteX5" fmla="*/ 12983 w 19671"/>
                <a:gd name="connsiteY5" fmla="*/ 9049 h 19671"/>
                <a:gd name="connsiteX6" fmla="*/ 12196 w 19671"/>
                <a:gd name="connsiteY6" fmla="*/ 5901 h 19671"/>
                <a:gd name="connsiteX7" fmla="*/ 12196 w 19671"/>
                <a:gd name="connsiteY7" fmla="*/ 2754 h 19671"/>
                <a:gd name="connsiteX8" fmla="*/ 9836 w 19671"/>
                <a:gd name="connsiteY8" fmla="*/ 0 h 19671"/>
                <a:gd name="connsiteX9" fmla="*/ 7082 w 19671"/>
                <a:gd name="connsiteY9" fmla="*/ 393 h 19671"/>
                <a:gd name="connsiteX10" fmla="*/ 4327 w 19671"/>
                <a:gd name="connsiteY10" fmla="*/ 3541 h 19671"/>
                <a:gd name="connsiteX11" fmla="*/ 3148 w 19671"/>
                <a:gd name="connsiteY11" fmla="*/ 6295 h 19671"/>
                <a:gd name="connsiteX12" fmla="*/ 0 w 19671"/>
                <a:gd name="connsiteY12" fmla="*/ 8262 h 19671"/>
                <a:gd name="connsiteX13" fmla="*/ 0 w 19671"/>
                <a:gd name="connsiteY13" fmla="*/ 11409 h 19671"/>
                <a:gd name="connsiteX14" fmla="*/ 3148 w 19671"/>
                <a:gd name="connsiteY14" fmla="*/ 11409 h 19671"/>
                <a:gd name="connsiteX15" fmla="*/ 5901 w 19671"/>
                <a:gd name="connsiteY15" fmla="*/ 10623 h 19671"/>
                <a:gd name="connsiteX16" fmla="*/ 8655 w 19671"/>
                <a:gd name="connsiteY16" fmla="*/ 9836 h 19671"/>
                <a:gd name="connsiteX17" fmla="*/ 11016 w 19671"/>
                <a:gd name="connsiteY17" fmla="*/ 12983 h 19671"/>
                <a:gd name="connsiteX18" fmla="*/ 10229 w 19671"/>
                <a:gd name="connsiteY18" fmla="*/ 15737 h 19671"/>
                <a:gd name="connsiteX19" fmla="*/ 12983 w 19671"/>
                <a:gd name="connsiteY19" fmla="*/ 18491 h 19671"/>
                <a:gd name="connsiteX20" fmla="*/ 15737 w 19671"/>
                <a:gd name="connsiteY20" fmla="*/ 20065 h 19671"/>
                <a:gd name="connsiteX21" fmla="*/ 16130 w 19671"/>
                <a:gd name="connsiteY21" fmla="*/ 20458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9671" h="19671">
                  <a:moveTo>
                    <a:pt x="18885" y="20458"/>
                  </a:moveTo>
                  <a:lnTo>
                    <a:pt x="19671" y="17704"/>
                  </a:lnTo>
                  <a:lnTo>
                    <a:pt x="19278" y="14557"/>
                  </a:lnTo>
                  <a:lnTo>
                    <a:pt x="18097" y="11803"/>
                  </a:lnTo>
                  <a:lnTo>
                    <a:pt x="16130" y="9049"/>
                  </a:lnTo>
                  <a:lnTo>
                    <a:pt x="12983" y="9049"/>
                  </a:lnTo>
                  <a:lnTo>
                    <a:pt x="12196" y="5901"/>
                  </a:lnTo>
                  <a:lnTo>
                    <a:pt x="12196" y="2754"/>
                  </a:lnTo>
                  <a:lnTo>
                    <a:pt x="9836" y="0"/>
                  </a:lnTo>
                  <a:lnTo>
                    <a:pt x="7082" y="393"/>
                  </a:lnTo>
                  <a:lnTo>
                    <a:pt x="4327" y="3541"/>
                  </a:lnTo>
                  <a:lnTo>
                    <a:pt x="3148" y="6295"/>
                  </a:lnTo>
                  <a:lnTo>
                    <a:pt x="0" y="8262"/>
                  </a:lnTo>
                  <a:lnTo>
                    <a:pt x="0" y="11409"/>
                  </a:lnTo>
                  <a:lnTo>
                    <a:pt x="3148" y="11409"/>
                  </a:lnTo>
                  <a:lnTo>
                    <a:pt x="5901" y="10623"/>
                  </a:lnTo>
                  <a:lnTo>
                    <a:pt x="8655" y="9836"/>
                  </a:lnTo>
                  <a:lnTo>
                    <a:pt x="11016" y="12983"/>
                  </a:lnTo>
                  <a:lnTo>
                    <a:pt x="10229" y="15737"/>
                  </a:lnTo>
                  <a:lnTo>
                    <a:pt x="12983" y="18491"/>
                  </a:lnTo>
                  <a:lnTo>
                    <a:pt x="15737" y="20065"/>
                  </a:lnTo>
                  <a:lnTo>
                    <a:pt x="16130" y="2045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61" name="Freeform: Shape 4055">
              <a:extLst>
                <a:ext uri="{FF2B5EF4-FFF2-40B4-BE49-F238E27FC236}">
                  <a16:creationId xmlns:a16="http://schemas.microsoft.com/office/drawing/2014/main" id="{5BEDFBC3-083B-4D41-91CF-307EE3DDC9D2}"/>
                </a:ext>
              </a:extLst>
            </p:cNvPr>
            <p:cNvSpPr/>
            <p:nvPr/>
          </p:nvSpPr>
          <p:spPr>
            <a:xfrm>
              <a:off x="10736859" y="3950725"/>
              <a:ext cx="27540" cy="23606"/>
            </a:xfrm>
            <a:custGeom>
              <a:avLst/>
              <a:gdLst>
                <a:gd name="connsiteX0" fmla="*/ 1180 w 27539"/>
                <a:gd name="connsiteY0" fmla="*/ 5901 h 23605"/>
                <a:gd name="connsiteX1" fmla="*/ 4327 w 27539"/>
                <a:gd name="connsiteY1" fmla="*/ 8262 h 23605"/>
                <a:gd name="connsiteX2" fmla="*/ 7081 w 27539"/>
                <a:gd name="connsiteY2" fmla="*/ 11409 h 23605"/>
                <a:gd name="connsiteX3" fmla="*/ 8655 w 27539"/>
                <a:gd name="connsiteY3" fmla="*/ 14163 h 23605"/>
                <a:gd name="connsiteX4" fmla="*/ 10622 w 27539"/>
                <a:gd name="connsiteY4" fmla="*/ 16917 h 23605"/>
                <a:gd name="connsiteX5" fmla="*/ 10622 w 27539"/>
                <a:gd name="connsiteY5" fmla="*/ 17311 h 23605"/>
                <a:gd name="connsiteX6" fmla="*/ 12589 w 27539"/>
                <a:gd name="connsiteY6" fmla="*/ 20065 h 23605"/>
                <a:gd name="connsiteX7" fmla="*/ 15343 w 27539"/>
                <a:gd name="connsiteY7" fmla="*/ 22819 h 23605"/>
                <a:gd name="connsiteX8" fmla="*/ 18097 w 27539"/>
                <a:gd name="connsiteY8" fmla="*/ 24786 h 23605"/>
                <a:gd name="connsiteX9" fmla="*/ 20851 w 27539"/>
                <a:gd name="connsiteY9" fmla="*/ 25179 h 23605"/>
                <a:gd name="connsiteX10" fmla="*/ 23998 w 27539"/>
                <a:gd name="connsiteY10" fmla="*/ 26753 h 23605"/>
                <a:gd name="connsiteX11" fmla="*/ 26752 w 27539"/>
                <a:gd name="connsiteY11" fmla="*/ 27146 h 23605"/>
                <a:gd name="connsiteX12" fmla="*/ 29507 w 27539"/>
                <a:gd name="connsiteY12" fmla="*/ 26359 h 23605"/>
                <a:gd name="connsiteX13" fmla="*/ 26752 w 27539"/>
                <a:gd name="connsiteY13" fmla="*/ 23606 h 23605"/>
                <a:gd name="connsiteX14" fmla="*/ 23998 w 27539"/>
                <a:gd name="connsiteY14" fmla="*/ 22425 h 23605"/>
                <a:gd name="connsiteX15" fmla="*/ 21638 w 27539"/>
                <a:gd name="connsiteY15" fmla="*/ 19671 h 23605"/>
                <a:gd name="connsiteX16" fmla="*/ 19671 w 27539"/>
                <a:gd name="connsiteY16" fmla="*/ 16524 h 23605"/>
                <a:gd name="connsiteX17" fmla="*/ 19278 w 27539"/>
                <a:gd name="connsiteY17" fmla="*/ 14163 h 23605"/>
                <a:gd name="connsiteX18" fmla="*/ 19671 w 27539"/>
                <a:gd name="connsiteY18" fmla="*/ 14557 h 23605"/>
                <a:gd name="connsiteX19" fmla="*/ 19671 w 27539"/>
                <a:gd name="connsiteY19" fmla="*/ 12589 h 23605"/>
                <a:gd name="connsiteX20" fmla="*/ 17704 w 27539"/>
                <a:gd name="connsiteY20" fmla="*/ 9836 h 23605"/>
                <a:gd name="connsiteX21" fmla="*/ 14557 w 27539"/>
                <a:gd name="connsiteY21" fmla="*/ 7475 h 23605"/>
                <a:gd name="connsiteX22" fmla="*/ 15737 w 27539"/>
                <a:gd name="connsiteY22" fmla="*/ 9049 h 23605"/>
                <a:gd name="connsiteX23" fmla="*/ 14949 w 27539"/>
                <a:gd name="connsiteY23" fmla="*/ 8262 h 23605"/>
                <a:gd name="connsiteX24" fmla="*/ 11803 w 27539"/>
                <a:gd name="connsiteY24" fmla="*/ 7082 h 23605"/>
                <a:gd name="connsiteX25" fmla="*/ 9048 w 27539"/>
                <a:gd name="connsiteY25" fmla="*/ 5508 h 23605"/>
                <a:gd name="connsiteX26" fmla="*/ 6294 w 27539"/>
                <a:gd name="connsiteY26" fmla="*/ 2360 h 23605"/>
                <a:gd name="connsiteX27" fmla="*/ 3540 w 27539"/>
                <a:gd name="connsiteY27" fmla="*/ 1180 h 23605"/>
                <a:gd name="connsiteX28" fmla="*/ 787 w 27539"/>
                <a:gd name="connsiteY28" fmla="*/ 0 h 23605"/>
                <a:gd name="connsiteX29" fmla="*/ 0 w 27539"/>
                <a:gd name="connsiteY29" fmla="*/ 3147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7539" h="23605">
                  <a:moveTo>
                    <a:pt x="1180" y="5901"/>
                  </a:moveTo>
                  <a:lnTo>
                    <a:pt x="4327" y="8262"/>
                  </a:lnTo>
                  <a:lnTo>
                    <a:pt x="7081" y="11409"/>
                  </a:lnTo>
                  <a:lnTo>
                    <a:pt x="8655" y="14163"/>
                  </a:lnTo>
                  <a:lnTo>
                    <a:pt x="10622" y="16917"/>
                  </a:lnTo>
                  <a:lnTo>
                    <a:pt x="10622" y="17311"/>
                  </a:lnTo>
                  <a:lnTo>
                    <a:pt x="12589" y="20065"/>
                  </a:lnTo>
                  <a:lnTo>
                    <a:pt x="15343" y="22819"/>
                  </a:lnTo>
                  <a:lnTo>
                    <a:pt x="18097" y="24786"/>
                  </a:lnTo>
                  <a:lnTo>
                    <a:pt x="20851" y="25179"/>
                  </a:lnTo>
                  <a:lnTo>
                    <a:pt x="23998" y="26753"/>
                  </a:lnTo>
                  <a:lnTo>
                    <a:pt x="26752" y="27146"/>
                  </a:lnTo>
                  <a:lnTo>
                    <a:pt x="29507" y="26359"/>
                  </a:lnTo>
                  <a:lnTo>
                    <a:pt x="26752" y="23606"/>
                  </a:lnTo>
                  <a:lnTo>
                    <a:pt x="23998" y="22425"/>
                  </a:lnTo>
                  <a:lnTo>
                    <a:pt x="21638" y="19671"/>
                  </a:lnTo>
                  <a:lnTo>
                    <a:pt x="19671" y="16524"/>
                  </a:lnTo>
                  <a:lnTo>
                    <a:pt x="19278" y="14163"/>
                  </a:lnTo>
                  <a:lnTo>
                    <a:pt x="19671" y="14557"/>
                  </a:lnTo>
                  <a:lnTo>
                    <a:pt x="19671" y="12589"/>
                  </a:lnTo>
                  <a:lnTo>
                    <a:pt x="17704" y="9836"/>
                  </a:lnTo>
                  <a:lnTo>
                    <a:pt x="14557" y="7475"/>
                  </a:lnTo>
                  <a:lnTo>
                    <a:pt x="15737" y="9049"/>
                  </a:lnTo>
                  <a:lnTo>
                    <a:pt x="14949" y="8262"/>
                  </a:lnTo>
                  <a:lnTo>
                    <a:pt x="11803" y="7082"/>
                  </a:lnTo>
                  <a:lnTo>
                    <a:pt x="9048" y="5508"/>
                  </a:lnTo>
                  <a:lnTo>
                    <a:pt x="6294" y="2360"/>
                  </a:lnTo>
                  <a:lnTo>
                    <a:pt x="3540" y="1180"/>
                  </a:lnTo>
                  <a:lnTo>
                    <a:pt x="787" y="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62" name="Freeform: Shape 4056">
              <a:extLst>
                <a:ext uri="{FF2B5EF4-FFF2-40B4-BE49-F238E27FC236}">
                  <a16:creationId xmlns:a16="http://schemas.microsoft.com/office/drawing/2014/main" id="{9FE490E3-EBC8-4293-9B20-9989E003A439}"/>
                </a:ext>
              </a:extLst>
            </p:cNvPr>
            <p:cNvSpPr/>
            <p:nvPr/>
          </p:nvSpPr>
          <p:spPr>
            <a:xfrm>
              <a:off x="10808068" y="4032558"/>
              <a:ext cx="3934" cy="3934"/>
            </a:xfrm>
            <a:custGeom>
              <a:avLst/>
              <a:gdLst>
                <a:gd name="connsiteX0" fmla="*/ 787 w 0"/>
                <a:gd name="connsiteY0" fmla="*/ 3541 h 0"/>
                <a:gd name="connsiteX1" fmla="*/ 2361 w 0"/>
                <a:gd name="connsiteY1" fmla="*/ 3147 h 0"/>
                <a:gd name="connsiteX2" fmla="*/ 2754 w 0"/>
                <a:gd name="connsiteY2" fmla="*/ 0 h 0"/>
                <a:gd name="connsiteX3" fmla="*/ 0 w 0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787" y="3541"/>
                  </a:moveTo>
                  <a:lnTo>
                    <a:pt x="2361" y="3147"/>
                  </a:ln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63" name="Freeform: Shape 4057">
              <a:extLst>
                <a:ext uri="{FF2B5EF4-FFF2-40B4-BE49-F238E27FC236}">
                  <a16:creationId xmlns:a16="http://schemas.microsoft.com/office/drawing/2014/main" id="{08C34815-3078-40F5-9430-2F7F8A9229B2}"/>
                </a:ext>
              </a:extLst>
            </p:cNvPr>
            <p:cNvSpPr/>
            <p:nvPr/>
          </p:nvSpPr>
          <p:spPr>
            <a:xfrm>
              <a:off x="10810035" y="4030984"/>
              <a:ext cx="3934" cy="3934"/>
            </a:xfrm>
            <a:custGeom>
              <a:avLst/>
              <a:gdLst>
                <a:gd name="connsiteX0" fmla="*/ 2754 w 0"/>
                <a:gd name="connsiteY0" fmla="*/ 394 h 0"/>
                <a:gd name="connsiteX1" fmla="*/ 0 w 0"/>
                <a:gd name="connsiteY1" fmla="*/ 0 h 0"/>
                <a:gd name="connsiteX2" fmla="*/ 3148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4"/>
                  </a:moveTo>
                  <a:lnTo>
                    <a:pt x="0" y="0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64" name="Freeform: Shape 4058">
              <a:extLst>
                <a:ext uri="{FF2B5EF4-FFF2-40B4-BE49-F238E27FC236}">
                  <a16:creationId xmlns:a16="http://schemas.microsoft.com/office/drawing/2014/main" id="{FB310BD7-442C-42FF-A232-1F7509469D04}"/>
                </a:ext>
              </a:extLst>
            </p:cNvPr>
            <p:cNvSpPr/>
            <p:nvPr/>
          </p:nvSpPr>
          <p:spPr>
            <a:xfrm>
              <a:off x="10778561" y="4023903"/>
              <a:ext cx="3934" cy="3934"/>
            </a:xfrm>
            <a:custGeom>
              <a:avLst/>
              <a:gdLst>
                <a:gd name="connsiteX0" fmla="*/ 3148 w 0"/>
                <a:gd name="connsiteY0" fmla="*/ 2754 h 0"/>
                <a:gd name="connsiteX1" fmla="*/ 3148 w 0"/>
                <a:gd name="connsiteY1" fmla="*/ 196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2754"/>
                  </a:moveTo>
                  <a:lnTo>
                    <a:pt x="3148" y="196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65" name="Freeform: Shape 4059">
              <a:extLst>
                <a:ext uri="{FF2B5EF4-FFF2-40B4-BE49-F238E27FC236}">
                  <a16:creationId xmlns:a16="http://schemas.microsoft.com/office/drawing/2014/main" id="{62C935D6-0E69-49D8-B7AA-245D42025FDC}"/>
                </a:ext>
              </a:extLst>
            </p:cNvPr>
            <p:cNvSpPr/>
            <p:nvPr/>
          </p:nvSpPr>
          <p:spPr>
            <a:xfrm>
              <a:off x="10782103" y="4023509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0 w 0"/>
                <a:gd name="connsiteY1" fmla="*/ 0 h 0"/>
                <a:gd name="connsiteX2" fmla="*/ 393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0" y="0"/>
                  </a:lnTo>
                  <a:lnTo>
                    <a:pt x="393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66" name="Freeform: Shape 4060">
              <a:extLst>
                <a:ext uri="{FF2B5EF4-FFF2-40B4-BE49-F238E27FC236}">
                  <a16:creationId xmlns:a16="http://schemas.microsoft.com/office/drawing/2014/main" id="{A5079062-F3BE-4B6E-BE26-ABEEF1042EC9}"/>
                </a:ext>
              </a:extLst>
            </p:cNvPr>
            <p:cNvSpPr/>
            <p:nvPr/>
          </p:nvSpPr>
          <p:spPr>
            <a:xfrm>
              <a:off x="10545653" y="4040033"/>
              <a:ext cx="3934" cy="3934"/>
            </a:xfrm>
            <a:custGeom>
              <a:avLst/>
              <a:gdLst>
                <a:gd name="connsiteX0" fmla="*/ 1180 w 0"/>
                <a:gd name="connsiteY0" fmla="*/ 3148 h 0"/>
                <a:gd name="connsiteX1" fmla="*/ 1180 w 0"/>
                <a:gd name="connsiteY1" fmla="*/ 3148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3148"/>
                  </a:moveTo>
                  <a:lnTo>
                    <a:pt x="1180" y="314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67" name="Freeform: Shape 4061">
              <a:extLst>
                <a:ext uri="{FF2B5EF4-FFF2-40B4-BE49-F238E27FC236}">
                  <a16:creationId xmlns:a16="http://schemas.microsoft.com/office/drawing/2014/main" id="{048A5A1E-D9EC-45B6-865B-38195EE57591}"/>
                </a:ext>
              </a:extLst>
            </p:cNvPr>
            <p:cNvSpPr/>
            <p:nvPr/>
          </p:nvSpPr>
          <p:spPr>
            <a:xfrm>
              <a:off x="10551161" y="4038459"/>
              <a:ext cx="3934" cy="3934"/>
            </a:xfrm>
            <a:custGeom>
              <a:avLst/>
              <a:gdLst>
                <a:gd name="connsiteX0" fmla="*/ 394 w 0"/>
                <a:gd name="connsiteY0" fmla="*/ 2754 h 0"/>
                <a:gd name="connsiteX1" fmla="*/ 3148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2754"/>
                  </a:moveTo>
                  <a:lnTo>
                    <a:pt x="3148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68" name="Freeform: Shape 4062">
              <a:extLst>
                <a:ext uri="{FF2B5EF4-FFF2-40B4-BE49-F238E27FC236}">
                  <a16:creationId xmlns:a16="http://schemas.microsoft.com/office/drawing/2014/main" id="{F2B29D39-2A82-4A4C-84D9-2F132EF6A971}"/>
                </a:ext>
              </a:extLst>
            </p:cNvPr>
            <p:cNvSpPr/>
            <p:nvPr/>
          </p:nvSpPr>
          <p:spPr>
            <a:xfrm>
              <a:off x="10569259" y="4032164"/>
              <a:ext cx="3934" cy="7869"/>
            </a:xfrm>
            <a:custGeom>
              <a:avLst/>
              <a:gdLst>
                <a:gd name="connsiteX0" fmla="*/ 394 w 0"/>
                <a:gd name="connsiteY0" fmla="*/ 0 h 7868"/>
                <a:gd name="connsiteX1" fmla="*/ 0 w 0"/>
                <a:gd name="connsiteY1" fmla="*/ 7869 h 7868"/>
                <a:gd name="connsiteX2" fmla="*/ 394 w 0"/>
                <a:gd name="connsiteY2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7868">
                  <a:moveTo>
                    <a:pt x="394" y="0"/>
                  </a:moveTo>
                  <a:lnTo>
                    <a:pt x="0" y="7869"/>
                  </a:lnTo>
                  <a:lnTo>
                    <a:pt x="394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69" name="Freeform: Shape 4063">
              <a:extLst>
                <a:ext uri="{FF2B5EF4-FFF2-40B4-BE49-F238E27FC236}">
                  <a16:creationId xmlns:a16="http://schemas.microsoft.com/office/drawing/2014/main" id="{43EB0B7B-747C-406A-92B1-4E63BA99C86E}"/>
                </a:ext>
              </a:extLst>
            </p:cNvPr>
            <p:cNvSpPr/>
            <p:nvPr/>
          </p:nvSpPr>
          <p:spPr>
            <a:xfrm>
              <a:off x="10537785" y="4034132"/>
              <a:ext cx="3934" cy="3934"/>
            </a:xfrm>
            <a:custGeom>
              <a:avLst/>
              <a:gdLst>
                <a:gd name="connsiteX0" fmla="*/ 0 w 3934"/>
                <a:gd name="connsiteY0" fmla="*/ 5901 h 3934"/>
                <a:gd name="connsiteX1" fmla="*/ 4328 w 3934"/>
                <a:gd name="connsiteY1" fmla="*/ 0 h 3934"/>
                <a:gd name="connsiteX2" fmla="*/ 1573 w 3934"/>
                <a:gd name="connsiteY2" fmla="*/ 2754 h 3934"/>
                <a:gd name="connsiteX3" fmla="*/ 394 w 3934"/>
                <a:gd name="connsiteY3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0" y="5901"/>
                  </a:moveTo>
                  <a:lnTo>
                    <a:pt x="4328" y="0"/>
                  </a:lnTo>
                  <a:lnTo>
                    <a:pt x="1573" y="2754"/>
                  </a:lnTo>
                  <a:lnTo>
                    <a:pt x="394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70" name="Freeform: Shape 4064">
              <a:extLst>
                <a:ext uri="{FF2B5EF4-FFF2-40B4-BE49-F238E27FC236}">
                  <a16:creationId xmlns:a16="http://schemas.microsoft.com/office/drawing/2014/main" id="{C39094EB-CDCC-4C0B-A02D-8002FA891A91}"/>
                </a:ext>
              </a:extLst>
            </p:cNvPr>
            <p:cNvSpPr/>
            <p:nvPr/>
          </p:nvSpPr>
          <p:spPr>
            <a:xfrm>
              <a:off x="10613716" y="4030984"/>
              <a:ext cx="11803" cy="7869"/>
            </a:xfrm>
            <a:custGeom>
              <a:avLst/>
              <a:gdLst>
                <a:gd name="connsiteX0" fmla="*/ 7869 w 11802"/>
                <a:gd name="connsiteY0" fmla="*/ 9049 h 7868"/>
                <a:gd name="connsiteX1" fmla="*/ 10622 w 11802"/>
                <a:gd name="connsiteY1" fmla="*/ 7475 h 7868"/>
                <a:gd name="connsiteX2" fmla="*/ 11803 w 11802"/>
                <a:gd name="connsiteY2" fmla="*/ 4328 h 7868"/>
                <a:gd name="connsiteX3" fmla="*/ 9049 w 11802"/>
                <a:gd name="connsiteY3" fmla="*/ 2361 h 7868"/>
                <a:gd name="connsiteX4" fmla="*/ 5901 w 11802"/>
                <a:gd name="connsiteY4" fmla="*/ 394 h 7868"/>
                <a:gd name="connsiteX5" fmla="*/ 3148 w 11802"/>
                <a:gd name="connsiteY5" fmla="*/ 0 h 7868"/>
                <a:gd name="connsiteX6" fmla="*/ 0 w 11802"/>
                <a:gd name="connsiteY6" fmla="*/ 1967 h 7868"/>
                <a:gd name="connsiteX7" fmla="*/ 3148 w 11802"/>
                <a:gd name="connsiteY7" fmla="*/ 3934 h 7868"/>
                <a:gd name="connsiteX8" fmla="*/ 3934 w 11802"/>
                <a:gd name="connsiteY8" fmla="*/ 7082 h 7868"/>
                <a:gd name="connsiteX9" fmla="*/ 7082 w 11802"/>
                <a:gd name="connsiteY9" fmla="*/ 904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7868">
                  <a:moveTo>
                    <a:pt x="7869" y="9049"/>
                  </a:moveTo>
                  <a:lnTo>
                    <a:pt x="10622" y="7475"/>
                  </a:lnTo>
                  <a:lnTo>
                    <a:pt x="11803" y="4328"/>
                  </a:lnTo>
                  <a:lnTo>
                    <a:pt x="9049" y="2361"/>
                  </a:lnTo>
                  <a:lnTo>
                    <a:pt x="5901" y="394"/>
                  </a:lnTo>
                  <a:lnTo>
                    <a:pt x="3148" y="0"/>
                  </a:lnTo>
                  <a:lnTo>
                    <a:pt x="0" y="1967"/>
                  </a:lnTo>
                  <a:lnTo>
                    <a:pt x="3148" y="3934"/>
                  </a:lnTo>
                  <a:lnTo>
                    <a:pt x="3934" y="7082"/>
                  </a:lnTo>
                  <a:lnTo>
                    <a:pt x="7082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71" name="Freeform: Shape 4065">
              <a:extLst>
                <a:ext uri="{FF2B5EF4-FFF2-40B4-BE49-F238E27FC236}">
                  <a16:creationId xmlns:a16="http://schemas.microsoft.com/office/drawing/2014/main" id="{88EBFA0B-C3B1-48E7-AC8A-C373270D17C0}"/>
                </a:ext>
              </a:extLst>
            </p:cNvPr>
            <p:cNvSpPr/>
            <p:nvPr/>
          </p:nvSpPr>
          <p:spPr>
            <a:xfrm>
              <a:off x="10544080" y="4036492"/>
              <a:ext cx="3934" cy="3934"/>
            </a:xfrm>
            <a:custGeom>
              <a:avLst/>
              <a:gdLst>
                <a:gd name="connsiteX0" fmla="*/ 7475 w 3934"/>
                <a:gd name="connsiteY0" fmla="*/ 0 h 0"/>
                <a:gd name="connsiteX1" fmla="*/ 0 w 3934"/>
                <a:gd name="connsiteY1" fmla="*/ 1967 h 0"/>
                <a:gd name="connsiteX2" fmla="*/ 1573 w 3934"/>
                <a:gd name="connsiteY2" fmla="*/ 2360 h 0"/>
                <a:gd name="connsiteX3" fmla="*/ 4327 w 3934"/>
                <a:gd name="connsiteY3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7475" y="0"/>
                  </a:moveTo>
                  <a:lnTo>
                    <a:pt x="0" y="1967"/>
                  </a:lnTo>
                  <a:lnTo>
                    <a:pt x="1573" y="2360"/>
                  </a:lnTo>
                  <a:lnTo>
                    <a:pt x="432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72" name="Freeform: Shape 4066">
              <a:extLst>
                <a:ext uri="{FF2B5EF4-FFF2-40B4-BE49-F238E27FC236}">
                  <a16:creationId xmlns:a16="http://schemas.microsoft.com/office/drawing/2014/main" id="{78C9DCBE-9692-42BC-8DF9-DA5B119EA0C5}"/>
                </a:ext>
              </a:extLst>
            </p:cNvPr>
            <p:cNvSpPr/>
            <p:nvPr/>
          </p:nvSpPr>
          <p:spPr>
            <a:xfrm>
              <a:off x="10538965" y="4038066"/>
              <a:ext cx="3934" cy="11803"/>
            </a:xfrm>
            <a:custGeom>
              <a:avLst/>
              <a:gdLst>
                <a:gd name="connsiteX0" fmla="*/ 787 w 3934"/>
                <a:gd name="connsiteY0" fmla="*/ 1180 h 11802"/>
                <a:gd name="connsiteX1" fmla="*/ 393 w 3934"/>
                <a:gd name="connsiteY1" fmla="*/ 1967 h 11802"/>
                <a:gd name="connsiteX2" fmla="*/ 3148 w 3934"/>
                <a:gd name="connsiteY2" fmla="*/ 1180 h 11802"/>
                <a:gd name="connsiteX3" fmla="*/ 0 w 3934"/>
                <a:gd name="connsiteY3" fmla="*/ 3934 h 11802"/>
                <a:gd name="connsiteX4" fmla="*/ 0 w 3934"/>
                <a:gd name="connsiteY4" fmla="*/ 6688 h 11802"/>
                <a:gd name="connsiteX5" fmla="*/ 3148 w 3934"/>
                <a:gd name="connsiteY5" fmla="*/ 9442 h 11802"/>
                <a:gd name="connsiteX6" fmla="*/ 5901 w 3934"/>
                <a:gd name="connsiteY6" fmla="*/ 11803 h 11802"/>
                <a:gd name="connsiteX7" fmla="*/ 6294 w 3934"/>
                <a:gd name="connsiteY7" fmla="*/ 11016 h 11802"/>
                <a:gd name="connsiteX8" fmla="*/ 7082 w 3934"/>
                <a:gd name="connsiteY8" fmla="*/ 8262 h 11802"/>
                <a:gd name="connsiteX9" fmla="*/ 7082 w 3934"/>
                <a:gd name="connsiteY9" fmla="*/ 5115 h 11802"/>
                <a:gd name="connsiteX10" fmla="*/ 5901 w 3934"/>
                <a:gd name="connsiteY10" fmla="*/ 2361 h 11802"/>
                <a:gd name="connsiteX11" fmla="*/ 3148 w 3934"/>
                <a:gd name="connsiteY11" fmla="*/ 1180 h 11802"/>
                <a:gd name="connsiteX12" fmla="*/ 5115 w 3934"/>
                <a:gd name="connsiteY12" fmla="*/ 394 h 11802"/>
                <a:gd name="connsiteX13" fmla="*/ 3540 w 3934"/>
                <a:gd name="connsiteY13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934" h="11802">
                  <a:moveTo>
                    <a:pt x="787" y="1180"/>
                  </a:moveTo>
                  <a:lnTo>
                    <a:pt x="393" y="1967"/>
                  </a:lnTo>
                  <a:lnTo>
                    <a:pt x="3148" y="1180"/>
                  </a:lnTo>
                  <a:lnTo>
                    <a:pt x="0" y="3934"/>
                  </a:lnTo>
                  <a:lnTo>
                    <a:pt x="0" y="6688"/>
                  </a:lnTo>
                  <a:lnTo>
                    <a:pt x="3148" y="9442"/>
                  </a:lnTo>
                  <a:lnTo>
                    <a:pt x="5901" y="11803"/>
                  </a:lnTo>
                  <a:lnTo>
                    <a:pt x="6294" y="11016"/>
                  </a:lnTo>
                  <a:lnTo>
                    <a:pt x="7082" y="8262"/>
                  </a:lnTo>
                  <a:lnTo>
                    <a:pt x="7082" y="5115"/>
                  </a:lnTo>
                  <a:lnTo>
                    <a:pt x="5901" y="2361"/>
                  </a:lnTo>
                  <a:lnTo>
                    <a:pt x="3148" y="1180"/>
                  </a:lnTo>
                  <a:lnTo>
                    <a:pt x="5115" y="394"/>
                  </a:lnTo>
                  <a:lnTo>
                    <a:pt x="354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73" name="Freeform: Shape 4067">
              <a:extLst>
                <a:ext uri="{FF2B5EF4-FFF2-40B4-BE49-F238E27FC236}">
                  <a16:creationId xmlns:a16="http://schemas.microsoft.com/office/drawing/2014/main" id="{0D726DFF-2EDB-49B3-A71A-2A7D22D84839}"/>
                </a:ext>
              </a:extLst>
            </p:cNvPr>
            <p:cNvSpPr/>
            <p:nvPr/>
          </p:nvSpPr>
          <p:spPr>
            <a:xfrm>
              <a:off x="10613716" y="4029804"/>
              <a:ext cx="7869" cy="3934"/>
            </a:xfrm>
            <a:custGeom>
              <a:avLst/>
              <a:gdLst>
                <a:gd name="connsiteX0" fmla="*/ 5508 w 7868"/>
                <a:gd name="connsiteY0" fmla="*/ 393 h 0"/>
                <a:gd name="connsiteX1" fmla="*/ 2754 w 7868"/>
                <a:gd name="connsiteY1" fmla="*/ 0 h 0"/>
                <a:gd name="connsiteX2" fmla="*/ 0 w 7868"/>
                <a:gd name="connsiteY2" fmla="*/ 393 h 0"/>
                <a:gd name="connsiteX3" fmla="*/ 7869 w 7868"/>
                <a:gd name="connsiteY3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68">
                  <a:moveTo>
                    <a:pt x="5508" y="393"/>
                  </a:moveTo>
                  <a:lnTo>
                    <a:pt x="2754" y="0"/>
                  </a:lnTo>
                  <a:lnTo>
                    <a:pt x="0" y="393"/>
                  </a:lnTo>
                  <a:lnTo>
                    <a:pt x="7869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74" name="Freeform: Shape 4068">
              <a:extLst>
                <a:ext uri="{FF2B5EF4-FFF2-40B4-BE49-F238E27FC236}">
                  <a16:creationId xmlns:a16="http://schemas.microsoft.com/office/drawing/2014/main" id="{FF67BB21-270C-44A3-869D-24FB9C29585E}"/>
                </a:ext>
              </a:extLst>
            </p:cNvPr>
            <p:cNvSpPr/>
            <p:nvPr/>
          </p:nvSpPr>
          <p:spPr>
            <a:xfrm>
              <a:off x="10567292" y="4024689"/>
              <a:ext cx="3934" cy="3934"/>
            </a:xfrm>
            <a:custGeom>
              <a:avLst/>
              <a:gdLst>
                <a:gd name="connsiteX0" fmla="*/ 2754 w 0"/>
                <a:gd name="connsiteY0" fmla="*/ 6295 h 3934"/>
                <a:gd name="connsiteX1" fmla="*/ 2754 w 0"/>
                <a:gd name="connsiteY1" fmla="*/ 5901 h 3934"/>
                <a:gd name="connsiteX2" fmla="*/ 2361 w 0"/>
                <a:gd name="connsiteY2" fmla="*/ 3147 h 3934"/>
                <a:gd name="connsiteX3" fmla="*/ 0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2754" y="6295"/>
                  </a:moveTo>
                  <a:lnTo>
                    <a:pt x="2754" y="5901"/>
                  </a:lnTo>
                  <a:lnTo>
                    <a:pt x="2361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75" name="Freeform: Shape 4069">
              <a:extLst>
                <a:ext uri="{FF2B5EF4-FFF2-40B4-BE49-F238E27FC236}">
                  <a16:creationId xmlns:a16="http://schemas.microsoft.com/office/drawing/2014/main" id="{E38CDE29-2A48-40A8-8B0D-057BDBA8999D}"/>
                </a:ext>
              </a:extLst>
            </p:cNvPr>
            <p:cNvSpPr/>
            <p:nvPr/>
          </p:nvSpPr>
          <p:spPr>
            <a:xfrm>
              <a:off x="10551161" y="4029804"/>
              <a:ext cx="3934" cy="3934"/>
            </a:xfrm>
            <a:custGeom>
              <a:avLst/>
              <a:gdLst>
                <a:gd name="connsiteX0" fmla="*/ 2361 w 3934"/>
                <a:gd name="connsiteY0" fmla="*/ 1180 h 0"/>
                <a:gd name="connsiteX1" fmla="*/ 5115 w 3934"/>
                <a:gd name="connsiteY1" fmla="*/ 0 h 0"/>
                <a:gd name="connsiteX2" fmla="*/ 0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2361" y="1180"/>
                  </a:moveTo>
                  <a:lnTo>
                    <a:pt x="511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76" name="Freeform: Shape 4070">
              <a:extLst>
                <a:ext uri="{FF2B5EF4-FFF2-40B4-BE49-F238E27FC236}">
                  <a16:creationId xmlns:a16="http://schemas.microsoft.com/office/drawing/2014/main" id="{F8138A20-7F93-4511-BC2F-884E5941AAFB}"/>
                </a:ext>
              </a:extLst>
            </p:cNvPr>
            <p:cNvSpPr/>
            <p:nvPr/>
          </p:nvSpPr>
          <p:spPr>
            <a:xfrm>
              <a:off x="10559423" y="4020755"/>
              <a:ext cx="3934" cy="3934"/>
            </a:xfrm>
            <a:custGeom>
              <a:avLst/>
              <a:gdLst>
                <a:gd name="connsiteX0" fmla="*/ 2754 w 0"/>
                <a:gd name="connsiteY0" fmla="*/ 0 h 3934"/>
                <a:gd name="connsiteX1" fmla="*/ 787 w 0"/>
                <a:gd name="connsiteY1" fmla="*/ 3147 h 3934"/>
                <a:gd name="connsiteX2" fmla="*/ 0 w 0"/>
                <a:gd name="connsiteY2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2754" y="0"/>
                  </a:moveTo>
                  <a:lnTo>
                    <a:pt x="787" y="3147"/>
                  </a:lnTo>
                  <a:lnTo>
                    <a:pt x="0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77" name="Freeform: Shape 4071">
              <a:extLst>
                <a:ext uri="{FF2B5EF4-FFF2-40B4-BE49-F238E27FC236}">
                  <a16:creationId xmlns:a16="http://schemas.microsoft.com/office/drawing/2014/main" id="{1F7E1C54-D0FE-412F-BE34-0089576E99F1}"/>
                </a:ext>
              </a:extLst>
            </p:cNvPr>
            <p:cNvSpPr/>
            <p:nvPr/>
          </p:nvSpPr>
          <p:spPr>
            <a:xfrm>
              <a:off x="10568078" y="4012100"/>
              <a:ext cx="3934" cy="11803"/>
            </a:xfrm>
            <a:custGeom>
              <a:avLst/>
              <a:gdLst>
                <a:gd name="connsiteX0" fmla="*/ 1180 w 3934"/>
                <a:gd name="connsiteY0" fmla="*/ 1574 h 11802"/>
                <a:gd name="connsiteX1" fmla="*/ 0 w 3934"/>
                <a:gd name="connsiteY1" fmla="*/ 4328 h 11802"/>
                <a:gd name="connsiteX2" fmla="*/ 3148 w 3934"/>
                <a:gd name="connsiteY2" fmla="*/ 5508 h 11802"/>
                <a:gd name="connsiteX3" fmla="*/ 2361 w 3934"/>
                <a:gd name="connsiteY3" fmla="*/ 8262 h 11802"/>
                <a:gd name="connsiteX4" fmla="*/ 787 w 3934"/>
                <a:gd name="connsiteY4" fmla="*/ 11409 h 11802"/>
                <a:gd name="connsiteX5" fmla="*/ 3148 w 3934"/>
                <a:gd name="connsiteY5" fmla="*/ 14163 h 11802"/>
                <a:gd name="connsiteX6" fmla="*/ 2361 w 3934"/>
                <a:gd name="connsiteY6" fmla="*/ 11803 h 11802"/>
                <a:gd name="connsiteX7" fmla="*/ 2754 w 3934"/>
                <a:gd name="connsiteY7" fmla="*/ 9049 h 11802"/>
                <a:gd name="connsiteX8" fmla="*/ 3934 w 3934"/>
                <a:gd name="connsiteY8" fmla="*/ 5901 h 11802"/>
                <a:gd name="connsiteX9" fmla="*/ 3148 w 3934"/>
                <a:gd name="connsiteY9" fmla="*/ 3147 h 11802"/>
                <a:gd name="connsiteX10" fmla="*/ 4328 w 3934"/>
                <a:gd name="connsiteY10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4" h="11802">
                  <a:moveTo>
                    <a:pt x="1180" y="1574"/>
                  </a:moveTo>
                  <a:lnTo>
                    <a:pt x="0" y="4328"/>
                  </a:lnTo>
                  <a:lnTo>
                    <a:pt x="3148" y="5508"/>
                  </a:lnTo>
                  <a:lnTo>
                    <a:pt x="2361" y="8262"/>
                  </a:lnTo>
                  <a:lnTo>
                    <a:pt x="787" y="11409"/>
                  </a:lnTo>
                  <a:lnTo>
                    <a:pt x="3148" y="14163"/>
                  </a:lnTo>
                  <a:lnTo>
                    <a:pt x="2361" y="11803"/>
                  </a:lnTo>
                  <a:lnTo>
                    <a:pt x="2754" y="9049"/>
                  </a:lnTo>
                  <a:lnTo>
                    <a:pt x="3934" y="5901"/>
                  </a:lnTo>
                  <a:lnTo>
                    <a:pt x="3148" y="3147"/>
                  </a:lnTo>
                  <a:lnTo>
                    <a:pt x="432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78" name="Freeform: Shape 4072">
              <a:extLst>
                <a:ext uri="{FF2B5EF4-FFF2-40B4-BE49-F238E27FC236}">
                  <a16:creationId xmlns:a16="http://schemas.microsoft.com/office/drawing/2014/main" id="{4102A2C2-F6F5-4E3B-93C2-840544D97016}"/>
                </a:ext>
              </a:extLst>
            </p:cNvPr>
            <p:cNvSpPr/>
            <p:nvPr/>
          </p:nvSpPr>
          <p:spPr>
            <a:xfrm>
              <a:off x="10564144" y="4017214"/>
              <a:ext cx="3934" cy="3934"/>
            </a:xfrm>
            <a:custGeom>
              <a:avLst/>
              <a:gdLst>
                <a:gd name="connsiteX0" fmla="*/ 1967 w 0"/>
                <a:gd name="connsiteY0" fmla="*/ 5508 h 3934"/>
                <a:gd name="connsiteX1" fmla="*/ 2754 w 0"/>
                <a:gd name="connsiteY1" fmla="*/ 2754 h 3934"/>
                <a:gd name="connsiteX2" fmla="*/ 3148 w 0"/>
                <a:gd name="connsiteY2" fmla="*/ 0 h 3934"/>
                <a:gd name="connsiteX3" fmla="*/ 0 w 0"/>
                <a:gd name="connsiteY3" fmla="*/ 668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967" y="5508"/>
                  </a:moveTo>
                  <a:lnTo>
                    <a:pt x="2754" y="2754"/>
                  </a:lnTo>
                  <a:lnTo>
                    <a:pt x="3148" y="0"/>
                  </a:lnTo>
                  <a:lnTo>
                    <a:pt x="0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79" name="Freeform: Shape 4073">
              <a:extLst>
                <a:ext uri="{FF2B5EF4-FFF2-40B4-BE49-F238E27FC236}">
                  <a16:creationId xmlns:a16="http://schemas.microsoft.com/office/drawing/2014/main" id="{0FE5D48F-56AD-40E5-9D2B-2DF18CF2A871}"/>
                </a:ext>
              </a:extLst>
            </p:cNvPr>
            <p:cNvSpPr/>
            <p:nvPr/>
          </p:nvSpPr>
          <p:spPr>
            <a:xfrm>
              <a:off x="10540538" y="4015641"/>
              <a:ext cx="3934" cy="3934"/>
            </a:xfrm>
            <a:custGeom>
              <a:avLst/>
              <a:gdLst>
                <a:gd name="connsiteX0" fmla="*/ 2361 w 3934"/>
                <a:gd name="connsiteY0" fmla="*/ 1574 h 3934"/>
                <a:gd name="connsiteX1" fmla="*/ 0 w 3934"/>
                <a:gd name="connsiteY1" fmla="*/ 3934 h 3934"/>
                <a:gd name="connsiteX2" fmla="*/ 5509 w 3934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2361" y="1574"/>
                  </a:moveTo>
                  <a:lnTo>
                    <a:pt x="0" y="3934"/>
                  </a:lnTo>
                  <a:lnTo>
                    <a:pt x="5509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80" name="Freeform: Shape 4074">
              <a:extLst>
                <a:ext uri="{FF2B5EF4-FFF2-40B4-BE49-F238E27FC236}">
                  <a16:creationId xmlns:a16="http://schemas.microsoft.com/office/drawing/2014/main" id="{3216FE4A-7991-4801-934D-BE22F3BD38AC}"/>
                </a:ext>
              </a:extLst>
            </p:cNvPr>
            <p:cNvSpPr/>
            <p:nvPr/>
          </p:nvSpPr>
          <p:spPr>
            <a:xfrm>
              <a:off x="10562963" y="4014854"/>
              <a:ext cx="3934" cy="3934"/>
            </a:xfrm>
            <a:custGeom>
              <a:avLst/>
              <a:gdLst>
                <a:gd name="connsiteX0" fmla="*/ 1574 w 0"/>
                <a:gd name="connsiteY0" fmla="*/ 0 h 3934"/>
                <a:gd name="connsiteX1" fmla="*/ 0 w 0"/>
                <a:gd name="connsiteY1" fmla="*/ 2754 h 3934"/>
                <a:gd name="connsiteX2" fmla="*/ 1574 w 0"/>
                <a:gd name="connsiteY2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574" y="0"/>
                  </a:moveTo>
                  <a:lnTo>
                    <a:pt x="0" y="2754"/>
                  </a:lnTo>
                  <a:lnTo>
                    <a:pt x="1574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81" name="Freeform: Shape 4075">
              <a:extLst>
                <a:ext uri="{FF2B5EF4-FFF2-40B4-BE49-F238E27FC236}">
                  <a16:creationId xmlns:a16="http://schemas.microsoft.com/office/drawing/2014/main" id="{3098017A-68A5-4596-B086-13579EC88CBE}"/>
                </a:ext>
              </a:extLst>
            </p:cNvPr>
            <p:cNvSpPr/>
            <p:nvPr/>
          </p:nvSpPr>
          <p:spPr>
            <a:xfrm>
              <a:off x="10538965" y="4009739"/>
              <a:ext cx="7869" cy="3934"/>
            </a:xfrm>
            <a:custGeom>
              <a:avLst/>
              <a:gdLst>
                <a:gd name="connsiteX0" fmla="*/ 6688 w 7868"/>
                <a:gd name="connsiteY0" fmla="*/ 1967 h 3934"/>
                <a:gd name="connsiteX1" fmla="*/ 3934 w 7868"/>
                <a:gd name="connsiteY1" fmla="*/ 0 h 3934"/>
                <a:gd name="connsiteX2" fmla="*/ 787 w 7868"/>
                <a:gd name="connsiteY2" fmla="*/ 1967 h 3934"/>
                <a:gd name="connsiteX3" fmla="*/ 0 w 7868"/>
                <a:gd name="connsiteY3" fmla="*/ 4721 h 3934"/>
                <a:gd name="connsiteX4" fmla="*/ 393 w 7868"/>
                <a:gd name="connsiteY4" fmla="*/ 5508 h 3934"/>
                <a:gd name="connsiteX5" fmla="*/ 9442 w 7868"/>
                <a:gd name="connsiteY5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6688" y="1967"/>
                  </a:moveTo>
                  <a:lnTo>
                    <a:pt x="3934" y="0"/>
                  </a:lnTo>
                  <a:lnTo>
                    <a:pt x="787" y="1967"/>
                  </a:lnTo>
                  <a:lnTo>
                    <a:pt x="0" y="4721"/>
                  </a:lnTo>
                  <a:lnTo>
                    <a:pt x="393" y="5508"/>
                  </a:lnTo>
                  <a:lnTo>
                    <a:pt x="9442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82" name="Freeform: Shape 4076">
              <a:extLst>
                <a:ext uri="{FF2B5EF4-FFF2-40B4-BE49-F238E27FC236}">
                  <a16:creationId xmlns:a16="http://schemas.microsoft.com/office/drawing/2014/main" id="{E9860794-4B87-4E5D-BEB3-3CEA2E542248}"/>
                </a:ext>
              </a:extLst>
            </p:cNvPr>
            <p:cNvSpPr/>
            <p:nvPr/>
          </p:nvSpPr>
          <p:spPr>
            <a:xfrm>
              <a:off x="10559817" y="4008165"/>
              <a:ext cx="3934" cy="3934"/>
            </a:xfrm>
            <a:custGeom>
              <a:avLst/>
              <a:gdLst>
                <a:gd name="connsiteX0" fmla="*/ 0 w 3934"/>
                <a:gd name="connsiteY0" fmla="*/ 1180 h 3934"/>
                <a:gd name="connsiteX1" fmla="*/ 5114 w 3934"/>
                <a:gd name="connsiteY1" fmla="*/ 5508 h 3934"/>
                <a:gd name="connsiteX2" fmla="*/ 5114 w 3934"/>
                <a:gd name="connsiteY2" fmla="*/ 3147 h 3934"/>
                <a:gd name="connsiteX3" fmla="*/ 2754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0" y="1180"/>
                  </a:moveTo>
                  <a:lnTo>
                    <a:pt x="5114" y="5508"/>
                  </a:lnTo>
                  <a:lnTo>
                    <a:pt x="5114" y="314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83" name="Freeform: Shape 4077">
              <a:extLst>
                <a:ext uri="{FF2B5EF4-FFF2-40B4-BE49-F238E27FC236}">
                  <a16:creationId xmlns:a16="http://schemas.microsoft.com/office/drawing/2014/main" id="{EFD697A6-4371-4841-BEE3-7F864B29D339}"/>
                </a:ext>
              </a:extLst>
            </p:cNvPr>
            <p:cNvSpPr/>
            <p:nvPr/>
          </p:nvSpPr>
          <p:spPr>
            <a:xfrm>
              <a:off x="10686500" y="3910596"/>
              <a:ext cx="35408" cy="47211"/>
            </a:xfrm>
            <a:custGeom>
              <a:avLst/>
              <a:gdLst>
                <a:gd name="connsiteX0" fmla="*/ 1967 w 35408"/>
                <a:gd name="connsiteY0" fmla="*/ 3147 h 47211"/>
                <a:gd name="connsiteX1" fmla="*/ 1573 w 35408"/>
                <a:gd name="connsiteY1" fmla="*/ 5901 h 47211"/>
                <a:gd name="connsiteX2" fmla="*/ 393 w 35408"/>
                <a:gd name="connsiteY2" fmla="*/ 9049 h 47211"/>
                <a:gd name="connsiteX3" fmla="*/ 0 w 35408"/>
                <a:gd name="connsiteY3" fmla="*/ 11803 h 47211"/>
                <a:gd name="connsiteX4" fmla="*/ 1180 w 35408"/>
                <a:gd name="connsiteY4" fmla="*/ 14557 h 47211"/>
                <a:gd name="connsiteX5" fmla="*/ 787 w 35408"/>
                <a:gd name="connsiteY5" fmla="*/ 17311 h 47211"/>
                <a:gd name="connsiteX6" fmla="*/ 3148 w 35408"/>
                <a:gd name="connsiteY6" fmla="*/ 20065 h 47211"/>
                <a:gd name="connsiteX7" fmla="*/ 6294 w 35408"/>
                <a:gd name="connsiteY7" fmla="*/ 22819 h 47211"/>
                <a:gd name="connsiteX8" fmla="*/ 7082 w 35408"/>
                <a:gd name="connsiteY8" fmla="*/ 25966 h 47211"/>
                <a:gd name="connsiteX9" fmla="*/ 7869 w 35408"/>
                <a:gd name="connsiteY9" fmla="*/ 26753 h 47211"/>
                <a:gd name="connsiteX10" fmla="*/ 13770 w 35408"/>
                <a:gd name="connsiteY10" fmla="*/ 35408 h 47211"/>
                <a:gd name="connsiteX11" fmla="*/ 13770 w 35408"/>
                <a:gd name="connsiteY11" fmla="*/ 35408 h 47211"/>
                <a:gd name="connsiteX12" fmla="*/ 12983 w 35408"/>
                <a:gd name="connsiteY12" fmla="*/ 38556 h 47211"/>
                <a:gd name="connsiteX13" fmla="*/ 14557 w 35408"/>
                <a:gd name="connsiteY13" fmla="*/ 41310 h 47211"/>
                <a:gd name="connsiteX14" fmla="*/ 16524 w 35408"/>
                <a:gd name="connsiteY14" fmla="*/ 44457 h 47211"/>
                <a:gd name="connsiteX15" fmla="*/ 19278 w 35408"/>
                <a:gd name="connsiteY15" fmla="*/ 46424 h 47211"/>
                <a:gd name="connsiteX16" fmla="*/ 22425 w 35408"/>
                <a:gd name="connsiteY16" fmla="*/ 47998 h 47211"/>
                <a:gd name="connsiteX17" fmla="*/ 22819 w 35408"/>
                <a:gd name="connsiteY17" fmla="*/ 48391 h 47211"/>
                <a:gd name="connsiteX18" fmla="*/ 25573 w 35408"/>
                <a:gd name="connsiteY18" fmla="*/ 48391 h 47211"/>
                <a:gd name="connsiteX19" fmla="*/ 28327 w 35408"/>
                <a:gd name="connsiteY19" fmla="*/ 47998 h 47211"/>
                <a:gd name="connsiteX20" fmla="*/ 31474 w 35408"/>
                <a:gd name="connsiteY20" fmla="*/ 45637 h 47211"/>
                <a:gd name="connsiteX21" fmla="*/ 34622 w 35408"/>
                <a:gd name="connsiteY21" fmla="*/ 46424 h 47211"/>
                <a:gd name="connsiteX22" fmla="*/ 35408 w 35408"/>
                <a:gd name="connsiteY22" fmla="*/ 43277 h 47211"/>
                <a:gd name="connsiteX23" fmla="*/ 34622 w 35408"/>
                <a:gd name="connsiteY23" fmla="*/ 40523 h 47211"/>
                <a:gd name="connsiteX24" fmla="*/ 34622 w 35408"/>
                <a:gd name="connsiteY24" fmla="*/ 37376 h 47211"/>
                <a:gd name="connsiteX25" fmla="*/ 34622 w 35408"/>
                <a:gd name="connsiteY25" fmla="*/ 37376 h 47211"/>
                <a:gd name="connsiteX26" fmla="*/ 32655 w 35408"/>
                <a:gd name="connsiteY26" fmla="*/ 34228 h 47211"/>
                <a:gd name="connsiteX27" fmla="*/ 30294 w 35408"/>
                <a:gd name="connsiteY27" fmla="*/ 31474 h 47211"/>
                <a:gd name="connsiteX28" fmla="*/ 28327 w 35408"/>
                <a:gd name="connsiteY28" fmla="*/ 28327 h 47211"/>
                <a:gd name="connsiteX29" fmla="*/ 26753 w 35408"/>
                <a:gd name="connsiteY29" fmla="*/ 25573 h 47211"/>
                <a:gd name="connsiteX30" fmla="*/ 23998 w 35408"/>
                <a:gd name="connsiteY30" fmla="*/ 25179 h 47211"/>
                <a:gd name="connsiteX31" fmla="*/ 21245 w 35408"/>
                <a:gd name="connsiteY31" fmla="*/ 23212 h 47211"/>
                <a:gd name="connsiteX32" fmla="*/ 20458 w 35408"/>
                <a:gd name="connsiteY32" fmla="*/ 20458 h 47211"/>
                <a:gd name="connsiteX33" fmla="*/ 18885 w 35408"/>
                <a:gd name="connsiteY33" fmla="*/ 17704 h 47211"/>
                <a:gd name="connsiteX34" fmla="*/ 16130 w 35408"/>
                <a:gd name="connsiteY34" fmla="*/ 14950 h 47211"/>
                <a:gd name="connsiteX35" fmla="*/ 14163 w 35408"/>
                <a:gd name="connsiteY35" fmla="*/ 12196 h 47211"/>
                <a:gd name="connsiteX36" fmla="*/ 12983 w 35408"/>
                <a:gd name="connsiteY36" fmla="*/ 9049 h 47211"/>
                <a:gd name="connsiteX37" fmla="*/ 12196 w 35408"/>
                <a:gd name="connsiteY37" fmla="*/ 6295 h 47211"/>
                <a:gd name="connsiteX38" fmla="*/ 9049 w 35408"/>
                <a:gd name="connsiteY38" fmla="*/ 3541 h 47211"/>
                <a:gd name="connsiteX39" fmla="*/ 6294 w 35408"/>
                <a:gd name="connsiteY39" fmla="*/ 3934 h 47211"/>
                <a:gd name="connsiteX40" fmla="*/ 3148 w 35408"/>
                <a:gd name="connsiteY40" fmla="*/ 1574 h 47211"/>
                <a:gd name="connsiteX41" fmla="*/ 0 w 35408"/>
                <a:gd name="connsiteY41" fmla="*/ 0 h 4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35408" h="47211">
                  <a:moveTo>
                    <a:pt x="1967" y="3147"/>
                  </a:moveTo>
                  <a:lnTo>
                    <a:pt x="1573" y="5901"/>
                  </a:lnTo>
                  <a:lnTo>
                    <a:pt x="393" y="9049"/>
                  </a:lnTo>
                  <a:lnTo>
                    <a:pt x="0" y="11803"/>
                  </a:lnTo>
                  <a:lnTo>
                    <a:pt x="1180" y="14557"/>
                  </a:lnTo>
                  <a:lnTo>
                    <a:pt x="787" y="17311"/>
                  </a:lnTo>
                  <a:lnTo>
                    <a:pt x="3148" y="20065"/>
                  </a:lnTo>
                  <a:lnTo>
                    <a:pt x="6294" y="22819"/>
                  </a:lnTo>
                  <a:lnTo>
                    <a:pt x="7082" y="25966"/>
                  </a:lnTo>
                  <a:lnTo>
                    <a:pt x="7869" y="26753"/>
                  </a:lnTo>
                  <a:lnTo>
                    <a:pt x="13770" y="35408"/>
                  </a:lnTo>
                  <a:lnTo>
                    <a:pt x="13770" y="35408"/>
                  </a:lnTo>
                  <a:lnTo>
                    <a:pt x="12983" y="38556"/>
                  </a:lnTo>
                  <a:lnTo>
                    <a:pt x="14557" y="41310"/>
                  </a:lnTo>
                  <a:lnTo>
                    <a:pt x="16524" y="44457"/>
                  </a:lnTo>
                  <a:lnTo>
                    <a:pt x="19278" y="46424"/>
                  </a:lnTo>
                  <a:lnTo>
                    <a:pt x="22425" y="47998"/>
                  </a:lnTo>
                  <a:lnTo>
                    <a:pt x="22819" y="48391"/>
                  </a:lnTo>
                  <a:lnTo>
                    <a:pt x="25573" y="48391"/>
                  </a:lnTo>
                  <a:lnTo>
                    <a:pt x="28327" y="47998"/>
                  </a:lnTo>
                  <a:lnTo>
                    <a:pt x="31474" y="45637"/>
                  </a:lnTo>
                  <a:lnTo>
                    <a:pt x="34622" y="46424"/>
                  </a:lnTo>
                  <a:lnTo>
                    <a:pt x="35408" y="43277"/>
                  </a:lnTo>
                  <a:lnTo>
                    <a:pt x="34622" y="40523"/>
                  </a:lnTo>
                  <a:lnTo>
                    <a:pt x="34622" y="37376"/>
                  </a:lnTo>
                  <a:lnTo>
                    <a:pt x="34622" y="37376"/>
                  </a:lnTo>
                  <a:lnTo>
                    <a:pt x="32655" y="34228"/>
                  </a:lnTo>
                  <a:lnTo>
                    <a:pt x="30294" y="31474"/>
                  </a:lnTo>
                  <a:lnTo>
                    <a:pt x="28327" y="28327"/>
                  </a:lnTo>
                  <a:lnTo>
                    <a:pt x="26753" y="25573"/>
                  </a:lnTo>
                  <a:lnTo>
                    <a:pt x="23998" y="25179"/>
                  </a:lnTo>
                  <a:lnTo>
                    <a:pt x="21245" y="23212"/>
                  </a:lnTo>
                  <a:lnTo>
                    <a:pt x="20458" y="20458"/>
                  </a:lnTo>
                  <a:lnTo>
                    <a:pt x="18885" y="17704"/>
                  </a:lnTo>
                  <a:lnTo>
                    <a:pt x="16130" y="14950"/>
                  </a:lnTo>
                  <a:lnTo>
                    <a:pt x="14163" y="12196"/>
                  </a:lnTo>
                  <a:lnTo>
                    <a:pt x="12983" y="9049"/>
                  </a:lnTo>
                  <a:lnTo>
                    <a:pt x="12196" y="6295"/>
                  </a:lnTo>
                  <a:lnTo>
                    <a:pt x="9049" y="3541"/>
                  </a:lnTo>
                  <a:lnTo>
                    <a:pt x="6294" y="3934"/>
                  </a:lnTo>
                  <a:lnTo>
                    <a:pt x="3148" y="15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84" name="Freeform: Shape 4078">
              <a:extLst>
                <a:ext uri="{FF2B5EF4-FFF2-40B4-BE49-F238E27FC236}">
                  <a16:creationId xmlns:a16="http://schemas.microsoft.com/office/drawing/2014/main" id="{F4E2D231-5475-44AC-B2E2-EA3860FD8674}"/>
                </a:ext>
              </a:extLst>
            </p:cNvPr>
            <p:cNvSpPr/>
            <p:nvPr/>
          </p:nvSpPr>
          <p:spPr>
            <a:xfrm>
              <a:off x="10560210" y="4058524"/>
              <a:ext cx="3934" cy="3934"/>
            </a:xfrm>
            <a:custGeom>
              <a:avLst/>
              <a:gdLst>
                <a:gd name="connsiteX0" fmla="*/ 2754 w 3934"/>
                <a:gd name="connsiteY0" fmla="*/ 2754 h 3934"/>
                <a:gd name="connsiteX1" fmla="*/ 4328 w 3934"/>
                <a:gd name="connsiteY1" fmla="*/ 3934 h 3934"/>
                <a:gd name="connsiteX2" fmla="*/ 0 w 3934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2754" y="2754"/>
                  </a:moveTo>
                  <a:lnTo>
                    <a:pt x="4328" y="393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85" name="Freeform: Shape 4079">
              <a:extLst>
                <a:ext uri="{FF2B5EF4-FFF2-40B4-BE49-F238E27FC236}">
                  <a16:creationId xmlns:a16="http://schemas.microsoft.com/office/drawing/2014/main" id="{AF15119F-53F0-4C8E-B32E-14BE87616956}"/>
                </a:ext>
              </a:extLst>
            </p:cNvPr>
            <p:cNvSpPr/>
            <p:nvPr/>
          </p:nvSpPr>
          <p:spPr>
            <a:xfrm>
              <a:off x="10548014" y="4043967"/>
              <a:ext cx="11803" cy="11803"/>
            </a:xfrm>
            <a:custGeom>
              <a:avLst/>
              <a:gdLst>
                <a:gd name="connsiteX0" fmla="*/ 2754 w 11802"/>
                <a:gd name="connsiteY0" fmla="*/ 9049 h 11802"/>
                <a:gd name="connsiteX1" fmla="*/ 5508 w 11802"/>
                <a:gd name="connsiteY1" fmla="*/ 10229 h 11802"/>
                <a:gd name="connsiteX2" fmla="*/ 8655 w 11802"/>
                <a:gd name="connsiteY2" fmla="*/ 10229 h 11802"/>
                <a:gd name="connsiteX3" fmla="*/ 11803 w 11802"/>
                <a:gd name="connsiteY3" fmla="*/ 12196 h 11802"/>
                <a:gd name="connsiteX4" fmla="*/ 12196 w 11802"/>
                <a:gd name="connsiteY4" fmla="*/ 12196 h 11802"/>
                <a:gd name="connsiteX5" fmla="*/ 13770 w 11802"/>
                <a:gd name="connsiteY5" fmla="*/ 9049 h 11802"/>
                <a:gd name="connsiteX6" fmla="*/ 13376 w 11802"/>
                <a:gd name="connsiteY6" fmla="*/ 6295 h 11802"/>
                <a:gd name="connsiteX7" fmla="*/ 11803 w 11802"/>
                <a:gd name="connsiteY7" fmla="*/ 3148 h 11802"/>
                <a:gd name="connsiteX8" fmla="*/ 9048 w 11802"/>
                <a:gd name="connsiteY8" fmla="*/ 2754 h 11802"/>
                <a:gd name="connsiteX9" fmla="*/ 5901 w 11802"/>
                <a:gd name="connsiteY9" fmla="*/ 1574 h 11802"/>
                <a:gd name="connsiteX10" fmla="*/ 3147 w 11802"/>
                <a:gd name="connsiteY10" fmla="*/ 0 h 11802"/>
                <a:gd name="connsiteX11" fmla="*/ 0 w 11802"/>
                <a:gd name="connsiteY11" fmla="*/ 1180 h 11802"/>
                <a:gd name="connsiteX12" fmla="*/ 787 w 11802"/>
                <a:gd name="connsiteY12" fmla="*/ 4328 h 11802"/>
                <a:gd name="connsiteX13" fmla="*/ 2360 w 11802"/>
                <a:gd name="connsiteY13" fmla="*/ 7082 h 11802"/>
                <a:gd name="connsiteX14" fmla="*/ 0 w 11802"/>
                <a:gd name="connsiteY14" fmla="*/ 9836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802" h="11802">
                  <a:moveTo>
                    <a:pt x="2754" y="9049"/>
                  </a:moveTo>
                  <a:lnTo>
                    <a:pt x="5508" y="10229"/>
                  </a:lnTo>
                  <a:lnTo>
                    <a:pt x="8655" y="10229"/>
                  </a:lnTo>
                  <a:lnTo>
                    <a:pt x="11803" y="12196"/>
                  </a:lnTo>
                  <a:lnTo>
                    <a:pt x="12196" y="12196"/>
                  </a:lnTo>
                  <a:lnTo>
                    <a:pt x="13770" y="9049"/>
                  </a:lnTo>
                  <a:lnTo>
                    <a:pt x="13376" y="6295"/>
                  </a:lnTo>
                  <a:lnTo>
                    <a:pt x="11803" y="3148"/>
                  </a:lnTo>
                  <a:lnTo>
                    <a:pt x="9048" y="2754"/>
                  </a:lnTo>
                  <a:lnTo>
                    <a:pt x="5901" y="1574"/>
                  </a:lnTo>
                  <a:lnTo>
                    <a:pt x="3147" y="0"/>
                  </a:lnTo>
                  <a:lnTo>
                    <a:pt x="0" y="1180"/>
                  </a:lnTo>
                  <a:lnTo>
                    <a:pt x="787" y="4328"/>
                  </a:lnTo>
                  <a:lnTo>
                    <a:pt x="2360" y="7082"/>
                  </a:lnTo>
                  <a:lnTo>
                    <a:pt x="0" y="983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86" name="Freeform: Shape 4080">
              <a:extLst>
                <a:ext uri="{FF2B5EF4-FFF2-40B4-BE49-F238E27FC236}">
                  <a16:creationId xmlns:a16="http://schemas.microsoft.com/office/drawing/2014/main" id="{09A27811-B0C0-4DF6-B155-430941CFAC85}"/>
                </a:ext>
              </a:extLst>
            </p:cNvPr>
            <p:cNvSpPr/>
            <p:nvPr/>
          </p:nvSpPr>
          <p:spPr>
            <a:xfrm>
              <a:off x="10597585" y="4045148"/>
              <a:ext cx="3934" cy="3934"/>
            </a:xfrm>
            <a:custGeom>
              <a:avLst/>
              <a:gdLst>
                <a:gd name="connsiteX0" fmla="*/ 0 w 0"/>
                <a:gd name="connsiteY0" fmla="*/ 3934 h 3934"/>
                <a:gd name="connsiteX1" fmla="*/ 394 w 0"/>
                <a:gd name="connsiteY1" fmla="*/ 787 h 3934"/>
                <a:gd name="connsiteX2" fmla="*/ 0 w 0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0" y="3934"/>
                  </a:moveTo>
                  <a:lnTo>
                    <a:pt x="394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87" name="Freeform: Shape 4081">
              <a:extLst>
                <a:ext uri="{FF2B5EF4-FFF2-40B4-BE49-F238E27FC236}">
                  <a16:creationId xmlns:a16="http://schemas.microsoft.com/office/drawing/2014/main" id="{3A0DF79A-DD8F-4657-AD88-C7BAF5DD8C3A}"/>
                </a:ext>
              </a:extLst>
            </p:cNvPr>
            <p:cNvSpPr/>
            <p:nvPr/>
          </p:nvSpPr>
          <p:spPr>
            <a:xfrm>
              <a:off x="10856460" y="4008559"/>
              <a:ext cx="15737" cy="43277"/>
            </a:xfrm>
            <a:custGeom>
              <a:avLst/>
              <a:gdLst>
                <a:gd name="connsiteX0" fmla="*/ 1180 w 15737"/>
                <a:gd name="connsiteY0" fmla="*/ 14950 h 43276"/>
                <a:gd name="connsiteX1" fmla="*/ 1967 w 15737"/>
                <a:gd name="connsiteY1" fmla="*/ 17704 h 43276"/>
                <a:gd name="connsiteX2" fmla="*/ 3148 w 15737"/>
                <a:gd name="connsiteY2" fmla="*/ 20852 h 43276"/>
                <a:gd name="connsiteX3" fmla="*/ 3148 w 15737"/>
                <a:gd name="connsiteY3" fmla="*/ 23606 h 43276"/>
                <a:gd name="connsiteX4" fmla="*/ 4328 w 15737"/>
                <a:gd name="connsiteY4" fmla="*/ 26360 h 43276"/>
                <a:gd name="connsiteX5" fmla="*/ 5115 w 15737"/>
                <a:gd name="connsiteY5" fmla="*/ 28327 h 43276"/>
                <a:gd name="connsiteX6" fmla="*/ 7869 w 15737"/>
                <a:gd name="connsiteY6" fmla="*/ 31081 h 43276"/>
                <a:gd name="connsiteX7" fmla="*/ 9836 w 15737"/>
                <a:gd name="connsiteY7" fmla="*/ 34228 h 43276"/>
                <a:gd name="connsiteX8" fmla="*/ 12589 w 15737"/>
                <a:gd name="connsiteY8" fmla="*/ 35802 h 43276"/>
                <a:gd name="connsiteX9" fmla="*/ 14950 w 15737"/>
                <a:gd name="connsiteY9" fmla="*/ 38556 h 43276"/>
                <a:gd name="connsiteX10" fmla="*/ 16131 w 15737"/>
                <a:gd name="connsiteY10" fmla="*/ 41703 h 43276"/>
                <a:gd name="connsiteX11" fmla="*/ 18098 w 15737"/>
                <a:gd name="connsiteY11" fmla="*/ 44457 h 43276"/>
                <a:gd name="connsiteX12" fmla="*/ 19278 w 15737"/>
                <a:gd name="connsiteY12" fmla="*/ 41703 h 43276"/>
                <a:gd name="connsiteX13" fmla="*/ 18098 w 15737"/>
                <a:gd name="connsiteY13" fmla="*/ 38556 h 43276"/>
                <a:gd name="connsiteX14" fmla="*/ 17310 w 15737"/>
                <a:gd name="connsiteY14" fmla="*/ 35802 h 43276"/>
                <a:gd name="connsiteX15" fmla="*/ 15737 w 15737"/>
                <a:gd name="connsiteY15" fmla="*/ 33048 h 43276"/>
                <a:gd name="connsiteX16" fmla="*/ 17310 w 15737"/>
                <a:gd name="connsiteY16" fmla="*/ 30294 h 43276"/>
                <a:gd name="connsiteX17" fmla="*/ 16131 w 15737"/>
                <a:gd name="connsiteY17" fmla="*/ 27540 h 43276"/>
                <a:gd name="connsiteX18" fmla="*/ 14950 w 15737"/>
                <a:gd name="connsiteY18" fmla="*/ 24392 h 43276"/>
                <a:gd name="connsiteX19" fmla="*/ 14164 w 15737"/>
                <a:gd name="connsiteY19" fmla="*/ 21245 h 43276"/>
                <a:gd name="connsiteX20" fmla="*/ 11409 w 15737"/>
                <a:gd name="connsiteY20" fmla="*/ 18491 h 43276"/>
                <a:gd name="connsiteX21" fmla="*/ 8262 w 15737"/>
                <a:gd name="connsiteY21" fmla="*/ 16524 h 43276"/>
                <a:gd name="connsiteX22" fmla="*/ 9049 w 15737"/>
                <a:gd name="connsiteY22" fmla="*/ 13377 h 43276"/>
                <a:gd name="connsiteX23" fmla="*/ 11016 w 15737"/>
                <a:gd name="connsiteY23" fmla="*/ 10623 h 43276"/>
                <a:gd name="connsiteX24" fmla="*/ 9049 w 15737"/>
                <a:gd name="connsiteY24" fmla="*/ 7869 h 43276"/>
                <a:gd name="connsiteX25" fmla="*/ 7082 w 15737"/>
                <a:gd name="connsiteY25" fmla="*/ 4721 h 43276"/>
                <a:gd name="connsiteX26" fmla="*/ 6295 w 15737"/>
                <a:gd name="connsiteY26" fmla="*/ 1967 h 43276"/>
                <a:gd name="connsiteX27" fmla="*/ 3148 w 15737"/>
                <a:gd name="connsiteY27" fmla="*/ 0 h 43276"/>
                <a:gd name="connsiteX28" fmla="*/ 394 w 15737"/>
                <a:gd name="connsiteY28" fmla="*/ 394 h 43276"/>
                <a:gd name="connsiteX29" fmla="*/ 0 w 15737"/>
                <a:gd name="connsiteY29" fmla="*/ 3148 h 43276"/>
                <a:gd name="connsiteX30" fmla="*/ 1967 w 15737"/>
                <a:gd name="connsiteY30" fmla="*/ 6295 h 43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5737" h="43276">
                  <a:moveTo>
                    <a:pt x="1180" y="14950"/>
                  </a:moveTo>
                  <a:lnTo>
                    <a:pt x="1967" y="17704"/>
                  </a:lnTo>
                  <a:lnTo>
                    <a:pt x="3148" y="20852"/>
                  </a:lnTo>
                  <a:lnTo>
                    <a:pt x="3148" y="23606"/>
                  </a:lnTo>
                  <a:lnTo>
                    <a:pt x="4328" y="26360"/>
                  </a:lnTo>
                  <a:lnTo>
                    <a:pt x="5115" y="28327"/>
                  </a:lnTo>
                  <a:lnTo>
                    <a:pt x="7869" y="31081"/>
                  </a:lnTo>
                  <a:lnTo>
                    <a:pt x="9836" y="34228"/>
                  </a:lnTo>
                  <a:lnTo>
                    <a:pt x="12589" y="35802"/>
                  </a:lnTo>
                  <a:lnTo>
                    <a:pt x="14950" y="38556"/>
                  </a:lnTo>
                  <a:lnTo>
                    <a:pt x="16131" y="41703"/>
                  </a:lnTo>
                  <a:lnTo>
                    <a:pt x="18098" y="44457"/>
                  </a:lnTo>
                  <a:lnTo>
                    <a:pt x="19278" y="41703"/>
                  </a:lnTo>
                  <a:lnTo>
                    <a:pt x="18098" y="38556"/>
                  </a:lnTo>
                  <a:lnTo>
                    <a:pt x="17310" y="35802"/>
                  </a:lnTo>
                  <a:lnTo>
                    <a:pt x="15737" y="33048"/>
                  </a:lnTo>
                  <a:lnTo>
                    <a:pt x="17310" y="30294"/>
                  </a:lnTo>
                  <a:lnTo>
                    <a:pt x="16131" y="27540"/>
                  </a:lnTo>
                  <a:lnTo>
                    <a:pt x="14950" y="24392"/>
                  </a:lnTo>
                  <a:lnTo>
                    <a:pt x="14164" y="21245"/>
                  </a:lnTo>
                  <a:lnTo>
                    <a:pt x="11409" y="18491"/>
                  </a:lnTo>
                  <a:lnTo>
                    <a:pt x="8262" y="16524"/>
                  </a:lnTo>
                  <a:lnTo>
                    <a:pt x="9049" y="13377"/>
                  </a:lnTo>
                  <a:lnTo>
                    <a:pt x="11016" y="10623"/>
                  </a:lnTo>
                  <a:lnTo>
                    <a:pt x="9049" y="7869"/>
                  </a:lnTo>
                  <a:lnTo>
                    <a:pt x="7082" y="4721"/>
                  </a:lnTo>
                  <a:lnTo>
                    <a:pt x="6295" y="1967"/>
                  </a:lnTo>
                  <a:lnTo>
                    <a:pt x="3148" y="0"/>
                  </a:lnTo>
                  <a:lnTo>
                    <a:pt x="394" y="394"/>
                  </a:lnTo>
                  <a:lnTo>
                    <a:pt x="0" y="3148"/>
                  </a:lnTo>
                  <a:lnTo>
                    <a:pt x="1967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88" name="Freeform: Shape 4082">
              <a:extLst>
                <a:ext uri="{FF2B5EF4-FFF2-40B4-BE49-F238E27FC236}">
                  <a16:creationId xmlns:a16="http://schemas.microsoft.com/office/drawing/2014/main" id="{A1C305C5-FE84-41FC-8ED0-B20269C2065A}"/>
                </a:ext>
              </a:extLst>
            </p:cNvPr>
            <p:cNvSpPr/>
            <p:nvPr/>
          </p:nvSpPr>
          <p:spPr>
            <a:xfrm>
              <a:off x="10875737" y="4045934"/>
              <a:ext cx="3934" cy="11803"/>
            </a:xfrm>
            <a:custGeom>
              <a:avLst/>
              <a:gdLst>
                <a:gd name="connsiteX0" fmla="*/ 0 w 3934"/>
                <a:gd name="connsiteY0" fmla="*/ 8655 h 11802"/>
                <a:gd name="connsiteX1" fmla="*/ 2755 w 3934"/>
                <a:gd name="connsiteY1" fmla="*/ 10229 h 11802"/>
                <a:gd name="connsiteX2" fmla="*/ 3934 w 3934"/>
                <a:gd name="connsiteY2" fmla="*/ 13377 h 11802"/>
                <a:gd name="connsiteX3" fmla="*/ 4722 w 3934"/>
                <a:gd name="connsiteY3" fmla="*/ 11803 h 11802"/>
                <a:gd name="connsiteX4" fmla="*/ 4722 w 3934"/>
                <a:gd name="connsiteY4" fmla="*/ 8655 h 11802"/>
                <a:gd name="connsiteX5" fmla="*/ 3934 w 3934"/>
                <a:gd name="connsiteY5" fmla="*/ 5901 h 11802"/>
                <a:gd name="connsiteX6" fmla="*/ 2755 w 3934"/>
                <a:gd name="connsiteY6" fmla="*/ 3148 h 11802"/>
                <a:gd name="connsiteX7" fmla="*/ 0 w 3934"/>
                <a:gd name="connsiteY7" fmla="*/ 0 h 11802"/>
                <a:gd name="connsiteX8" fmla="*/ 394 w 3934"/>
                <a:gd name="connsiteY8" fmla="*/ 2754 h 11802"/>
                <a:gd name="connsiteX9" fmla="*/ 0 w 3934"/>
                <a:gd name="connsiteY9" fmla="*/ 5508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11802">
                  <a:moveTo>
                    <a:pt x="0" y="8655"/>
                  </a:moveTo>
                  <a:lnTo>
                    <a:pt x="2755" y="10229"/>
                  </a:lnTo>
                  <a:lnTo>
                    <a:pt x="3934" y="13377"/>
                  </a:lnTo>
                  <a:lnTo>
                    <a:pt x="4722" y="11803"/>
                  </a:lnTo>
                  <a:lnTo>
                    <a:pt x="4722" y="8655"/>
                  </a:lnTo>
                  <a:lnTo>
                    <a:pt x="3934" y="5901"/>
                  </a:lnTo>
                  <a:lnTo>
                    <a:pt x="2755" y="3148"/>
                  </a:lnTo>
                  <a:lnTo>
                    <a:pt x="0" y="0"/>
                  </a:lnTo>
                  <a:lnTo>
                    <a:pt x="394" y="2754"/>
                  </a:lnTo>
                  <a:lnTo>
                    <a:pt x="0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89" name="Freeform: Shape 4083">
              <a:extLst>
                <a:ext uri="{FF2B5EF4-FFF2-40B4-BE49-F238E27FC236}">
                  <a16:creationId xmlns:a16="http://schemas.microsoft.com/office/drawing/2014/main" id="{65FD57E1-C060-4D26-B1F2-248446C7533D}"/>
                </a:ext>
              </a:extLst>
            </p:cNvPr>
            <p:cNvSpPr/>
            <p:nvPr/>
          </p:nvSpPr>
          <p:spPr>
            <a:xfrm>
              <a:off x="10842690" y="4036099"/>
              <a:ext cx="3934" cy="3934"/>
            </a:xfrm>
            <a:custGeom>
              <a:avLst/>
              <a:gdLst>
                <a:gd name="connsiteX0" fmla="*/ 1967 w 3934"/>
                <a:gd name="connsiteY0" fmla="*/ 1574 h 0"/>
                <a:gd name="connsiteX1" fmla="*/ 5115 w 3934"/>
                <a:gd name="connsiteY1" fmla="*/ 0 h 0"/>
                <a:gd name="connsiteX2" fmla="*/ 1967 w 3934"/>
                <a:gd name="connsiteY2" fmla="*/ 0 h 0"/>
                <a:gd name="connsiteX3" fmla="*/ 0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967" y="1574"/>
                  </a:moveTo>
                  <a:lnTo>
                    <a:pt x="5115" y="0"/>
                  </a:lnTo>
                  <a:lnTo>
                    <a:pt x="1967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90" name="Freeform: Shape 4084">
              <a:extLst>
                <a:ext uri="{FF2B5EF4-FFF2-40B4-BE49-F238E27FC236}">
                  <a16:creationId xmlns:a16="http://schemas.microsoft.com/office/drawing/2014/main" id="{D6A543BF-0915-4AF0-B7B6-5C9AD04EC8B2}"/>
                </a:ext>
              </a:extLst>
            </p:cNvPr>
            <p:cNvSpPr/>
            <p:nvPr/>
          </p:nvSpPr>
          <p:spPr>
            <a:xfrm>
              <a:off x="10840329" y="4031771"/>
              <a:ext cx="3934" cy="3934"/>
            </a:xfrm>
            <a:custGeom>
              <a:avLst/>
              <a:gdLst>
                <a:gd name="connsiteX0" fmla="*/ 3148 w 3934"/>
                <a:gd name="connsiteY0" fmla="*/ 4721 h 3934"/>
                <a:gd name="connsiteX1" fmla="*/ 3934 w 3934"/>
                <a:gd name="connsiteY1" fmla="*/ 3147 h 3934"/>
                <a:gd name="connsiteX2" fmla="*/ 3148 w 3934"/>
                <a:gd name="connsiteY2" fmla="*/ 393 h 3934"/>
                <a:gd name="connsiteX3" fmla="*/ 0 w 3934"/>
                <a:gd name="connsiteY3" fmla="*/ 0 h 3934"/>
                <a:gd name="connsiteX4" fmla="*/ 394 w 3934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148" y="4721"/>
                  </a:moveTo>
                  <a:lnTo>
                    <a:pt x="3934" y="3147"/>
                  </a:lnTo>
                  <a:lnTo>
                    <a:pt x="3148" y="393"/>
                  </a:lnTo>
                  <a:lnTo>
                    <a:pt x="0" y="0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91" name="Freeform: Shape 4085">
              <a:extLst>
                <a:ext uri="{FF2B5EF4-FFF2-40B4-BE49-F238E27FC236}">
                  <a16:creationId xmlns:a16="http://schemas.microsoft.com/office/drawing/2014/main" id="{02DADBF3-0105-47E9-AAD2-1C44EA40F487}"/>
                </a:ext>
              </a:extLst>
            </p:cNvPr>
            <p:cNvSpPr/>
            <p:nvPr/>
          </p:nvSpPr>
          <p:spPr>
            <a:xfrm>
              <a:off x="10861968" y="4007379"/>
              <a:ext cx="3934" cy="3934"/>
            </a:xfrm>
            <a:custGeom>
              <a:avLst/>
              <a:gdLst>
                <a:gd name="connsiteX0" fmla="*/ 1574 w 0"/>
                <a:gd name="connsiteY0" fmla="*/ 3147 h 3934"/>
                <a:gd name="connsiteX1" fmla="*/ 0 w 0"/>
                <a:gd name="connsiteY1" fmla="*/ 0 h 3934"/>
                <a:gd name="connsiteX2" fmla="*/ 1967 w 0"/>
                <a:gd name="connsiteY2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574" y="3147"/>
                  </a:moveTo>
                  <a:lnTo>
                    <a:pt x="0" y="0"/>
                  </a:lnTo>
                  <a:lnTo>
                    <a:pt x="1967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92" name="Freeform: Shape 4086">
              <a:extLst>
                <a:ext uri="{FF2B5EF4-FFF2-40B4-BE49-F238E27FC236}">
                  <a16:creationId xmlns:a16="http://schemas.microsoft.com/office/drawing/2014/main" id="{D8C42F95-4B2D-431F-9D19-8827A0DBB7F7}"/>
                </a:ext>
              </a:extLst>
            </p:cNvPr>
            <p:cNvSpPr/>
            <p:nvPr/>
          </p:nvSpPr>
          <p:spPr>
            <a:xfrm>
              <a:off x="10863935" y="4012493"/>
              <a:ext cx="3934" cy="3934"/>
            </a:xfrm>
            <a:custGeom>
              <a:avLst/>
              <a:gdLst>
                <a:gd name="connsiteX0" fmla="*/ 394 w 0"/>
                <a:gd name="connsiteY0" fmla="*/ 1180 h 0"/>
                <a:gd name="connsiteX1" fmla="*/ 0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1180"/>
                  </a:moveTo>
                  <a:lnTo>
                    <a:pt x="0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93" name="Freeform: Shape 4087">
              <a:extLst>
                <a:ext uri="{FF2B5EF4-FFF2-40B4-BE49-F238E27FC236}">
                  <a16:creationId xmlns:a16="http://schemas.microsoft.com/office/drawing/2014/main" id="{C6AD9647-B9AE-42F6-ABF5-4F642CEDF508}"/>
                </a:ext>
              </a:extLst>
            </p:cNvPr>
            <p:cNvSpPr/>
            <p:nvPr/>
          </p:nvSpPr>
          <p:spPr>
            <a:xfrm>
              <a:off x="7218839" y="3921218"/>
              <a:ext cx="7869" cy="23606"/>
            </a:xfrm>
            <a:custGeom>
              <a:avLst/>
              <a:gdLst>
                <a:gd name="connsiteX0" fmla="*/ 1574 w 7868"/>
                <a:gd name="connsiteY0" fmla="*/ 18491 h 23605"/>
                <a:gd name="connsiteX1" fmla="*/ 2754 w 7868"/>
                <a:gd name="connsiteY1" fmla="*/ 17704 h 23605"/>
                <a:gd name="connsiteX2" fmla="*/ 5901 w 7868"/>
                <a:gd name="connsiteY2" fmla="*/ 20458 h 23605"/>
                <a:gd name="connsiteX3" fmla="*/ 7869 w 7868"/>
                <a:gd name="connsiteY3" fmla="*/ 23606 h 23605"/>
                <a:gd name="connsiteX4" fmla="*/ 10622 w 7868"/>
                <a:gd name="connsiteY4" fmla="*/ 23999 h 23605"/>
                <a:gd name="connsiteX5" fmla="*/ 11409 w 7868"/>
                <a:gd name="connsiteY5" fmla="*/ 22819 h 23605"/>
                <a:gd name="connsiteX6" fmla="*/ 10622 w 7868"/>
                <a:gd name="connsiteY6" fmla="*/ 19671 h 23605"/>
                <a:gd name="connsiteX7" fmla="*/ 10229 w 7868"/>
                <a:gd name="connsiteY7" fmla="*/ 16524 h 23605"/>
                <a:gd name="connsiteX8" fmla="*/ 9836 w 7868"/>
                <a:gd name="connsiteY8" fmla="*/ 13770 h 23605"/>
                <a:gd name="connsiteX9" fmla="*/ 8262 w 7868"/>
                <a:gd name="connsiteY9" fmla="*/ 14557 h 23605"/>
                <a:gd name="connsiteX10" fmla="*/ 6295 w 7868"/>
                <a:gd name="connsiteY10" fmla="*/ 9442 h 23605"/>
                <a:gd name="connsiteX11" fmla="*/ 5901 w 7868"/>
                <a:gd name="connsiteY11" fmla="*/ 8655 h 23605"/>
                <a:gd name="connsiteX12" fmla="*/ 5114 w 7868"/>
                <a:gd name="connsiteY12" fmla="*/ 5508 h 23605"/>
                <a:gd name="connsiteX13" fmla="*/ 5508 w 7868"/>
                <a:gd name="connsiteY13" fmla="*/ 2754 h 23605"/>
                <a:gd name="connsiteX14" fmla="*/ 4328 w 7868"/>
                <a:gd name="connsiteY14" fmla="*/ 0 h 23605"/>
                <a:gd name="connsiteX15" fmla="*/ 3147 w 7868"/>
                <a:gd name="connsiteY15" fmla="*/ 2754 h 23605"/>
                <a:gd name="connsiteX16" fmla="*/ 2360 w 7868"/>
                <a:gd name="connsiteY16" fmla="*/ 4328 h 23605"/>
                <a:gd name="connsiteX17" fmla="*/ 0 w 7868"/>
                <a:gd name="connsiteY17" fmla="*/ 7082 h 23605"/>
                <a:gd name="connsiteX18" fmla="*/ 393 w 7868"/>
                <a:gd name="connsiteY18" fmla="*/ 9442 h 23605"/>
                <a:gd name="connsiteX19" fmla="*/ 787 w 7868"/>
                <a:gd name="connsiteY19" fmla="*/ 12589 h 23605"/>
                <a:gd name="connsiteX20" fmla="*/ 393 w 7868"/>
                <a:gd name="connsiteY20" fmla="*/ 15737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868" h="23605">
                  <a:moveTo>
                    <a:pt x="1574" y="18491"/>
                  </a:moveTo>
                  <a:lnTo>
                    <a:pt x="2754" y="17704"/>
                  </a:lnTo>
                  <a:lnTo>
                    <a:pt x="5901" y="20458"/>
                  </a:lnTo>
                  <a:lnTo>
                    <a:pt x="7869" y="23606"/>
                  </a:lnTo>
                  <a:lnTo>
                    <a:pt x="10622" y="23999"/>
                  </a:lnTo>
                  <a:lnTo>
                    <a:pt x="11409" y="22819"/>
                  </a:lnTo>
                  <a:lnTo>
                    <a:pt x="10622" y="19671"/>
                  </a:lnTo>
                  <a:lnTo>
                    <a:pt x="10229" y="16524"/>
                  </a:lnTo>
                  <a:lnTo>
                    <a:pt x="9836" y="13770"/>
                  </a:lnTo>
                  <a:lnTo>
                    <a:pt x="8262" y="14557"/>
                  </a:lnTo>
                  <a:lnTo>
                    <a:pt x="6295" y="9442"/>
                  </a:lnTo>
                  <a:lnTo>
                    <a:pt x="5901" y="8655"/>
                  </a:lnTo>
                  <a:lnTo>
                    <a:pt x="5114" y="5508"/>
                  </a:lnTo>
                  <a:lnTo>
                    <a:pt x="5508" y="2754"/>
                  </a:lnTo>
                  <a:lnTo>
                    <a:pt x="4328" y="0"/>
                  </a:lnTo>
                  <a:lnTo>
                    <a:pt x="3147" y="2754"/>
                  </a:lnTo>
                  <a:lnTo>
                    <a:pt x="2360" y="4328"/>
                  </a:lnTo>
                  <a:lnTo>
                    <a:pt x="0" y="7082"/>
                  </a:lnTo>
                  <a:lnTo>
                    <a:pt x="393" y="9442"/>
                  </a:lnTo>
                  <a:lnTo>
                    <a:pt x="787" y="12589"/>
                  </a:lnTo>
                  <a:lnTo>
                    <a:pt x="393" y="1573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94" name="Freeform: Shape 4088">
              <a:extLst>
                <a:ext uri="{FF2B5EF4-FFF2-40B4-BE49-F238E27FC236}">
                  <a16:creationId xmlns:a16="http://schemas.microsoft.com/office/drawing/2014/main" id="{38CC7CA9-6E95-45CF-ADFA-1E5D8800A8FA}"/>
                </a:ext>
              </a:extLst>
            </p:cNvPr>
            <p:cNvSpPr/>
            <p:nvPr/>
          </p:nvSpPr>
          <p:spPr>
            <a:xfrm>
              <a:off x="6426085" y="3925153"/>
              <a:ext cx="3934" cy="3934"/>
            </a:xfrm>
            <a:custGeom>
              <a:avLst/>
              <a:gdLst>
                <a:gd name="connsiteX0" fmla="*/ 1574 w 3934"/>
                <a:gd name="connsiteY0" fmla="*/ 0 h 0"/>
                <a:gd name="connsiteX1" fmla="*/ 0 w 3934"/>
                <a:gd name="connsiteY1" fmla="*/ 2754 h 0"/>
                <a:gd name="connsiteX2" fmla="*/ 1574 w 3934"/>
                <a:gd name="connsiteY2" fmla="*/ 1574 h 0"/>
                <a:gd name="connsiteX3" fmla="*/ 4328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574" y="0"/>
                  </a:moveTo>
                  <a:lnTo>
                    <a:pt x="0" y="2754"/>
                  </a:lnTo>
                  <a:lnTo>
                    <a:pt x="1574" y="1574"/>
                  </a:lnTo>
                  <a:lnTo>
                    <a:pt x="432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95" name="Freeform: Shape 4089">
              <a:extLst>
                <a:ext uri="{FF2B5EF4-FFF2-40B4-BE49-F238E27FC236}">
                  <a16:creationId xmlns:a16="http://schemas.microsoft.com/office/drawing/2014/main" id="{9EE5C9B7-AFDE-4064-B193-C1D64A188E05}"/>
                </a:ext>
              </a:extLst>
            </p:cNvPr>
            <p:cNvSpPr/>
            <p:nvPr/>
          </p:nvSpPr>
          <p:spPr>
            <a:xfrm>
              <a:off x="7482435" y="4175765"/>
              <a:ext cx="3934" cy="3934"/>
            </a:xfrm>
            <a:custGeom>
              <a:avLst/>
              <a:gdLst>
                <a:gd name="connsiteX0" fmla="*/ 4721 w 3934"/>
                <a:gd name="connsiteY0" fmla="*/ 5901 h 3934"/>
                <a:gd name="connsiteX1" fmla="*/ 4328 w 3934"/>
                <a:gd name="connsiteY1" fmla="*/ 2754 h 3934"/>
                <a:gd name="connsiteX2" fmla="*/ 1967 w 3934"/>
                <a:gd name="connsiteY2" fmla="*/ 0 h 3934"/>
                <a:gd name="connsiteX3" fmla="*/ 0 w 3934"/>
                <a:gd name="connsiteY3" fmla="*/ 2754 h 3934"/>
                <a:gd name="connsiteX4" fmla="*/ 787 w 3934"/>
                <a:gd name="connsiteY4" fmla="*/ 5901 h 3934"/>
                <a:gd name="connsiteX5" fmla="*/ 3934 w 3934"/>
                <a:gd name="connsiteY5" fmla="*/ 668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4721" y="5901"/>
                  </a:moveTo>
                  <a:lnTo>
                    <a:pt x="4328" y="2754"/>
                  </a:lnTo>
                  <a:lnTo>
                    <a:pt x="1967" y="0"/>
                  </a:lnTo>
                  <a:lnTo>
                    <a:pt x="0" y="2754"/>
                  </a:lnTo>
                  <a:lnTo>
                    <a:pt x="787" y="5901"/>
                  </a:lnTo>
                  <a:lnTo>
                    <a:pt x="3934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96" name="Freeform: Shape 4090">
              <a:extLst>
                <a:ext uri="{FF2B5EF4-FFF2-40B4-BE49-F238E27FC236}">
                  <a16:creationId xmlns:a16="http://schemas.microsoft.com/office/drawing/2014/main" id="{4A5728D1-35B9-4558-92EB-E878F0004BD3}"/>
                </a:ext>
              </a:extLst>
            </p:cNvPr>
            <p:cNvSpPr/>
            <p:nvPr/>
          </p:nvSpPr>
          <p:spPr>
            <a:xfrm>
              <a:off x="7232609" y="3892892"/>
              <a:ext cx="3934" cy="15737"/>
            </a:xfrm>
            <a:custGeom>
              <a:avLst/>
              <a:gdLst>
                <a:gd name="connsiteX0" fmla="*/ 6688 w 3934"/>
                <a:gd name="connsiteY0" fmla="*/ 9836 h 15737"/>
                <a:gd name="connsiteX1" fmla="*/ 7081 w 3934"/>
                <a:gd name="connsiteY1" fmla="*/ 2754 h 15737"/>
                <a:gd name="connsiteX2" fmla="*/ 7081 w 3934"/>
                <a:gd name="connsiteY2" fmla="*/ 2360 h 15737"/>
                <a:gd name="connsiteX3" fmla="*/ 4328 w 3934"/>
                <a:gd name="connsiteY3" fmla="*/ 1180 h 15737"/>
                <a:gd name="connsiteX4" fmla="*/ 1574 w 3934"/>
                <a:gd name="connsiteY4" fmla="*/ 0 h 15737"/>
                <a:gd name="connsiteX5" fmla="*/ 1180 w 3934"/>
                <a:gd name="connsiteY5" fmla="*/ 2754 h 15737"/>
                <a:gd name="connsiteX6" fmla="*/ 1967 w 3934"/>
                <a:gd name="connsiteY6" fmla="*/ 4721 h 15737"/>
                <a:gd name="connsiteX7" fmla="*/ 1967 w 3934"/>
                <a:gd name="connsiteY7" fmla="*/ 6688 h 15737"/>
                <a:gd name="connsiteX8" fmla="*/ 3147 w 3934"/>
                <a:gd name="connsiteY8" fmla="*/ 9442 h 15737"/>
                <a:gd name="connsiteX9" fmla="*/ 787 w 3934"/>
                <a:gd name="connsiteY9" fmla="*/ 9836 h 15737"/>
                <a:gd name="connsiteX10" fmla="*/ 3541 w 3934"/>
                <a:gd name="connsiteY10" fmla="*/ 11803 h 15737"/>
                <a:gd name="connsiteX11" fmla="*/ 787 w 3934"/>
                <a:gd name="connsiteY11" fmla="*/ 14557 h 15737"/>
                <a:gd name="connsiteX12" fmla="*/ 0 w 3934"/>
                <a:gd name="connsiteY12" fmla="*/ 17311 h 15737"/>
                <a:gd name="connsiteX13" fmla="*/ 3147 w 3934"/>
                <a:gd name="connsiteY13" fmla="*/ 18491 h 15737"/>
                <a:gd name="connsiteX14" fmla="*/ 4721 w 3934"/>
                <a:gd name="connsiteY14" fmla="*/ 15737 h 15737"/>
                <a:gd name="connsiteX15" fmla="*/ 6295 w 3934"/>
                <a:gd name="connsiteY15" fmla="*/ 12983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34" h="15737">
                  <a:moveTo>
                    <a:pt x="6688" y="9836"/>
                  </a:moveTo>
                  <a:lnTo>
                    <a:pt x="7081" y="2754"/>
                  </a:lnTo>
                  <a:lnTo>
                    <a:pt x="7081" y="2360"/>
                  </a:lnTo>
                  <a:lnTo>
                    <a:pt x="4328" y="1180"/>
                  </a:lnTo>
                  <a:lnTo>
                    <a:pt x="1574" y="0"/>
                  </a:lnTo>
                  <a:lnTo>
                    <a:pt x="1180" y="2754"/>
                  </a:lnTo>
                  <a:lnTo>
                    <a:pt x="1967" y="4721"/>
                  </a:lnTo>
                  <a:lnTo>
                    <a:pt x="1967" y="6688"/>
                  </a:lnTo>
                  <a:lnTo>
                    <a:pt x="3147" y="9442"/>
                  </a:lnTo>
                  <a:lnTo>
                    <a:pt x="787" y="9836"/>
                  </a:lnTo>
                  <a:lnTo>
                    <a:pt x="3541" y="11803"/>
                  </a:lnTo>
                  <a:lnTo>
                    <a:pt x="787" y="14557"/>
                  </a:lnTo>
                  <a:lnTo>
                    <a:pt x="0" y="17311"/>
                  </a:lnTo>
                  <a:lnTo>
                    <a:pt x="3147" y="18491"/>
                  </a:lnTo>
                  <a:lnTo>
                    <a:pt x="4721" y="15737"/>
                  </a:lnTo>
                  <a:lnTo>
                    <a:pt x="6295" y="1298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97" name="Freeform: Shape 4091">
              <a:extLst>
                <a:ext uri="{FF2B5EF4-FFF2-40B4-BE49-F238E27FC236}">
                  <a16:creationId xmlns:a16="http://schemas.microsoft.com/office/drawing/2014/main" id="{1C8C8289-F4B0-4CF3-B1A0-EA6374438624}"/>
                </a:ext>
              </a:extLst>
            </p:cNvPr>
            <p:cNvSpPr/>
            <p:nvPr/>
          </p:nvSpPr>
          <p:spPr>
            <a:xfrm>
              <a:off x="7231822" y="3988101"/>
              <a:ext cx="3934" cy="7869"/>
            </a:xfrm>
            <a:custGeom>
              <a:avLst/>
              <a:gdLst>
                <a:gd name="connsiteX0" fmla="*/ 1574 w 3934"/>
                <a:gd name="connsiteY0" fmla="*/ 3934 h 7868"/>
                <a:gd name="connsiteX1" fmla="*/ 0 w 3934"/>
                <a:gd name="connsiteY1" fmla="*/ 6688 h 7868"/>
                <a:gd name="connsiteX2" fmla="*/ 0 w 3934"/>
                <a:gd name="connsiteY2" fmla="*/ 9442 h 7868"/>
                <a:gd name="connsiteX3" fmla="*/ 2754 w 3934"/>
                <a:gd name="connsiteY3" fmla="*/ 7475 h 7868"/>
                <a:gd name="connsiteX4" fmla="*/ 5901 w 3934"/>
                <a:gd name="connsiteY4" fmla="*/ 5508 h 7868"/>
                <a:gd name="connsiteX5" fmla="*/ 7082 w 3934"/>
                <a:gd name="connsiteY5" fmla="*/ 2754 h 7868"/>
                <a:gd name="connsiteX6" fmla="*/ 6295 w 3934"/>
                <a:gd name="connsiteY6" fmla="*/ 0 h 7868"/>
                <a:gd name="connsiteX7" fmla="*/ 4328 w 3934"/>
                <a:gd name="connsiteY7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1574" y="3934"/>
                  </a:moveTo>
                  <a:lnTo>
                    <a:pt x="0" y="6688"/>
                  </a:lnTo>
                  <a:lnTo>
                    <a:pt x="0" y="9442"/>
                  </a:lnTo>
                  <a:lnTo>
                    <a:pt x="2754" y="7475"/>
                  </a:lnTo>
                  <a:lnTo>
                    <a:pt x="5901" y="5508"/>
                  </a:lnTo>
                  <a:lnTo>
                    <a:pt x="7082" y="2754"/>
                  </a:lnTo>
                  <a:lnTo>
                    <a:pt x="6295" y="0"/>
                  </a:lnTo>
                  <a:lnTo>
                    <a:pt x="432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98" name="Freeform: Shape 4092">
              <a:extLst>
                <a:ext uri="{FF2B5EF4-FFF2-40B4-BE49-F238E27FC236}">
                  <a16:creationId xmlns:a16="http://schemas.microsoft.com/office/drawing/2014/main" id="{AC517114-B3AE-4861-A0BD-1C15E7297B88}"/>
                </a:ext>
              </a:extLst>
            </p:cNvPr>
            <p:cNvSpPr/>
            <p:nvPr/>
          </p:nvSpPr>
          <p:spPr>
            <a:xfrm>
              <a:off x="7526105" y="4294186"/>
              <a:ext cx="3934" cy="7869"/>
            </a:xfrm>
            <a:custGeom>
              <a:avLst/>
              <a:gdLst>
                <a:gd name="connsiteX0" fmla="*/ 1574 w 3934"/>
                <a:gd name="connsiteY0" fmla="*/ 4721 h 7868"/>
                <a:gd name="connsiteX1" fmla="*/ 0 w 3934"/>
                <a:gd name="connsiteY1" fmla="*/ 7869 h 7868"/>
                <a:gd name="connsiteX2" fmla="*/ 393 w 3934"/>
                <a:gd name="connsiteY2" fmla="*/ 11016 h 7868"/>
                <a:gd name="connsiteX3" fmla="*/ 1967 w 3934"/>
                <a:gd name="connsiteY3" fmla="*/ 7869 h 7868"/>
                <a:gd name="connsiteX4" fmla="*/ 3148 w 3934"/>
                <a:gd name="connsiteY4" fmla="*/ 4721 h 7868"/>
                <a:gd name="connsiteX5" fmla="*/ 4721 w 3934"/>
                <a:gd name="connsiteY5" fmla="*/ 1967 h 7868"/>
                <a:gd name="connsiteX6" fmla="*/ 4721 w 3934"/>
                <a:gd name="connsiteY6" fmla="*/ 0 h 7868"/>
                <a:gd name="connsiteX7" fmla="*/ 3541 w 3934"/>
                <a:gd name="connsiteY7" fmla="*/ 196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1574" y="4721"/>
                  </a:moveTo>
                  <a:lnTo>
                    <a:pt x="0" y="7869"/>
                  </a:lnTo>
                  <a:lnTo>
                    <a:pt x="393" y="11016"/>
                  </a:lnTo>
                  <a:lnTo>
                    <a:pt x="1967" y="7869"/>
                  </a:lnTo>
                  <a:lnTo>
                    <a:pt x="3148" y="4721"/>
                  </a:lnTo>
                  <a:lnTo>
                    <a:pt x="4721" y="1967"/>
                  </a:lnTo>
                  <a:lnTo>
                    <a:pt x="4721" y="0"/>
                  </a:lnTo>
                  <a:lnTo>
                    <a:pt x="354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99" name="Freeform: Shape 4093">
              <a:extLst>
                <a:ext uri="{FF2B5EF4-FFF2-40B4-BE49-F238E27FC236}">
                  <a16:creationId xmlns:a16="http://schemas.microsoft.com/office/drawing/2014/main" id="{5A0CAE43-7C17-4740-A8B0-A9F954E018BF}"/>
                </a:ext>
              </a:extLst>
            </p:cNvPr>
            <p:cNvSpPr/>
            <p:nvPr/>
          </p:nvSpPr>
          <p:spPr>
            <a:xfrm>
              <a:off x="7320737" y="4133275"/>
              <a:ext cx="224253" cy="464243"/>
            </a:xfrm>
            <a:custGeom>
              <a:avLst/>
              <a:gdLst>
                <a:gd name="connsiteX0" fmla="*/ 219532 w 224253"/>
                <a:gd name="connsiteY0" fmla="*/ 70817 h 464243"/>
                <a:gd name="connsiteX1" fmla="*/ 218745 w 224253"/>
                <a:gd name="connsiteY1" fmla="*/ 67669 h 464243"/>
                <a:gd name="connsiteX2" fmla="*/ 219138 w 224253"/>
                <a:gd name="connsiteY2" fmla="*/ 64915 h 464243"/>
                <a:gd name="connsiteX3" fmla="*/ 218745 w 224253"/>
                <a:gd name="connsiteY3" fmla="*/ 61768 h 464243"/>
                <a:gd name="connsiteX4" fmla="*/ 217958 w 224253"/>
                <a:gd name="connsiteY4" fmla="*/ 59014 h 464243"/>
                <a:gd name="connsiteX5" fmla="*/ 217565 w 224253"/>
                <a:gd name="connsiteY5" fmla="*/ 55867 h 464243"/>
                <a:gd name="connsiteX6" fmla="*/ 216385 w 224253"/>
                <a:gd name="connsiteY6" fmla="*/ 53113 h 464243"/>
                <a:gd name="connsiteX7" fmla="*/ 215991 w 224253"/>
                <a:gd name="connsiteY7" fmla="*/ 50359 h 464243"/>
                <a:gd name="connsiteX8" fmla="*/ 215597 w 224253"/>
                <a:gd name="connsiteY8" fmla="*/ 47211 h 464243"/>
                <a:gd name="connsiteX9" fmla="*/ 214811 w 224253"/>
                <a:gd name="connsiteY9" fmla="*/ 44457 h 464243"/>
                <a:gd name="connsiteX10" fmla="*/ 213630 w 224253"/>
                <a:gd name="connsiteY10" fmla="*/ 41703 h 464243"/>
                <a:gd name="connsiteX11" fmla="*/ 214024 w 224253"/>
                <a:gd name="connsiteY11" fmla="*/ 40916 h 464243"/>
                <a:gd name="connsiteX12" fmla="*/ 214024 w 224253"/>
                <a:gd name="connsiteY12" fmla="*/ 40130 h 464243"/>
                <a:gd name="connsiteX13" fmla="*/ 214024 w 224253"/>
                <a:gd name="connsiteY13" fmla="*/ 39736 h 464243"/>
                <a:gd name="connsiteX14" fmla="*/ 214417 w 224253"/>
                <a:gd name="connsiteY14" fmla="*/ 38162 h 464243"/>
                <a:gd name="connsiteX15" fmla="*/ 213630 w 224253"/>
                <a:gd name="connsiteY15" fmla="*/ 35015 h 464243"/>
                <a:gd name="connsiteX16" fmla="*/ 213237 w 224253"/>
                <a:gd name="connsiteY16" fmla="*/ 33835 h 464243"/>
                <a:gd name="connsiteX17" fmla="*/ 213237 w 224253"/>
                <a:gd name="connsiteY17" fmla="*/ 33835 h 464243"/>
                <a:gd name="connsiteX18" fmla="*/ 212450 w 224253"/>
                <a:gd name="connsiteY18" fmla="*/ 32261 h 464243"/>
                <a:gd name="connsiteX19" fmla="*/ 212450 w 224253"/>
                <a:gd name="connsiteY19" fmla="*/ 31868 h 464243"/>
                <a:gd name="connsiteX20" fmla="*/ 209303 w 224253"/>
                <a:gd name="connsiteY20" fmla="*/ 26360 h 464243"/>
                <a:gd name="connsiteX21" fmla="*/ 208122 w 224253"/>
                <a:gd name="connsiteY21" fmla="*/ 27147 h 464243"/>
                <a:gd name="connsiteX22" fmla="*/ 204975 w 224253"/>
                <a:gd name="connsiteY22" fmla="*/ 19671 h 464243"/>
                <a:gd name="connsiteX23" fmla="*/ 204975 w 224253"/>
                <a:gd name="connsiteY23" fmla="*/ 19278 h 464243"/>
                <a:gd name="connsiteX24" fmla="*/ 204582 w 224253"/>
                <a:gd name="connsiteY24" fmla="*/ 18491 h 464243"/>
                <a:gd name="connsiteX25" fmla="*/ 203008 w 224253"/>
                <a:gd name="connsiteY25" fmla="*/ 14557 h 464243"/>
                <a:gd name="connsiteX26" fmla="*/ 203008 w 224253"/>
                <a:gd name="connsiteY26" fmla="*/ 12983 h 464243"/>
                <a:gd name="connsiteX27" fmla="*/ 201827 w 224253"/>
                <a:gd name="connsiteY27" fmla="*/ 12196 h 464243"/>
                <a:gd name="connsiteX28" fmla="*/ 201827 w 224253"/>
                <a:gd name="connsiteY28" fmla="*/ 12196 h 464243"/>
                <a:gd name="connsiteX29" fmla="*/ 201827 w 224253"/>
                <a:gd name="connsiteY29" fmla="*/ 12196 h 464243"/>
                <a:gd name="connsiteX30" fmla="*/ 200254 w 224253"/>
                <a:gd name="connsiteY30" fmla="*/ 11016 h 464243"/>
                <a:gd name="connsiteX31" fmla="*/ 199860 w 224253"/>
                <a:gd name="connsiteY31" fmla="*/ 9442 h 464243"/>
                <a:gd name="connsiteX32" fmla="*/ 202221 w 224253"/>
                <a:gd name="connsiteY32" fmla="*/ 11803 h 464243"/>
                <a:gd name="connsiteX33" fmla="*/ 198680 w 224253"/>
                <a:gd name="connsiteY33" fmla="*/ 3934 h 464243"/>
                <a:gd name="connsiteX34" fmla="*/ 198680 w 224253"/>
                <a:gd name="connsiteY34" fmla="*/ 3147 h 464243"/>
                <a:gd name="connsiteX35" fmla="*/ 197500 w 224253"/>
                <a:gd name="connsiteY35" fmla="*/ 394 h 464243"/>
                <a:gd name="connsiteX36" fmla="*/ 194746 w 224253"/>
                <a:gd name="connsiteY36" fmla="*/ 0 h 464243"/>
                <a:gd name="connsiteX37" fmla="*/ 192385 w 224253"/>
                <a:gd name="connsiteY37" fmla="*/ 3147 h 464243"/>
                <a:gd name="connsiteX38" fmla="*/ 190418 w 224253"/>
                <a:gd name="connsiteY38" fmla="*/ 9836 h 464243"/>
                <a:gd name="connsiteX39" fmla="*/ 189238 w 224253"/>
                <a:gd name="connsiteY39" fmla="*/ 10229 h 464243"/>
                <a:gd name="connsiteX40" fmla="*/ 186484 w 224253"/>
                <a:gd name="connsiteY40" fmla="*/ 12983 h 464243"/>
                <a:gd name="connsiteX41" fmla="*/ 184517 w 224253"/>
                <a:gd name="connsiteY41" fmla="*/ 15344 h 464243"/>
                <a:gd name="connsiteX42" fmla="*/ 181763 w 224253"/>
                <a:gd name="connsiteY42" fmla="*/ 16524 h 464243"/>
                <a:gd name="connsiteX43" fmla="*/ 180582 w 224253"/>
                <a:gd name="connsiteY43" fmla="*/ 16524 h 464243"/>
                <a:gd name="connsiteX44" fmla="*/ 183337 w 224253"/>
                <a:gd name="connsiteY44" fmla="*/ 20065 h 464243"/>
                <a:gd name="connsiteX45" fmla="*/ 182943 w 224253"/>
                <a:gd name="connsiteY45" fmla="*/ 21638 h 464243"/>
                <a:gd name="connsiteX46" fmla="*/ 184123 w 224253"/>
                <a:gd name="connsiteY46" fmla="*/ 24786 h 464243"/>
                <a:gd name="connsiteX47" fmla="*/ 184910 w 224253"/>
                <a:gd name="connsiteY47" fmla="*/ 26360 h 464243"/>
                <a:gd name="connsiteX48" fmla="*/ 184910 w 224253"/>
                <a:gd name="connsiteY48" fmla="*/ 27933 h 464243"/>
                <a:gd name="connsiteX49" fmla="*/ 185304 w 224253"/>
                <a:gd name="connsiteY49" fmla="*/ 26753 h 464243"/>
                <a:gd name="connsiteX50" fmla="*/ 185697 w 224253"/>
                <a:gd name="connsiteY50" fmla="*/ 27147 h 464243"/>
                <a:gd name="connsiteX51" fmla="*/ 185304 w 224253"/>
                <a:gd name="connsiteY51" fmla="*/ 29901 h 464243"/>
                <a:gd name="connsiteX52" fmla="*/ 184910 w 224253"/>
                <a:gd name="connsiteY52" fmla="*/ 30687 h 464243"/>
                <a:gd name="connsiteX53" fmla="*/ 185304 w 224253"/>
                <a:gd name="connsiteY53" fmla="*/ 27540 h 464243"/>
                <a:gd name="connsiteX54" fmla="*/ 183730 w 224253"/>
                <a:gd name="connsiteY54" fmla="*/ 33048 h 464243"/>
                <a:gd name="connsiteX55" fmla="*/ 182943 w 224253"/>
                <a:gd name="connsiteY55" fmla="*/ 34621 h 464243"/>
                <a:gd name="connsiteX56" fmla="*/ 182156 w 224253"/>
                <a:gd name="connsiteY56" fmla="*/ 36195 h 464243"/>
                <a:gd name="connsiteX57" fmla="*/ 181370 w 224253"/>
                <a:gd name="connsiteY57" fmla="*/ 37376 h 464243"/>
                <a:gd name="connsiteX58" fmla="*/ 180976 w 224253"/>
                <a:gd name="connsiteY58" fmla="*/ 39736 h 464243"/>
                <a:gd name="connsiteX59" fmla="*/ 180976 w 224253"/>
                <a:gd name="connsiteY59" fmla="*/ 40130 h 464243"/>
                <a:gd name="connsiteX60" fmla="*/ 181370 w 224253"/>
                <a:gd name="connsiteY60" fmla="*/ 43277 h 464243"/>
                <a:gd name="connsiteX61" fmla="*/ 180189 w 224253"/>
                <a:gd name="connsiteY61" fmla="*/ 44064 h 464243"/>
                <a:gd name="connsiteX62" fmla="*/ 180189 w 224253"/>
                <a:gd name="connsiteY62" fmla="*/ 44457 h 464243"/>
                <a:gd name="connsiteX63" fmla="*/ 175861 w 224253"/>
                <a:gd name="connsiteY63" fmla="*/ 48785 h 464243"/>
                <a:gd name="connsiteX64" fmla="*/ 173501 w 224253"/>
                <a:gd name="connsiteY64" fmla="*/ 48391 h 464243"/>
                <a:gd name="connsiteX65" fmla="*/ 170747 w 224253"/>
                <a:gd name="connsiteY65" fmla="*/ 48391 h 464243"/>
                <a:gd name="connsiteX66" fmla="*/ 171141 w 224253"/>
                <a:gd name="connsiteY66" fmla="*/ 51145 h 464243"/>
                <a:gd name="connsiteX67" fmla="*/ 168386 w 224253"/>
                <a:gd name="connsiteY67" fmla="*/ 51539 h 464243"/>
                <a:gd name="connsiteX68" fmla="*/ 166026 w 224253"/>
                <a:gd name="connsiteY68" fmla="*/ 55080 h 464243"/>
                <a:gd name="connsiteX69" fmla="*/ 165632 w 224253"/>
                <a:gd name="connsiteY69" fmla="*/ 57834 h 464243"/>
                <a:gd name="connsiteX70" fmla="*/ 164845 w 224253"/>
                <a:gd name="connsiteY70" fmla="*/ 60588 h 464243"/>
                <a:gd name="connsiteX71" fmla="*/ 164452 w 224253"/>
                <a:gd name="connsiteY71" fmla="*/ 60981 h 464243"/>
                <a:gd name="connsiteX72" fmla="*/ 161698 w 224253"/>
                <a:gd name="connsiteY72" fmla="*/ 60194 h 464243"/>
                <a:gd name="connsiteX73" fmla="*/ 160518 w 224253"/>
                <a:gd name="connsiteY73" fmla="*/ 57047 h 464243"/>
                <a:gd name="connsiteX74" fmla="*/ 158551 w 224253"/>
                <a:gd name="connsiteY74" fmla="*/ 54293 h 464243"/>
                <a:gd name="connsiteX75" fmla="*/ 157764 w 224253"/>
                <a:gd name="connsiteY75" fmla="*/ 51539 h 464243"/>
                <a:gd name="connsiteX76" fmla="*/ 155010 w 224253"/>
                <a:gd name="connsiteY76" fmla="*/ 51932 h 464243"/>
                <a:gd name="connsiteX77" fmla="*/ 152649 w 224253"/>
                <a:gd name="connsiteY77" fmla="*/ 55080 h 464243"/>
                <a:gd name="connsiteX78" fmla="*/ 152256 w 224253"/>
                <a:gd name="connsiteY78" fmla="*/ 58227 h 464243"/>
                <a:gd name="connsiteX79" fmla="*/ 151863 w 224253"/>
                <a:gd name="connsiteY79" fmla="*/ 60981 h 464243"/>
                <a:gd name="connsiteX80" fmla="*/ 152256 w 224253"/>
                <a:gd name="connsiteY80" fmla="*/ 63735 h 464243"/>
                <a:gd name="connsiteX81" fmla="*/ 155010 w 224253"/>
                <a:gd name="connsiteY81" fmla="*/ 66882 h 464243"/>
                <a:gd name="connsiteX82" fmla="*/ 155797 w 224253"/>
                <a:gd name="connsiteY82" fmla="*/ 69637 h 464243"/>
                <a:gd name="connsiteX83" fmla="*/ 155403 w 224253"/>
                <a:gd name="connsiteY83" fmla="*/ 74358 h 464243"/>
                <a:gd name="connsiteX84" fmla="*/ 154223 w 224253"/>
                <a:gd name="connsiteY84" fmla="*/ 75931 h 464243"/>
                <a:gd name="connsiteX85" fmla="*/ 153436 w 224253"/>
                <a:gd name="connsiteY85" fmla="*/ 72784 h 464243"/>
                <a:gd name="connsiteX86" fmla="*/ 151863 w 224253"/>
                <a:gd name="connsiteY86" fmla="*/ 75538 h 464243"/>
                <a:gd name="connsiteX87" fmla="*/ 148715 w 224253"/>
                <a:gd name="connsiteY87" fmla="*/ 74358 h 464243"/>
                <a:gd name="connsiteX88" fmla="*/ 147141 w 224253"/>
                <a:gd name="connsiteY88" fmla="*/ 77505 h 464243"/>
                <a:gd name="connsiteX89" fmla="*/ 145568 w 224253"/>
                <a:gd name="connsiteY89" fmla="*/ 80259 h 464243"/>
                <a:gd name="connsiteX90" fmla="*/ 145961 w 224253"/>
                <a:gd name="connsiteY90" fmla="*/ 83406 h 464243"/>
                <a:gd name="connsiteX91" fmla="*/ 147928 w 224253"/>
                <a:gd name="connsiteY91" fmla="*/ 86554 h 464243"/>
                <a:gd name="connsiteX92" fmla="*/ 150682 w 224253"/>
                <a:gd name="connsiteY92" fmla="*/ 86947 h 464243"/>
                <a:gd name="connsiteX93" fmla="*/ 153830 w 224253"/>
                <a:gd name="connsiteY93" fmla="*/ 88521 h 464243"/>
                <a:gd name="connsiteX94" fmla="*/ 153830 w 224253"/>
                <a:gd name="connsiteY94" fmla="*/ 91668 h 464243"/>
                <a:gd name="connsiteX95" fmla="*/ 152649 w 224253"/>
                <a:gd name="connsiteY95" fmla="*/ 88914 h 464243"/>
                <a:gd name="connsiteX96" fmla="*/ 149895 w 224253"/>
                <a:gd name="connsiteY96" fmla="*/ 89308 h 464243"/>
                <a:gd name="connsiteX97" fmla="*/ 146748 w 224253"/>
                <a:gd name="connsiteY97" fmla="*/ 89701 h 464243"/>
                <a:gd name="connsiteX98" fmla="*/ 144387 w 224253"/>
                <a:gd name="connsiteY98" fmla="*/ 93242 h 464243"/>
                <a:gd name="connsiteX99" fmla="*/ 142814 w 224253"/>
                <a:gd name="connsiteY99" fmla="*/ 95996 h 464243"/>
                <a:gd name="connsiteX100" fmla="*/ 141240 w 224253"/>
                <a:gd name="connsiteY100" fmla="*/ 99143 h 464243"/>
                <a:gd name="connsiteX101" fmla="*/ 138879 w 224253"/>
                <a:gd name="connsiteY101" fmla="*/ 102684 h 464243"/>
                <a:gd name="connsiteX102" fmla="*/ 136125 w 224253"/>
                <a:gd name="connsiteY102" fmla="*/ 104258 h 464243"/>
                <a:gd name="connsiteX103" fmla="*/ 136125 w 224253"/>
                <a:gd name="connsiteY103" fmla="*/ 101504 h 464243"/>
                <a:gd name="connsiteX104" fmla="*/ 138486 w 224253"/>
                <a:gd name="connsiteY104" fmla="*/ 98357 h 464243"/>
                <a:gd name="connsiteX105" fmla="*/ 138879 w 224253"/>
                <a:gd name="connsiteY105" fmla="*/ 95209 h 464243"/>
                <a:gd name="connsiteX106" fmla="*/ 138486 w 224253"/>
                <a:gd name="connsiteY106" fmla="*/ 92062 h 464243"/>
                <a:gd name="connsiteX107" fmla="*/ 135732 w 224253"/>
                <a:gd name="connsiteY107" fmla="*/ 93242 h 464243"/>
                <a:gd name="connsiteX108" fmla="*/ 133371 w 224253"/>
                <a:gd name="connsiteY108" fmla="*/ 95996 h 464243"/>
                <a:gd name="connsiteX109" fmla="*/ 133371 w 224253"/>
                <a:gd name="connsiteY109" fmla="*/ 99143 h 464243"/>
                <a:gd name="connsiteX110" fmla="*/ 130617 w 224253"/>
                <a:gd name="connsiteY110" fmla="*/ 101898 h 464243"/>
                <a:gd name="connsiteX111" fmla="*/ 129044 w 224253"/>
                <a:gd name="connsiteY111" fmla="*/ 105045 h 464243"/>
                <a:gd name="connsiteX112" fmla="*/ 126290 w 224253"/>
                <a:gd name="connsiteY112" fmla="*/ 107799 h 464243"/>
                <a:gd name="connsiteX113" fmla="*/ 125896 w 224253"/>
                <a:gd name="connsiteY113" fmla="*/ 110553 h 464243"/>
                <a:gd name="connsiteX114" fmla="*/ 128650 w 224253"/>
                <a:gd name="connsiteY114" fmla="*/ 113700 h 464243"/>
                <a:gd name="connsiteX115" fmla="*/ 130617 w 224253"/>
                <a:gd name="connsiteY115" fmla="*/ 116848 h 464243"/>
                <a:gd name="connsiteX116" fmla="*/ 129044 w 224253"/>
                <a:gd name="connsiteY116" fmla="*/ 118421 h 464243"/>
                <a:gd name="connsiteX117" fmla="*/ 127470 w 224253"/>
                <a:gd name="connsiteY117" fmla="*/ 118028 h 464243"/>
                <a:gd name="connsiteX118" fmla="*/ 126683 w 224253"/>
                <a:gd name="connsiteY118" fmla="*/ 119208 h 464243"/>
                <a:gd name="connsiteX119" fmla="*/ 125109 w 224253"/>
                <a:gd name="connsiteY119" fmla="*/ 119602 h 464243"/>
                <a:gd name="connsiteX120" fmla="*/ 124323 w 224253"/>
                <a:gd name="connsiteY120" fmla="*/ 119995 h 464243"/>
                <a:gd name="connsiteX121" fmla="*/ 122356 w 224253"/>
                <a:gd name="connsiteY121" fmla="*/ 121175 h 464243"/>
                <a:gd name="connsiteX122" fmla="*/ 123142 w 224253"/>
                <a:gd name="connsiteY122" fmla="*/ 118815 h 464243"/>
                <a:gd name="connsiteX123" fmla="*/ 125109 w 224253"/>
                <a:gd name="connsiteY123" fmla="*/ 115667 h 464243"/>
                <a:gd name="connsiteX124" fmla="*/ 123536 w 224253"/>
                <a:gd name="connsiteY124" fmla="*/ 112913 h 464243"/>
                <a:gd name="connsiteX125" fmla="*/ 120782 w 224253"/>
                <a:gd name="connsiteY125" fmla="*/ 110553 h 464243"/>
                <a:gd name="connsiteX126" fmla="*/ 117634 w 224253"/>
                <a:gd name="connsiteY126" fmla="*/ 112913 h 464243"/>
                <a:gd name="connsiteX127" fmla="*/ 114880 w 224253"/>
                <a:gd name="connsiteY127" fmla="*/ 115667 h 464243"/>
                <a:gd name="connsiteX128" fmla="*/ 111733 w 224253"/>
                <a:gd name="connsiteY128" fmla="*/ 118028 h 464243"/>
                <a:gd name="connsiteX129" fmla="*/ 108979 w 224253"/>
                <a:gd name="connsiteY129" fmla="*/ 120389 h 464243"/>
                <a:gd name="connsiteX130" fmla="*/ 105831 w 224253"/>
                <a:gd name="connsiteY130" fmla="*/ 122749 h 464243"/>
                <a:gd name="connsiteX131" fmla="*/ 103078 w 224253"/>
                <a:gd name="connsiteY131" fmla="*/ 125896 h 464243"/>
                <a:gd name="connsiteX132" fmla="*/ 103471 w 224253"/>
                <a:gd name="connsiteY132" fmla="*/ 129044 h 464243"/>
                <a:gd name="connsiteX133" fmla="*/ 102684 w 224253"/>
                <a:gd name="connsiteY133" fmla="*/ 131798 h 464243"/>
                <a:gd name="connsiteX134" fmla="*/ 107012 w 224253"/>
                <a:gd name="connsiteY134" fmla="*/ 136126 h 464243"/>
                <a:gd name="connsiteX135" fmla="*/ 104258 w 224253"/>
                <a:gd name="connsiteY135" fmla="*/ 135732 h 464243"/>
                <a:gd name="connsiteX136" fmla="*/ 103864 w 224253"/>
                <a:gd name="connsiteY136" fmla="*/ 136519 h 464243"/>
                <a:gd name="connsiteX137" fmla="*/ 103471 w 224253"/>
                <a:gd name="connsiteY137" fmla="*/ 136519 h 464243"/>
                <a:gd name="connsiteX138" fmla="*/ 102291 w 224253"/>
                <a:gd name="connsiteY138" fmla="*/ 136912 h 464243"/>
                <a:gd name="connsiteX139" fmla="*/ 101504 w 224253"/>
                <a:gd name="connsiteY139" fmla="*/ 136519 h 464243"/>
                <a:gd name="connsiteX140" fmla="*/ 99930 w 224253"/>
                <a:gd name="connsiteY140" fmla="*/ 133765 h 464243"/>
                <a:gd name="connsiteX141" fmla="*/ 99537 w 224253"/>
                <a:gd name="connsiteY141" fmla="*/ 130618 h 464243"/>
                <a:gd name="connsiteX142" fmla="*/ 97176 w 224253"/>
                <a:gd name="connsiteY142" fmla="*/ 127864 h 464243"/>
                <a:gd name="connsiteX143" fmla="*/ 94029 w 224253"/>
                <a:gd name="connsiteY143" fmla="*/ 129437 h 464243"/>
                <a:gd name="connsiteX144" fmla="*/ 93242 w 224253"/>
                <a:gd name="connsiteY144" fmla="*/ 132585 h 464243"/>
                <a:gd name="connsiteX145" fmla="*/ 90488 w 224253"/>
                <a:gd name="connsiteY145" fmla="*/ 129831 h 464243"/>
                <a:gd name="connsiteX146" fmla="*/ 87340 w 224253"/>
                <a:gd name="connsiteY146" fmla="*/ 131404 h 464243"/>
                <a:gd name="connsiteX147" fmla="*/ 86947 w 224253"/>
                <a:gd name="connsiteY147" fmla="*/ 131798 h 464243"/>
                <a:gd name="connsiteX148" fmla="*/ 84193 w 224253"/>
                <a:gd name="connsiteY148" fmla="*/ 130618 h 464243"/>
                <a:gd name="connsiteX149" fmla="*/ 81439 w 224253"/>
                <a:gd name="connsiteY149" fmla="*/ 133372 h 464243"/>
                <a:gd name="connsiteX150" fmla="*/ 81832 w 224253"/>
                <a:gd name="connsiteY150" fmla="*/ 135339 h 464243"/>
                <a:gd name="connsiteX151" fmla="*/ 79865 w 224253"/>
                <a:gd name="connsiteY151" fmla="*/ 136519 h 464243"/>
                <a:gd name="connsiteX152" fmla="*/ 79865 w 224253"/>
                <a:gd name="connsiteY152" fmla="*/ 136126 h 464243"/>
                <a:gd name="connsiteX153" fmla="*/ 77111 w 224253"/>
                <a:gd name="connsiteY153" fmla="*/ 136912 h 464243"/>
                <a:gd name="connsiteX154" fmla="*/ 73964 w 224253"/>
                <a:gd name="connsiteY154" fmla="*/ 138486 h 464243"/>
                <a:gd name="connsiteX155" fmla="*/ 72784 w 224253"/>
                <a:gd name="connsiteY155" fmla="*/ 141633 h 464243"/>
                <a:gd name="connsiteX156" fmla="*/ 71603 w 224253"/>
                <a:gd name="connsiteY156" fmla="*/ 139666 h 464243"/>
                <a:gd name="connsiteX157" fmla="*/ 69243 w 224253"/>
                <a:gd name="connsiteY157" fmla="*/ 136519 h 464243"/>
                <a:gd name="connsiteX158" fmla="*/ 66095 w 224253"/>
                <a:gd name="connsiteY158" fmla="*/ 139273 h 464243"/>
                <a:gd name="connsiteX159" fmla="*/ 63735 w 224253"/>
                <a:gd name="connsiteY159" fmla="*/ 142027 h 464243"/>
                <a:gd name="connsiteX160" fmla="*/ 60981 w 224253"/>
                <a:gd name="connsiteY160" fmla="*/ 144781 h 464243"/>
                <a:gd name="connsiteX161" fmla="*/ 60587 w 224253"/>
                <a:gd name="connsiteY161" fmla="*/ 144781 h 464243"/>
                <a:gd name="connsiteX162" fmla="*/ 57833 w 224253"/>
                <a:gd name="connsiteY162" fmla="*/ 146355 h 464243"/>
                <a:gd name="connsiteX163" fmla="*/ 54686 w 224253"/>
                <a:gd name="connsiteY163" fmla="*/ 145568 h 464243"/>
                <a:gd name="connsiteX164" fmla="*/ 51539 w 224253"/>
                <a:gd name="connsiteY164" fmla="*/ 145174 h 464243"/>
                <a:gd name="connsiteX165" fmla="*/ 48784 w 224253"/>
                <a:gd name="connsiteY165" fmla="*/ 144781 h 464243"/>
                <a:gd name="connsiteX166" fmla="*/ 45637 w 224253"/>
                <a:gd name="connsiteY166" fmla="*/ 146355 h 464243"/>
                <a:gd name="connsiteX167" fmla="*/ 44850 w 224253"/>
                <a:gd name="connsiteY167" fmla="*/ 149109 h 464243"/>
                <a:gd name="connsiteX168" fmla="*/ 44457 w 224253"/>
                <a:gd name="connsiteY168" fmla="*/ 151863 h 464243"/>
                <a:gd name="connsiteX169" fmla="*/ 46031 w 224253"/>
                <a:gd name="connsiteY169" fmla="*/ 155010 h 464243"/>
                <a:gd name="connsiteX170" fmla="*/ 45244 w 224253"/>
                <a:gd name="connsiteY170" fmla="*/ 157764 h 464243"/>
                <a:gd name="connsiteX171" fmla="*/ 44850 w 224253"/>
                <a:gd name="connsiteY171" fmla="*/ 157371 h 464243"/>
                <a:gd name="connsiteX172" fmla="*/ 44850 w 224253"/>
                <a:gd name="connsiteY172" fmla="*/ 158944 h 464243"/>
                <a:gd name="connsiteX173" fmla="*/ 42096 w 224253"/>
                <a:gd name="connsiteY173" fmla="*/ 165633 h 464243"/>
                <a:gd name="connsiteX174" fmla="*/ 41703 w 224253"/>
                <a:gd name="connsiteY174" fmla="*/ 166026 h 464243"/>
                <a:gd name="connsiteX175" fmla="*/ 40129 w 224253"/>
                <a:gd name="connsiteY175" fmla="*/ 168780 h 464243"/>
                <a:gd name="connsiteX176" fmla="*/ 38162 w 224253"/>
                <a:gd name="connsiteY176" fmla="*/ 171927 h 464243"/>
                <a:gd name="connsiteX177" fmla="*/ 36588 w 224253"/>
                <a:gd name="connsiteY177" fmla="*/ 174681 h 464243"/>
                <a:gd name="connsiteX178" fmla="*/ 35015 w 224253"/>
                <a:gd name="connsiteY178" fmla="*/ 177829 h 464243"/>
                <a:gd name="connsiteX179" fmla="*/ 33047 w 224253"/>
                <a:gd name="connsiteY179" fmla="*/ 180976 h 464243"/>
                <a:gd name="connsiteX180" fmla="*/ 30687 w 224253"/>
                <a:gd name="connsiteY180" fmla="*/ 183730 h 464243"/>
                <a:gd name="connsiteX181" fmla="*/ 29113 w 224253"/>
                <a:gd name="connsiteY181" fmla="*/ 186878 h 464243"/>
                <a:gd name="connsiteX182" fmla="*/ 27933 w 224253"/>
                <a:gd name="connsiteY182" fmla="*/ 190025 h 464243"/>
                <a:gd name="connsiteX183" fmla="*/ 27540 w 224253"/>
                <a:gd name="connsiteY183" fmla="*/ 193172 h 464243"/>
                <a:gd name="connsiteX184" fmla="*/ 29507 w 224253"/>
                <a:gd name="connsiteY184" fmla="*/ 196320 h 464243"/>
                <a:gd name="connsiteX185" fmla="*/ 30294 w 224253"/>
                <a:gd name="connsiteY185" fmla="*/ 201828 h 464243"/>
                <a:gd name="connsiteX186" fmla="*/ 29507 w 224253"/>
                <a:gd name="connsiteY186" fmla="*/ 204188 h 464243"/>
                <a:gd name="connsiteX187" fmla="*/ 29113 w 224253"/>
                <a:gd name="connsiteY187" fmla="*/ 206942 h 464243"/>
                <a:gd name="connsiteX188" fmla="*/ 29507 w 224253"/>
                <a:gd name="connsiteY188" fmla="*/ 209696 h 464243"/>
                <a:gd name="connsiteX189" fmla="*/ 29900 w 224253"/>
                <a:gd name="connsiteY189" fmla="*/ 212844 h 464243"/>
                <a:gd name="connsiteX190" fmla="*/ 29900 w 224253"/>
                <a:gd name="connsiteY190" fmla="*/ 215598 h 464243"/>
                <a:gd name="connsiteX191" fmla="*/ 29507 w 224253"/>
                <a:gd name="connsiteY191" fmla="*/ 218745 h 464243"/>
                <a:gd name="connsiteX192" fmla="*/ 29900 w 224253"/>
                <a:gd name="connsiteY192" fmla="*/ 221893 h 464243"/>
                <a:gd name="connsiteX193" fmla="*/ 31867 w 224253"/>
                <a:gd name="connsiteY193" fmla="*/ 225040 h 464243"/>
                <a:gd name="connsiteX194" fmla="*/ 33047 w 224253"/>
                <a:gd name="connsiteY194" fmla="*/ 227794 h 464243"/>
                <a:gd name="connsiteX195" fmla="*/ 34228 w 224253"/>
                <a:gd name="connsiteY195" fmla="*/ 239597 h 464243"/>
                <a:gd name="connsiteX196" fmla="*/ 34228 w 224253"/>
                <a:gd name="connsiteY196" fmla="*/ 240384 h 464243"/>
                <a:gd name="connsiteX197" fmla="*/ 33835 w 224253"/>
                <a:gd name="connsiteY197" fmla="*/ 243137 h 464243"/>
                <a:gd name="connsiteX198" fmla="*/ 35015 w 224253"/>
                <a:gd name="connsiteY198" fmla="*/ 245891 h 464243"/>
                <a:gd name="connsiteX199" fmla="*/ 38162 w 224253"/>
                <a:gd name="connsiteY199" fmla="*/ 251793 h 464243"/>
                <a:gd name="connsiteX200" fmla="*/ 40129 w 224253"/>
                <a:gd name="connsiteY200" fmla="*/ 259268 h 464243"/>
                <a:gd name="connsiteX201" fmla="*/ 39343 w 224253"/>
                <a:gd name="connsiteY201" fmla="*/ 259661 h 464243"/>
                <a:gd name="connsiteX202" fmla="*/ 38162 w 224253"/>
                <a:gd name="connsiteY202" fmla="*/ 262415 h 464243"/>
                <a:gd name="connsiteX203" fmla="*/ 38556 w 224253"/>
                <a:gd name="connsiteY203" fmla="*/ 263989 h 464243"/>
                <a:gd name="connsiteX204" fmla="*/ 37769 w 224253"/>
                <a:gd name="connsiteY204" fmla="*/ 265563 h 464243"/>
                <a:gd name="connsiteX205" fmla="*/ 37769 w 224253"/>
                <a:gd name="connsiteY205" fmla="*/ 268317 h 464243"/>
                <a:gd name="connsiteX206" fmla="*/ 39343 w 224253"/>
                <a:gd name="connsiteY206" fmla="*/ 269497 h 464243"/>
                <a:gd name="connsiteX207" fmla="*/ 39736 w 224253"/>
                <a:gd name="connsiteY207" fmla="*/ 274612 h 464243"/>
                <a:gd name="connsiteX208" fmla="*/ 37376 w 224253"/>
                <a:gd name="connsiteY208" fmla="*/ 278152 h 464243"/>
                <a:gd name="connsiteX209" fmla="*/ 36195 w 224253"/>
                <a:gd name="connsiteY209" fmla="*/ 279726 h 464243"/>
                <a:gd name="connsiteX210" fmla="*/ 34621 w 224253"/>
                <a:gd name="connsiteY210" fmla="*/ 282874 h 464243"/>
                <a:gd name="connsiteX211" fmla="*/ 33441 w 224253"/>
                <a:gd name="connsiteY211" fmla="*/ 284447 h 464243"/>
                <a:gd name="connsiteX212" fmla="*/ 33441 w 224253"/>
                <a:gd name="connsiteY212" fmla="*/ 284841 h 464243"/>
                <a:gd name="connsiteX213" fmla="*/ 33047 w 224253"/>
                <a:gd name="connsiteY213" fmla="*/ 286414 h 464243"/>
                <a:gd name="connsiteX214" fmla="*/ 31474 w 224253"/>
                <a:gd name="connsiteY214" fmla="*/ 289562 h 464243"/>
                <a:gd name="connsiteX215" fmla="*/ 29113 w 224253"/>
                <a:gd name="connsiteY215" fmla="*/ 291922 h 464243"/>
                <a:gd name="connsiteX216" fmla="*/ 28327 w 224253"/>
                <a:gd name="connsiteY216" fmla="*/ 295070 h 464243"/>
                <a:gd name="connsiteX217" fmla="*/ 26753 w 224253"/>
                <a:gd name="connsiteY217" fmla="*/ 297824 h 464243"/>
                <a:gd name="connsiteX218" fmla="*/ 23606 w 224253"/>
                <a:gd name="connsiteY218" fmla="*/ 300971 h 464243"/>
                <a:gd name="connsiteX219" fmla="*/ 22032 w 224253"/>
                <a:gd name="connsiteY219" fmla="*/ 303725 h 464243"/>
                <a:gd name="connsiteX220" fmla="*/ 20851 w 224253"/>
                <a:gd name="connsiteY220" fmla="*/ 306479 h 464243"/>
                <a:gd name="connsiteX221" fmla="*/ 20458 w 224253"/>
                <a:gd name="connsiteY221" fmla="*/ 309627 h 464243"/>
                <a:gd name="connsiteX222" fmla="*/ 20458 w 224253"/>
                <a:gd name="connsiteY222" fmla="*/ 310020 h 464243"/>
                <a:gd name="connsiteX223" fmla="*/ 16130 w 224253"/>
                <a:gd name="connsiteY223" fmla="*/ 318282 h 464243"/>
                <a:gd name="connsiteX224" fmla="*/ 15737 w 224253"/>
                <a:gd name="connsiteY224" fmla="*/ 317888 h 464243"/>
                <a:gd name="connsiteX225" fmla="*/ 12983 w 224253"/>
                <a:gd name="connsiteY225" fmla="*/ 317888 h 464243"/>
                <a:gd name="connsiteX226" fmla="*/ 11409 w 224253"/>
                <a:gd name="connsiteY226" fmla="*/ 318675 h 464243"/>
                <a:gd name="connsiteX227" fmla="*/ 10622 w 224253"/>
                <a:gd name="connsiteY227" fmla="*/ 319462 h 464243"/>
                <a:gd name="connsiteX228" fmla="*/ 9836 w 224253"/>
                <a:gd name="connsiteY228" fmla="*/ 319856 h 464243"/>
                <a:gd name="connsiteX229" fmla="*/ 9442 w 224253"/>
                <a:gd name="connsiteY229" fmla="*/ 319462 h 464243"/>
                <a:gd name="connsiteX230" fmla="*/ 8262 w 224253"/>
                <a:gd name="connsiteY230" fmla="*/ 322216 h 464243"/>
                <a:gd name="connsiteX231" fmla="*/ 8262 w 224253"/>
                <a:gd name="connsiteY231" fmla="*/ 323396 h 464243"/>
                <a:gd name="connsiteX232" fmla="*/ 3934 w 224253"/>
                <a:gd name="connsiteY232" fmla="*/ 333625 h 464243"/>
                <a:gd name="connsiteX233" fmla="*/ 3540 w 224253"/>
                <a:gd name="connsiteY233" fmla="*/ 335199 h 464243"/>
                <a:gd name="connsiteX234" fmla="*/ 1967 w 224253"/>
                <a:gd name="connsiteY234" fmla="*/ 338347 h 464243"/>
                <a:gd name="connsiteX235" fmla="*/ 1180 w 224253"/>
                <a:gd name="connsiteY235" fmla="*/ 341101 h 464243"/>
                <a:gd name="connsiteX236" fmla="*/ 393 w 224253"/>
                <a:gd name="connsiteY236" fmla="*/ 344642 h 464243"/>
                <a:gd name="connsiteX237" fmla="*/ 787 w 224253"/>
                <a:gd name="connsiteY237" fmla="*/ 347395 h 464243"/>
                <a:gd name="connsiteX238" fmla="*/ 0 w 224253"/>
                <a:gd name="connsiteY238" fmla="*/ 350149 h 464243"/>
                <a:gd name="connsiteX239" fmla="*/ 393 w 224253"/>
                <a:gd name="connsiteY239" fmla="*/ 353297 h 464243"/>
                <a:gd name="connsiteX240" fmla="*/ 1180 w 224253"/>
                <a:gd name="connsiteY240" fmla="*/ 356444 h 464243"/>
                <a:gd name="connsiteX241" fmla="*/ 1573 w 224253"/>
                <a:gd name="connsiteY241" fmla="*/ 359198 h 464243"/>
                <a:gd name="connsiteX242" fmla="*/ 1573 w 224253"/>
                <a:gd name="connsiteY242" fmla="*/ 362346 h 464243"/>
                <a:gd name="connsiteX243" fmla="*/ 2360 w 224253"/>
                <a:gd name="connsiteY243" fmla="*/ 365493 h 464243"/>
                <a:gd name="connsiteX244" fmla="*/ 2754 w 224253"/>
                <a:gd name="connsiteY244" fmla="*/ 368247 h 464243"/>
                <a:gd name="connsiteX245" fmla="*/ 3147 w 224253"/>
                <a:gd name="connsiteY245" fmla="*/ 371395 h 464243"/>
                <a:gd name="connsiteX246" fmla="*/ 5508 w 224253"/>
                <a:gd name="connsiteY246" fmla="*/ 374542 h 464243"/>
                <a:gd name="connsiteX247" fmla="*/ 8262 w 224253"/>
                <a:gd name="connsiteY247" fmla="*/ 377689 h 464243"/>
                <a:gd name="connsiteX248" fmla="*/ 9049 w 224253"/>
                <a:gd name="connsiteY248" fmla="*/ 380837 h 464243"/>
                <a:gd name="connsiteX249" fmla="*/ 9442 w 224253"/>
                <a:gd name="connsiteY249" fmla="*/ 387132 h 464243"/>
                <a:gd name="connsiteX250" fmla="*/ 12589 w 224253"/>
                <a:gd name="connsiteY250" fmla="*/ 395787 h 464243"/>
                <a:gd name="connsiteX251" fmla="*/ 10622 w 224253"/>
                <a:gd name="connsiteY251" fmla="*/ 397361 h 464243"/>
                <a:gd name="connsiteX252" fmla="*/ 9049 w 224253"/>
                <a:gd name="connsiteY252" fmla="*/ 400115 h 464243"/>
                <a:gd name="connsiteX253" fmla="*/ 8655 w 224253"/>
                <a:gd name="connsiteY253" fmla="*/ 402869 h 464243"/>
                <a:gd name="connsiteX254" fmla="*/ 9049 w 224253"/>
                <a:gd name="connsiteY254" fmla="*/ 406016 h 464243"/>
                <a:gd name="connsiteX255" fmla="*/ 8655 w 224253"/>
                <a:gd name="connsiteY255" fmla="*/ 408770 h 464243"/>
                <a:gd name="connsiteX256" fmla="*/ 9049 w 224253"/>
                <a:gd name="connsiteY256" fmla="*/ 411917 h 464243"/>
                <a:gd name="connsiteX257" fmla="*/ 9049 w 224253"/>
                <a:gd name="connsiteY257" fmla="*/ 415065 h 464243"/>
                <a:gd name="connsiteX258" fmla="*/ 8655 w 224253"/>
                <a:gd name="connsiteY258" fmla="*/ 417819 h 464243"/>
                <a:gd name="connsiteX259" fmla="*/ 8262 w 224253"/>
                <a:gd name="connsiteY259" fmla="*/ 420966 h 464243"/>
                <a:gd name="connsiteX260" fmla="*/ 9049 w 224253"/>
                <a:gd name="connsiteY260" fmla="*/ 423720 h 464243"/>
                <a:gd name="connsiteX261" fmla="*/ 12196 w 224253"/>
                <a:gd name="connsiteY261" fmla="*/ 426868 h 464243"/>
                <a:gd name="connsiteX262" fmla="*/ 14163 w 224253"/>
                <a:gd name="connsiteY262" fmla="*/ 429622 h 464243"/>
                <a:gd name="connsiteX263" fmla="*/ 15343 w 224253"/>
                <a:gd name="connsiteY263" fmla="*/ 432769 h 464243"/>
                <a:gd name="connsiteX264" fmla="*/ 14950 w 224253"/>
                <a:gd name="connsiteY264" fmla="*/ 435916 h 464243"/>
                <a:gd name="connsiteX265" fmla="*/ 16524 w 224253"/>
                <a:gd name="connsiteY265" fmla="*/ 439064 h 464243"/>
                <a:gd name="connsiteX266" fmla="*/ 17704 w 224253"/>
                <a:gd name="connsiteY266" fmla="*/ 442211 h 464243"/>
                <a:gd name="connsiteX267" fmla="*/ 19278 w 224253"/>
                <a:gd name="connsiteY267" fmla="*/ 445359 h 464243"/>
                <a:gd name="connsiteX268" fmla="*/ 19278 w 224253"/>
                <a:gd name="connsiteY268" fmla="*/ 445752 h 464243"/>
                <a:gd name="connsiteX269" fmla="*/ 20065 w 224253"/>
                <a:gd name="connsiteY269" fmla="*/ 446146 h 464243"/>
                <a:gd name="connsiteX270" fmla="*/ 26359 w 224253"/>
                <a:gd name="connsiteY270" fmla="*/ 451260 h 464243"/>
                <a:gd name="connsiteX271" fmla="*/ 25573 w 224253"/>
                <a:gd name="connsiteY271" fmla="*/ 450867 h 464243"/>
                <a:gd name="connsiteX272" fmla="*/ 27933 w 224253"/>
                <a:gd name="connsiteY272" fmla="*/ 453621 h 464243"/>
                <a:gd name="connsiteX273" fmla="*/ 30687 w 224253"/>
                <a:gd name="connsiteY273" fmla="*/ 454407 h 464243"/>
                <a:gd name="connsiteX274" fmla="*/ 42883 w 224253"/>
                <a:gd name="connsiteY274" fmla="*/ 458342 h 464243"/>
                <a:gd name="connsiteX275" fmla="*/ 45637 w 224253"/>
                <a:gd name="connsiteY275" fmla="*/ 461096 h 464243"/>
                <a:gd name="connsiteX276" fmla="*/ 48784 w 224253"/>
                <a:gd name="connsiteY276" fmla="*/ 462670 h 464243"/>
                <a:gd name="connsiteX277" fmla="*/ 51932 w 224253"/>
                <a:gd name="connsiteY277" fmla="*/ 464243 h 464243"/>
                <a:gd name="connsiteX278" fmla="*/ 54686 w 224253"/>
                <a:gd name="connsiteY278" fmla="*/ 463850 h 464243"/>
                <a:gd name="connsiteX279" fmla="*/ 57833 w 224253"/>
                <a:gd name="connsiteY279" fmla="*/ 463850 h 464243"/>
                <a:gd name="connsiteX280" fmla="*/ 60981 w 224253"/>
                <a:gd name="connsiteY280" fmla="*/ 463456 h 464243"/>
                <a:gd name="connsiteX281" fmla="*/ 81832 w 224253"/>
                <a:gd name="connsiteY281" fmla="*/ 451260 h 464243"/>
                <a:gd name="connsiteX282" fmla="*/ 88521 w 224253"/>
                <a:gd name="connsiteY282" fmla="*/ 449686 h 464243"/>
                <a:gd name="connsiteX283" fmla="*/ 88914 w 224253"/>
                <a:gd name="connsiteY283" fmla="*/ 449686 h 464243"/>
                <a:gd name="connsiteX284" fmla="*/ 92455 w 224253"/>
                <a:gd name="connsiteY284" fmla="*/ 450080 h 464243"/>
                <a:gd name="connsiteX285" fmla="*/ 95209 w 224253"/>
                <a:gd name="connsiteY285" fmla="*/ 450473 h 464243"/>
                <a:gd name="connsiteX286" fmla="*/ 98357 w 224253"/>
                <a:gd name="connsiteY286" fmla="*/ 449293 h 464243"/>
                <a:gd name="connsiteX287" fmla="*/ 101504 w 224253"/>
                <a:gd name="connsiteY287" fmla="*/ 447326 h 464243"/>
                <a:gd name="connsiteX288" fmla="*/ 104651 w 224253"/>
                <a:gd name="connsiteY288" fmla="*/ 446932 h 464243"/>
                <a:gd name="connsiteX289" fmla="*/ 107012 w 224253"/>
                <a:gd name="connsiteY289" fmla="*/ 443785 h 464243"/>
                <a:gd name="connsiteX290" fmla="*/ 109766 w 224253"/>
                <a:gd name="connsiteY290" fmla="*/ 441818 h 464243"/>
                <a:gd name="connsiteX291" fmla="*/ 110159 w 224253"/>
                <a:gd name="connsiteY291" fmla="*/ 439064 h 464243"/>
                <a:gd name="connsiteX292" fmla="*/ 112520 w 224253"/>
                <a:gd name="connsiteY292" fmla="*/ 435916 h 464243"/>
                <a:gd name="connsiteX293" fmla="*/ 113700 w 224253"/>
                <a:gd name="connsiteY293" fmla="*/ 432769 h 464243"/>
                <a:gd name="connsiteX294" fmla="*/ 115274 w 224253"/>
                <a:gd name="connsiteY294" fmla="*/ 429622 h 464243"/>
                <a:gd name="connsiteX295" fmla="*/ 116454 w 224253"/>
                <a:gd name="connsiteY295" fmla="*/ 426474 h 464243"/>
                <a:gd name="connsiteX296" fmla="*/ 116847 w 224253"/>
                <a:gd name="connsiteY296" fmla="*/ 423720 h 464243"/>
                <a:gd name="connsiteX297" fmla="*/ 117634 w 224253"/>
                <a:gd name="connsiteY297" fmla="*/ 420573 h 464243"/>
                <a:gd name="connsiteX298" fmla="*/ 119208 w 224253"/>
                <a:gd name="connsiteY298" fmla="*/ 417425 h 464243"/>
                <a:gd name="connsiteX299" fmla="*/ 120388 w 224253"/>
                <a:gd name="connsiteY299" fmla="*/ 414671 h 464243"/>
                <a:gd name="connsiteX300" fmla="*/ 121568 w 224253"/>
                <a:gd name="connsiteY300" fmla="*/ 411917 h 464243"/>
                <a:gd name="connsiteX301" fmla="*/ 123536 w 224253"/>
                <a:gd name="connsiteY301" fmla="*/ 408770 h 464243"/>
                <a:gd name="connsiteX302" fmla="*/ 125109 w 224253"/>
                <a:gd name="connsiteY302" fmla="*/ 406016 h 464243"/>
                <a:gd name="connsiteX303" fmla="*/ 125896 w 224253"/>
                <a:gd name="connsiteY303" fmla="*/ 403262 h 464243"/>
                <a:gd name="connsiteX304" fmla="*/ 126683 w 224253"/>
                <a:gd name="connsiteY304" fmla="*/ 400115 h 464243"/>
                <a:gd name="connsiteX305" fmla="*/ 126683 w 224253"/>
                <a:gd name="connsiteY305" fmla="*/ 396180 h 464243"/>
                <a:gd name="connsiteX306" fmla="*/ 127470 w 224253"/>
                <a:gd name="connsiteY306" fmla="*/ 395000 h 464243"/>
                <a:gd name="connsiteX307" fmla="*/ 130224 w 224253"/>
                <a:gd name="connsiteY307" fmla="*/ 387525 h 464243"/>
                <a:gd name="connsiteX308" fmla="*/ 130617 w 224253"/>
                <a:gd name="connsiteY308" fmla="*/ 386738 h 464243"/>
                <a:gd name="connsiteX309" fmla="*/ 131404 w 224253"/>
                <a:gd name="connsiteY309" fmla="*/ 383984 h 464243"/>
                <a:gd name="connsiteX310" fmla="*/ 131798 w 224253"/>
                <a:gd name="connsiteY310" fmla="*/ 382410 h 464243"/>
                <a:gd name="connsiteX311" fmla="*/ 133371 w 224253"/>
                <a:gd name="connsiteY311" fmla="*/ 376902 h 464243"/>
                <a:gd name="connsiteX312" fmla="*/ 134158 w 224253"/>
                <a:gd name="connsiteY312" fmla="*/ 375329 h 464243"/>
                <a:gd name="connsiteX313" fmla="*/ 134945 w 224253"/>
                <a:gd name="connsiteY313" fmla="*/ 372575 h 464243"/>
                <a:gd name="connsiteX314" fmla="*/ 135338 w 224253"/>
                <a:gd name="connsiteY314" fmla="*/ 369427 h 464243"/>
                <a:gd name="connsiteX315" fmla="*/ 142420 w 224253"/>
                <a:gd name="connsiteY315" fmla="*/ 347002 h 464243"/>
                <a:gd name="connsiteX316" fmla="*/ 143207 w 224253"/>
                <a:gd name="connsiteY316" fmla="*/ 345035 h 464243"/>
                <a:gd name="connsiteX317" fmla="*/ 144387 w 224253"/>
                <a:gd name="connsiteY317" fmla="*/ 342674 h 464243"/>
                <a:gd name="connsiteX318" fmla="*/ 145568 w 224253"/>
                <a:gd name="connsiteY318" fmla="*/ 339527 h 464243"/>
                <a:gd name="connsiteX319" fmla="*/ 147141 w 224253"/>
                <a:gd name="connsiteY319" fmla="*/ 336773 h 464243"/>
                <a:gd name="connsiteX320" fmla="*/ 148322 w 224253"/>
                <a:gd name="connsiteY320" fmla="*/ 333625 h 464243"/>
                <a:gd name="connsiteX321" fmla="*/ 149108 w 224253"/>
                <a:gd name="connsiteY321" fmla="*/ 330872 h 464243"/>
                <a:gd name="connsiteX322" fmla="*/ 150289 w 224253"/>
                <a:gd name="connsiteY322" fmla="*/ 328118 h 464243"/>
                <a:gd name="connsiteX323" fmla="*/ 151075 w 224253"/>
                <a:gd name="connsiteY323" fmla="*/ 324970 h 464243"/>
                <a:gd name="connsiteX324" fmla="*/ 152649 w 224253"/>
                <a:gd name="connsiteY324" fmla="*/ 322216 h 464243"/>
                <a:gd name="connsiteX325" fmla="*/ 153436 w 224253"/>
                <a:gd name="connsiteY325" fmla="*/ 319462 h 464243"/>
                <a:gd name="connsiteX326" fmla="*/ 153830 w 224253"/>
                <a:gd name="connsiteY326" fmla="*/ 316708 h 464243"/>
                <a:gd name="connsiteX327" fmla="*/ 153830 w 224253"/>
                <a:gd name="connsiteY327" fmla="*/ 315921 h 464243"/>
                <a:gd name="connsiteX328" fmla="*/ 155010 w 224253"/>
                <a:gd name="connsiteY328" fmla="*/ 313954 h 464243"/>
                <a:gd name="connsiteX329" fmla="*/ 155797 w 224253"/>
                <a:gd name="connsiteY329" fmla="*/ 310807 h 464243"/>
                <a:gd name="connsiteX330" fmla="*/ 156190 w 224253"/>
                <a:gd name="connsiteY330" fmla="*/ 308053 h 464243"/>
                <a:gd name="connsiteX331" fmla="*/ 155797 w 224253"/>
                <a:gd name="connsiteY331" fmla="*/ 307659 h 464243"/>
                <a:gd name="connsiteX332" fmla="*/ 155797 w 224253"/>
                <a:gd name="connsiteY332" fmla="*/ 307266 h 464243"/>
                <a:gd name="connsiteX333" fmla="*/ 156977 w 224253"/>
                <a:gd name="connsiteY333" fmla="*/ 306086 h 464243"/>
                <a:gd name="connsiteX334" fmla="*/ 157764 w 224253"/>
                <a:gd name="connsiteY334" fmla="*/ 302938 h 464243"/>
                <a:gd name="connsiteX335" fmla="*/ 159338 w 224253"/>
                <a:gd name="connsiteY335" fmla="*/ 296644 h 464243"/>
                <a:gd name="connsiteX336" fmla="*/ 160124 w 224253"/>
                <a:gd name="connsiteY336" fmla="*/ 293890 h 464243"/>
                <a:gd name="connsiteX337" fmla="*/ 161305 w 224253"/>
                <a:gd name="connsiteY337" fmla="*/ 291135 h 464243"/>
                <a:gd name="connsiteX338" fmla="*/ 162092 w 224253"/>
                <a:gd name="connsiteY338" fmla="*/ 287988 h 464243"/>
                <a:gd name="connsiteX339" fmla="*/ 163665 w 224253"/>
                <a:gd name="connsiteY339" fmla="*/ 284054 h 464243"/>
                <a:gd name="connsiteX340" fmla="*/ 164452 w 224253"/>
                <a:gd name="connsiteY340" fmla="*/ 282480 h 464243"/>
                <a:gd name="connsiteX341" fmla="*/ 167206 w 224253"/>
                <a:gd name="connsiteY341" fmla="*/ 276972 h 464243"/>
                <a:gd name="connsiteX342" fmla="*/ 167600 w 224253"/>
                <a:gd name="connsiteY342" fmla="*/ 273825 h 464243"/>
                <a:gd name="connsiteX343" fmla="*/ 167206 w 224253"/>
                <a:gd name="connsiteY343" fmla="*/ 272251 h 464243"/>
                <a:gd name="connsiteX344" fmla="*/ 167993 w 224253"/>
                <a:gd name="connsiteY344" fmla="*/ 272644 h 464243"/>
                <a:gd name="connsiteX345" fmla="*/ 169173 w 224253"/>
                <a:gd name="connsiteY345" fmla="*/ 271464 h 464243"/>
                <a:gd name="connsiteX346" fmla="*/ 169567 w 224253"/>
                <a:gd name="connsiteY346" fmla="*/ 268710 h 464243"/>
                <a:gd name="connsiteX347" fmla="*/ 169960 w 224253"/>
                <a:gd name="connsiteY347" fmla="*/ 266350 h 464243"/>
                <a:gd name="connsiteX348" fmla="*/ 175075 w 224253"/>
                <a:gd name="connsiteY348" fmla="*/ 252186 h 464243"/>
                <a:gd name="connsiteX349" fmla="*/ 175861 w 224253"/>
                <a:gd name="connsiteY349" fmla="*/ 250219 h 464243"/>
                <a:gd name="connsiteX350" fmla="*/ 175861 w 224253"/>
                <a:gd name="connsiteY350" fmla="*/ 249826 h 464243"/>
                <a:gd name="connsiteX351" fmla="*/ 180189 w 224253"/>
                <a:gd name="connsiteY351" fmla="*/ 238417 h 464243"/>
                <a:gd name="connsiteX352" fmla="*/ 181763 w 224253"/>
                <a:gd name="connsiteY352" fmla="*/ 235269 h 464243"/>
                <a:gd name="connsiteX353" fmla="*/ 182943 w 224253"/>
                <a:gd name="connsiteY353" fmla="*/ 232515 h 464243"/>
                <a:gd name="connsiteX354" fmla="*/ 185304 w 224253"/>
                <a:gd name="connsiteY354" fmla="*/ 226220 h 464243"/>
                <a:gd name="connsiteX355" fmla="*/ 186878 w 224253"/>
                <a:gd name="connsiteY355" fmla="*/ 223466 h 464243"/>
                <a:gd name="connsiteX356" fmla="*/ 188451 w 224253"/>
                <a:gd name="connsiteY356" fmla="*/ 220319 h 464243"/>
                <a:gd name="connsiteX357" fmla="*/ 188845 w 224253"/>
                <a:gd name="connsiteY357" fmla="*/ 217171 h 464243"/>
                <a:gd name="connsiteX358" fmla="*/ 189631 w 224253"/>
                <a:gd name="connsiteY358" fmla="*/ 214417 h 464243"/>
                <a:gd name="connsiteX359" fmla="*/ 191598 w 224253"/>
                <a:gd name="connsiteY359" fmla="*/ 210877 h 464243"/>
                <a:gd name="connsiteX360" fmla="*/ 191992 w 224253"/>
                <a:gd name="connsiteY360" fmla="*/ 204582 h 464243"/>
                <a:gd name="connsiteX361" fmla="*/ 192385 w 224253"/>
                <a:gd name="connsiteY361" fmla="*/ 203401 h 464243"/>
                <a:gd name="connsiteX362" fmla="*/ 193172 w 224253"/>
                <a:gd name="connsiteY362" fmla="*/ 200254 h 464243"/>
                <a:gd name="connsiteX363" fmla="*/ 193959 w 224253"/>
                <a:gd name="connsiteY363" fmla="*/ 197107 h 464243"/>
                <a:gd name="connsiteX364" fmla="*/ 194352 w 224253"/>
                <a:gd name="connsiteY364" fmla="*/ 194353 h 464243"/>
                <a:gd name="connsiteX365" fmla="*/ 193959 w 224253"/>
                <a:gd name="connsiteY365" fmla="*/ 190812 h 464243"/>
                <a:gd name="connsiteX366" fmla="*/ 193566 w 224253"/>
                <a:gd name="connsiteY366" fmla="*/ 188058 h 464243"/>
                <a:gd name="connsiteX367" fmla="*/ 193172 w 224253"/>
                <a:gd name="connsiteY367" fmla="*/ 186878 h 464243"/>
                <a:gd name="connsiteX368" fmla="*/ 193959 w 224253"/>
                <a:gd name="connsiteY368" fmla="*/ 179403 h 464243"/>
                <a:gd name="connsiteX369" fmla="*/ 194352 w 224253"/>
                <a:gd name="connsiteY369" fmla="*/ 178616 h 464243"/>
                <a:gd name="connsiteX370" fmla="*/ 196713 w 224253"/>
                <a:gd name="connsiteY370" fmla="*/ 173108 h 464243"/>
                <a:gd name="connsiteX371" fmla="*/ 198287 w 224253"/>
                <a:gd name="connsiteY371" fmla="*/ 169960 h 464243"/>
                <a:gd name="connsiteX372" fmla="*/ 201041 w 224253"/>
                <a:gd name="connsiteY372" fmla="*/ 167993 h 464243"/>
                <a:gd name="connsiteX373" fmla="*/ 204188 w 224253"/>
                <a:gd name="connsiteY373" fmla="*/ 166419 h 464243"/>
                <a:gd name="connsiteX374" fmla="*/ 202615 w 224253"/>
                <a:gd name="connsiteY374" fmla="*/ 163272 h 464243"/>
                <a:gd name="connsiteX375" fmla="*/ 204975 w 224253"/>
                <a:gd name="connsiteY375" fmla="*/ 160518 h 464243"/>
                <a:gd name="connsiteX376" fmla="*/ 206549 w 224253"/>
                <a:gd name="connsiteY376" fmla="*/ 157371 h 464243"/>
                <a:gd name="connsiteX377" fmla="*/ 206942 w 224253"/>
                <a:gd name="connsiteY377" fmla="*/ 154223 h 464243"/>
                <a:gd name="connsiteX378" fmla="*/ 206155 w 224253"/>
                <a:gd name="connsiteY378" fmla="*/ 151076 h 464243"/>
                <a:gd name="connsiteX379" fmla="*/ 206549 w 224253"/>
                <a:gd name="connsiteY379" fmla="*/ 148322 h 464243"/>
                <a:gd name="connsiteX380" fmla="*/ 206942 w 224253"/>
                <a:gd name="connsiteY380" fmla="*/ 145174 h 464243"/>
                <a:gd name="connsiteX381" fmla="*/ 203795 w 224253"/>
                <a:gd name="connsiteY381" fmla="*/ 143207 h 464243"/>
                <a:gd name="connsiteX382" fmla="*/ 205368 w 224253"/>
                <a:gd name="connsiteY382" fmla="*/ 118815 h 464243"/>
                <a:gd name="connsiteX383" fmla="*/ 212056 w 224253"/>
                <a:gd name="connsiteY383" fmla="*/ 129831 h 464243"/>
                <a:gd name="connsiteX384" fmla="*/ 212844 w 224253"/>
                <a:gd name="connsiteY384" fmla="*/ 131404 h 464243"/>
                <a:gd name="connsiteX385" fmla="*/ 212844 w 224253"/>
                <a:gd name="connsiteY385" fmla="*/ 133765 h 464243"/>
                <a:gd name="connsiteX386" fmla="*/ 215597 w 224253"/>
                <a:gd name="connsiteY386" fmla="*/ 136126 h 464243"/>
                <a:gd name="connsiteX387" fmla="*/ 215991 w 224253"/>
                <a:gd name="connsiteY387" fmla="*/ 136126 h 464243"/>
                <a:gd name="connsiteX388" fmla="*/ 218745 w 224253"/>
                <a:gd name="connsiteY388" fmla="*/ 136912 h 464243"/>
                <a:gd name="connsiteX389" fmla="*/ 220712 w 224253"/>
                <a:gd name="connsiteY389" fmla="*/ 133765 h 464243"/>
                <a:gd name="connsiteX390" fmla="*/ 221892 w 224253"/>
                <a:gd name="connsiteY390" fmla="*/ 130618 h 464243"/>
                <a:gd name="connsiteX391" fmla="*/ 224646 w 224253"/>
                <a:gd name="connsiteY391" fmla="*/ 125110 h 464243"/>
                <a:gd name="connsiteX392" fmla="*/ 225826 w 224253"/>
                <a:gd name="connsiteY392" fmla="*/ 121962 h 464243"/>
                <a:gd name="connsiteX393" fmla="*/ 226614 w 224253"/>
                <a:gd name="connsiteY393" fmla="*/ 118815 h 464243"/>
                <a:gd name="connsiteX394" fmla="*/ 227400 w 224253"/>
                <a:gd name="connsiteY394" fmla="*/ 115667 h 464243"/>
                <a:gd name="connsiteX395" fmla="*/ 227400 w 224253"/>
                <a:gd name="connsiteY395" fmla="*/ 112913 h 464243"/>
                <a:gd name="connsiteX396" fmla="*/ 219532 w 224253"/>
                <a:gd name="connsiteY396" fmla="*/ 75145 h 464243"/>
                <a:gd name="connsiteX397" fmla="*/ 219532 w 224253"/>
                <a:gd name="connsiteY397" fmla="*/ 70817 h 464243"/>
                <a:gd name="connsiteX398" fmla="*/ 191598 w 224253"/>
                <a:gd name="connsiteY398" fmla="*/ 4328 h 464243"/>
                <a:gd name="connsiteX399" fmla="*/ 192385 w 224253"/>
                <a:gd name="connsiteY399" fmla="*/ 6295 h 464243"/>
                <a:gd name="connsiteX400" fmla="*/ 191598 w 224253"/>
                <a:gd name="connsiteY400" fmla="*/ 9049 h 464243"/>
                <a:gd name="connsiteX401" fmla="*/ 190418 w 224253"/>
                <a:gd name="connsiteY401" fmla="*/ 9836 h 464243"/>
                <a:gd name="connsiteX402" fmla="*/ 191598 w 224253"/>
                <a:gd name="connsiteY402" fmla="*/ 4328 h 464243"/>
                <a:gd name="connsiteX403" fmla="*/ 203795 w 224253"/>
                <a:gd name="connsiteY403" fmla="*/ 18098 h 464243"/>
                <a:gd name="connsiteX404" fmla="*/ 202615 w 224253"/>
                <a:gd name="connsiteY404" fmla="*/ 16131 h 464243"/>
                <a:gd name="connsiteX405" fmla="*/ 202615 w 224253"/>
                <a:gd name="connsiteY405" fmla="*/ 15344 h 464243"/>
                <a:gd name="connsiteX406" fmla="*/ 203795 w 224253"/>
                <a:gd name="connsiteY406" fmla="*/ 18098 h 464243"/>
                <a:gd name="connsiteX407" fmla="*/ 197893 w 224253"/>
                <a:gd name="connsiteY407" fmla="*/ 6688 h 464243"/>
                <a:gd name="connsiteX408" fmla="*/ 197893 w 224253"/>
                <a:gd name="connsiteY408" fmla="*/ 4328 h 464243"/>
                <a:gd name="connsiteX409" fmla="*/ 197893 w 224253"/>
                <a:gd name="connsiteY409" fmla="*/ 6688 h 464243"/>
                <a:gd name="connsiteX410" fmla="*/ 195139 w 224253"/>
                <a:gd name="connsiteY410" fmla="*/ 6295 h 464243"/>
                <a:gd name="connsiteX411" fmla="*/ 195533 w 224253"/>
                <a:gd name="connsiteY411" fmla="*/ 9442 h 464243"/>
                <a:gd name="connsiteX412" fmla="*/ 195139 w 224253"/>
                <a:gd name="connsiteY412" fmla="*/ 6295 h 464243"/>
                <a:gd name="connsiteX413" fmla="*/ 197893 w 224253"/>
                <a:gd name="connsiteY413" fmla="*/ 6688 h 464243"/>
                <a:gd name="connsiteX414" fmla="*/ 203401 w 224253"/>
                <a:gd name="connsiteY414" fmla="*/ 22425 h 464243"/>
                <a:gd name="connsiteX415" fmla="*/ 204582 w 224253"/>
                <a:gd name="connsiteY415" fmla="*/ 19671 h 464243"/>
                <a:gd name="connsiteX416" fmla="*/ 205762 w 224253"/>
                <a:gd name="connsiteY416" fmla="*/ 24392 h 464243"/>
                <a:gd name="connsiteX417" fmla="*/ 203401 w 224253"/>
                <a:gd name="connsiteY417" fmla="*/ 22425 h 464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224253" h="464243">
                  <a:moveTo>
                    <a:pt x="219532" y="70817"/>
                  </a:moveTo>
                  <a:lnTo>
                    <a:pt x="218745" y="67669"/>
                  </a:lnTo>
                  <a:lnTo>
                    <a:pt x="219138" y="64915"/>
                  </a:lnTo>
                  <a:lnTo>
                    <a:pt x="218745" y="61768"/>
                  </a:lnTo>
                  <a:lnTo>
                    <a:pt x="217958" y="59014"/>
                  </a:lnTo>
                  <a:lnTo>
                    <a:pt x="217565" y="55867"/>
                  </a:lnTo>
                  <a:lnTo>
                    <a:pt x="216385" y="53113"/>
                  </a:lnTo>
                  <a:lnTo>
                    <a:pt x="215991" y="50359"/>
                  </a:lnTo>
                  <a:lnTo>
                    <a:pt x="215597" y="47211"/>
                  </a:lnTo>
                  <a:lnTo>
                    <a:pt x="214811" y="44457"/>
                  </a:lnTo>
                  <a:lnTo>
                    <a:pt x="213630" y="41703"/>
                  </a:lnTo>
                  <a:lnTo>
                    <a:pt x="214024" y="40916"/>
                  </a:lnTo>
                  <a:lnTo>
                    <a:pt x="214024" y="40130"/>
                  </a:lnTo>
                  <a:cubicBezTo>
                    <a:pt x="214024" y="40130"/>
                    <a:pt x="214024" y="39736"/>
                    <a:pt x="214024" y="39736"/>
                  </a:cubicBezTo>
                  <a:lnTo>
                    <a:pt x="214417" y="38162"/>
                  </a:lnTo>
                  <a:lnTo>
                    <a:pt x="213630" y="35015"/>
                  </a:lnTo>
                  <a:lnTo>
                    <a:pt x="213237" y="33835"/>
                  </a:lnTo>
                  <a:cubicBezTo>
                    <a:pt x="213237" y="33835"/>
                    <a:pt x="213237" y="33835"/>
                    <a:pt x="213237" y="33835"/>
                  </a:cubicBezTo>
                  <a:lnTo>
                    <a:pt x="212450" y="32261"/>
                  </a:lnTo>
                  <a:lnTo>
                    <a:pt x="212450" y="31868"/>
                  </a:lnTo>
                  <a:cubicBezTo>
                    <a:pt x="211270" y="29901"/>
                    <a:pt x="210089" y="28327"/>
                    <a:pt x="209303" y="26360"/>
                  </a:cubicBezTo>
                  <a:lnTo>
                    <a:pt x="208122" y="27147"/>
                  </a:lnTo>
                  <a:lnTo>
                    <a:pt x="204975" y="19671"/>
                  </a:lnTo>
                  <a:lnTo>
                    <a:pt x="204975" y="19278"/>
                  </a:lnTo>
                  <a:lnTo>
                    <a:pt x="204582" y="18491"/>
                  </a:lnTo>
                  <a:cubicBezTo>
                    <a:pt x="204188" y="17311"/>
                    <a:pt x="203795" y="15737"/>
                    <a:pt x="203008" y="14557"/>
                  </a:cubicBezTo>
                  <a:lnTo>
                    <a:pt x="203008" y="12983"/>
                  </a:lnTo>
                  <a:lnTo>
                    <a:pt x="201827" y="12196"/>
                  </a:lnTo>
                  <a:cubicBezTo>
                    <a:pt x="201827" y="12196"/>
                    <a:pt x="201827" y="12196"/>
                    <a:pt x="201827" y="12196"/>
                  </a:cubicBezTo>
                  <a:lnTo>
                    <a:pt x="201827" y="12196"/>
                  </a:lnTo>
                  <a:lnTo>
                    <a:pt x="200254" y="11016"/>
                  </a:lnTo>
                  <a:lnTo>
                    <a:pt x="199860" y="9442"/>
                  </a:lnTo>
                  <a:cubicBezTo>
                    <a:pt x="200647" y="9836"/>
                    <a:pt x="201434" y="11016"/>
                    <a:pt x="202221" y="11803"/>
                  </a:cubicBezTo>
                  <a:lnTo>
                    <a:pt x="198680" y="3934"/>
                  </a:lnTo>
                  <a:lnTo>
                    <a:pt x="198680" y="3147"/>
                  </a:lnTo>
                  <a:lnTo>
                    <a:pt x="197500" y="394"/>
                  </a:lnTo>
                  <a:lnTo>
                    <a:pt x="194746" y="0"/>
                  </a:lnTo>
                  <a:lnTo>
                    <a:pt x="192385" y="3147"/>
                  </a:lnTo>
                  <a:lnTo>
                    <a:pt x="190418" y="9836"/>
                  </a:lnTo>
                  <a:lnTo>
                    <a:pt x="189238" y="10229"/>
                  </a:lnTo>
                  <a:lnTo>
                    <a:pt x="186484" y="12983"/>
                  </a:lnTo>
                  <a:lnTo>
                    <a:pt x="184517" y="15344"/>
                  </a:lnTo>
                  <a:cubicBezTo>
                    <a:pt x="183730" y="15737"/>
                    <a:pt x="182549" y="16524"/>
                    <a:pt x="181763" y="16524"/>
                  </a:cubicBezTo>
                  <a:lnTo>
                    <a:pt x="180582" y="16524"/>
                  </a:lnTo>
                  <a:cubicBezTo>
                    <a:pt x="181763" y="17311"/>
                    <a:pt x="182549" y="18491"/>
                    <a:pt x="183337" y="20065"/>
                  </a:cubicBezTo>
                  <a:lnTo>
                    <a:pt x="182943" y="21638"/>
                  </a:lnTo>
                  <a:lnTo>
                    <a:pt x="184123" y="24786"/>
                  </a:lnTo>
                  <a:lnTo>
                    <a:pt x="184910" y="26360"/>
                  </a:lnTo>
                  <a:cubicBezTo>
                    <a:pt x="184910" y="26753"/>
                    <a:pt x="184910" y="27540"/>
                    <a:pt x="184910" y="27933"/>
                  </a:cubicBezTo>
                  <a:lnTo>
                    <a:pt x="185304" y="26753"/>
                  </a:lnTo>
                  <a:lnTo>
                    <a:pt x="185697" y="27147"/>
                  </a:lnTo>
                  <a:lnTo>
                    <a:pt x="185304" y="29901"/>
                  </a:lnTo>
                  <a:lnTo>
                    <a:pt x="184910" y="30687"/>
                  </a:lnTo>
                  <a:cubicBezTo>
                    <a:pt x="185304" y="29507"/>
                    <a:pt x="185304" y="28720"/>
                    <a:pt x="185304" y="27540"/>
                  </a:cubicBezTo>
                  <a:lnTo>
                    <a:pt x="183730" y="33048"/>
                  </a:lnTo>
                  <a:lnTo>
                    <a:pt x="182943" y="34621"/>
                  </a:lnTo>
                  <a:lnTo>
                    <a:pt x="182156" y="36195"/>
                  </a:lnTo>
                  <a:lnTo>
                    <a:pt x="181370" y="37376"/>
                  </a:lnTo>
                  <a:lnTo>
                    <a:pt x="180976" y="39736"/>
                  </a:lnTo>
                  <a:lnTo>
                    <a:pt x="180976" y="40130"/>
                  </a:lnTo>
                  <a:lnTo>
                    <a:pt x="181370" y="43277"/>
                  </a:lnTo>
                  <a:lnTo>
                    <a:pt x="180189" y="44064"/>
                  </a:lnTo>
                  <a:lnTo>
                    <a:pt x="180189" y="44457"/>
                  </a:lnTo>
                  <a:lnTo>
                    <a:pt x="175861" y="48785"/>
                  </a:lnTo>
                  <a:lnTo>
                    <a:pt x="173501" y="48391"/>
                  </a:lnTo>
                  <a:lnTo>
                    <a:pt x="170747" y="48391"/>
                  </a:lnTo>
                  <a:lnTo>
                    <a:pt x="171141" y="51145"/>
                  </a:lnTo>
                  <a:lnTo>
                    <a:pt x="168386" y="51539"/>
                  </a:lnTo>
                  <a:lnTo>
                    <a:pt x="166026" y="55080"/>
                  </a:lnTo>
                  <a:lnTo>
                    <a:pt x="165632" y="57834"/>
                  </a:lnTo>
                  <a:lnTo>
                    <a:pt x="164845" y="60588"/>
                  </a:lnTo>
                  <a:lnTo>
                    <a:pt x="164452" y="60981"/>
                  </a:lnTo>
                  <a:lnTo>
                    <a:pt x="161698" y="60194"/>
                  </a:lnTo>
                  <a:lnTo>
                    <a:pt x="160518" y="57047"/>
                  </a:lnTo>
                  <a:lnTo>
                    <a:pt x="158551" y="54293"/>
                  </a:lnTo>
                  <a:lnTo>
                    <a:pt x="157764" y="51539"/>
                  </a:lnTo>
                  <a:lnTo>
                    <a:pt x="155010" y="51932"/>
                  </a:lnTo>
                  <a:lnTo>
                    <a:pt x="152649" y="55080"/>
                  </a:lnTo>
                  <a:lnTo>
                    <a:pt x="152256" y="58227"/>
                  </a:lnTo>
                  <a:lnTo>
                    <a:pt x="151863" y="60981"/>
                  </a:lnTo>
                  <a:lnTo>
                    <a:pt x="152256" y="63735"/>
                  </a:lnTo>
                  <a:lnTo>
                    <a:pt x="155010" y="66882"/>
                  </a:lnTo>
                  <a:lnTo>
                    <a:pt x="155797" y="69637"/>
                  </a:lnTo>
                  <a:lnTo>
                    <a:pt x="155403" y="74358"/>
                  </a:lnTo>
                  <a:lnTo>
                    <a:pt x="154223" y="75931"/>
                  </a:lnTo>
                  <a:lnTo>
                    <a:pt x="153436" y="72784"/>
                  </a:lnTo>
                  <a:lnTo>
                    <a:pt x="151863" y="75538"/>
                  </a:lnTo>
                  <a:lnTo>
                    <a:pt x="148715" y="74358"/>
                  </a:lnTo>
                  <a:lnTo>
                    <a:pt x="147141" y="77505"/>
                  </a:lnTo>
                  <a:lnTo>
                    <a:pt x="145568" y="80259"/>
                  </a:lnTo>
                  <a:lnTo>
                    <a:pt x="145961" y="83406"/>
                  </a:lnTo>
                  <a:lnTo>
                    <a:pt x="147928" y="86554"/>
                  </a:lnTo>
                  <a:lnTo>
                    <a:pt x="150682" y="86947"/>
                  </a:lnTo>
                  <a:lnTo>
                    <a:pt x="153830" y="88521"/>
                  </a:lnTo>
                  <a:lnTo>
                    <a:pt x="153830" y="91668"/>
                  </a:lnTo>
                  <a:lnTo>
                    <a:pt x="152649" y="88914"/>
                  </a:lnTo>
                  <a:lnTo>
                    <a:pt x="149895" y="89308"/>
                  </a:lnTo>
                  <a:lnTo>
                    <a:pt x="146748" y="89701"/>
                  </a:lnTo>
                  <a:lnTo>
                    <a:pt x="144387" y="93242"/>
                  </a:lnTo>
                  <a:lnTo>
                    <a:pt x="142814" y="95996"/>
                  </a:lnTo>
                  <a:lnTo>
                    <a:pt x="141240" y="99143"/>
                  </a:lnTo>
                  <a:lnTo>
                    <a:pt x="138879" y="102684"/>
                  </a:lnTo>
                  <a:lnTo>
                    <a:pt x="136125" y="104258"/>
                  </a:lnTo>
                  <a:lnTo>
                    <a:pt x="136125" y="101504"/>
                  </a:lnTo>
                  <a:lnTo>
                    <a:pt x="138486" y="98357"/>
                  </a:lnTo>
                  <a:lnTo>
                    <a:pt x="138879" y="95209"/>
                  </a:lnTo>
                  <a:lnTo>
                    <a:pt x="138486" y="92062"/>
                  </a:lnTo>
                  <a:lnTo>
                    <a:pt x="135732" y="93242"/>
                  </a:lnTo>
                  <a:lnTo>
                    <a:pt x="133371" y="95996"/>
                  </a:lnTo>
                  <a:lnTo>
                    <a:pt x="133371" y="99143"/>
                  </a:lnTo>
                  <a:lnTo>
                    <a:pt x="130617" y="101898"/>
                  </a:lnTo>
                  <a:lnTo>
                    <a:pt x="129044" y="105045"/>
                  </a:lnTo>
                  <a:lnTo>
                    <a:pt x="126290" y="107799"/>
                  </a:lnTo>
                  <a:lnTo>
                    <a:pt x="125896" y="110553"/>
                  </a:lnTo>
                  <a:lnTo>
                    <a:pt x="128650" y="113700"/>
                  </a:lnTo>
                  <a:lnTo>
                    <a:pt x="130617" y="116848"/>
                  </a:lnTo>
                  <a:lnTo>
                    <a:pt x="129044" y="118421"/>
                  </a:lnTo>
                  <a:lnTo>
                    <a:pt x="127470" y="118028"/>
                  </a:lnTo>
                  <a:lnTo>
                    <a:pt x="126683" y="119208"/>
                  </a:lnTo>
                  <a:lnTo>
                    <a:pt x="125109" y="119602"/>
                  </a:lnTo>
                  <a:lnTo>
                    <a:pt x="124323" y="119995"/>
                  </a:lnTo>
                  <a:lnTo>
                    <a:pt x="122356" y="121175"/>
                  </a:lnTo>
                  <a:lnTo>
                    <a:pt x="123142" y="118815"/>
                  </a:lnTo>
                  <a:lnTo>
                    <a:pt x="125109" y="115667"/>
                  </a:lnTo>
                  <a:lnTo>
                    <a:pt x="123536" y="112913"/>
                  </a:lnTo>
                  <a:lnTo>
                    <a:pt x="120782" y="110553"/>
                  </a:lnTo>
                  <a:lnTo>
                    <a:pt x="117634" y="112913"/>
                  </a:lnTo>
                  <a:lnTo>
                    <a:pt x="114880" y="115667"/>
                  </a:lnTo>
                  <a:lnTo>
                    <a:pt x="111733" y="118028"/>
                  </a:lnTo>
                  <a:lnTo>
                    <a:pt x="108979" y="120389"/>
                  </a:lnTo>
                  <a:lnTo>
                    <a:pt x="105831" y="122749"/>
                  </a:lnTo>
                  <a:lnTo>
                    <a:pt x="103078" y="125896"/>
                  </a:lnTo>
                  <a:lnTo>
                    <a:pt x="103471" y="129044"/>
                  </a:lnTo>
                  <a:lnTo>
                    <a:pt x="102684" y="131798"/>
                  </a:lnTo>
                  <a:lnTo>
                    <a:pt x="107012" y="136126"/>
                  </a:lnTo>
                  <a:lnTo>
                    <a:pt x="104258" y="135732"/>
                  </a:lnTo>
                  <a:lnTo>
                    <a:pt x="103864" y="136519"/>
                  </a:lnTo>
                  <a:lnTo>
                    <a:pt x="103471" y="136519"/>
                  </a:lnTo>
                  <a:lnTo>
                    <a:pt x="102291" y="136912"/>
                  </a:lnTo>
                  <a:lnTo>
                    <a:pt x="101504" y="136519"/>
                  </a:lnTo>
                  <a:lnTo>
                    <a:pt x="99930" y="133765"/>
                  </a:lnTo>
                  <a:lnTo>
                    <a:pt x="99537" y="130618"/>
                  </a:lnTo>
                  <a:lnTo>
                    <a:pt x="97176" y="127864"/>
                  </a:lnTo>
                  <a:lnTo>
                    <a:pt x="94029" y="129437"/>
                  </a:lnTo>
                  <a:lnTo>
                    <a:pt x="93242" y="132585"/>
                  </a:lnTo>
                  <a:lnTo>
                    <a:pt x="90488" y="129831"/>
                  </a:lnTo>
                  <a:lnTo>
                    <a:pt x="87340" y="131404"/>
                  </a:lnTo>
                  <a:lnTo>
                    <a:pt x="86947" y="131798"/>
                  </a:lnTo>
                  <a:lnTo>
                    <a:pt x="84193" y="130618"/>
                  </a:lnTo>
                  <a:lnTo>
                    <a:pt x="81439" y="133372"/>
                  </a:lnTo>
                  <a:lnTo>
                    <a:pt x="81832" y="135339"/>
                  </a:lnTo>
                  <a:lnTo>
                    <a:pt x="79865" y="136519"/>
                  </a:lnTo>
                  <a:lnTo>
                    <a:pt x="79865" y="136126"/>
                  </a:lnTo>
                  <a:lnTo>
                    <a:pt x="77111" y="136912"/>
                  </a:lnTo>
                  <a:lnTo>
                    <a:pt x="73964" y="138486"/>
                  </a:lnTo>
                  <a:lnTo>
                    <a:pt x="72784" y="141633"/>
                  </a:lnTo>
                  <a:lnTo>
                    <a:pt x="71603" y="139666"/>
                  </a:lnTo>
                  <a:lnTo>
                    <a:pt x="69243" y="136519"/>
                  </a:lnTo>
                  <a:lnTo>
                    <a:pt x="66095" y="139273"/>
                  </a:lnTo>
                  <a:lnTo>
                    <a:pt x="63735" y="142027"/>
                  </a:lnTo>
                  <a:lnTo>
                    <a:pt x="60981" y="144781"/>
                  </a:lnTo>
                  <a:lnTo>
                    <a:pt x="60587" y="144781"/>
                  </a:lnTo>
                  <a:lnTo>
                    <a:pt x="57833" y="146355"/>
                  </a:lnTo>
                  <a:lnTo>
                    <a:pt x="54686" y="145568"/>
                  </a:lnTo>
                  <a:lnTo>
                    <a:pt x="51539" y="145174"/>
                  </a:lnTo>
                  <a:lnTo>
                    <a:pt x="48784" y="144781"/>
                  </a:lnTo>
                  <a:lnTo>
                    <a:pt x="45637" y="146355"/>
                  </a:lnTo>
                  <a:lnTo>
                    <a:pt x="44850" y="149109"/>
                  </a:lnTo>
                  <a:lnTo>
                    <a:pt x="44457" y="151863"/>
                  </a:lnTo>
                  <a:lnTo>
                    <a:pt x="46031" y="155010"/>
                  </a:lnTo>
                  <a:lnTo>
                    <a:pt x="45244" y="157764"/>
                  </a:lnTo>
                  <a:lnTo>
                    <a:pt x="44850" y="157371"/>
                  </a:lnTo>
                  <a:lnTo>
                    <a:pt x="44850" y="158944"/>
                  </a:lnTo>
                  <a:lnTo>
                    <a:pt x="42096" y="165633"/>
                  </a:lnTo>
                  <a:lnTo>
                    <a:pt x="41703" y="166026"/>
                  </a:lnTo>
                  <a:lnTo>
                    <a:pt x="40129" y="168780"/>
                  </a:lnTo>
                  <a:lnTo>
                    <a:pt x="38162" y="171927"/>
                  </a:lnTo>
                  <a:lnTo>
                    <a:pt x="36588" y="174681"/>
                  </a:lnTo>
                  <a:lnTo>
                    <a:pt x="35015" y="177829"/>
                  </a:lnTo>
                  <a:lnTo>
                    <a:pt x="33047" y="180976"/>
                  </a:lnTo>
                  <a:lnTo>
                    <a:pt x="30687" y="183730"/>
                  </a:lnTo>
                  <a:lnTo>
                    <a:pt x="29113" y="186878"/>
                  </a:lnTo>
                  <a:lnTo>
                    <a:pt x="27933" y="190025"/>
                  </a:lnTo>
                  <a:lnTo>
                    <a:pt x="27540" y="193172"/>
                  </a:lnTo>
                  <a:lnTo>
                    <a:pt x="29507" y="196320"/>
                  </a:lnTo>
                  <a:lnTo>
                    <a:pt x="30294" y="201828"/>
                  </a:lnTo>
                  <a:lnTo>
                    <a:pt x="29507" y="204188"/>
                  </a:lnTo>
                  <a:lnTo>
                    <a:pt x="29113" y="206942"/>
                  </a:lnTo>
                  <a:lnTo>
                    <a:pt x="29507" y="209696"/>
                  </a:lnTo>
                  <a:lnTo>
                    <a:pt x="29900" y="212844"/>
                  </a:lnTo>
                  <a:lnTo>
                    <a:pt x="29900" y="215598"/>
                  </a:lnTo>
                  <a:lnTo>
                    <a:pt x="29507" y="218745"/>
                  </a:lnTo>
                  <a:lnTo>
                    <a:pt x="29900" y="221893"/>
                  </a:lnTo>
                  <a:lnTo>
                    <a:pt x="31867" y="225040"/>
                  </a:lnTo>
                  <a:lnTo>
                    <a:pt x="33047" y="227794"/>
                  </a:lnTo>
                  <a:lnTo>
                    <a:pt x="34228" y="239597"/>
                  </a:lnTo>
                  <a:lnTo>
                    <a:pt x="34228" y="240384"/>
                  </a:lnTo>
                  <a:lnTo>
                    <a:pt x="33835" y="243137"/>
                  </a:lnTo>
                  <a:lnTo>
                    <a:pt x="35015" y="245891"/>
                  </a:lnTo>
                  <a:lnTo>
                    <a:pt x="38162" y="251793"/>
                  </a:lnTo>
                  <a:lnTo>
                    <a:pt x="40129" y="259268"/>
                  </a:lnTo>
                  <a:lnTo>
                    <a:pt x="39343" y="259661"/>
                  </a:lnTo>
                  <a:lnTo>
                    <a:pt x="38162" y="262415"/>
                  </a:lnTo>
                  <a:lnTo>
                    <a:pt x="38556" y="263989"/>
                  </a:lnTo>
                  <a:lnTo>
                    <a:pt x="37769" y="265563"/>
                  </a:lnTo>
                  <a:lnTo>
                    <a:pt x="37769" y="268317"/>
                  </a:lnTo>
                  <a:lnTo>
                    <a:pt x="39343" y="269497"/>
                  </a:lnTo>
                  <a:lnTo>
                    <a:pt x="39736" y="274612"/>
                  </a:lnTo>
                  <a:lnTo>
                    <a:pt x="37376" y="278152"/>
                  </a:lnTo>
                  <a:lnTo>
                    <a:pt x="36195" y="279726"/>
                  </a:lnTo>
                  <a:lnTo>
                    <a:pt x="34621" y="282874"/>
                  </a:lnTo>
                  <a:lnTo>
                    <a:pt x="33441" y="284447"/>
                  </a:lnTo>
                  <a:lnTo>
                    <a:pt x="33441" y="284841"/>
                  </a:lnTo>
                  <a:lnTo>
                    <a:pt x="33047" y="286414"/>
                  </a:lnTo>
                  <a:lnTo>
                    <a:pt x="31474" y="289562"/>
                  </a:lnTo>
                  <a:lnTo>
                    <a:pt x="29113" y="291922"/>
                  </a:lnTo>
                  <a:lnTo>
                    <a:pt x="28327" y="295070"/>
                  </a:lnTo>
                  <a:lnTo>
                    <a:pt x="26753" y="297824"/>
                  </a:lnTo>
                  <a:lnTo>
                    <a:pt x="23606" y="300971"/>
                  </a:lnTo>
                  <a:lnTo>
                    <a:pt x="22032" y="303725"/>
                  </a:lnTo>
                  <a:lnTo>
                    <a:pt x="20851" y="306479"/>
                  </a:lnTo>
                  <a:lnTo>
                    <a:pt x="20458" y="309627"/>
                  </a:lnTo>
                  <a:lnTo>
                    <a:pt x="20458" y="310020"/>
                  </a:lnTo>
                  <a:lnTo>
                    <a:pt x="16130" y="318282"/>
                  </a:lnTo>
                  <a:lnTo>
                    <a:pt x="15737" y="317888"/>
                  </a:lnTo>
                  <a:lnTo>
                    <a:pt x="12983" y="317888"/>
                  </a:lnTo>
                  <a:lnTo>
                    <a:pt x="11409" y="318675"/>
                  </a:lnTo>
                  <a:lnTo>
                    <a:pt x="10622" y="319462"/>
                  </a:lnTo>
                  <a:lnTo>
                    <a:pt x="9836" y="319856"/>
                  </a:lnTo>
                  <a:lnTo>
                    <a:pt x="9442" y="319462"/>
                  </a:lnTo>
                  <a:lnTo>
                    <a:pt x="8262" y="322216"/>
                  </a:lnTo>
                  <a:lnTo>
                    <a:pt x="8262" y="323396"/>
                  </a:lnTo>
                  <a:lnTo>
                    <a:pt x="3934" y="333625"/>
                  </a:lnTo>
                  <a:lnTo>
                    <a:pt x="3540" y="335199"/>
                  </a:lnTo>
                  <a:lnTo>
                    <a:pt x="1967" y="338347"/>
                  </a:lnTo>
                  <a:lnTo>
                    <a:pt x="1180" y="341101"/>
                  </a:lnTo>
                  <a:lnTo>
                    <a:pt x="393" y="344642"/>
                  </a:lnTo>
                  <a:lnTo>
                    <a:pt x="787" y="347395"/>
                  </a:lnTo>
                  <a:lnTo>
                    <a:pt x="0" y="350149"/>
                  </a:lnTo>
                  <a:lnTo>
                    <a:pt x="393" y="353297"/>
                  </a:lnTo>
                  <a:lnTo>
                    <a:pt x="1180" y="356444"/>
                  </a:lnTo>
                  <a:lnTo>
                    <a:pt x="1573" y="359198"/>
                  </a:lnTo>
                  <a:lnTo>
                    <a:pt x="1573" y="362346"/>
                  </a:lnTo>
                  <a:lnTo>
                    <a:pt x="2360" y="365493"/>
                  </a:lnTo>
                  <a:lnTo>
                    <a:pt x="2754" y="368247"/>
                  </a:lnTo>
                  <a:lnTo>
                    <a:pt x="3147" y="371395"/>
                  </a:lnTo>
                  <a:lnTo>
                    <a:pt x="5508" y="374542"/>
                  </a:lnTo>
                  <a:lnTo>
                    <a:pt x="8262" y="377689"/>
                  </a:lnTo>
                  <a:lnTo>
                    <a:pt x="9049" y="380837"/>
                  </a:lnTo>
                  <a:lnTo>
                    <a:pt x="9442" y="387132"/>
                  </a:lnTo>
                  <a:lnTo>
                    <a:pt x="12589" y="395787"/>
                  </a:lnTo>
                  <a:lnTo>
                    <a:pt x="10622" y="397361"/>
                  </a:lnTo>
                  <a:lnTo>
                    <a:pt x="9049" y="400115"/>
                  </a:lnTo>
                  <a:lnTo>
                    <a:pt x="8655" y="402869"/>
                  </a:lnTo>
                  <a:lnTo>
                    <a:pt x="9049" y="406016"/>
                  </a:lnTo>
                  <a:lnTo>
                    <a:pt x="8655" y="408770"/>
                  </a:lnTo>
                  <a:lnTo>
                    <a:pt x="9049" y="411917"/>
                  </a:lnTo>
                  <a:lnTo>
                    <a:pt x="9049" y="415065"/>
                  </a:lnTo>
                  <a:lnTo>
                    <a:pt x="8655" y="417819"/>
                  </a:lnTo>
                  <a:lnTo>
                    <a:pt x="8262" y="420966"/>
                  </a:lnTo>
                  <a:lnTo>
                    <a:pt x="9049" y="423720"/>
                  </a:lnTo>
                  <a:lnTo>
                    <a:pt x="12196" y="426868"/>
                  </a:lnTo>
                  <a:lnTo>
                    <a:pt x="14163" y="429622"/>
                  </a:lnTo>
                  <a:lnTo>
                    <a:pt x="15343" y="432769"/>
                  </a:lnTo>
                  <a:lnTo>
                    <a:pt x="14950" y="435916"/>
                  </a:lnTo>
                  <a:lnTo>
                    <a:pt x="16524" y="439064"/>
                  </a:lnTo>
                  <a:lnTo>
                    <a:pt x="17704" y="442211"/>
                  </a:lnTo>
                  <a:lnTo>
                    <a:pt x="19278" y="445359"/>
                  </a:lnTo>
                  <a:lnTo>
                    <a:pt x="19278" y="445752"/>
                  </a:lnTo>
                  <a:lnTo>
                    <a:pt x="20065" y="446146"/>
                  </a:lnTo>
                  <a:lnTo>
                    <a:pt x="26359" y="451260"/>
                  </a:lnTo>
                  <a:lnTo>
                    <a:pt x="25573" y="450867"/>
                  </a:lnTo>
                  <a:lnTo>
                    <a:pt x="27933" y="453621"/>
                  </a:lnTo>
                  <a:lnTo>
                    <a:pt x="30687" y="454407"/>
                  </a:lnTo>
                  <a:lnTo>
                    <a:pt x="42883" y="458342"/>
                  </a:lnTo>
                  <a:lnTo>
                    <a:pt x="45637" y="461096"/>
                  </a:lnTo>
                  <a:lnTo>
                    <a:pt x="48784" y="462670"/>
                  </a:lnTo>
                  <a:lnTo>
                    <a:pt x="51932" y="464243"/>
                  </a:lnTo>
                  <a:lnTo>
                    <a:pt x="54686" y="463850"/>
                  </a:lnTo>
                  <a:lnTo>
                    <a:pt x="57833" y="463850"/>
                  </a:lnTo>
                  <a:lnTo>
                    <a:pt x="60981" y="463456"/>
                  </a:lnTo>
                  <a:lnTo>
                    <a:pt x="81832" y="451260"/>
                  </a:lnTo>
                  <a:lnTo>
                    <a:pt x="88521" y="449686"/>
                  </a:lnTo>
                  <a:lnTo>
                    <a:pt x="88914" y="449686"/>
                  </a:lnTo>
                  <a:lnTo>
                    <a:pt x="92455" y="450080"/>
                  </a:lnTo>
                  <a:lnTo>
                    <a:pt x="95209" y="450473"/>
                  </a:lnTo>
                  <a:lnTo>
                    <a:pt x="98357" y="449293"/>
                  </a:lnTo>
                  <a:lnTo>
                    <a:pt x="101504" y="447326"/>
                  </a:lnTo>
                  <a:lnTo>
                    <a:pt x="104651" y="446932"/>
                  </a:lnTo>
                  <a:lnTo>
                    <a:pt x="107012" y="443785"/>
                  </a:lnTo>
                  <a:lnTo>
                    <a:pt x="109766" y="441818"/>
                  </a:lnTo>
                  <a:lnTo>
                    <a:pt x="110159" y="439064"/>
                  </a:lnTo>
                  <a:lnTo>
                    <a:pt x="112520" y="435916"/>
                  </a:lnTo>
                  <a:lnTo>
                    <a:pt x="113700" y="432769"/>
                  </a:lnTo>
                  <a:lnTo>
                    <a:pt x="115274" y="429622"/>
                  </a:lnTo>
                  <a:lnTo>
                    <a:pt x="116454" y="426474"/>
                  </a:lnTo>
                  <a:lnTo>
                    <a:pt x="116847" y="423720"/>
                  </a:lnTo>
                  <a:lnTo>
                    <a:pt x="117634" y="420573"/>
                  </a:lnTo>
                  <a:lnTo>
                    <a:pt x="119208" y="417425"/>
                  </a:lnTo>
                  <a:lnTo>
                    <a:pt x="120388" y="414671"/>
                  </a:lnTo>
                  <a:lnTo>
                    <a:pt x="121568" y="411917"/>
                  </a:lnTo>
                  <a:lnTo>
                    <a:pt x="123536" y="408770"/>
                  </a:lnTo>
                  <a:lnTo>
                    <a:pt x="125109" y="406016"/>
                  </a:lnTo>
                  <a:lnTo>
                    <a:pt x="125896" y="403262"/>
                  </a:lnTo>
                  <a:lnTo>
                    <a:pt x="126683" y="400115"/>
                  </a:lnTo>
                  <a:lnTo>
                    <a:pt x="126683" y="396180"/>
                  </a:lnTo>
                  <a:lnTo>
                    <a:pt x="127470" y="395000"/>
                  </a:lnTo>
                  <a:lnTo>
                    <a:pt x="130224" y="387525"/>
                  </a:lnTo>
                  <a:lnTo>
                    <a:pt x="130617" y="386738"/>
                  </a:lnTo>
                  <a:lnTo>
                    <a:pt x="131404" y="383984"/>
                  </a:lnTo>
                  <a:lnTo>
                    <a:pt x="131798" y="382410"/>
                  </a:lnTo>
                  <a:lnTo>
                    <a:pt x="133371" y="376902"/>
                  </a:lnTo>
                  <a:lnTo>
                    <a:pt x="134158" y="375329"/>
                  </a:lnTo>
                  <a:lnTo>
                    <a:pt x="134945" y="372575"/>
                  </a:lnTo>
                  <a:lnTo>
                    <a:pt x="135338" y="369427"/>
                  </a:lnTo>
                  <a:lnTo>
                    <a:pt x="142420" y="347002"/>
                  </a:lnTo>
                  <a:lnTo>
                    <a:pt x="143207" y="345035"/>
                  </a:lnTo>
                  <a:lnTo>
                    <a:pt x="144387" y="342674"/>
                  </a:lnTo>
                  <a:lnTo>
                    <a:pt x="145568" y="339527"/>
                  </a:lnTo>
                  <a:lnTo>
                    <a:pt x="147141" y="336773"/>
                  </a:lnTo>
                  <a:lnTo>
                    <a:pt x="148322" y="333625"/>
                  </a:lnTo>
                  <a:lnTo>
                    <a:pt x="149108" y="330872"/>
                  </a:lnTo>
                  <a:lnTo>
                    <a:pt x="150289" y="328118"/>
                  </a:lnTo>
                  <a:lnTo>
                    <a:pt x="151075" y="324970"/>
                  </a:lnTo>
                  <a:lnTo>
                    <a:pt x="152649" y="322216"/>
                  </a:lnTo>
                  <a:lnTo>
                    <a:pt x="153436" y="319462"/>
                  </a:lnTo>
                  <a:lnTo>
                    <a:pt x="153830" y="316708"/>
                  </a:lnTo>
                  <a:lnTo>
                    <a:pt x="153830" y="315921"/>
                  </a:lnTo>
                  <a:lnTo>
                    <a:pt x="155010" y="313954"/>
                  </a:lnTo>
                  <a:lnTo>
                    <a:pt x="155797" y="310807"/>
                  </a:lnTo>
                  <a:lnTo>
                    <a:pt x="156190" y="308053"/>
                  </a:lnTo>
                  <a:lnTo>
                    <a:pt x="155797" y="307659"/>
                  </a:lnTo>
                  <a:lnTo>
                    <a:pt x="155797" y="307266"/>
                  </a:lnTo>
                  <a:lnTo>
                    <a:pt x="156977" y="306086"/>
                  </a:lnTo>
                  <a:lnTo>
                    <a:pt x="157764" y="302938"/>
                  </a:lnTo>
                  <a:lnTo>
                    <a:pt x="159338" y="296644"/>
                  </a:lnTo>
                  <a:lnTo>
                    <a:pt x="160124" y="293890"/>
                  </a:lnTo>
                  <a:lnTo>
                    <a:pt x="161305" y="291135"/>
                  </a:lnTo>
                  <a:lnTo>
                    <a:pt x="162092" y="287988"/>
                  </a:lnTo>
                  <a:lnTo>
                    <a:pt x="163665" y="284054"/>
                  </a:lnTo>
                  <a:lnTo>
                    <a:pt x="164452" y="282480"/>
                  </a:lnTo>
                  <a:lnTo>
                    <a:pt x="167206" y="276972"/>
                  </a:lnTo>
                  <a:lnTo>
                    <a:pt x="167600" y="273825"/>
                  </a:lnTo>
                  <a:lnTo>
                    <a:pt x="167206" y="272251"/>
                  </a:lnTo>
                  <a:lnTo>
                    <a:pt x="167993" y="272644"/>
                  </a:lnTo>
                  <a:lnTo>
                    <a:pt x="169173" y="271464"/>
                  </a:lnTo>
                  <a:lnTo>
                    <a:pt x="169567" y="268710"/>
                  </a:lnTo>
                  <a:lnTo>
                    <a:pt x="169960" y="266350"/>
                  </a:lnTo>
                  <a:lnTo>
                    <a:pt x="175075" y="252186"/>
                  </a:lnTo>
                  <a:lnTo>
                    <a:pt x="175861" y="250219"/>
                  </a:lnTo>
                  <a:lnTo>
                    <a:pt x="175861" y="249826"/>
                  </a:lnTo>
                  <a:lnTo>
                    <a:pt x="180189" y="238417"/>
                  </a:lnTo>
                  <a:lnTo>
                    <a:pt x="181763" y="235269"/>
                  </a:lnTo>
                  <a:lnTo>
                    <a:pt x="182943" y="232515"/>
                  </a:lnTo>
                  <a:lnTo>
                    <a:pt x="185304" y="226220"/>
                  </a:lnTo>
                  <a:lnTo>
                    <a:pt x="186878" y="223466"/>
                  </a:lnTo>
                  <a:lnTo>
                    <a:pt x="188451" y="220319"/>
                  </a:lnTo>
                  <a:lnTo>
                    <a:pt x="188845" y="217171"/>
                  </a:lnTo>
                  <a:lnTo>
                    <a:pt x="189631" y="214417"/>
                  </a:lnTo>
                  <a:lnTo>
                    <a:pt x="191598" y="210877"/>
                  </a:lnTo>
                  <a:lnTo>
                    <a:pt x="191992" y="204582"/>
                  </a:lnTo>
                  <a:lnTo>
                    <a:pt x="192385" y="203401"/>
                  </a:lnTo>
                  <a:lnTo>
                    <a:pt x="193172" y="200254"/>
                  </a:lnTo>
                  <a:lnTo>
                    <a:pt x="193959" y="197107"/>
                  </a:lnTo>
                  <a:lnTo>
                    <a:pt x="194352" y="194353"/>
                  </a:lnTo>
                  <a:lnTo>
                    <a:pt x="193959" y="190812"/>
                  </a:lnTo>
                  <a:lnTo>
                    <a:pt x="193566" y="188058"/>
                  </a:lnTo>
                  <a:lnTo>
                    <a:pt x="193172" y="186878"/>
                  </a:lnTo>
                  <a:lnTo>
                    <a:pt x="193959" y="179403"/>
                  </a:lnTo>
                  <a:lnTo>
                    <a:pt x="194352" y="178616"/>
                  </a:lnTo>
                  <a:lnTo>
                    <a:pt x="196713" y="173108"/>
                  </a:lnTo>
                  <a:lnTo>
                    <a:pt x="198287" y="169960"/>
                  </a:lnTo>
                  <a:lnTo>
                    <a:pt x="201041" y="167993"/>
                  </a:lnTo>
                  <a:lnTo>
                    <a:pt x="204188" y="166419"/>
                  </a:lnTo>
                  <a:lnTo>
                    <a:pt x="202615" y="163272"/>
                  </a:lnTo>
                  <a:lnTo>
                    <a:pt x="204975" y="160518"/>
                  </a:lnTo>
                  <a:lnTo>
                    <a:pt x="206549" y="157371"/>
                  </a:lnTo>
                  <a:lnTo>
                    <a:pt x="206942" y="154223"/>
                  </a:lnTo>
                  <a:lnTo>
                    <a:pt x="206155" y="151076"/>
                  </a:lnTo>
                  <a:lnTo>
                    <a:pt x="206549" y="148322"/>
                  </a:lnTo>
                  <a:lnTo>
                    <a:pt x="206942" y="145174"/>
                  </a:lnTo>
                  <a:lnTo>
                    <a:pt x="203795" y="143207"/>
                  </a:lnTo>
                  <a:lnTo>
                    <a:pt x="205368" y="118815"/>
                  </a:lnTo>
                  <a:lnTo>
                    <a:pt x="212056" y="129831"/>
                  </a:lnTo>
                  <a:lnTo>
                    <a:pt x="212844" y="131404"/>
                  </a:lnTo>
                  <a:lnTo>
                    <a:pt x="212844" y="133765"/>
                  </a:lnTo>
                  <a:lnTo>
                    <a:pt x="215597" y="136126"/>
                  </a:lnTo>
                  <a:lnTo>
                    <a:pt x="215991" y="136126"/>
                  </a:lnTo>
                  <a:lnTo>
                    <a:pt x="218745" y="136912"/>
                  </a:lnTo>
                  <a:lnTo>
                    <a:pt x="220712" y="133765"/>
                  </a:lnTo>
                  <a:lnTo>
                    <a:pt x="221892" y="130618"/>
                  </a:lnTo>
                  <a:lnTo>
                    <a:pt x="224646" y="125110"/>
                  </a:lnTo>
                  <a:lnTo>
                    <a:pt x="225826" y="121962"/>
                  </a:lnTo>
                  <a:lnTo>
                    <a:pt x="226614" y="118815"/>
                  </a:lnTo>
                  <a:lnTo>
                    <a:pt x="227400" y="115667"/>
                  </a:lnTo>
                  <a:lnTo>
                    <a:pt x="227400" y="112913"/>
                  </a:lnTo>
                  <a:lnTo>
                    <a:pt x="219532" y="75145"/>
                  </a:lnTo>
                  <a:lnTo>
                    <a:pt x="219532" y="70817"/>
                  </a:lnTo>
                  <a:close/>
                  <a:moveTo>
                    <a:pt x="191598" y="4328"/>
                  </a:moveTo>
                  <a:lnTo>
                    <a:pt x="192385" y="6295"/>
                  </a:lnTo>
                  <a:lnTo>
                    <a:pt x="191598" y="9049"/>
                  </a:lnTo>
                  <a:lnTo>
                    <a:pt x="190418" y="9836"/>
                  </a:lnTo>
                  <a:cubicBezTo>
                    <a:pt x="191598" y="7869"/>
                    <a:pt x="191992" y="5901"/>
                    <a:pt x="191598" y="4328"/>
                  </a:cubicBezTo>
                  <a:close/>
                  <a:moveTo>
                    <a:pt x="203795" y="18098"/>
                  </a:moveTo>
                  <a:lnTo>
                    <a:pt x="202615" y="16131"/>
                  </a:lnTo>
                  <a:lnTo>
                    <a:pt x="202615" y="15344"/>
                  </a:lnTo>
                  <a:lnTo>
                    <a:pt x="203795" y="18098"/>
                  </a:lnTo>
                  <a:close/>
                  <a:moveTo>
                    <a:pt x="197893" y="6688"/>
                  </a:moveTo>
                  <a:lnTo>
                    <a:pt x="197893" y="4328"/>
                  </a:lnTo>
                  <a:cubicBezTo>
                    <a:pt x="197893" y="5114"/>
                    <a:pt x="197893" y="5901"/>
                    <a:pt x="197893" y="6688"/>
                  </a:cubicBezTo>
                  <a:cubicBezTo>
                    <a:pt x="197107" y="7082"/>
                    <a:pt x="195926" y="6295"/>
                    <a:pt x="195139" y="6295"/>
                  </a:cubicBezTo>
                  <a:cubicBezTo>
                    <a:pt x="195139" y="7082"/>
                    <a:pt x="195533" y="8655"/>
                    <a:pt x="195533" y="9442"/>
                  </a:cubicBezTo>
                  <a:lnTo>
                    <a:pt x="195139" y="6295"/>
                  </a:lnTo>
                  <a:lnTo>
                    <a:pt x="197893" y="6688"/>
                  </a:lnTo>
                  <a:close/>
                  <a:moveTo>
                    <a:pt x="203401" y="22425"/>
                  </a:moveTo>
                  <a:lnTo>
                    <a:pt x="204582" y="19671"/>
                  </a:lnTo>
                  <a:cubicBezTo>
                    <a:pt x="204975" y="21245"/>
                    <a:pt x="205368" y="23212"/>
                    <a:pt x="205762" y="24392"/>
                  </a:cubicBezTo>
                  <a:lnTo>
                    <a:pt x="203401" y="2242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00" name="Freeform: Shape 4094">
              <a:extLst>
                <a:ext uri="{FF2B5EF4-FFF2-40B4-BE49-F238E27FC236}">
                  <a16:creationId xmlns:a16="http://schemas.microsoft.com/office/drawing/2014/main" id="{1B7CFE94-BFA1-4EA2-B78D-40233B9C907F}"/>
                </a:ext>
              </a:extLst>
            </p:cNvPr>
            <p:cNvSpPr/>
            <p:nvPr/>
          </p:nvSpPr>
          <p:spPr>
            <a:xfrm>
              <a:off x="9684836" y="4080556"/>
              <a:ext cx="7869" cy="3934"/>
            </a:xfrm>
            <a:custGeom>
              <a:avLst/>
              <a:gdLst>
                <a:gd name="connsiteX0" fmla="*/ 3148 w 7868"/>
                <a:gd name="connsiteY0" fmla="*/ 2360 h 3934"/>
                <a:gd name="connsiteX1" fmla="*/ 394 w 7868"/>
                <a:gd name="connsiteY1" fmla="*/ 3934 h 3934"/>
                <a:gd name="connsiteX2" fmla="*/ 0 w 7868"/>
                <a:gd name="connsiteY2" fmla="*/ 5508 h 3934"/>
                <a:gd name="connsiteX3" fmla="*/ 3148 w 7868"/>
                <a:gd name="connsiteY3" fmla="*/ 5901 h 3934"/>
                <a:gd name="connsiteX4" fmla="*/ 5901 w 7868"/>
                <a:gd name="connsiteY4" fmla="*/ 5114 h 3934"/>
                <a:gd name="connsiteX5" fmla="*/ 8655 w 7868"/>
                <a:gd name="connsiteY5" fmla="*/ 2754 h 3934"/>
                <a:gd name="connsiteX6" fmla="*/ 6295 w 7868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3148" y="2360"/>
                  </a:moveTo>
                  <a:lnTo>
                    <a:pt x="394" y="3934"/>
                  </a:lnTo>
                  <a:lnTo>
                    <a:pt x="0" y="5508"/>
                  </a:lnTo>
                  <a:lnTo>
                    <a:pt x="3148" y="5901"/>
                  </a:lnTo>
                  <a:lnTo>
                    <a:pt x="5901" y="5114"/>
                  </a:lnTo>
                  <a:lnTo>
                    <a:pt x="8655" y="2754"/>
                  </a:lnTo>
                  <a:lnTo>
                    <a:pt x="629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01" name="Freeform: Shape 4095">
              <a:extLst>
                <a:ext uri="{FF2B5EF4-FFF2-40B4-BE49-F238E27FC236}">
                  <a16:creationId xmlns:a16="http://schemas.microsoft.com/office/drawing/2014/main" id="{1BA15D1E-6C88-4D3F-BB3A-EABBAAAFCFB2}"/>
                </a:ext>
              </a:extLst>
            </p:cNvPr>
            <p:cNvSpPr/>
            <p:nvPr/>
          </p:nvSpPr>
          <p:spPr>
            <a:xfrm>
              <a:off x="9733621" y="4071507"/>
              <a:ext cx="3934" cy="3934"/>
            </a:xfrm>
            <a:custGeom>
              <a:avLst/>
              <a:gdLst>
                <a:gd name="connsiteX0" fmla="*/ 3934 w 3934"/>
                <a:gd name="connsiteY0" fmla="*/ 2754 h 3934"/>
                <a:gd name="connsiteX1" fmla="*/ 3540 w 3934"/>
                <a:gd name="connsiteY1" fmla="*/ 0 h 3934"/>
                <a:gd name="connsiteX2" fmla="*/ 3147 w 3934"/>
                <a:gd name="connsiteY2" fmla="*/ 0 h 3934"/>
                <a:gd name="connsiteX3" fmla="*/ 787 w 3934"/>
                <a:gd name="connsiteY3" fmla="*/ 2754 h 3934"/>
                <a:gd name="connsiteX4" fmla="*/ 0 w 3934"/>
                <a:gd name="connsiteY4" fmla="*/ 5901 h 3934"/>
                <a:gd name="connsiteX5" fmla="*/ 3147 w 3934"/>
                <a:gd name="connsiteY5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934" y="2754"/>
                  </a:moveTo>
                  <a:lnTo>
                    <a:pt x="3540" y="0"/>
                  </a:lnTo>
                  <a:lnTo>
                    <a:pt x="3147" y="0"/>
                  </a:lnTo>
                  <a:lnTo>
                    <a:pt x="787" y="2754"/>
                  </a:lnTo>
                  <a:lnTo>
                    <a:pt x="0" y="5901"/>
                  </a:lnTo>
                  <a:lnTo>
                    <a:pt x="3147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02" name="Freeform: Shape 4096">
              <a:extLst>
                <a:ext uri="{FF2B5EF4-FFF2-40B4-BE49-F238E27FC236}">
                  <a16:creationId xmlns:a16="http://schemas.microsoft.com/office/drawing/2014/main" id="{5756B450-9E3F-45AE-9AED-EF3CEA2AFF55}"/>
                </a:ext>
              </a:extLst>
            </p:cNvPr>
            <p:cNvSpPr/>
            <p:nvPr/>
          </p:nvSpPr>
          <p:spPr>
            <a:xfrm>
              <a:off x="9707261" y="4250516"/>
              <a:ext cx="3934" cy="3934"/>
            </a:xfrm>
            <a:custGeom>
              <a:avLst/>
              <a:gdLst>
                <a:gd name="connsiteX0" fmla="*/ 788 w 0"/>
                <a:gd name="connsiteY0" fmla="*/ 3148 h 3934"/>
                <a:gd name="connsiteX1" fmla="*/ 2755 w 0"/>
                <a:gd name="connsiteY1" fmla="*/ 5901 h 3934"/>
                <a:gd name="connsiteX2" fmla="*/ 2755 w 0"/>
                <a:gd name="connsiteY2" fmla="*/ 3148 h 3934"/>
                <a:gd name="connsiteX3" fmla="*/ 0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788" y="3148"/>
                  </a:moveTo>
                  <a:lnTo>
                    <a:pt x="2755" y="5901"/>
                  </a:lnTo>
                  <a:lnTo>
                    <a:pt x="2755" y="314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03" name="Freeform: Shape 4097">
              <a:extLst>
                <a:ext uri="{FF2B5EF4-FFF2-40B4-BE49-F238E27FC236}">
                  <a16:creationId xmlns:a16="http://schemas.microsoft.com/office/drawing/2014/main" id="{EB6E702B-F65F-459B-B729-59EF58ECA335}"/>
                </a:ext>
              </a:extLst>
            </p:cNvPr>
            <p:cNvSpPr/>
            <p:nvPr/>
          </p:nvSpPr>
          <p:spPr>
            <a:xfrm>
              <a:off x="9712376" y="4250516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394 h 0"/>
                <a:gd name="connsiteX2" fmla="*/ 0 w 0"/>
                <a:gd name="connsiteY2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394"/>
                  </a:lnTo>
                  <a:lnTo>
                    <a:pt x="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04" name="Freeform: Shape 4098">
              <a:extLst>
                <a:ext uri="{FF2B5EF4-FFF2-40B4-BE49-F238E27FC236}">
                  <a16:creationId xmlns:a16="http://schemas.microsoft.com/office/drawing/2014/main" id="{8AF15760-3EDE-4481-9B00-AD4EAA2D8F1B}"/>
                </a:ext>
              </a:extLst>
            </p:cNvPr>
            <p:cNvSpPr/>
            <p:nvPr/>
          </p:nvSpPr>
          <p:spPr>
            <a:xfrm>
              <a:off x="9748571" y="4245402"/>
              <a:ext cx="3934" cy="3934"/>
            </a:xfrm>
            <a:custGeom>
              <a:avLst/>
              <a:gdLst>
                <a:gd name="connsiteX0" fmla="*/ 0 w 3934"/>
                <a:gd name="connsiteY0" fmla="*/ 3147 h 3934"/>
                <a:gd name="connsiteX1" fmla="*/ 1574 w 3934"/>
                <a:gd name="connsiteY1" fmla="*/ 5901 h 3934"/>
                <a:gd name="connsiteX2" fmla="*/ 1967 w 3934"/>
                <a:gd name="connsiteY2" fmla="*/ 5901 h 3934"/>
                <a:gd name="connsiteX3" fmla="*/ 4722 w 3934"/>
                <a:gd name="connsiteY3" fmla="*/ 3147 h 3934"/>
                <a:gd name="connsiteX4" fmla="*/ 1967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3147"/>
                  </a:moveTo>
                  <a:lnTo>
                    <a:pt x="1574" y="5901"/>
                  </a:lnTo>
                  <a:lnTo>
                    <a:pt x="1967" y="5901"/>
                  </a:lnTo>
                  <a:lnTo>
                    <a:pt x="4722" y="3147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05" name="Freeform: Shape 4099">
              <a:extLst>
                <a:ext uri="{FF2B5EF4-FFF2-40B4-BE49-F238E27FC236}">
                  <a16:creationId xmlns:a16="http://schemas.microsoft.com/office/drawing/2014/main" id="{BC0D4CA2-BFE9-4EFC-B0FF-81C3E4E4508F}"/>
                </a:ext>
              </a:extLst>
            </p:cNvPr>
            <p:cNvSpPr/>
            <p:nvPr/>
          </p:nvSpPr>
          <p:spPr>
            <a:xfrm>
              <a:off x="9763915" y="4234386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0 w 0"/>
                <a:gd name="connsiteY1" fmla="*/ 0 h 0"/>
                <a:gd name="connsiteX2" fmla="*/ 393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0" y="0"/>
                  </a:lnTo>
                  <a:lnTo>
                    <a:pt x="393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06" name="Freeform: Shape 4100">
              <a:extLst>
                <a:ext uri="{FF2B5EF4-FFF2-40B4-BE49-F238E27FC236}">
                  <a16:creationId xmlns:a16="http://schemas.microsoft.com/office/drawing/2014/main" id="{B50292F5-F9C5-49D1-849A-0C6BBF806863}"/>
                </a:ext>
              </a:extLst>
            </p:cNvPr>
            <p:cNvSpPr/>
            <p:nvPr/>
          </p:nvSpPr>
          <p:spPr>
            <a:xfrm>
              <a:off x="9901614" y="4229271"/>
              <a:ext cx="3934" cy="3934"/>
            </a:xfrm>
            <a:custGeom>
              <a:avLst/>
              <a:gdLst>
                <a:gd name="connsiteX0" fmla="*/ 1573 w 0"/>
                <a:gd name="connsiteY0" fmla="*/ 2754 h 3934"/>
                <a:gd name="connsiteX1" fmla="*/ 0 w 0"/>
                <a:gd name="connsiteY1" fmla="*/ 0 h 3934"/>
                <a:gd name="connsiteX2" fmla="*/ 393 w 0"/>
                <a:gd name="connsiteY2" fmla="*/ 3147 h 3934"/>
                <a:gd name="connsiteX3" fmla="*/ 1573 w 0"/>
                <a:gd name="connsiteY3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573" y="2754"/>
                  </a:moveTo>
                  <a:lnTo>
                    <a:pt x="0" y="0"/>
                  </a:lnTo>
                  <a:lnTo>
                    <a:pt x="393" y="3147"/>
                  </a:lnTo>
                  <a:lnTo>
                    <a:pt x="1573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07" name="Freeform: Shape 4101">
              <a:extLst>
                <a:ext uri="{FF2B5EF4-FFF2-40B4-BE49-F238E27FC236}">
                  <a16:creationId xmlns:a16="http://schemas.microsoft.com/office/drawing/2014/main" id="{B9A839B9-49EF-4AF1-BB2D-B1BEE70EECE6}"/>
                </a:ext>
              </a:extLst>
            </p:cNvPr>
            <p:cNvSpPr/>
            <p:nvPr/>
          </p:nvSpPr>
          <p:spPr>
            <a:xfrm>
              <a:off x="9792241" y="4196223"/>
              <a:ext cx="3934" cy="3934"/>
            </a:xfrm>
            <a:custGeom>
              <a:avLst/>
              <a:gdLst>
                <a:gd name="connsiteX0" fmla="*/ 1180 w 0"/>
                <a:gd name="connsiteY0" fmla="*/ 3147 h 3934"/>
                <a:gd name="connsiteX1" fmla="*/ 0 w 0"/>
                <a:gd name="connsiteY1" fmla="*/ 5901 h 3934"/>
                <a:gd name="connsiteX2" fmla="*/ 3148 w 0"/>
                <a:gd name="connsiteY2" fmla="*/ 7082 h 3934"/>
                <a:gd name="connsiteX3" fmla="*/ 3148 w 0"/>
                <a:gd name="connsiteY3" fmla="*/ 5901 h 3934"/>
                <a:gd name="connsiteX4" fmla="*/ 2754 w 0"/>
                <a:gd name="connsiteY4" fmla="*/ 2754 h 3934"/>
                <a:gd name="connsiteX5" fmla="*/ 2361 w 0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3934">
                  <a:moveTo>
                    <a:pt x="1180" y="3147"/>
                  </a:moveTo>
                  <a:lnTo>
                    <a:pt x="0" y="5901"/>
                  </a:lnTo>
                  <a:lnTo>
                    <a:pt x="3148" y="7082"/>
                  </a:lnTo>
                  <a:lnTo>
                    <a:pt x="3148" y="5901"/>
                  </a:lnTo>
                  <a:lnTo>
                    <a:pt x="2754" y="2754"/>
                  </a:lnTo>
                  <a:lnTo>
                    <a:pt x="236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08" name="Freeform: Shape 4102">
              <a:extLst>
                <a:ext uri="{FF2B5EF4-FFF2-40B4-BE49-F238E27FC236}">
                  <a16:creationId xmlns:a16="http://schemas.microsoft.com/office/drawing/2014/main" id="{A5213C6E-4225-4C7F-9BD5-DE9A27BC91DD}"/>
                </a:ext>
              </a:extLst>
            </p:cNvPr>
            <p:cNvSpPr/>
            <p:nvPr/>
          </p:nvSpPr>
          <p:spPr>
            <a:xfrm>
              <a:off x="9565627" y="4402379"/>
              <a:ext cx="3934" cy="3934"/>
            </a:xfrm>
            <a:custGeom>
              <a:avLst/>
              <a:gdLst>
                <a:gd name="connsiteX0" fmla="*/ 0 w 3934"/>
                <a:gd name="connsiteY0" fmla="*/ 1967 h 0"/>
                <a:gd name="connsiteX1" fmla="*/ 5509 w 3934"/>
                <a:gd name="connsiteY1" fmla="*/ 0 h 0"/>
                <a:gd name="connsiteX2" fmla="*/ 3148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0" y="1967"/>
                  </a:moveTo>
                  <a:lnTo>
                    <a:pt x="5509" y="0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09" name="Freeform: Shape 4103">
              <a:extLst>
                <a:ext uri="{FF2B5EF4-FFF2-40B4-BE49-F238E27FC236}">
                  <a16:creationId xmlns:a16="http://schemas.microsoft.com/office/drawing/2014/main" id="{81A4F5A0-9AA9-4A4D-A5A6-8C3CDA727318}"/>
                </a:ext>
              </a:extLst>
            </p:cNvPr>
            <p:cNvSpPr/>
            <p:nvPr/>
          </p:nvSpPr>
          <p:spPr>
            <a:xfrm>
              <a:off x="9586086" y="4314645"/>
              <a:ext cx="3934" cy="3934"/>
            </a:xfrm>
            <a:custGeom>
              <a:avLst/>
              <a:gdLst>
                <a:gd name="connsiteX0" fmla="*/ 393 w 0"/>
                <a:gd name="connsiteY0" fmla="*/ 2754 h 0"/>
                <a:gd name="connsiteX1" fmla="*/ 0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2754"/>
                  </a:moveTo>
                  <a:lnTo>
                    <a:pt x="0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10" name="Freeform: Shape 4104">
              <a:extLst>
                <a:ext uri="{FF2B5EF4-FFF2-40B4-BE49-F238E27FC236}">
                  <a16:creationId xmlns:a16="http://schemas.microsoft.com/office/drawing/2014/main" id="{F20560C2-54C1-4E86-9A53-51CCF718D1F9}"/>
                </a:ext>
              </a:extLst>
            </p:cNvPr>
            <p:cNvSpPr/>
            <p:nvPr/>
          </p:nvSpPr>
          <p:spPr>
            <a:xfrm>
              <a:off x="10104622" y="4183240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0 w 0"/>
                <a:gd name="connsiteY1" fmla="*/ 0 h 0"/>
                <a:gd name="connsiteX2" fmla="*/ 788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0" y="0"/>
                  </a:lnTo>
                  <a:lnTo>
                    <a:pt x="78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11" name="Freeform: Shape 4105">
              <a:extLst>
                <a:ext uri="{FF2B5EF4-FFF2-40B4-BE49-F238E27FC236}">
                  <a16:creationId xmlns:a16="http://schemas.microsoft.com/office/drawing/2014/main" id="{ECEAC775-3181-4856-83D8-92FDCAC0E239}"/>
                </a:ext>
              </a:extLst>
            </p:cNvPr>
            <p:cNvSpPr/>
            <p:nvPr/>
          </p:nvSpPr>
          <p:spPr>
            <a:xfrm>
              <a:off x="10112490" y="4133275"/>
              <a:ext cx="3934" cy="3934"/>
            </a:xfrm>
            <a:custGeom>
              <a:avLst/>
              <a:gdLst>
                <a:gd name="connsiteX0" fmla="*/ 0 w 0"/>
                <a:gd name="connsiteY0" fmla="*/ 3934 h 3934"/>
                <a:gd name="connsiteX1" fmla="*/ 394 w 0"/>
                <a:gd name="connsiteY1" fmla="*/ 2754 h 3934"/>
                <a:gd name="connsiteX2" fmla="*/ 3541 w 0"/>
                <a:gd name="connsiteY2" fmla="*/ 0 h 3934"/>
                <a:gd name="connsiteX3" fmla="*/ 394 w 0"/>
                <a:gd name="connsiteY3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3934"/>
                  </a:moveTo>
                  <a:lnTo>
                    <a:pt x="394" y="2754"/>
                  </a:lnTo>
                  <a:lnTo>
                    <a:pt x="3541" y="0"/>
                  </a:lnTo>
                  <a:lnTo>
                    <a:pt x="39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12" name="Freeform: Shape 4106">
              <a:extLst>
                <a:ext uri="{FF2B5EF4-FFF2-40B4-BE49-F238E27FC236}">
                  <a16:creationId xmlns:a16="http://schemas.microsoft.com/office/drawing/2014/main" id="{193005AE-80CC-44ED-A1C5-8EC967D1CE79}"/>
                </a:ext>
              </a:extLst>
            </p:cNvPr>
            <p:cNvSpPr/>
            <p:nvPr/>
          </p:nvSpPr>
          <p:spPr>
            <a:xfrm>
              <a:off x="10121539" y="4128161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2754 h 0"/>
                <a:gd name="connsiteX2" fmla="*/ 39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2754"/>
                  </a:lnTo>
                  <a:lnTo>
                    <a:pt x="39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13" name="Freeform: Shape 4107">
              <a:extLst>
                <a:ext uri="{FF2B5EF4-FFF2-40B4-BE49-F238E27FC236}">
                  <a16:creationId xmlns:a16="http://schemas.microsoft.com/office/drawing/2014/main" id="{2C275052-0433-42CA-B7C8-12A8F125CDB9}"/>
                </a:ext>
              </a:extLst>
            </p:cNvPr>
            <p:cNvSpPr/>
            <p:nvPr/>
          </p:nvSpPr>
          <p:spPr>
            <a:xfrm>
              <a:off x="9930727" y="4110850"/>
              <a:ext cx="15737" cy="15737"/>
            </a:xfrm>
            <a:custGeom>
              <a:avLst/>
              <a:gdLst>
                <a:gd name="connsiteX0" fmla="*/ 3934 w 15737"/>
                <a:gd name="connsiteY0" fmla="*/ 16524 h 15737"/>
                <a:gd name="connsiteX1" fmla="*/ 6688 w 15737"/>
                <a:gd name="connsiteY1" fmla="*/ 15737 h 15737"/>
                <a:gd name="connsiteX2" fmla="*/ 9443 w 15737"/>
                <a:gd name="connsiteY2" fmla="*/ 16524 h 15737"/>
                <a:gd name="connsiteX3" fmla="*/ 12197 w 15737"/>
                <a:gd name="connsiteY3" fmla="*/ 17704 h 15737"/>
                <a:gd name="connsiteX4" fmla="*/ 13770 w 15737"/>
                <a:gd name="connsiteY4" fmla="*/ 17311 h 15737"/>
                <a:gd name="connsiteX5" fmla="*/ 16524 w 15737"/>
                <a:gd name="connsiteY5" fmla="*/ 16131 h 15737"/>
                <a:gd name="connsiteX6" fmla="*/ 14950 w 15737"/>
                <a:gd name="connsiteY6" fmla="*/ 12983 h 15737"/>
                <a:gd name="connsiteX7" fmla="*/ 12197 w 15737"/>
                <a:gd name="connsiteY7" fmla="*/ 12196 h 15737"/>
                <a:gd name="connsiteX8" fmla="*/ 12197 w 15737"/>
                <a:gd name="connsiteY8" fmla="*/ 9049 h 15737"/>
                <a:gd name="connsiteX9" fmla="*/ 10229 w 15737"/>
                <a:gd name="connsiteY9" fmla="*/ 5901 h 15737"/>
                <a:gd name="connsiteX10" fmla="*/ 10622 w 15737"/>
                <a:gd name="connsiteY10" fmla="*/ 3148 h 15737"/>
                <a:gd name="connsiteX11" fmla="*/ 9836 w 15737"/>
                <a:gd name="connsiteY11" fmla="*/ 0 h 15737"/>
                <a:gd name="connsiteX12" fmla="*/ 7082 w 15737"/>
                <a:gd name="connsiteY12" fmla="*/ 1574 h 15737"/>
                <a:gd name="connsiteX13" fmla="*/ 4328 w 15737"/>
                <a:gd name="connsiteY13" fmla="*/ 4328 h 15737"/>
                <a:gd name="connsiteX14" fmla="*/ 4328 w 15737"/>
                <a:gd name="connsiteY14" fmla="*/ 7475 h 15737"/>
                <a:gd name="connsiteX15" fmla="*/ 4328 w 15737"/>
                <a:gd name="connsiteY15" fmla="*/ 10229 h 15737"/>
                <a:gd name="connsiteX16" fmla="*/ 3148 w 15737"/>
                <a:gd name="connsiteY16" fmla="*/ 12983 h 15737"/>
                <a:gd name="connsiteX17" fmla="*/ 0 w 15737"/>
                <a:gd name="connsiteY17" fmla="*/ 14163 h 15737"/>
                <a:gd name="connsiteX18" fmla="*/ 787 w 15737"/>
                <a:gd name="connsiteY18" fmla="*/ 17311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5737" h="15737">
                  <a:moveTo>
                    <a:pt x="3934" y="16524"/>
                  </a:moveTo>
                  <a:lnTo>
                    <a:pt x="6688" y="15737"/>
                  </a:lnTo>
                  <a:lnTo>
                    <a:pt x="9443" y="16524"/>
                  </a:lnTo>
                  <a:lnTo>
                    <a:pt x="12197" y="17704"/>
                  </a:lnTo>
                  <a:lnTo>
                    <a:pt x="13770" y="17311"/>
                  </a:lnTo>
                  <a:lnTo>
                    <a:pt x="16524" y="16131"/>
                  </a:lnTo>
                  <a:lnTo>
                    <a:pt x="14950" y="12983"/>
                  </a:lnTo>
                  <a:lnTo>
                    <a:pt x="12197" y="12196"/>
                  </a:lnTo>
                  <a:lnTo>
                    <a:pt x="12197" y="9049"/>
                  </a:lnTo>
                  <a:lnTo>
                    <a:pt x="10229" y="5901"/>
                  </a:lnTo>
                  <a:lnTo>
                    <a:pt x="10622" y="3148"/>
                  </a:lnTo>
                  <a:lnTo>
                    <a:pt x="9836" y="0"/>
                  </a:lnTo>
                  <a:lnTo>
                    <a:pt x="7082" y="1574"/>
                  </a:lnTo>
                  <a:lnTo>
                    <a:pt x="4328" y="4328"/>
                  </a:lnTo>
                  <a:lnTo>
                    <a:pt x="4328" y="7475"/>
                  </a:lnTo>
                  <a:lnTo>
                    <a:pt x="4328" y="10229"/>
                  </a:lnTo>
                  <a:lnTo>
                    <a:pt x="3148" y="12983"/>
                  </a:lnTo>
                  <a:lnTo>
                    <a:pt x="0" y="14163"/>
                  </a:lnTo>
                  <a:lnTo>
                    <a:pt x="787" y="1731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14" name="Freeform: Shape 4108">
              <a:extLst>
                <a:ext uri="{FF2B5EF4-FFF2-40B4-BE49-F238E27FC236}">
                  <a16:creationId xmlns:a16="http://schemas.microsoft.com/office/drawing/2014/main" id="{8A77EF9D-2DB3-4B9F-B7E3-7119934D1A37}"/>
                </a:ext>
              </a:extLst>
            </p:cNvPr>
            <p:cNvSpPr/>
            <p:nvPr/>
          </p:nvSpPr>
          <p:spPr>
            <a:xfrm>
              <a:off x="10123506" y="4125013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3148 w 0"/>
                <a:gd name="connsiteY1" fmla="*/ 0 h 0"/>
                <a:gd name="connsiteX2" fmla="*/ 394 w 0"/>
                <a:gd name="connsiteY2" fmla="*/ 23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3148" y="0"/>
                  </a:lnTo>
                  <a:lnTo>
                    <a:pt x="394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15" name="Freeform: Shape 4109">
              <a:extLst>
                <a:ext uri="{FF2B5EF4-FFF2-40B4-BE49-F238E27FC236}">
                  <a16:creationId xmlns:a16="http://schemas.microsoft.com/office/drawing/2014/main" id="{1BC05775-4CBA-4B11-AE02-F12833BAF181}"/>
                </a:ext>
              </a:extLst>
            </p:cNvPr>
            <p:cNvSpPr/>
            <p:nvPr/>
          </p:nvSpPr>
          <p:spPr>
            <a:xfrm>
              <a:off x="10113671" y="4117538"/>
              <a:ext cx="7869" cy="3934"/>
            </a:xfrm>
            <a:custGeom>
              <a:avLst/>
              <a:gdLst>
                <a:gd name="connsiteX0" fmla="*/ 5509 w 7868"/>
                <a:gd name="connsiteY0" fmla="*/ 2754 h 3934"/>
                <a:gd name="connsiteX1" fmla="*/ 7869 w 7868"/>
                <a:gd name="connsiteY1" fmla="*/ 0 h 3934"/>
                <a:gd name="connsiteX2" fmla="*/ 5115 w 7868"/>
                <a:gd name="connsiteY2" fmla="*/ 2361 h 3934"/>
                <a:gd name="connsiteX3" fmla="*/ 2361 w 7868"/>
                <a:gd name="connsiteY3" fmla="*/ 3147 h 3934"/>
                <a:gd name="connsiteX4" fmla="*/ 0 w 7868"/>
                <a:gd name="connsiteY4" fmla="*/ 5901 h 3934"/>
                <a:gd name="connsiteX5" fmla="*/ 2361 w 7868"/>
                <a:gd name="connsiteY5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5509" y="2754"/>
                  </a:moveTo>
                  <a:lnTo>
                    <a:pt x="7869" y="0"/>
                  </a:lnTo>
                  <a:lnTo>
                    <a:pt x="5115" y="2361"/>
                  </a:lnTo>
                  <a:lnTo>
                    <a:pt x="2361" y="3147"/>
                  </a:lnTo>
                  <a:lnTo>
                    <a:pt x="0" y="5901"/>
                  </a:lnTo>
                  <a:lnTo>
                    <a:pt x="2361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16" name="Freeform: Shape 4110">
              <a:extLst>
                <a:ext uri="{FF2B5EF4-FFF2-40B4-BE49-F238E27FC236}">
                  <a16:creationId xmlns:a16="http://schemas.microsoft.com/office/drawing/2014/main" id="{7C3F3FD5-704C-46FF-A8AD-42143A9DFD15}"/>
                </a:ext>
              </a:extLst>
            </p:cNvPr>
            <p:cNvSpPr/>
            <p:nvPr/>
          </p:nvSpPr>
          <p:spPr>
            <a:xfrm>
              <a:off x="10124293" y="4101408"/>
              <a:ext cx="7869" cy="11803"/>
            </a:xfrm>
            <a:custGeom>
              <a:avLst/>
              <a:gdLst>
                <a:gd name="connsiteX0" fmla="*/ 4722 w 7868"/>
                <a:gd name="connsiteY0" fmla="*/ 8262 h 11802"/>
                <a:gd name="connsiteX1" fmla="*/ 7476 w 7868"/>
                <a:gd name="connsiteY1" fmla="*/ 5508 h 11802"/>
                <a:gd name="connsiteX2" fmla="*/ 8262 w 7868"/>
                <a:gd name="connsiteY2" fmla="*/ 2754 h 11802"/>
                <a:gd name="connsiteX3" fmla="*/ 8656 w 7868"/>
                <a:gd name="connsiteY3" fmla="*/ 0 h 11802"/>
                <a:gd name="connsiteX4" fmla="*/ 7869 w 7868"/>
                <a:gd name="connsiteY4" fmla="*/ 2754 h 11802"/>
                <a:gd name="connsiteX5" fmla="*/ 5509 w 7868"/>
                <a:gd name="connsiteY5" fmla="*/ 5508 h 11802"/>
                <a:gd name="connsiteX6" fmla="*/ 3148 w 7868"/>
                <a:gd name="connsiteY6" fmla="*/ 8262 h 11802"/>
                <a:gd name="connsiteX7" fmla="*/ 0 w 7868"/>
                <a:gd name="connsiteY7" fmla="*/ 14163 h 11802"/>
                <a:gd name="connsiteX8" fmla="*/ 394 w 7868"/>
                <a:gd name="connsiteY8" fmla="*/ 13770 h 11802"/>
                <a:gd name="connsiteX9" fmla="*/ 3148 w 7868"/>
                <a:gd name="connsiteY9" fmla="*/ 1140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11802">
                  <a:moveTo>
                    <a:pt x="4722" y="8262"/>
                  </a:moveTo>
                  <a:lnTo>
                    <a:pt x="7476" y="5508"/>
                  </a:lnTo>
                  <a:lnTo>
                    <a:pt x="8262" y="2754"/>
                  </a:lnTo>
                  <a:lnTo>
                    <a:pt x="8656" y="0"/>
                  </a:lnTo>
                  <a:lnTo>
                    <a:pt x="7869" y="2754"/>
                  </a:lnTo>
                  <a:lnTo>
                    <a:pt x="5509" y="5508"/>
                  </a:lnTo>
                  <a:lnTo>
                    <a:pt x="3148" y="8262"/>
                  </a:lnTo>
                  <a:lnTo>
                    <a:pt x="0" y="14163"/>
                  </a:lnTo>
                  <a:lnTo>
                    <a:pt x="394" y="13770"/>
                  </a:lnTo>
                  <a:lnTo>
                    <a:pt x="3148" y="1140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17" name="Freeform: Shape 4111">
              <a:extLst>
                <a:ext uri="{FF2B5EF4-FFF2-40B4-BE49-F238E27FC236}">
                  <a16:creationId xmlns:a16="http://schemas.microsoft.com/office/drawing/2014/main" id="{7DDC1874-9FA2-4546-842C-E3A9452D0096}"/>
                </a:ext>
              </a:extLst>
            </p:cNvPr>
            <p:cNvSpPr/>
            <p:nvPr/>
          </p:nvSpPr>
          <p:spPr>
            <a:xfrm>
              <a:off x="10005478" y="4100227"/>
              <a:ext cx="3934" cy="11803"/>
            </a:xfrm>
            <a:custGeom>
              <a:avLst/>
              <a:gdLst>
                <a:gd name="connsiteX0" fmla="*/ 2361 w 3934"/>
                <a:gd name="connsiteY0" fmla="*/ 0 h 11802"/>
                <a:gd name="connsiteX1" fmla="*/ 787 w 3934"/>
                <a:gd name="connsiteY1" fmla="*/ 2754 h 11802"/>
                <a:gd name="connsiteX2" fmla="*/ 0 w 3934"/>
                <a:gd name="connsiteY2" fmla="*/ 5508 h 11802"/>
                <a:gd name="connsiteX3" fmla="*/ 1180 w 3934"/>
                <a:gd name="connsiteY3" fmla="*/ 8655 h 11802"/>
                <a:gd name="connsiteX4" fmla="*/ 2361 w 3934"/>
                <a:gd name="connsiteY4" fmla="*/ 11803 h 11802"/>
                <a:gd name="connsiteX5" fmla="*/ 3541 w 3934"/>
                <a:gd name="connsiteY5" fmla="*/ 8655 h 11802"/>
                <a:gd name="connsiteX6" fmla="*/ 3934 w 3934"/>
                <a:gd name="connsiteY6" fmla="*/ 5901 h 11802"/>
                <a:gd name="connsiteX7" fmla="*/ 3148 w 3934"/>
                <a:gd name="connsiteY7" fmla="*/ 2754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11802">
                  <a:moveTo>
                    <a:pt x="2361" y="0"/>
                  </a:moveTo>
                  <a:lnTo>
                    <a:pt x="787" y="2754"/>
                  </a:lnTo>
                  <a:lnTo>
                    <a:pt x="0" y="5508"/>
                  </a:lnTo>
                  <a:lnTo>
                    <a:pt x="1180" y="8655"/>
                  </a:lnTo>
                  <a:lnTo>
                    <a:pt x="2361" y="11803"/>
                  </a:lnTo>
                  <a:lnTo>
                    <a:pt x="3541" y="8655"/>
                  </a:lnTo>
                  <a:lnTo>
                    <a:pt x="3934" y="5901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18" name="Freeform: Shape 4112">
              <a:extLst>
                <a:ext uri="{FF2B5EF4-FFF2-40B4-BE49-F238E27FC236}">
                  <a16:creationId xmlns:a16="http://schemas.microsoft.com/office/drawing/2014/main" id="{52A36F27-BAAA-4E36-8EBF-588296037DE5}"/>
                </a:ext>
              </a:extLst>
            </p:cNvPr>
            <p:cNvSpPr/>
            <p:nvPr/>
          </p:nvSpPr>
          <p:spPr>
            <a:xfrm>
              <a:off x="9729687" y="4133275"/>
              <a:ext cx="3934" cy="3934"/>
            </a:xfrm>
            <a:custGeom>
              <a:avLst/>
              <a:gdLst>
                <a:gd name="connsiteX0" fmla="*/ 0 w 0"/>
                <a:gd name="connsiteY0" fmla="*/ 1574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574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19" name="Freeform: Shape 4113">
              <a:extLst>
                <a:ext uri="{FF2B5EF4-FFF2-40B4-BE49-F238E27FC236}">
                  <a16:creationId xmlns:a16="http://schemas.microsoft.com/office/drawing/2014/main" id="{38488584-C7DC-4855-8197-E84C027E1C41}"/>
                </a:ext>
              </a:extLst>
            </p:cNvPr>
            <p:cNvSpPr/>
            <p:nvPr/>
          </p:nvSpPr>
          <p:spPr>
            <a:xfrm>
              <a:off x="9717490" y="4083310"/>
              <a:ext cx="15737" cy="11803"/>
            </a:xfrm>
            <a:custGeom>
              <a:avLst/>
              <a:gdLst>
                <a:gd name="connsiteX0" fmla="*/ 18098 w 15737"/>
                <a:gd name="connsiteY0" fmla="*/ 5508 h 11802"/>
                <a:gd name="connsiteX1" fmla="*/ 16524 w 15737"/>
                <a:gd name="connsiteY1" fmla="*/ 2754 h 11802"/>
                <a:gd name="connsiteX2" fmla="*/ 15343 w 15737"/>
                <a:gd name="connsiteY2" fmla="*/ 0 h 11802"/>
                <a:gd name="connsiteX3" fmla="*/ 12589 w 15737"/>
                <a:gd name="connsiteY3" fmla="*/ 1574 h 11802"/>
                <a:gd name="connsiteX4" fmla="*/ 10229 w 15737"/>
                <a:gd name="connsiteY4" fmla="*/ 4721 h 11802"/>
                <a:gd name="connsiteX5" fmla="*/ 7082 w 15737"/>
                <a:gd name="connsiteY5" fmla="*/ 7475 h 11802"/>
                <a:gd name="connsiteX6" fmla="*/ 3934 w 15737"/>
                <a:gd name="connsiteY6" fmla="*/ 7869 h 11802"/>
                <a:gd name="connsiteX7" fmla="*/ 787 w 15737"/>
                <a:gd name="connsiteY7" fmla="*/ 8655 h 11802"/>
                <a:gd name="connsiteX8" fmla="*/ 0 w 15737"/>
                <a:gd name="connsiteY8" fmla="*/ 11409 h 11802"/>
                <a:gd name="connsiteX9" fmla="*/ 787 w 15737"/>
                <a:gd name="connsiteY9" fmla="*/ 14557 h 11802"/>
                <a:gd name="connsiteX10" fmla="*/ 3540 w 15737"/>
                <a:gd name="connsiteY10" fmla="*/ 12983 h 11802"/>
                <a:gd name="connsiteX11" fmla="*/ 6295 w 15737"/>
                <a:gd name="connsiteY11" fmla="*/ 11803 h 11802"/>
                <a:gd name="connsiteX12" fmla="*/ 9049 w 15737"/>
                <a:gd name="connsiteY12" fmla="*/ 10623 h 11802"/>
                <a:gd name="connsiteX13" fmla="*/ 12197 w 15737"/>
                <a:gd name="connsiteY13" fmla="*/ 9442 h 11802"/>
                <a:gd name="connsiteX14" fmla="*/ 14950 w 15737"/>
                <a:gd name="connsiteY14" fmla="*/ 6688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737" h="11802">
                  <a:moveTo>
                    <a:pt x="18098" y="5508"/>
                  </a:moveTo>
                  <a:lnTo>
                    <a:pt x="16524" y="2754"/>
                  </a:lnTo>
                  <a:lnTo>
                    <a:pt x="15343" y="0"/>
                  </a:lnTo>
                  <a:lnTo>
                    <a:pt x="12589" y="1574"/>
                  </a:lnTo>
                  <a:lnTo>
                    <a:pt x="10229" y="4721"/>
                  </a:lnTo>
                  <a:lnTo>
                    <a:pt x="7082" y="7475"/>
                  </a:lnTo>
                  <a:lnTo>
                    <a:pt x="3934" y="7869"/>
                  </a:lnTo>
                  <a:lnTo>
                    <a:pt x="787" y="8655"/>
                  </a:lnTo>
                  <a:lnTo>
                    <a:pt x="0" y="11409"/>
                  </a:lnTo>
                  <a:lnTo>
                    <a:pt x="787" y="14557"/>
                  </a:lnTo>
                  <a:lnTo>
                    <a:pt x="3540" y="12983"/>
                  </a:lnTo>
                  <a:lnTo>
                    <a:pt x="6295" y="11803"/>
                  </a:lnTo>
                  <a:lnTo>
                    <a:pt x="9049" y="10623"/>
                  </a:lnTo>
                  <a:lnTo>
                    <a:pt x="12197" y="9442"/>
                  </a:lnTo>
                  <a:lnTo>
                    <a:pt x="14950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20" name="Freeform: Shape 4114">
              <a:extLst>
                <a:ext uri="{FF2B5EF4-FFF2-40B4-BE49-F238E27FC236}">
                  <a16:creationId xmlns:a16="http://schemas.microsoft.com/office/drawing/2014/main" id="{2604FAB1-2355-49A9-8B1C-CD6FCBA24999}"/>
                </a:ext>
              </a:extLst>
            </p:cNvPr>
            <p:cNvSpPr/>
            <p:nvPr/>
          </p:nvSpPr>
          <p:spPr>
            <a:xfrm>
              <a:off x="10467754" y="4071114"/>
              <a:ext cx="3934" cy="3934"/>
            </a:xfrm>
            <a:custGeom>
              <a:avLst/>
              <a:gdLst>
                <a:gd name="connsiteX0" fmla="*/ 3148 w 3934"/>
                <a:gd name="connsiteY0" fmla="*/ 1180 h 0"/>
                <a:gd name="connsiteX1" fmla="*/ 5901 w 3934"/>
                <a:gd name="connsiteY1" fmla="*/ 1180 h 0"/>
                <a:gd name="connsiteX2" fmla="*/ 5901 w 3934"/>
                <a:gd name="connsiteY2" fmla="*/ 1180 h 0"/>
                <a:gd name="connsiteX3" fmla="*/ 0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148" y="1180"/>
                  </a:moveTo>
                  <a:lnTo>
                    <a:pt x="5901" y="1180"/>
                  </a:lnTo>
                  <a:lnTo>
                    <a:pt x="5901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21" name="Freeform: Shape 4115">
              <a:extLst>
                <a:ext uri="{FF2B5EF4-FFF2-40B4-BE49-F238E27FC236}">
                  <a16:creationId xmlns:a16="http://schemas.microsoft.com/office/drawing/2014/main" id="{7E171ED1-7479-453B-8767-E0B80B685DAC}"/>
                </a:ext>
              </a:extLst>
            </p:cNvPr>
            <p:cNvSpPr/>
            <p:nvPr/>
          </p:nvSpPr>
          <p:spPr>
            <a:xfrm>
              <a:off x="10400085" y="4065999"/>
              <a:ext cx="3934" cy="3934"/>
            </a:xfrm>
            <a:custGeom>
              <a:avLst/>
              <a:gdLst>
                <a:gd name="connsiteX0" fmla="*/ 3934 w 3934"/>
                <a:gd name="connsiteY0" fmla="*/ 3541 h 3934"/>
                <a:gd name="connsiteX1" fmla="*/ 2754 w 3934"/>
                <a:gd name="connsiteY1" fmla="*/ 393 h 3934"/>
                <a:gd name="connsiteX2" fmla="*/ 0 w 3934"/>
                <a:gd name="connsiteY2" fmla="*/ 0 h 3934"/>
                <a:gd name="connsiteX3" fmla="*/ 2754 w 3934"/>
                <a:gd name="connsiteY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3934" y="3541"/>
                  </a:moveTo>
                  <a:lnTo>
                    <a:pt x="2754" y="393"/>
                  </a:lnTo>
                  <a:lnTo>
                    <a:pt x="0" y="0"/>
                  </a:lnTo>
                  <a:lnTo>
                    <a:pt x="2754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22" name="Freeform: Shape 4116">
              <a:extLst>
                <a:ext uri="{FF2B5EF4-FFF2-40B4-BE49-F238E27FC236}">
                  <a16:creationId xmlns:a16="http://schemas.microsoft.com/office/drawing/2014/main" id="{82949B86-7AB0-45F1-91FE-0075FBCA13C5}"/>
                </a:ext>
              </a:extLst>
            </p:cNvPr>
            <p:cNvSpPr/>
            <p:nvPr/>
          </p:nvSpPr>
          <p:spPr>
            <a:xfrm>
              <a:off x="10108556" y="4190715"/>
              <a:ext cx="15737" cy="19671"/>
            </a:xfrm>
            <a:custGeom>
              <a:avLst/>
              <a:gdLst>
                <a:gd name="connsiteX0" fmla="*/ 17704 w 15737"/>
                <a:gd name="connsiteY0" fmla="*/ 19278 h 19671"/>
                <a:gd name="connsiteX1" fmla="*/ 18492 w 15737"/>
                <a:gd name="connsiteY1" fmla="*/ 16524 h 19671"/>
                <a:gd name="connsiteX2" fmla="*/ 15737 w 15737"/>
                <a:gd name="connsiteY2" fmla="*/ 18491 h 19671"/>
                <a:gd name="connsiteX3" fmla="*/ 12590 w 15737"/>
                <a:gd name="connsiteY3" fmla="*/ 16524 h 19671"/>
                <a:gd name="connsiteX4" fmla="*/ 11016 w 15737"/>
                <a:gd name="connsiteY4" fmla="*/ 13770 h 19671"/>
                <a:gd name="connsiteX5" fmla="*/ 13770 w 15737"/>
                <a:gd name="connsiteY5" fmla="*/ 12196 h 19671"/>
                <a:gd name="connsiteX6" fmla="*/ 13377 w 15737"/>
                <a:gd name="connsiteY6" fmla="*/ 9442 h 19671"/>
                <a:gd name="connsiteX7" fmla="*/ 16131 w 15737"/>
                <a:gd name="connsiteY7" fmla="*/ 8262 h 19671"/>
                <a:gd name="connsiteX8" fmla="*/ 17704 w 15737"/>
                <a:gd name="connsiteY8" fmla="*/ 5114 h 19671"/>
                <a:gd name="connsiteX9" fmla="*/ 14950 w 15737"/>
                <a:gd name="connsiteY9" fmla="*/ 5114 h 19671"/>
                <a:gd name="connsiteX10" fmla="*/ 12197 w 15737"/>
                <a:gd name="connsiteY10" fmla="*/ 6295 h 19671"/>
                <a:gd name="connsiteX11" fmla="*/ 11410 w 15737"/>
                <a:gd name="connsiteY11" fmla="*/ 3147 h 19671"/>
                <a:gd name="connsiteX12" fmla="*/ 13377 w 15737"/>
                <a:gd name="connsiteY12" fmla="*/ 0 h 19671"/>
                <a:gd name="connsiteX13" fmla="*/ 10229 w 15737"/>
                <a:gd name="connsiteY13" fmla="*/ 1180 h 19671"/>
                <a:gd name="connsiteX14" fmla="*/ 9443 w 15737"/>
                <a:gd name="connsiteY14" fmla="*/ 3934 h 19671"/>
                <a:gd name="connsiteX15" fmla="*/ 6689 w 15737"/>
                <a:gd name="connsiteY15" fmla="*/ 3934 h 19671"/>
                <a:gd name="connsiteX16" fmla="*/ 3934 w 15737"/>
                <a:gd name="connsiteY16" fmla="*/ 5114 h 19671"/>
                <a:gd name="connsiteX17" fmla="*/ 3541 w 15737"/>
                <a:gd name="connsiteY17" fmla="*/ 8262 h 19671"/>
                <a:gd name="connsiteX18" fmla="*/ 2361 w 15737"/>
                <a:gd name="connsiteY18" fmla="*/ 11016 h 19671"/>
                <a:gd name="connsiteX19" fmla="*/ 2361 w 15737"/>
                <a:gd name="connsiteY19" fmla="*/ 14163 h 19671"/>
                <a:gd name="connsiteX20" fmla="*/ 1574 w 15737"/>
                <a:gd name="connsiteY20" fmla="*/ 16917 h 19671"/>
                <a:gd name="connsiteX21" fmla="*/ 0 w 15737"/>
                <a:gd name="connsiteY21" fmla="*/ 18098 h 19671"/>
                <a:gd name="connsiteX22" fmla="*/ 2755 w 15737"/>
                <a:gd name="connsiteY22" fmla="*/ 19278 h 19671"/>
                <a:gd name="connsiteX23" fmla="*/ 5509 w 15737"/>
                <a:gd name="connsiteY23" fmla="*/ 20458 h 19671"/>
                <a:gd name="connsiteX24" fmla="*/ 8656 w 15737"/>
                <a:gd name="connsiteY24" fmla="*/ 21245 h 19671"/>
                <a:gd name="connsiteX25" fmla="*/ 11410 w 15737"/>
                <a:gd name="connsiteY25" fmla="*/ 20458 h 19671"/>
                <a:gd name="connsiteX26" fmla="*/ 14558 w 15737"/>
                <a:gd name="connsiteY26" fmla="*/ 21245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737" h="19671">
                  <a:moveTo>
                    <a:pt x="17704" y="19278"/>
                  </a:moveTo>
                  <a:lnTo>
                    <a:pt x="18492" y="16524"/>
                  </a:lnTo>
                  <a:lnTo>
                    <a:pt x="15737" y="18491"/>
                  </a:lnTo>
                  <a:lnTo>
                    <a:pt x="12590" y="16524"/>
                  </a:lnTo>
                  <a:lnTo>
                    <a:pt x="11016" y="13770"/>
                  </a:lnTo>
                  <a:lnTo>
                    <a:pt x="13770" y="12196"/>
                  </a:lnTo>
                  <a:lnTo>
                    <a:pt x="13377" y="9442"/>
                  </a:lnTo>
                  <a:lnTo>
                    <a:pt x="16131" y="8262"/>
                  </a:lnTo>
                  <a:lnTo>
                    <a:pt x="17704" y="5114"/>
                  </a:lnTo>
                  <a:lnTo>
                    <a:pt x="14950" y="5114"/>
                  </a:lnTo>
                  <a:lnTo>
                    <a:pt x="12197" y="6295"/>
                  </a:lnTo>
                  <a:lnTo>
                    <a:pt x="11410" y="3147"/>
                  </a:lnTo>
                  <a:lnTo>
                    <a:pt x="13377" y="0"/>
                  </a:lnTo>
                  <a:lnTo>
                    <a:pt x="10229" y="1180"/>
                  </a:lnTo>
                  <a:lnTo>
                    <a:pt x="9443" y="3934"/>
                  </a:lnTo>
                  <a:lnTo>
                    <a:pt x="6689" y="3934"/>
                  </a:lnTo>
                  <a:lnTo>
                    <a:pt x="3934" y="5114"/>
                  </a:lnTo>
                  <a:lnTo>
                    <a:pt x="3541" y="8262"/>
                  </a:lnTo>
                  <a:lnTo>
                    <a:pt x="2361" y="11016"/>
                  </a:lnTo>
                  <a:lnTo>
                    <a:pt x="2361" y="14163"/>
                  </a:lnTo>
                  <a:lnTo>
                    <a:pt x="1574" y="16917"/>
                  </a:lnTo>
                  <a:lnTo>
                    <a:pt x="0" y="18098"/>
                  </a:lnTo>
                  <a:lnTo>
                    <a:pt x="2755" y="19278"/>
                  </a:lnTo>
                  <a:lnTo>
                    <a:pt x="5509" y="20458"/>
                  </a:lnTo>
                  <a:lnTo>
                    <a:pt x="8656" y="21245"/>
                  </a:lnTo>
                  <a:lnTo>
                    <a:pt x="11410" y="20458"/>
                  </a:lnTo>
                  <a:lnTo>
                    <a:pt x="14558" y="2124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23" name="Freeform: Shape 4117">
              <a:extLst>
                <a:ext uri="{FF2B5EF4-FFF2-40B4-BE49-F238E27FC236}">
                  <a16:creationId xmlns:a16="http://schemas.microsoft.com/office/drawing/2014/main" id="{166DBAA6-05C9-4158-B7D7-92DD00C50468}"/>
                </a:ext>
              </a:extLst>
            </p:cNvPr>
            <p:cNvSpPr/>
            <p:nvPr/>
          </p:nvSpPr>
          <p:spPr>
            <a:xfrm>
              <a:off x="9942137" y="4106915"/>
              <a:ext cx="31474" cy="23606"/>
            </a:xfrm>
            <a:custGeom>
              <a:avLst/>
              <a:gdLst>
                <a:gd name="connsiteX0" fmla="*/ 7869 w 31474"/>
                <a:gd name="connsiteY0" fmla="*/ 20458 h 23605"/>
                <a:gd name="connsiteX1" fmla="*/ 11015 w 31474"/>
                <a:gd name="connsiteY1" fmla="*/ 22032 h 23605"/>
                <a:gd name="connsiteX2" fmla="*/ 13770 w 31474"/>
                <a:gd name="connsiteY2" fmla="*/ 23999 h 23605"/>
                <a:gd name="connsiteX3" fmla="*/ 16524 w 31474"/>
                <a:gd name="connsiteY3" fmla="*/ 23212 h 23605"/>
                <a:gd name="connsiteX4" fmla="*/ 19278 w 31474"/>
                <a:gd name="connsiteY4" fmla="*/ 21245 h 23605"/>
                <a:gd name="connsiteX5" fmla="*/ 22031 w 31474"/>
                <a:gd name="connsiteY5" fmla="*/ 19671 h 23605"/>
                <a:gd name="connsiteX6" fmla="*/ 25179 w 31474"/>
                <a:gd name="connsiteY6" fmla="*/ 18098 h 23605"/>
                <a:gd name="connsiteX7" fmla="*/ 27540 w 31474"/>
                <a:gd name="connsiteY7" fmla="*/ 14950 h 23605"/>
                <a:gd name="connsiteX8" fmla="*/ 30294 w 31474"/>
                <a:gd name="connsiteY8" fmla="*/ 13770 h 23605"/>
                <a:gd name="connsiteX9" fmla="*/ 31080 w 31474"/>
                <a:gd name="connsiteY9" fmla="*/ 11016 h 23605"/>
                <a:gd name="connsiteX10" fmla="*/ 33834 w 31474"/>
                <a:gd name="connsiteY10" fmla="*/ 7869 h 23605"/>
                <a:gd name="connsiteX11" fmla="*/ 31474 w 31474"/>
                <a:gd name="connsiteY11" fmla="*/ 5115 h 23605"/>
                <a:gd name="connsiteX12" fmla="*/ 31080 w 31474"/>
                <a:gd name="connsiteY12" fmla="*/ 1967 h 23605"/>
                <a:gd name="connsiteX13" fmla="*/ 28327 w 31474"/>
                <a:gd name="connsiteY13" fmla="*/ 1574 h 23605"/>
                <a:gd name="connsiteX14" fmla="*/ 25573 w 31474"/>
                <a:gd name="connsiteY14" fmla="*/ 0 h 23605"/>
                <a:gd name="connsiteX15" fmla="*/ 23998 w 31474"/>
                <a:gd name="connsiteY15" fmla="*/ 2754 h 23605"/>
                <a:gd name="connsiteX16" fmla="*/ 24785 w 31474"/>
                <a:gd name="connsiteY16" fmla="*/ 5901 h 23605"/>
                <a:gd name="connsiteX17" fmla="*/ 24785 w 31474"/>
                <a:gd name="connsiteY17" fmla="*/ 6295 h 23605"/>
                <a:gd name="connsiteX18" fmla="*/ 23212 w 31474"/>
                <a:gd name="connsiteY18" fmla="*/ 3148 h 23605"/>
                <a:gd name="connsiteX19" fmla="*/ 20064 w 31474"/>
                <a:gd name="connsiteY19" fmla="*/ 3541 h 23605"/>
                <a:gd name="connsiteX20" fmla="*/ 18884 w 31474"/>
                <a:gd name="connsiteY20" fmla="*/ 6295 h 23605"/>
                <a:gd name="connsiteX21" fmla="*/ 15737 w 31474"/>
                <a:gd name="connsiteY21" fmla="*/ 3934 h 23605"/>
                <a:gd name="connsiteX22" fmla="*/ 12982 w 31474"/>
                <a:gd name="connsiteY22" fmla="*/ 5508 h 23605"/>
                <a:gd name="connsiteX23" fmla="*/ 9836 w 31474"/>
                <a:gd name="connsiteY23" fmla="*/ 5901 h 23605"/>
                <a:gd name="connsiteX24" fmla="*/ 7081 w 31474"/>
                <a:gd name="connsiteY24" fmla="*/ 5115 h 23605"/>
                <a:gd name="connsiteX25" fmla="*/ 5114 w 31474"/>
                <a:gd name="connsiteY25" fmla="*/ 2361 h 23605"/>
                <a:gd name="connsiteX26" fmla="*/ 1967 w 31474"/>
                <a:gd name="connsiteY26" fmla="*/ 787 h 23605"/>
                <a:gd name="connsiteX27" fmla="*/ 0 w 31474"/>
                <a:gd name="connsiteY27" fmla="*/ 3934 h 23605"/>
                <a:gd name="connsiteX28" fmla="*/ 0 w 31474"/>
                <a:gd name="connsiteY28" fmla="*/ 6688 h 23605"/>
                <a:gd name="connsiteX29" fmla="*/ 393 w 31474"/>
                <a:gd name="connsiteY29" fmla="*/ 9836 h 23605"/>
                <a:gd name="connsiteX30" fmla="*/ 1967 w 31474"/>
                <a:gd name="connsiteY30" fmla="*/ 12590 h 23605"/>
                <a:gd name="connsiteX31" fmla="*/ 1967 w 31474"/>
                <a:gd name="connsiteY31" fmla="*/ 15737 h 23605"/>
                <a:gd name="connsiteX32" fmla="*/ 5114 w 31474"/>
                <a:gd name="connsiteY32" fmla="*/ 17704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1474" h="23605">
                  <a:moveTo>
                    <a:pt x="7869" y="20458"/>
                  </a:moveTo>
                  <a:lnTo>
                    <a:pt x="11015" y="22032"/>
                  </a:lnTo>
                  <a:lnTo>
                    <a:pt x="13770" y="23999"/>
                  </a:lnTo>
                  <a:lnTo>
                    <a:pt x="16524" y="23212"/>
                  </a:lnTo>
                  <a:lnTo>
                    <a:pt x="19278" y="21245"/>
                  </a:lnTo>
                  <a:lnTo>
                    <a:pt x="22031" y="19671"/>
                  </a:lnTo>
                  <a:lnTo>
                    <a:pt x="25179" y="18098"/>
                  </a:lnTo>
                  <a:lnTo>
                    <a:pt x="27540" y="14950"/>
                  </a:lnTo>
                  <a:lnTo>
                    <a:pt x="30294" y="13770"/>
                  </a:lnTo>
                  <a:lnTo>
                    <a:pt x="31080" y="11016"/>
                  </a:lnTo>
                  <a:lnTo>
                    <a:pt x="33834" y="7869"/>
                  </a:lnTo>
                  <a:lnTo>
                    <a:pt x="31474" y="5115"/>
                  </a:lnTo>
                  <a:lnTo>
                    <a:pt x="31080" y="1967"/>
                  </a:lnTo>
                  <a:lnTo>
                    <a:pt x="28327" y="1574"/>
                  </a:lnTo>
                  <a:lnTo>
                    <a:pt x="25573" y="0"/>
                  </a:lnTo>
                  <a:lnTo>
                    <a:pt x="23998" y="2754"/>
                  </a:lnTo>
                  <a:lnTo>
                    <a:pt x="24785" y="5901"/>
                  </a:lnTo>
                  <a:lnTo>
                    <a:pt x="24785" y="6295"/>
                  </a:lnTo>
                  <a:lnTo>
                    <a:pt x="23212" y="3148"/>
                  </a:lnTo>
                  <a:lnTo>
                    <a:pt x="20064" y="3541"/>
                  </a:lnTo>
                  <a:lnTo>
                    <a:pt x="18884" y="6295"/>
                  </a:lnTo>
                  <a:lnTo>
                    <a:pt x="15737" y="3934"/>
                  </a:lnTo>
                  <a:lnTo>
                    <a:pt x="12982" y="5508"/>
                  </a:lnTo>
                  <a:lnTo>
                    <a:pt x="9836" y="5901"/>
                  </a:lnTo>
                  <a:lnTo>
                    <a:pt x="7081" y="5115"/>
                  </a:lnTo>
                  <a:lnTo>
                    <a:pt x="5114" y="2361"/>
                  </a:lnTo>
                  <a:lnTo>
                    <a:pt x="1967" y="787"/>
                  </a:lnTo>
                  <a:lnTo>
                    <a:pt x="0" y="3934"/>
                  </a:lnTo>
                  <a:lnTo>
                    <a:pt x="0" y="6688"/>
                  </a:lnTo>
                  <a:lnTo>
                    <a:pt x="393" y="9836"/>
                  </a:lnTo>
                  <a:lnTo>
                    <a:pt x="1967" y="12590"/>
                  </a:lnTo>
                  <a:lnTo>
                    <a:pt x="1967" y="15737"/>
                  </a:lnTo>
                  <a:lnTo>
                    <a:pt x="5114" y="1770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24" name="Freeform: Shape 4118">
              <a:extLst>
                <a:ext uri="{FF2B5EF4-FFF2-40B4-BE49-F238E27FC236}">
                  <a16:creationId xmlns:a16="http://schemas.microsoft.com/office/drawing/2014/main" id="{66185B6C-AB00-4089-A819-A0ED6AD495A6}"/>
                </a:ext>
              </a:extLst>
            </p:cNvPr>
            <p:cNvSpPr/>
            <p:nvPr/>
          </p:nvSpPr>
          <p:spPr>
            <a:xfrm>
              <a:off x="10183701" y="4305202"/>
              <a:ext cx="3934" cy="3934"/>
            </a:xfrm>
            <a:custGeom>
              <a:avLst/>
              <a:gdLst>
                <a:gd name="connsiteX0" fmla="*/ 0 w 3934"/>
                <a:gd name="connsiteY0" fmla="*/ 3934 h 3934"/>
                <a:gd name="connsiteX1" fmla="*/ 1967 w 3934"/>
                <a:gd name="connsiteY1" fmla="*/ 3147 h 3934"/>
                <a:gd name="connsiteX2" fmla="*/ 4721 w 3934"/>
                <a:gd name="connsiteY2" fmla="*/ 2754 h 3934"/>
                <a:gd name="connsiteX3" fmla="*/ 4328 w 3934"/>
                <a:gd name="connsiteY3" fmla="*/ 0 h 3934"/>
                <a:gd name="connsiteX4" fmla="*/ 1573 w 3934"/>
                <a:gd name="connsiteY4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3934"/>
                  </a:moveTo>
                  <a:lnTo>
                    <a:pt x="1967" y="3147"/>
                  </a:lnTo>
                  <a:lnTo>
                    <a:pt x="4721" y="2754"/>
                  </a:lnTo>
                  <a:lnTo>
                    <a:pt x="4328" y="0"/>
                  </a:lnTo>
                  <a:lnTo>
                    <a:pt x="1573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25" name="Freeform: Shape 4119">
              <a:extLst>
                <a:ext uri="{FF2B5EF4-FFF2-40B4-BE49-F238E27FC236}">
                  <a16:creationId xmlns:a16="http://schemas.microsoft.com/office/drawing/2014/main" id="{5DCD2715-E056-48C0-A8C6-A8F98FA3430A}"/>
                </a:ext>
              </a:extLst>
            </p:cNvPr>
            <p:cNvSpPr/>
            <p:nvPr/>
          </p:nvSpPr>
          <p:spPr>
            <a:xfrm>
              <a:off x="10177799" y="4284351"/>
              <a:ext cx="15737" cy="11803"/>
            </a:xfrm>
            <a:custGeom>
              <a:avLst/>
              <a:gdLst>
                <a:gd name="connsiteX0" fmla="*/ 12197 w 15737"/>
                <a:gd name="connsiteY0" fmla="*/ 3541 h 11802"/>
                <a:gd name="connsiteX1" fmla="*/ 15343 w 15737"/>
                <a:gd name="connsiteY1" fmla="*/ 4328 h 11802"/>
                <a:gd name="connsiteX2" fmla="*/ 18098 w 15737"/>
                <a:gd name="connsiteY2" fmla="*/ 3934 h 11802"/>
                <a:gd name="connsiteX3" fmla="*/ 16524 w 15737"/>
                <a:gd name="connsiteY3" fmla="*/ 787 h 11802"/>
                <a:gd name="connsiteX4" fmla="*/ 13770 w 15737"/>
                <a:gd name="connsiteY4" fmla="*/ 0 h 11802"/>
                <a:gd name="connsiteX5" fmla="*/ 11016 w 15737"/>
                <a:gd name="connsiteY5" fmla="*/ 1180 h 11802"/>
                <a:gd name="connsiteX6" fmla="*/ 7869 w 15737"/>
                <a:gd name="connsiteY6" fmla="*/ 1574 h 11802"/>
                <a:gd name="connsiteX7" fmla="*/ 5115 w 15737"/>
                <a:gd name="connsiteY7" fmla="*/ 3147 h 11802"/>
                <a:gd name="connsiteX8" fmla="*/ 1967 w 15737"/>
                <a:gd name="connsiteY8" fmla="*/ 5901 h 11802"/>
                <a:gd name="connsiteX9" fmla="*/ 787 w 15737"/>
                <a:gd name="connsiteY9" fmla="*/ 9049 h 11802"/>
                <a:gd name="connsiteX10" fmla="*/ 0 w 15737"/>
                <a:gd name="connsiteY10" fmla="*/ 11803 h 11802"/>
                <a:gd name="connsiteX11" fmla="*/ 2361 w 15737"/>
                <a:gd name="connsiteY11" fmla="*/ 9836 h 11802"/>
                <a:gd name="connsiteX12" fmla="*/ 5115 w 15737"/>
                <a:gd name="connsiteY12" fmla="*/ 10623 h 11802"/>
                <a:gd name="connsiteX13" fmla="*/ 7869 w 15737"/>
                <a:gd name="connsiteY13" fmla="*/ 7475 h 11802"/>
                <a:gd name="connsiteX14" fmla="*/ 10622 w 15737"/>
                <a:gd name="connsiteY14" fmla="*/ 6688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737" h="11802">
                  <a:moveTo>
                    <a:pt x="12197" y="3541"/>
                  </a:moveTo>
                  <a:lnTo>
                    <a:pt x="15343" y="4328"/>
                  </a:lnTo>
                  <a:lnTo>
                    <a:pt x="18098" y="3934"/>
                  </a:lnTo>
                  <a:lnTo>
                    <a:pt x="16524" y="787"/>
                  </a:lnTo>
                  <a:lnTo>
                    <a:pt x="13770" y="0"/>
                  </a:lnTo>
                  <a:lnTo>
                    <a:pt x="11016" y="1180"/>
                  </a:lnTo>
                  <a:lnTo>
                    <a:pt x="7869" y="1574"/>
                  </a:lnTo>
                  <a:lnTo>
                    <a:pt x="5115" y="3147"/>
                  </a:lnTo>
                  <a:lnTo>
                    <a:pt x="1967" y="5901"/>
                  </a:lnTo>
                  <a:lnTo>
                    <a:pt x="787" y="9049"/>
                  </a:lnTo>
                  <a:lnTo>
                    <a:pt x="0" y="11803"/>
                  </a:lnTo>
                  <a:lnTo>
                    <a:pt x="2361" y="9836"/>
                  </a:lnTo>
                  <a:lnTo>
                    <a:pt x="5115" y="10623"/>
                  </a:lnTo>
                  <a:lnTo>
                    <a:pt x="7869" y="7475"/>
                  </a:lnTo>
                  <a:lnTo>
                    <a:pt x="10622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26" name="Freeform: Shape 4120">
              <a:extLst>
                <a:ext uri="{FF2B5EF4-FFF2-40B4-BE49-F238E27FC236}">
                  <a16:creationId xmlns:a16="http://schemas.microsoft.com/office/drawing/2014/main" id="{4E5D9189-3C43-4270-9860-7A79C7C4B416}"/>
                </a:ext>
              </a:extLst>
            </p:cNvPr>
            <p:cNvSpPr/>
            <p:nvPr/>
          </p:nvSpPr>
          <p:spPr>
            <a:xfrm>
              <a:off x="10118785" y="4257598"/>
              <a:ext cx="3934" cy="3934"/>
            </a:xfrm>
            <a:custGeom>
              <a:avLst/>
              <a:gdLst>
                <a:gd name="connsiteX0" fmla="*/ 394 w 0"/>
                <a:gd name="connsiteY0" fmla="*/ 3934 h 3934"/>
                <a:gd name="connsiteX1" fmla="*/ 2361 w 0"/>
                <a:gd name="connsiteY1" fmla="*/ 7082 h 3934"/>
                <a:gd name="connsiteX2" fmla="*/ 2754 w 0"/>
                <a:gd name="connsiteY2" fmla="*/ 5901 h 3934"/>
                <a:gd name="connsiteX3" fmla="*/ 3148 w 0"/>
                <a:gd name="connsiteY3" fmla="*/ 3147 h 3934"/>
                <a:gd name="connsiteX4" fmla="*/ 3148 w 0"/>
                <a:gd name="connsiteY4" fmla="*/ 0 h 3934"/>
                <a:gd name="connsiteX5" fmla="*/ 0 w 0"/>
                <a:gd name="connsiteY5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3934">
                  <a:moveTo>
                    <a:pt x="394" y="3934"/>
                  </a:moveTo>
                  <a:lnTo>
                    <a:pt x="2361" y="7082"/>
                  </a:lnTo>
                  <a:lnTo>
                    <a:pt x="2754" y="5901"/>
                  </a:lnTo>
                  <a:lnTo>
                    <a:pt x="3148" y="3147"/>
                  </a:lnTo>
                  <a:lnTo>
                    <a:pt x="3148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27" name="Freeform: Shape 4121">
              <a:extLst>
                <a:ext uri="{FF2B5EF4-FFF2-40B4-BE49-F238E27FC236}">
                  <a16:creationId xmlns:a16="http://schemas.microsoft.com/office/drawing/2014/main" id="{67F57E28-69D1-4CC9-A327-37F043B1AE95}"/>
                </a:ext>
              </a:extLst>
            </p:cNvPr>
            <p:cNvSpPr/>
            <p:nvPr/>
          </p:nvSpPr>
          <p:spPr>
            <a:xfrm>
              <a:off x="10111704" y="4258778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3147 h 0"/>
                <a:gd name="connsiteX2" fmla="*/ 39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3147"/>
                  </a:lnTo>
                  <a:lnTo>
                    <a:pt x="39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28" name="Freeform: Shape 4122">
              <a:extLst>
                <a:ext uri="{FF2B5EF4-FFF2-40B4-BE49-F238E27FC236}">
                  <a16:creationId xmlns:a16="http://schemas.microsoft.com/office/drawing/2014/main" id="{1912EB46-22B5-4146-ADC0-2BC275276AD8}"/>
                </a:ext>
              </a:extLst>
            </p:cNvPr>
            <p:cNvSpPr/>
            <p:nvPr/>
          </p:nvSpPr>
          <p:spPr>
            <a:xfrm>
              <a:off x="10115638" y="4254844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2754 h 0"/>
                <a:gd name="connsiteX2" fmla="*/ 39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2754"/>
                  </a:lnTo>
                  <a:lnTo>
                    <a:pt x="39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29" name="Freeform: Shape 4123">
              <a:extLst>
                <a:ext uri="{FF2B5EF4-FFF2-40B4-BE49-F238E27FC236}">
                  <a16:creationId xmlns:a16="http://schemas.microsoft.com/office/drawing/2014/main" id="{E0433F41-E161-497D-B9E8-7652E541A78D}"/>
                </a:ext>
              </a:extLst>
            </p:cNvPr>
            <p:cNvSpPr/>
            <p:nvPr/>
          </p:nvSpPr>
          <p:spPr>
            <a:xfrm>
              <a:off x="10105015" y="4191502"/>
              <a:ext cx="3934" cy="3934"/>
            </a:xfrm>
            <a:custGeom>
              <a:avLst/>
              <a:gdLst>
                <a:gd name="connsiteX0" fmla="*/ 3148 w 0"/>
                <a:gd name="connsiteY0" fmla="*/ 787 h 3934"/>
                <a:gd name="connsiteX1" fmla="*/ 394 w 0"/>
                <a:gd name="connsiteY1" fmla="*/ 0 h 3934"/>
                <a:gd name="connsiteX2" fmla="*/ 0 w 0"/>
                <a:gd name="connsiteY2" fmla="*/ 3148 h 3934"/>
                <a:gd name="connsiteX3" fmla="*/ 0 w 0"/>
                <a:gd name="connsiteY3" fmla="*/ 5901 h 3934"/>
                <a:gd name="connsiteX4" fmla="*/ 2754 w 0"/>
                <a:gd name="connsiteY4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3148" y="787"/>
                  </a:moveTo>
                  <a:lnTo>
                    <a:pt x="394" y="0"/>
                  </a:lnTo>
                  <a:lnTo>
                    <a:pt x="0" y="3148"/>
                  </a:lnTo>
                  <a:lnTo>
                    <a:pt x="0" y="5901"/>
                  </a:lnTo>
                  <a:lnTo>
                    <a:pt x="2754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30" name="Freeform: Shape 4124">
              <a:extLst>
                <a:ext uri="{FF2B5EF4-FFF2-40B4-BE49-F238E27FC236}">
                  <a16:creationId xmlns:a16="http://schemas.microsoft.com/office/drawing/2014/main" id="{717600A3-7A75-4BAB-9599-9C6614F141E3}"/>
                </a:ext>
              </a:extLst>
            </p:cNvPr>
            <p:cNvSpPr/>
            <p:nvPr/>
          </p:nvSpPr>
          <p:spPr>
            <a:xfrm>
              <a:off x="10330055" y="4158848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2361 h 0"/>
                <a:gd name="connsiteX2" fmla="*/ 1574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2361"/>
                  </a:lnTo>
                  <a:lnTo>
                    <a:pt x="157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31" name="Freeform: Shape 4125">
              <a:extLst>
                <a:ext uri="{FF2B5EF4-FFF2-40B4-BE49-F238E27FC236}">
                  <a16:creationId xmlns:a16="http://schemas.microsoft.com/office/drawing/2014/main" id="{6F1B2531-D32E-4A16-A0DC-AB30E5B6B091}"/>
                </a:ext>
              </a:extLst>
            </p:cNvPr>
            <p:cNvSpPr/>
            <p:nvPr/>
          </p:nvSpPr>
          <p:spPr>
            <a:xfrm>
              <a:off x="10329662" y="4161208"/>
              <a:ext cx="3934" cy="3934"/>
            </a:xfrm>
            <a:custGeom>
              <a:avLst/>
              <a:gdLst>
                <a:gd name="connsiteX0" fmla="*/ 2754 w 0"/>
                <a:gd name="connsiteY0" fmla="*/ 4721 h 3934"/>
                <a:gd name="connsiteX1" fmla="*/ 1180 w 0"/>
                <a:gd name="connsiteY1" fmla="*/ 0 h 3934"/>
                <a:gd name="connsiteX2" fmla="*/ 0 w 0"/>
                <a:gd name="connsiteY2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2754" y="4721"/>
                  </a:moveTo>
                  <a:lnTo>
                    <a:pt x="1180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32" name="Freeform: Shape 4126">
              <a:extLst>
                <a:ext uri="{FF2B5EF4-FFF2-40B4-BE49-F238E27FC236}">
                  <a16:creationId xmlns:a16="http://schemas.microsoft.com/office/drawing/2014/main" id="{DBBE27D6-7353-459F-AB77-B9A18012B7C5}"/>
                </a:ext>
              </a:extLst>
            </p:cNvPr>
            <p:cNvSpPr/>
            <p:nvPr/>
          </p:nvSpPr>
          <p:spPr>
            <a:xfrm>
              <a:off x="10326121" y="4149799"/>
              <a:ext cx="3934" cy="3934"/>
            </a:xfrm>
            <a:custGeom>
              <a:avLst/>
              <a:gdLst>
                <a:gd name="connsiteX0" fmla="*/ 4328 w 3934"/>
                <a:gd name="connsiteY0" fmla="*/ 2754 h 0"/>
                <a:gd name="connsiteX1" fmla="*/ 5509 w 3934"/>
                <a:gd name="connsiteY1" fmla="*/ 2360 h 0"/>
                <a:gd name="connsiteX2" fmla="*/ 0 w 3934"/>
                <a:gd name="connsiteY2" fmla="*/ 0 h 0"/>
                <a:gd name="connsiteX3" fmla="*/ 1574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4328" y="2754"/>
                  </a:moveTo>
                  <a:lnTo>
                    <a:pt x="5509" y="2360"/>
                  </a:lnTo>
                  <a:lnTo>
                    <a:pt x="0" y="0"/>
                  </a:lnTo>
                  <a:lnTo>
                    <a:pt x="157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33" name="Freeform: Shape 4127">
              <a:extLst>
                <a:ext uri="{FF2B5EF4-FFF2-40B4-BE49-F238E27FC236}">
                  <a16:creationId xmlns:a16="http://schemas.microsoft.com/office/drawing/2014/main" id="{6F9F0EB3-33A7-45E1-BA48-EB57E60BD40A}"/>
                </a:ext>
              </a:extLst>
            </p:cNvPr>
            <p:cNvSpPr/>
            <p:nvPr/>
          </p:nvSpPr>
          <p:spPr>
            <a:xfrm>
              <a:off x="10324548" y="4143504"/>
              <a:ext cx="3934" cy="3934"/>
            </a:xfrm>
            <a:custGeom>
              <a:avLst/>
              <a:gdLst>
                <a:gd name="connsiteX0" fmla="*/ 1967 w 0"/>
                <a:gd name="connsiteY0" fmla="*/ 3934 h 3934"/>
                <a:gd name="connsiteX1" fmla="*/ 0 w 0"/>
                <a:gd name="connsiteY1" fmla="*/ 0 h 3934"/>
                <a:gd name="connsiteX2" fmla="*/ 0 w 0"/>
                <a:gd name="connsiteY2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967" y="3934"/>
                  </a:moveTo>
                  <a:lnTo>
                    <a:pt x="0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34" name="Freeform: Shape 4128">
              <a:extLst>
                <a:ext uri="{FF2B5EF4-FFF2-40B4-BE49-F238E27FC236}">
                  <a16:creationId xmlns:a16="http://schemas.microsoft.com/office/drawing/2014/main" id="{317774B3-FCDA-4825-A858-69187632D3B9}"/>
                </a:ext>
              </a:extLst>
            </p:cNvPr>
            <p:cNvSpPr/>
            <p:nvPr/>
          </p:nvSpPr>
          <p:spPr>
            <a:xfrm>
              <a:off x="10338710" y="4135242"/>
              <a:ext cx="3934" cy="3934"/>
            </a:xfrm>
            <a:custGeom>
              <a:avLst/>
              <a:gdLst>
                <a:gd name="connsiteX0" fmla="*/ 788 w 3934"/>
                <a:gd name="connsiteY0" fmla="*/ 3541 h 3934"/>
                <a:gd name="connsiteX1" fmla="*/ 0 w 3934"/>
                <a:gd name="connsiteY1" fmla="*/ 6295 h 3934"/>
                <a:gd name="connsiteX2" fmla="*/ 2755 w 3934"/>
                <a:gd name="connsiteY2" fmla="*/ 6688 h 3934"/>
                <a:gd name="connsiteX3" fmla="*/ 3934 w 3934"/>
                <a:gd name="connsiteY3" fmla="*/ 787 h 3934"/>
                <a:gd name="connsiteX4" fmla="*/ 3934 w 3934"/>
                <a:gd name="connsiteY4" fmla="*/ 0 h 3934"/>
                <a:gd name="connsiteX5" fmla="*/ 788 w 3934"/>
                <a:gd name="connsiteY5" fmla="*/ 39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788" y="3541"/>
                  </a:moveTo>
                  <a:lnTo>
                    <a:pt x="0" y="6295"/>
                  </a:lnTo>
                  <a:lnTo>
                    <a:pt x="2755" y="6688"/>
                  </a:lnTo>
                  <a:lnTo>
                    <a:pt x="3934" y="787"/>
                  </a:lnTo>
                  <a:lnTo>
                    <a:pt x="3934" y="0"/>
                  </a:lnTo>
                  <a:lnTo>
                    <a:pt x="788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35" name="Freeform: Shape 4129">
              <a:extLst>
                <a:ext uri="{FF2B5EF4-FFF2-40B4-BE49-F238E27FC236}">
                  <a16:creationId xmlns:a16="http://schemas.microsoft.com/office/drawing/2014/main" id="{D8BB4F13-5B2A-4988-AD90-77ED168A5F71}"/>
                </a:ext>
              </a:extLst>
            </p:cNvPr>
            <p:cNvSpPr/>
            <p:nvPr/>
          </p:nvSpPr>
          <p:spPr>
            <a:xfrm>
              <a:off x="10343432" y="4135242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0 w 0"/>
                <a:gd name="connsiteY1" fmla="*/ 3147 h 0"/>
                <a:gd name="connsiteX2" fmla="*/ 787 w 0"/>
                <a:gd name="connsiteY2" fmla="*/ 3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0" y="3147"/>
                  </a:lnTo>
                  <a:lnTo>
                    <a:pt x="787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36" name="Freeform: Shape 4130">
              <a:extLst>
                <a:ext uri="{FF2B5EF4-FFF2-40B4-BE49-F238E27FC236}">
                  <a16:creationId xmlns:a16="http://schemas.microsoft.com/office/drawing/2014/main" id="{27121FEF-CDCC-4686-A609-ED87FAE69A7F}"/>
                </a:ext>
              </a:extLst>
            </p:cNvPr>
            <p:cNvSpPr/>
            <p:nvPr/>
          </p:nvSpPr>
          <p:spPr>
            <a:xfrm>
              <a:off x="10341465" y="4125013"/>
              <a:ext cx="3934" cy="3934"/>
            </a:xfrm>
            <a:custGeom>
              <a:avLst/>
              <a:gdLst>
                <a:gd name="connsiteX0" fmla="*/ 393 w 0"/>
                <a:gd name="connsiteY0" fmla="*/ 3147 h 3934"/>
                <a:gd name="connsiteX1" fmla="*/ 0 w 0"/>
                <a:gd name="connsiteY1" fmla="*/ 5901 h 3934"/>
                <a:gd name="connsiteX2" fmla="*/ 1573 w 0"/>
                <a:gd name="connsiteY2" fmla="*/ 7082 h 3934"/>
                <a:gd name="connsiteX3" fmla="*/ 2754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93" y="3147"/>
                  </a:moveTo>
                  <a:lnTo>
                    <a:pt x="0" y="5901"/>
                  </a:lnTo>
                  <a:lnTo>
                    <a:pt x="1573" y="7082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37" name="Freeform: Shape 4131">
              <a:extLst>
                <a:ext uri="{FF2B5EF4-FFF2-40B4-BE49-F238E27FC236}">
                  <a16:creationId xmlns:a16="http://schemas.microsoft.com/office/drawing/2014/main" id="{0BD6740E-9689-45B6-AB0D-C6B45CE66639}"/>
                </a:ext>
              </a:extLst>
            </p:cNvPr>
            <p:cNvSpPr/>
            <p:nvPr/>
          </p:nvSpPr>
          <p:spPr>
            <a:xfrm>
              <a:off x="10325334" y="4126587"/>
              <a:ext cx="3934" cy="3934"/>
            </a:xfrm>
            <a:custGeom>
              <a:avLst/>
              <a:gdLst>
                <a:gd name="connsiteX0" fmla="*/ 3934 w 3934"/>
                <a:gd name="connsiteY0" fmla="*/ 2754 h 0"/>
                <a:gd name="connsiteX1" fmla="*/ 6295 w 3934"/>
                <a:gd name="connsiteY1" fmla="*/ 1180 h 0"/>
                <a:gd name="connsiteX2" fmla="*/ 0 w 3934"/>
                <a:gd name="connsiteY2" fmla="*/ 0 h 0"/>
                <a:gd name="connsiteX3" fmla="*/ 1180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934" y="2754"/>
                  </a:moveTo>
                  <a:lnTo>
                    <a:pt x="6295" y="1180"/>
                  </a:lnTo>
                  <a:lnTo>
                    <a:pt x="0" y="0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38" name="Freeform: Shape 4132">
              <a:extLst>
                <a:ext uri="{FF2B5EF4-FFF2-40B4-BE49-F238E27FC236}">
                  <a16:creationId xmlns:a16="http://schemas.microsoft.com/office/drawing/2014/main" id="{ECD1DD62-A2BF-4B7E-872A-073E12A92D6C}"/>
                </a:ext>
              </a:extLst>
            </p:cNvPr>
            <p:cNvSpPr/>
            <p:nvPr/>
          </p:nvSpPr>
          <p:spPr>
            <a:xfrm>
              <a:off x="10347367" y="4123046"/>
              <a:ext cx="3934" cy="3934"/>
            </a:xfrm>
            <a:custGeom>
              <a:avLst/>
              <a:gdLst>
                <a:gd name="connsiteX0" fmla="*/ 1180 w 0"/>
                <a:gd name="connsiteY0" fmla="*/ 4328 h 3934"/>
                <a:gd name="connsiteX1" fmla="*/ 1967 w 0"/>
                <a:gd name="connsiteY1" fmla="*/ 1574 h 3934"/>
                <a:gd name="connsiteX2" fmla="*/ 1573 w 0"/>
                <a:gd name="connsiteY2" fmla="*/ 0 h 3934"/>
                <a:gd name="connsiteX3" fmla="*/ 0 w 0"/>
                <a:gd name="connsiteY3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180" y="4328"/>
                  </a:moveTo>
                  <a:lnTo>
                    <a:pt x="1967" y="1574"/>
                  </a:lnTo>
                  <a:lnTo>
                    <a:pt x="1573" y="0"/>
                  </a:lnTo>
                  <a:lnTo>
                    <a:pt x="0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39" name="Freeform: Shape 4133">
              <a:extLst>
                <a:ext uri="{FF2B5EF4-FFF2-40B4-BE49-F238E27FC236}">
                  <a16:creationId xmlns:a16="http://schemas.microsoft.com/office/drawing/2014/main" id="{C532AF05-000A-493B-9D93-1DD007407E9B}"/>
                </a:ext>
              </a:extLst>
            </p:cNvPr>
            <p:cNvSpPr/>
            <p:nvPr/>
          </p:nvSpPr>
          <p:spPr>
            <a:xfrm>
              <a:off x="10348546" y="4118718"/>
              <a:ext cx="3934" cy="3934"/>
            </a:xfrm>
            <a:custGeom>
              <a:avLst/>
              <a:gdLst>
                <a:gd name="connsiteX0" fmla="*/ 0 w 0"/>
                <a:gd name="connsiteY0" fmla="*/ 3148 h 3934"/>
                <a:gd name="connsiteX1" fmla="*/ 394 w 0"/>
                <a:gd name="connsiteY1" fmla="*/ 4328 h 3934"/>
                <a:gd name="connsiteX2" fmla="*/ 1180 w 0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0" y="3148"/>
                  </a:moveTo>
                  <a:lnTo>
                    <a:pt x="394" y="4328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40" name="Freeform: Shape 4134">
              <a:extLst>
                <a:ext uri="{FF2B5EF4-FFF2-40B4-BE49-F238E27FC236}">
                  <a16:creationId xmlns:a16="http://schemas.microsoft.com/office/drawing/2014/main" id="{B61268D0-832F-40A3-93C1-F878DB6CB446}"/>
                </a:ext>
              </a:extLst>
            </p:cNvPr>
            <p:cNvSpPr/>
            <p:nvPr/>
          </p:nvSpPr>
          <p:spPr>
            <a:xfrm>
              <a:off x="10345399" y="4114784"/>
              <a:ext cx="3934" cy="3934"/>
            </a:xfrm>
            <a:custGeom>
              <a:avLst/>
              <a:gdLst>
                <a:gd name="connsiteX0" fmla="*/ 3934 w 3934"/>
                <a:gd name="connsiteY0" fmla="*/ 0 h 3934"/>
                <a:gd name="connsiteX1" fmla="*/ 0 w 3934"/>
                <a:gd name="connsiteY1" fmla="*/ 4328 h 3934"/>
                <a:gd name="connsiteX2" fmla="*/ 1573 w 3934"/>
                <a:gd name="connsiteY2" fmla="*/ 3148 h 3934"/>
                <a:gd name="connsiteX3" fmla="*/ 4327 w 3934"/>
                <a:gd name="connsiteY3" fmla="*/ 314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3934" y="0"/>
                  </a:moveTo>
                  <a:lnTo>
                    <a:pt x="0" y="4328"/>
                  </a:lnTo>
                  <a:lnTo>
                    <a:pt x="1573" y="3148"/>
                  </a:lnTo>
                  <a:lnTo>
                    <a:pt x="4327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41" name="Freeform: Shape 4135">
              <a:extLst>
                <a:ext uri="{FF2B5EF4-FFF2-40B4-BE49-F238E27FC236}">
                  <a16:creationId xmlns:a16="http://schemas.microsoft.com/office/drawing/2014/main" id="{085C960E-2CCE-4ED7-830E-60BCFAF79892}"/>
                </a:ext>
              </a:extLst>
            </p:cNvPr>
            <p:cNvSpPr/>
            <p:nvPr/>
          </p:nvSpPr>
          <p:spPr>
            <a:xfrm>
              <a:off x="10326515" y="4113210"/>
              <a:ext cx="3934" cy="3934"/>
            </a:xfrm>
            <a:custGeom>
              <a:avLst/>
              <a:gdLst>
                <a:gd name="connsiteX0" fmla="*/ 2754 w 0"/>
                <a:gd name="connsiteY0" fmla="*/ 5114 h 3934"/>
                <a:gd name="connsiteX1" fmla="*/ 2360 w 0"/>
                <a:gd name="connsiteY1" fmla="*/ 2754 h 3934"/>
                <a:gd name="connsiteX2" fmla="*/ 0 w 0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2754" y="5114"/>
                  </a:moveTo>
                  <a:lnTo>
                    <a:pt x="2360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42" name="Freeform: Shape 4136">
              <a:extLst>
                <a:ext uri="{FF2B5EF4-FFF2-40B4-BE49-F238E27FC236}">
                  <a16:creationId xmlns:a16="http://schemas.microsoft.com/office/drawing/2014/main" id="{A8604AB3-67CA-4FDC-8112-0706863FE488}"/>
                </a:ext>
              </a:extLst>
            </p:cNvPr>
            <p:cNvSpPr/>
            <p:nvPr/>
          </p:nvSpPr>
          <p:spPr>
            <a:xfrm>
              <a:off x="10347367" y="4112423"/>
              <a:ext cx="3934" cy="3934"/>
            </a:xfrm>
            <a:custGeom>
              <a:avLst/>
              <a:gdLst>
                <a:gd name="connsiteX0" fmla="*/ 393 w 0"/>
                <a:gd name="connsiteY0" fmla="*/ 3541 h 0"/>
                <a:gd name="connsiteX1" fmla="*/ 1180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3541"/>
                  </a:moveTo>
                  <a:lnTo>
                    <a:pt x="1180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43" name="Freeform: Shape 4137">
              <a:extLst>
                <a:ext uri="{FF2B5EF4-FFF2-40B4-BE49-F238E27FC236}">
                  <a16:creationId xmlns:a16="http://schemas.microsoft.com/office/drawing/2014/main" id="{1AA36496-23B8-49BC-83B0-C9C8DEAAF4AD}"/>
                </a:ext>
              </a:extLst>
            </p:cNvPr>
            <p:cNvSpPr/>
            <p:nvPr/>
          </p:nvSpPr>
          <p:spPr>
            <a:xfrm>
              <a:off x="10350513" y="4092359"/>
              <a:ext cx="3934" cy="15737"/>
            </a:xfrm>
            <a:custGeom>
              <a:avLst/>
              <a:gdLst>
                <a:gd name="connsiteX0" fmla="*/ 0 w 0"/>
                <a:gd name="connsiteY0" fmla="*/ 3147 h 15737"/>
                <a:gd name="connsiteX1" fmla="*/ 0 w 0"/>
                <a:gd name="connsiteY1" fmla="*/ 0 h 15737"/>
                <a:gd name="connsiteX2" fmla="*/ 0 w 0"/>
                <a:gd name="connsiteY2" fmla="*/ 16917 h 15737"/>
                <a:gd name="connsiteX3" fmla="*/ 1180 w 0"/>
                <a:gd name="connsiteY3" fmla="*/ 14557 h 15737"/>
                <a:gd name="connsiteX4" fmla="*/ 1574 w 0"/>
                <a:gd name="connsiteY4" fmla="*/ 11803 h 15737"/>
                <a:gd name="connsiteX5" fmla="*/ 394 w 0"/>
                <a:gd name="connsiteY5" fmla="*/ 9049 h 15737"/>
                <a:gd name="connsiteX6" fmla="*/ 788 w 0"/>
                <a:gd name="connsiteY6" fmla="*/ 5901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15737">
                  <a:moveTo>
                    <a:pt x="0" y="3147"/>
                  </a:moveTo>
                  <a:lnTo>
                    <a:pt x="0" y="0"/>
                  </a:lnTo>
                  <a:lnTo>
                    <a:pt x="0" y="16917"/>
                  </a:lnTo>
                  <a:lnTo>
                    <a:pt x="1180" y="14557"/>
                  </a:lnTo>
                  <a:lnTo>
                    <a:pt x="1574" y="11803"/>
                  </a:lnTo>
                  <a:lnTo>
                    <a:pt x="394" y="9049"/>
                  </a:lnTo>
                  <a:lnTo>
                    <a:pt x="788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44" name="Freeform: Shape 4138">
              <a:extLst>
                <a:ext uri="{FF2B5EF4-FFF2-40B4-BE49-F238E27FC236}">
                  <a16:creationId xmlns:a16="http://schemas.microsoft.com/office/drawing/2014/main" id="{CC79216F-3FF0-45D2-AF81-355C4DDBD2E7}"/>
                </a:ext>
              </a:extLst>
            </p:cNvPr>
            <p:cNvSpPr/>
            <p:nvPr/>
          </p:nvSpPr>
          <p:spPr>
            <a:xfrm>
              <a:off x="10350120" y="4109276"/>
              <a:ext cx="3934" cy="3934"/>
            </a:xfrm>
            <a:custGeom>
              <a:avLst/>
              <a:gdLst>
                <a:gd name="connsiteX0" fmla="*/ 393 w 0"/>
                <a:gd name="connsiteY0" fmla="*/ 2754 h 0"/>
                <a:gd name="connsiteX1" fmla="*/ 393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2754"/>
                  </a:moveTo>
                  <a:lnTo>
                    <a:pt x="393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45" name="Freeform: Shape 4139">
              <a:extLst>
                <a:ext uri="{FF2B5EF4-FFF2-40B4-BE49-F238E27FC236}">
                  <a16:creationId xmlns:a16="http://schemas.microsoft.com/office/drawing/2014/main" id="{F6B34BB5-C1C1-4046-B324-BB389559ADB9}"/>
                </a:ext>
              </a:extLst>
            </p:cNvPr>
            <p:cNvSpPr/>
            <p:nvPr/>
          </p:nvSpPr>
          <p:spPr>
            <a:xfrm>
              <a:off x="10295041" y="4086457"/>
              <a:ext cx="3934" cy="3934"/>
            </a:xfrm>
            <a:custGeom>
              <a:avLst/>
              <a:gdLst>
                <a:gd name="connsiteX0" fmla="*/ 1573 w 3934"/>
                <a:gd name="connsiteY0" fmla="*/ 5901 h 3934"/>
                <a:gd name="connsiteX1" fmla="*/ 4327 w 3934"/>
                <a:gd name="connsiteY1" fmla="*/ 3147 h 3934"/>
                <a:gd name="connsiteX2" fmla="*/ 2360 w 3934"/>
                <a:gd name="connsiteY2" fmla="*/ 0 h 3934"/>
                <a:gd name="connsiteX3" fmla="*/ 0 w 3934"/>
                <a:gd name="connsiteY3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1573" y="5901"/>
                  </a:moveTo>
                  <a:lnTo>
                    <a:pt x="4327" y="3147"/>
                  </a:lnTo>
                  <a:lnTo>
                    <a:pt x="2360" y="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46" name="Freeform: Shape 4140">
              <a:extLst>
                <a:ext uri="{FF2B5EF4-FFF2-40B4-BE49-F238E27FC236}">
                  <a16:creationId xmlns:a16="http://schemas.microsoft.com/office/drawing/2014/main" id="{429F5FF6-86AC-4B11-BB34-E185C3822C26}"/>
                </a:ext>
              </a:extLst>
            </p:cNvPr>
            <p:cNvSpPr/>
            <p:nvPr/>
          </p:nvSpPr>
          <p:spPr>
            <a:xfrm>
              <a:off x="10348940" y="4085671"/>
              <a:ext cx="3934" cy="3934"/>
            </a:xfrm>
            <a:custGeom>
              <a:avLst/>
              <a:gdLst>
                <a:gd name="connsiteX0" fmla="*/ 787 w 0"/>
                <a:gd name="connsiteY0" fmla="*/ 0 h 3934"/>
                <a:gd name="connsiteX1" fmla="*/ 0 w 0"/>
                <a:gd name="connsiteY1" fmla="*/ 3934 h 3934"/>
                <a:gd name="connsiteX2" fmla="*/ 787 w 0"/>
                <a:gd name="connsiteY2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787" y="0"/>
                  </a:moveTo>
                  <a:lnTo>
                    <a:pt x="0" y="3934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47" name="Freeform: Shape 4141">
              <a:extLst>
                <a:ext uri="{FF2B5EF4-FFF2-40B4-BE49-F238E27FC236}">
                  <a16:creationId xmlns:a16="http://schemas.microsoft.com/office/drawing/2014/main" id="{43D13446-55A5-44B6-A3D9-A0FC0373765C}"/>
                </a:ext>
              </a:extLst>
            </p:cNvPr>
            <p:cNvSpPr/>
            <p:nvPr/>
          </p:nvSpPr>
          <p:spPr>
            <a:xfrm>
              <a:off x="10295433" y="4083703"/>
              <a:ext cx="3934" cy="3934"/>
            </a:xfrm>
            <a:custGeom>
              <a:avLst/>
              <a:gdLst>
                <a:gd name="connsiteX0" fmla="*/ 1180 w 3934"/>
                <a:gd name="connsiteY0" fmla="*/ 1574 h 0"/>
                <a:gd name="connsiteX1" fmla="*/ 0 w 3934"/>
                <a:gd name="connsiteY1" fmla="*/ 1967 h 0"/>
                <a:gd name="connsiteX2" fmla="*/ 4328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1180" y="1574"/>
                  </a:moveTo>
                  <a:lnTo>
                    <a:pt x="0" y="1967"/>
                  </a:lnTo>
                  <a:lnTo>
                    <a:pt x="432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48" name="Freeform: Shape 4142">
              <a:extLst>
                <a:ext uri="{FF2B5EF4-FFF2-40B4-BE49-F238E27FC236}">
                  <a16:creationId xmlns:a16="http://schemas.microsoft.com/office/drawing/2014/main" id="{79A17DBE-D1E7-484E-9062-837177FABE0C}"/>
                </a:ext>
              </a:extLst>
            </p:cNvPr>
            <p:cNvSpPr/>
            <p:nvPr/>
          </p:nvSpPr>
          <p:spPr>
            <a:xfrm>
              <a:off x="10350907" y="4073868"/>
              <a:ext cx="3934" cy="3934"/>
            </a:xfrm>
            <a:custGeom>
              <a:avLst/>
              <a:gdLst>
                <a:gd name="connsiteX0" fmla="*/ 394 w 0"/>
                <a:gd name="connsiteY0" fmla="*/ 2754 h 3934"/>
                <a:gd name="connsiteX1" fmla="*/ 0 w 0"/>
                <a:gd name="connsiteY1" fmla="*/ 4721 h 3934"/>
                <a:gd name="connsiteX2" fmla="*/ 1180 w 0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394" y="2754"/>
                  </a:moveTo>
                  <a:lnTo>
                    <a:pt x="0" y="4721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49" name="Freeform: Shape 4143">
              <a:extLst>
                <a:ext uri="{FF2B5EF4-FFF2-40B4-BE49-F238E27FC236}">
                  <a16:creationId xmlns:a16="http://schemas.microsoft.com/office/drawing/2014/main" id="{B316EA2D-4167-4E62-9B22-6F9ABDE3ECF4}"/>
                </a:ext>
              </a:extLst>
            </p:cNvPr>
            <p:cNvSpPr/>
            <p:nvPr/>
          </p:nvSpPr>
          <p:spPr>
            <a:xfrm>
              <a:off x="10350120" y="4078589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0 w 0"/>
                <a:gd name="connsiteY1" fmla="*/ 3147 h 0"/>
                <a:gd name="connsiteX2" fmla="*/ 393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0" y="3147"/>
                  </a:lnTo>
                  <a:lnTo>
                    <a:pt x="393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50" name="Freeform: Shape 4144">
              <a:extLst>
                <a:ext uri="{FF2B5EF4-FFF2-40B4-BE49-F238E27FC236}">
                  <a16:creationId xmlns:a16="http://schemas.microsoft.com/office/drawing/2014/main" id="{4E71488E-5FA0-430A-937C-40F36553C89B}"/>
                </a:ext>
              </a:extLst>
            </p:cNvPr>
            <p:cNvSpPr/>
            <p:nvPr/>
          </p:nvSpPr>
          <p:spPr>
            <a:xfrm>
              <a:off x="10296221" y="4079376"/>
              <a:ext cx="3934" cy="3934"/>
            </a:xfrm>
            <a:custGeom>
              <a:avLst/>
              <a:gdLst>
                <a:gd name="connsiteX0" fmla="*/ 0 w 0"/>
                <a:gd name="connsiteY0" fmla="*/ 1180 h 0"/>
                <a:gd name="connsiteX1" fmla="*/ 2754 w 0"/>
                <a:gd name="connsiteY1" fmla="*/ 0 h 0"/>
                <a:gd name="connsiteX2" fmla="*/ 354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180"/>
                  </a:moveTo>
                  <a:lnTo>
                    <a:pt x="2754" y="0"/>
                  </a:lnTo>
                  <a:lnTo>
                    <a:pt x="354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51" name="Freeform: Shape 4145">
              <a:extLst>
                <a:ext uri="{FF2B5EF4-FFF2-40B4-BE49-F238E27FC236}">
                  <a16:creationId xmlns:a16="http://schemas.microsoft.com/office/drawing/2014/main" id="{127D1412-A9D0-4A8A-8066-14653B2C8841}"/>
                </a:ext>
              </a:extLst>
            </p:cNvPr>
            <p:cNvSpPr/>
            <p:nvPr/>
          </p:nvSpPr>
          <p:spPr>
            <a:xfrm>
              <a:off x="10297008" y="4075441"/>
              <a:ext cx="3934" cy="3934"/>
            </a:xfrm>
            <a:custGeom>
              <a:avLst/>
              <a:gdLst>
                <a:gd name="connsiteX0" fmla="*/ 5115 w 3934"/>
                <a:gd name="connsiteY0" fmla="*/ 0 h 0"/>
                <a:gd name="connsiteX1" fmla="*/ 0 w 3934"/>
                <a:gd name="connsiteY1" fmla="*/ 394 h 0"/>
                <a:gd name="connsiteX2" fmla="*/ 2754 w 3934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5115" y="0"/>
                  </a:moveTo>
                  <a:lnTo>
                    <a:pt x="0" y="394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52" name="Freeform: Shape 4146">
              <a:extLst>
                <a:ext uri="{FF2B5EF4-FFF2-40B4-BE49-F238E27FC236}">
                  <a16:creationId xmlns:a16="http://schemas.microsoft.com/office/drawing/2014/main" id="{5EA13364-A112-4B92-9090-6F69E436EA73}"/>
                </a:ext>
              </a:extLst>
            </p:cNvPr>
            <p:cNvSpPr/>
            <p:nvPr/>
          </p:nvSpPr>
          <p:spPr>
            <a:xfrm>
              <a:off x="10297794" y="4074261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3148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3148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53" name="Freeform: Shape 4147">
              <a:extLst>
                <a:ext uri="{FF2B5EF4-FFF2-40B4-BE49-F238E27FC236}">
                  <a16:creationId xmlns:a16="http://schemas.microsoft.com/office/drawing/2014/main" id="{FF442E68-CE89-46B8-B044-8B01CAEFEECB}"/>
                </a:ext>
              </a:extLst>
            </p:cNvPr>
            <p:cNvSpPr/>
            <p:nvPr/>
          </p:nvSpPr>
          <p:spPr>
            <a:xfrm>
              <a:off x="10299762" y="4070720"/>
              <a:ext cx="3934" cy="3934"/>
            </a:xfrm>
            <a:custGeom>
              <a:avLst/>
              <a:gdLst>
                <a:gd name="connsiteX0" fmla="*/ 2754 w 0"/>
                <a:gd name="connsiteY0" fmla="*/ 0 h 3934"/>
                <a:gd name="connsiteX1" fmla="*/ 0 w 0"/>
                <a:gd name="connsiteY1" fmla="*/ 1574 h 3934"/>
                <a:gd name="connsiteX2" fmla="*/ 1573 w 0"/>
                <a:gd name="connsiteY2" fmla="*/ 4328 h 3934"/>
                <a:gd name="connsiteX3" fmla="*/ 2361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2754" y="0"/>
                  </a:moveTo>
                  <a:lnTo>
                    <a:pt x="0" y="1574"/>
                  </a:lnTo>
                  <a:lnTo>
                    <a:pt x="1573" y="4328"/>
                  </a:lnTo>
                  <a:lnTo>
                    <a:pt x="2361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54" name="Freeform: Shape 4148">
              <a:extLst>
                <a:ext uri="{FF2B5EF4-FFF2-40B4-BE49-F238E27FC236}">
                  <a16:creationId xmlns:a16="http://schemas.microsoft.com/office/drawing/2014/main" id="{976C1389-D081-44A1-B822-ACB0529BC39D}"/>
                </a:ext>
              </a:extLst>
            </p:cNvPr>
            <p:cNvSpPr/>
            <p:nvPr/>
          </p:nvSpPr>
          <p:spPr>
            <a:xfrm>
              <a:off x="10353661" y="4065999"/>
              <a:ext cx="3934" cy="3934"/>
            </a:xfrm>
            <a:custGeom>
              <a:avLst/>
              <a:gdLst>
                <a:gd name="connsiteX0" fmla="*/ 394 w 0"/>
                <a:gd name="connsiteY0" fmla="*/ 3147 h 0"/>
                <a:gd name="connsiteX1" fmla="*/ 0 w 0"/>
                <a:gd name="connsiteY1" fmla="*/ 3541 h 0"/>
                <a:gd name="connsiteX2" fmla="*/ 2361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3147"/>
                  </a:moveTo>
                  <a:lnTo>
                    <a:pt x="0" y="3541"/>
                  </a:lnTo>
                  <a:lnTo>
                    <a:pt x="236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55" name="Freeform: Shape 4149">
              <a:extLst>
                <a:ext uri="{FF2B5EF4-FFF2-40B4-BE49-F238E27FC236}">
                  <a16:creationId xmlns:a16="http://schemas.microsoft.com/office/drawing/2014/main" id="{2DD54071-25F9-41DE-AF57-496D82EF5E22}"/>
                </a:ext>
              </a:extLst>
            </p:cNvPr>
            <p:cNvSpPr/>
            <p:nvPr/>
          </p:nvSpPr>
          <p:spPr>
            <a:xfrm>
              <a:off x="10351694" y="4069540"/>
              <a:ext cx="3934" cy="3934"/>
            </a:xfrm>
            <a:custGeom>
              <a:avLst/>
              <a:gdLst>
                <a:gd name="connsiteX0" fmla="*/ 787 w 0"/>
                <a:gd name="connsiteY0" fmla="*/ 2361 h 0"/>
                <a:gd name="connsiteX1" fmla="*/ 1967 w 0"/>
                <a:gd name="connsiteY1" fmla="*/ 0 h 0"/>
                <a:gd name="connsiteX2" fmla="*/ 0 w 0"/>
                <a:gd name="connsiteY2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361"/>
                  </a:moveTo>
                  <a:lnTo>
                    <a:pt x="1967" y="0"/>
                  </a:lnTo>
                  <a:lnTo>
                    <a:pt x="0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56" name="Freeform: Shape 4150">
              <a:extLst>
                <a:ext uri="{FF2B5EF4-FFF2-40B4-BE49-F238E27FC236}">
                  <a16:creationId xmlns:a16="http://schemas.microsoft.com/office/drawing/2014/main" id="{6E7261B5-5CEC-446A-9879-3E8EF8181C4B}"/>
                </a:ext>
              </a:extLst>
            </p:cNvPr>
            <p:cNvSpPr/>
            <p:nvPr/>
          </p:nvSpPr>
          <p:spPr>
            <a:xfrm>
              <a:off x="10296614" y="4069147"/>
              <a:ext cx="3934" cy="3934"/>
            </a:xfrm>
            <a:custGeom>
              <a:avLst/>
              <a:gdLst>
                <a:gd name="connsiteX0" fmla="*/ 787 w 0"/>
                <a:gd name="connsiteY0" fmla="*/ 3147 h 0"/>
                <a:gd name="connsiteX1" fmla="*/ 1574 w 0"/>
                <a:gd name="connsiteY1" fmla="*/ 3147 h 0"/>
                <a:gd name="connsiteX2" fmla="*/ 2754 w 0"/>
                <a:gd name="connsiteY2" fmla="*/ 0 h 0"/>
                <a:gd name="connsiteX3" fmla="*/ 0 w 0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787" y="3147"/>
                  </a:moveTo>
                  <a:lnTo>
                    <a:pt x="1574" y="3147"/>
                  </a:ln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57" name="Freeform: Shape 4151">
              <a:extLst>
                <a:ext uri="{FF2B5EF4-FFF2-40B4-BE49-F238E27FC236}">
                  <a16:creationId xmlns:a16="http://schemas.microsoft.com/office/drawing/2014/main" id="{7040C2EB-1088-4036-9BDA-BBBC196FC993}"/>
                </a:ext>
              </a:extLst>
            </p:cNvPr>
            <p:cNvSpPr/>
            <p:nvPr/>
          </p:nvSpPr>
          <p:spPr>
            <a:xfrm>
              <a:off x="10365857" y="4068360"/>
              <a:ext cx="3934" cy="7869"/>
            </a:xfrm>
            <a:custGeom>
              <a:avLst/>
              <a:gdLst>
                <a:gd name="connsiteX0" fmla="*/ 2360 w 0"/>
                <a:gd name="connsiteY0" fmla="*/ 3147 h 7868"/>
                <a:gd name="connsiteX1" fmla="*/ 1180 w 0"/>
                <a:gd name="connsiteY1" fmla="*/ 5901 h 7868"/>
                <a:gd name="connsiteX2" fmla="*/ 393 w 0"/>
                <a:gd name="connsiteY2" fmla="*/ 8655 h 7868"/>
                <a:gd name="connsiteX3" fmla="*/ 0 w 0"/>
                <a:gd name="connsiteY3" fmla="*/ 11409 h 7868"/>
                <a:gd name="connsiteX4" fmla="*/ 3148 w 0"/>
                <a:gd name="connsiteY4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7868">
                  <a:moveTo>
                    <a:pt x="2360" y="3147"/>
                  </a:moveTo>
                  <a:lnTo>
                    <a:pt x="1180" y="5901"/>
                  </a:lnTo>
                  <a:lnTo>
                    <a:pt x="393" y="8655"/>
                  </a:lnTo>
                  <a:lnTo>
                    <a:pt x="0" y="11409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58" name="Freeform: Shape 4152">
              <a:extLst>
                <a:ext uri="{FF2B5EF4-FFF2-40B4-BE49-F238E27FC236}">
                  <a16:creationId xmlns:a16="http://schemas.microsoft.com/office/drawing/2014/main" id="{A528ECA6-AF37-47F5-BE62-BC0BA6975126}"/>
                </a:ext>
              </a:extLst>
            </p:cNvPr>
            <p:cNvSpPr/>
            <p:nvPr/>
          </p:nvSpPr>
          <p:spPr>
            <a:xfrm>
              <a:off x="10365857" y="407976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59" name="Freeform: Shape 4153">
              <a:extLst>
                <a:ext uri="{FF2B5EF4-FFF2-40B4-BE49-F238E27FC236}">
                  <a16:creationId xmlns:a16="http://schemas.microsoft.com/office/drawing/2014/main" id="{5BBA5159-30B9-4147-B5F7-2C106C96B29D}"/>
                </a:ext>
              </a:extLst>
            </p:cNvPr>
            <p:cNvSpPr/>
            <p:nvPr/>
          </p:nvSpPr>
          <p:spPr>
            <a:xfrm>
              <a:off x="10488212" y="4077015"/>
              <a:ext cx="7869" cy="3934"/>
            </a:xfrm>
            <a:custGeom>
              <a:avLst/>
              <a:gdLst>
                <a:gd name="connsiteX0" fmla="*/ 5901 w 7868"/>
                <a:gd name="connsiteY0" fmla="*/ 1180 h 0"/>
                <a:gd name="connsiteX1" fmla="*/ 9049 w 7868"/>
                <a:gd name="connsiteY1" fmla="*/ 393 h 0"/>
                <a:gd name="connsiteX2" fmla="*/ 9443 w 7868"/>
                <a:gd name="connsiteY2" fmla="*/ 0 h 0"/>
                <a:gd name="connsiteX3" fmla="*/ 0 w 7868"/>
                <a:gd name="connsiteY3" fmla="*/ 393 h 0"/>
                <a:gd name="connsiteX4" fmla="*/ 3148 w 7868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>
                  <a:moveTo>
                    <a:pt x="5901" y="1180"/>
                  </a:moveTo>
                  <a:lnTo>
                    <a:pt x="9049" y="393"/>
                  </a:lnTo>
                  <a:lnTo>
                    <a:pt x="9443" y="0"/>
                  </a:lnTo>
                  <a:lnTo>
                    <a:pt x="0" y="393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60" name="Freeform: Shape 4154">
              <a:extLst>
                <a:ext uri="{FF2B5EF4-FFF2-40B4-BE49-F238E27FC236}">
                  <a16:creationId xmlns:a16="http://schemas.microsoft.com/office/drawing/2014/main" id="{B8AC14AA-767F-4DA7-A21C-B4EB7ECB568A}"/>
                </a:ext>
              </a:extLst>
            </p:cNvPr>
            <p:cNvSpPr/>
            <p:nvPr/>
          </p:nvSpPr>
          <p:spPr>
            <a:xfrm>
              <a:off x="10479951" y="4074655"/>
              <a:ext cx="3934" cy="3934"/>
            </a:xfrm>
            <a:custGeom>
              <a:avLst/>
              <a:gdLst>
                <a:gd name="connsiteX0" fmla="*/ 2754 w 3934"/>
                <a:gd name="connsiteY0" fmla="*/ 787 h 0"/>
                <a:gd name="connsiteX1" fmla="*/ 4327 w 3934"/>
                <a:gd name="connsiteY1" fmla="*/ 0 h 0"/>
                <a:gd name="connsiteX2" fmla="*/ 0 w 3934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2754" y="787"/>
                  </a:moveTo>
                  <a:lnTo>
                    <a:pt x="432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61" name="Freeform: Shape 4155">
              <a:extLst>
                <a:ext uri="{FF2B5EF4-FFF2-40B4-BE49-F238E27FC236}">
                  <a16:creationId xmlns:a16="http://schemas.microsoft.com/office/drawing/2014/main" id="{C618A570-CDF9-4F46-9742-6674F9195BB3}"/>
                </a:ext>
              </a:extLst>
            </p:cNvPr>
            <p:cNvSpPr/>
            <p:nvPr/>
          </p:nvSpPr>
          <p:spPr>
            <a:xfrm>
              <a:off x="10372152" y="4212747"/>
              <a:ext cx="3934" cy="3934"/>
            </a:xfrm>
            <a:custGeom>
              <a:avLst/>
              <a:gdLst>
                <a:gd name="connsiteX0" fmla="*/ 3934 w 3934"/>
                <a:gd name="connsiteY0" fmla="*/ 3934 h 3934"/>
                <a:gd name="connsiteX1" fmla="*/ 1180 w 3934"/>
                <a:gd name="connsiteY1" fmla="*/ 1180 h 3934"/>
                <a:gd name="connsiteX2" fmla="*/ 0 w 3934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3934" y="3934"/>
                  </a:moveTo>
                  <a:lnTo>
                    <a:pt x="1180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62" name="Freeform: Shape 4156">
              <a:extLst>
                <a:ext uri="{FF2B5EF4-FFF2-40B4-BE49-F238E27FC236}">
                  <a16:creationId xmlns:a16="http://schemas.microsoft.com/office/drawing/2014/main" id="{D1F821C7-D38D-4A52-95E3-CD3218A637C0}"/>
                </a:ext>
              </a:extLst>
            </p:cNvPr>
            <p:cNvSpPr/>
            <p:nvPr/>
          </p:nvSpPr>
          <p:spPr>
            <a:xfrm>
              <a:off x="10366250" y="4210780"/>
              <a:ext cx="3934" cy="3934"/>
            </a:xfrm>
            <a:custGeom>
              <a:avLst/>
              <a:gdLst>
                <a:gd name="connsiteX0" fmla="*/ 1574 w 3934"/>
                <a:gd name="connsiteY0" fmla="*/ 393 h 0"/>
                <a:gd name="connsiteX1" fmla="*/ 0 w 3934"/>
                <a:gd name="connsiteY1" fmla="*/ 0 h 0"/>
                <a:gd name="connsiteX2" fmla="*/ 4328 w 3934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1574" y="393"/>
                  </a:moveTo>
                  <a:lnTo>
                    <a:pt x="0" y="0"/>
                  </a:lnTo>
                  <a:lnTo>
                    <a:pt x="432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63" name="Freeform: Shape 4157">
              <a:extLst>
                <a:ext uri="{FF2B5EF4-FFF2-40B4-BE49-F238E27FC236}">
                  <a16:creationId xmlns:a16="http://schemas.microsoft.com/office/drawing/2014/main" id="{373198F6-EC6F-415A-B128-F0402BF80C62}"/>
                </a:ext>
              </a:extLst>
            </p:cNvPr>
            <p:cNvSpPr/>
            <p:nvPr/>
          </p:nvSpPr>
          <p:spPr>
            <a:xfrm>
              <a:off x="10356415" y="4209206"/>
              <a:ext cx="3934" cy="3934"/>
            </a:xfrm>
            <a:custGeom>
              <a:avLst/>
              <a:gdLst>
                <a:gd name="connsiteX0" fmla="*/ 4722 w 3934"/>
                <a:gd name="connsiteY0" fmla="*/ 0 h 0"/>
                <a:gd name="connsiteX1" fmla="*/ 0 w 3934"/>
                <a:gd name="connsiteY1" fmla="*/ 1180 h 0"/>
                <a:gd name="connsiteX2" fmla="*/ 2755 w 3934"/>
                <a:gd name="connsiteY2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4722" y="0"/>
                  </a:moveTo>
                  <a:lnTo>
                    <a:pt x="0" y="1180"/>
                  </a:lnTo>
                  <a:lnTo>
                    <a:pt x="2755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64" name="Freeform: Shape 4158">
              <a:extLst>
                <a:ext uri="{FF2B5EF4-FFF2-40B4-BE49-F238E27FC236}">
                  <a16:creationId xmlns:a16="http://schemas.microsoft.com/office/drawing/2014/main" id="{446EF4E1-183D-4D6E-8C1E-23D037053B5B}"/>
                </a:ext>
              </a:extLst>
            </p:cNvPr>
            <p:cNvSpPr/>
            <p:nvPr/>
          </p:nvSpPr>
          <p:spPr>
            <a:xfrm>
              <a:off x="10350120" y="4199764"/>
              <a:ext cx="11803" cy="7869"/>
            </a:xfrm>
            <a:custGeom>
              <a:avLst/>
              <a:gdLst>
                <a:gd name="connsiteX0" fmla="*/ 10622 w 11802"/>
                <a:gd name="connsiteY0" fmla="*/ 5508 h 7868"/>
                <a:gd name="connsiteX1" fmla="*/ 9836 w 11802"/>
                <a:gd name="connsiteY1" fmla="*/ 2754 h 7868"/>
                <a:gd name="connsiteX2" fmla="*/ 7082 w 11802"/>
                <a:gd name="connsiteY2" fmla="*/ 1574 h 7868"/>
                <a:gd name="connsiteX3" fmla="*/ 3934 w 11802"/>
                <a:gd name="connsiteY3" fmla="*/ 787 h 7868"/>
                <a:gd name="connsiteX4" fmla="*/ 1180 w 11802"/>
                <a:gd name="connsiteY4" fmla="*/ 393 h 7868"/>
                <a:gd name="connsiteX5" fmla="*/ 0 w 11802"/>
                <a:gd name="connsiteY5" fmla="*/ 0 h 7868"/>
                <a:gd name="connsiteX6" fmla="*/ 12196 w 11802"/>
                <a:gd name="connsiteY6" fmla="*/ 826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02" h="7868">
                  <a:moveTo>
                    <a:pt x="10622" y="5508"/>
                  </a:moveTo>
                  <a:lnTo>
                    <a:pt x="9836" y="2754"/>
                  </a:lnTo>
                  <a:lnTo>
                    <a:pt x="7082" y="1574"/>
                  </a:lnTo>
                  <a:lnTo>
                    <a:pt x="3934" y="787"/>
                  </a:lnTo>
                  <a:lnTo>
                    <a:pt x="1180" y="393"/>
                  </a:lnTo>
                  <a:lnTo>
                    <a:pt x="0" y="0"/>
                  </a:lnTo>
                  <a:lnTo>
                    <a:pt x="12196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65" name="Freeform: Shape 4159">
              <a:extLst>
                <a:ext uri="{FF2B5EF4-FFF2-40B4-BE49-F238E27FC236}">
                  <a16:creationId xmlns:a16="http://schemas.microsoft.com/office/drawing/2014/main" id="{76FC1A28-4B1F-44C2-AA44-4D1D86EDAF5E}"/>
                </a:ext>
              </a:extLst>
            </p:cNvPr>
            <p:cNvSpPr/>
            <p:nvPr/>
          </p:nvSpPr>
          <p:spPr>
            <a:xfrm>
              <a:off x="10338710" y="4199371"/>
              <a:ext cx="3934" cy="3934"/>
            </a:xfrm>
            <a:custGeom>
              <a:avLst/>
              <a:gdLst>
                <a:gd name="connsiteX0" fmla="*/ 5901 w 3934"/>
                <a:gd name="connsiteY0" fmla="*/ 1574 h 0"/>
                <a:gd name="connsiteX1" fmla="*/ 5509 w 3934"/>
                <a:gd name="connsiteY1" fmla="*/ 0 h 0"/>
                <a:gd name="connsiteX2" fmla="*/ 0 w 3934"/>
                <a:gd name="connsiteY2" fmla="*/ 2754 h 0"/>
                <a:gd name="connsiteX3" fmla="*/ 2755 w 3934"/>
                <a:gd name="connsiteY3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1574"/>
                  </a:moveTo>
                  <a:lnTo>
                    <a:pt x="5509" y="0"/>
                  </a:lnTo>
                  <a:lnTo>
                    <a:pt x="0" y="2754"/>
                  </a:lnTo>
                  <a:lnTo>
                    <a:pt x="2755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66" name="Freeform: Shape 4160">
              <a:extLst>
                <a:ext uri="{FF2B5EF4-FFF2-40B4-BE49-F238E27FC236}">
                  <a16:creationId xmlns:a16="http://schemas.microsoft.com/office/drawing/2014/main" id="{D4C7DE70-3A6B-4128-AE47-D05B4073F672}"/>
                </a:ext>
              </a:extLst>
            </p:cNvPr>
            <p:cNvSpPr/>
            <p:nvPr/>
          </p:nvSpPr>
          <p:spPr>
            <a:xfrm>
              <a:off x="10346186" y="4196617"/>
              <a:ext cx="3934" cy="3934"/>
            </a:xfrm>
            <a:custGeom>
              <a:avLst/>
              <a:gdLst>
                <a:gd name="connsiteX0" fmla="*/ 393 w 0"/>
                <a:gd name="connsiteY0" fmla="*/ 393 h 0"/>
                <a:gd name="connsiteX1" fmla="*/ 2360 w 0"/>
                <a:gd name="connsiteY1" fmla="*/ 314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393"/>
                  </a:moveTo>
                  <a:lnTo>
                    <a:pt x="2360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67" name="Freeform: Shape 4161">
              <a:extLst>
                <a:ext uri="{FF2B5EF4-FFF2-40B4-BE49-F238E27FC236}">
                  <a16:creationId xmlns:a16="http://schemas.microsoft.com/office/drawing/2014/main" id="{974BD64C-31FB-4924-BCCE-539A07C3F3ED}"/>
                </a:ext>
              </a:extLst>
            </p:cNvPr>
            <p:cNvSpPr/>
            <p:nvPr/>
          </p:nvSpPr>
          <p:spPr>
            <a:xfrm>
              <a:off x="10341071" y="4186388"/>
              <a:ext cx="3934" cy="7869"/>
            </a:xfrm>
            <a:custGeom>
              <a:avLst/>
              <a:gdLst>
                <a:gd name="connsiteX0" fmla="*/ 0 w 3934"/>
                <a:gd name="connsiteY0" fmla="*/ 0 h 7868"/>
                <a:gd name="connsiteX1" fmla="*/ 394 w 3934"/>
                <a:gd name="connsiteY1" fmla="*/ 2361 h 7868"/>
                <a:gd name="connsiteX2" fmla="*/ 1573 w 3934"/>
                <a:gd name="connsiteY2" fmla="*/ 5114 h 7868"/>
                <a:gd name="connsiteX3" fmla="*/ 4328 w 3934"/>
                <a:gd name="connsiteY3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7868">
                  <a:moveTo>
                    <a:pt x="0" y="0"/>
                  </a:moveTo>
                  <a:lnTo>
                    <a:pt x="394" y="2361"/>
                  </a:lnTo>
                  <a:lnTo>
                    <a:pt x="1573" y="5114"/>
                  </a:lnTo>
                  <a:lnTo>
                    <a:pt x="4328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68" name="Freeform: Shape 4162">
              <a:extLst>
                <a:ext uri="{FF2B5EF4-FFF2-40B4-BE49-F238E27FC236}">
                  <a16:creationId xmlns:a16="http://schemas.microsoft.com/office/drawing/2014/main" id="{2E57D822-C45A-45A7-B6F4-24F2A39B5196}"/>
                </a:ext>
              </a:extLst>
            </p:cNvPr>
            <p:cNvSpPr/>
            <p:nvPr/>
          </p:nvSpPr>
          <p:spPr>
            <a:xfrm>
              <a:off x="10340285" y="4184814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1574 h 0"/>
                <a:gd name="connsiteX2" fmla="*/ 393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1574"/>
                  </a:lnTo>
                  <a:lnTo>
                    <a:pt x="393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69" name="Freeform: Shape 4163">
              <a:extLst>
                <a:ext uri="{FF2B5EF4-FFF2-40B4-BE49-F238E27FC236}">
                  <a16:creationId xmlns:a16="http://schemas.microsoft.com/office/drawing/2014/main" id="{93F0BA83-6915-4FE2-846E-BC52A6ABF60B}"/>
                </a:ext>
              </a:extLst>
            </p:cNvPr>
            <p:cNvSpPr/>
            <p:nvPr/>
          </p:nvSpPr>
          <p:spPr>
            <a:xfrm>
              <a:off x="10331629" y="4178519"/>
              <a:ext cx="3934" cy="7869"/>
            </a:xfrm>
            <a:custGeom>
              <a:avLst/>
              <a:gdLst>
                <a:gd name="connsiteX0" fmla="*/ 393 w 0"/>
                <a:gd name="connsiteY0" fmla="*/ 5114 h 7868"/>
                <a:gd name="connsiteX1" fmla="*/ 0 w 0"/>
                <a:gd name="connsiteY1" fmla="*/ 8262 h 7868"/>
                <a:gd name="connsiteX2" fmla="*/ 2754 w 0"/>
                <a:gd name="connsiteY2" fmla="*/ 8262 h 7868"/>
                <a:gd name="connsiteX3" fmla="*/ 2360 w 0"/>
                <a:gd name="connsiteY3" fmla="*/ 0 h 7868"/>
                <a:gd name="connsiteX4" fmla="*/ 1180 w 0"/>
                <a:gd name="connsiteY4" fmla="*/ 236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7868">
                  <a:moveTo>
                    <a:pt x="393" y="5114"/>
                  </a:moveTo>
                  <a:lnTo>
                    <a:pt x="0" y="8262"/>
                  </a:lnTo>
                  <a:lnTo>
                    <a:pt x="2754" y="8262"/>
                  </a:lnTo>
                  <a:lnTo>
                    <a:pt x="2360" y="0"/>
                  </a:lnTo>
                  <a:lnTo>
                    <a:pt x="118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70" name="Freeform: Shape 4164">
              <a:extLst>
                <a:ext uri="{FF2B5EF4-FFF2-40B4-BE49-F238E27FC236}">
                  <a16:creationId xmlns:a16="http://schemas.microsoft.com/office/drawing/2014/main" id="{8831176F-47D1-4857-8397-EA7E82B0971A}"/>
                </a:ext>
              </a:extLst>
            </p:cNvPr>
            <p:cNvSpPr/>
            <p:nvPr/>
          </p:nvSpPr>
          <p:spPr>
            <a:xfrm>
              <a:off x="10339498" y="4170651"/>
              <a:ext cx="3934" cy="3934"/>
            </a:xfrm>
            <a:custGeom>
              <a:avLst/>
              <a:gdLst>
                <a:gd name="connsiteX0" fmla="*/ 0 w 0"/>
                <a:gd name="connsiteY0" fmla="*/ 0 h 3934"/>
                <a:gd name="connsiteX1" fmla="*/ 0 w 0"/>
                <a:gd name="connsiteY1" fmla="*/ 5901 h 3934"/>
                <a:gd name="connsiteX2" fmla="*/ 393 w 0"/>
                <a:gd name="connsiteY2" fmla="*/ 3934 h 3934"/>
                <a:gd name="connsiteX3" fmla="*/ 787 w 0"/>
                <a:gd name="connsiteY3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0"/>
                  </a:moveTo>
                  <a:lnTo>
                    <a:pt x="0" y="5901"/>
                  </a:lnTo>
                  <a:lnTo>
                    <a:pt x="393" y="3934"/>
                  </a:lnTo>
                  <a:lnTo>
                    <a:pt x="78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71" name="Freeform: Shape 4165">
              <a:extLst>
                <a:ext uri="{FF2B5EF4-FFF2-40B4-BE49-F238E27FC236}">
                  <a16:creationId xmlns:a16="http://schemas.microsoft.com/office/drawing/2014/main" id="{EE6B7320-0D15-48E6-841A-3AA23C7E6131}"/>
                </a:ext>
              </a:extLst>
            </p:cNvPr>
            <p:cNvSpPr/>
            <p:nvPr/>
          </p:nvSpPr>
          <p:spPr>
            <a:xfrm>
              <a:off x="10339104" y="4176552"/>
              <a:ext cx="3934" cy="3934"/>
            </a:xfrm>
            <a:custGeom>
              <a:avLst/>
              <a:gdLst>
                <a:gd name="connsiteX0" fmla="*/ 0 w 0"/>
                <a:gd name="connsiteY0" fmla="*/ 3934 h 3934"/>
                <a:gd name="connsiteX1" fmla="*/ 394 w 0"/>
                <a:gd name="connsiteY1" fmla="*/ 6688 h 3934"/>
                <a:gd name="connsiteX2" fmla="*/ 394 w 0"/>
                <a:gd name="connsiteY2" fmla="*/ 0 h 3934"/>
                <a:gd name="connsiteX3" fmla="*/ 0 w 0"/>
                <a:gd name="connsiteY3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3934"/>
                  </a:moveTo>
                  <a:lnTo>
                    <a:pt x="394" y="6688"/>
                  </a:lnTo>
                  <a:lnTo>
                    <a:pt x="394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72" name="Freeform: Shape 4166">
              <a:extLst>
                <a:ext uri="{FF2B5EF4-FFF2-40B4-BE49-F238E27FC236}">
                  <a16:creationId xmlns:a16="http://schemas.microsoft.com/office/drawing/2014/main" id="{2747BB1D-5793-464E-80F4-6C296E4A3620}"/>
                </a:ext>
              </a:extLst>
            </p:cNvPr>
            <p:cNvSpPr/>
            <p:nvPr/>
          </p:nvSpPr>
          <p:spPr>
            <a:xfrm>
              <a:off x="10330842" y="4170651"/>
              <a:ext cx="3934" cy="3934"/>
            </a:xfrm>
            <a:custGeom>
              <a:avLst/>
              <a:gdLst>
                <a:gd name="connsiteX0" fmla="*/ 1574 w 0"/>
                <a:gd name="connsiteY0" fmla="*/ 0 h 0"/>
                <a:gd name="connsiteX1" fmla="*/ 0 w 0"/>
                <a:gd name="connsiteY1" fmla="*/ 2754 h 0"/>
                <a:gd name="connsiteX2" fmla="*/ 2361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0"/>
                  </a:moveTo>
                  <a:lnTo>
                    <a:pt x="0" y="2754"/>
                  </a:lnTo>
                  <a:lnTo>
                    <a:pt x="236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73" name="Freeform: Shape 4167">
              <a:extLst>
                <a:ext uri="{FF2B5EF4-FFF2-40B4-BE49-F238E27FC236}">
                  <a16:creationId xmlns:a16="http://schemas.microsoft.com/office/drawing/2014/main" id="{4714F474-006C-48CB-AAE5-560C6459ED29}"/>
                </a:ext>
              </a:extLst>
            </p:cNvPr>
            <p:cNvSpPr/>
            <p:nvPr/>
          </p:nvSpPr>
          <p:spPr>
            <a:xfrm>
              <a:off x="10342252" y="4141144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1967 h 0"/>
                <a:gd name="connsiteX2" fmla="*/ 0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1967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74" name="Freeform: Shape 4168">
              <a:extLst>
                <a:ext uri="{FF2B5EF4-FFF2-40B4-BE49-F238E27FC236}">
                  <a16:creationId xmlns:a16="http://schemas.microsoft.com/office/drawing/2014/main" id="{6CA33268-E690-470F-A059-A5F4BC277A3D}"/>
                </a:ext>
              </a:extLst>
            </p:cNvPr>
            <p:cNvSpPr/>
            <p:nvPr/>
          </p:nvSpPr>
          <p:spPr>
            <a:xfrm>
              <a:off x="10336743" y="4143111"/>
              <a:ext cx="3934" cy="27540"/>
            </a:xfrm>
            <a:custGeom>
              <a:avLst/>
              <a:gdLst>
                <a:gd name="connsiteX0" fmla="*/ 1967 w 3934"/>
                <a:gd name="connsiteY0" fmla="*/ 28720 h 27539"/>
                <a:gd name="connsiteX1" fmla="*/ 5509 w 3934"/>
                <a:gd name="connsiteY1" fmla="*/ 0 h 27539"/>
                <a:gd name="connsiteX2" fmla="*/ 2755 w 3934"/>
                <a:gd name="connsiteY2" fmla="*/ 2361 h 27539"/>
                <a:gd name="connsiteX3" fmla="*/ 0 w 3934"/>
                <a:gd name="connsiteY3" fmla="*/ 5114 h 27539"/>
                <a:gd name="connsiteX4" fmla="*/ 0 w 3934"/>
                <a:gd name="connsiteY4" fmla="*/ 8262 h 27539"/>
                <a:gd name="connsiteX5" fmla="*/ 788 w 3934"/>
                <a:gd name="connsiteY5" fmla="*/ 11016 h 27539"/>
                <a:gd name="connsiteX6" fmla="*/ 788 w 3934"/>
                <a:gd name="connsiteY6" fmla="*/ 13770 h 27539"/>
                <a:gd name="connsiteX7" fmla="*/ 394 w 3934"/>
                <a:gd name="connsiteY7" fmla="*/ 16917 h 27539"/>
                <a:gd name="connsiteX8" fmla="*/ 0 w 3934"/>
                <a:gd name="connsiteY8" fmla="*/ 19671 h 27539"/>
                <a:gd name="connsiteX9" fmla="*/ 788 w 3934"/>
                <a:gd name="connsiteY9" fmla="*/ 22819 h 27539"/>
                <a:gd name="connsiteX10" fmla="*/ 788 w 3934"/>
                <a:gd name="connsiteY10" fmla="*/ 25573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4" h="27539">
                  <a:moveTo>
                    <a:pt x="1967" y="28720"/>
                  </a:moveTo>
                  <a:lnTo>
                    <a:pt x="5509" y="0"/>
                  </a:lnTo>
                  <a:lnTo>
                    <a:pt x="2755" y="2361"/>
                  </a:lnTo>
                  <a:lnTo>
                    <a:pt x="0" y="5114"/>
                  </a:lnTo>
                  <a:lnTo>
                    <a:pt x="0" y="8262"/>
                  </a:lnTo>
                  <a:lnTo>
                    <a:pt x="788" y="11016"/>
                  </a:lnTo>
                  <a:lnTo>
                    <a:pt x="788" y="13770"/>
                  </a:lnTo>
                  <a:lnTo>
                    <a:pt x="394" y="16917"/>
                  </a:lnTo>
                  <a:lnTo>
                    <a:pt x="0" y="19671"/>
                  </a:lnTo>
                  <a:lnTo>
                    <a:pt x="788" y="22819"/>
                  </a:lnTo>
                  <a:lnTo>
                    <a:pt x="788" y="2557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75" name="Freeform: Shape 4169">
              <a:extLst>
                <a:ext uri="{FF2B5EF4-FFF2-40B4-BE49-F238E27FC236}">
                  <a16:creationId xmlns:a16="http://schemas.microsoft.com/office/drawing/2014/main" id="{548690F6-2A03-48B4-85EF-1E667414EC2A}"/>
                </a:ext>
              </a:extLst>
            </p:cNvPr>
            <p:cNvSpPr/>
            <p:nvPr/>
          </p:nvSpPr>
          <p:spPr>
            <a:xfrm>
              <a:off x="10394578" y="4348086"/>
              <a:ext cx="3934" cy="3934"/>
            </a:xfrm>
            <a:custGeom>
              <a:avLst/>
              <a:gdLst>
                <a:gd name="connsiteX0" fmla="*/ 3934 w 3934"/>
                <a:gd name="connsiteY0" fmla="*/ 0 h 0"/>
                <a:gd name="connsiteX1" fmla="*/ 0 w 3934"/>
                <a:gd name="connsiteY1" fmla="*/ 2360 h 0"/>
                <a:gd name="connsiteX2" fmla="*/ 3147 w 3934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3934" y="0"/>
                  </a:moveTo>
                  <a:lnTo>
                    <a:pt x="0" y="236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76" name="Freeform: Shape 4170">
              <a:extLst>
                <a:ext uri="{FF2B5EF4-FFF2-40B4-BE49-F238E27FC236}">
                  <a16:creationId xmlns:a16="http://schemas.microsoft.com/office/drawing/2014/main" id="{BD1E8886-2E13-4A70-87B2-5FCBA545BB96}"/>
                </a:ext>
              </a:extLst>
            </p:cNvPr>
            <p:cNvSpPr/>
            <p:nvPr/>
          </p:nvSpPr>
          <p:spPr>
            <a:xfrm>
              <a:off x="10392217" y="4332349"/>
              <a:ext cx="3934" cy="3934"/>
            </a:xfrm>
            <a:custGeom>
              <a:avLst/>
              <a:gdLst>
                <a:gd name="connsiteX0" fmla="*/ 2754 w 3934"/>
                <a:gd name="connsiteY0" fmla="*/ 1180 h 0"/>
                <a:gd name="connsiteX1" fmla="*/ 0 w 3934"/>
                <a:gd name="connsiteY1" fmla="*/ 3147 h 0"/>
                <a:gd name="connsiteX2" fmla="*/ 5115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2754" y="1180"/>
                  </a:moveTo>
                  <a:lnTo>
                    <a:pt x="0" y="3147"/>
                  </a:lnTo>
                  <a:lnTo>
                    <a:pt x="511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77" name="Freeform: Shape 4171">
              <a:extLst>
                <a:ext uri="{FF2B5EF4-FFF2-40B4-BE49-F238E27FC236}">
                  <a16:creationId xmlns:a16="http://schemas.microsoft.com/office/drawing/2014/main" id="{B7ADD561-B3DD-467E-A09C-F0C5E7CEB765}"/>
                </a:ext>
              </a:extLst>
            </p:cNvPr>
            <p:cNvSpPr/>
            <p:nvPr/>
          </p:nvSpPr>
          <p:spPr>
            <a:xfrm>
              <a:off x="10387102" y="4322120"/>
              <a:ext cx="3934" cy="3934"/>
            </a:xfrm>
            <a:custGeom>
              <a:avLst/>
              <a:gdLst>
                <a:gd name="connsiteX0" fmla="*/ 4328 w 3934"/>
                <a:gd name="connsiteY0" fmla="*/ 2361 h 3934"/>
                <a:gd name="connsiteX1" fmla="*/ 4328 w 3934"/>
                <a:gd name="connsiteY1" fmla="*/ 0 h 3934"/>
                <a:gd name="connsiteX2" fmla="*/ 0 w 3934"/>
                <a:gd name="connsiteY2" fmla="*/ 7475 h 3934"/>
                <a:gd name="connsiteX3" fmla="*/ 2754 w 3934"/>
                <a:gd name="connsiteY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4328" y="2361"/>
                  </a:moveTo>
                  <a:lnTo>
                    <a:pt x="4328" y="0"/>
                  </a:lnTo>
                  <a:lnTo>
                    <a:pt x="0" y="7475"/>
                  </a:lnTo>
                  <a:lnTo>
                    <a:pt x="2754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78" name="Freeform: Shape 4172">
              <a:extLst>
                <a:ext uri="{FF2B5EF4-FFF2-40B4-BE49-F238E27FC236}">
                  <a16:creationId xmlns:a16="http://schemas.microsoft.com/office/drawing/2014/main" id="{E310B7A8-0C56-4A09-8BC3-D6C90B778605}"/>
                </a:ext>
              </a:extLst>
            </p:cNvPr>
            <p:cNvSpPr/>
            <p:nvPr/>
          </p:nvSpPr>
          <p:spPr>
            <a:xfrm>
              <a:off x="10381201" y="4291826"/>
              <a:ext cx="3934" cy="3934"/>
            </a:xfrm>
            <a:custGeom>
              <a:avLst/>
              <a:gdLst>
                <a:gd name="connsiteX0" fmla="*/ 4328 w 3934"/>
                <a:gd name="connsiteY0" fmla="*/ 394 h 0"/>
                <a:gd name="connsiteX1" fmla="*/ 4328 w 3934"/>
                <a:gd name="connsiteY1" fmla="*/ 0 h 0"/>
                <a:gd name="connsiteX2" fmla="*/ 0 w 3934"/>
                <a:gd name="connsiteY2" fmla="*/ 2361 h 0"/>
                <a:gd name="connsiteX3" fmla="*/ 2754 w 3934"/>
                <a:gd name="connsiteY3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4328" y="394"/>
                  </a:moveTo>
                  <a:lnTo>
                    <a:pt x="4328" y="0"/>
                  </a:lnTo>
                  <a:lnTo>
                    <a:pt x="0" y="2361"/>
                  </a:lnTo>
                  <a:lnTo>
                    <a:pt x="2754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79" name="Freeform: Shape 4173">
              <a:extLst>
                <a:ext uri="{FF2B5EF4-FFF2-40B4-BE49-F238E27FC236}">
                  <a16:creationId xmlns:a16="http://schemas.microsoft.com/office/drawing/2014/main" id="{DEE8D677-9118-4FD9-84E6-A1F8FA238FFE}"/>
                </a:ext>
              </a:extLst>
            </p:cNvPr>
            <p:cNvSpPr/>
            <p:nvPr/>
          </p:nvSpPr>
          <p:spPr>
            <a:xfrm>
              <a:off x="10374906" y="4284351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393 h 0"/>
                <a:gd name="connsiteX2" fmla="*/ 3147 w 0"/>
                <a:gd name="connsiteY2" fmla="*/ 23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393"/>
                  </a:lnTo>
                  <a:lnTo>
                    <a:pt x="3147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80" name="Freeform: Shape 4174">
              <a:extLst>
                <a:ext uri="{FF2B5EF4-FFF2-40B4-BE49-F238E27FC236}">
                  <a16:creationId xmlns:a16="http://schemas.microsoft.com/office/drawing/2014/main" id="{1F846C47-D162-4B89-8D02-4551D6E5B6D1}"/>
                </a:ext>
              </a:extLst>
            </p:cNvPr>
            <p:cNvSpPr/>
            <p:nvPr/>
          </p:nvSpPr>
          <p:spPr>
            <a:xfrm>
              <a:off x="10607028" y="4087638"/>
              <a:ext cx="7869" cy="3934"/>
            </a:xfrm>
            <a:custGeom>
              <a:avLst/>
              <a:gdLst>
                <a:gd name="connsiteX0" fmla="*/ 5901 w 7868"/>
                <a:gd name="connsiteY0" fmla="*/ 2754 h 0"/>
                <a:gd name="connsiteX1" fmla="*/ 8655 w 7868"/>
                <a:gd name="connsiteY1" fmla="*/ 393 h 0"/>
                <a:gd name="connsiteX2" fmla="*/ 5901 w 7868"/>
                <a:gd name="connsiteY2" fmla="*/ 393 h 0"/>
                <a:gd name="connsiteX3" fmla="*/ 2754 w 7868"/>
                <a:gd name="connsiteY3" fmla="*/ 0 h 0"/>
                <a:gd name="connsiteX4" fmla="*/ 0 w 7868"/>
                <a:gd name="connsiteY4" fmla="*/ 0 h 0"/>
                <a:gd name="connsiteX5" fmla="*/ 2754 w 7868"/>
                <a:gd name="connsiteY5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5901" y="2754"/>
                  </a:moveTo>
                  <a:lnTo>
                    <a:pt x="8655" y="393"/>
                  </a:lnTo>
                  <a:lnTo>
                    <a:pt x="5901" y="393"/>
                  </a:lnTo>
                  <a:lnTo>
                    <a:pt x="2754" y="0"/>
                  </a:lnTo>
                  <a:lnTo>
                    <a:pt x="0" y="0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81" name="Freeform: Shape 4175">
              <a:extLst>
                <a:ext uri="{FF2B5EF4-FFF2-40B4-BE49-F238E27FC236}">
                  <a16:creationId xmlns:a16="http://schemas.microsoft.com/office/drawing/2014/main" id="{F6E1FAD9-0242-4781-9150-99615C346566}"/>
                </a:ext>
              </a:extLst>
            </p:cNvPr>
            <p:cNvSpPr/>
            <p:nvPr/>
          </p:nvSpPr>
          <p:spPr>
            <a:xfrm>
              <a:off x="10558636" y="4086457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2754 h 0"/>
                <a:gd name="connsiteX2" fmla="*/ 393 w 0"/>
                <a:gd name="connsiteY2" fmla="*/ 1180 h 0"/>
                <a:gd name="connsiteX3" fmla="*/ 354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2754"/>
                  </a:lnTo>
                  <a:lnTo>
                    <a:pt x="393" y="1180"/>
                  </a:lnTo>
                  <a:lnTo>
                    <a:pt x="354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82" name="Freeform: Shape 4176">
              <a:extLst>
                <a:ext uri="{FF2B5EF4-FFF2-40B4-BE49-F238E27FC236}">
                  <a16:creationId xmlns:a16="http://schemas.microsoft.com/office/drawing/2014/main" id="{8355FBD0-EF69-4C41-B6AD-5737A670349C}"/>
                </a:ext>
              </a:extLst>
            </p:cNvPr>
            <p:cNvSpPr/>
            <p:nvPr/>
          </p:nvSpPr>
          <p:spPr>
            <a:xfrm>
              <a:off x="10554308" y="4084490"/>
              <a:ext cx="3934" cy="3934"/>
            </a:xfrm>
            <a:custGeom>
              <a:avLst/>
              <a:gdLst>
                <a:gd name="connsiteX0" fmla="*/ 0 w 0"/>
                <a:gd name="connsiteY0" fmla="*/ 3147 h 3934"/>
                <a:gd name="connsiteX1" fmla="*/ 2754 w 0"/>
                <a:gd name="connsiteY1" fmla="*/ 3934 h 3934"/>
                <a:gd name="connsiteX2" fmla="*/ 3541 w 0"/>
                <a:gd name="connsiteY2" fmla="*/ 3147 h 3934"/>
                <a:gd name="connsiteX3" fmla="*/ 3541 w 0"/>
                <a:gd name="connsiteY3" fmla="*/ 0 h 3934"/>
                <a:gd name="connsiteX4" fmla="*/ 787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3147"/>
                  </a:moveTo>
                  <a:lnTo>
                    <a:pt x="2754" y="3934"/>
                  </a:lnTo>
                  <a:lnTo>
                    <a:pt x="3541" y="3147"/>
                  </a:lnTo>
                  <a:lnTo>
                    <a:pt x="3541" y="0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83" name="Freeform: Shape 4177">
              <a:extLst>
                <a:ext uri="{FF2B5EF4-FFF2-40B4-BE49-F238E27FC236}">
                  <a16:creationId xmlns:a16="http://schemas.microsoft.com/office/drawing/2014/main" id="{29F50307-0434-4745-8ACC-1DA72D57D3FA}"/>
                </a:ext>
              </a:extLst>
            </p:cNvPr>
            <p:cNvSpPr/>
            <p:nvPr/>
          </p:nvSpPr>
          <p:spPr>
            <a:xfrm>
              <a:off x="10564144" y="4074655"/>
              <a:ext cx="3934" cy="3934"/>
            </a:xfrm>
            <a:custGeom>
              <a:avLst/>
              <a:gdLst>
                <a:gd name="connsiteX0" fmla="*/ 4721 w 3934"/>
                <a:gd name="connsiteY0" fmla="*/ 5114 h 3934"/>
                <a:gd name="connsiteX1" fmla="*/ 0 w 3934"/>
                <a:gd name="connsiteY1" fmla="*/ 0 h 3934"/>
                <a:gd name="connsiteX2" fmla="*/ 2361 w 3934"/>
                <a:gd name="connsiteY2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4721" y="5114"/>
                  </a:moveTo>
                  <a:lnTo>
                    <a:pt x="0" y="0"/>
                  </a:lnTo>
                  <a:lnTo>
                    <a:pt x="2361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84" name="Freeform: Shape 4178">
              <a:extLst>
                <a:ext uri="{FF2B5EF4-FFF2-40B4-BE49-F238E27FC236}">
                  <a16:creationId xmlns:a16="http://schemas.microsoft.com/office/drawing/2014/main" id="{CC3DC1A4-CED4-47F3-BCE3-9F662311EB66}"/>
                </a:ext>
              </a:extLst>
            </p:cNvPr>
            <p:cNvSpPr/>
            <p:nvPr/>
          </p:nvSpPr>
          <p:spPr>
            <a:xfrm>
              <a:off x="10549981" y="4077408"/>
              <a:ext cx="3934" cy="3934"/>
            </a:xfrm>
            <a:custGeom>
              <a:avLst/>
              <a:gdLst>
                <a:gd name="connsiteX0" fmla="*/ 2754 w 0"/>
                <a:gd name="connsiteY0" fmla="*/ 394 h 0"/>
                <a:gd name="connsiteX1" fmla="*/ 3147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4"/>
                  </a:moveTo>
                  <a:lnTo>
                    <a:pt x="3147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85" name="Freeform: Shape 4179">
              <a:extLst>
                <a:ext uri="{FF2B5EF4-FFF2-40B4-BE49-F238E27FC236}">
                  <a16:creationId xmlns:a16="http://schemas.microsoft.com/office/drawing/2014/main" id="{6DAB88E4-0C21-4B37-A2BA-B69BACE86511}"/>
                </a:ext>
              </a:extLst>
            </p:cNvPr>
            <p:cNvSpPr/>
            <p:nvPr/>
          </p:nvSpPr>
          <p:spPr>
            <a:xfrm>
              <a:off x="10560210" y="407308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3541 h 0"/>
                <a:gd name="connsiteX2" fmla="*/ 78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3541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86" name="Freeform: Shape 4180">
              <a:extLst>
                <a:ext uri="{FF2B5EF4-FFF2-40B4-BE49-F238E27FC236}">
                  <a16:creationId xmlns:a16="http://schemas.microsoft.com/office/drawing/2014/main" id="{F8BBD712-6BDE-442F-8F85-21D5BCC4D687}"/>
                </a:ext>
              </a:extLst>
            </p:cNvPr>
            <p:cNvSpPr/>
            <p:nvPr/>
          </p:nvSpPr>
          <p:spPr>
            <a:xfrm>
              <a:off x="10556669" y="4057344"/>
              <a:ext cx="11803" cy="15737"/>
            </a:xfrm>
            <a:custGeom>
              <a:avLst/>
              <a:gdLst>
                <a:gd name="connsiteX0" fmla="*/ 9442 w 11802"/>
                <a:gd name="connsiteY0" fmla="*/ 13377 h 15737"/>
                <a:gd name="connsiteX1" fmla="*/ 12589 w 11802"/>
                <a:gd name="connsiteY1" fmla="*/ 14557 h 15737"/>
                <a:gd name="connsiteX2" fmla="*/ 9442 w 11802"/>
                <a:gd name="connsiteY2" fmla="*/ 17704 h 15737"/>
                <a:gd name="connsiteX3" fmla="*/ 9836 w 11802"/>
                <a:gd name="connsiteY3" fmla="*/ 18098 h 15737"/>
                <a:gd name="connsiteX4" fmla="*/ 12589 w 11802"/>
                <a:gd name="connsiteY4" fmla="*/ 16524 h 15737"/>
                <a:gd name="connsiteX5" fmla="*/ 13770 w 11802"/>
                <a:gd name="connsiteY5" fmla="*/ 13377 h 15737"/>
                <a:gd name="connsiteX6" fmla="*/ 12983 w 11802"/>
                <a:gd name="connsiteY6" fmla="*/ 14163 h 15737"/>
                <a:gd name="connsiteX7" fmla="*/ 14163 w 11802"/>
                <a:gd name="connsiteY7" fmla="*/ 11803 h 15737"/>
                <a:gd name="connsiteX8" fmla="*/ 15343 w 11802"/>
                <a:gd name="connsiteY8" fmla="*/ 8655 h 15737"/>
                <a:gd name="connsiteX9" fmla="*/ 13770 w 11802"/>
                <a:gd name="connsiteY9" fmla="*/ 6295 h 15737"/>
                <a:gd name="connsiteX10" fmla="*/ 10622 w 11802"/>
                <a:gd name="connsiteY10" fmla="*/ 8655 h 15737"/>
                <a:gd name="connsiteX11" fmla="*/ 7869 w 11802"/>
                <a:gd name="connsiteY11" fmla="*/ 8655 h 15737"/>
                <a:gd name="connsiteX12" fmla="*/ 7475 w 11802"/>
                <a:gd name="connsiteY12" fmla="*/ 7869 h 15737"/>
                <a:gd name="connsiteX13" fmla="*/ 5508 w 11802"/>
                <a:gd name="connsiteY13" fmla="*/ 5114 h 15737"/>
                <a:gd name="connsiteX14" fmla="*/ 2754 w 11802"/>
                <a:gd name="connsiteY14" fmla="*/ 1967 h 15737"/>
                <a:gd name="connsiteX15" fmla="*/ 0 w 11802"/>
                <a:gd name="connsiteY15" fmla="*/ 0 h 15737"/>
                <a:gd name="connsiteX16" fmla="*/ 1573 w 11802"/>
                <a:gd name="connsiteY16" fmla="*/ 2754 h 15737"/>
                <a:gd name="connsiteX17" fmla="*/ 3148 w 11802"/>
                <a:gd name="connsiteY17" fmla="*/ 5901 h 15737"/>
                <a:gd name="connsiteX18" fmla="*/ 3540 w 11802"/>
                <a:gd name="connsiteY18" fmla="*/ 8655 h 15737"/>
                <a:gd name="connsiteX19" fmla="*/ 4327 w 11802"/>
                <a:gd name="connsiteY19" fmla="*/ 8655 h 15737"/>
                <a:gd name="connsiteX20" fmla="*/ 6294 w 11802"/>
                <a:gd name="connsiteY20" fmla="*/ 8655 h 15737"/>
                <a:gd name="connsiteX21" fmla="*/ 4721 w 11802"/>
                <a:gd name="connsiteY21" fmla="*/ 9836 h 15737"/>
                <a:gd name="connsiteX22" fmla="*/ 6688 w 11802"/>
                <a:gd name="connsiteY22" fmla="*/ 12590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1802" h="15737">
                  <a:moveTo>
                    <a:pt x="9442" y="13377"/>
                  </a:moveTo>
                  <a:lnTo>
                    <a:pt x="12589" y="14557"/>
                  </a:lnTo>
                  <a:lnTo>
                    <a:pt x="9442" y="17704"/>
                  </a:lnTo>
                  <a:lnTo>
                    <a:pt x="9836" y="18098"/>
                  </a:lnTo>
                  <a:lnTo>
                    <a:pt x="12589" y="16524"/>
                  </a:lnTo>
                  <a:lnTo>
                    <a:pt x="13770" y="13377"/>
                  </a:lnTo>
                  <a:lnTo>
                    <a:pt x="12983" y="14163"/>
                  </a:lnTo>
                  <a:lnTo>
                    <a:pt x="14163" y="11803"/>
                  </a:lnTo>
                  <a:lnTo>
                    <a:pt x="15343" y="8655"/>
                  </a:lnTo>
                  <a:lnTo>
                    <a:pt x="13770" y="6295"/>
                  </a:lnTo>
                  <a:lnTo>
                    <a:pt x="10622" y="8655"/>
                  </a:lnTo>
                  <a:lnTo>
                    <a:pt x="7869" y="8655"/>
                  </a:lnTo>
                  <a:lnTo>
                    <a:pt x="7475" y="7869"/>
                  </a:lnTo>
                  <a:lnTo>
                    <a:pt x="5508" y="5114"/>
                  </a:lnTo>
                  <a:lnTo>
                    <a:pt x="2754" y="1967"/>
                  </a:lnTo>
                  <a:lnTo>
                    <a:pt x="0" y="0"/>
                  </a:lnTo>
                  <a:lnTo>
                    <a:pt x="1573" y="2754"/>
                  </a:lnTo>
                  <a:lnTo>
                    <a:pt x="3148" y="5901"/>
                  </a:lnTo>
                  <a:lnTo>
                    <a:pt x="3540" y="8655"/>
                  </a:lnTo>
                  <a:lnTo>
                    <a:pt x="4327" y="8655"/>
                  </a:lnTo>
                  <a:lnTo>
                    <a:pt x="6294" y="8655"/>
                  </a:lnTo>
                  <a:lnTo>
                    <a:pt x="4721" y="9836"/>
                  </a:lnTo>
                  <a:lnTo>
                    <a:pt x="6688" y="1259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87" name="Freeform: Shape 4181">
              <a:extLst>
                <a:ext uri="{FF2B5EF4-FFF2-40B4-BE49-F238E27FC236}">
                  <a16:creationId xmlns:a16="http://schemas.microsoft.com/office/drawing/2014/main" id="{9E9C5AD4-DDA6-48D4-B01D-ED5A71CE121B}"/>
                </a:ext>
              </a:extLst>
            </p:cNvPr>
            <p:cNvSpPr/>
            <p:nvPr/>
          </p:nvSpPr>
          <p:spPr>
            <a:xfrm>
              <a:off x="10696728" y="4093145"/>
              <a:ext cx="7869" cy="3934"/>
            </a:xfrm>
            <a:custGeom>
              <a:avLst/>
              <a:gdLst>
                <a:gd name="connsiteX0" fmla="*/ 2755 w 7868"/>
                <a:gd name="connsiteY0" fmla="*/ 3541 h 3934"/>
                <a:gd name="connsiteX1" fmla="*/ 5901 w 7868"/>
                <a:gd name="connsiteY1" fmla="*/ 2361 h 3934"/>
                <a:gd name="connsiteX2" fmla="*/ 9049 w 7868"/>
                <a:gd name="connsiteY2" fmla="*/ 394 h 3934"/>
                <a:gd name="connsiteX3" fmla="*/ 9049 w 7868"/>
                <a:gd name="connsiteY3" fmla="*/ 0 h 3934"/>
                <a:gd name="connsiteX4" fmla="*/ 0 w 7868"/>
                <a:gd name="connsiteY4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 h="3934">
                  <a:moveTo>
                    <a:pt x="2755" y="3541"/>
                  </a:moveTo>
                  <a:lnTo>
                    <a:pt x="5901" y="2361"/>
                  </a:lnTo>
                  <a:lnTo>
                    <a:pt x="9049" y="394"/>
                  </a:lnTo>
                  <a:lnTo>
                    <a:pt x="9049" y="0"/>
                  </a:lnTo>
                  <a:lnTo>
                    <a:pt x="0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88" name="Freeform: Shape 4182">
              <a:extLst>
                <a:ext uri="{FF2B5EF4-FFF2-40B4-BE49-F238E27FC236}">
                  <a16:creationId xmlns:a16="http://schemas.microsoft.com/office/drawing/2014/main" id="{54685554-E844-4DAD-9407-7B0590579BB6}"/>
                </a:ext>
              </a:extLst>
            </p:cNvPr>
            <p:cNvSpPr/>
            <p:nvPr/>
          </p:nvSpPr>
          <p:spPr>
            <a:xfrm>
              <a:off x="10386315" y="4360675"/>
              <a:ext cx="3934" cy="3934"/>
            </a:xfrm>
            <a:custGeom>
              <a:avLst/>
              <a:gdLst>
                <a:gd name="connsiteX0" fmla="*/ 0 w 0"/>
                <a:gd name="connsiteY0" fmla="*/ 3148 h 0"/>
                <a:gd name="connsiteX1" fmla="*/ 2754 w 0"/>
                <a:gd name="connsiteY1" fmla="*/ 2361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8"/>
                  </a:moveTo>
                  <a:lnTo>
                    <a:pt x="2754" y="236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89" name="Freeform: Shape 4183">
              <a:extLst>
                <a:ext uri="{FF2B5EF4-FFF2-40B4-BE49-F238E27FC236}">
                  <a16:creationId xmlns:a16="http://schemas.microsoft.com/office/drawing/2014/main" id="{A0EE5D4B-C799-4C96-A379-0F7B1B7AC56A}"/>
                </a:ext>
              </a:extLst>
            </p:cNvPr>
            <p:cNvSpPr/>
            <p:nvPr/>
          </p:nvSpPr>
          <p:spPr>
            <a:xfrm>
              <a:off x="10345399" y="4065999"/>
              <a:ext cx="3934" cy="3934"/>
            </a:xfrm>
            <a:custGeom>
              <a:avLst/>
              <a:gdLst>
                <a:gd name="connsiteX0" fmla="*/ 0 w 3934"/>
                <a:gd name="connsiteY0" fmla="*/ 4328 h 3934"/>
                <a:gd name="connsiteX1" fmla="*/ 3147 w 3934"/>
                <a:gd name="connsiteY1" fmla="*/ 1967 h 3934"/>
                <a:gd name="connsiteX2" fmla="*/ 5114 w 3934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0" y="4328"/>
                  </a:moveTo>
                  <a:lnTo>
                    <a:pt x="3147" y="1967"/>
                  </a:lnTo>
                  <a:lnTo>
                    <a:pt x="511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90" name="Freeform: Shape 4184">
              <a:extLst>
                <a:ext uri="{FF2B5EF4-FFF2-40B4-BE49-F238E27FC236}">
                  <a16:creationId xmlns:a16="http://schemas.microsoft.com/office/drawing/2014/main" id="{7848FA7F-94A0-4D7A-B302-EAFFE921185F}"/>
                </a:ext>
              </a:extLst>
            </p:cNvPr>
            <p:cNvSpPr/>
            <p:nvPr/>
          </p:nvSpPr>
          <p:spPr>
            <a:xfrm>
              <a:off x="10342645" y="4065999"/>
              <a:ext cx="3934" cy="3934"/>
            </a:xfrm>
            <a:custGeom>
              <a:avLst/>
              <a:gdLst>
                <a:gd name="connsiteX0" fmla="*/ 2361 w 3934"/>
                <a:gd name="connsiteY0" fmla="*/ 1967 h 3934"/>
                <a:gd name="connsiteX1" fmla="*/ 0 w 3934"/>
                <a:gd name="connsiteY1" fmla="*/ 4721 h 3934"/>
                <a:gd name="connsiteX2" fmla="*/ 0 w 3934"/>
                <a:gd name="connsiteY2" fmla="*/ 5508 h 3934"/>
                <a:gd name="connsiteX3" fmla="*/ 5115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2361" y="1967"/>
                  </a:moveTo>
                  <a:lnTo>
                    <a:pt x="0" y="4721"/>
                  </a:lnTo>
                  <a:lnTo>
                    <a:pt x="0" y="5508"/>
                  </a:lnTo>
                  <a:lnTo>
                    <a:pt x="511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91" name="Freeform: Shape 4185">
              <a:extLst>
                <a:ext uri="{FF2B5EF4-FFF2-40B4-BE49-F238E27FC236}">
                  <a16:creationId xmlns:a16="http://schemas.microsoft.com/office/drawing/2014/main" id="{B573951D-CC2A-44D0-9F1C-E1A5A7255176}"/>
                </a:ext>
              </a:extLst>
            </p:cNvPr>
            <p:cNvSpPr/>
            <p:nvPr/>
          </p:nvSpPr>
          <p:spPr>
            <a:xfrm>
              <a:off x="10630634" y="4123046"/>
              <a:ext cx="7869" cy="3934"/>
            </a:xfrm>
            <a:custGeom>
              <a:avLst/>
              <a:gdLst>
                <a:gd name="connsiteX0" fmla="*/ 5901 w 7868"/>
                <a:gd name="connsiteY0" fmla="*/ 1967 h 0"/>
                <a:gd name="connsiteX1" fmla="*/ 9048 w 7868"/>
                <a:gd name="connsiteY1" fmla="*/ 2360 h 0"/>
                <a:gd name="connsiteX2" fmla="*/ 10229 w 7868"/>
                <a:gd name="connsiteY2" fmla="*/ 2360 h 0"/>
                <a:gd name="connsiteX3" fmla="*/ 0 w 7868"/>
                <a:gd name="connsiteY3" fmla="*/ 0 h 0"/>
                <a:gd name="connsiteX4" fmla="*/ 3147 w 7868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>
                  <a:moveTo>
                    <a:pt x="5901" y="1967"/>
                  </a:moveTo>
                  <a:lnTo>
                    <a:pt x="9048" y="2360"/>
                  </a:lnTo>
                  <a:lnTo>
                    <a:pt x="10229" y="2360"/>
                  </a:lnTo>
                  <a:lnTo>
                    <a:pt x="0" y="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92" name="Freeform: Shape 4186">
              <a:extLst>
                <a:ext uri="{FF2B5EF4-FFF2-40B4-BE49-F238E27FC236}">
                  <a16:creationId xmlns:a16="http://schemas.microsoft.com/office/drawing/2014/main" id="{AFCF3DD3-B40D-48AB-B41C-DA7AC7D0B690}"/>
                </a:ext>
              </a:extLst>
            </p:cNvPr>
            <p:cNvSpPr/>
            <p:nvPr/>
          </p:nvSpPr>
          <p:spPr>
            <a:xfrm>
              <a:off x="10642043" y="4119112"/>
              <a:ext cx="3934" cy="3934"/>
            </a:xfrm>
            <a:custGeom>
              <a:avLst/>
              <a:gdLst>
                <a:gd name="connsiteX0" fmla="*/ 3540 w 0"/>
                <a:gd name="connsiteY0" fmla="*/ 2754 h 3934"/>
                <a:gd name="connsiteX1" fmla="*/ 3148 w 0"/>
                <a:gd name="connsiteY1" fmla="*/ 0 h 3934"/>
                <a:gd name="connsiteX2" fmla="*/ 0 w 0"/>
                <a:gd name="connsiteY2" fmla="*/ 5901 h 3934"/>
                <a:gd name="connsiteX3" fmla="*/ 1573 w 0"/>
                <a:gd name="connsiteY3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540" y="2754"/>
                  </a:moveTo>
                  <a:lnTo>
                    <a:pt x="3148" y="0"/>
                  </a:lnTo>
                  <a:lnTo>
                    <a:pt x="0" y="5901"/>
                  </a:lnTo>
                  <a:lnTo>
                    <a:pt x="1573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93" name="Freeform: Shape 4187">
              <a:extLst>
                <a:ext uri="{FF2B5EF4-FFF2-40B4-BE49-F238E27FC236}">
                  <a16:creationId xmlns:a16="http://schemas.microsoft.com/office/drawing/2014/main" id="{D992AC3F-7F37-48EF-A977-62A61A425EE3}"/>
                </a:ext>
              </a:extLst>
            </p:cNvPr>
            <p:cNvSpPr/>
            <p:nvPr/>
          </p:nvSpPr>
          <p:spPr>
            <a:xfrm>
              <a:off x="10620010" y="4121866"/>
              <a:ext cx="7869" cy="3934"/>
            </a:xfrm>
            <a:custGeom>
              <a:avLst/>
              <a:gdLst>
                <a:gd name="connsiteX0" fmla="*/ 5901 w 7868"/>
                <a:gd name="connsiteY0" fmla="*/ 1574 h 0"/>
                <a:gd name="connsiteX1" fmla="*/ 8656 w 7868"/>
                <a:gd name="connsiteY1" fmla="*/ 1180 h 0"/>
                <a:gd name="connsiteX2" fmla="*/ 9049 w 7868"/>
                <a:gd name="connsiteY2" fmla="*/ 1180 h 0"/>
                <a:gd name="connsiteX3" fmla="*/ 0 w 7868"/>
                <a:gd name="connsiteY3" fmla="*/ 0 h 0"/>
                <a:gd name="connsiteX4" fmla="*/ 2755 w 7868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>
                  <a:moveTo>
                    <a:pt x="5901" y="1574"/>
                  </a:moveTo>
                  <a:lnTo>
                    <a:pt x="8656" y="1180"/>
                  </a:lnTo>
                  <a:lnTo>
                    <a:pt x="9049" y="1180"/>
                  </a:lnTo>
                  <a:lnTo>
                    <a:pt x="0" y="0"/>
                  </a:lnTo>
                  <a:lnTo>
                    <a:pt x="2755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94" name="Freeform: Shape 4188">
              <a:extLst>
                <a:ext uri="{FF2B5EF4-FFF2-40B4-BE49-F238E27FC236}">
                  <a16:creationId xmlns:a16="http://schemas.microsoft.com/office/drawing/2014/main" id="{C97D131C-40A0-4D32-87BE-8D6BBB1C2745}"/>
                </a:ext>
              </a:extLst>
            </p:cNvPr>
            <p:cNvSpPr/>
            <p:nvPr/>
          </p:nvSpPr>
          <p:spPr>
            <a:xfrm>
              <a:off x="10624338" y="4112817"/>
              <a:ext cx="11803" cy="7869"/>
            </a:xfrm>
            <a:custGeom>
              <a:avLst/>
              <a:gdLst>
                <a:gd name="connsiteX0" fmla="*/ 9049 w 11802"/>
                <a:gd name="connsiteY0" fmla="*/ 9049 h 7868"/>
                <a:gd name="connsiteX1" fmla="*/ 11409 w 11802"/>
                <a:gd name="connsiteY1" fmla="*/ 8262 h 7868"/>
                <a:gd name="connsiteX2" fmla="*/ 14557 w 11802"/>
                <a:gd name="connsiteY2" fmla="*/ 6295 h 7868"/>
                <a:gd name="connsiteX3" fmla="*/ 11409 w 11802"/>
                <a:gd name="connsiteY3" fmla="*/ 4328 h 7868"/>
                <a:gd name="connsiteX4" fmla="*/ 8655 w 11802"/>
                <a:gd name="connsiteY4" fmla="*/ 3541 h 7868"/>
                <a:gd name="connsiteX5" fmla="*/ 5901 w 11802"/>
                <a:gd name="connsiteY5" fmla="*/ 1967 h 7868"/>
                <a:gd name="connsiteX6" fmla="*/ 2754 w 11802"/>
                <a:gd name="connsiteY6" fmla="*/ 0 h 7868"/>
                <a:gd name="connsiteX7" fmla="*/ 0 w 11802"/>
                <a:gd name="connsiteY7" fmla="*/ 787 h 7868"/>
                <a:gd name="connsiteX8" fmla="*/ 2361 w 11802"/>
                <a:gd name="connsiteY8" fmla="*/ 3541 h 7868"/>
                <a:gd name="connsiteX9" fmla="*/ 3540 w 11802"/>
                <a:gd name="connsiteY9" fmla="*/ 6688 h 7868"/>
                <a:gd name="connsiteX10" fmla="*/ 6688 w 11802"/>
                <a:gd name="connsiteY10" fmla="*/ 629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7868">
                  <a:moveTo>
                    <a:pt x="9049" y="9049"/>
                  </a:moveTo>
                  <a:lnTo>
                    <a:pt x="11409" y="8262"/>
                  </a:lnTo>
                  <a:lnTo>
                    <a:pt x="14557" y="6295"/>
                  </a:lnTo>
                  <a:lnTo>
                    <a:pt x="11409" y="4328"/>
                  </a:lnTo>
                  <a:lnTo>
                    <a:pt x="8655" y="3541"/>
                  </a:lnTo>
                  <a:lnTo>
                    <a:pt x="5901" y="1967"/>
                  </a:lnTo>
                  <a:lnTo>
                    <a:pt x="2754" y="0"/>
                  </a:lnTo>
                  <a:lnTo>
                    <a:pt x="0" y="787"/>
                  </a:lnTo>
                  <a:lnTo>
                    <a:pt x="2361" y="3541"/>
                  </a:lnTo>
                  <a:lnTo>
                    <a:pt x="3540" y="6688"/>
                  </a:lnTo>
                  <a:lnTo>
                    <a:pt x="6688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95" name="Freeform: Shape 4189">
              <a:extLst>
                <a:ext uri="{FF2B5EF4-FFF2-40B4-BE49-F238E27FC236}">
                  <a16:creationId xmlns:a16="http://schemas.microsoft.com/office/drawing/2014/main" id="{2B436881-4F12-46CC-B368-8AED15067332}"/>
                </a:ext>
              </a:extLst>
            </p:cNvPr>
            <p:cNvSpPr/>
            <p:nvPr/>
          </p:nvSpPr>
          <p:spPr>
            <a:xfrm>
              <a:off x="10611355" y="4115964"/>
              <a:ext cx="3934" cy="3934"/>
            </a:xfrm>
            <a:custGeom>
              <a:avLst/>
              <a:gdLst>
                <a:gd name="connsiteX0" fmla="*/ 5509 w 3934"/>
                <a:gd name="connsiteY0" fmla="*/ 4721 h 3934"/>
                <a:gd name="connsiteX1" fmla="*/ 6295 w 3934"/>
                <a:gd name="connsiteY1" fmla="*/ 5508 h 3934"/>
                <a:gd name="connsiteX2" fmla="*/ 0 w 3934"/>
                <a:gd name="connsiteY2" fmla="*/ 0 h 3934"/>
                <a:gd name="connsiteX3" fmla="*/ 2361 w 3934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5509" y="4721"/>
                  </a:moveTo>
                  <a:lnTo>
                    <a:pt x="6295" y="5508"/>
                  </a:lnTo>
                  <a:lnTo>
                    <a:pt x="0" y="0"/>
                  </a:lnTo>
                  <a:lnTo>
                    <a:pt x="2361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96" name="Freeform: Shape 4190">
              <a:extLst>
                <a:ext uri="{FF2B5EF4-FFF2-40B4-BE49-F238E27FC236}">
                  <a16:creationId xmlns:a16="http://schemas.microsoft.com/office/drawing/2014/main" id="{261D9B6B-75B9-48CF-B275-27E2E216D8E6}"/>
                </a:ext>
              </a:extLst>
            </p:cNvPr>
            <p:cNvSpPr/>
            <p:nvPr/>
          </p:nvSpPr>
          <p:spPr>
            <a:xfrm>
              <a:off x="10632207" y="4114784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180 w 0"/>
                <a:gd name="connsiteY1" fmla="*/ 0 h 0"/>
                <a:gd name="connsiteX2" fmla="*/ 39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180" y="0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97" name="Freeform: Shape 4191">
              <a:extLst>
                <a:ext uri="{FF2B5EF4-FFF2-40B4-BE49-F238E27FC236}">
                  <a16:creationId xmlns:a16="http://schemas.microsoft.com/office/drawing/2014/main" id="{CD9E7B65-F77F-4482-AE86-B9F5201FD30D}"/>
                </a:ext>
              </a:extLst>
            </p:cNvPr>
            <p:cNvSpPr/>
            <p:nvPr/>
          </p:nvSpPr>
          <p:spPr>
            <a:xfrm>
              <a:off x="10633387" y="4114784"/>
              <a:ext cx="3934" cy="3934"/>
            </a:xfrm>
            <a:custGeom>
              <a:avLst/>
              <a:gdLst>
                <a:gd name="connsiteX0" fmla="*/ 1967 w 0"/>
                <a:gd name="connsiteY0" fmla="*/ 1180 h 0"/>
                <a:gd name="connsiteX1" fmla="*/ 2754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1180"/>
                  </a:moveTo>
                  <a:lnTo>
                    <a:pt x="2754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98" name="Freeform: Shape 4192">
              <a:extLst>
                <a:ext uri="{FF2B5EF4-FFF2-40B4-BE49-F238E27FC236}">
                  <a16:creationId xmlns:a16="http://schemas.microsoft.com/office/drawing/2014/main" id="{7500D5F7-2A45-4D38-900E-92AC44F99A3D}"/>
                </a:ext>
              </a:extLst>
            </p:cNvPr>
            <p:cNvSpPr/>
            <p:nvPr/>
          </p:nvSpPr>
          <p:spPr>
            <a:xfrm>
              <a:off x="10636141" y="4115964"/>
              <a:ext cx="7869" cy="3934"/>
            </a:xfrm>
            <a:custGeom>
              <a:avLst/>
              <a:gdLst>
                <a:gd name="connsiteX0" fmla="*/ 5115 w 7868"/>
                <a:gd name="connsiteY0" fmla="*/ 0 h 0"/>
                <a:gd name="connsiteX1" fmla="*/ 1967 w 7868"/>
                <a:gd name="connsiteY1" fmla="*/ 0 h 0"/>
                <a:gd name="connsiteX2" fmla="*/ 0 w 7868"/>
                <a:gd name="connsiteY2" fmla="*/ 0 h 0"/>
                <a:gd name="connsiteX3" fmla="*/ 7869 w 7868"/>
                <a:gd name="connsiteY3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68">
                  <a:moveTo>
                    <a:pt x="5115" y="0"/>
                  </a:moveTo>
                  <a:lnTo>
                    <a:pt x="1967" y="0"/>
                  </a:lnTo>
                  <a:lnTo>
                    <a:pt x="0" y="0"/>
                  </a:lnTo>
                  <a:lnTo>
                    <a:pt x="7869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99" name="Freeform: Shape 4193">
              <a:extLst>
                <a:ext uri="{FF2B5EF4-FFF2-40B4-BE49-F238E27FC236}">
                  <a16:creationId xmlns:a16="http://schemas.microsoft.com/office/drawing/2014/main" id="{6C903218-B22E-4670-AD80-3DE5063F84D4}"/>
                </a:ext>
              </a:extLst>
            </p:cNvPr>
            <p:cNvSpPr/>
            <p:nvPr/>
          </p:nvSpPr>
          <p:spPr>
            <a:xfrm>
              <a:off x="10649124" y="4114784"/>
              <a:ext cx="3934" cy="3934"/>
            </a:xfrm>
            <a:custGeom>
              <a:avLst/>
              <a:gdLst>
                <a:gd name="connsiteX0" fmla="*/ 1180 w 3934"/>
                <a:gd name="connsiteY0" fmla="*/ 787 h 0"/>
                <a:gd name="connsiteX1" fmla="*/ 0 w 3934"/>
                <a:gd name="connsiteY1" fmla="*/ 787 h 0"/>
                <a:gd name="connsiteX2" fmla="*/ 7082 w 3934"/>
                <a:gd name="connsiteY2" fmla="*/ 1967 h 0"/>
                <a:gd name="connsiteX3" fmla="*/ 3934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180" y="787"/>
                  </a:moveTo>
                  <a:lnTo>
                    <a:pt x="0" y="787"/>
                  </a:lnTo>
                  <a:lnTo>
                    <a:pt x="7082" y="1967"/>
                  </a:lnTo>
                  <a:lnTo>
                    <a:pt x="393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00" name="Freeform: Shape 4194">
              <a:extLst>
                <a:ext uri="{FF2B5EF4-FFF2-40B4-BE49-F238E27FC236}">
                  <a16:creationId xmlns:a16="http://schemas.microsoft.com/office/drawing/2014/main" id="{A725CAA3-E339-468C-BCEB-711673B46725}"/>
                </a:ext>
              </a:extLst>
            </p:cNvPr>
            <p:cNvSpPr/>
            <p:nvPr/>
          </p:nvSpPr>
          <p:spPr>
            <a:xfrm>
              <a:off x="10647550" y="4110850"/>
              <a:ext cx="7869" cy="3934"/>
            </a:xfrm>
            <a:custGeom>
              <a:avLst/>
              <a:gdLst>
                <a:gd name="connsiteX0" fmla="*/ 0 w 7868"/>
                <a:gd name="connsiteY0" fmla="*/ 2361 h 3934"/>
                <a:gd name="connsiteX1" fmla="*/ 3148 w 7868"/>
                <a:gd name="connsiteY1" fmla="*/ 3934 h 3934"/>
                <a:gd name="connsiteX2" fmla="*/ 5509 w 7868"/>
                <a:gd name="connsiteY2" fmla="*/ 2754 h 3934"/>
                <a:gd name="connsiteX3" fmla="*/ 8656 w 7868"/>
                <a:gd name="connsiteY3" fmla="*/ 2361 h 3934"/>
                <a:gd name="connsiteX4" fmla="*/ 5901 w 7868"/>
                <a:gd name="connsiteY4" fmla="*/ 0 h 3934"/>
                <a:gd name="connsiteX5" fmla="*/ 3148 w 7868"/>
                <a:gd name="connsiteY5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0" y="2361"/>
                  </a:moveTo>
                  <a:lnTo>
                    <a:pt x="3148" y="3934"/>
                  </a:lnTo>
                  <a:lnTo>
                    <a:pt x="5509" y="2754"/>
                  </a:lnTo>
                  <a:lnTo>
                    <a:pt x="8656" y="2361"/>
                  </a:lnTo>
                  <a:lnTo>
                    <a:pt x="5901" y="0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01" name="Freeform: Shape 4195">
              <a:extLst>
                <a:ext uri="{FF2B5EF4-FFF2-40B4-BE49-F238E27FC236}">
                  <a16:creationId xmlns:a16="http://schemas.microsoft.com/office/drawing/2014/main" id="{8252A9C0-0D70-4B61-80FA-55D102788E09}"/>
                </a:ext>
              </a:extLst>
            </p:cNvPr>
            <p:cNvSpPr/>
            <p:nvPr/>
          </p:nvSpPr>
          <p:spPr>
            <a:xfrm>
              <a:off x="10638108" y="4112030"/>
              <a:ext cx="7869" cy="3934"/>
            </a:xfrm>
            <a:custGeom>
              <a:avLst/>
              <a:gdLst>
                <a:gd name="connsiteX0" fmla="*/ 6688 w 7868"/>
                <a:gd name="connsiteY0" fmla="*/ 787 h 0"/>
                <a:gd name="connsiteX1" fmla="*/ 3934 w 7868"/>
                <a:gd name="connsiteY1" fmla="*/ 0 h 0"/>
                <a:gd name="connsiteX2" fmla="*/ 787 w 7868"/>
                <a:gd name="connsiteY2" fmla="*/ 0 h 0"/>
                <a:gd name="connsiteX3" fmla="*/ 0 w 7868"/>
                <a:gd name="connsiteY3" fmla="*/ 0 h 0"/>
                <a:gd name="connsiteX4" fmla="*/ 9442 w 7868"/>
                <a:gd name="connsiteY4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>
                  <a:moveTo>
                    <a:pt x="6688" y="787"/>
                  </a:moveTo>
                  <a:lnTo>
                    <a:pt x="3934" y="0"/>
                  </a:lnTo>
                  <a:lnTo>
                    <a:pt x="787" y="0"/>
                  </a:lnTo>
                  <a:lnTo>
                    <a:pt x="0" y="0"/>
                  </a:lnTo>
                  <a:lnTo>
                    <a:pt x="9442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02" name="Freeform: Shape 4196">
              <a:extLst>
                <a:ext uri="{FF2B5EF4-FFF2-40B4-BE49-F238E27FC236}">
                  <a16:creationId xmlns:a16="http://schemas.microsoft.com/office/drawing/2014/main" id="{DC872DD1-7770-4073-9F1A-9F6C33B92212}"/>
                </a:ext>
              </a:extLst>
            </p:cNvPr>
            <p:cNvSpPr/>
            <p:nvPr/>
          </p:nvSpPr>
          <p:spPr>
            <a:xfrm>
              <a:off x="10653845" y="4109276"/>
              <a:ext cx="3934" cy="3934"/>
            </a:xfrm>
            <a:custGeom>
              <a:avLst/>
              <a:gdLst>
                <a:gd name="connsiteX0" fmla="*/ 2754 w 3934"/>
                <a:gd name="connsiteY0" fmla="*/ 1967 h 3934"/>
                <a:gd name="connsiteX1" fmla="*/ 0 w 3934"/>
                <a:gd name="connsiteY1" fmla="*/ 0 h 3934"/>
                <a:gd name="connsiteX2" fmla="*/ 3934 w 3934"/>
                <a:gd name="connsiteY2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2754" y="1967"/>
                  </a:moveTo>
                  <a:lnTo>
                    <a:pt x="0" y="0"/>
                  </a:lnTo>
                  <a:lnTo>
                    <a:pt x="3934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03" name="Freeform: Shape 4197">
              <a:extLst>
                <a:ext uri="{FF2B5EF4-FFF2-40B4-BE49-F238E27FC236}">
                  <a16:creationId xmlns:a16="http://schemas.microsoft.com/office/drawing/2014/main" id="{D4527004-9609-4AE2-8AEA-BBC0746E412F}"/>
                </a:ext>
              </a:extLst>
            </p:cNvPr>
            <p:cNvSpPr/>
            <p:nvPr/>
          </p:nvSpPr>
          <p:spPr>
            <a:xfrm>
              <a:off x="10628273" y="4108096"/>
              <a:ext cx="3934" cy="3934"/>
            </a:xfrm>
            <a:custGeom>
              <a:avLst/>
              <a:gdLst>
                <a:gd name="connsiteX0" fmla="*/ 2754 w 3934"/>
                <a:gd name="connsiteY0" fmla="*/ 1574 h 3934"/>
                <a:gd name="connsiteX1" fmla="*/ 0 w 3934"/>
                <a:gd name="connsiteY1" fmla="*/ 0 h 3934"/>
                <a:gd name="connsiteX2" fmla="*/ 4328 w 3934"/>
                <a:gd name="connsiteY2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2754" y="1574"/>
                  </a:moveTo>
                  <a:lnTo>
                    <a:pt x="0" y="0"/>
                  </a:lnTo>
                  <a:lnTo>
                    <a:pt x="4328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04" name="Freeform: Shape 4198">
              <a:extLst>
                <a:ext uri="{FF2B5EF4-FFF2-40B4-BE49-F238E27FC236}">
                  <a16:creationId xmlns:a16="http://schemas.microsoft.com/office/drawing/2014/main" id="{1C304E98-375E-49B3-8523-EECD24A7B130}"/>
                </a:ext>
              </a:extLst>
            </p:cNvPr>
            <p:cNvSpPr/>
            <p:nvPr/>
          </p:nvSpPr>
          <p:spPr>
            <a:xfrm>
              <a:off x="10636928" y="4108883"/>
              <a:ext cx="3934" cy="3934"/>
            </a:xfrm>
            <a:custGeom>
              <a:avLst/>
              <a:gdLst>
                <a:gd name="connsiteX0" fmla="*/ 0 w 3934"/>
                <a:gd name="connsiteY0" fmla="*/ 1967 h 0"/>
                <a:gd name="connsiteX1" fmla="*/ 0 w 3934"/>
                <a:gd name="connsiteY1" fmla="*/ 2361 h 0"/>
                <a:gd name="connsiteX2" fmla="*/ 5901 w 3934"/>
                <a:gd name="connsiteY2" fmla="*/ 787 h 0"/>
                <a:gd name="connsiteX3" fmla="*/ 3148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967"/>
                  </a:moveTo>
                  <a:lnTo>
                    <a:pt x="0" y="2361"/>
                  </a:lnTo>
                  <a:lnTo>
                    <a:pt x="5901" y="787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05" name="Freeform: Shape 4199">
              <a:extLst>
                <a:ext uri="{FF2B5EF4-FFF2-40B4-BE49-F238E27FC236}">
                  <a16:creationId xmlns:a16="http://schemas.microsoft.com/office/drawing/2014/main" id="{0A178779-ED92-41AE-B064-BE53019F0C2E}"/>
                </a:ext>
              </a:extLst>
            </p:cNvPr>
            <p:cNvSpPr/>
            <p:nvPr/>
          </p:nvSpPr>
          <p:spPr>
            <a:xfrm>
              <a:off x="10644404" y="4108883"/>
              <a:ext cx="3934" cy="3934"/>
            </a:xfrm>
            <a:custGeom>
              <a:avLst/>
              <a:gdLst>
                <a:gd name="connsiteX0" fmla="*/ 4721 w 3934"/>
                <a:gd name="connsiteY0" fmla="*/ 787 h 0"/>
                <a:gd name="connsiteX1" fmla="*/ 7475 w 3934"/>
                <a:gd name="connsiteY1" fmla="*/ 787 h 0"/>
                <a:gd name="connsiteX2" fmla="*/ 0 w 3934"/>
                <a:gd name="connsiteY2" fmla="*/ 0 h 0"/>
                <a:gd name="connsiteX3" fmla="*/ 1573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4721" y="787"/>
                  </a:moveTo>
                  <a:lnTo>
                    <a:pt x="7475" y="787"/>
                  </a:lnTo>
                  <a:lnTo>
                    <a:pt x="0" y="0"/>
                  </a:lnTo>
                  <a:lnTo>
                    <a:pt x="1573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06" name="Freeform: Shape 4200">
              <a:extLst>
                <a:ext uri="{FF2B5EF4-FFF2-40B4-BE49-F238E27FC236}">
                  <a16:creationId xmlns:a16="http://schemas.microsoft.com/office/drawing/2014/main" id="{423AAA63-EA28-48AD-AA75-9E6D4ADCC3CD}"/>
                </a:ext>
              </a:extLst>
            </p:cNvPr>
            <p:cNvSpPr/>
            <p:nvPr/>
          </p:nvSpPr>
          <p:spPr>
            <a:xfrm>
              <a:off x="10621585" y="4107309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0 w 0"/>
                <a:gd name="connsiteY1" fmla="*/ 0 h 0"/>
                <a:gd name="connsiteX2" fmla="*/ 2754 w 0"/>
                <a:gd name="connsiteY2" fmla="*/ 23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0" y="0"/>
                  </a:lnTo>
                  <a:lnTo>
                    <a:pt x="2754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07" name="Freeform: Shape 4201">
              <a:extLst>
                <a:ext uri="{FF2B5EF4-FFF2-40B4-BE49-F238E27FC236}">
                  <a16:creationId xmlns:a16="http://schemas.microsoft.com/office/drawing/2014/main" id="{2A0CEB47-B00F-4B2E-86B0-61718A16ABE9}"/>
                </a:ext>
              </a:extLst>
            </p:cNvPr>
            <p:cNvSpPr/>
            <p:nvPr/>
          </p:nvSpPr>
          <p:spPr>
            <a:xfrm>
              <a:off x="10588536" y="4105735"/>
              <a:ext cx="3934" cy="3934"/>
            </a:xfrm>
            <a:custGeom>
              <a:avLst/>
              <a:gdLst>
                <a:gd name="connsiteX0" fmla="*/ 788 w 0"/>
                <a:gd name="connsiteY0" fmla="*/ 394 h 0"/>
                <a:gd name="connsiteX1" fmla="*/ 0 w 0"/>
                <a:gd name="connsiteY1" fmla="*/ 0 h 0"/>
                <a:gd name="connsiteX2" fmla="*/ 2361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8" y="394"/>
                  </a:moveTo>
                  <a:lnTo>
                    <a:pt x="0" y="0"/>
                  </a:lnTo>
                  <a:lnTo>
                    <a:pt x="236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08" name="Freeform: Shape 4202">
              <a:extLst>
                <a:ext uri="{FF2B5EF4-FFF2-40B4-BE49-F238E27FC236}">
                  <a16:creationId xmlns:a16="http://schemas.microsoft.com/office/drawing/2014/main" id="{37ADC8FB-2935-465E-8276-8F6F065E7AA4}"/>
                </a:ext>
              </a:extLst>
            </p:cNvPr>
            <p:cNvSpPr/>
            <p:nvPr/>
          </p:nvSpPr>
          <p:spPr>
            <a:xfrm>
              <a:off x="10577914" y="4106915"/>
              <a:ext cx="3934" cy="3934"/>
            </a:xfrm>
            <a:custGeom>
              <a:avLst/>
              <a:gdLst>
                <a:gd name="connsiteX0" fmla="*/ 5901 w 3934"/>
                <a:gd name="connsiteY0" fmla="*/ 1180 h 0"/>
                <a:gd name="connsiteX1" fmla="*/ 6688 w 3934"/>
                <a:gd name="connsiteY1" fmla="*/ 0 h 0"/>
                <a:gd name="connsiteX2" fmla="*/ 0 w 3934"/>
                <a:gd name="connsiteY2" fmla="*/ 394 h 0"/>
                <a:gd name="connsiteX3" fmla="*/ 2754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1180"/>
                  </a:moveTo>
                  <a:lnTo>
                    <a:pt x="6688" y="0"/>
                  </a:lnTo>
                  <a:lnTo>
                    <a:pt x="0" y="394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09" name="Freeform: Shape 4203">
              <a:extLst>
                <a:ext uri="{FF2B5EF4-FFF2-40B4-BE49-F238E27FC236}">
                  <a16:creationId xmlns:a16="http://schemas.microsoft.com/office/drawing/2014/main" id="{F324B209-0A43-47A7-BECB-5B06747263D6}"/>
                </a:ext>
              </a:extLst>
            </p:cNvPr>
            <p:cNvSpPr/>
            <p:nvPr/>
          </p:nvSpPr>
          <p:spPr>
            <a:xfrm>
              <a:off x="10568078" y="4106915"/>
              <a:ext cx="7869" cy="3934"/>
            </a:xfrm>
            <a:custGeom>
              <a:avLst/>
              <a:gdLst>
                <a:gd name="connsiteX0" fmla="*/ 6295 w 7868"/>
                <a:gd name="connsiteY0" fmla="*/ 394 h 0"/>
                <a:gd name="connsiteX1" fmla="*/ 3148 w 7868"/>
                <a:gd name="connsiteY1" fmla="*/ 0 h 0"/>
                <a:gd name="connsiteX2" fmla="*/ 0 w 7868"/>
                <a:gd name="connsiteY2" fmla="*/ 0 h 0"/>
                <a:gd name="connsiteX3" fmla="*/ 8262 w 7868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68">
                  <a:moveTo>
                    <a:pt x="6295" y="394"/>
                  </a:moveTo>
                  <a:lnTo>
                    <a:pt x="3148" y="0"/>
                  </a:lnTo>
                  <a:lnTo>
                    <a:pt x="0" y="0"/>
                  </a:lnTo>
                  <a:lnTo>
                    <a:pt x="8262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10" name="Freeform: Shape 4204">
              <a:extLst>
                <a:ext uri="{FF2B5EF4-FFF2-40B4-BE49-F238E27FC236}">
                  <a16:creationId xmlns:a16="http://schemas.microsoft.com/office/drawing/2014/main" id="{7B1027BF-E30E-4286-9756-4C778DB7877D}"/>
                </a:ext>
              </a:extLst>
            </p:cNvPr>
            <p:cNvSpPr/>
            <p:nvPr/>
          </p:nvSpPr>
          <p:spPr>
            <a:xfrm>
              <a:off x="10620798" y="4102981"/>
              <a:ext cx="3934" cy="3934"/>
            </a:xfrm>
            <a:custGeom>
              <a:avLst/>
              <a:gdLst>
                <a:gd name="connsiteX0" fmla="*/ 1180 w 3934"/>
                <a:gd name="connsiteY0" fmla="*/ 0 h 3934"/>
                <a:gd name="connsiteX1" fmla="*/ 0 w 3934"/>
                <a:gd name="connsiteY1" fmla="*/ 394 h 3934"/>
                <a:gd name="connsiteX2" fmla="*/ 6688 w 3934"/>
                <a:gd name="connsiteY2" fmla="*/ 3934 h 3934"/>
                <a:gd name="connsiteX3" fmla="*/ 3934 w 3934"/>
                <a:gd name="connsiteY3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1180" y="0"/>
                  </a:moveTo>
                  <a:lnTo>
                    <a:pt x="0" y="394"/>
                  </a:lnTo>
                  <a:lnTo>
                    <a:pt x="6688" y="3934"/>
                  </a:lnTo>
                  <a:lnTo>
                    <a:pt x="393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11" name="Freeform: Shape 4205">
              <a:extLst>
                <a:ext uri="{FF2B5EF4-FFF2-40B4-BE49-F238E27FC236}">
                  <a16:creationId xmlns:a16="http://schemas.microsoft.com/office/drawing/2014/main" id="{726CBACA-615F-42C5-B5DF-3CAB78CF3BAF}"/>
                </a:ext>
              </a:extLst>
            </p:cNvPr>
            <p:cNvSpPr/>
            <p:nvPr/>
          </p:nvSpPr>
          <p:spPr>
            <a:xfrm>
              <a:off x="10562177" y="4103768"/>
              <a:ext cx="3934" cy="3934"/>
            </a:xfrm>
            <a:custGeom>
              <a:avLst/>
              <a:gdLst>
                <a:gd name="connsiteX0" fmla="*/ 3934 w 3934"/>
                <a:gd name="connsiteY0" fmla="*/ 3147 h 0"/>
                <a:gd name="connsiteX1" fmla="*/ 0 w 3934"/>
                <a:gd name="connsiteY1" fmla="*/ 0 h 0"/>
                <a:gd name="connsiteX2" fmla="*/ 2754 w 3934"/>
                <a:gd name="connsiteY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3934" y="3147"/>
                  </a:moveTo>
                  <a:lnTo>
                    <a:pt x="0" y="0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12" name="Freeform: Shape 4206">
              <a:extLst>
                <a:ext uri="{FF2B5EF4-FFF2-40B4-BE49-F238E27FC236}">
                  <a16:creationId xmlns:a16="http://schemas.microsoft.com/office/drawing/2014/main" id="{D02C349D-BA2F-49BF-9D54-C1508B41A2CA}"/>
                </a:ext>
              </a:extLst>
            </p:cNvPr>
            <p:cNvSpPr/>
            <p:nvPr/>
          </p:nvSpPr>
          <p:spPr>
            <a:xfrm>
              <a:off x="10575554" y="4101801"/>
              <a:ext cx="3934" cy="3934"/>
            </a:xfrm>
            <a:custGeom>
              <a:avLst/>
              <a:gdLst>
                <a:gd name="connsiteX0" fmla="*/ 4327 w 3934"/>
                <a:gd name="connsiteY0" fmla="*/ 3147 h 3934"/>
                <a:gd name="connsiteX1" fmla="*/ 7081 w 3934"/>
                <a:gd name="connsiteY1" fmla="*/ 3934 h 3934"/>
                <a:gd name="connsiteX2" fmla="*/ 0 w 3934"/>
                <a:gd name="connsiteY2" fmla="*/ 0 h 3934"/>
                <a:gd name="connsiteX3" fmla="*/ 1573 w 3934"/>
                <a:gd name="connsiteY3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4327" y="3147"/>
                  </a:moveTo>
                  <a:lnTo>
                    <a:pt x="7081" y="3934"/>
                  </a:lnTo>
                  <a:lnTo>
                    <a:pt x="0" y="0"/>
                  </a:lnTo>
                  <a:lnTo>
                    <a:pt x="1573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13" name="Freeform: Shape 4207">
              <a:extLst>
                <a:ext uri="{FF2B5EF4-FFF2-40B4-BE49-F238E27FC236}">
                  <a16:creationId xmlns:a16="http://schemas.microsoft.com/office/drawing/2014/main" id="{E7C4CDAC-5069-4080-8231-72AB6799A659}"/>
                </a:ext>
              </a:extLst>
            </p:cNvPr>
            <p:cNvSpPr/>
            <p:nvPr/>
          </p:nvSpPr>
          <p:spPr>
            <a:xfrm>
              <a:off x="10595618" y="4100621"/>
              <a:ext cx="3934" cy="3934"/>
            </a:xfrm>
            <a:custGeom>
              <a:avLst/>
              <a:gdLst>
                <a:gd name="connsiteX0" fmla="*/ 3934 w 3934"/>
                <a:gd name="connsiteY0" fmla="*/ 1180 h 3934"/>
                <a:gd name="connsiteX1" fmla="*/ 787 w 3934"/>
                <a:gd name="connsiteY1" fmla="*/ 3147 h 3934"/>
                <a:gd name="connsiteX2" fmla="*/ 0 w 3934"/>
                <a:gd name="connsiteY2" fmla="*/ 4328 h 3934"/>
                <a:gd name="connsiteX3" fmla="*/ 6688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3934" y="1180"/>
                  </a:moveTo>
                  <a:lnTo>
                    <a:pt x="787" y="3147"/>
                  </a:lnTo>
                  <a:lnTo>
                    <a:pt x="0" y="4328"/>
                  </a:lnTo>
                  <a:lnTo>
                    <a:pt x="668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14" name="Freeform: Shape 4208">
              <a:extLst>
                <a:ext uri="{FF2B5EF4-FFF2-40B4-BE49-F238E27FC236}">
                  <a16:creationId xmlns:a16="http://schemas.microsoft.com/office/drawing/2014/main" id="{3F746B88-78BD-4927-BADE-C8292B640FC3}"/>
                </a:ext>
              </a:extLst>
            </p:cNvPr>
            <p:cNvSpPr/>
            <p:nvPr/>
          </p:nvSpPr>
          <p:spPr>
            <a:xfrm>
              <a:off x="10614503" y="4099440"/>
              <a:ext cx="3934" cy="3934"/>
            </a:xfrm>
            <a:custGeom>
              <a:avLst/>
              <a:gdLst>
                <a:gd name="connsiteX0" fmla="*/ 1180 w 3934"/>
                <a:gd name="connsiteY0" fmla="*/ 393 h 0"/>
                <a:gd name="connsiteX1" fmla="*/ 0 w 3934"/>
                <a:gd name="connsiteY1" fmla="*/ 0 h 0"/>
                <a:gd name="connsiteX2" fmla="*/ 4328 w 3934"/>
                <a:gd name="connsiteY2" fmla="*/ 23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1180" y="393"/>
                  </a:moveTo>
                  <a:lnTo>
                    <a:pt x="0" y="0"/>
                  </a:lnTo>
                  <a:lnTo>
                    <a:pt x="4328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15" name="Freeform: Shape 4209">
              <a:extLst>
                <a:ext uri="{FF2B5EF4-FFF2-40B4-BE49-F238E27FC236}">
                  <a16:creationId xmlns:a16="http://schemas.microsoft.com/office/drawing/2014/main" id="{B96342B6-E235-432E-8436-73C36407639E}"/>
                </a:ext>
              </a:extLst>
            </p:cNvPr>
            <p:cNvSpPr/>
            <p:nvPr/>
          </p:nvSpPr>
          <p:spPr>
            <a:xfrm>
              <a:off x="10603487" y="4097867"/>
              <a:ext cx="3934" cy="3934"/>
            </a:xfrm>
            <a:custGeom>
              <a:avLst/>
              <a:gdLst>
                <a:gd name="connsiteX0" fmla="*/ 5901 w 3934"/>
                <a:gd name="connsiteY0" fmla="*/ 0 h 0"/>
                <a:gd name="connsiteX1" fmla="*/ 0 w 3934"/>
                <a:gd name="connsiteY1" fmla="*/ 2754 h 0"/>
                <a:gd name="connsiteX2" fmla="*/ 3148 w 3934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5901" y="0"/>
                  </a:moveTo>
                  <a:lnTo>
                    <a:pt x="0" y="2754"/>
                  </a:lnTo>
                  <a:lnTo>
                    <a:pt x="3148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16" name="Freeform: Shape 4210">
              <a:extLst>
                <a:ext uri="{FF2B5EF4-FFF2-40B4-BE49-F238E27FC236}">
                  <a16:creationId xmlns:a16="http://schemas.microsoft.com/office/drawing/2014/main" id="{031ABCC4-DBF8-4CD2-8697-AA446C7AC6F6}"/>
                </a:ext>
              </a:extLst>
            </p:cNvPr>
            <p:cNvSpPr/>
            <p:nvPr/>
          </p:nvSpPr>
          <p:spPr>
            <a:xfrm>
              <a:off x="10559423" y="4095506"/>
              <a:ext cx="3934" cy="3934"/>
            </a:xfrm>
            <a:custGeom>
              <a:avLst/>
              <a:gdLst>
                <a:gd name="connsiteX0" fmla="*/ 787 w 0"/>
                <a:gd name="connsiteY0" fmla="*/ 3147 h 0"/>
                <a:gd name="connsiteX1" fmla="*/ 394 w 0"/>
                <a:gd name="connsiteY1" fmla="*/ 0 h 0"/>
                <a:gd name="connsiteX2" fmla="*/ 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3147"/>
                  </a:moveTo>
                  <a:lnTo>
                    <a:pt x="394" y="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17" name="Freeform: Shape 4211">
              <a:extLst>
                <a:ext uri="{FF2B5EF4-FFF2-40B4-BE49-F238E27FC236}">
                  <a16:creationId xmlns:a16="http://schemas.microsoft.com/office/drawing/2014/main" id="{0AB5FF04-5CF1-4FD0-9B4B-955A9D3E1BEF}"/>
                </a:ext>
              </a:extLst>
            </p:cNvPr>
            <p:cNvSpPr/>
            <p:nvPr/>
          </p:nvSpPr>
          <p:spPr>
            <a:xfrm>
              <a:off x="10603487" y="4091178"/>
              <a:ext cx="3934" cy="3934"/>
            </a:xfrm>
            <a:custGeom>
              <a:avLst/>
              <a:gdLst>
                <a:gd name="connsiteX0" fmla="*/ 2754 w 3934"/>
                <a:gd name="connsiteY0" fmla="*/ 3148 h 3934"/>
                <a:gd name="connsiteX1" fmla="*/ 0 w 3934"/>
                <a:gd name="connsiteY1" fmla="*/ 0 h 3934"/>
                <a:gd name="connsiteX2" fmla="*/ 3934 w 3934"/>
                <a:gd name="connsiteY2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2754" y="3148"/>
                  </a:moveTo>
                  <a:lnTo>
                    <a:pt x="0" y="0"/>
                  </a:lnTo>
                  <a:lnTo>
                    <a:pt x="3934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18" name="Freeform: Shape 4212">
              <a:extLst>
                <a:ext uri="{FF2B5EF4-FFF2-40B4-BE49-F238E27FC236}">
                  <a16:creationId xmlns:a16="http://schemas.microsoft.com/office/drawing/2014/main" id="{E35EAAFD-2391-4A82-8581-7EF42E2592FC}"/>
                </a:ext>
              </a:extLst>
            </p:cNvPr>
            <p:cNvSpPr/>
            <p:nvPr/>
          </p:nvSpPr>
          <p:spPr>
            <a:xfrm>
              <a:off x="10602700" y="4094719"/>
              <a:ext cx="3934" cy="3934"/>
            </a:xfrm>
            <a:custGeom>
              <a:avLst/>
              <a:gdLst>
                <a:gd name="connsiteX0" fmla="*/ 2754 w 0"/>
                <a:gd name="connsiteY0" fmla="*/ 1967 h 0"/>
                <a:gd name="connsiteX1" fmla="*/ 3540 w 0"/>
                <a:gd name="connsiteY1" fmla="*/ 196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967"/>
                  </a:moveTo>
                  <a:lnTo>
                    <a:pt x="3540" y="196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19" name="Freeform: Shape 4213">
              <a:extLst>
                <a:ext uri="{FF2B5EF4-FFF2-40B4-BE49-F238E27FC236}">
                  <a16:creationId xmlns:a16="http://schemas.microsoft.com/office/drawing/2014/main" id="{B903F4A1-5362-49DF-BF39-0D28ACCD97E6}"/>
                </a:ext>
              </a:extLst>
            </p:cNvPr>
            <p:cNvSpPr/>
            <p:nvPr/>
          </p:nvSpPr>
          <p:spPr>
            <a:xfrm>
              <a:off x="10599159" y="4090785"/>
              <a:ext cx="3934" cy="3934"/>
            </a:xfrm>
            <a:custGeom>
              <a:avLst/>
              <a:gdLst>
                <a:gd name="connsiteX0" fmla="*/ 1180 w 0"/>
                <a:gd name="connsiteY0" fmla="*/ 0 h 3934"/>
                <a:gd name="connsiteX1" fmla="*/ 0 w 0"/>
                <a:gd name="connsiteY1" fmla="*/ 2754 h 3934"/>
                <a:gd name="connsiteX2" fmla="*/ 2360 w 0"/>
                <a:gd name="connsiteY2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180" y="0"/>
                  </a:moveTo>
                  <a:lnTo>
                    <a:pt x="0" y="2754"/>
                  </a:lnTo>
                  <a:lnTo>
                    <a:pt x="2360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20" name="Freeform: Shape 4214">
              <a:extLst>
                <a:ext uri="{FF2B5EF4-FFF2-40B4-BE49-F238E27FC236}">
                  <a16:creationId xmlns:a16="http://schemas.microsoft.com/office/drawing/2014/main" id="{5637A36C-17BF-4AB3-BD1B-0C193AAF1ED7}"/>
                </a:ext>
              </a:extLst>
            </p:cNvPr>
            <p:cNvSpPr/>
            <p:nvPr/>
          </p:nvSpPr>
          <p:spPr>
            <a:xfrm>
              <a:off x="10582242" y="4093145"/>
              <a:ext cx="3934" cy="3934"/>
            </a:xfrm>
            <a:custGeom>
              <a:avLst/>
              <a:gdLst>
                <a:gd name="connsiteX0" fmla="*/ 5115 w 3934"/>
                <a:gd name="connsiteY0" fmla="*/ 1180 h 0"/>
                <a:gd name="connsiteX1" fmla="*/ 0 w 3934"/>
                <a:gd name="connsiteY1" fmla="*/ 0 h 0"/>
                <a:gd name="connsiteX2" fmla="*/ 2360 w 3934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5115" y="1180"/>
                  </a:moveTo>
                  <a:lnTo>
                    <a:pt x="0" y="0"/>
                  </a:lnTo>
                  <a:lnTo>
                    <a:pt x="236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21" name="Freeform: Shape 4215">
              <a:extLst>
                <a:ext uri="{FF2B5EF4-FFF2-40B4-BE49-F238E27FC236}">
                  <a16:creationId xmlns:a16="http://schemas.microsoft.com/office/drawing/2014/main" id="{E66D609D-7DF2-4647-958F-53C8C4B615DB}"/>
                </a:ext>
              </a:extLst>
            </p:cNvPr>
            <p:cNvSpPr/>
            <p:nvPr/>
          </p:nvSpPr>
          <p:spPr>
            <a:xfrm>
              <a:off x="10896196" y="4094719"/>
              <a:ext cx="3934" cy="3934"/>
            </a:xfrm>
            <a:custGeom>
              <a:avLst/>
              <a:gdLst>
                <a:gd name="connsiteX0" fmla="*/ 2754 w 3934"/>
                <a:gd name="connsiteY0" fmla="*/ 787 h 0"/>
                <a:gd name="connsiteX1" fmla="*/ 4721 w 3934"/>
                <a:gd name="connsiteY1" fmla="*/ 393 h 0"/>
                <a:gd name="connsiteX2" fmla="*/ 0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2754" y="787"/>
                  </a:moveTo>
                  <a:lnTo>
                    <a:pt x="4721" y="39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22" name="Freeform: Shape 4216">
              <a:extLst>
                <a:ext uri="{FF2B5EF4-FFF2-40B4-BE49-F238E27FC236}">
                  <a16:creationId xmlns:a16="http://schemas.microsoft.com/office/drawing/2014/main" id="{989B1D7F-8E13-4B40-8C2E-2F80BA741DFC}"/>
                </a:ext>
              </a:extLst>
            </p:cNvPr>
            <p:cNvSpPr/>
            <p:nvPr/>
          </p:nvSpPr>
          <p:spPr>
            <a:xfrm>
              <a:off x="10869836" y="4073081"/>
              <a:ext cx="27540" cy="19671"/>
            </a:xfrm>
            <a:custGeom>
              <a:avLst/>
              <a:gdLst>
                <a:gd name="connsiteX0" fmla="*/ 5901 w 27539"/>
                <a:gd name="connsiteY0" fmla="*/ 8262 h 19671"/>
                <a:gd name="connsiteX1" fmla="*/ 6689 w 27539"/>
                <a:gd name="connsiteY1" fmla="*/ 11409 h 19671"/>
                <a:gd name="connsiteX2" fmla="*/ 9049 w 27539"/>
                <a:gd name="connsiteY2" fmla="*/ 14557 h 19671"/>
                <a:gd name="connsiteX3" fmla="*/ 11803 w 27539"/>
                <a:gd name="connsiteY3" fmla="*/ 16524 h 19671"/>
                <a:gd name="connsiteX4" fmla="*/ 14558 w 27539"/>
                <a:gd name="connsiteY4" fmla="*/ 18491 h 19671"/>
                <a:gd name="connsiteX5" fmla="*/ 17704 w 27539"/>
                <a:gd name="connsiteY5" fmla="*/ 19671 h 19671"/>
                <a:gd name="connsiteX6" fmla="*/ 20459 w 27539"/>
                <a:gd name="connsiteY6" fmla="*/ 19671 h 19671"/>
                <a:gd name="connsiteX7" fmla="*/ 23606 w 27539"/>
                <a:gd name="connsiteY7" fmla="*/ 20852 h 19671"/>
                <a:gd name="connsiteX8" fmla="*/ 26360 w 27539"/>
                <a:gd name="connsiteY8" fmla="*/ 20852 h 19671"/>
                <a:gd name="connsiteX9" fmla="*/ 29507 w 27539"/>
                <a:gd name="connsiteY9" fmla="*/ 21638 h 19671"/>
                <a:gd name="connsiteX10" fmla="*/ 28720 w 27539"/>
                <a:gd name="connsiteY10" fmla="*/ 19278 h 19671"/>
                <a:gd name="connsiteX11" fmla="*/ 29114 w 27539"/>
                <a:gd name="connsiteY11" fmla="*/ 16130 h 19671"/>
                <a:gd name="connsiteX12" fmla="*/ 28327 w 27539"/>
                <a:gd name="connsiteY12" fmla="*/ 18491 h 19671"/>
                <a:gd name="connsiteX13" fmla="*/ 28327 w 27539"/>
                <a:gd name="connsiteY13" fmla="*/ 18491 h 19671"/>
                <a:gd name="connsiteX14" fmla="*/ 27147 w 27539"/>
                <a:gd name="connsiteY14" fmla="*/ 15344 h 19671"/>
                <a:gd name="connsiteX15" fmla="*/ 25967 w 27539"/>
                <a:gd name="connsiteY15" fmla="*/ 12590 h 19671"/>
                <a:gd name="connsiteX16" fmla="*/ 25180 w 27539"/>
                <a:gd name="connsiteY16" fmla="*/ 9442 h 19671"/>
                <a:gd name="connsiteX17" fmla="*/ 22032 w 27539"/>
                <a:gd name="connsiteY17" fmla="*/ 9442 h 19671"/>
                <a:gd name="connsiteX18" fmla="*/ 19278 w 27539"/>
                <a:gd name="connsiteY18" fmla="*/ 8262 h 19671"/>
                <a:gd name="connsiteX19" fmla="*/ 16131 w 27539"/>
                <a:gd name="connsiteY19" fmla="*/ 8262 h 19671"/>
                <a:gd name="connsiteX20" fmla="*/ 13377 w 27539"/>
                <a:gd name="connsiteY20" fmla="*/ 6688 h 19671"/>
                <a:gd name="connsiteX21" fmla="*/ 10229 w 27539"/>
                <a:gd name="connsiteY21" fmla="*/ 4328 h 19671"/>
                <a:gd name="connsiteX22" fmla="*/ 7476 w 27539"/>
                <a:gd name="connsiteY22" fmla="*/ 2360 h 19671"/>
                <a:gd name="connsiteX23" fmla="*/ 4722 w 27539"/>
                <a:gd name="connsiteY23" fmla="*/ 393 h 19671"/>
                <a:gd name="connsiteX24" fmla="*/ 1967 w 27539"/>
                <a:gd name="connsiteY24" fmla="*/ 0 h 19671"/>
                <a:gd name="connsiteX25" fmla="*/ 0 w 27539"/>
                <a:gd name="connsiteY25" fmla="*/ 2754 h 19671"/>
                <a:gd name="connsiteX26" fmla="*/ 2755 w 27539"/>
                <a:gd name="connsiteY26" fmla="*/ 4328 h 19671"/>
                <a:gd name="connsiteX27" fmla="*/ 5901 w 27539"/>
                <a:gd name="connsiteY27" fmla="*/ 5508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7539" h="19671">
                  <a:moveTo>
                    <a:pt x="5901" y="8262"/>
                  </a:moveTo>
                  <a:lnTo>
                    <a:pt x="6689" y="11409"/>
                  </a:lnTo>
                  <a:lnTo>
                    <a:pt x="9049" y="14557"/>
                  </a:lnTo>
                  <a:lnTo>
                    <a:pt x="11803" y="16524"/>
                  </a:lnTo>
                  <a:lnTo>
                    <a:pt x="14558" y="18491"/>
                  </a:lnTo>
                  <a:lnTo>
                    <a:pt x="17704" y="19671"/>
                  </a:lnTo>
                  <a:lnTo>
                    <a:pt x="20459" y="19671"/>
                  </a:lnTo>
                  <a:lnTo>
                    <a:pt x="23606" y="20852"/>
                  </a:lnTo>
                  <a:lnTo>
                    <a:pt x="26360" y="20852"/>
                  </a:lnTo>
                  <a:lnTo>
                    <a:pt x="29507" y="21638"/>
                  </a:lnTo>
                  <a:lnTo>
                    <a:pt x="28720" y="19278"/>
                  </a:lnTo>
                  <a:lnTo>
                    <a:pt x="29114" y="16130"/>
                  </a:lnTo>
                  <a:lnTo>
                    <a:pt x="28327" y="18491"/>
                  </a:lnTo>
                  <a:lnTo>
                    <a:pt x="28327" y="18491"/>
                  </a:lnTo>
                  <a:lnTo>
                    <a:pt x="27147" y="15344"/>
                  </a:lnTo>
                  <a:lnTo>
                    <a:pt x="25967" y="12590"/>
                  </a:lnTo>
                  <a:lnTo>
                    <a:pt x="25180" y="9442"/>
                  </a:lnTo>
                  <a:lnTo>
                    <a:pt x="22032" y="9442"/>
                  </a:lnTo>
                  <a:lnTo>
                    <a:pt x="19278" y="8262"/>
                  </a:lnTo>
                  <a:lnTo>
                    <a:pt x="16131" y="8262"/>
                  </a:lnTo>
                  <a:lnTo>
                    <a:pt x="13377" y="6688"/>
                  </a:lnTo>
                  <a:lnTo>
                    <a:pt x="10229" y="4328"/>
                  </a:lnTo>
                  <a:lnTo>
                    <a:pt x="7476" y="2360"/>
                  </a:lnTo>
                  <a:lnTo>
                    <a:pt x="4722" y="393"/>
                  </a:lnTo>
                  <a:lnTo>
                    <a:pt x="1967" y="0"/>
                  </a:lnTo>
                  <a:lnTo>
                    <a:pt x="0" y="2754"/>
                  </a:lnTo>
                  <a:lnTo>
                    <a:pt x="2755" y="4328"/>
                  </a:lnTo>
                  <a:lnTo>
                    <a:pt x="5901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23" name="Freeform: Shape 4217">
              <a:extLst>
                <a:ext uri="{FF2B5EF4-FFF2-40B4-BE49-F238E27FC236}">
                  <a16:creationId xmlns:a16="http://schemas.microsoft.com/office/drawing/2014/main" id="{F2504F99-B71A-40DD-811A-A99FFEF2EED0}"/>
                </a:ext>
              </a:extLst>
            </p:cNvPr>
            <p:cNvSpPr/>
            <p:nvPr/>
          </p:nvSpPr>
          <p:spPr>
            <a:xfrm>
              <a:off x="6392644" y="4289072"/>
              <a:ext cx="3934" cy="7869"/>
            </a:xfrm>
            <a:custGeom>
              <a:avLst/>
              <a:gdLst>
                <a:gd name="connsiteX0" fmla="*/ 3147 w 0"/>
                <a:gd name="connsiteY0" fmla="*/ 8655 h 7868"/>
                <a:gd name="connsiteX1" fmla="*/ 1967 w 0"/>
                <a:gd name="connsiteY1" fmla="*/ 5901 h 7868"/>
                <a:gd name="connsiteX2" fmla="*/ 1574 w 0"/>
                <a:gd name="connsiteY2" fmla="*/ 2754 h 7868"/>
                <a:gd name="connsiteX3" fmla="*/ 0 w 0"/>
                <a:gd name="connsiteY3" fmla="*/ 0 h 7868"/>
                <a:gd name="connsiteX4" fmla="*/ 393 w 0"/>
                <a:gd name="connsiteY4" fmla="*/ 2754 h 7868"/>
                <a:gd name="connsiteX5" fmla="*/ 1180 w 0"/>
                <a:gd name="connsiteY5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7868">
                  <a:moveTo>
                    <a:pt x="3147" y="8655"/>
                  </a:moveTo>
                  <a:lnTo>
                    <a:pt x="1967" y="5901"/>
                  </a:lnTo>
                  <a:lnTo>
                    <a:pt x="1574" y="2754"/>
                  </a:lnTo>
                  <a:lnTo>
                    <a:pt x="0" y="0"/>
                  </a:lnTo>
                  <a:lnTo>
                    <a:pt x="393" y="2754"/>
                  </a:lnTo>
                  <a:lnTo>
                    <a:pt x="1180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24" name="Freeform: Shape 4218">
              <a:extLst>
                <a:ext uri="{FF2B5EF4-FFF2-40B4-BE49-F238E27FC236}">
                  <a16:creationId xmlns:a16="http://schemas.microsoft.com/office/drawing/2014/main" id="{6CDE7315-75CF-49A3-AD95-957DC08CE986}"/>
                </a:ext>
              </a:extLst>
            </p:cNvPr>
            <p:cNvSpPr/>
            <p:nvPr/>
          </p:nvSpPr>
          <p:spPr>
            <a:xfrm>
              <a:off x="9349243" y="4593584"/>
              <a:ext cx="3934" cy="19671"/>
            </a:xfrm>
            <a:custGeom>
              <a:avLst/>
              <a:gdLst>
                <a:gd name="connsiteX0" fmla="*/ 5901 w 3934"/>
                <a:gd name="connsiteY0" fmla="*/ 20065 h 19671"/>
                <a:gd name="connsiteX1" fmla="*/ 5901 w 3934"/>
                <a:gd name="connsiteY1" fmla="*/ 17311 h 19671"/>
                <a:gd name="connsiteX2" fmla="*/ 3934 w 3934"/>
                <a:gd name="connsiteY2" fmla="*/ 14557 h 19671"/>
                <a:gd name="connsiteX3" fmla="*/ 3934 w 3934"/>
                <a:gd name="connsiteY3" fmla="*/ 11409 h 19671"/>
                <a:gd name="connsiteX4" fmla="*/ 3934 w 3934"/>
                <a:gd name="connsiteY4" fmla="*/ 8655 h 19671"/>
                <a:gd name="connsiteX5" fmla="*/ 3541 w 3934"/>
                <a:gd name="connsiteY5" fmla="*/ 5901 h 19671"/>
                <a:gd name="connsiteX6" fmla="*/ 2755 w 3934"/>
                <a:gd name="connsiteY6" fmla="*/ 2754 h 19671"/>
                <a:gd name="connsiteX7" fmla="*/ 3934 w 3934"/>
                <a:gd name="connsiteY7" fmla="*/ 0 h 19671"/>
                <a:gd name="connsiteX8" fmla="*/ 788 w 3934"/>
                <a:gd name="connsiteY8" fmla="*/ 1574 h 19671"/>
                <a:gd name="connsiteX9" fmla="*/ 0 w 3934"/>
                <a:gd name="connsiteY9" fmla="*/ 4721 h 19671"/>
                <a:gd name="connsiteX10" fmla="*/ 788 w 3934"/>
                <a:gd name="connsiteY10" fmla="*/ 7475 h 19671"/>
                <a:gd name="connsiteX11" fmla="*/ 788 w 3934"/>
                <a:gd name="connsiteY11" fmla="*/ 10623 h 19671"/>
                <a:gd name="connsiteX12" fmla="*/ 1180 w 3934"/>
                <a:gd name="connsiteY12" fmla="*/ 13377 h 19671"/>
                <a:gd name="connsiteX13" fmla="*/ 2755 w 3934"/>
                <a:gd name="connsiteY13" fmla="*/ 16131 h 19671"/>
                <a:gd name="connsiteX14" fmla="*/ 3934 w 3934"/>
                <a:gd name="connsiteY14" fmla="*/ 18884 h 19671"/>
                <a:gd name="connsiteX15" fmla="*/ 4722 w 3934"/>
                <a:gd name="connsiteY15" fmla="*/ 22032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34" h="19671">
                  <a:moveTo>
                    <a:pt x="5901" y="20065"/>
                  </a:moveTo>
                  <a:lnTo>
                    <a:pt x="5901" y="17311"/>
                  </a:lnTo>
                  <a:lnTo>
                    <a:pt x="3934" y="14557"/>
                  </a:lnTo>
                  <a:lnTo>
                    <a:pt x="3934" y="11409"/>
                  </a:lnTo>
                  <a:lnTo>
                    <a:pt x="3934" y="8655"/>
                  </a:lnTo>
                  <a:lnTo>
                    <a:pt x="3541" y="5901"/>
                  </a:lnTo>
                  <a:lnTo>
                    <a:pt x="2755" y="2754"/>
                  </a:lnTo>
                  <a:lnTo>
                    <a:pt x="3934" y="0"/>
                  </a:lnTo>
                  <a:lnTo>
                    <a:pt x="788" y="1574"/>
                  </a:lnTo>
                  <a:lnTo>
                    <a:pt x="0" y="4721"/>
                  </a:lnTo>
                  <a:lnTo>
                    <a:pt x="788" y="7475"/>
                  </a:lnTo>
                  <a:lnTo>
                    <a:pt x="788" y="10623"/>
                  </a:lnTo>
                  <a:lnTo>
                    <a:pt x="1180" y="13377"/>
                  </a:lnTo>
                  <a:lnTo>
                    <a:pt x="2755" y="16131"/>
                  </a:lnTo>
                  <a:lnTo>
                    <a:pt x="3934" y="18884"/>
                  </a:lnTo>
                  <a:lnTo>
                    <a:pt x="4722" y="2203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25" name="Freeform: Shape 4219">
              <a:extLst>
                <a:ext uri="{FF2B5EF4-FFF2-40B4-BE49-F238E27FC236}">
                  <a16:creationId xmlns:a16="http://schemas.microsoft.com/office/drawing/2014/main" id="{E9A30897-11FC-4573-A527-9C9D63A53806}"/>
                </a:ext>
              </a:extLst>
            </p:cNvPr>
            <p:cNvSpPr/>
            <p:nvPr/>
          </p:nvSpPr>
          <p:spPr>
            <a:xfrm>
              <a:off x="9356325" y="4577060"/>
              <a:ext cx="3934" cy="7869"/>
            </a:xfrm>
            <a:custGeom>
              <a:avLst/>
              <a:gdLst>
                <a:gd name="connsiteX0" fmla="*/ 0 w 0"/>
                <a:gd name="connsiteY0" fmla="*/ 9049 h 7868"/>
                <a:gd name="connsiteX1" fmla="*/ 394 w 0"/>
                <a:gd name="connsiteY1" fmla="*/ 9049 h 7868"/>
                <a:gd name="connsiteX2" fmla="*/ 1180 w 0"/>
                <a:gd name="connsiteY2" fmla="*/ 5901 h 7868"/>
                <a:gd name="connsiteX3" fmla="*/ 2361 w 0"/>
                <a:gd name="connsiteY3" fmla="*/ 3148 h 7868"/>
                <a:gd name="connsiteX4" fmla="*/ 2754 w 0"/>
                <a:gd name="connsiteY4" fmla="*/ 0 h 7868"/>
                <a:gd name="connsiteX5" fmla="*/ 1967 w 0"/>
                <a:gd name="connsiteY5" fmla="*/ 3148 h 7868"/>
                <a:gd name="connsiteX6" fmla="*/ 787 w 0"/>
                <a:gd name="connsiteY6" fmla="*/ 629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7868">
                  <a:moveTo>
                    <a:pt x="0" y="9049"/>
                  </a:moveTo>
                  <a:lnTo>
                    <a:pt x="394" y="9049"/>
                  </a:lnTo>
                  <a:lnTo>
                    <a:pt x="1180" y="5901"/>
                  </a:lnTo>
                  <a:lnTo>
                    <a:pt x="2361" y="3148"/>
                  </a:lnTo>
                  <a:lnTo>
                    <a:pt x="2754" y="0"/>
                  </a:lnTo>
                  <a:lnTo>
                    <a:pt x="1967" y="3148"/>
                  </a:lnTo>
                  <a:lnTo>
                    <a:pt x="787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26" name="Freeform: Shape 4220">
              <a:extLst>
                <a:ext uri="{FF2B5EF4-FFF2-40B4-BE49-F238E27FC236}">
                  <a16:creationId xmlns:a16="http://schemas.microsoft.com/office/drawing/2014/main" id="{67600ED6-FF29-48B3-BEF6-119B85471169}"/>
                </a:ext>
              </a:extLst>
            </p:cNvPr>
            <p:cNvSpPr/>
            <p:nvPr/>
          </p:nvSpPr>
          <p:spPr>
            <a:xfrm>
              <a:off x="9359866" y="4570765"/>
              <a:ext cx="3934" cy="3934"/>
            </a:xfrm>
            <a:custGeom>
              <a:avLst/>
              <a:gdLst>
                <a:gd name="connsiteX0" fmla="*/ 1180 w 0"/>
                <a:gd name="connsiteY0" fmla="*/ 2754 h 3934"/>
                <a:gd name="connsiteX1" fmla="*/ 1180 w 0"/>
                <a:gd name="connsiteY1" fmla="*/ 0 h 3934"/>
                <a:gd name="connsiteX2" fmla="*/ 787 w 0"/>
                <a:gd name="connsiteY2" fmla="*/ 2754 h 3934"/>
                <a:gd name="connsiteX3" fmla="*/ 0 w 0"/>
                <a:gd name="connsiteY3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180" y="2754"/>
                  </a:moveTo>
                  <a:lnTo>
                    <a:pt x="1180" y="0"/>
                  </a:lnTo>
                  <a:lnTo>
                    <a:pt x="787" y="2754"/>
                  </a:lnTo>
                  <a:lnTo>
                    <a:pt x="0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27" name="Freeform: Shape 4221">
              <a:extLst>
                <a:ext uri="{FF2B5EF4-FFF2-40B4-BE49-F238E27FC236}">
                  <a16:creationId xmlns:a16="http://schemas.microsoft.com/office/drawing/2014/main" id="{9C9DDEBA-7948-4272-9633-05713E75F21B}"/>
                </a:ext>
              </a:extLst>
            </p:cNvPr>
            <p:cNvSpPr/>
            <p:nvPr/>
          </p:nvSpPr>
          <p:spPr>
            <a:xfrm>
              <a:off x="9449174" y="4430705"/>
              <a:ext cx="3934" cy="3934"/>
            </a:xfrm>
            <a:custGeom>
              <a:avLst/>
              <a:gdLst>
                <a:gd name="connsiteX0" fmla="*/ 1180 w 0"/>
                <a:gd name="connsiteY0" fmla="*/ 5901 h 3934"/>
                <a:gd name="connsiteX1" fmla="*/ 3540 w 0"/>
                <a:gd name="connsiteY1" fmla="*/ 2754 h 3934"/>
                <a:gd name="connsiteX2" fmla="*/ 2360 w 0"/>
                <a:gd name="connsiteY2" fmla="*/ 0 h 3934"/>
                <a:gd name="connsiteX3" fmla="*/ 0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180" y="5901"/>
                  </a:moveTo>
                  <a:lnTo>
                    <a:pt x="3540" y="2754"/>
                  </a:lnTo>
                  <a:lnTo>
                    <a:pt x="2360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28" name="Freeform: Shape 4222">
              <a:extLst>
                <a:ext uri="{FF2B5EF4-FFF2-40B4-BE49-F238E27FC236}">
                  <a16:creationId xmlns:a16="http://schemas.microsoft.com/office/drawing/2014/main" id="{4F6E75F2-59F5-45CF-AB02-BB3B6E7D07BB}"/>
                </a:ext>
              </a:extLst>
            </p:cNvPr>
            <p:cNvSpPr/>
            <p:nvPr/>
          </p:nvSpPr>
          <p:spPr>
            <a:xfrm>
              <a:off x="10519687" y="4568798"/>
              <a:ext cx="15737" cy="31474"/>
            </a:xfrm>
            <a:custGeom>
              <a:avLst/>
              <a:gdLst>
                <a:gd name="connsiteX0" fmla="*/ 13770 w 15737"/>
                <a:gd name="connsiteY0" fmla="*/ 14557 h 31474"/>
                <a:gd name="connsiteX1" fmla="*/ 15737 w 15737"/>
                <a:gd name="connsiteY1" fmla="*/ 11409 h 31474"/>
                <a:gd name="connsiteX2" fmla="*/ 17704 w 15737"/>
                <a:gd name="connsiteY2" fmla="*/ 8655 h 31474"/>
                <a:gd name="connsiteX3" fmla="*/ 16525 w 15737"/>
                <a:gd name="connsiteY3" fmla="*/ 5901 h 31474"/>
                <a:gd name="connsiteX4" fmla="*/ 16525 w 15737"/>
                <a:gd name="connsiteY4" fmla="*/ 2754 h 31474"/>
                <a:gd name="connsiteX5" fmla="*/ 17311 w 15737"/>
                <a:gd name="connsiteY5" fmla="*/ 0 h 31474"/>
                <a:gd name="connsiteX6" fmla="*/ 14558 w 15737"/>
                <a:gd name="connsiteY6" fmla="*/ 0 h 31474"/>
                <a:gd name="connsiteX7" fmla="*/ 14164 w 15737"/>
                <a:gd name="connsiteY7" fmla="*/ 2754 h 31474"/>
                <a:gd name="connsiteX8" fmla="*/ 14950 w 15737"/>
                <a:gd name="connsiteY8" fmla="*/ 5508 h 31474"/>
                <a:gd name="connsiteX9" fmla="*/ 13377 w 15737"/>
                <a:gd name="connsiteY9" fmla="*/ 8655 h 31474"/>
                <a:gd name="connsiteX10" fmla="*/ 10623 w 15737"/>
                <a:gd name="connsiteY10" fmla="*/ 11409 h 31474"/>
                <a:gd name="connsiteX11" fmla="*/ 7869 w 15737"/>
                <a:gd name="connsiteY11" fmla="*/ 13377 h 31474"/>
                <a:gd name="connsiteX12" fmla="*/ 6689 w 15737"/>
                <a:gd name="connsiteY12" fmla="*/ 16130 h 31474"/>
                <a:gd name="connsiteX13" fmla="*/ 5901 w 15737"/>
                <a:gd name="connsiteY13" fmla="*/ 18884 h 31474"/>
                <a:gd name="connsiteX14" fmla="*/ 3541 w 15737"/>
                <a:gd name="connsiteY14" fmla="*/ 22032 h 31474"/>
                <a:gd name="connsiteX15" fmla="*/ 1967 w 15737"/>
                <a:gd name="connsiteY15" fmla="*/ 24786 h 31474"/>
                <a:gd name="connsiteX16" fmla="*/ 0 w 15737"/>
                <a:gd name="connsiteY16" fmla="*/ 27933 h 31474"/>
                <a:gd name="connsiteX17" fmla="*/ 0 w 15737"/>
                <a:gd name="connsiteY17" fmla="*/ 30687 h 31474"/>
                <a:gd name="connsiteX18" fmla="*/ 394 w 15737"/>
                <a:gd name="connsiteY18" fmla="*/ 33835 h 31474"/>
                <a:gd name="connsiteX19" fmla="*/ 1574 w 15737"/>
                <a:gd name="connsiteY19" fmla="*/ 34621 h 31474"/>
                <a:gd name="connsiteX20" fmla="*/ 3934 w 15737"/>
                <a:gd name="connsiteY20" fmla="*/ 29114 h 31474"/>
                <a:gd name="connsiteX21" fmla="*/ 5509 w 15737"/>
                <a:gd name="connsiteY21" fmla="*/ 25966 h 31474"/>
                <a:gd name="connsiteX22" fmla="*/ 7869 w 15737"/>
                <a:gd name="connsiteY22" fmla="*/ 23212 h 31474"/>
                <a:gd name="connsiteX23" fmla="*/ 9443 w 15737"/>
                <a:gd name="connsiteY23" fmla="*/ 20458 h 31474"/>
                <a:gd name="connsiteX24" fmla="*/ 11803 w 15737"/>
                <a:gd name="connsiteY24" fmla="*/ 17704 h 3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5737" h="31474">
                  <a:moveTo>
                    <a:pt x="13770" y="14557"/>
                  </a:moveTo>
                  <a:lnTo>
                    <a:pt x="15737" y="11409"/>
                  </a:lnTo>
                  <a:lnTo>
                    <a:pt x="17704" y="8655"/>
                  </a:lnTo>
                  <a:lnTo>
                    <a:pt x="16525" y="5901"/>
                  </a:lnTo>
                  <a:lnTo>
                    <a:pt x="16525" y="2754"/>
                  </a:lnTo>
                  <a:lnTo>
                    <a:pt x="17311" y="0"/>
                  </a:lnTo>
                  <a:lnTo>
                    <a:pt x="14558" y="0"/>
                  </a:lnTo>
                  <a:lnTo>
                    <a:pt x="14164" y="2754"/>
                  </a:lnTo>
                  <a:lnTo>
                    <a:pt x="14950" y="5508"/>
                  </a:lnTo>
                  <a:lnTo>
                    <a:pt x="13377" y="8655"/>
                  </a:lnTo>
                  <a:lnTo>
                    <a:pt x="10623" y="11409"/>
                  </a:lnTo>
                  <a:lnTo>
                    <a:pt x="7869" y="13377"/>
                  </a:lnTo>
                  <a:lnTo>
                    <a:pt x="6689" y="16130"/>
                  </a:lnTo>
                  <a:lnTo>
                    <a:pt x="5901" y="18884"/>
                  </a:lnTo>
                  <a:lnTo>
                    <a:pt x="3541" y="22032"/>
                  </a:lnTo>
                  <a:lnTo>
                    <a:pt x="1967" y="24786"/>
                  </a:lnTo>
                  <a:lnTo>
                    <a:pt x="0" y="27933"/>
                  </a:lnTo>
                  <a:lnTo>
                    <a:pt x="0" y="30687"/>
                  </a:lnTo>
                  <a:lnTo>
                    <a:pt x="394" y="33835"/>
                  </a:lnTo>
                  <a:lnTo>
                    <a:pt x="1574" y="34621"/>
                  </a:lnTo>
                  <a:lnTo>
                    <a:pt x="3934" y="29114"/>
                  </a:lnTo>
                  <a:lnTo>
                    <a:pt x="5509" y="25966"/>
                  </a:lnTo>
                  <a:lnTo>
                    <a:pt x="7869" y="23212"/>
                  </a:lnTo>
                  <a:lnTo>
                    <a:pt x="9443" y="20458"/>
                  </a:lnTo>
                  <a:lnTo>
                    <a:pt x="11803" y="1770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29" name="Freeform: Shape 4223">
              <a:extLst>
                <a:ext uri="{FF2B5EF4-FFF2-40B4-BE49-F238E27FC236}">
                  <a16:creationId xmlns:a16="http://schemas.microsoft.com/office/drawing/2014/main" id="{1A6281EB-7A6A-472D-A3A8-649BF1F29D5F}"/>
                </a:ext>
              </a:extLst>
            </p:cNvPr>
            <p:cNvSpPr/>
            <p:nvPr/>
          </p:nvSpPr>
          <p:spPr>
            <a:xfrm>
              <a:off x="10510245" y="4658106"/>
              <a:ext cx="3934" cy="7869"/>
            </a:xfrm>
            <a:custGeom>
              <a:avLst/>
              <a:gdLst>
                <a:gd name="connsiteX0" fmla="*/ 2754 w 3934"/>
                <a:gd name="connsiteY0" fmla="*/ 2754 h 7868"/>
                <a:gd name="connsiteX1" fmla="*/ 1967 w 3934"/>
                <a:gd name="connsiteY1" fmla="*/ 5508 h 7868"/>
                <a:gd name="connsiteX2" fmla="*/ 1180 w 3934"/>
                <a:gd name="connsiteY2" fmla="*/ 8262 h 7868"/>
                <a:gd name="connsiteX3" fmla="*/ 0 w 3934"/>
                <a:gd name="connsiteY3" fmla="*/ 11409 h 7868"/>
                <a:gd name="connsiteX4" fmla="*/ 2361 w 3934"/>
                <a:gd name="connsiteY4" fmla="*/ 8655 h 7868"/>
                <a:gd name="connsiteX5" fmla="*/ 4328 w 3934"/>
                <a:gd name="connsiteY5" fmla="*/ 5508 h 7868"/>
                <a:gd name="connsiteX6" fmla="*/ 6295 w 3934"/>
                <a:gd name="connsiteY6" fmla="*/ 2754 h 7868"/>
                <a:gd name="connsiteX7" fmla="*/ 4328 w 3934"/>
                <a:gd name="connsiteY7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2754" y="2754"/>
                  </a:moveTo>
                  <a:lnTo>
                    <a:pt x="1967" y="5508"/>
                  </a:lnTo>
                  <a:lnTo>
                    <a:pt x="1180" y="8262"/>
                  </a:lnTo>
                  <a:lnTo>
                    <a:pt x="0" y="11409"/>
                  </a:lnTo>
                  <a:lnTo>
                    <a:pt x="2361" y="8655"/>
                  </a:lnTo>
                  <a:lnTo>
                    <a:pt x="4328" y="5508"/>
                  </a:lnTo>
                  <a:lnTo>
                    <a:pt x="6295" y="2754"/>
                  </a:lnTo>
                  <a:lnTo>
                    <a:pt x="432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30" name="Freeform: Shape 4224">
              <a:extLst>
                <a:ext uri="{FF2B5EF4-FFF2-40B4-BE49-F238E27FC236}">
                  <a16:creationId xmlns:a16="http://schemas.microsoft.com/office/drawing/2014/main" id="{DB90DAF1-4E0E-468B-B97F-64A2C3A73C7E}"/>
                </a:ext>
              </a:extLst>
            </p:cNvPr>
            <p:cNvSpPr/>
            <p:nvPr/>
          </p:nvSpPr>
          <p:spPr>
            <a:xfrm>
              <a:off x="10514573" y="4645516"/>
              <a:ext cx="3934" cy="11803"/>
            </a:xfrm>
            <a:custGeom>
              <a:avLst/>
              <a:gdLst>
                <a:gd name="connsiteX0" fmla="*/ 0 w 3934"/>
                <a:gd name="connsiteY0" fmla="*/ 5508 h 11802"/>
                <a:gd name="connsiteX1" fmla="*/ 0 w 3934"/>
                <a:gd name="connsiteY1" fmla="*/ 11803 h 11802"/>
                <a:gd name="connsiteX2" fmla="*/ 1180 w 3934"/>
                <a:gd name="connsiteY2" fmla="*/ 8655 h 11802"/>
                <a:gd name="connsiteX3" fmla="*/ 1967 w 3934"/>
                <a:gd name="connsiteY3" fmla="*/ 5901 h 11802"/>
                <a:gd name="connsiteX4" fmla="*/ 3540 w 3934"/>
                <a:gd name="connsiteY4" fmla="*/ 3147 h 11802"/>
                <a:gd name="connsiteX5" fmla="*/ 4327 w 3934"/>
                <a:gd name="connsiteY5" fmla="*/ 0 h 11802"/>
                <a:gd name="connsiteX6" fmla="*/ 1180 w 3934"/>
                <a:gd name="connsiteY6" fmla="*/ 2754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11802">
                  <a:moveTo>
                    <a:pt x="0" y="5508"/>
                  </a:moveTo>
                  <a:lnTo>
                    <a:pt x="0" y="11803"/>
                  </a:lnTo>
                  <a:lnTo>
                    <a:pt x="1180" y="8655"/>
                  </a:lnTo>
                  <a:lnTo>
                    <a:pt x="1967" y="5901"/>
                  </a:lnTo>
                  <a:lnTo>
                    <a:pt x="3540" y="3147"/>
                  </a:lnTo>
                  <a:lnTo>
                    <a:pt x="4327" y="0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31" name="Freeform: Shape 4225">
              <a:extLst>
                <a:ext uri="{FF2B5EF4-FFF2-40B4-BE49-F238E27FC236}">
                  <a16:creationId xmlns:a16="http://schemas.microsoft.com/office/drawing/2014/main" id="{2C421FE7-36A2-4C29-B61D-108662332FC2}"/>
                </a:ext>
              </a:extLst>
            </p:cNvPr>
            <p:cNvSpPr/>
            <p:nvPr/>
          </p:nvSpPr>
          <p:spPr>
            <a:xfrm>
              <a:off x="10457919" y="4476736"/>
              <a:ext cx="3934" cy="3934"/>
            </a:xfrm>
            <a:custGeom>
              <a:avLst/>
              <a:gdLst>
                <a:gd name="connsiteX0" fmla="*/ 0 w 0"/>
                <a:gd name="connsiteY0" fmla="*/ 5508 h 3934"/>
                <a:gd name="connsiteX1" fmla="*/ 1574 w 0"/>
                <a:gd name="connsiteY1" fmla="*/ 2754 h 3934"/>
                <a:gd name="connsiteX2" fmla="*/ 1574 w 0"/>
                <a:gd name="connsiteY2" fmla="*/ 0 h 3934"/>
                <a:gd name="connsiteX3" fmla="*/ 0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5508"/>
                  </a:moveTo>
                  <a:lnTo>
                    <a:pt x="1574" y="2754"/>
                  </a:lnTo>
                  <a:lnTo>
                    <a:pt x="157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32" name="Freeform: Shape 4226">
              <a:extLst>
                <a:ext uri="{FF2B5EF4-FFF2-40B4-BE49-F238E27FC236}">
                  <a16:creationId xmlns:a16="http://schemas.microsoft.com/office/drawing/2014/main" id="{CA7DA8DB-7714-41F6-B788-0AE73BC93BEA}"/>
                </a:ext>
              </a:extLst>
            </p:cNvPr>
            <p:cNvSpPr/>
            <p:nvPr/>
          </p:nvSpPr>
          <p:spPr>
            <a:xfrm>
              <a:off x="10446116" y="4421263"/>
              <a:ext cx="3934" cy="3934"/>
            </a:xfrm>
            <a:custGeom>
              <a:avLst/>
              <a:gdLst>
                <a:gd name="connsiteX0" fmla="*/ 1574 w 0"/>
                <a:gd name="connsiteY0" fmla="*/ 0 h 0"/>
                <a:gd name="connsiteX1" fmla="*/ 0 w 0"/>
                <a:gd name="connsiteY1" fmla="*/ 3147 h 0"/>
                <a:gd name="connsiteX2" fmla="*/ 394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0"/>
                  </a:moveTo>
                  <a:lnTo>
                    <a:pt x="0" y="3147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33" name="Freeform: Shape 4227">
              <a:extLst>
                <a:ext uri="{FF2B5EF4-FFF2-40B4-BE49-F238E27FC236}">
                  <a16:creationId xmlns:a16="http://schemas.microsoft.com/office/drawing/2014/main" id="{7394888F-E602-46AC-BB43-8679910808CC}"/>
                </a:ext>
              </a:extLst>
            </p:cNvPr>
            <p:cNvSpPr/>
            <p:nvPr/>
          </p:nvSpPr>
          <p:spPr>
            <a:xfrm>
              <a:off x="10444936" y="4411821"/>
              <a:ext cx="3934" cy="3934"/>
            </a:xfrm>
            <a:custGeom>
              <a:avLst/>
              <a:gdLst>
                <a:gd name="connsiteX0" fmla="*/ 2361 w 0"/>
                <a:gd name="connsiteY0" fmla="*/ 2754 h 3934"/>
                <a:gd name="connsiteX1" fmla="*/ 1180 w 0"/>
                <a:gd name="connsiteY1" fmla="*/ 0 h 3934"/>
                <a:gd name="connsiteX2" fmla="*/ 788 w 0"/>
                <a:gd name="connsiteY2" fmla="*/ 2754 h 3934"/>
                <a:gd name="connsiteX3" fmla="*/ 0 w 0"/>
                <a:gd name="connsiteY3" fmla="*/ 5901 h 3934"/>
                <a:gd name="connsiteX4" fmla="*/ 1574 w 0"/>
                <a:gd name="connsiteY4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2361" y="2754"/>
                  </a:moveTo>
                  <a:lnTo>
                    <a:pt x="1180" y="0"/>
                  </a:lnTo>
                  <a:lnTo>
                    <a:pt x="788" y="2754"/>
                  </a:lnTo>
                  <a:lnTo>
                    <a:pt x="0" y="5901"/>
                  </a:lnTo>
                  <a:lnTo>
                    <a:pt x="1574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34" name="Freeform: Shape 4228">
              <a:extLst>
                <a:ext uri="{FF2B5EF4-FFF2-40B4-BE49-F238E27FC236}">
                  <a16:creationId xmlns:a16="http://schemas.microsoft.com/office/drawing/2014/main" id="{B4EC3B79-D848-404F-BA41-3ACFC49B01D0}"/>
                </a:ext>
              </a:extLst>
            </p:cNvPr>
            <p:cNvSpPr/>
            <p:nvPr/>
          </p:nvSpPr>
          <p:spPr>
            <a:xfrm>
              <a:off x="9350423" y="4708858"/>
              <a:ext cx="3934" cy="3934"/>
            </a:xfrm>
            <a:custGeom>
              <a:avLst/>
              <a:gdLst>
                <a:gd name="connsiteX0" fmla="*/ 3541 w 3934"/>
                <a:gd name="connsiteY0" fmla="*/ 1967 h 0"/>
                <a:gd name="connsiteX1" fmla="*/ 4721 w 3934"/>
                <a:gd name="connsiteY1" fmla="*/ 787 h 0"/>
                <a:gd name="connsiteX2" fmla="*/ 0 w 3934"/>
                <a:gd name="connsiteY2" fmla="*/ 0 h 0"/>
                <a:gd name="connsiteX3" fmla="*/ 394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541" y="1967"/>
                  </a:moveTo>
                  <a:lnTo>
                    <a:pt x="4721" y="787"/>
                  </a:lnTo>
                  <a:lnTo>
                    <a:pt x="0" y="0"/>
                  </a:lnTo>
                  <a:lnTo>
                    <a:pt x="39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35" name="Freeform: Shape 4229">
              <a:extLst>
                <a:ext uri="{FF2B5EF4-FFF2-40B4-BE49-F238E27FC236}">
                  <a16:creationId xmlns:a16="http://schemas.microsoft.com/office/drawing/2014/main" id="{CC5DAE97-D16C-47A5-8873-71070342E160}"/>
                </a:ext>
              </a:extLst>
            </p:cNvPr>
            <p:cNvSpPr/>
            <p:nvPr/>
          </p:nvSpPr>
          <p:spPr>
            <a:xfrm>
              <a:off x="9347276" y="4703350"/>
              <a:ext cx="3934" cy="3934"/>
            </a:xfrm>
            <a:custGeom>
              <a:avLst/>
              <a:gdLst>
                <a:gd name="connsiteX0" fmla="*/ 2755 w 3934"/>
                <a:gd name="connsiteY0" fmla="*/ 1574 h 0"/>
                <a:gd name="connsiteX1" fmla="*/ 4328 w 3934"/>
                <a:gd name="connsiteY1" fmla="*/ 0 h 0"/>
                <a:gd name="connsiteX2" fmla="*/ 0 w 3934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2755" y="1574"/>
                  </a:moveTo>
                  <a:lnTo>
                    <a:pt x="4328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36" name="Freeform: Shape 4230">
              <a:extLst>
                <a:ext uri="{FF2B5EF4-FFF2-40B4-BE49-F238E27FC236}">
                  <a16:creationId xmlns:a16="http://schemas.microsoft.com/office/drawing/2014/main" id="{9B25D831-2805-4271-AB10-269A36133E21}"/>
                </a:ext>
              </a:extLst>
            </p:cNvPr>
            <p:cNvSpPr/>
            <p:nvPr/>
          </p:nvSpPr>
          <p:spPr>
            <a:xfrm>
              <a:off x="10505524" y="4523554"/>
              <a:ext cx="3934" cy="3934"/>
            </a:xfrm>
            <a:custGeom>
              <a:avLst/>
              <a:gdLst>
                <a:gd name="connsiteX0" fmla="*/ 3148 w 3934"/>
                <a:gd name="connsiteY0" fmla="*/ 0 h 0"/>
                <a:gd name="connsiteX1" fmla="*/ 0 w 3934"/>
                <a:gd name="connsiteY1" fmla="*/ 1180 h 0"/>
                <a:gd name="connsiteX2" fmla="*/ 5115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3148" y="0"/>
                  </a:moveTo>
                  <a:lnTo>
                    <a:pt x="0" y="1180"/>
                  </a:lnTo>
                  <a:lnTo>
                    <a:pt x="511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37" name="Freeform: Shape 4231">
              <a:extLst>
                <a:ext uri="{FF2B5EF4-FFF2-40B4-BE49-F238E27FC236}">
                  <a16:creationId xmlns:a16="http://schemas.microsoft.com/office/drawing/2014/main" id="{B39428B0-B2EB-47CB-8E8A-A7A672587D17}"/>
                </a:ext>
              </a:extLst>
            </p:cNvPr>
            <p:cNvSpPr/>
            <p:nvPr/>
          </p:nvSpPr>
          <p:spPr>
            <a:xfrm>
              <a:off x="10474443" y="4483424"/>
              <a:ext cx="3934" cy="3934"/>
            </a:xfrm>
            <a:custGeom>
              <a:avLst/>
              <a:gdLst>
                <a:gd name="connsiteX0" fmla="*/ 788 w 0"/>
                <a:gd name="connsiteY0" fmla="*/ 0 h 0"/>
                <a:gd name="connsiteX1" fmla="*/ 0 w 0"/>
                <a:gd name="connsiteY1" fmla="*/ 3147 h 0"/>
                <a:gd name="connsiteX2" fmla="*/ 788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8" y="0"/>
                  </a:moveTo>
                  <a:lnTo>
                    <a:pt x="0" y="3147"/>
                  </a:lnTo>
                  <a:lnTo>
                    <a:pt x="78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38" name="Freeform: Shape 4232">
              <a:extLst>
                <a:ext uri="{FF2B5EF4-FFF2-40B4-BE49-F238E27FC236}">
                  <a16:creationId xmlns:a16="http://schemas.microsoft.com/office/drawing/2014/main" id="{39BDF5C5-8474-4F15-96F5-AE1FB2815A53}"/>
                </a:ext>
              </a:extLst>
            </p:cNvPr>
            <p:cNvSpPr/>
            <p:nvPr/>
          </p:nvSpPr>
          <p:spPr>
            <a:xfrm>
              <a:off x="10164423" y="5077892"/>
              <a:ext cx="11803" cy="15737"/>
            </a:xfrm>
            <a:custGeom>
              <a:avLst/>
              <a:gdLst>
                <a:gd name="connsiteX0" fmla="*/ 7869 w 11802"/>
                <a:gd name="connsiteY0" fmla="*/ 3147 h 15737"/>
                <a:gd name="connsiteX1" fmla="*/ 5114 w 11802"/>
                <a:gd name="connsiteY1" fmla="*/ 0 h 15737"/>
                <a:gd name="connsiteX2" fmla="*/ 1967 w 11802"/>
                <a:gd name="connsiteY2" fmla="*/ 3147 h 15737"/>
                <a:gd name="connsiteX3" fmla="*/ 1180 w 11802"/>
                <a:gd name="connsiteY3" fmla="*/ 5901 h 15737"/>
                <a:gd name="connsiteX4" fmla="*/ 0 w 11802"/>
                <a:gd name="connsiteY4" fmla="*/ 8655 h 15737"/>
                <a:gd name="connsiteX5" fmla="*/ 0 w 11802"/>
                <a:gd name="connsiteY5" fmla="*/ 11409 h 15737"/>
                <a:gd name="connsiteX6" fmla="*/ 0 w 11802"/>
                <a:gd name="connsiteY6" fmla="*/ 17311 h 15737"/>
                <a:gd name="connsiteX7" fmla="*/ 2754 w 11802"/>
                <a:gd name="connsiteY7" fmla="*/ 17311 h 15737"/>
                <a:gd name="connsiteX8" fmla="*/ 8261 w 11802"/>
                <a:gd name="connsiteY8" fmla="*/ 14557 h 15737"/>
                <a:gd name="connsiteX9" fmla="*/ 9048 w 11802"/>
                <a:gd name="connsiteY9" fmla="*/ 11803 h 15737"/>
                <a:gd name="connsiteX10" fmla="*/ 10622 w 11802"/>
                <a:gd name="connsiteY10" fmla="*/ 8655 h 15737"/>
                <a:gd name="connsiteX11" fmla="*/ 11803 w 11802"/>
                <a:gd name="connsiteY11" fmla="*/ 7475 h 15737"/>
                <a:gd name="connsiteX12" fmla="*/ 8655 w 11802"/>
                <a:gd name="connsiteY12" fmla="*/ 6295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15737">
                  <a:moveTo>
                    <a:pt x="7869" y="3147"/>
                  </a:moveTo>
                  <a:lnTo>
                    <a:pt x="5114" y="0"/>
                  </a:lnTo>
                  <a:lnTo>
                    <a:pt x="1967" y="3147"/>
                  </a:lnTo>
                  <a:lnTo>
                    <a:pt x="1180" y="5901"/>
                  </a:lnTo>
                  <a:lnTo>
                    <a:pt x="0" y="8655"/>
                  </a:lnTo>
                  <a:lnTo>
                    <a:pt x="0" y="11409"/>
                  </a:lnTo>
                  <a:lnTo>
                    <a:pt x="0" y="17311"/>
                  </a:lnTo>
                  <a:lnTo>
                    <a:pt x="2754" y="17311"/>
                  </a:lnTo>
                  <a:lnTo>
                    <a:pt x="8261" y="14557"/>
                  </a:lnTo>
                  <a:lnTo>
                    <a:pt x="9048" y="11803"/>
                  </a:lnTo>
                  <a:lnTo>
                    <a:pt x="10622" y="8655"/>
                  </a:lnTo>
                  <a:lnTo>
                    <a:pt x="11803" y="7475"/>
                  </a:lnTo>
                  <a:lnTo>
                    <a:pt x="8655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39" name="Freeform: Shape 4233">
              <a:extLst>
                <a:ext uri="{FF2B5EF4-FFF2-40B4-BE49-F238E27FC236}">
                  <a16:creationId xmlns:a16="http://schemas.microsoft.com/office/drawing/2014/main" id="{3ED68AA7-DC66-417A-8697-48A94D746485}"/>
                </a:ext>
              </a:extLst>
            </p:cNvPr>
            <p:cNvSpPr/>
            <p:nvPr/>
          </p:nvSpPr>
          <p:spPr>
            <a:xfrm>
              <a:off x="9916957" y="4937438"/>
              <a:ext cx="43277" cy="15737"/>
            </a:xfrm>
            <a:custGeom>
              <a:avLst/>
              <a:gdLst>
                <a:gd name="connsiteX0" fmla="*/ 38556 w 43276"/>
                <a:gd name="connsiteY0" fmla="*/ 6688 h 15737"/>
                <a:gd name="connsiteX1" fmla="*/ 35408 w 43276"/>
                <a:gd name="connsiteY1" fmla="*/ 5114 h 15737"/>
                <a:gd name="connsiteX2" fmla="*/ 32655 w 43276"/>
                <a:gd name="connsiteY2" fmla="*/ 5114 h 15737"/>
                <a:gd name="connsiteX3" fmla="*/ 34228 w 43276"/>
                <a:gd name="connsiteY3" fmla="*/ 1967 h 15737"/>
                <a:gd name="connsiteX4" fmla="*/ 31474 w 43276"/>
                <a:gd name="connsiteY4" fmla="*/ 0 h 15737"/>
                <a:gd name="connsiteX5" fmla="*/ 25573 w 43276"/>
                <a:gd name="connsiteY5" fmla="*/ 0 h 15737"/>
                <a:gd name="connsiteX6" fmla="*/ 22819 w 43276"/>
                <a:gd name="connsiteY6" fmla="*/ 787 h 15737"/>
                <a:gd name="connsiteX7" fmla="*/ 19671 w 43276"/>
                <a:gd name="connsiteY7" fmla="*/ 1967 h 15737"/>
                <a:gd name="connsiteX8" fmla="*/ 16918 w 43276"/>
                <a:gd name="connsiteY8" fmla="*/ 2754 h 15737"/>
                <a:gd name="connsiteX9" fmla="*/ 13770 w 43276"/>
                <a:gd name="connsiteY9" fmla="*/ 3147 h 15737"/>
                <a:gd name="connsiteX10" fmla="*/ 10622 w 43276"/>
                <a:gd name="connsiteY10" fmla="*/ 3541 h 15737"/>
                <a:gd name="connsiteX11" fmla="*/ 7869 w 43276"/>
                <a:gd name="connsiteY11" fmla="*/ 4328 h 15737"/>
                <a:gd name="connsiteX12" fmla="*/ 5115 w 43276"/>
                <a:gd name="connsiteY12" fmla="*/ 5114 h 15737"/>
                <a:gd name="connsiteX13" fmla="*/ 2361 w 43276"/>
                <a:gd name="connsiteY13" fmla="*/ 5901 h 15737"/>
                <a:gd name="connsiteX14" fmla="*/ 787 w 43276"/>
                <a:gd name="connsiteY14" fmla="*/ 9049 h 15737"/>
                <a:gd name="connsiteX15" fmla="*/ 0 w 43276"/>
                <a:gd name="connsiteY15" fmla="*/ 12196 h 15737"/>
                <a:gd name="connsiteX16" fmla="*/ 1967 w 43276"/>
                <a:gd name="connsiteY16" fmla="*/ 14950 h 15737"/>
                <a:gd name="connsiteX17" fmla="*/ 4721 w 43276"/>
                <a:gd name="connsiteY17" fmla="*/ 14950 h 15737"/>
                <a:gd name="connsiteX18" fmla="*/ 7869 w 43276"/>
                <a:gd name="connsiteY18" fmla="*/ 15343 h 15737"/>
                <a:gd name="connsiteX19" fmla="*/ 10622 w 43276"/>
                <a:gd name="connsiteY19" fmla="*/ 14557 h 15737"/>
                <a:gd name="connsiteX20" fmla="*/ 13770 w 43276"/>
                <a:gd name="connsiteY20" fmla="*/ 14950 h 15737"/>
                <a:gd name="connsiteX21" fmla="*/ 16918 w 43276"/>
                <a:gd name="connsiteY21" fmla="*/ 12983 h 15737"/>
                <a:gd name="connsiteX22" fmla="*/ 19671 w 43276"/>
                <a:gd name="connsiteY22" fmla="*/ 13770 h 15737"/>
                <a:gd name="connsiteX23" fmla="*/ 22425 w 43276"/>
                <a:gd name="connsiteY23" fmla="*/ 16130 h 15737"/>
                <a:gd name="connsiteX24" fmla="*/ 25180 w 43276"/>
                <a:gd name="connsiteY24" fmla="*/ 14950 h 15737"/>
                <a:gd name="connsiteX25" fmla="*/ 27934 w 43276"/>
                <a:gd name="connsiteY25" fmla="*/ 14163 h 15737"/>
                <a:gd name="connsiteX26" fmla="*/ 29114 w 43276"/>
                <a:gd name="connsiteY26" fmla="*/ 11016 h 15737"/>
                <a:gd name="connsiteX27" fmla="*/ 32261 w 43276"/>
                <a:gd name="connsiteY27" fmla="*/ 10229 h 15737"/>
                <a:gd name="connsiteX28" fmla="*/ 35016 w 43276"/>
                <a:gd name="connsiteY28" fmla="*/ 9049 h 15737"/>
                <a:gd name="connsiteX29" fmla="*/ 38162 w 43276"/>
                <a:gd name="connsiteY29" fmla="*/ 9442 h 15737"/>
                <a:gd name="connsiteX30" fmla="*/ 40917 w 43276"/>
                <a:gd name="connsiteY30" fmla="*/ 10623 h 15737"/>
                <a:gd name="connsiteX31" fmla="*/ 43671 w 43276"/>
                <a:gd name="connsiteY31" fmla="*/ 9442 h 15737"/>
                <a:gd name="connsiteX32" fmla="*/ 44457 w 43276"/>
                <a:gd name="connsiteY32" fmla="*/ 6688 h 15737"/>
                <a:gd name="connsiteX33" fmla="*/ 41310 w 43276"/>
                <a:gd name="connsiteY33" fmla="*/ 4328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3276" h="15737">
                  <a:moveTo>
                    <a:pt x="38556" y="6688"/>
                  </a:moveTo>
                  <a:lnTo>
                    <a:pt x="35408" y="5114"/>
                  </a:lnTo>
                  <a:lnTo>
                    <a:pt x="32655" y="5114"/>
                  </a:lnTo>
                  <a:lnTo>
                    <a:pt x="34228" y="1967"/>
                  </a:lnTo>
                  <a:lnTo>
                    <a:pt x="31474" y="0"/>
                  </a:lnTo>
                  <a:lnTo>
                    <a:pt x="25573" y="0"/>
                  </a:lnTo>
                  <a:lnTo>
                    <a:pt x="22819" y="787"/>
                  </a:lnTo>
                  <a:lnTo>
                    <a:pt x="19671" y="1967"/>
                  </a:lnTo>
                  <a:lnTo>
                    <a:pt x="16918" y="2754"/>
                  </a:lnTo>
                  <a:lnTo>
                    <a:pt x="13770" y="3147"/>
                  </a:lnTo>
                  <a:lnTo>
                    <a:pt x="10622" y="3541"/>
                  </a:lnTo>
                  <a:lnTo>
                    <a:pt x="7869" y="4328"/>
                  </a:lnTo>
                  <a:lnTo>
                    <a:pt x="5115" y="5114"/>
                  </a:lnTo>
                  <a:lnTo>
                    <a:pt x="2361" y="5901"/>
                  </a:lnTo>
                  <a:lnTo>
                    <a:pt x="787" y="9049"/>
                  </a:lnTo>
                  <a:lnTo>
                    <a:pt x="0" y="12196"/>
                  </a:lnTo>
                  <a:lnTo>
                    <a:pt x="1967" y="14950"/>
                  </a:lnTo>
                  <a:lnTo>
                    <a:pt x="4721" y="14950"/>
                  </a:lnTo>
                  <a:lnTo>
                    <a:pt x="7869" y="15343"/>
                  </a:lnTo>
                  <a:lnTo>
                    <a:pt x="10622" y="14557"/>
                  </a:lnTo>
                  <a:lnTo>
                    <a:pt x="13770" y="14950"/>
                  </a:lnTo>
                  <a:lnTo>
                    <a:pt x="16918" y="12983"/>
                  </a:lnTo>
                  <a:lnTo>
                    <a:pt x="19671" y="13770"/>
                  </a:lnTo>
                  <a:lnTo>
                    <a:pt x="22425" y="16130"/>
                  </a:lnTo>
                  <a:lnTo>
                    <a:pt x="25180" y="14950"/>
                  </a:lnTo>
                  <a:lnTo>
                    <a:pt x="27934" y="14163"/>
                  </a:lnTo>
                  <a:lnTo>
                    <a:pt x="29114" y="11016"/>
                  </a:lnTo>
                  <a:lnTo>
                    <a:pt x="32261" y="10229"/>
                  </a:lnTo>
                  <a:lnTo>
                    <a:pt x="35016" y="9049"/>
                  </a:lnTo>
                  <a:lnTo>
                    <a:pt x="38162" y="9442"/>
                  </a:lnTo>
                  <a:lnTo>
                    <a:pt x="40917" y="10623"/>
                  </a:lnTo>
                  <a:lnTo>
                    <a:pt x="43671" y="9442"/>
                  </a:lnTo>
                  <a:lnTo>
                    <a:pt x="44457" y="6688"/>
                  </a:lnTo>
                  <a:lnTo>
                    <a:pt x="41310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40" name="Freeform: Shape 4234">
              <a:extLst>
                <a:ext uri="{FF2B5EF4-FFF2-40B4-BE49-F238E27FC236}">
                  <a16:creationId xmlns:a16="http://schemas.microsoft.com/office/drawing/2014/main" id="{8131092C-5D32-4D00-B59F-8F0A7B3B9FBE}"/>
                </a:ext>
              </a:extLst>
            </p:cNvPr>
            <p:cNvSpPr/>
            <p:nvPr/>
          </p:nvSpPr>
          <p:spPr>
            <a:xfrm>
              <a:off x="9918532" y="4916980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93 w 0"/>
                <a:gd name="connsiteY1" fmla="*/ 2754 h 0"/>
                <a:gd name="connsiteX2" fmla="*/ 78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93" y="2754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41" name="Freeform: Shape 4235">
              <a:extLst>
                <a:ext uri="{FF2B5EF4-FFF2-40B4-BE49-F238E27FC236}">
                  <a16:creationId xmlns:a16="http://schemas.microsoft.com/office/drawing/2014/main" id="{DFDE8D33-93AF-4EE3-9816-4EAB418AB7AA}"/>
                </a:ext>
              </a:extLst>
            </p:cNvPr>
            <p:cNvSpPr/>
            <p:nvPr/>
          </p:nvSpPr>
          <p:spPr>
            <a:xfrm>
              <a:off x="10874558" y="4896522"/>
              <a:ext cx="188845" cy="239990"/>
            </a:xfrm>
            <a:custGeom>
              <a:avLst/>
              <a:gdLst>
                <a:gd name="connsiteX0" fmla="*/ 186484 w 188844"/>
                <a:gd name="connsiteY0" fmla="*/ 107012 h 239990"/>
                <a:gd name="connsiteX1" fmla="*/ 183336 w 188844"/>
                <a:gd name="connsiteY1" fmla="*/ 106619 h 239990"/>
                <a:gd name="connsiteX2" fmla="*/ 180189 w 188844"/>
                <a:gd name="connsiteY2" fmla="*/ 106619 h 239990"/>
                <a:gd name="connsiteX3" fmla="*/ 177042 w 188844"/>
                <a:gd name="connsiteY3" fmla="*/ 108586 h 239990"/>
                <a:gd name="connsiteX4" fmla="*/ 173894 w 188844"/>
                <a:gd name="connsiteY4" fmla="*/ 109766 h 239990"/>
                <a:gd name="connsiteX5" fmla="*/ 170353 w 188844"/>
                <a:gd name="connsiteY5" fmla="*/ 111340 h 239990"/>
                <a:gd name="connsiteX6" fmla="*/ 167206 w 188844"/>
                <a:gd name="connsiteY6" fmla="*/ 112520 h 239990"/>
                <a:gd name="connsiteX7" fmla="*/ 164059 w 188844"/>
                <a:gd name="connsiteY7" fmla="*/ 114881 h 239990"/>
                <a:gd name="connsiteX8" fmla="*/ 160911 w 188844"/>
                <a:gd name="connsiteY8" fmla="*/ 117635 h 239990"/>
                <a:gd name="connsiteX9" fmla="*/ 143601 w 188844"/>
                <a:gd name="connsiteY9" fmla="*/ 122356 h 239990"/>
                <a:gd name="connsiteX10" fmla="*/ 142420 w 188844"/>
                <a:gd name="connsiteY10" fmla="*/ 120389 h 239990"/>
                <a:gd name="connsiteX11" fmla="*/ 139666 w 188844"/>
                <a:gd name="connsiteY11" fmla="*/ 118815 h 239990"/>
                <a:gd name="connsiteX12" fmla="*/ 133371 w 188844"/>
                <a:gd name="connsiteY12" fmla="*/ 115667 h 239990"/>
                <a:gd name="connsiteX13" fmla="*/ 131404 w 188844"/>
                <a:gd name="connsiteY13" fmla="*/ 113700 h 239990"/>
                <a:gd name="connsiteX14" fmla="*/ 128256 w 188844"/>
                <a:gd name="connsiteY14" fmla="*/ 112520 h 239990"/>
                <a:gd name="connsiteX15" fmla="*/ 124716 w 188844"/>
                <a:gd name="connsiteY15" fmla="*/ 111340 h 239990"/>
                <a:gd name="connsiteX16" fmla="*/ 124322 w 188844"/>
                <a:gd name="connsiteY16" fmla="*/ 111340 h 239990"/>
                <a:gd name="connsiteX17" fmla="*/ 123929 w 188844"/>
                <a:gd name="connsiteY17" fmla="*/ 102684 h 239990"/>
                <a:gd name="connsiteX18" fmla="*/ 124716 w 188844"/>
                <a:gd name="connsiteY18" fmla="*/ 100717 h 239990"/>
                <a:gd name="connsiteX19" fmla="*/ 125503 w 188844"/>
                <a:gd name="connsiteY19" fmla="*/ 97963 h 239990"/>
                <a:gd name="connsiteX20" fmla="*/ 126683 w 188844"/>
                <a:gd name="connsiteY20" fmla="*/ 94422 h 239990"/>
                <a:gd name="connsiteX21" fmla="*/ 129043 w 188844"/>
                <a:gd name="connsiteY21" fmla="*/ 91275 h 239990"/>
                <a:gd name="connsiteX22" fmla="*/ 130617 w 188844"/>
                <a:gd name="connsiteY22" fmla="*/ 88521 h 239990"/>
                <a:gd name="connsiteX23" fmla="*/ 131798 w 188844"/>
                <a:gd name="connsiteY23" fmla="*/ 85374 h 239990"/>
                <a:gd name="connsiteX24" fmla="*/ 131404 w 188844"/>
                <a:gd name="connsiteY24" fmla="*/ 82620 h 239990"/>
                <a:gd name="connsiteX25" fmla="*/ 128650 w 188844"/>
                <a:gd name="connsiteY25" fmla="*/ 82620 h 239990"/>
                <a:gd name="connsiteX26" fmla="*/ 131404 w 188844"/>
                <a:gd name="connsiteY26" fmla="*/ 80259 h 239990"/>
                <a:gd name="connsiteX27" fmla="*/ 134945 w 188844"/>
                <a:gd name="connsiteY27" fmla="*/ 78292 h 239990"/>
                <a:gd name="connsiteX28" fmla="*/ 131798 w 188844"/>
                <a:gd name="connsiteY28" fmla="*/ 78685 h 239990"/>
                <a:gd name="connsiteX29" fmla="*/ 128650 w 188844"/>
                <a:gd name="connsiteY29" fmla="*/ 79472 h 239990"/>
                <a:gd name="connsiteX30" fmla="*/ 129043 w 188844"/>
                <a:gd name="connsiteY30" fmla="*/ 76325 h 239990"/>
                <a:gd name="connsiteX31" fmla="*/ 129437 w 188844"/>
                <a:gd name="connsiteY31" fmla="*/ 73571 h 239990"/>
                <a:gd name="connsiteX32" fmla="*/ 127864 w 188844"/>
                <a:gd name="connsiteY32" fmla="*/ 70423 h 239990"/>
                <a:gd name="connsiteX33" fmla="*/ 125109 w 188844"/>
                <a:gd name="connsiteY33" fmla="*/ 72784 h 239990"/>
                <a:gd name="connsiteX34" fmla="*/ 126289 w 188844"/>
                <a:gd name="connsiteY34" fmla="*/ 75931 h 239990"/>
                <a:gd name="connsiteX35" fmla="*/ 123929 w 188844"/>
                <a:gd name="connsiteY35" fmla="*/ 78685 h 239990"/>
                <a:gd name="connsiteX36" fmla="*/ 122355 w 188844"/>
                <a:gd name="connsiteY36" fmla="*/ 81833 h 239990"/>
                <a:gd name="connsiteX37" fmla="*/ 119995 w 188844"/>
                <a:gd name="connsiteY37" fmla="*/ 84587 h 239990"/>
                <a:gd name="connsiteX38" fmla="*/ 120388 w 188844"/>
                <a:gd name="connsiteY38" fmla="*/ 87341 h 239990"/>
                <a:gd name="connsiteX39" fmla="*/ 119207 w 188844"/>
                <a:gd name="connsiteY39" fmla="*/ 90488 h 239990"/>
                <a:gd name="connsiteX40" fmla="*/ 117634 w 188844"/>
                <a:gd name="connsiteY40" fmla="*/ 93635 h 239990"/>
                <a:gd name="connsiteX41" fmla="*/ 111339 w 188844"/>
                <a:gd name="connsiteY41" fmla="*/ 94422 h 239990"/>
                <a:gd name="connsiteX42" fmla="*/ 111733 w 188844"/>
                <a:gd name="connsiteY42" fmla="*/ 92455 h 239990"/>
                <a:gd name="connsiteX43" fmla="*/ 113306 w 188844"/>
                <a:gd name="connsiteY43" fmla="*/ 88914 h 239990"/>
                <a:gd name="connsiteX44" fmla="*/ 113306 w 188844"/>
                <a:gd name="connsiteY44" fmla="*/ 86160 h 239990"/>
                <a:gd name="connsiteX45" fmla="*/ 110552 w 188844"/>
                <a:gd name="connsiteY45" fmla="*/ 84587 h 239990"/>
                <a:gd name="connsiteX46" fmla="*/ 107405 w 188844"/>
                <a:gd name="connsiteY46" fmla="*/ 84980 h 239990"/>
                <a:gd name="connsiteX47" fmla="*/ 104651 w 188844"/>
                <a:gd name="connsiteY47" fmla="*/ 83406 h 239990"/>
                <a:gd name="connsiteX48" fmla="*/ 101897 w 188844"/>
                <a:gd name="connsiteY48" fmla="*/ 83013 h 239990"/>
                <a:gd name="connsiteX49" fmla="*/ 101110 w 188844"/>
                <a:gd name="connsiteY49" fmla="*/ 83406 h 239990"/>
                <a:gd name="connsiteX50" fmla="*/ 99536 w 188844"/>
                <a:gd name="connsiteY50" fmla="*/ 83406 h 239990"/>
                <a:gd name="connsiteX51" fmla="*/ 102684 w 188844"/>
                <a:gd name="connsiteY51" fmla="*/ 81833 h 239990"/>
                <a:gd name="connsiteX52" fmla="*/ 104258 w 188844"/>
                <a:gd name="connsiteY52" fmla="*/ 80652 h 239990"/>
                <a:gd name="connsiteX53" fmla="*/ 105438 w 188844"/>
                <a:gd name="connsiteY53" fmla="*/ 77112 h 239990"/>
                <a:gd name="connsiteX54" fmla="*/ 107012 w 188844"/>
                <a:gd name="connsiteY54" fmla="*/ 75931 h 239990"/>
                <a:gd name="connsiteX55" fmla="*/ 107012 w 188844"/>
                <a:gd name="connsiteY55" fmla="*/ 75145 h 239990"/>
                <a:gd name="connsiteX56" fmla="*/ 112913 w 188844"/>
                <a:gd name="connsiteY56" fmla="*/ 67276 h 239990"/>
                <a:gd name="connsiteX57" fmla="*/ 114487 w 188844"/>
                <a:gd name="connsiteY57" fmla="*/ 66882 h 239990"/>
                <a:gd name="connsiteX58" fmla="*/ 115273 w 188844"/>
                <a:gd name="connsiteY58" fmla="*/ 64128 h 239990"/>
                <a:gd name="connsiteX59" fmla="*/ 113306 w 188844"/>
                <a:gd name="connsiteY59" fmla="*/ 59408 h 239990"/>
                <a:gd name="connsiteX60" fmla="*/ 112913 w 188844"/>
                <a:gd name="connsiteY60" fmla="*/ 56260 h 239990"/>
                <a:gd name="connsiteX61" fmla="*/ 112127 w 188844"/>
                <a:gd name="connsiteY61" fmla="*/ 53113 h 239990"/>
                <a:gd name="connsiteX62" fmla="*/ 113700 w 188844"/>
                <a:gd name="connsiteY62" fmla="*/ 49965 h 239990"/>
                <a:gd name="connsiteX63" fmla="*/ 110552 w 188844"/>
                <a:gd name="connsiteY63" fmla="*/ 48785 h 239990"/>
                <a:gd name="connsiteX64" fmla="*/ 111733 w 188844"/>
                <a:gd name="connsiteY64" fmla="*/ 46031 h 239990"/>
                <a:gd name="connsiteX65" fmla="*/ 114487 w 188844"/>
                <a:gd name="connsiteY65" fmla="*/ 47211 h 239990"/>
                <a:gd name="connsiteX66" fmla="*/ 117634 w 188844"/>
                <a:gd name="connsiteY66" fmla="*/ 49178 h 239990"/>
                <a:gd name="connsiteX67" fmla="*/ 118421 w 188844"/>
                <a:gd name="connsiteY67" fmla="*/ 46031 h 239990"/>
                <a:gd name="connsiteX68" fmla="*/ 118421 w 188844"/>
                <a:gd name="connsiteY68" fmla="*/ 42884 h 239990"/>
                <a:gd name="connsiteX69" fmla="*/ 121568 w 188844"/>
                <a:gd name="connsiteY69" fmla="*/ 40130 h 239990"/>
                <a:gd name="connsiteX70" fmla="*/ 120782 w 188844"/>
                <a:gd name="connsiteY70" fmla="*/ 37376 h 239990"/>
                <a:gd name="connsiteX71" fmla="*/ 119995 w 188844"/>
                <a:gd name="connsiteY71" fmla="*/ 34228 h 239990"/>
                <a:gd name="connsiteX72" fmla="*/ 121175 w 188844"/>
                <a:gd name="connsiteY72" fmla="*/ 31474 h 239990"/>
                <a:gd name="connsiteX73" fmla="*/ 121568 w 188844"/>
                <a:gd name="connsiteY73" fmla="*/ 28327 h 239990"/>
                <a:gd name="connsiteX74" fmla="*/ 118421 w 188844"/>
                <a:gd name="connsiteY74" fmla="*/ 28720 h 239990"/>
                <a:gd name="connsiteX75" fmla="*/ 115667 w 188844"/>
                <a:gd name="connsiteY75" fmla="*/ 28720 h 239990"/>
                <a:gd name="connsiteX76" fmla="*/ 117240 w 188844"/>
                <a:gd name="connsiteY76" fmla="*/ 31868 h 239990"/>
                <a:gd name="connsiteX77" fmla="*/ 114094 w 188844"/>
                <a:gd name="connsiteY77" fmla="*/ 32261 h 239990"/>
                <a:gd name="connsiteX78" fmla="*/ 114487 w 188844"/>
                <a:gd name="connsiteY78" fmla="*/ 29114 h 239990"/>
                <a:gd name="connsiteX79" fmla="*/ 114487 w 188844"/>
                <a:gd name="connsiteY79" fmla="*/ 26360 h 239990"/>
                <a:gd name="connsiteX80" fmla="*/ 117634 w 188844"/>
                <a:gd name="connsiteY80" fmla="*/ 25966 h 239990"/>
                <a:gd name="connsiteX81" fmla="*/ 114487 w 188844"/>
                <a:gd name="connsiteY81" fmla="*/ 24786 h 239990"/>
                <a:gd name="connsiteX82" fmla="*/ 114487 w 188844"/>
                <a:gd name="connsiteY82" fmla="*/ 21638 h 239990"/>
                <a:gd name="connsiteX83" fmla="*/ 111339 w 188844"/>
                <a:gd name="connsiteY83" fmla="*/ 20458 h 239990"/>
                <a:gd name="connsiteX84" fmla="*/ 108585 w 188844"/>
                <a:gd name="connsiteY84" fmla="*/ 22819 h 239990"/>
                <a:gd name="connsiteX85" fmla="*/ 109372 w 188844"/>
                <a:gd name="connsiteY85" fmla="*/ 19671 h 239990"/>
                <a:gd name="connsiteX86" fmla="*/ 106618 w 188844"/>
                <a:gd name="connsiteY86" fmla="*/ 18491 h 239990"/>
                <a:gd name="connsiteX87" fmla="*/ 103864 w 188844"/>
                <a:gd name="connsiteY87" fmla="*/ 19671 h 239990"/>
                <a:gd name="connsiteX88" fmla="*/ 101503 w 188844"/>
                <a:gd name="connsiteY88" fmla="*/ 16917 h 239990"/>
                <a:gd name="connsiteX89" fmla="*/ 104651 w 188844"/>
                <a:gd name="connsiteY89" fmla="*/ 15737 h 239990"/>
                <a:gd name="connsiteX90" fmla="*/ 101503 w 188844"/>
                <a:gd name="connsiteY90" fmla="*/ 15344 h 239990"/>
                <a:gd name="connsiteX91" fmla="*/ 99536 w 188844"/>
                <a:gd name="connsiteY91" fmla="*/ 18491 h 239990"/>
                <a:gd name="connsiteX92" fmla="*/ 97963 w 188844"/>
                <a:gd name="connsiteY92" fmla="*/ 19671 h 239990"/>
                <a:gd name="connsiteX93" fmla="*/ 97569 w 188844"/>
                <a:gd name="connsiteY93" fmla="*/ 18491 h 239990"/>
                <a:gd name="connsiteX94" fmla="*/ 97963 w 188844"/>
                <a:gd name="connsiteY94" fmla="*/ 17704 h 239990"/>
                <a:gd name="connsiteX95" fmla="*/ 96389 w 188844"/>
                <a:gd name="connsiteY95" fmla="*/ 14950 h 239990"/>
                <a:gd name="connsiteX96" fmla="*/ 97176 w 188844"/>
                <a:gd name="connsiteY96" fmla="*/ 11803 h 239990"/>
                <a:gd name="connsiteX97" fmla="*/ 96389 w 188844"/>
                <a:gd name="connsiteY97" fmla="*/ 9049 h 239990"/>
                <a:gd name="connsiteX98" fmla="*/ 97176 w 188844"/>
                <a:gd name="connsiteY98" fmla="*/ 6295 h 239990"/>
                <a:gd name="connsiteX99" fmla="*/ 96389 w 188844"/>
                <a:gd name="connsiteY99" fmla="*/ 3147 h 239990"/>
                <a:gd name="connsiteX100" fmla="*/ 99143 w 188844"/>
                <a:gd name="connsiteY100" fmla="*/ 2754 h 239990"/>
                <a:gd name="connsiteX101" fmla="*/ 101110 w 188844"/>
                <a:gd name="connsiteY101" fmla="*/ 0 h 239990"/>
                <a:gd name="connsiteX102" fmla="*/ 97963 w 188844"/>
                <a:gd name="connsiteY102" fmla="*/ 787 h 239990"/>
                <a:gd name="connsiteX103" fmla="*/ 95209 w 188844"/>
                <a:gd name="connsiteY103" fmla="*/ 1574 h 239990"/>
                <a:gd name="connsiteX104" fmla="*/ 92455 w 188844"/>
                <a:gd name="connsiteY104" fmla="*/ 1574 h 239990"/>
                <a:gd name="connsiteX105" fmla="*/ 90881 w 188844"/>
                <a:gd name="connsiteY105" fmla="*/ 1180 h 239990"/>
                <a:gd name="connsiteX106" fmla="*/ 89700 w 188844"/>
                <a:gd name="connsiteY106" fmla="*/ 3934 h 239990"/>
                <a:gd name="connsiteX107" fmla="*/ 91275 w 188844"/>
                <a:gd name="connsiteY107" fmla="*/ 6688 h 239990"/>
                <a:gd name="connsiteX108" fmla="*/ 91275 w 188844"/>
                <a:gd name="connsiteY108" fmla="*/ 7475 h 239990"/>
                <a:gd name="connsiteX109" fmla="*/ 92455 w 188844"/>
                <a:gd name="connsiteY109" fmla="*/ 22819 h 239990"/>
                <a:gd name="connsiteX110" fmla="*/ 90488 w 188844"/>
                <a:gd name="connsiteY110" fmla="*/ 25573 h 239990"/>
                <a:gd name="connsiteX111" fmla="*/ 87340 w 188844"/>
                <a:gd name="connsiteY111" fmla="*/ 26360 h 239990"/>
                <a:gd name="connsiteX112" fmla="*/ 88127 w 188844"/>
                <a:gd name="connsiteY112" fmla="*/ 29114 h 239990"/>
                <a:gd name="connsiteX113" fmla="*/ 88127 w 188844"/>
                <a:gd name="connsiteY113" fmla="*/ 32261 h 239990"/>
                <a:gd name="connsiteX114" fmla="*/ 88521 w 188844"/>
                <a:gd name="connsiteY114" fmla="*/ 35015 h 239990"/>
                <a:gd name="connsiteX115" fmla="*/ 88914 w 188844"/>
                <a:gd name="connsiteY115" fmla="*/ 37769 h 239990"/>
                <a:gd name="connsiteX116" fmla="*/ 91275 w 188844"/>
                <a:gd name="connsiteY116" fmla="*/ 35015 h 239990"/>
                <a:gd name="connsiteX117" fmla="*/ 93242 w 188844"/>
                <a:gd name="connsiteY117" fmla="*/ 34228 h 239990"/>
                <a:gd name="connsiteX118" fmla="*/ 93242 w 188844"/>
                <a:gd name="connsiteY118" fmla="*/ 35408 h 239990"/>
                <a:gd name="connsiteX119" fmla="*/ 92061 w 188844"/>
                <a:gd name="connsiteY119" fmla="*/ 35802 h 239990"/>
                <a:gd name="connsiteX120" fmla="*/ 89308 w 188844"/>
                <a:gd name="connsiteY120" fmla="*/ 38949 h 239990"/>
                <a:gd name="connsiteX121" fmla="*/ 89700 w 188844"/>
                <a:gd name="connsiteY121" fmla="*/ 44851 h 239990"/>
                <a:gd name="connsiteX122" fmla="*/ 90488 w 188844"/>
                <a:gd name="connsiteY122" fmla="*/ 47998 h 239990"/>
                <a:gd name="connsiteX123" fmla="*/ 91275 w 188844"/>
                <a:gd name="connsiteY123" fmla="*/ 52719 h 239990"/>
                <a:gd name="connsiteX124" fmla="*/ 91668 w 188844"/>
                <a:gd name="connsiteY124" fmla="*/ 55867 h 239990"/>
                <a:gd name="connsiteX125" fmla="*/ 92061 w 188844"/>
                <a:gd name="connsiteY125" fmla="*/ 58621 h 239990"/>
                <a:gd name="connsiteX126" fmla="*/ 92061 w 188844"/>
                <a:gd name="connsiteY126" fmla="*/ 64522 h 239990"/>
                <a:gd name="connsiteX127" fmla="*/ 91275 w 188844"/>
                <a:gd name="connsiteY127" fmla="*/ 67276 h 239990"/>
                <a:gd name="connsiteX128" fmla="*/ 94422 w 188844"/>
                <a:gd name="connsiteY128" fmla="*/ 67276 h 239990"/>
                <a:gd name="connsiteX129" fmla="*/ 95996 w 188844"/>
                <a:gd name="connsiteY129" fmla="*/ 64128 h 239990"/>
                <a:gd name="connsiteX130" fmla="*/ 95209 w 188844"/>
                <a:gd name="connsiteY130" fmla="*/ 60981 h 239990"/>
                <a:gd name="connsiteX131" fmla="*/ 94815 w 188844"/>
                <a:gd name="connsiteY131" fmla="*/ 58227 h 239990"/>
                <a:gd name="connsiteX132" fmla="*/ 97569 w 188844"/>
                <a:gd name="connsiteY132" fmla="*/ 59801 h 239990"/>
                <a:gd name="connsiteX133" fmla="*/ 99536 w 188844"/>
                <a:gd name="connsiteY133" fmla="*/ 62948 h 239990"/>
                <a:gd name="connsiteX134" fmla="*/ 99930 w 188844"/>
                <a:gd name="connsiteY134" fmla="*/ 59801 h 239990"/>
                <a:gd name="connsiteX135" fmla="*/ 103078 w 188844"/>
                <a:gd name="connsiteY135" fmla="*/ 60981 h 239990"/>
                <a:gd name="connsiteX136" fmla="*/ 105438 w 188844"/>
                <a:gd name="connsiteY136" fmla="*/ 59014 h 239990"/>
                <a:gd name="connsiteX137" fmla="*/ 105438 w 188844"/>
                <a:gd name="connsiteY137" fmla="*/ 59408 h 239990"/>
                <a:gd name="connsiteX138" fmla="*/ 102291 w 188844"/>
                <a:gd name="connsiteY138" fmla="*/ 61768 h 239990"/>
                <a:gd name="connsiteX139" fmla="*/ 105438 w 188844"/>
                <a:gd name="connsiteY139" fmla="*/ 62948 h 239990"/>
                <a:gd name="connsiteX140" fmla="*/ 102684 w 188844"/>
                <a:gd name="connsiteY140" fmla="*/ 64522 h 239990"/>
                <a:gd name="connsiteX141" fmla="*/ 99536 w 188844"/>
                <a:gd name="connsiteY141" fmla="*/ 64915 h 239990"/>
                <a:gd name="connsiteX142" fmla="*/ 99930 w 188844"/>
                <a:gd name="connsiteY142" fmla="*/ 66489 h 239990"/>
                <a:gd name="connsiteX143" fmla="*/ 94422 w 188844"/>
                <a:gd name="connsiteY143" fmla="*/ 70030 h 239990"/>
                <a:gd name="connsiteX144" fmla="*/ 93242 w 188844"/>
                <a:gd name="connsiteY144" fmla="*/ 73177 h 239990"/>
                <a:gd name="connsiteX145" fmla="*/ 93242 w 188844"/>
                <a:gd name="connsiteY145" fmla="*/ 76325 h 239990"/>
                <a:gd name="connsiteX146" fmla="*/ 93242 w 188844"/>
                <a:gd name="connsiteY146" fmla="*/ 77112 h 239990"/>
                <a:gd name="connsiteX147" fmla="*/ 92455 w 188844"/>
                <a:gd name="connsiteY147" fmla="*/ 84193 h 239990"/>
                <a:gd name="connsiteX148" fmla="*/ 91275 w 188844"/>
                <a:gd name="connsiteY148" fmla="*/ 88521 h 239990"/>
                <a:gd name="connsiteX149" fmla="*/ 92455 w 188844"/>
                <a:gd name="connsiteY149" fmla="*/ 88521 h 239990"/>
                <a:gd name="connsiteX150" fmla="*/ 92455 w 188844"/>
                <a:gd name="connsiteY150" fmla="*/ 91275 h 239990"/>
                <a:gd name="connsiteX151" fmla="*/ 91275 w 188844"/>
                <a:gd name="connsiteY151" fmla="*/ 92849 h 239990"/>
                <a:gd name="connsiteX152" fmla="*/ 90881 w 188844"/>
                <a:gd name="connsiteY152" fmla="*/ 95996 h 239990"/>
                <a:gd name="connsiteX153" fmla="*/ 90094 w 188844"/>
                <a:gd name="connsiteY153" fmla="*/ 98750 h 239990"/>
                <a:gd name="connsiteX154" fmla="*/ 92455 w 188844"/>
                <a:gd name="connsiteY154" fmla="*/ 99537 h 239990"/>
                <a:gd name="connsiteX155" fmla="*/ 89700 w 188844"/>
                <a:gd name="connsiteY155" fmla="*/ 101504 h 239990"/>
                <a:gd name="connsiteX156" fmla="*/ 88521 w 188844"/>
                <a:gd name="connsiteY156" fmla="*/ 104652 h 239990"/>
                <a:gd name="connsiteX157" fmla="*/ 87340 w 188844"/>
                <a:gd name="connsiteY157" fmla="*/ 108192 h 239990"/>
                <a:gd name="connsiteX158" fmla="*/ 86160 w 188844"/>
                <a:gd name="connsiteY158" fmla="*/ 111733 h 239990"/>
                <a:gd name="connsiteX159" fmla="*/ 85373 w 188844"/>
                <a:gd name="connsiteY159" fmla="*/ 114487 h 239990"/>
                <a:gd name="connsiteX160" fmla="*/ 85373 w 188844"/>
                <a:gd name="connsiteY160" fmla="*/ 115667 h 239990"/>
                <a:gd name="connsiteX161" fmla="*/ 82226 w 188844"/>
                <a:gd name="connsiteY161" fmla="*/ 116848 h 239990"/>
                <a:gd name="connsiteX162" fmla="*/ 79865 w 188844"/>
                <a:gd name="connsiteY162" fmla="*/ 119995 h 239990"/>
                <a:gd name="connsiteX163" fmla="*/ 79078 w 188844"/>
                <a:gd name="connsiteY163" fmla="*/ 122749 h 239990"/>
                <a:gd name="connsiteX164" fmla="*/ 76324 w 188844"/>
                <a:gd name="connsiteY164" fmla="*/ 125896 h 239990"/>
                <a:gd name="connsiteX165" fmla="*/ 75144 w 188844"/>
                <a:gd name="connsiteY165" fmla="*/ 125896 h 239990"/>
                <a:gd name="connsiteX166" fmla="*/ 71603 w 188844"/>
                <a:gd name="connsiteY166" fmla="*/ 130224 h 239990"/>
                <a:gd name="connsiteX167" fmla="*/ 68850 w 188844"/>
                <a:gd name="connsiteY167" fmla="*/ 133765 h 239990"/>
                <a:gd name="connsiteX168" fmla="*/ 66095 w 188844"/>
                <a:gd name="connsiteY168" fmla="*/ 135732 h 239990"/>
                <a:gd name="connsiteX169" fmla="*/ 63735 w 188844"/>
                <a:gd name="connsiteY169" fmla="*/ 138879 h 239990"/>
                <a:gd name="connsiteX170" fmla="*/ 61374 w 188844"/>
                <a:gd name="connsiteY170" fmla="*/ 142420 h 239990"/>
                <a:gd name="connsiteX171" fmla="*/ 59014 w 188844"/>
                <a:gd name="connsiteY171" fmla="*/ 145961 h 239990"/>
                <a:gd name="connsiteX172" fmla="*/ 42096 w 188844"/>
                <a:gd name="connsiteY172" fmla="*/ 155797 h 239990"/>
                <a:gd name="connsiteX173" fmla="*/ 39343 w 188844"/>
                <a:gd name="connsiteY173" fmla="*/ 156584 h 239990"/>
                <a:gd name="connsiteX174" fmla="*/ 35801 w 188844"/>
                <a:gd name="connsiteY174" fmla="*/ 157764 h 239990"/>
                <a:gd name="connsiteX175" fmla="*/ 32654 w 188844"/>
                <a:gd name="connsiteY175" fmla="*/ 159338 h 239990"/>
                <a:gd name="connsiteX176" fmla="*/ 29507 w 188844"/>
                <a:gd name="connsiteY176" fmla="*/ 160518 h 239990"/>
                <a:gd name="connsiteX177" fmla="*/ 25966 w 188844"/>
                <a:gd name="connsiteY177" fmla="*/ 162092 h 239990"/>
                <a:gd name="connsiteX178" fmla="*/ 22818 w 188844"/>
                <a:gd name="connsiteY178" fmla="*/ 164846 h 239990"/>
                <a:gd name="connsiteX179" fmla="*/ 21245 w 188844"/>
                <a:gd name="connsiteY179" fmla="*/ 168386 h 239990"/>
                <a:gd name="connsiteX180" fmla="*/ 20458 w 188844"/>
                <a:gd name="connsiteY180" fmla="*/ 171140 h 239990"/>
                <a:gd name="connsiteX181" fmla="*/ 20458 w 188844"/>
                <a:gd name="connsiteY181" fmla="*/ 172321 h 239990"/>
                <a:gd name="connsiteX182" fmla="*/ 31080 w 188844"/>
                <a:gd name="connsiteY182" fmla="*/ 181763 h 239990"/>
                <a:gd name="connsiteX183" fmla="*/ 35408 w 188844"/>
                <a:gd name="connsiteY183" fmla="*/ 185697 h 239990"/>
                <a:gd name="connsiteX184" fmla="*/ 42096 w 188844"/>
                <a:gd name="connsiteY184" fmla="*/ 188451 h 239990"/>
                <a:gd name="connsiteX185" fmla="*/ 42489 w 188844"/>
                <a:gd name="connsiteY185" fmla="*/ 190418 h 239990"/>
                <a:gd name="connsiteX186" fmla="*/ 41310 w 188844"/>
                <a:gd name="connsiteY186" fmla="*/ 198680 h 239990"/>
                <a:gd name="connsiteX187" fmla="*/ 40916 w 188844"/>
                <a:gd name="connsiteY187" fmla="*/ 199074 h 239990"/>
                <a:gd name="connsiteX188" fmla="*/ 40916 w 188844"/>
                <a:gd name="connsiteY188" fmla="*/ 199861 h 239990"/>
                <a:gd name="connsiteX189" fmla="*/ 38555 w 188844"/>
                <a:gd name="connsiteY189" fmla="*/ 203008 h 239990"/>
                <a:gd name="connsiteX190" fmla="*/ 36588 w 188844"/>
                <a:gd name="connsiteY190" fmla="*/ 205762 h 239990"/>
                <a:gd name="connsiteX191" fmla="*/ 33441 w 188844"/>
                <a:gd name="connsiteY191" fmla="*/ 208910 h 239990"/>
                <a:gd name="connsiteX192" fmla="*/ 33047 w 188844"/>
                <a:gd name="connsiteY192" fmla="*/ 209303 h 239990"/>
                <a:gd name="connsiteX193" fmla="*/ 26359 w 188844"/>
                <a:gd name="connsiteY193" fmla="*/ 215598 h 239990"/>
                <a:gd name="connsiteX194" fmla="*/ 20851 w 188844"/>
                <a:gd name="connsiteY194" fmla="*/ 219532 h 239990"/>
                <a:gd name="connsiteX195" fmla="*/ 17704 w 188844"/>
                <a:gd name="connsiteY195" fmla="*/ 221892 h 239990"/>
                <a:gd name="connsiteX196" fmla="*/ 14557 w 188844"/>
                <a:gd name="connsiteY196" fmla="*/ 224647 h 239990"/>
                <a:gd name="connsiteX197" fmla="*/ 11803 w 188844"/>
                <a:gd name="connsiteY197" fmla="*/ 227007 h 239990"/>
                <a:gd name="connsiteX198" fmla="*/ 11409 w 188844"/>
                <a:gd name="connsiteY198" fmla="*/ 227400 h 239990"/>
                <a:gd name="connsiteX199" fmla="*/ 8655 w 188844"/>
                <a:gd name="connsiteY199" fmla="*/ 228188 h 239990"/>
                <a:gd name="connsiteX200" fmla="*/ 5508 w 188844"/>
                <a:gd name="connsiteY200" fmla="*/ 230548 h 239990"/>
                <a:gd name="connsiteX201" fmla="*/ 2360 w 188844"/>
                <a:gd name="connsiteY201" fmla="*/ 232122 h 239990"/>
                <a:gd name="connsiteX202" fmla="*/ 0 w 188844"/>
                <a:gd name="connsiteY202" fmla="*/ 235269 h 239990"/>
                <a:gd name="connsiteX203" fmla="*/ 3147 w 188844"/>
                <a:gd name="connsiteY203" fmla="*/ 235662 h 239990"/>
                <a:gd name="connsiteX204" fmla="*/ 5508 w 188844"/>
                <a:gd name="connsiteY204" fmla="*/ 232515 h 239990"/>
                <a:gd name="connsiteX205" fmla="*/ 5901 w 188844"/>
                <a:gd name="connsiteY205" fmla="*/ 232515 h 239990"/>
                <a:gd name="connsiteX206" fmla="*/ 5114 w 188844"/>
                <a:gd name="connsiteY206" fmla="*/ 235662 h 239990"/>
                <a:gd name="connsiteX207" fmla="*/ 4327 w 188844"/>
                <a:gd name="connsiteY207" fmla="*/ 238417 h 239990"/>
                <a:gd name="connsiteX208" fmla="*/ 7081 w 188844"/>
                <a:gd name="connsiteY208" fmla="*/ 237236 h 239990"/>
                <a:gd name="connsiteX209" fmla="*/ 10229 w 188844"/>
                <a:gd name="connsiteY209" fmla="*/ 237236 h 239990"/>
                <a:gd name="connsiteX210" fmla="*/ 12196 w 188844"/>
                <a:gd name="connsiteY210" fmla="*/ 236056 h 239990"/>
                <a:gd name="connsiteX211" fmla="*/ 12196 w 188844"/>
                <a:gd name="connsiteY211" fmla="*/ 239203 h 239990"/>
                <a:gd name="connsiteX212" fmla="*/ 10229 w 188844"/>
                <a:gd name="connsiteY212" fmla="*/ 242351 h 239990"/>
                <a:gd name="connsiteX213" fmla="*/ 12982 w 188844"/>
                <a:gd name="connsiteY213" fmla="*/ 243531 h 239990"/>
                <a:gd name="connsiteX214" fmla="*/ 16524 w 188844"/>
                <a:gd name="connsiteY214" fmla="*/ 242351 h 239990"/>
                <a:gd name="connsiteX215" fmla="*/ 19278 w 188844"/>
                <a:gd name="connsiteY215" fmla="*/ 241170 h 239990"/>
                <a:gd name="connsiteX216" fmla="*/ 22425 w 188844"/>
                <a:gd name="connsiteY216" fmla="*/ 239596 h 239990"/>
                <a:gd name="connsiteX217" fmla="*/ 25966 w 188844"/>
                <a:gd name="connsiteY217" fmla="*/ 238023 h 239990"/>
                <a:gd name="connsiteX218" fmla="*/ 29113 w 188844"/>
                <a:gd name="connsiteY218" fmla="*/ 236843 h 239990"/>
                <a:gd name="connsiteX219" fmla="*/ 32261 w 188844"/>
                <a:gd name="connsiteY219" fmla="*/ 235269 h 239990"/>
                <a:gd name="connsiteX220" fmla="*/ 35015 w 188844"/>
                <a:gd name="connsiteY220" fmla="*/ 233302 h 239990"/>
                <a:gd name="connsiteX221" fmla="*/ 38555 w 188844"/>
                <a:gd name="connsiteY221" fmla="*/ 232122 h 239990"/>
                <a:gd name="connsiteX222" fmla="*/ 41703 w 188844"/>
                <a:gd name="connsiteY222" fmla="*/ 228974 h 239990"/>
                <a:gd name="connsiteX223" fmla="*/ 45244 w 188844"/>
                <a:gd name="connsiteY223" fmla="*/ 226614 h 239990"/>
                <a:gd name="connsiteX224" fmla="*/ 48391 w 188844"/>
                <a:gd name="connsiteY224" fmla="*/ 223859 h 239990"/>
                <a:gd name="connsiteX225" fmla="*/ 51932 w 188844"/>
                <a:gd name="connsiteY225" fmla="*/ 221892 h 239990"/>
                <a:gd name="connsiteX226" fmla="*/ 55473 w 188844"/>
                <a:gd name="connsiteY226" fmla="*/ 218745 h 239990"/>
                <a:gd name="connsiteX227" fmla="*/ 59014 w 188844"/>
                <a:gd name="connsiteY227" fmla="*/ 215991 h 239990"/>
                <a:gd name="connsiteX228" fmla="*/ 62161 w 188844"/>
                <a:gd name="connsiteY228" fmla="*/ 213630 h 239990"/>
                <a:gd name="connsiteX229" fmla="*/ 70817 w 188844"/>
                <a:gd name="connsiteY229" fmla="*/ 207729 h 239990"/>
                <a:gd name="connsiteX230" fmla="*/ 73963 w 188844"/>
                <a:gd name="connsiteY230" fmla="*/ 206942 h 239990"/>
                <a:gd name="connsiteX231" fmla="*/ 76718 w 188844"/>
                <a:gd name="connsiteY231" fmla="*/ 203795 h 239990"/>
                <a:gd name="connsiteX232" fmla="*/ 77505 w 188844"/>
                <a:gd name="connsiteY232" fmla="*/ 202615 h 239990"/>
                <a:gd name="connsiteX233" fmla="*/ 83012 w 188844"/>
                <a:gd name="connsiteY233" fmla="*/ 198287 h 239990"/>
                <a:gd name="connsiteX234" fmla="*/ 85766 w 188844"/>
                <a:gd name="connsiteY234" fmla="*/ 197500 h 239990"/>
                <a:gd name="connsiteX235" fmla="*/ 88914 w 188844"/>
                <a:gd name="connsiteY235" fmla="*/ 195140 h 239990"/>
                <a:gd name="connsiteX236" fmla="*/ 91668 w 188844"/>
                <a:gd name="connsiteY236" fmla="*/ 192386 h 239990"/>
                <a:gd name="connsiteX237" fmla="*/ 93635 w 188844"/>
                <a:gd name="connsiteY237" fmla="*/ 190418 h 239990"/>
                <a:gd name="connsiteX238" fmla="*/ 94815 w 188844"/>
                <a:gd name="connsiteY238" fmla="*/ 188845 h 239990"/>
                <a:gd name="connsiteX239" fmla="*/ 97963 w 188844"/>
                <a:gd name="connsiteY239" fmla="*/ 186484 h 239990"/>
                <a:gd name="connsiteX240" fmla="*/ 101503 w 188844"/>
                <a:gd name="connsiteY240" fmla="*/ 183337 h 239990"/>
                <a:gd name="connsiteX241" fmla="*/ 104258 w 188844"/>
                <a:gd name="connsiteY241" fmla="*/ 180583 h 239990"/>
                <a:gd name="connsiteX242" fmla="*/ 107012 w 188844"/>
                <a:gd name="connsiteY242" fmla="*/ 177829 h 239990"/>
                <a:gd name="connsiteX243" fmla="*/ 104258 w 188844"/>
                <a:gd name="connsiteY243" fmla="*/ 176255 h 239990"/>
                <a:gd name="connsiteX244" fmla="*/ 104651 w 188844"/>
                <a:gd name="connsiteY244" fmla="*/ 174681 h 239990"/>
                <a:gd name="connsiteX245" fmla="*/ 121962 w 188844"/>
                <a:gd name="connsiteY245" fmla="*/ 160125 h 239990"/>
                <a:gd name="connsiteX246" fmla="*/ 129831 w 188844"/>
                <a:gd name="connsiteY246" fmla="*/ 158157 h 239990"/>
                <a:gd name="connsiteX247" fmla="*/ 132585 w 188844"/>
                <a:gd name="connsiteY247" fmla="*/ 158157 h 239990"/>
                <a:gd name="connsiteX248" fmla="*/ 135732 w 188844"/>
                <a:gd name="connsiteY248" fmla="*/ 157764 h 239990"/>
                <a:gd name="connsiteX249" fmla="*/ 138879 w 188844"/>
                <a:gd name="connsiteY249" fmla="*/ 158157 h 239990"/>
                <a:gd name="connsiteX250" fmla="*/ 138879 w 188844"/>
                <a:gd name="connsiteY250" fmla="*/ 160911 h 239990"/>
                <a:gd name="connsiteX251" fmla="*/ 138092 w 188844"/>
                <a:gd name="connsiteY251" fmla="*/ 164452 h 239990"/>
                <a:gd name="connsiteX252" fmla="*/ 141240 w 188844"/>
                <a:gd name="connsiteY252" fmla="*/ 162092 h 239990"/>
                <a:gd name="connsiteX253" fmla="*/ 143994 w 188844"/>
                <a:gd name="connsiteY253" fmla="*/ 159338 h 239990"/>
                <a:gd name="connsiteX254" fmla="*/ 143601 w 188844"/>
                <a:gd name="connsiteY254" fmla="*/ 156190 h 239990"/>
                <a:gd name="connsiteX255" fmla="*/ 144387 w 188844"/>
                <a:gd name="connsiteY255" fmla="*/ 155403 h 239990"/>
                <a:gd name="connsiteX256" fmla="*/ 147141 w 188844"/>
                <a:gd name="connsiteY256" fmla="*/ 152256 h 239990"/>
                <a:gd name="connsiteX257" fmla="*/ 149895 w 188844"/>
                <a:gd name="connsiteY257" fmla="*/ 149109 h 239990"/>
                <a:gd name="connsiteX258" fmla="*/ 151862 w 188844"/>
                <a:gd name="connsiteY258" fmla="*/ 145961 h 239990"/>
                <a:gd name="connsiteX259" fmla="*/ 152256 w 188844"/>
                <a:gd name="connsiteY259" fmla="*/ 145961 h 239990"/>
                <a:gd name="connsiteX260" fmla="*/ 155403 w 188844"/>
                <a:gd name="connsiteY260" fmla="*/ 145961 h 239990"/>
                <a:gd name="connsiteX261" fmla="*/ 158944 w 188844"/>
                <a:gd name="connsiteY261" fmla="*/ 143994 h 239990"/>
                <a:gd name="connsiteX262" fmla="*/ 162092 w 188844"/>
                <a:gd name="connsiteY262" fmla="*/ 142027 h 239990"/>
                <a:gd name="connsiteX263" fmla="*/ 165239 w 188844"/>
                <a:gd name="connsiteY263" fmla="*/ 140453 h 239990"/>
                <a:gd name="connsiteX264" fmla="*/ 168386 w 188844"/>
                <a:gd name="connsiteY264" fmla="*/ 136912 h 239990"/>
                <a:gd name="connsiteX265" fmla="*/ 170353 w 188844"/>
                <a:gd name="connsiteY265" fmla="*/ 133765 h 239990"/>
                <a:gd name="connsiteX266" fmla="*/ 172714 w 188844"/>
                <a:gd name="connsiteY266" fmla="*/ 131011 h 239990"/>
                <a:gd name="connsiteX267" fmla="*/ 175075 w 188844"/>
                <a:gd name="connsiteY267" fmla="*/ 128257 h 239990"/>
                <a:gd name="connsiteX268" fmla="*/ 178221 w 188844"/>
                <a:gd name="connsiteY268" fmla="*/ 125110 h 239990"/>
                <a:gd name="connsiteX269" fmla="*/ 179796 w 188844"/>
                <a:gd name="connsiteY269" fmla="*/ 121962 h 239990"/>
                <a:gd name="connsiteX270" fmla="*/ 182549 w 188844"/>
                <a:gd name="connsiteY270" fmla="*/ 118815 h 239990"/>
                <a:gd name="connsiteX271" fmla="*/ 184123 w 188844"/>
                <a:gd name="connsiteY271" fmla="*/ 115667 h 239990"/>
                <a:gd name="connsiteX272" fmla="*/ 186090 w 188844"/>
                <a:gd name="connsiteY272" fmla="*/ 114881 h 239990"/>
                <a:gd name="connsiteX273" fmla="*/ 189238 w 188844"/>
                <a:gd name="connsiteY273" fmla="*/ 113307 h 239990"/>
                <a:gd name="connsiteX274" fmla="*/ 189631 w 188844"/>
                <a:gd name="connsiteY274" fmla="*/ 110159 h 239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</a:cxnLst>
              <a:rect l="l" t="t" r="r" b="b"/>
              <a:pathLst>
                <a:path w="188844" h="239990">
                  <a:moveTo>
                    <a:pt x="186484" y="107012"/>
                  </a:moveTo>
                  <a:lnTo>
                    <a:pt x="183336" y="106619"/>
                  </a:lnTo>
                  <a:lnTo>
                    <a:pt x="180189" y="106619"/>
                  </a:lnTo>
                  <a:lnTo>
                    <a:pt x="177042" y="108586"/>
                  </a:lnTo>
                  <a:lnTo>
                    <a:pt x="173894" y="109766"/>
                  </a:lnTo>
                  <a:lnTo>
                    <a:pt x="170353" y="111340"/>
                  </a:lnTo>
                  <a:lnTo>
                    <a:pt x="167206" y="112520"/>
                  </a:lnTo>
                  <a:lnTo>
                    <a:pt x="164059" y="114881"/>
                  </a:lnTo>
                  <a:lnTo>
                    <a:pt x="160911" y="117635"/>
                  </a:lnTo>
                  <a:lnTo>
                    <a:pt x="143601" y="122356"/>
                  </a:lnTo>
                  <a:lnTo>
                    <a:pt x="142420" y="120389"/>
                  </a:lnTo>
                  <a:lnTo>
                    <a:pt x="139666" y="118815"/>
                  </a:lnTo>
                  <a:lnTo>
                    <a:pt x="133371" y="115667"/>
                  </a:lnTo>
                  <a:lnTo>
                    <a:pt x="131404" y="113700"/>
                  </a:lnTo>
                  <a:lnTo>
                    <a:pt x="128256" y="112520"/>
                  </a:lnTo>
                  <a:lnTo>
                    <a:pt x="124716" y="111340"/>
                  </a:lnTo>
                  <a:lnTo>
                    <a:pt x="124322" y="111340"/>
                  </a:lnTo>
                  <a:lnTo>
                    <a:pt x="123929" y="102684"/>
                  </a:lnTo>
                  <a:lnTo>
                    <a:pt x="124716" y="100717"/>
                  </a:lnTo>
                  <a:lnTo>
                    <a:pt x="125503" y="97963"/>
                  </a:lnTo>
                  <a:lnTo>
                    <a:pt x="126683" y="94422"/>
                  </a:lnTo>
                  <a:lnTo>
                    <a:pt x="129043" y="91275"/>
                  </a:lnTo>
                  <a:lnTo>
                    <a:pt x="130617" y="88521"/>
                  </a:lnTo>
                  <a:lnTo>
                    <a:pt x="131798" y="85374"/>
                  </a:lnTo>
                  <a:lnTo>
                    <a:pt x="131404" y="82620"/>
                  </a:lnTo>
                  <a:lnTo>
                    <a:pt x="128650" y="82620"/>
                  </a:lnTo>
                  <a:lnTo>
                    <a:pt x="131404" y="80259"/>
                  </a:lnTo>
                  <a:lnTo>
                    <a:pt x="134945" y="78292"/>
                  </a:lnTo>
                  <a:lnTo>
                    <a:pt x="131798" y="78685"/>
                  </a:lnTo>
                  <a:lnTo>
                    <a:pt x="128650" y="79472"/>
                  </a:lnTo>
                  <a:lnTo>
                    <a:pt x="129043" y="76325"/>
                  </a:lnTo>
                  <a:lnTo>
                    <a:pt x="129437" y="73571"/>
                  </a:lnTo>
                  <a:lnTo>
                    <a:pt x="127864" y="70423"/>
                  </a:lnTo>
                  <a:lnTo>
                    <a:pt x="125109" y="72784"/>
                  </a:lnTo>
                  <a:lnTo>
                    <a:pt x="126289" y="75931"/>
                  </a:lnTo>
                  <a:lnTo>
                    <a:pt x="123929" y="78685"/>
                  </a:lnTo>
                  <a:lnTo>
                    <a:pt x="122355" y="81833"/>
                  </a:lnTo>
                  <a:lnTo>
                    <a:pt x="119995" y="84587"/>
                  </a:lnTo>
                  <a:lnTo>
                    <a:pt x="120388" y="87341"/>
                  </a:lnTo>
                  <a:lnTo>
                    <a:pt x="119207" y="90488"/>
                  </a:lnTo>
                  <a:lnTo>
                    <a:pt x="117634" y="93635"/>
                  </a:lnTo>
                  <a:lnTo>
                    <a:pt x="111339" y="94422"/>
                  </a:lnTo>
                  <a:lnTo>
                    <a:pt x="111733" y="92455"/>
                  </a:lnTo>
                  <a:lnTo>
                    <a:pt x="113306" y="88914"/>
                  </a:lnTo>
                  <a:lnTo>
                    <a:pt x="113306" y="86160"/>
                  </a:lnTo>
                  <a:lnTo>
                    <a:pt x="110552" y="84587"/>
                  </a:lnTo>
                  <a:lnTo>
                    <a:pt x="107405" y="84980"/>
                  </a:lnTo>
                  <a:lnTo>
                    <a:pt x="104651" y="83406"/>
                  </a:lnTo>
                  <a:lnTo>
                    <a:pt x="101897" y="83013"/>
                  </a:lnTo>
                  <a:lnTo>
                    <a:pt x="101110" y="83406"/>
                  </a:lnTo>
                  <a:lnTo>
                    <a:pt x="99536" y="83406"/>
                  </a:lnTo>
                  <a:lnTo>
                    <a:pt x="102684" y="81833"/>
                  </a:lnTo>
                  <a:lnTo>
                    <a:pt x="104258" y="80652"/>
                  </a:lnTo>
                  <a:lnTo>
                    <a:pt x="105438" y="77112"/>
                  </a:lnTo>
                  <a:lnTo>
                    <a:pt x="107012" y="75931"/>
                  </a:lnTo>
                  <a:lnTo>
                    <a:pt x="107012" y="75145"/>
                  </a:lnTo>
                  <a:lnTo>
                    <a:pt x="112913" y="67276"/>
                  </a:lnTo>
                  <a:lnTo>
                    <a:pt x="114487" y="66882"/>
                  </a:lnTo>
                  <a:lnTo>
                    <a:pt x="115273" y="64128"/>
                  </a:lnTo>
                  <a:lnTo>
                    <a:pt x="113306" y="59408"/>
                  </a:lnTo>
                  <a:lnTo>
                    <a:pt x="112913" y="56260"/>
                  </a:lnTo>
                  <a:lnTo>
                    <a:pt x="112127" y="53113"/>
                  </a:lnTo>
                  <a:lnTo>
                    <a:pt x="113700" y="49965"/>
                  </a:lnTo>
                  <a:lnTo>
                    <a:pt x="110552" y="48785"/>
                  </a:lnTo>
                  <a:lnTo>
                    <a:pt x="111733" y="46031"/>
                  </a:lnTo>
                  <a:lnTo>
                    <a:pt x="114487" y="47211"/>
                  </a:lnTo>
                  <a:lnTo>
                    <a:pt x="117634" y="49178"/>
                  </a:lnTo>
                  <a:lnTo>
                    <a:pt x="118421" y="46031"/>
                  </a:lnTo>
                  <a:lnTo>
                    <a:pt x="118421" y="42884"/>
                  </a:lnTo>
                  <a:lnTo>
                    <a:pt x="121568" y="40130"/>
                  </a:lnTo>
                  <a:lnTo>
                    <a:pt x="120782" y="37376"/>
                  </a:lnTo>
                  <a:lnTo>
                    <a:pt x="119995" y="34228"/>
                  </a:lnTo>
                  <a:lnTo>
                    <a:pt x="121175" y="31474"/>
                  </a:lnTo>
                  <a:lnTo>
                    <a:pt x="121568" y="28327"/>
                  </a:lnTo>
                  <a:lnTo>
                    <a:pt x="118421" y="28720"/>
                  </a:lnTo>
                  <a:lnTo>
                    <a:pt x="115667" y="28720"/>
                  </a:lnTo>
                  <a:lnTo>
                    <a:pt x="117240" y="31868"/>
                  </a:lnTo>
                  <a:lnTo>
                    <a:pt x="114094" y="32261"/>
                  </a:lnTo>
                  <a:lnTo>
                    <a:pt x="114487" y="29114"/>
                  </a:lnTo>
                  <a:lnTo>
                    <a:pt x="114487" y="26360"/>
                  </a:lnTo>
                  <a:lnTo>
                    <a:pt x="117634" y="25966"/>
                  </a:lnTo>
                  <a:lnTo>
                    <a:pt x="114487" y="24786"/>
                  </a:lnTo>
                  <a:lnTo>
                    <a:pt x="114487" y="21638"/>
                  </a:lnTo>
                  <a:lnTo>
                    <a:pt x="111339" y="20458"/>
                  </a:lnTo>
                  <a:lnTo>
                    <a:pt x="108585" y="22819"/>
                  </a:lnTo>
                  <a:lnTo>
                    <a:pt x="109372" y="19671"/>
                  </a:lnTo>
                  <a:lnTo>
                    <a:pt x="106618" y="18491"/>
                  </a:lnTo>
                  <a:lnTo>
                    <a:pt x="103864" y="19671"/>
                  </a:lnTo>
                  <a:lnTo>
                    <a:pt x="101503" y="16917"/>
                  </a:lnTo>
                  <a:lnTo>
                    <a:pt x="104651" y="15737"/>
                  </a:lnTo>
                  <a:lnTo>
                    <a:pt x="101503" y="15344"/>
                  </a:lnTo>
                  <a:lnTo>
                    <a:pt x="99536" y="18491"/>
                  </a:lnTo>
                  <a:lnTo>
                    <a:pt x="97963" y="19671"/>
                  </a:lnTo>
                  <a:lnTo>
                    <a:pt x="97569" y="18491"/>
                  </a:lnTo>
                  <a:lnTo>
                    <a:pt x="97963" y="17704"/>
                  </a:lnTo>
                  <a:lnTo>
                    <a:pt x="96389" y="14950"/>
                  </a:lnTo>
                  <a:lnTo>
                    <a:pt x="97176" y="11803"/>
                  </a:lnTo>
                  <a:lnTo>
                    <a:pt x="96389" y="9049"/>
                  </a:lnTo>
                  <a:lnTo>
                    <a:pt x="97176" y="6295"/>
                  </a:lnTo>
                  <a:lnTo>
                    <a:pt x="96389" y="3147"/>
                  </a:lnTo>
                  <a:lnTo>
                    <a:pt x="99143" y="2754"/>
                  </a:lnTo>
                  <a:lnTo>
                    <a:pt x="101110" y="0"/>
                  </a:lnTo>
                  <a:lnTo>
                    <a:pt x="97963" y="787"/>
                  </a:lnTo>
                  <a:lnTo>
                    <a:pt x="95209" y="1574"/>
                  </a:lnTo>
                  <a:lnTo>
                    <a:pt x="92455" y="1574"/>
                  </a:lnTo>
                  <a:lnTo>
                    <a:pt x="90881" y="1180"/>
                  </a:lnTo>
                  <a:lnTo>
                    <a:pt x="89700" y="3934"/>
                  </a:lnTo>
                  <a:lnTo>
                    <a:pt x="91275" y="6688"/>
                  </a:lnTo>
                  <a:lnTo>
                    <a:pt x="91275" y="7475"/>
                  </a:lnTo>
                  <a:lnTo>
                    <a:pt x="92455" y="22819"/>
                  </a:lnTo>
                  <a:lnTo>
                    <a:pt x="90488" y="25573"/>
                  </a:lnTo>
                  <a:lnTo>
                    <a:pt x="87340" y="26360"/>
                  </a:lnTo>
                  <a:lnTo>
                    <a:pt x="88127" y="29114"/>
                  </a:lnTo>
                  <a:lnTo>
                    <a:pt x="88127" y="32261"/>
                  </a:lnTo>
                  <a:lnTo>
                    <a:pt x="88521" y="35015"/>
                  </a:lnTo>
                  <a:lnTo>
                    <a:pt x="88914" y="37769"/>
                  </a:lnTo>
                  <a:lnTo>
                    <a:pt x="91275" y="35015"/>
                  </a:lnTo>
                  <a:lnTo>
                    <a:pt x="93242" y="34228"/>
                  </a:lnTo>
                  <a:lnTo>
                    <a:pt x="93242" y="35408"/>
                  </a:lnTo>
                  <a:lnTo>
                    <a:pt x="92061" y="35802"/>
                  </a:lnTo>
                  <a:lnTo>
                    <a:pt x="89308" y="38949"/>
                  </a:lnTo>
                  <a:lnTo>
                    <a:pt x="89700" y="44851"/>
                  </a:lnTo>
                  <a:lnTo>
                    <a:pt x="90488" y="47998"/>
                  </a:lnTo>
                  <a:lnTo>
                    <a:pt x="91275" y="52719"/>
                  </a:lnTo>
                  <a:lnTo>
                    <a:pt x="91668" y="55867"/>
                  </a:lnTo>
                  <a:lnTo>
                    <a:pt x="92061" y="58621"/>
                  </a:lnTo>
                  <a:lnTo>
                    <a:pt x="92061" y="64522"/>
                  </a:lnTo>
                  <a:lnTo>
                    <a:pt x="91275" y="67276"/>
                  </a:lnTo>
                  <a:lnTo>
                    <a:pt x="94422" y="67276"/>
                  </a:lnTo>
                  <a:lnTo>
                    <a:pt x="95996" y="64128"/>
                  </a:lnTo>
                  <a:lnTo>
                    <a:pt x="95209" y="60981"/>
                  </a:lnTo>
                  <a:lnTo>
                    <a:pt x="94815" y="58227"/>
                  </a:lnTo>
                  <a:lnTo>
                    <a:pt x="97569" y="59801"/>
                  </a:lnTo>
                  <a:lnTo>
                    <a:pt x="99536" y="62948"/>
                  </a:lnTo>
                  <a:lnTo>
                    <a:pt x="99930" y="59801"/>
                  </a:lnTo>
                  <a:lnTo>
                    <a:pt x="103078" y="60981"/>
                  </a:lnTo>
                  <a:lnTo>
                    <a:pt x="105438" y="59014"/>
                  </a:lnTo>
                  <a:lnTo>
                    <a:pt x="105438" y="59408"/>
                  </a:lnTo>
                  <a:lnTo>
                    <a:pt x="102291" y="61768"/>
                  </a:lnTo>
                  <a:lnTo>
                    <a:pt x="105438" y="62948"/>
                  </a:lnTo>
                  <a:lnTo>
                    <a:pt x="102684" y="64522"/>
                  </a:lnTo>
                  <a:lnTo>
                    <a:pt x="99536" y="64915"/>
                  </a:lnTo>
                  <a:lnTo>
                    <a:pt x="99930" y="66489"/>
                  </a:lnTo>
                  <a:lnTo>
                    <a:pt x="94422" y="70030"/>
                  </a:lnTo>
                  <a:lnTo>
                    <a:pt x="93242" y="73177"/>
                  </a:lnTo>
                  <a:lnTo>
                    <a:pt x="93242" y="76325"/>
                  </a:lnTo>
                  <a:lnTo>
                    <a:pt x="93242" y="77112"/>
                  </a:lnTo>
                  <a:lnTo>
                    <a:pt x="92455" y="84193"/>
                  </a:lnTo>
                  <a:lnTo>
                    <a:pt x="91275" y="88521"/>
                  </a:lnTo>
                  <a:lnTo>
                    <a:pt x="92455" y="88521"/>
                  </a:lnTo>
                  <a:lnTo>
                    <a:pt x="92455" y="91275"/>
                  </a:lnTo>
                  <a:lnTo>
                    <a:pt x="91275" y="92849"/>
                  </a:lnTo>
                  <a:lnTo>
                    <a:pt x="90881" y="95996"/>
                  </a:lnTo>
                  <a:lnTo>
                    <a:pt x="90094" y="98750"/>
                  </a:lnTo>
                  <a:lnTo>
                    <a:pt x="92455" y="99537"/>
                  </a:lnTo>
                  <a:lnTo>
                    <a:pt x="89700" y="101504"/>
                  </a:lnTo>
                  <a:lnTo>
                    <a:pt x="88521" y="104652"/>
                  </a:lnTo>
                  <a:lnTo>
                    <a:pt x="87340" y="108192"/>
                  </a:lnTo>
                  <a:lnTo>
                    <a:pt x="86160" y="111733"/>
                  </a:lnTo>
                  <a:lnTo>
                    <a:pt x="85373" y="114487"/>
                  </a:lnTo>
                  <a:lnTo>
                    <a:pt x="85373" y="115667"/>
                  </a:lnTo>
                  <a:lnTo>
                    <a:pt x="82226" y="116848"/>
                  </a:lnTo>
                  <a:lnTo>
                    <a:pt x="79865" y="119995"/>
                  </a:lnTo>
                  <a:lnTo>
                    <a:pt x="79078" y="122749"/>
                  </a:lnTo>
                  <a:lnTo>
                    <a:pt x="76324" y="125896"/>
                  </a:lnTo>
                  <a:lnTo>
                    <a:pt x="75144" y="125896"/>
                  </a:lnTo>
                  <a:lnTo>
                    <a:pt x="71603" y="130224"/>
                  </a:lnTo>
                  <a:lnTo>
                    <a:pt x="68850" y="133765"/>
                  </a:lnTo>
                  <a:lnTo>
                    <a:pt x="66095" y="135732"/>
                  </a:lnTo>
                  <a:lnTo>
                    <a:pt x="63735" y="138879"/>
                  </a:lnTo>
                  <a:lnTo>
                    <a:pt x="61374" y="142420"/>
                  </a:lnTo>
                  <a:lnTo>
                    <a:pt x="59014" y="145961"/>
                  </a:lnTo>
                  <a:lnTo>
                    <a:pt x="42096" y="155797"/>
                  </a:lnTo>
                  <a:lnTo>
                    <a:pt x="39343" y="156584"/>
                  </a:lnTo>
                  <a:lnTo>
                    <a:pt x="35801" y="157764"/>
                  </a:lnTo>
                  <a:lnTo>
                    <a:pt x="32654" y="159338"/>
                  </a:lnTo>
                  <a:lnTo>
                    <a:pt x="29507" y="160518"/>
                  </a:lnTo>
                  <a:lnTo>
                    <a:pt x="25966" y="162092"/>
                  </a:lnTo>
                  <a:lnTo>
                    <a:pt x="22818" y="164846"/>
                  </a:lnTo>
                  <a:lnTo>
                    <a:pt x="21245" y="168386"/>
                  </a:lnTo>
                  <a:lnTo>
                    <a:pt x="20458" y="171140"/>
                  </a:lnTo>
                  <a:lnTo>
                    <a:pt x="20458" y="172321"/>
                  </a:lnTo>
                  <a:lnTo>
                    <a:pt x="31080" y="181763"/>
                  </a:lnTo>
                  <a:lnTo>
                    <a:pt x="35408" y="185697"/>
                  </a:lnTo>
                  <a:lnTo>
                    <a:pt x="42096" y="188451"/>
                  </a:lnTo>
                  <a:lnTo>
                    <a:pt x="42489" y="190418"/>
                  </a:lnTo>
                  <a:lnTo>
                    <a:pt x="41310" y="198680"/>
                  </a:lnTo>
                  <a:lnTo>
                    <a:pt x="40916" y="199074"/>
                  </a:lnTo>
                  <a:lnTo>
                    <a:pt x="40916" y="199861"/>
                  </a:lnTo>
                  <a:lnTo>
                    <a:pt x="38555" y="203008"/>
                  </a:lnTo>
                  <a:lnTo>
                    <a:pt x="36588" y="205762"/>
                  </a:lnTo>
                  <a:lnTo>
                    <a:pt x="33441" y="208910"/>
                  </a:lnTo>
                  <a:lnTo>
                    <a:pt x="33047" y="209303"/>
                  </a:lnTo>
                  <a:lnTo>
                    <a:pt x="26359" y="215598"/>
                  </a:lnTo>
                  <a:lnTo>
                    <a:pt x="20851" y="219532"/>
                  </a:lnTo>
                  <a:lnTo>
                    <a:pt x="17704" y="221892"/>
                  </a:lnTo>
                  <a:lnTo>
                    <a:pt x="14557" y="224647"/>
                  </a:lnTo>
                  <a:lnTo>
                    <a:pt x="11803" y="227007"/>
                  </a:lnTo>
                  <a:lnTo>
                    <a:pt x="11409" y="227400"/>
                  </a:lnTo>
                  <a:lnTo>
                    <a:pt x="8655" y="228188"/>
                  </a:lnTo>
                  <a:lnTo>
                    <a:pt x="5508" y="230548"/>
                  </a:lnTo>
                  <a:lnTo>
                    <a:pt x="2360" y="232122"/>
                  </a:lnTo>
                  <a:lnTo>
                    <a:pt x="0" y="235269"/>
                  </a:lnTo>
                  <a:lnTo>
                    <a:pt x="3147" y="235662"/>
                  </a:lnTo>
                  <a:lnTo>
                    <a:pt x="5508" y="232515"/>
                  </a:lnTo>
                  <a:lnTo>
                    <a:pt x="5901" y="232515"/>
                  </a:lnTo>
                  <a:lnTo>
                    <a:pt x="5114" y="235662"/>
                  </a:lnTo>
                  <a:lnTo>
                    <a:pt x="4327" y="238417"/>
                  </a:lnTo>
                  <a:lnTo>
                    <a:pt x="7081" y="237236"/>
                  </a:lnTo>
                  <a:lnTo>
                    <a:pt x="10229" y="237236"/>
                  </a:lnTo>
                  <a:lnTo>
                    <a:pt x="12196" y="236056"/>
                  </a:lnTo>
                  <a:lnTo>
                    <a:pt x="12196" y="239203"/>
                  </a:lnTo>
                  <a:lnTo>
                    <a:pt x="10229" y="242351"/>
                  </a:lnTo>
                  <a:lnTo>
                    <a:pt x="12982" y="243531"/>
                  </a:lnTo>
                  <a:lnTo>
                    <a:pt x="16524" y="242351"/>
                  </a:lnTo>
                  <a:lnTo>
                    <a:pt x="19278" y="241170"/>
                  </a:lnTo>
                  <a:lnTo>
                    <a:pt x="22425" y="239596"/>
                  </a:lnTo>
                  <a:lnTo>
                    <a:pt x="25966" y="238023"/>
                  </a:lnTo>
                  <a:lnTo>
                    <a:pt x="29113" y="236843"/>
                  </a:lnTo>
                  <a:lnTo>
                    <a:pt x="32261" y="235269"/>
                  </a:lnTo>
                  <a:lnTo>
                    <a:pt x="35015" y="233302"/>
                  </a:lnTo>
                  <a:lnTo>
                    <a:pt x="38555" y="232122"/>
                  </a:lnTo>
                  <a:lnTo>
                    <a:pt x="41703" y="228974"/>
                  </a:lnTo>
                  <a:lnTo>
                    <a:pt x="45244" y="226614"/>
                  </a:lnTo>
                  <a:lnTo>
                    <a:pt x="48391" y="223859"/>
                  </a:lnTo>
                  <a:lnTo>
                    <a:pt x="51932" y="221892"/>
                  </a:lnTo>
                  <a:lnTo>
                    <a:pt x="55473" y="218745"/>
                  </a:lnTo>
                  <a:lnTo>
                    <a:pt x="59014" y="215991"/>
                  </a:lnTo>
                  <a:lnTo>
                    <a:pt x="62161" y="213630"/>
                  </a:lnTo>
                  <a:lnTo>
                    <a:pt x="70817" y="207729"/>
                  </a:lnTo>
                  <a:lnTo>
                    <a:pt x="73963" y="206942"/>
                  </a:lnTo>
                  <a:lnTo>
                    <a:pt x="76718" y="203795"/>
                  </a:lnTo>
                  <a:lnTo>
                    <a:pt x="77505" y="202615"/>
                  </a:lnTo>
                  <a:lnTo>
                    <a:pt x="83012" y="198287"/>
                  </a:lnTo>
                  <a:lnTo>
                    <a:pt x="85766" y="197500"/>
                  </a:lnTo>
                  <a:lnTo>
                    <a:pt x="88914" y="195140"/>
                  </a:lnTo>
                  <a:lnTo>
                    <a:pt x="91668" y="192386"/>
                  </a:lnTo>
                  <a:lnTo>
                    <a:pt x="93635" y="190418"/>
                  </a:lnTo>
                  <a:lnTo>
                    <a:pt x="94815" y="188845"/>
                  </a:lnTo>
                  <a:lnTo>
                    <a:pt x="97963" y="186484"/>
                  </a:lnTo>
                  <a:lnTo>
                    <a:pt x="101503" y="183337"/>
                  </a:lnTo>
                  <a:lnTo>
                    <a:pt x="104258" y="180583"/>
                  </a:lnTo>
                  <a:lnTo>
                    <a:pt x="107012" y="177829"/>
                  </a:lnTo>
                  <a:lnTo>
                    <a:pt x="104258" y="176255"/>
                  </a:lnTo>
                  <a:lnTo>
                    <a:pt x="104651" y="174681"/>
                  </a:lnTo>
                  <a:lnTo>
                    <a:pt x="121962" y="160125"/>
                  </a:lnTo>
                  <a:lnTo>
                    <a:pt x="129831" y="158157"/>
                  </a:lnTo>
                  <a:lnTo>
                    <a:pt x="132585" y="158157"/>
                  </a:lnTo>
                  <a:lnTo>
                    <a:pt x="135732" y="157764"/>
                  </a:lnTo>
                  <a:lnTo>
                    <a:pt x="138879" y="158157"/>
                  </a:lnTo>
                  <a:lnTo>
                    <a:pt x="138879" y="160911"/>
                  </a:lnTo>
                  <a:lnTo>
                    <a:pt x="138092" y="164452"/>
                  </a:lnTo>
                  <a:lnTo>
                    <a:pt x="141240" y="162092"/>
                  </a:lnTo>
                  <a:lnTo>
                    <a:pt x="143994" y="159338"/>
                  </a:lnTo>
                  <a:lnTo>
                    <a:pt x="143601" y="156190"/>
                  </a:lnTo>
                  <a:lnTo>
                    <a:pt x="144387" y="155403"/>
                  </a:lnTo>
                  <a:lnTo>
                    <a:pt x="147141" y="152256"/>
                  </a:lnTo>
                  <a:lnTo>
                    <a:pt x="149895" y="149109"/>
                  </a:lnTo>
                  <a:lnTo>
                    <a:pt x="151862" y="145961"/>
                  </a:lnTo>
                  <a:lnTo>
                    <a:pt x="152256" y="145961"/>
                  </a:lnTo>
                  <a:lnTo>
                    <a:pt x="155403" y="145961"/>
                  </a:lnTo>
                  <a:lnTo>
                    <a:pt x="158944" y="143994"/>
                  </a:lnTo>
                  <a:lnTo>
                    <a:pt x="162092" y="142027"/>
                  </a:lnTo>
                  <a:lnTo>
                    <a:pt x="165239" y="140453"/>
                  </a:lnTo>
                  <a:lnTo>
                    <a:pt x="168386" y="136912"/>
                  </a:lnTo>
                  <a:lnTo>
                    <a:pt x="170353" y="133765"/>
                  </a:lnTo>
                  <a:lnTo>
                    <a:pt x="172714" y="131011"/>
                  </a:lnTo>
                  <a:lnTo>
                    <a:pt x="175075" y="128257"/>
                  </a:lnTo>
                  <a:lnTo>
                    <a:pt x="178221" y="125110"/>
                  </a:lnTo>
                  <a:lnTo>
                    <a:pt x="179796" y="121962"/>
                  </a:lnTo>
                  <a:lnTo>
                    <a:pt x="182549" y="118815"/>
                  </a:lnTo>
                  <a:lnTo>
                    <a:pt x="184123" y="115667"/>
                  </a:lnTo>
                  <a:lnTo>
                    <a:pt x="186090" y="114881"/>
                  </a:lnTo>
                  <a:lnTo>
                    <a:pt x="189238" y="113307"/>
                  </a:lnTo>
                  <a:lnTo>
                    <a:pt x="189631" y="11015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42" name="Freeform: Shape 4236">
              <a:extLst>
                <a:ext uri="{FF2B5EF4-FFF2-40B4-BE49-F238E27FC236}">
                  <a16:creationId xmlns:a16="http://schemas.microsoft.com/office/drawing/2014/main" id="{433602F4-81A1-4767-B02E-0BE717E7CE73}"/>
                </a:ext>
              </a:extLst>
            </p:cNvPr>
            <p:cNvSpPr/>
            <p:nvPr/>
          </p:nvSpPr>
          <p:spPr>
            <a:xfrm>
              <a:off x="10160882" y="5097169"/>
              <a:ext cx="7869" cy="3934"/>
            </a:xfrm>
            <a:custGeom>
              <a:avLst/>
              <a:gdLst>
                <a:gd name="connsiteX0" fmla="*/ 5901 w 7868"/>
                <a:gd name="connsiteY0" fmla="*/ 787 h 3934"/>
                <a:gd name="connsiteX1" fmla="*/ 2754 w 7868"/>
                <a:gd name="connsiteY1" fmla="*/ 1180 h 3934"/>
                <a:gd name="connsiteX2" fmla="*/ 0 w 7868"/>
                <a:gd name="connsiteY2" fmla="*/ 1967 h 3934"/>
                <a:gd name="connsiteX3" fmla="*/ 0 w 7868"/>
                <a:gd name="connsiteY3" fmla="*/ 5114 h 3934"/>
                <a:gd name="connsiteX4" fmla="*/ 3148 w 7868"/>
                <a:gd name="connsiteY4" fmla="*/ 4328 h 3934"/>
                <a:gd name="connsiteX5" fmla="*/ 5901 w 7868"/>
                <a:gd name="connsiteY5" fmla="*/ 6295 h 3934"/>
                <a:gd name="connsiteX6" fmla="*/ 8262 w 7868"/>
                <a:gd name="connsiteY6" fmla="*/ 5902 h 3934"/>
                <a:gd name="connsiteX7" fmla="*/ 10622 w 7868"/>
                <a:gd name="connsiteY7" fmla="*/ 3147 h 3934"/>
                <a:gd name="connsiteX8" fmla="*/ 8655 w 7868"/>
                <a:gd name="connsiteY8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5901" y="787"/>
                  </a:moveTo>
                  <a:lnTo>
                    <a:pt x="2754" y="1180"/>
                  </a:lnTo>
                  <a:lnTo>
                    <a:pt x="0" y="1967"/>
                  </a:lnTo>
                  <a:lnTo>
                    <a:pt x="0" y="5114"/>
                  </a:lnTo>
                  <a:lnTo>
                    <a:pt x="3148" y="4328"/>
                  </a:lnTo>
                  <a:lnTo>
                    <a:pt x="5901" y="6295"/>
                  </a:lnTo>
                  <a:lnTo>
                    <a:pt x="8262" y="5902"/>
                  </a:lnTo>
                  <a:lnTo>
                    <a:pt x="10622" y="3147"/>
                  </a:lnTo>
                  <a:lnTo>
                    <a:pt x="865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43" name="Freeform: Shape 4237">
              <a:extLst>
                <a:ext uri="{FF2B5EF4-FFF2-40B4-BE49-F238E27FC236}">
                  <a16:creationId xmlns:a16="http://schemas.microsoft.com/office/drawing/2014/main" id="{3448A751-2287-41DB-9AC3-255AAA210A7E}"/>
                </a:ext>
              </a:extLst>
            </p:cNvPr>
            <p:cNvSpPr/>
            <p:nvPr/>
          </p:nvSpPr>
          <p:spPr>
            <a:xfrm>
              <a:off x="10051116" y="5072777"/>
              <a:ext cx="11803" cy="15737"/>
            </a:xfrm>
            <a:custGeom>
              <a:avLst/>
              <a:gdLst>
                <a:gd name="connsiteX0" fmla="*/ 5901 w 11802"/>
                <a:gd name="connsiteY0" fmla="*/ 15737 h 15737"/>
                <a:gd name="connsiteX1" fmla="*/ 8655 w 11802"/>
                <a:gd name="connsiteY1" fmla="*/ 13770 h 15737"/>
                <a:gd name="connsiteX2" fmla="*/ 9836 w 11802"/>
                <a:gd name="connsiteY2" fmla="*/ 12196 h 15737"/>
                <a:gd name="connsiteX3" fmla="*/ 10622 w 11802"/>
                <a:gd name="connsiteY3" fmla="*/ 9442 h 15737"/>
                <a:gd name="connsiteX4" fmla="*/ 12196 w 11802"/>
                <a:gd name="connsiteY4" fmla="*/ 6688 h 15737"/>
                <a:gd name="connsiteX5" fmla="*/ 13770 w 11802"/>
                <a:gd name="connsiteY5" fmla="*/ 3541 h 15737"/>
                <a:gd name="connsiteX6" fmla="*/ 13770 w 11802"/>
                <a:gd name="connsiteY6" fmla="*/ 787 h 15737"/>
                <a:gd name="connsiteX7" fmla="*/ 11016 w 11802"/>
                <a:gd name="connsiteY7" fmla="*/ 0 h 15737"/>
                <a:gd name="connsiteX8" fmla="*/ 9049 w 11802"/>
                <a:gd name="connsiteY8" fmla="*/ 2754 h 15737"/>
                <a:gd name="connsiteX9" fmla="*/ 6294 w 11802"/>
                <a:gd name="connsiteY9" fmla="*/ 5115 h 15737"/>
                <a:gd name="connsiteX10" fmla="*/ 4721 w 11802"/>
                <a:gd name="connsiteY10" fmla="*/ 8262 h 15737"/>
                <a:gd name="connsiteX11" fmla="*/ 2360 w 11802"/>
                <a:gd name="connsiteY11" fmla="*/ 11016 h 15737"/>
                <a:gd name="connsiteX12" fmla="*/ 2360 w 11802"/>
                <a:gd name="connsiteY12" fmla="*/ 13770 h 15737"/>
                <a:gd name="connsiteX13" fmla="*/ 1573 w 11802"/>
                <a:gd name="connsiteY13" fmla="*/ 14950 h 15737"/>
                <a:gd name="connsiteX14" fmla="*/ 0 w 11802"/>
                <a:gd name="connsiteY14" fmla="*/ 18098 h 15737"/>
                <a:gd name="connsiteX15" fmla="*/ 3148 w 11802"/>
                <a:gd name="connsiteY15" fmla="*/ 17311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802" h="15737">
                  <a:moveTo>
                    <a:pt x="5901" y="15737"/>
                  </a:moveTo>
                  <a:lnTo>
                    <a:pt x="8655" y="13770"/>
                  </a:lnTo>
                  <a:lnTo>
                    <a:pt x="9836" y="12196"/>
                  </a:lnTo>
                  <a:lnTo>
                    <a:pt x="10622" y="9442"/>
                  </a:lnTo>
                  <a:lnTo>
                    <a:pt x="12196" y="6688"/>
                  </a:lnTo>
                  <a:lnTo>
                    <a:pt x="13770" y="3541"/>
                  </a:lnTo>
                  <a:lnTo>
                    <a:pt x="13770" y="787"/>
                  </a:lnTo>
                  <a:lnTo>
                    <a:pt x="11016" y="0"/>
                  </a:lnTo>
                  <a:lnTo>
                    <a:pt x="9049" y="2754"/>
                  </a:lnTo>
                  <a:lnTo>
                    <a:pt x="6294" y="5115"/>
                  </a:lnTo>
                  <a:lnTo>
                    <a:pt x="4721" y="8262"/>
                  </a:lnTo>
                  <a:lnTo>
                    <a:pt x="2360" y="11016"/>
                  </a:lnTo>
                  <a:lnTo>
                    <a:pt x="2360" y="13770"/>
                  </a:lnTo>
                  <a:lnTo>
                    <a:pt x="1573" y="14950"/>
                  </a:lnTo>
                  <a:lnTo>
                    <a:pt x="0" y="18098"/>
                  </a:lnTo>
                  <a:lnTo>
                    <a:pt x="3148" y="1731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44" name="Freeform: Shape 4238">
              <a:extLst>
                <a:ext uri="{FF2B5EF4-FFF2-40B4-BE49-F238E27FC236}">
                  <a16:creationId xmlns:a16="http://schemas.microsoft.com/office/drawing/2014/main" id="{BD4AE2CB-DD11-45AF-9FA8-BC04DDB48B9F}"/>
                </a:ext>
              </a:extLst>
            </p:cNvPr>
            <p:cNvSpPr/>
            <p:nvPr/>
          </p:nvSpPr>
          <p:spPr>
            <a:xfrm>
              <a:off x="10985504" y="4975994"/>
              <a:ext cx="3934" cy="3934"/>
            </a:xfrm>
            <a:custGeom>
              <a:avLst/>
              <a:gdLst>
                <a:gd name="connsiteX0" fmla="*/ 0 w 3934"/>
                <a:gd name="connsiteY0" fmla="*/ 1967 h 0"/>
                <a:gd name="connsiteX1" fmla="*/ 3148 w 3934"/>
                <a:gd name="connsiteY1" fmla="*/ 2754 h 0"/>
                <a:gd name="connsiteX2" fmla="*/ 5115 w 3934"/>
                <a:gd name="connsiteY2" fmla="*/ 0 h 0"/>
                <a:gd name="connsiteX3" fmla="*/ 3148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967"/>
                  </a:moveTo>
                  <a:lnTo>
                    <a:pt x="3148" y="2754"/>
                  </a:lnTo>
                  <a:lnTo>
                    <a:pt x="5115" y="0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45" name="Freeform: Shape 4239">
              <a:extLst>
                <a:ext uri="{FF2B5EF4-FFF2-40B4-BE49-F238E27FC236}">
                  <a16:creationId xmlns:a16="http://schemas.microsoft.com/office/drawing/2014/main" id="{868C8FDF-AA76-4683-9C27-F2DCF1BA8FA7}"/>
                </a:ext>
              </a:extLst>
            </p:cNvPr>
            <p:cNvSpPr/>
            <p:nvPr/>
          </p:nvSpPr>
          <p:spPr>
            <a:xfrm>
              <a:off x="11005175" y="4952389"/>
              <a:ext cx="3934" cy="7869"/>
            </a:xfrm>
            <a:custGeom>
              <a:avLst/>
              <a:gdLst>
                <a:gd name="connsiteX0" fmla="*/ 4721 w 3934"/>
                <a:gd name="connsiteY0" fmla="*/ 9049 h 7868"/>
                <a:gd name="connsiteX1" fmla="*/ 4721 w 3934"/>
                <a:gd name="connsiteY1" fmla="*/ 3147 h 7868"/>
                <a:gd name="connsiteX2" fmla="*/ 5508 w 3934"/>
                <a:gd name="connsiteY2" fmla="*/ 0 h 7868"/>
                <a:gd name="connsiteX3" fmla="*/ 4327 w 3934"/>
                <a:gd name="connsiteY3" fmla="*/ 787 h 7868"/>
                <a:gd name="connsiteX4" fmla="*/ 1573 w 3934"/>
                <a:gd name="connsiteY4" fmla="*/ 3147 h 7868"/>
                <a:gd name="connsiteX5" fmla="*/ 0 w 3934"/>
                <a:gd name="connsiteY5" fmla="*/ 6295 h 7868"/>
                <a:gd name="connsiteX6" fmla="*/ 1967 w 3934"/>
                <a:gd name="connsiteY6" fmla="*/ 944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4721" y="9049"/>
                  </a:moveTo>
                  <a:lnTo>
                    <a:pt x="4721" y="3147"/>
                  </a:lnTo>
                  <a:lnTo>
                    <a:pt x="5508" y="0"/>
                  </a:lnTo>
                  <a:lnTo>
                    <a:pt x="4327" y="787"/>
                  </a:lnTo>
                  <a:lnTo>
                    <a:pt x="1573" y="3147"/>
                  </a:lnTo>
                  <a:lnTo>
                    <a:pt x="0" y="6295"/>
                  </a:lnTo>
                  <a:lnTo>
                    <a:pt x="1967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46" name="Freeform: Shape 4240">
              <a:extLst>
                <a:ext uri="{FF2B5EF4-FFF2-40B4-BE49-F238E27FC236}">
                  <a16:creationId xmlns:a16="http://schemas.microsoft.com/office/drawing/2014/main" id="{7DDCE74B-326C-4F5B-9F13-6B4298EACFB9}"/>
                </a:ext>
              </a:extLst>
            </p:cNvPr>
            <p:cNvSpPr/>
            <p:nvPr/>
          </p:nvSpPr>
          <p:spPr>
            <a:xfrm>
              <a:off x="10039313" y="5108579"/>
              <a:ext cx="114094" cy="98357"/>
            </a:xfrm>
            <a:custGeom>
              <a:avLst/>
              <a:gdLst>
                <a:gd name="connsiteX0" fmla="*/ 112127 w 114093"/>
                <a:gd name="connsiteY0" fmla="*/ 3541 h 98356"/>
                <a:gd name="connsiteX1" fmla="*/ 109373 w 114093"/>
                <a:gd name="connsiteY1" fmla="*/ 6295 h 98356"/>
                <a:gd name="connsiteX2" fmla="*/ 106618 w 114093"/>
                <a:gd name="connsiteY2" fmla="*/ 7869 h 98356"/>
                <a:gd name="connsiteX3" fmla="*/ 103471 w 114093"/>
                <a:gd name="connsiteY3" fmla="*/ 7475 h 98356"/>
                <a:gd name="connsiteX4" fmla="*/ 100717 w 114093"/>
                <a:gd name="connsiteY4" fmla="*/ 6689 h 98356"/>
                <a:gd name="connsiteX5" fmla="*/ 97963 w 114093"/>
                <a:gd name="connsiteY5" fmla="*/ 9049 h 98356"/>
                <a:gd name="connsiteX6" fmla="*/ 94815 w 114093"/>
                <a:gd name="connsiteY6" fmla="*/ 11016 h 98356"/>
                <a:gd name="connsiteX7" fmla="*/ 91669 w 114093"/>
                <a:gd name="connsiteY7" fmla="*/ 12590 h 98356"/>
                <a:gd name="connsiteX8" fmla="*/ 88914 w 114093"/>
                <a:gd name="connsiteY8" fmla="*/ 10229 h 98356"/>
                <a:gd name="connsiteX9" fmla="*/ 86160 w 114093"/>
                <a:gd name="connsiteY9" fmla="*/ 11803 h 98356"/>
                <a:gd name="connsiteX10" fmla="*/ 83012 w 114093"/>
                <a:gd name="connsiteY10" fmla="*/ 11803 h 98356"/>
                <a:gd name="connsiteX11" fmla="*/ 80259 w 114093"/>
                <a:gd name="connsiteY11" fmla="*/ 11803 h 98356"/>
                <a:gd name="connsiteX12" fmla="*/ 77505 w 114093"/>
                <a:gd name="connsiteY12" fmla="*/ 12590 h 98356"/>
                <a:gd name="connsiteX13" fmla="*/ 74751 w 114093"/>
                <a:gd name="connsiteY13" fmla="*/ 13770 h 98356"/>
                <a:gd name="connsiteX14" fmla="*/ 75538 w 114093"/>
                <a:gd name="connsiteY14" fmla="*/ 16524 h 98356"/>
                <a:gd name="connsiteX15" fmla="*/ 75931 w 114093"/>
                <a:gd name="connsiteY15" fmla="*/ 17311 h 98356"/>
                <a:gd name="connsiteX16" fmla="*/ 72784 w 114093"/>
                <a:gd name="connsiteY16" fmla="*/ 17311 h 98356"/>
                <a:gd name="connsiteX17" fmla="*/ 73177 w 114093"/>
                <a:gd name="connsiteY17" fmla="*/ 14557 h 98356"/>
                <a:gd name="connsiteX18" fmla="*/ 70030 w 114093"/>
                <a:gd name="connsiteY18" fmla="*/ 14950 h 98356"/>
                <a:gd name="connsiteX19" fmla="*/ 67275 w 114093"/>
                <a:gd name="connsiteY19" fmla="*/ 16524 h 98356"/>
                <a:gd name="connsiteX20" fmla="*/ 64129 w 114093"/>
                <a:gd name="connsiteY20" fmla="*/ 16918 h 98356"/>
                <a:gd name="connsiteX21" fmla="*/ 62948 w 114093"/>
                <a:gd name="connsiteY21" fmla="*/ 17311 h 98356"/>
                <a:gd name="connsiteX22" fmla="*/ 59407 w 114093"/>
                <a:gd name="connsiteY22" fmla="*/ 17704 h 98356"/>
                <a:gd name="connsiteX23" fmla="*/ 57047 w 114093"/>
                <a:gd name="connsiteY23" fmla="*/ 17311 h 98356"/>
                <a:gd name="connsiteX24" fmla="*/ 54293 w 114093"/>
                <a:gd name="connsiteY24" fmla="*/ 16131 h 98356"/>
                <a:gd name="connsiteX25" fmla="*/ 51538 w 114093"/>
                <a:gd name="connsiteY25" fmla="*/ 13770 h 98356"/>
                <a:gd name="connsiteX26" fmla="*/ 48392 w 114093"/>
                <a:gd name="connsiteY26" fmla="*/ 12983 h 98356"/>
                <a:gd name="connsiteX27" fmla="*/ 46817 w 114093"/>
                <a:gd name="connsiteY27" fmla="*/ 10229 h 98356"/>
                <a:gd name="connsiteX28" fmla="*/ 43670 w 114093"/>
                <a:gd name="connsiteY28" fmla="*/ 9049 h 98356"/>
                <a:gd name="connsiteX29" fmla="*/ 40916 w 114093"/>
                <a:gd name="connsiteY29" fmla="*/ 7475 h 98356"/>
                <a:gd name="connsiteX30" fmla="*/ 38162 w 114093"/>
                <a:gd name="connsiteY30" fmla="*/ 6689 h 98356"/>
                <a:gd name="connsiteX31" fmla="*/ 38556 w 114093"/>
                <a:gd name="connsiteY31" fmla="*/ 3934 h 98356"/>
                <a:gd name="connsiteX32" fmla="*/ 35801 w 114093"/>
                <a:gd name="connsiteY32" fmla="*/ 4721 h 98356"/>
                <a:gd name="connsiteX33" fmla="*/ 32655 w 114093"/>
                <a:gd name="connsiteY33" fmla="*/ 5901 h 98356"/>
                <a:gd name="connsiteX34" fmla="*/ 29900 w 114093"/>
                <a:gd name="connsiteY34" fmla="*/ 3541 h 98356"/>
                <a:gd name="connsiteX35" fmla="*/ 26753 w 114093"/>
                <a:gd name="connsiteY35" fmla="*/ 3148 h 98356"/>
                <a:gd name="connsiteX36" fmla="*/ 24786 w 114093"/>
                <a:gd name="connsiteY36" fmla="*/ 0 h 98356"/>
                <a:gd name="connsiteX37" fmla="*/ 22031 w 114093"/>
                <a:gd name="connsiteY37" fmla="*/ 3148 h 98356"/>
                <a:gd name="connsiteX38" fmla="*/ 20852 w 114093"/>
                <a:gd name="connsiteY38" fmla="*/ 6295 h 98356"/>
                <a:gd name="connsiteX39" fmla="*/ 18097 w 114093"/>
                <a:gd name="connsiteY39" fmla="*/ 8656 h 98356"/>
                <a:gd name="connsiteX40" fmla="*/ 15737 w 114093"/>
                <a:gd name="connsiteY40" fmla="*/ 11409 h 98356"/>
                <a:gd name="connsiteX41" fmla="*/ 14950 w 114093"/>
                <a:gd name="connsiteY41" fmla="*/ 14557 h 98356"/>
                <a:gd name="connsiteX42" fmla="*/ 13770 w 114093"/>
                <a:gd name="connsiteY42" fmla="*/ 17311 h 98356"/>
                <a:gd name="connsiteX43" fmla="*/ 12589 w 114093"/>
                <a:gd name="connsiteY43" fmla="*/ 20065 h 98356"/>
                <a:gd name="connsiteX44" fmla="*/ 12589 w 114093"/>
                <a:gd name="connsiteY44" fmla="*/ 23212 h 98356"/>
                <a:gd name="connsiteX45" fmla="*/ 10622 w 114093"/>
                <a:gd name="connsiteY45" fmla="*/ 25967 h 98356"/>
                <a:gd name="connsiteX46" fmla="*/ 11016 w 114093"/>
                <a:gd name="connsiteY46" fmla="*/ 29114 h 98356"/>
                <a:gd name="connsiteX47" fmla="*/ 10622 w 114093"/>
                <a:gd name="connsiteY47" fmla="*/ 31868 h 98356"/>
                <a:gd name="connsiteX48" fmla="*/ 9836 w 114093"/>
                <a:gd name="connsiteY48" fmla="*/ 34622 h 98356"/>
                <a:gd name="connsiteX49" fmla="*/ 10229 w 114093"/>
                <a:gd name="connsiteY49" fmla="*/ 37376 h 98356"/>
                <a:gd name="connsiteX50" fmla="*/ 10229 w 114093"/>
                <a:gd name="connsiteY50" fmla="*/ 40523 h 98356"/>
                <a:gd name="connsiteX51" fmla="*/ 11803 w 114093"/>
                <a:gd name="connsiteY51" fmla="*/ 43671 h 98356"/>
                <a:gd name="connsiteX52" fmla="*/ 11803 w 114093"/>
                <a:gd name="connsiteY52" fmla="*/ 46424 h 98356"/>
                <a:gd name="connsiteX53" fmla="*/ 10622 w 114093"/>
                <a:gd name="connsiteY53" fmla="*/ 49572 h 98356"/>
                <a:gd name="connsiteX54" fmla="*/ 7869 w 114093"/>
                <a:gd name="connsiteY54" fmla="*/ 52326 h 98356"/>
                <a:gd name="connsiteX55" fmla="*/ 11016 w 114093"/>
                <a:gd name="connsiteY55" fmla="*/ 50752 h 98356"/>
                <a:gd name="connsiteX56" fmla="*/ 11016 w 114093"/>
                <a:gd name="connsiteY56" fmla="*/ 53900 h 98356"/>
                <a:gd name="connsiteX57" fmla="*/ 11409 w 114093"/>
                <a:gd name="connsiteY57" fmla="*/ 56653 h 98356"/>
                <a:gd name="connsiteX58" fmla="*/ 11409 w 114093"/>
                <a:gd name="connsiteY58" fmla="*/ 59408 h 98356"/>
                <a:gd name="connsiteX59" fmla="*/ 8655 w 114093"/>
                <a:gd name="connsiteY59" fmla="*/ 62555 h 98356"/>
                <a:gd name="connsiteX60" fmla="*/ 9049 w 114093"/>
                <a:gd name="connsiteY60" fmla="*/ 59408 h 98356"/>
                <a:gd name="connsiteX61" fmla="*/ 8655 w 114093"/>
                <a:gd name="connsiteY61" fmla="*/ 56653 h 98356"/>
                <a:gd name="connsiteX62" fmla="*/ 7082 w 114093"/>
                <a:gd name="connsiteY62" fmla="*/ 53900 h 98356"/>
                <a:gd name="connsiteX63" fmla="*/ 4721 w 114093"/>
                <a:gd name="connsiteY63" fmla="*/ 56653 h 98356"/>
                <a:gd name="connsiteX64" fmla="*/ 3540 w 114093"/>
                <a:gd name="connsiteY64" fmla="*/ 59801 h 98356"/>
                <a:gd name="connsiteX65" fmla="*/ 787 w 114093"/>
                <a:gd name="connsiteY65" fmla="*/ 65702 h 98356"/>
                <a:gd name="connsiteX66" fmla="*/ 1573 w 114093"/>
                <a:gd name="connsiteY66" fmla="*/ 68456 h 98356"/>
                <a:gd name="connsiteX67" fmla="*/ 0 w 114093"/>
                <a:gd name="connsiteY67" fmla="*/ 71211 h 98356"/>
                <a:gd name="connsiteX68" fmla="*/ 0 w 114093"/>
                <a:gd name="connsiteY68" fmla="*/ 73964 h 98356"/>
                <a:gd name="connsiteX69" fmla="*/ 0 w 114093"/>
                <a:gd name="connsiteY69" fmla="*/ 77112 h 98356"/>
                <a:gd name="connsiteX70" fmla="*/ 1967 w 114093"/>
                <a:gd name="connsiteY70" fmla="*/ 79866 h 98356"/>
                <a:gd name="connsiteX71" fmla="*/ 1180 w 114093"/>
                <a:gd name="connsiteY71" fmla="*/ 82620 h 98356"/>
                <a:gd name="connsiteX72" fmla="*/ 1967 w 114093"/>
                <a:gd name="connsiteY72" fmla="*/ 85767 h 98356"/>
                <a:gd name="connsiteX73" fmla="*/ 1967 w 114093"/>
                <a:gd name="connsiteY73" fmla="*/ 88521 h 98356"/>
                <a:gd name="connsiteX74" fmla="*/ 4721 w 114093"/>
                <a:gd name="connsiteY74" fmla="*/ 87734 h 98356"/>
                <a:gd name="connsiteX75" fmla="*/ 7475 w 114093"/>
                <a:gd name="connsiteY75" fmla="*/ 88915 h 98356"/>
                <a:gd name="connsiteX76" fmla="*/ 10622 w 114093"/>
                <a:gd name="connsiteY76" fmla="*/ 88915 h 98356"/>
                <a:gd name="connsiteX77" fmla="*/ 11016 w 114093"/>
                <a:gd name="connsiteY77" fmla="*/ 91669 h 98356"/>
                <a:gd name="connsiteX78" fmla="*/ 7869 w 114093"/>
                <a:gd name="connsiteY78" fmla="*/ 93242 h 98356"/>
                <a:gd name="connsiteX79" fmla="*/ 4721 w 114093"/>
                <a:gd name="connsiteY79" fmla="*/ 90882 h 98356"/>
                <a:gd name="connsiteX80" fmla="*/ 3148 w 114093"/>
                <a:gd name="connsiteY80" fmla="*/ 94029 h 98356"/>
                <a:gd name="connsiteX81" fmla="*/ 1967 w 114093"/>
                <a:gd name="connsiteY81" fmla="*/ 96783 h 98356"/>
                <a:gd name="connsiteX82" fmla="*/ 4721 w 114093"/>
                <a:gd name="connsiteY82" fmla="*/ 96389 h 98356"/>
                <a:gd name="connsiteX83" fmla="*/ 7869 w 114093"/>
                <a:gd name="connsiteY83" fmla="*/ 95996 h 98356"/>
                <a:gd name="connsiteX84" fmla="*/ 10622 w 114093"/>
                <a:gd name="connsiteY84" fmla="*/ 96389 h 98356"/>
                <a:gd name="connsiteX85" fmla="*/ 13770 w 114093"/>
                <a:gd name="connsiteY85" fmla="*/ 97570 h 98356"/>
                <a:gd name="connsiteX86" fmla="*/ 16524 w 114093"/>
                <a:gd name="connsiteY86" fmla="*/ 95996 h 98356"/>
                <a:gd name="connsiteX87" fmla="*/ 17310 w 114093"/>
                <a:gd name="connsiteY87" fmla="*/ 98750 h 98356"/>
                <a:gd name="connsiteX88" fmla="*/ 20458 w 114093"/>
                <a:gd name="connsiteY88" fmla="*/ 99930 h 98356"/>
                <a:gd name="connsiteX89" fmla="*/ 23212 w 114093"/>
                <a:gd name="connsiteY89" fmla="*/ 100324 h 98356"/>
                <a:gd name="connsiteX90" fmla="*/ 25179 w 114093"/>
                <a:gd name="connsiteY90" fmla="*/ 97570 h 98356"/>
                <a:gd name="connsiteX91" fmla="*/ 27933 w 114093"/>
                <a:gd name="connsiteY91" fmla="*/ 95209 h 98356"/>
                <a:gd name="connsiteX92" fmla="*/ 31080 w 114093"/>
                <a:gd name="connsiteY92" fmla="*/ 92849 h 98356"/>
                <a:gd name="connsiteX93" fmla="*/ 32261 w 114093"/>
                <a:gd name="connsiteY93" fmla="*/ 90095 h 98356"/>
                <a:gd name="connsiteX94" fmla="*/ 35408 w 114093"/>
                <a:gd name="connsiteY94" fmla="*/ 89701 h 98356"/>
                <a:gd name="connsiteX95" fmla="*/ 34622 w 114093"/>
                <a:gd name="connsiteY95" fmla="*/ 86948 h 98356"/>
                <a:gd name="connsiteX96" fmla="*/ 35801 w 114093"/>
                <a:gd name="connsiteY96" fmla="*/ 83800 h 98356"/>
                <a:gd name="connsiteX97" fmla="*/ 38556 w 114093"/>
                <a:gd name="connsiteY97" fmla="*/ 84980 h 98356"/>
                <a:gd name="connsiteX98" fmla="*/ 38162 w 114093"/>
                <a:gd name="connsiteY98" fmla="*/ 87734 h 98356"/>
                <a:gd name="connsiteX99" fmla="*/ 41310 w 114093"/>
                <a:gd name="connsiteY99" fmla="*/ 87734 h 98356"/>
                <a:gd name="connsiteX100" fmla="*/ 42490 w 114093"/>
                <a:gd name="connsiteY100" fmla="*/ 84587 h 98356"/>
                <a:gd name="connsiteX101" fmla="*/ 45244 w 114093"/>
                <a:gd name="connsiteY101" fmla="*/ 82620 h 98356"/>
                <a:gd name="connsiteX102" fmla="*/ 48392 w 114093"/>
                <a:gd name="connsiteY102" fmla="*/ 79472 h 98356"/>
                <a:gd name="connsiteX103" fmla="*/ 51145 w 114093"/>
                <a:gd name="connsiteY103" fmla="*/ 76718 h 98356"/>
                <a:gd name="connsiteX104" fmla="*/ 51538 w 114093"/>
                <a:gd name="connsiteY104" fmla="*/ 73571 h 98356"/>
                <a:gd name="connsiteX105" fmla="*/ 51932 w 114093"/>
                <a:gd name="connsiteY105" fmla="*/ 71604 h 98356"/>
                <a:gd name="connsiteX106" fmla="*/ 52326 w 114093"/>
                <a:gd name="connsiteY106" fmla="*/ 74751 h 98356"/>
                <a:gd name="connsiteX107" fmla="*/ 53113 w 114093"/>
                <a:gd name="connsiteY107" fmla="*/ 77505 h 98356"/>
                <a:gd name="connsiteX108" fmla="*/ 50359 w 114093"/>
                <a:gd name="connsiteY108" fmla="*/ 79866 h 98356"/>
                <a:gd name="connsiteX109" fmla="*/ 53113 w 114093"/>
                <a:gd name="connsiteY109" fmla="*/ 79866 h 98356"/>
                <a:gd name="connsiteX110" fmla="*/ 55473 w 114093"/>
                <a:gd name="connsiteY110" fmla="*/ 77112 h 98356"/>
                <a:gd name="connsiteX111" fmla="*/ 56653 w 114093"/>
                <a:gd name="connsiteY111" fmla="*/ 74358 h 98356"/>
                <a:gd name="connsiteX112" fmla="*/ 59407 w 114093"/>
                <a:gd name="connsiteY112" fmla="*/ 73571 h 98356"/>
                <a:gd name="connsiteX113" fmla="*/ 62554 w 114093"/>
                <a:gd name="connsiteY113" fmla="*/ 75931 h 98356"/>
                <a:gd name="connsiteX114" fmla="*/ 62948 w 114093"/>
                <a:gd name="connsiteY114" fmla="*/ 78685 h 98356"/>
                <a:gd name="connsiteX115" fmla="*/ 59801 w 114093"/>
                <a:gd name="connsiteY115" fmla="*/ 81046 h 98356"/>
                <a:gd name="connsiteX116" fmla="*/ 60587 w 114093"/>
                <a:gd name="connsiteY116" fmla="*/ 78292 h 98356"/>
                <a:gd name="connsiteX117" fmla="*/ 57440 w 114093"/>
                <a:gd name="connsiteY117" fmla="*/ 79079 h 98356"/>
                <a:gd name="connsiteX118" fmla="*/ 55473 w 114093"/>
                <a:gd name="connsiteY118" fmla="*/ 81833 h 98356"/>
                <a:gd name="connsiteX119" fmla="*/ 55080 w 114093"/>
                <a:gd name="connsiteY119" fmla="*/ 84587 h 98356"/>
                <a:gd name="connsiteX120" fmla="*/ 57833 w 114093"/>
                <a:gd name="connsiteY120" fmla="*/ 86160 h 98356"/>
                <a:gd name="connsiteX121" fmla="*/ 60587 w 114093"/>
                <a:gd name="connsiteY121" fmla="*/ 83800 h 98356"/>
                <a:gd name="connsiteX122" fmla="*/ 60587 w 114093"/>
                <a:gd name="connsiteY122" fmla="*/ 86948 h 98356"/>
                <a:gd name="connsiteX123" fmla="*/ 63341 w 114093"/>
                <a:gd name="connsiteY123" fmla="*/ 84587 h 98356"/>
                <a:gd name="connsiteX124" fmla="*/ 63735 w 114093"/>
                <a:gd name="connsiteY124" fmla="*/ 81833 h 98356"/>
                <a:gd name="connsiteX125" fmla="*/ 66489 w 114093"/>
                <a:gd name="connsiteY125" fmla="*/ 78685 h 98356"/>
                <a:gd name="connsiteX126" fmla="*/ 68456 w 114093"/>
                <a:gd name="connsiteY126" fmla="*/ 75931 h 98356"/>
                <a:gd name="connsiteX127" fmla="*/ 65702 w 114093"/>
                <a:gd name="connsiteY127" fmla="*/ 75538 h 98356"/>
                <a:gd name="connsiteX128" fmla="*/ 67669 w 114093"/>
                <a:gd name="connsiteY128" fmla="*/ 72784 h 98356"/>
                <a:gd name="connsiteX129" fmla="*/ 70817 w 114093"/>
                <a:gd name="connsiteY129" fmla="*/ 70423 h 98356"/>
                <a:gd name="connsiteX130" fmla="*/ 72784 w 114093"/>
                <a:gd name="connsiteY130" fmla="*/ 67670 h 98356"/>
                <a:gd name="connsiteX131" fmla="*/ 73571 w 114093"/>
                <a:gd name="connsiteY131" fmla="*/ 64522 h 98356"/>
                <a:gd name="connsiteX132" fmla="*/ 76324 w 114093"/>
                <a:gd name="connsiteY132" fmla="*/ 63342 h 98356"/>
                <a:gd name="connsiteX133" fmla="*/ 78685 w 114093"/>
                <a:gd name="connsiteY133" fmla="*/ 60588 h 98356"/>
                <a:gd name="connsiteX134" fmla="*/ 80652 w 114093"/>
                <a:gd name="connsiteY134" fmla="*/ 57441 h 98356"/>
                <a:gd name="connsiteX135" fmla="*/ 82620 w 114093"/>
                <a:gd name="connsiteY135" fmla="*/ 54686 h 98356"/>
                <a:gd name="connsiteX136" fmla="*/ 85373 w 114093"/>
                <a:gd name="connsiteY136" fmla="*/ 52326 h 98356"/>
                <a:gd name="connsiteX137" fmla="*/ 87734 w 114093"/>
                <a:gd name="connsiteY137" fmla="*/ 49178 h 98356"/>
                <a:gd name="connsiteX138" fmla="*/ 90488 w 114093"/>
                <a:gd name="connsiteY138" fmla="*/ 48785 h 98356"/>
                <a:gd name="connsiteX139" fmla="*/ 91669 w 114093"/>
                <a:gd name="connsiteY139" fmla="*/ 45638 h 98356"/>
                <a:gd name="connsiteX140" fmla="*/ 92848 w 114093"/>
                <a:gd name="connsiteY140" fmla="*/ 48392 h 98356"/>
                <a:gd name="connsiteX141" fmla="*/ 92061 w 114093"/>
                <a:gd name="connsiteY141" fmla="*/ 51539 h 98356"/>
                <a:gd name="connsiteX142" fmla="*/ 90488 w 114093"/>
                <a:gd name="connsiteY142" fmla="*/ 54293 h 98356"/>
                <a:gd name="connsiteX143" fmla="*/ 93242 w 114093"/>
                <a:gd name="connsiteY143" fmla="*/ 52719 h 98356"/>
                <a:gd name="connsiteX144" fmla="*/ 94815 w 114093"/>
                <a:gd name="connsiteY144" fmla="*/ 49965 h 98356"/>
                <a:gd name="connsiteX145" fmla="*/ 95209 w 114093"/>
                <a:gd name="connsiteY145" fmla="*/ 46818 h 98356"/>
                <a:gd name="connsiteX146" fmla="*/ 97176 w 114093"/>
                <a:gd name="connsiteY146" fmla="*/ 44064 h 98356"/>
                <a:gd name="connsiteX147" fmla="*/ 98357 w 114093"/>
                <a:gd name="connsiteY147" fmla="*/ 40916 h 98356"/>
                <a:gd name="connsiteX148" fmla="*/ 99930 w 114093"/>
                <a:gd name="connsiteY148" fmla="*/ 38163 h 98356"/>
                <a:gd name="connsiteX149" fmla="*/ 101897 w 114093"/>
                <a:gd name="connsiteY149" fmla="*/ 35015 h 98356"/>
                <a:gd name="connsiteX150" fmla="*/ 104651 w 114093"/>
                <a:gd name="connsiteY150" fmla="*/ 32261 h 98356"/>
                <a:gd name="connsiteX151" fmla="*/ 105438 w 114093"/>
                <a:gd name="connsiteY151" fmla="*/ 29114 h 98356"/>
                <a:gd name="connsiteX152" fmla="*/ 107406 w 114093"/>
                <a:gd name="connsiteY152" fmla="*/ 26360 h 98356"/>
                <a:gd name="connsiteX153" fmla="*/ 110159 w 114093"/>
                <a:gd name="connsiteY153" fmla="*/ 23212 h 98356"/>
                <a:gd name="connsiteX154" fmla="*/ 111733 w 114093"/>
                <a:gd name="connsiteY154" fmla="*/ 20458 h 98356"/>
                <a:gd name="connsiteX155" fmla="*/ 112127 w 114093"/>
                <a:gd name="connsiteY155" fmla="*/ 17311 h 98356"/>
                <a:gd name="connsiteX156" fmla="*/ 115274 w 114093"/>
                <a:gd name="connsiteY156" fmla="*/ 14557 h 98356"/>
                <a:gd name="connsiteX157" fmla="*/ 117634 w 114093"/>
                <a:gd name="connsiteY157" fmla="*/ 11409 h 98356"/>
                <a:gd name="connsiteX158" fmla="*/ 117634 w 114093"/>
                <a:gd name="connsiteY158" fmla="*/ 8656 h 98356"/>
                <a:gd name="connsiteX159" fmla="*/ 115274 w 114093"/>
                <a:gd name="connsiteY159" fmla="*/ 5901 h 98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</a:cxnLst>
              <a:rect l="l" t="t" r="r" b="b"/>
              <a:pathLst>
                <a:path w="114093" h="98356">
                  <a:moveTo>
                    <a:pt x="112127" y="3541"/>
                  </a:moveTo>
                  <a:lnTo>
                    <a:pt x="109373" y="6295"/>
                  </a:lnTo>
                  <a:lnTo>
                    <a:pt x="106618" y="7869"/>
                  </a:lnTo>
                  <a:lnTo>
                    <a:pt x="103471" y="7475"/>
                  </a:lnTo>
                  <a:lnTo>
                    <a:pt x="100717" y="6689"/>
                  </a:lnTo>
                  <a:lnTo>
                    <a:pt x="97963" y="9049"/>
                  </a:lnTo>
                  <a:lnTo>
                    <a:pt x="94815" y="11016"/>
                  </a:lnTo>
                  <a:lnTo>
                    <a:pt x="91669" y="12590"/>
                  </a:lnTo>
                  <a:lnTo>
                    <a:pt x="88914" y="10229"/>
                  </a:lnTo>
                  <a:lnTo>
                    <a:pt x="86160" y="11803"/>
                  </a:lnTo>
                  <a:lnTo>
                    <a:pt x="83012" y="11803"/>
                  </a:lnTo>
                  <a:lnTo>
                    <a:pt x="80259" y="11803"/>
                  </a:lnTo>
                  <a:lnTo>
                    <a:pt x="77505" y="12590"/>
                  </a:lnTo>
                  <a:lnTo>
                    <a:pt x="74751" y="13770"/>
                  </a:lnTo>
                  <a:lnTo>
                    <a:pt x="75538" y="16524"/>
                  </a:lnTo>
                  <a:lnTo>
                    <a:pt x="75931" y="17311"/>
                  </a:lnTo>
                  <a:lnTo>
                    <a:pt x="72784" y="17311"/>
                  </a:lnTo>
                  <a:lnTo>
                    <a:pt x="73177" y="14557"/>
                  </a:lnTo>
                  <a:lnTo>
                    <a:pt x="70030" y="14950"/>
                  </a:lnTo>
                  <a:lnTo>
                    <a:pt x="67275" y="16524"/>
                  </a:lnTo>
                  <a:lnTo>
                    <a:pt x="64129" y="16918"/>
                  </a:lnTo>
                  <a:lnTo>
                    <a:pt x="62948" y="17311"/>
                  </a:lnTo>
                  <a:lnTo>
                    <a:pt x="59407" y="17704"/>
                  </a:lnTo>
                  <a:lnTo>
                    <a:pt x="57047" y="17311"/>
                  </a:lnTo>
                  <a:lnTo>
                    <a:pt x="54293" y="16131"/>
                  </a:lnTo>
                  <a:lnTo>
                    <a:pt x="51538" y="13770"/>
                  </a:lnTo>
                  <a:lnTo>
                    <a:pt x="48392" y="12983"/>
                  </a:lnTo>
                  <a:lnTo>
                    <a:pt x="46817" y="10229"/>
                  </a:lnTo>
                  <a:lnTo>
                    <a:pt x="43670" y="9049"/>
                  </a:lnTo>
                  <a:lnTo>
                    <a:pt x="40916" y="7475"/>
                  </a:lnTo>
                  <a:lnTo>
                    <a:pt x="38162" y="6689"/>
                  </a:lnTo>
                  <a:lnTo>
                    <a:pt x="38556" y="3934"/>
                  </a:lnTo>
                  <a:lnTo>
                    <a:pt x="35801" y="4721"/>
                  </a:lnTo>
                  <a:lnTo>
                    <a:pt x="32655" y="5901"/>
                  </a:lnTo>
                  <a:lnTo>
                    <a:pt x="29900" y="3541"/>
                  </a:lnTo>
                  <a:lnTo>
                    <a:pt x="26753" y="3148"/>
                  </a:lnTo>
                  <a:lnTo>
                    <a:pt x="24786" y="0"/>
                  </a:lnTo>
                  <a:lnTo>
                    <a:pt x="22031" y="3148"/>
                  </a:lnTo>
                  <a:lnTo>
                    <a:pt x="20852" y="6295"/>
                  </a:lnTo>
                  <a:lnTo>
                    <a:pt x="18097" y="8656"/>
                  </a:lnTo>
                  <a:lnTo>
                    <a:pt x="15737" y="11409"/>
                  </a:lnTo>
                  <a:lnTo>
                    <a:pt x="14950" y="14557"/>
                  </a:lnTo>
                  <a:lnTo>
                    <a:pt x="13770" y="17311"/>
                  </a:lnTo>
                  <a:lnTo>
                    <a:pt x="12589" y="20065"/>
                  </a:lnTo>
                  <a:lnTo>
                    <a:pt x="12589" y="23212"/>
                  </a:lnTo>
                  <a:lnTo>
                    <a:pt x="10622" y="25967"/>
                  </a:lnTo>
                  <a:lnTo>
                    <a:pt x="11016" y="29114"/>
                  </a:lnTo>
                  <a:lnTo>
                    <a:pt x="10622" y="31868"/>
                  </a:lnTo>
                  <a:lnTo>
                    <a:pt x="9836" y="34622"/>
                  </a:lnTo>
                  <a:lnTo>
                    <a:pt x="10229" y="37376"/>
                  </a:lnTo>
                  <a:lnTo>
                    <a:pt x="10229" y="40523"/>
                  </a:lnTo>
                  <a:lnTo>
                    <a:pt x="11803" y="43671"/>
                  </a:lnTo>
                  <a:lnTo>
                    <a:pt x="11803" y="46424"/>
                  </a:lnTo>
                  <a:lnTo>
                    <a:pt x="10622" y="49572"/>
                  </a:lnTo>
                  <a:lnTo>
                    <a:pt x="7869" y="52326"/>
                  </a:lnTo>
                  <a:lnTo>
                    <a:pt x="11016" y="50752"/>
                  </a:lnTo>
                  <a:lnTo>
                    <a:pt x="11016" y="53900"/>
                  </a:lnTo>
                  <a:lnTo>
                    <a:pt x="11409" y="56653"/>
                  </a:lnTo>
                  <a:lnTo>
                    <a:pt x="11409" y="59408"/>
                  </a:lnTo>
                  <a:lnTo>
                    <a:pt x="8655" y="62555"/>
                  </a:lnTo>
                  <a:lnTo>
                    <a:pt x="9049" y="59408"/>
                  </a:lnTo>
                  <a:lnTo>
                    <a:pt x="8655" y="56653"/>
                  </a:lnTo>
                  <a:lnTo>
                    <a:pt x="7082" y="53900"/>
                  </a:lnTo>
                  <a:lnTo>
                    <a:pt x="4721" y="56653"/>
                  </a:lnTo>
                  <a:lnTo>
                    <a:pt x="3540" y="59801"/>
                  </a:lnTo>
                  <a:lnTo>
                    <a:pt x="787" y="65702"/>
                  </a:lnTo>
                  <a:lnTo>
                    <a:pt x="1573" y="68456"/>
                  </a:lnTo>
                  <a:lnTo>
                    <a:pt x="0" y="71211"/>
                  </a:lnTo>
                  <a:lnTo>
                    <a:pt x="0" y="73964"/>
                  </a:lnTo>
                  <a:lnTo>
                    <a:pt x="0" y="77112"/>
                  </a:lnTo>
                  <a:lnTo>
                    <a:pt x="1967" y="79866"/>
                  </a:lnTo>
                  <a:lnTo>
                    <a:pt x="1180" y="82620"/>
                  </a:lnTo>
                  <a:lnTo>
                    <a:pt x="1967" y="85767"/>
                  </a:lnTo>
                  <a:lnTo>
                    <a:pt x="1967" y="88521"/>
                  </a:lnTo>
                  <a:lnTo>
                    <a:pt x="4721" y="87734"/>
                  </a:lnTo>
                  <a:lnTo>
                    <a:pt x="7475" y="88915"/>
                  </a:lnTo>
                  <a:lnTo>
                    <a:pt x="10622" y="88915"/>
                  </a:lnTo>
                  <a:lnTo>
                    <a:pt x="11016" y="91669"/>
                  </a:lnTo>
                  <a:lnTo>
                    <a:pt x="7869" y="93242"/>
                  </a:lnTo>
                  <a:lnTo>
                    <a:pt x="4721" y="90882"/>
                  </a:lnTo>
                  <a:lnTo>
                    <a:pt x="3148" y="94029"/>
                  </a:lnTo>
                  <a:lnTo>
                    <a:pt x="1967" y="96783"/>
                  </a:lnTo>
                  <a:lnTo>
                    <a:pt x="4721" y="96389"/>
                  </a:lnTo>
                  <a:lnTo>
                    <a:pt x="7869" y="95996"/>
                  </a:lnTo>
                  <a:lnTo>
                    <a:pt x="10622" y="96389"/>
                  </a:lnTo>
                  <a:lnTo>
                    <a:pt x="13770" y="97570"/>
                  </a:lnTo>
                  <a:lnTo>
                    <a:pt x="16524" y="95996"/>
                  </a:lnTo>
                  <a:lnTo>
                    <a:pt x="17310" y="98750"/>
                  </a:lnTo>
                  <a:lnTo>
                    <a:pt x="20458" y="99930"/>
                  </a:lnTo>
                  <a:lnTo>
                    <a:pt x="23212" y="100324"/>
                  </a:lnTo>
                  <a:lnTo>
                    <a:pt x="25179" y="97570"/>
                  </a:lnTo>
                  <a:lnTo>
                    <a:pt x="27933" y="95209"/>
                  </a:lnTo>
                  <a:lnTo>
                    <a:pt x="31080" y="92849"/>
                  </a:lnTo>
                  <a:lnTo>
                    <a:pt x="32261" y="90095"/>
                  </a:lnTo>
                  <a:lnTo>
                    <a:pt x="35408" y="89701"/>
                  </a:lnTo>
                  <a:lnTo>
                    <a:pt x="34622" y="86948"/>
                  </a:lnTo>
                  <a:lnTo>
                    <a:pt x="35801" y="83800"/>
                  </a:lnTo>
                  <a:lnTo>
                    <a:pt x="38556" y="84980"/>
                  </a:lnTo>
                  <a:lnTo>
                    <a:pt x="38162" y="87734"/>
                  </a:lnTo>
                  <a:lnTo>
                    <a:pt x="41310" y="87734"/>
                  </a:lnTo>
                  <a:lnTo>
                    <a:pt x="42490" y="84587"/>
                  </a:lnTo>
                  <a:lnTo>
                    <a:pt x="45244" y="82620"/>
                  </a:lnTo>
                  <a:lnTo>
                    <a:pt x="48392" y="79472"/>
                  </a:lnTo>
                  <a:lnTo>
                    <a:pt x="51145" y="76718"/>
                  </a:lnTo>
                  <a:lnTo>
                    <a:pt x="51538" y="73571"/>
                  </a:lnTo>
                  <a:lnTo>
                    <a:pt x="51932" y="71604"/>
                  </a:lnTo>
                  <a:lnTo>
                    <a:pt x="52326" y="74751"/>
                  </a:lnTo>
                  <a:lnTo>
                    <a:pt x="53113" y="77505"/>
                  </a:lnTo>
                  <a:lnTo>
                    <a:pt x="50359" y="79866"/>
                  </a:lnTo>
                  <a:lnTo>
                    <a:pt x="53113" y="79866"/>
                  </a:lnTo>
                  <a:lnTo>
                    <a:pt x="55473" y="77112"/>
                  </a:lnTo>
                  <a:lnTo>
                    <a:pt x="56653" y="74358"/>
                  </a:lnTo>
                  <a:lnTo>
                    <a:pt x="59407" y="73571"/>
                  </a:lnTo>
                  <a:lnTo>
                    <a:pt x="62554" y="75931"/>
                  </a:lnTo>
                  <a:lnTo>
                    <a:pt x="62948" y="78685"/>
                  </a:lnTo>
                  <a:lnTo>
                    <a:pt x="59801" y="81046"/>
                  </a:lnTo>
                  <a:lnTo>
                    <a:pt x="60587" y="78292"/>
                  </a:lnTo>
                  <a:lnTo>
                    <a:pt x="57440" y="79079"/>
                  </a:lnTo>
                  <a:lnTo>
                    <a:pt x="55473" y="81833"/>
                  </a:lnTo>
                  <a:lnTo>
                    <a:pt x="55080" y="84587"/>
                  </a:lnTo>
                  <a:lnTo>
                    <a:pt x="57833" y="86160"/>
                  </a:lnTo>
                  <a:lnTo>
                    <a:pt x="60587" y="83800"/>
                  </a:lnTo>
                  <a:lnTo>
                    <a:pt x="60587" y="86948"/>
                  </a:lnTo>
                  <a:lnTo>
                    <a:pt x="63341" y="84587"/>
                  </a:lnTo>
                  <a:lnTo>
                    <a:pt x="63735" y="81833"/>
                  </a:lnTo>
                  <a:lnTo>
                    <a:pt x="66489" y="78685"/>
                  </a:lnTo>
                  <a:lnTo>
                    <a:pt x="68456" y="75931"/>
                  </a:lnTo>
                  <a:lnTo>
                    <a:pt x="65702" y="75538"/>
                  </a:lnTo>
                  <a:lnTo>
                    <a:pt x="67669" y="72784"/>
                  </a:lnTo>
                  <a:lnTo>
                    <a:pt x="70817" y="70423"/>
                  </a:lnTo>
                  <a:lnTo>
                    <a:pt x="72784" y="67670"/>
                  </a:lnTo>
                  <a:lnTo>
                    <a:pt x="73571" y="64522"/>
                  </a:lnTo>
                  <a:lnTo>
                    <a:pt x="76324" y="63342"/>
                  </a:lnTo>
                  <a:lnTo>
                    <a:pt x="78685" y="60588"/>
                  </a:lnTo>
                  <a:lnTo>
                    <a:pt x="80652" y="57441"/>
                  </a:lnTo>
                  <a:lnTo>
                    <a:pt x="82620" y="54686"/>
                  </a:lnTo>
                  <a:lnTo>
                    <a:pt x="85373" y="52326"/>
                  </a:lnTo>
                  <a:lnTo>
                    <a:pt x="87734" y="49178"/>
                  </a:lnTo>
                  <a:lnTo>
                    <a:pt x="90488" y="48785"/>
                  </a:lnTo>
                  <a:lnTo>
                    <a:pt x="91669" y="45638"/>
                  </a:lnTo>
                  <a:lnTo>
                    <a:pt x="92848" y="48392"/>
                  </a:lnTo>
                  <a:lnTo>
                    <a:pt x="92061" y="51539"/>
                  </a:lnTo>
                  <a:lnTo>
                    <a:pt x="90488" y="54293"/>
                  </a:lnTo>
                  <a:lnTo>
                    <a:pt x="93242" y="52719"/>
                  </a:lnTo>
                  <a:lnTo>
                    <a:pt x="94815" y="49965"/>
                  </a:lnTo>
                  <a:lnTo>
                    <a:pt x="95209" y="46818"/>
                  </a:lnTo>
                  <a:lnTo>
                    <a:pt x="97176" y="44064"/>
                  </a:lnTo>
                  <a:lnTo>
                    <a:pt x="98357" y="40916"/>
                  </a:lnTo>
                  <a:lnTo>
                    <a:pt x="99930" y="38163"/>
                  </a:lnTo>
                  <a:lnTo>
                    <a:pt x="101897" y="35015"/>
                  </a:lnTo>
                  <a:lnTo>
                    <a:pt x="104651" y="32261"/>
                  </a:lnTo>
                  <a:lnTo>
                    <a:pt x="105438" y="29114"/>
                  </a:lnTo>
                  <a:lnTo>
                    <a:pt x="107406" y="26360"/>
                  </a:lnTo>
                  <a:lnTo>
                    <a:pt x="110159" y="23212"/>
                  </a:lnTo>
                  <a:lnTo>
                    <a:pt x="111733" y="20458"/>
                  </a:lnTo>
                  <a:lnTo>
                    <a:pt x="112127" y="17311"/>
                  </a:lnTo>
                  <a:lnTo>
                    <a:pt x="115274" y="14557"/>
                  </a:lnTo>
                  <a:lnTo>
                    <a:pt x="117634" y="11409"/>
                  </a:lnTo>
                  <a:lnTo>
                    <a:pt x="117634" y="8656"/>
                  </a:lnTo>
                  <a:lnTo>
                    <a:pt x="115274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47" name="Freeform: Shape 4241">
              <a:extLst>
                <a:ext uri="{FF2B5EF4-FFF2-40B4-BE49-F238E27FC236}">
                  <a16:creationId xmlns:a16="http://schemas.microsoft.com/office/drawing/2014/main" id="{1C628B4A-6FBA-4E69-A861-0EB1F121530A}"/>
                </a:ext>
              </a:extLst>
            </p:cNvPr>
            <p:cNvSpPr/>
            <p:nvPr/>
          </p:nvSpPr>
          <p:spPr>
            <a:xfrm>
              <a:off x="10072361" y="5192379"/>
              <a:ext cx="11803" cy="11803"/>
            </a:xfrm>
            <a:custGeom>
              <a:avLst/>
              <a:gdLst>
                <a:gd name="connsiteX0" fmla="*/ 11016 w 11802"/>
                <a:gd name="connsiteY0" fmla="*/ 3148 h 11802"/>
                <a:gd name="connsiteX1" fmla="*/ 6295 w 11802"/>
                <a:gd name="connsiteY1" fmla="*/ 5901 h 11802"/>
                <a:gd name="connsiteX2" fmla="*/ 3148 w 11802"/>
                <a:gd name="connsiteY2" fmla="*/ 7869 h 11802"/>
                <a:gd name="connsiteX3" fmla="*/ 0 w 11802"/>
                <a:gd name="connsiteY3" fmla="*/ 9049 h 11802"/>
                <a:gd name="connsiteX4" fmla="*/ 787 w 11802"/>
                <a:gd name="connsiteY4" fmla="*/ 12196 h 11802"/>
                <a:gd name="connsiteX5" fmla="*/ 3541 w 11802"/>
                <a:gd name="connsiteY5" fmla="*/ 9836 h 11802"/>
                <a:gd name="connsiteX6" fmla="*/ 3148 w 11802"/>
                <a:gd name="connsiteY6" fmla="*/ 12589 h 11802"/>
                <a:gd name="connsiteX7" fmla="*/ 6295 w 11802"/>
                <a:gd name="connsiteY7" fmla="*/ 10229 h 11802"/>
                <a:gd name="connsiteX8" fmla="*/ 8262 w 11802"/>
                <a:gd name="connsiteY8" fmla="*/ 7082 h 11802"/>
                <a:gd name="connsiteX9" fmla="*/ 10622 w 11802"/>
                <a:gd name="connsiteY9" fmla="*/ 4328 h 11802"/>
                <a:gd name="connsiteX10" fmla="*/ 13377 w 11802"/>
                <a:gd name="connsiteY10" fmla="*/ 3148 h 11802"/>
                <a:gd name="connsiteX11" fmla="*/ 13377 w 11802"/>
                <a:gd name="connsiteY11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11802">
                  <a:moveTo>
                    <a:pt x="11016" y="3148"/>
                  </a:moveTo>
                  <a:lnTo>
                    <a:pt x="6295" y="5901"/>
                  </a:lnTo>
                  <a:lnTo>
                    <a:pt x="3148" y="7869"/>
                  </a:lnTo>
                  <a:lnTo>
                    <a:pt x="0" y="9049"/>
                  </a:lnTo>
                  <a:lnTo>
                    <a:pt x="787" y="12196"/>
                  </a:lnTo>
                  <a:lnTo>
                    <a:pt x="3541" y="9836"/>
                  </a:lnTo>
                  <a:lnTo>
                    <a:pt x="3148" y="12589"/>
                  </a:lnTo>
                  <a:lnTo>
                    <a:pt x="6295" y="10229"/>
                  </a:lnTo>
                  <a:lnTo>
                    <a:pt x="8262" y="7082"/>
                  </a:lnTo>
                  <a:lnTo>
                    <a:pt x="10622" y="4328"/>
                  </a:lnTo>
                  <a:lnTo>
                    <a:pt x="13377" y="3148"/>
                  </a:lnTo>
                  <a:lnTo>
                    <a:pt x="1337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48" name="Freeform: Shape 4242">
              <a:extLst>
                <a:ext uri="{FF2B5EF4-FFF2-40B4-BE49-F238E27FC236}">
                  <a16:creationId xmlns:a16="http://schemas.microsoft.com/office/drawing/2014/main" id="{12B9ACC5-EA0F-424F-BCA9-C2B8B9A3F878}"/>
                </a:ext>
              </a:extLst>
            </p:cNvPr>
            <p:cNvSpPr/>
            <p:nvPr/>
          </p:nvSpPr>
          <p:spPr>
            <a:xfrm>
              <a:off x="10111704" y="5174281"/>
              <a:ext cx="3934" cy="3934"/>
            </a:xfrm>
            <a:custGeom>
              <a:avLst/>
              <a:gdLst>
                <a:gd name="connsiteX0" fmla="*/ 0 w 3934"/>
                <a:gd name="connsiteY0" fmla="*/ 5114 h 3934"/>
                <a:gd name="connsiteX1" fmla="*/ 3148 w 3934"/>
                <a:gd name="connsiteY1" fmla="*/ 2754 h 3934"/>
                <a:gd name="connsiteX2" fmla="*/ 5115 w 3934"/>
                <a:gd name="connsiteY2" fmla="*/ 0 h 3934"/>
                <a:gd name="connsiteX3" fmla="*/ 1967 w 3934"/>
                <a:gd name="connsiteY3" fmla="*/ 236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0" y="5114"/>
                  </a:moveTo>
                  <a:lnTo>
                    <a:pt x="3148" y="2754"/>
                  </a:lnTo>
                  <a:lnTo>
                    <a:pt x="5115" y="0"/>
                  </a:lnTo>
                  <a:lnTo>
                    <a:pt x="1967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49" name="Freeform: Shape 4243">
              <a:extLst>
                <a:ext uri="{FF2B5EF4-FFF2-40B4-BE49-F238E27FC236}">
                  <a16:creationId xmlns:a16="http://schemas.microsoft.com/office/drawing/2014/main" id="{52047441-38F6-434B-8CE5-17B4C2694B3E}"/>
                </a:ext>
              </a:extLst>
            </p:cNvPr>
            <p:cNvSpPr/>
            <p:nvPr/>
          </p:nvSpPr>
          <p:spPr>
            <a:xfrm>
              <a:off x="10067246" y="5108185"/>
              <a:ext cx="3934" cy="3934"/>
            </a:xfrm>
            <a:custGeom>
              <a:avLst/>
              <a:gdLst>
                <a:gd name="connsiteX0" fmla="*/ 1574 w 3934"/>
                <a:gd name="connsiteY0" fmla="*/ 2360 h 0"/>
                <a:gd name="connsiteX1" fmla="*/ 4722 w 3934"/>
                <a:gd name="connsiteY1" fmla="*/ 1180 h 0"/>
                <a:gd name="connsiteX2" fmla="*/ 1574 w 3934"/>
                <a:gd name="connsiteY2" fmla="*/ 0 h 0"/>
                <a:gd name="connsiteX3" fmla="*/ 0 w 3934"/>
                <a:gd name="connsiteY3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574" y="2360"/>
                  </a:moveTo>
                  <a:lnTo>
                    <a:pt x="4722" y="1180"/>
                  </a:lnTo>
                  <a:lnTo>
                    <a:pt x="1574" y="0"/>
                  </a:lnTo>
                  <a:lnTo>
                    <a:pt x="0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50" name="Freeform: Shape 4244">
              <a:extLst>
                <a:ext uri="{FF2B5EF4-FFF2-40B4-BE49-F238E27FC236}">
                  <a16:creationId xmlns:a16="http://schemas.microsoft.com/office/drawing/2014/main" id="{E55F0EEE-C58A-41A1-B5E1-65E6A30960C7}"/>
                </a:ext>
              </a:extLst>
            </p:cNvPr>
            <p:cNvSpPr/>
            <p:nvPr/>
          </p:nvSpPr>
          <p:spPr>
            <a:xfrm>
              <a:off x="10065673" y="5101104"/>
              <a:ext cx="3934" cy="3934"/>
            </a:xfrm>
            <a:custGeom>
              <a:avLst/>
              <a:gdLst>
                <a:gd name="connsiteX0" fmla="*/ 0 w 3934"/>
                <a:gd name="connsiteY0" fmla="*/ 5901 h 3934"/>
                <a:gd name="connsiteX1" fmla="*/ 394 w 3934"/>
                <a:gd name="connsiteY1" fmla="*/ 5901 h 3934"/>
                <a:gd name="connsiteX2" fmla="*/ 2754 w 3934"/>
                <a:gd name="connsiteY2" fmla="*/ 2754 h 3934"/>
                <a:gd name="connsiteX3" fmla="*/ 3934 w 3934"/>
                <a:gd name="connsiteY3" fmla="*/ 0 h 3934"/>
                <a:gd name="connsiteX4" fmla="*/ 787 w 3934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5901"/>
                  </a:moveTo>
                  <a:lnTo>
                    <a:pt x="394" y="5901"/>
                  </a:lnTo>
                  <a:lnTo>
                    <a:pt x="2754" y="2754"/>
                  </a:lnTo>
                  <a:lnTo>
                    <a:pt x="3934" y="0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51" name="Freeform: Shape 4245">
              <a:extLst>
                <a:ext uri="{FF2B5EF4-FFF2-40B4-BE49-F238E27FC236}">
                  <a16:creationId xmlns:a16="http://schemas.microsoft.com/office/drawing/2014/main" id="{8A8938B2-4278-4706-9275-F3C8987E46C1}"/>
                </a:ext>
              </a:extLst>
            </p:cNvPr>
            <p:cNvSpPr/>
            <p:nvPr/>
          </p:nvSpPr>
          <p:spPr>
            <a:xfrm>
              <a:off x="10160489" y="5103464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1180 w 0"/>
                <a:gd name="connsiteY1" fmla="*/ 2754 h 0"/>
                <a:gd name="connsiteX2" fmla="*/ 3540 w 0"/>
                <a:gd name="connsiteY2" fmla="*/ 0 h 0"/>
                <a:gd name="connsiteX3" fmla="*/ 787 w 0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1180" y="2754"/>
                  </a:lnTo>
                  <a:lnTo>
                    <a:pt x="3540" y="0"/>
                  </a:lnTo>
                  <a:lnTo>
                    <a:pt x="78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52" name="Freeform: Shape 4246">
              <a:extLst>
                <a:ext uri="{FF2B5EF4-FFF2-40B4-BE49-F238E27FC236}">
                  <a16:creationId xmlns:a16="http://schemas.microsoft.com/office/drawing/2014/main" id="{5B768710-E452-4099-A512-4DB969874C49}"/>
                </a:ext>
              </a:extLst>
            </p:cNvPr>
            <p:cNvSpPr/>
            <p:nvPr/>
          </p:nvSpPr>
          <p:spPr>
            <a:xfrm>
              <a:off x="10540146" y="5274998"/>
              <a:ext cx="7869" cy="3934"/>
            </a:xfrm>
            <a:custGeom>
              <a:avLst/>
              <a:gdLst>
                <a:gd name="connsiteX0" fmla="*/ 1967 w 7868"/>
                <a:gd name="connsiteY0" fmla="*/ 3934 h 3934"/>
                <a:gd name="connsiteX1" fmla="*/ 5508 w 7868"/>
                <a:gd name="connsiteY1" fmla="*/ 4328 h 3934"/>
                <a:gd name="connsiteX2" fmla="*/ 8261 w 7868"/>
                <a:gd name="connsiteY2" fmla="*/ 2754 h 3934"/>
                <a:gd name="connsiteX3" fmla="*/ 9442 w 7868"/>
                <a:gd name="connsiteY3" fmla="*/ 0 h 3934"/>
                <a:gd name="connsiteX4" fmla="*/ 6294 w 7868"/>
                <a:gd name="connsiteY4" fmla="*/ 393 h 3934"/>
                <a:gd name="connsiteX5" fmla="*/ 3147 w 7868"/>
                <a:gd name="connsiteY5" fmla="*/ 2360 h 3934"/>
                <a:gd name="connsiteX6" fmla="*/ 0 w 7868"/>
                <a:gd name="connsiteY6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1967" y="3934"/>
                  </a:moveTo>
                  <a:lnTo>
                    <a:pt x="5508" y="4328"/>
                  </a:lnTo>
                  <a:lnTo>
                    <a:pt x="8261" y="2754"/>
                  </a:lnTo>
                  <a:lnTo>
                    <a:pt x="9442" y="0"/>
                  </a:lnTo>
                  <a:lnTo>
                    <a:pt x="6294" y="393"/>
                  </a:lnTo>
                  <a:lnTo>
                    <a:pt x="3147" y="2360"/>
                  </a:lnTo>
                  <a:lnTo>
                    <a:pt x="0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53" name="Freeform: Shape 4247">
              <a:extLst>
                <a:ext uri="{FF2B5EF4-FFF2-40B4-BE49-F238E27FC236}">
                  <a16:creationId xmlns:a16="http://schemas.microsoft.com/office/drawing/2014/main" id="{35CE8D49-DE41-4EBB-8734-ED809C747BC3}"/>
                </a:ext>
              </a:extLst>
            </p:cNvPr>
            <p:cNvSpPr/>
            <p:nvPr/>
          </p:nvSpPr>
          <p:spPr>
            <a:xfrm>
              <a:off x="10566898" y="5259655"/>
              <a:ext cx="3934" cy="3934"/>
            </a:xfrm>
            <a:custGeom>
              <a:avLst/>
              <a:gdLst>
                <a:gd name="connsiteX0" fmla="*/ 1180 w 0"/>
                <a:gd name="connsiteY0" fmla="*/ 393 h 0"/>
                <a:gd name="connsiteX1" fmla="*/ 0 w 0"/>
                <a:gd name="connsiteY1" fmla="*/ 3541 h 0"/>
                <a:gd name="connsiteX2" fmla="*/ 2361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393"/>
                  </a:moveTo>
                  <a:lnTo>
                    <a:pt x="0" y="3541"/>
                  </a:lnTo>
                  <a:lnTo>
                    <a:pt x="236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54" name="Freeform: Shape 4248">
              <a:extLst>
                <a:ext uri="{FF2B5EF4-FFF2-40B4-BE49-F238E27FC236}">
                  <a16:creationId xmlns:a16="http://schemas.microsoft.com/office/drawing/2014/main" id="{3CC86201-3A21-4BA4-973B-12CED09990A1}"/>
                </a:ext>
              </a:extLst>
            </p:cNvPr>
            <p:cNvSpPr/>
            <p:nvPr/>
          </p:nvSpPr>
          <p:spPr>
            <a:xfrm>
              <a:off x="10530310" y="5311193"/>
              <a:ext cx="23606" cy="15737"/>
            </a:xfrm>
            <a:custGeom>
              <a:avLst/>
              <a:gdLst>
                <a:gd name="connsiteX0" fmla="*/ 23606 w 23605"/>
                <a:gd name="connsiteY0" fmla="*/ 7475 h 15737"/>
                <a:gd name="connsiteX1" fmla="*/ 25573 w 23605"/>
                <a:gd name="connsiteY1" fmla="*/ 4328 h 15737"/>
                <a:gd name="connsiteX2" fmla="*/ 25179 w 23605"/>
                <a:gd name="connsiteY2" fmla="*/ 1574 h 15737"/>
                <a:gd name="connsiteX3" fmla="*/ 22031 w 23605"/>
                <a:gd name="connsiteY3" fmla="*/ 0 h 15737"/>
                <a:gd name="connsiteX4" fmla="*/ 18884 w 23605"/>
                <a:gd name="connsiteY4" fmla="*/ 394 h 15737"/>
                <a:gd name="connsiteX5" fmla="*/ 16524 w 23605"/>
                <a:gd name="connsiteY5" fmla="*/ 3541 h 15737"/>
                <a:gd name="connsiteX6" fmla="*/ 15343 w 23605"/>
                <a:gd name="connsiteY6" fmla="*/ 6689 h 15737"/>
                <a:gd name="connsiteX7" fmla="*/ 12196 w 23605"/>
                <a:gd name="connsiteY7" fmla="*/ 8656 h 15737"/>
                <a:gd name="connsiteX8" fmla="*/ 9442 w 23605"/>
                <a:gd name="connsiteY8" fmla="*/ 11409 h 15737"/>
                <a:gd name="connsiteX9" fmla="*/ 6294 w 23605"/>
                <a:gd name="connsiteY9" fmla="*/ 12590 h 15737"/>
                <a:gd name="connsiteX10" fmla="*/ 3540 w 23605"/>
                <a:gd name="connsiteY10" fmla="*/ 15344 h 15737"/>
                <a:gd name="connsiteX11" fmla="*/ 0 w 23605"/>
                <a:gd name="connsiteY11" fmla="*/ 16918 h 15737"/>
                <a:gd name="connsiteX12" fmla="*/ 3147 w 23605"/>
                <a:gd name="connsiteY12" fmla="*/ 18098 h 15737"/>
                <a:gd name="connsiteX13" fmla="*/ 6294 w 23605"/>
                <a:gd name="connsiteY13" fmla="*/ 15737 h 15737"/>
                <a:gd name="connsiteX14" fmla="*/ 9442 w 23605"/>
                <a:gd name="connsiteY14" fmla="*/ 16524 h 15737"/>
                <a:gd name="connsiteX15" fmla="*/ 12589 w 23605"/>
                <a:gd name="connsiteY15" fmla="*/ 15344 h 15737"/>
                <a:gd name="connsiteX16" fmla="*/ 15737 w 23605"/>
                <a:gd name="connsiteY16" fmla="*/ 14557 h 15737"/>
                <a:gd name="connsiteX17" fmla="*/ 19278 w 23605"/>
                <a:gd name="connsiteY17" fmla="*/ 13770 h 15737"/>
                <a:gd name="connsiteX18" fmla="*/ 22031 w 23605"/>
                <a:gd name="connsiteY18" fmla="*/ 13377 h 15737"/>
                <a:gd name="connsiteX19" fmla="*/ 23998 w 23605"/>
                <a:gd name="connsiteY19" fmla="*/ 10623 h 15737"/>
                <a:gd name="connsiteX20" fmla="*/ 20851 w 23605"/>
                <a:gd name="connsiteY20" fmla="*/ 8262 h 15737"/>
                <a:gd name="connsiteX21" fmla="*/ 17704 w 23605"/>
                <a:gd name="connsiteY21" fmla="*/ 9049 h 15737"/>
                <a:gd name="connsiteX22" fmla="*/ 20851 w 23605"/>
                <a:gd name="connsiteY22" fmla="*/ 6689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3605" h="15737">
                  <a:moveTo>
                    <a:pt x="23606" y="7475"/>
                  </a:moveTo>
                  <a:lnTo>
                    <a:pt x="25573" y="4328"/>
                  </a:lnTo>
                  <a:lnTo>
                    <a:pt x="25179" y="1574"/>
                  </a:lnTo>
                  <a:lnTo>
                    <a:pt x="22031" y="0"/>
                  </a:lnTo>
                  <a:lnTo>
                    <a:pt x="18884" y="394"/>
                  </a:lnTo>
                  <a:lnTo>
                    <a:pt x="16524" y="3541"/>
                  </a:lnTo>
                  <a:lnTo>
                    <a:pt x="15343" y="6689"/>
                  </a:lnTo>
                  <a:lnTo>
                    <a:pt x="12196" y="8656"/>
                  </a:lnTo>
                  <a:lnTo>
                    <a:pt x="9442" y="11409"/>
                  </a:lnTo>
                  <a:lnTo>
                    <a:pt x="6294" y="12590"/>
                  </a:lnTo>
                  <a:lnTo>
                    <a:pt x="3540" y="15344"/>
                  </a:lnTo>
                  <a:lnTo>
                    <a:pt x="0" y="16918"/>
                  </a:lnTo>
                  <a:lnTo>
                    <a:pt x="3147" y="18098"/>
                  </a:lnTo>
                  <a:lnTo>
                    <a:pt x="6294" y="15737"/>
                  </a:lnTo>
                  <a:lnTo>
                    <a:pt x="9442" y="16524"/>
                  </a:lnTo>
                  <a:lnTo>
                    <a:pt x="12589" y="15344"/>
                  </a:lnTo>
                  <a:lnTo>
                    <a:pt x="15737" y="14557"/>
                  </a:lnTo>
                  <a:lnTo>
                    <a:pt x="19278" y="13770"/>
                  </a:lnTo>
                  <a:lnTo>
                    <a:pt x="22031" y="13377"/>
                  </a:lnTo>
                  <a:lnTo>
                    <a:pt x="23998" y="10623"/>
                  </a:lnTo>
                  <a:lnTo>
                    <a:pt x="20851" y="8262"/>
                  </a:lnTo>
                  <a:lnTo>
                    <a:pt x="17704" y="9049"/>
                  </a:lnTo>
                  <a:lnTo>
                    <a:pt x="20851" y="668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55" name="Freeform: Shape 4249">
              <a:extLst>
                <a:ext uri="{FF2B5EF4-FFF2-40B4-BE49-F238E27FC236}">
                  <a16:creationId xmlns:a16="http://schemas.microsoft.com/office/drawing/2014/main" id="{1421ACBA-887D-4FE4-9ABC-185D90275FB8}"/>
                </a:ext>
              </a:extLst>
            </p:cNvPr>
            <p:cNvSpPr/>
            <p:nvPr/>
          </p:nvSpPr>
          <p:spPr>
            <a:xfrm>
              <a:off x="10890688" y="5114480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3148 w 0"/>
                <a:gd name="connsiteY1" fmla="*/ 0 h 0"/>
                <a:gd name="connsiteX2" fmla="*/ 0 w 0"/>
                <a:gd name="connsiteY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3148" y="0"/>
                  </a:lnTo>
                  <a:lnTo>
                    <a:pt x="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56" name="Freeform: Shape 4250">
              <a:extLst>
                <a:ext uri="{FF2B5EF4-FFF2-40B4-BE49-F238E27FC236}">
                  <a16:creationId xmlns:a16="http://schemas.microsoft.com/office/drawing/2014/main" id="{E234F046-260E-4406-8408-7EB512868A1B}"/>
                </a:ext>
              </a:extLst>
            </p:cNvPr>
            <p:cNvSpPr/>
            <p:nvPr/>
          </p:nvSpPr>
          <p:spPr>
            <a:xfrm>
              <a:off x="10533850" y="5103071"/>
              <a:ext cx="338347" cy="204582"/>
            </a:xfrm>
            <a:custGeom>
              <a:avLst/>
              <a:gdLst>
                <a:gd name="connsiteX0" fmla="*/ 333626 w 338346"/>
                <a:gd name="connsiteY0" fmla="*/ 23606 h 204581"/>
                <a:gd name="connsiteX1" fmla="*/ 330478 w 338346"/>
                <a:gd name="connsiteY1" fmla="*/ 25179 h 204581"/>
                <a:gd name="connsiteX2" fmla="*/ 327724 w 338346"/>
                <a:gd name="connsiteY2" fmla="*/ 25179 h 204581"/>
                <a:gd name="connsiteX3" fmla="*/ 324577 w 338346"/>
                <a:gd name="connsiteY3" fmla="*/ 26359 h 204581"/>
                <a:gd name="connsiteX4" fmla="*/ 324183 w 338346"/>
                <a:gd name="connsiteY4" fmla="*/ 24786 h 204581"/>
                <a:gd name="connsiteX5" fmla="*/ 327331 w 338346"/>
                <a:gd name="connsiteY5" fmla="*/ 24392 h 204581"/>
                <a:gd name="connsiteX6" fmla="*/ 330084 w 338346"/>
                <a:gd name="connsiteY6" fmla="*/ 23606 h 204581"/>
                <a:gd name="connsiteX7" fmla="*/ 333232 w 338346"/>
                <a:gd name="connsiteY7" fmla="*/ 21638 h 204581"/>
                <a:gd name="connsiteX8" fmla="*/ 336380 w 338346"/>
                <a:gd name="connsiteY8" fmla="*/ 19278 h 204581"/>
                <a:gd name="connsiteX9" fmla="*/ 336773 w 338346"/>
                <a:gd name="connsiteY9" fmla="*/ 16524 h 204581"/>
                <a:gd name="connsiteX10" fmla="*/ 334019 w 338346"/>
                <a:gd name="connsiteY10" fmla="*/ 16917 h 204581"/>
                <a:gd name="connsiteX11" fmla="*/ 330872 w 338346"/>
                <a:gd name="connsiteY11" fmla="*/ 17704 h 204581"/>
                <a:gd name="connsiteX12" fmla="*/ 329692 w 338346"/>
                <a:gd name="connsiteY12" fmla="*/ 20458 h 204581"/>
                <a:gd name="connsiteX13" fmla="*/ 326544 w 338346"/>
                <a:gd name="connsiteY13" fmla="*/ 20458 h 204581"/>
                <a:gd name="connsiteX14" fmla="*/ 324577 w 338346"/>
                <a:gd name="connsiteY14" fmla="*/ 23606 h 204581"/>
                <a:gd name="connsiteX15" fmla="*/ 327724 w 338346"/>
                <a:gd name="connsiteY15" fmla="*/ 23606 h 204581"/>
                <a:gd name="connsiteX16" fmla="*/ 324577 w 338346"/>
                <a:gd name="connsiteY16" fmla="*/ 23999 h 204581"/>
                <a:gd name="connsiteX17" fmla="*/ 321823 w 338346"/>
                <a:gd name="connsiteY17" fmla="*/ 25179 h 204581"/>
                <a:gd name="connsiteX18" fmla="*/ 319069 w 338346"/>
                <a:gd name="connsiteY18" fmla="*/ 25573 h 204581"/>
                <a:gd name="connsiteX19" fmla="*/ 321823 w 338346"/>
                <a:gd name="connsiteY19" fmla="*/ 23606 h 204581"/>
                <a:gd name="connsiteX20" fmla="*/ 324577 w 338346"/>
                <a:gd name="connsiteY20" fmla="*/ 20851 h 204581"/>
                <a:gd name="connsiteX21" fmla="*/ 327724 w 338346"/>
                <a:gd name="connsiteY21" fmla="*/ 18491 h 204581"/>
                <a:gd name="connsiteX22" fmla="*/ 324577 w 338346"/>
                <a:gd name="connsiteY22" fmla="*/ 18098 h 204581"/>
                <a:gd name="connsiteX23" fmla="*/ 327724 w 338346"/>
                <a:gd name="connsiteY23" fmla="*/ 16917 h 204581"/>
                <a:gd name="connsiteX24" fmla="*/ 330872 w 338346"/>
                <a:gd name="connsiteY24" fmla="*/ 14163 h 204581"/>
                <a:gd name="connsiteX25" fmla="*/ 327724 w 338346"/>
                <a:gd name="connsiteY25" fmla="*/ 14950 h 204581"/>
                <a:gd name="connsiteX26" fmla="*/ 324183 w 338346"/>
                <a:gd name="connsiteY26" fmla="*/ 16524 h 204581"/>
                <a:gd name="connsiteX27" fmla="*/ 321036 w 338346"/>
                <a:gd name="connsiteY27" fmla="*/ 19278 h 204581"/>
                <a:gd name="connsiteX28" fmla="*/ 317889 w 338346"/>
                <a:gd name="connsiteY28" fmla="*/ 18884 h 204581"/>
                <a:gd name="connsiteX29" fmla="*/ 302152 w 338346"/>
                <a:gd name="connsiteY29" fmla="*/ 19671 h 204581"/>
                <a:gd name="connsiteX30" fmla="*/ 303332 w 338346"/>
                <a:gd name="connsiteY30" fmla="*/ 18098 h 204581"/>
                <a:gd name="connsiteX31" fmla="*/ 306086 w 338346"/>
                <a:gd name="connsiteY31" fmla="*/ 15343 h 204581"/>
                <a:gd name="connsiteX32" fmla="*/ 308446 w 338346"/>
                <a:gd name="connsiteY32" fmla="*/ 12196 h 204581"/>
                <a:gd name="connsiteX33" fmla="*/ 308446 w 338346"/>
                <a:gd name="connsiteY33" fmla="*/ 9442 h 204581"/>
                <a:gd name="connsiteX34" fmla="*/ 305299 w 338346"/>
                <a:gd name="connsiteY34" fmla="*/ 10622 h 204581"/>
                <a:gd name="connsiteX35" fmla="*/ 302152 w 338346"/>
                <a:gd name="connsiteY35" fmla="*/ 10622 h 204581"/>
                <a:gd name="connsiteX36" fmla="*/ 302152 w 338346"/>
                <a:gd name="connsiteY36" fmla="*/ 6295 h 204581"/>
                <a:gd name="connsiteX37" fmla="*/ 303332 w 338346"/>
                <a:gd name="connsiteY37" fmla="*/ 5114 h 204581"/>
                <a:gd name="connsiteX38" fmla="*/ 305299 w 338346"/>
                <a:gd name="connsiteY38" fmla="*/ 2360 h 204581"/>
                <a:gd name="connsiteX39" fmla="*/ 308446 w 338346"/>
                <a:gd name="connsiteY39" fmla="*/ 787 h 204581"/>
                <a:gd name="connsiteX40" fmla="*/ 311594 w 338346"/>
                <a:gd name="connsiteY40" fmla="*/ 787 h 204581"/>
                <a:gd name="connsiteX41" fmla="*/ 314347 w 338346"/>
                <a:gd name="connsiteY41" fmla="*/ 1180 h 204581"/>
                <a:gd name="connsiteX42" fmla="*/ 311594 w 338346"/>
                <a:gd name="connsiteY42" fmla="*/ 393 h 204581"/>
                <a:gd name="connsiteX43" fmla="*/ 308446 w 338346"/>
                <a:gd name="connsiteY43" fmla="*/ 0 h 204581"/>
                <a:gd name="connsiteX44" fmla="*/ 305299 w 338346"/>
                <a:gd name="connsiteY44" fmla="*/ 393 h 204581"/>
                <a:gd name="connsiteX45" fmla="*/ 302545 w 338346"/>
                <a:gd name="connsiteY45" fmla="*/ 3147 h 204581"/>
                <a:gd name="connsiteX46" fmla="*/ 299398 w 338346"/>
                <a:gd name="connsiteY46" fmla="*/ 3147 h 204581"/>
                <a:gd name="connsiteX47" fmla="*/ 296643 w 338346"/>
                <a:gd name="connsiteY47" fmla="*/ 4721 h 204581"/>
                <a:gd name="connsiteX48" fmla="*/ 293497 w 338346"/>
                <a:gd name="connsiteY48" fmla="*/ 6295 h 204581"/>
                <a:gd name="connsiteX49" fmla="*/ 290349 w 338346"/>
                <a:gd name="connsiteY49" fmla="*/ 7869 h 204581"/>
                <a:gd name="connsiteX50" fmla="*/ 284840 w 338346"/>
                <a:gd name="connsiteY50" fmla="*/ 10622 h 204581"/>
                <a:gd name="connsiteX51" fmla="*/ 281300 w 338346"/>
                <a:gd name="connsiteY51" fmla="*/ 13376 h 204581"/>
                <a:gd name="connsiteX52" fmla="*/ 278939 w 338346"/>
                <a:gd name="connsiteY52" fmla="*/ 16524 h 204581"/>
                <a:gd name="connsiteX53" fmla="*/ 276972 w 338346"/>
                <a:gd name="connsiteY53" fmla="*/ 19278 h 204581"/>
                <a:gd name="connsiteX54" fmla="*/ 275005 w 338346"/>
                <a:gd name="connsiteY54" fmla="*/ 22425 h 204581"/>
                <a:gd name="connsiteX55" fmla="*/ 273038 w 338346"/>
                <a:gd name="connsiteY55" fmla="*/ 25573 h 204581"/>
                <a:gd name="connsiteX56" fmla="*/ 246678 w 338346"/>
                <a:gd name="connsiteY56" fmla="*/ 41703 h 204581"/>
                <a:gd name="connsiteX57" fmla="*/ 245498 w 338346"/>
                <a:gd name="connsiteY57" fmla="*/ 42490 h 204581"/>
                <a:gd name="connsiteX58" fmla="*/ 242351 w 338346"/>
                <a:gd name="connsiteY58" fmla="*/ 42883 h 204581"/>
                <a:gd name="connsiteX59" fmla="*/ 239596 w 338346"/>
                <a:gd name="connsiteY59" fmla="*/ 46424 h 204581"/>
                <a:gd name="connsiteX60" fmla="*/ 236450 w 338346"/>
                <a:gd name="connsiteY60" fmla="*/ 48784 h 204581"/>
                <a:gd name="connsiteX61" fmla="*/ 233695 w 338346"/>
                <a:gd name="connsiteY61" fmla="*/ 51932 h 204581"/>
                <a:gd name="connsiteX62" fmla="*/ 230548 w 338346"/>
                <a:gd name="connsiteY62" fmla="*/ 54686 h 204581"/>
                <a:gd name="connsiteX63" fmla="*/ 227794 w 338346"/>
                <a:gd name="connsiteY63" fmla="*/ 57833 h 204581"/>
                <a:gd name="connsiteX64" fmla="*/ 226220 w 338346"/>
                <a:gd name="connsiteY64" fmla="*/ 59407 h 204581"/>
                <a:gd name="connsiteX65" fmla="*/ 218352 w 338346"/>
                <a:gd name="connsiteY65" fmla="*/ 66095 h 204581"/>
                <a:gd name="connsiteX66" fmla="*/ 217958 w 338346"/>
                <a:gd name="connsiteY66" fmla="*/ 66489 h 204581"/>
                <a:gd name="connsiteX67" fmla="*/ 214417 w 338346"/>
                <a:gd name="connsiteY67" fmla="*/ 69636 h 204581"/>
                <a:gd name="connsiteX68" fmla="*/ 205368 w 338346"/>
                <a:gd name="connsiteY68" fmla="*/ 74751 h 204581"/>
                <a:gd name="connsiteX69" fmla="*/ 182943 w 338346"/>
                <a:gd name="connsiteY69" fmla="*/ 85767 h 204581"/>
                <a:gd name="connsiteX70" fmla="*/ 178222 w 338346"/>
                <a:gd name="connsiteY70" fmla="*/ 88127 h 204581"/>
                <a:gd name="connsiteX71" fmla="*/ 175861 w 338346"/>
                <a:gd name="connsiteY71" fmla="*/ 88521 h 204581"/>
                <a:gd name="connsiteX72" fmla="*/ 174288 w 338346"/>
                <a:gd name="connsiteY72" fmla="*/ 90094 h 204581"/>
                <a:gd name="connsiteX73" fmla="*/ 163666 w 338346"/>
                <a:gd name="connsiteY73" fmla="*/ 95602 h 204581"/>
                <a:gd name="connsiteX74" fmla="*/ 159732 w 338346"/>
                <a:gd name="connsiteY74" fmla="*/ 97569 h 204581"/>
                <a:gd name="connsiteX75" fmla="*/ 158157 w 338346"/>
                <a:gd name="connsiteY75" fmla="*/ 97569 h 204581"/>
                <a:gd name="connsiteX76" fmla="*/ 155010 w 338346"/>
                <a:gd name="connsiteY76" fmla="*/ 99537 h 204581"/>
                <a:gd name="connsiteX77" fmla="*/ 154617 w 338346"/>
                <a:gd name="connsiteY77" fmla="*/ 99930 h 204581"/>
                <a:gd name="connsiteX78" fmla="*/ 140847 w 338346"/>
                <a:gd name="connsiteY78" fmla="*/ 105831 h 204581"/>
                <a:gd name="connsiteX79" fmla="*/ 139666 w 338346"/>
                <a:gd name="connsiteY79" fmla="*/ 105831 h 204581"/>
                <a:gd name="connsiteX80" fmla="*/ 136126 w 338346"/>
                <a:gd name="connsiteY80" fmla="*/ 107405 h 204581"/>
                <a:gd name="connsiteX81" fmla="*/ 132585 w 338346"/>
                <a:gd name="connsiteY81" fmla="*/ 108586 h 204581"/>
                <a:gd name="connsiteX82" fmla="*/ 129437 w 338346"/>
                <a:gd name="connsiteY82" fmla="*/ 110553 h 204581"/>
                <a:gd name="connsiteX83" fmla="*/ 126290 w 338346"/>
                <a:gd name="connsiteY83" fmla="*/ 112127 h 204581"/>
                <a:gd name="connsiteX84" fmla="*/ 125503 w 338346"/>
                <a:gd name="connsiteY84" fmla="*/ 112520 h 204581"/>
                <a:gd name="connsiteX85" fmla="*/ 122356 w 338346"/>
                <a:gd name="connsiteY85" fmla="*/ 113700 h 204581"/>
                <a:gd name="connsiteX86" fmla="*/ 119208 w 338346"/>
                <a:gd name="connsiteY86" fmla="*/ 115274 h 204581"/>
                <a:gd name="connsiteX87" fmla="*/ 118422 w 338346"/>
                <a:gd name="connsiteY87" fmla="*/ 115667 h 204581"/>
                <a:gd name="connsiteX88" fmla="*/ 114094 w 338346"/>
                <a:gd name="connsiteY88" fmla="*/ 117241 h 204581"/>
                <a:gd name="connsiteX89" fmla="*/ 112520 w 338346"/>
                <a:gd name="connsiteY89" fmla="*/ 117634 h 204581"/>
                <a:gd name="connsiteX90" fmla="*/ 109373 w 338346"/>
                <a:gd name="connsiteY90" fmla="*/ 117241 h 204581"/>
                <a:gd name="connsiteX91" fmla="*/ 106619 w 338346"/>
                <a:gd name="connsiteY91" fmla="*/ 118421 h 204581"/>
                <a:gd name="connsiteX92" fmla="*/ 103471 w 338346"/>
                <a:gd name="connsiteY92" fmla="*/ 118421 h 204581"/>
                <a:gd name="connsiteX93" fmla="*/ 100324 w 338346"/>
                <a:gd name="connsiteY93" fmla="*/ 119601 h 204581"/>
                <a:gd name="connsiteX94" fmla="*/ 97176 w 338346"/>
                <a:gd name="connsiteY94" fmla="*/ 122355 h 204581"/>
                <a:gd name="connsiteX95" fmla="*/ 94029 w 338346"/>
                <a:gd name="connsiteY95" fmla="*/ 123929 h 204581"/>
                <a:gd name="connsiteX96" fmla="*/ 90882 w 338346"/>
                <a:gd name="connsiteY96" fmla="*/ 125503 h 204581"/>
                <a:gd name="connsiteX97" fmla="*/ 88127 w 338346"/>
                <a:gd name="connsiteY97" fmla="*/ 126683 h 204581"/>
                <a:gd name="connsiteX98" fmla="*/ 86948 w 338346"/>
                <a:gd name="connsiteY98" fmla="*/ 128650 h 204581"/>
                <a:gd name="connsiteX99" fmla="*/ 84193 w 338346"/>
                <a:gd name="connsiteY99" fmla="*/ 129831 h 204581"/>
                <a:gd name="connsiteX100" fmla="*/ 81046 w 338346"/>
                <a:gd name="connsiteY100" fmla="*/ 131404 h 204581"/>
                <a:gd name="connsiteX101" fmla="*/ 77899 w 338346"/>
                <a:gd name="connsiteY101" fmla="*/ 132978 h 204581"/>
                <a:gd name="connsiteX102" fmla="*/ 74751 w 338346"/>
                <a:gd name="connsiteY102" fmla="*/ 135338 h 204581"/>
                <a:gd name="connsiteX103" fmla="*/ 73964 w 338346"/>
                <a:gd name="connsiteY103" fmla="*/ 136519 h 204581"/>
                <a:gd name="connsiteX104" fmla="*/ 71211 w 338346"/>
                <a:gd name="connsiteY104" fmla="*/ 138093 h 204581"/>
                <a:gd name="connsiteX105" fmla="*/ 68063 w 338346"/>
                <a:gd name="connsiteY105" fmla="*/ 139273 h 204581"/>
                <a:gd name="connsiteX106" fmla="*/ 65309 w 338346"/>
                <a:gd name="connsiteY106" fmla="*/ 140846 h 204581"/>
                <a:gd name="connsiteX107" fmla="*/ 61768 w 338346"/>
                <a:gd name="connsiteY107" fmla="*/ 143207 h 204581"/>
                <a:gd name="connsiteX108" fmla="*/ 59801 w 338346"/>
                <a:gd name="connsiteY108" fmla="*/ 144781 h 204581"/>
                <a:gd name="connsiteX109" fmla="*/ 57047 w 338346"/>
                <a:gd name="connsiteY109" fmla="*/ 144781 h 204581"/>
                <a:gd name="connsiteX110" fmla="*/ 53899 w 338346"/>
                <a:gd name="connsiteY110" fmla="*/ 146354 h 204581"/>
                <a:gd name="connsiteX111" fmla="*/ 52326 w 338346"/>
                <a:gd name="connsiteY111" fmla="*/ 149502 h 204581"/>
                <a:gd name="connsiteX112" fmla="*/ 49178 w 338346"/>
                <a:gd name="connsiteY112" fmla="*/ 148715 h 204581"/>
                <a:gd name="connsiteX113" fmla="*/ 46425 w 338346"/>
                <a:gd name="connsiteY113" fmla="*/ 150289 h 204581"/>
                <a:gd name="connsiteX114" fmla="*/ 46817 w 338346"/>
                <a:gd name="connsiteY114" fmla="*/ 153436 h 204581"/>
                <a:gd name="connsiteX115" fmla="*/ 44064 w 338346"/>
                <a:gd name="connsiteY115" fmla="*/ 153042 h 204581"/>
                <a:gd name="connsiteX116" fmla="*/ 41310 w 338346"/>
                <a:gd name="connsiteY116" fmla="*/ 153830 h 204581"/>
                <a:gd name="connsiteX117" fmla="*/ 38556 w 338346"/>
                <a:gd name="connsiteY117" fmla="*/ 156977 h 204581"/>
                <a:gd name="connsiteX118" fmla="*/ 35802 w 338346"/>
                <a:gd name="connsiteY118" fmla="*/ 157371 h 204581"/>
                <a:gd name="connsiteX119" fmla="*/ 33835 w 338346"/>
                <a:gd name="connsiteY119" fmla="*/ 160518 h 204581"/>
                <a:gd name="connsiteX120" fmla="*/ 36589 w 338346"/>
                <a:gd name="connsiteY120" fmla="*/ 160518 h 204581"/>
                <a:gd name="connsiteX121" fmla="*/ 33441 w 338346"/>
                <a:gd name="connsiteY121" fmla="*/ 161698 h 204581"/>
                <a:gd name="connsiteX122" fmla="*/ 33047 w 338346"/>
                <a:gd name="connsiteY122" fmla="*/ 162878 h 204581"/>
                <a:gd name="connsiteX123" fmla="*/ 29507 w 338346"/>
                <a:gd name="connsiteY123" fmla="*/ 165632 h 204581"/>
                <a:gd name="connsiteX124" fmla="*/ 29113 w 338346"/>
                <a:gd name="connsiteY124" fmla="*/ 165632 h 204581"/>
                <a:gd name="connsiteX125" fmla="*/ 29507 w 338346"/>
                <a:gd name="connsiteY125" fmla="*/ 162878 h 204581"/>
                <a:gd name="connsiteX126" fmla="*/ 26359 w 338346"/>
                <a:gd name="connsiteY126" fmla="*/ 162485 h 204581"/>
                <a:gd name="connsiteX127" fmla="*/ 26359 w 338346"/>
                <a:gd name="connsiteY127" fmla="*/ 165632 h 204581"/>
                <a:gd name="connsiteX128" fmla="*/ 23212 w 338346"/>
                <a:gd name="connsiteY128" fmla="*/ 165239 h 204581"/>
                <a:gd name="connsiteX129" fmla="*/ 20458 w 338346"/>
                <a:gd name="connsiteY129" fmla="*/ 167993 h 204581"/>
                <a:gd name="connsiteX130" fmla="*/ 17310 w 338346"/>
                <a:gd name="connsiteY130" fmla="*/ 170353 h 204581"/>
                <a:gd name="connsiteX131" fmla="*/ 20458 w 338346"/>
                <a:gd name="connsiteY131" fmla="*/ 170353 h 204581"/>
                <a:gd name="connsiteX132" fmla="*/ 23606 w 338346"/>
                <a:gd name="connsiteY132" fmla="*/ 169173 h 204581"/>
                <a:gd name="connsiteX133" fmla="*/ 23999 w 338346"/>
                <a:gd name="connsiteY133" fmla="*/ 169173 h 204581"/>
                <a:gd name="connsiteX134" fmla="*/ 22425 w 338346"/>
                <a:gd name="connsiteY134" fmla="*/ 170353 h 204581"/>
                <a:gd name="connsiteX135" fmla="*/ 20065 w 338346"/>
                <a:gd name="connsiteY135" fmla="*/ 171140 h 204581"/>
                <a:gd name="connsiteX136" fmla="*/ 17310 w 338346"/>
                <a:gd name="connsiteY136" fmla="*/ 172320 h 204581"/>
                <a:gd name="connsiteX137" fmla="*/ 19278 w 338346"/>
                <a:gd name="connsiteY137" fmla="*/ 172320 h 204581"/>
                <a:gd name="connsiteX138" fmla="*/ 10622 w 338346"/>
                <a:gd name="connsiteY138" fmla="*/ 178222 h 204581"/>
                <a:gd name="connsiteX139" fmla="*/ 10229 w 338346"/>
                <a:gd name="connsiteY139" fmla="*/ 178222 h 204581"/>
                <a:gd name="connsiteX140" fmla="*/ 7475 w 338346"/>
                <a:gd name="connsiteY140" fmla="*/ 178222 h 204581"/>
                <a:gd name="connsiteX141" fmla="*/ 4721 w 338346"/>
                <a:gd name="connsiteY141" fmla="*/ 179402 h 204581"/>
                <a:gd name="connsiteX142" fmla="*/ 1573 w 338346"/>
                <a:gd name="connsiteY142" fmla="*/ 182156 h 204581"/>
                <a:gd name="connsiteX143" fmla="*/ 0 w 338346"/>
                <a:gd name="connsiteY143" fmla="*/ 184910 h 204581"/>
                <a:gd name="connsiteX144" fmla="*/ 394 w 338346"/>
                <a:gd name="connsiteY144" fmla="*/ 185304 h 204581"/>
                <a:gd name="connsiteX145" fmla="*/ 4328 w 338346"/>
                <a:gd name="connsiteY145" fmla="*/ 188451 h 204581"/>
                <a:gd name="connsiteX146" fmla="*/ 3148 w 338346"/>
                <a:gd name="connsiteY146" fmla="*/ 188845 h 204581"/>
                <a:gd name="connsiteX147" fmla="*/ 1180 w 338346"/>
                <a:gd name="connsiteY147" fmla="*/ 191992 h 204581"/>
                <a:gd name="connsiteX148" fmla="*/ 3934 w 338346"/>
                <a:gd name="connsiteY148" fmla="*/ 192385 h 204581"/>
                <a:gd name="connsiteX149" fmla="*/ 7082 w 338346"/>
                <a:gd name="connsiteY149" fmla="*/ 192385 h 204581"/>
                <a:gd name="connsiteX150" fmla="*/ 10229 w 338346"/>
                <a:gd name="connsiteY150" fmla="*/ 193172 h 204581"/>
                <a:gd name="connsiteX151" fmla="*/ 14164 w 338346"/>
                <a:gd name="connsiteY151" fmla="*/ 193566 h 204581"/>
                <a:gd name="connsiteX152" fmla="*/ 16131 w 338346"/>
                <a:gd name="connsiteY152" fmla="*/ 193566 h 204581"/>
                <a:gd name="connsiteX153" fmla="*/ 17310 w 338346"/>
                <a:gd name="connsiteY153" fmla="*/ 192779 h 204581"/>
                <a:gd name="connsiteX154" fmla="*/ 25967 w 338346"/>
                <a:gd name="connsiteY154" fmla="*/ 191598 h 204581"/>
                <a:gd name="connsiteX155" fmla="*/ 26359 w 338346"/>
                <a:gd name="connsiteY155" fmla="*/ 195139 h 204581"/>
                <a:gd name="connsiteX156" fmla="*/ 25179 w 338346"/>
                <a:gd name="connsiteY156" fmla="*/ 198286 h 204581"/>
                <a:gd name="connsiteX157" fmla="*/ 28327 w 338346"/>
                <a:gd name="connsiteY157" fmla="*/ 198286 h 204581"/>
                <a:gd name="connsiteX158" fmla="*/ 31080 w 338346"/>
                <a:gd name="connsiteY158" fmla="*/ 197500 h 204581"/>
                <a:gd name="connsiteX159" fmla="*/ 33047 w 338346"/>
                <a:gd name="connsiteY159" fmla="*/ 196713 h 204581"/>
                <a:gd name="connsiteX160" fmla="*/ 35802 w 338346"/>
                <a:gd name="connsiteY160" fmla="*/ 199074 h 204581"/>
                <a:gd name="connsiteX161" fmla="*/ 35408 w 338346"/>
                <a:gd name="connsiteY161" fmla="*/ 201041 h 204581"/>
                <a:gd name="connsiteX162" fmla="*/ 33441 w 338346"/>
                <a:gd name="connsiteY162" fmla="*/ 202615 h 204581"/>
                <a:gd name="connsiteX163" fmla="*/ 33441 w 338346"/>
                <a:gd name="connsiteY163" fmla="*/ 205368 h 204581"/>
                <a:gd name="connsiteX164" fmla="*/ 35015 w 338346"/>
                <a:gd name="connsiteY164" fmla="*/ 204975 h 204581"/>
                <a:gd name="connsiteX165" fmla="*/ 39736 w 338346"/>
                <a:gd name="connsiteY165" fmla="*/ 204582 h 204581"/>
                <a:gd name="connsiteX166" fmla="*/ 40523 w 338346"/>
                <a:gd name="connsiteY166" fmla="*/ 204975 h 204581"/>
                <a:gd name="connsiteX167" fmla="*/ 42883 w 338346"/>
                <a:gd name="connsiteY167" fmla="*/ 204188 h 204581"/>
                <a:gd name="connsiteX168" fmla="*/ 45638 w 338346"/>
                <a:gd name="connsiteY168" fmla="*/ 204188 h 204581"/>
                <a:gd name="connsiteX169" fmla="*/ 46031 w 338346"/>
                <a:gd name="connsiteY169" fmla="*/ 207335 h 204581"/>
                <a:gd name="connsiteX170" fmla="*/ 52326 w 338346"/>
                <a:gd name="connsiteY170" fmla="*/ 207335 h 204581"/>
                <a:gd name="connsiteX171" fmla="*/ 55080 w 338346"/>
                <a:gd name="connsiteY171" fmla="*/ 206549 h 204581"/>
                <a:gd name="connsiteX172" fmla="*/ 57833 w 338346"/>
                <a:gd name="connsiteY172" fmla="*/ 206549 h 204581"/>
                <a:gd name="connsiteX173" fmla="*/ 58620 w 338346"/>
                <a:gd name="connsiteY173" fmla="*/ 206155 h 204581"/>
                <a:gd name="connsiteX174" fmla="*/ 61768 w 338346"/>
                <a:gd name="connsiteY174" fmla="*/ 205762 h 204581"/>
                <a:gd name="connsiteX175" fmla="*/ 64522 w 338346"/>
                <a:gd name="connsiteY175" fmla="*/ 204582 h 204581"/>
                <a:gd name="connsiteX176" fmla="*/ 67669 w 338346"/>
                <a:gd name="connsiteY176" fmla="*/ 204188 h 204581"/>
                <a:gd name="connsiteX177" fmla="*/ 70817 w 338346"/>
                <a:gd name="connsiteY177" fmla="*/ 203008 h 204581"/>
                <a:gd name="connsiteX178" fmla="*/ 73964 w 338346"/>
                <a:gd name="connsiteY178" fmla="*/ 201434 h 204581"/>
                <a:gd name="connsiteX179" fmla="*/ 76718 w 338346"/>
                <a:gd name="connsiteY179" fmla="*/ 200647 h 204581"/>
                <a:gd name="connsiteX180" fmla="*/ 78685 w 338346"/>
                <a:gd name="connsiteY180" fmla="*/ 197500 h 204581"/>
                <a:gd name="connsiteX181" fmla="*/ 81833 w 338346"/>
                <a:gd name="connsiteY181" fmla="*/ 196319 h 204581"/>
                <a:gd name="connsiteX182" fmla="*/ 88521 w 338346"/>
                <a:gd name="connsiteY182" fmla="*/ 193566 h 204581"/>
                <a:gd name="connsiteX183" fmla="*/ 89701 w 338346"/>
                <a:gd name="connsiteY183" fmla="*/ 192779 h 204581"/>
                <a:gd name="connsiteX184" fmla="*/ 92455 w 338346"/>
                <a:gd name="connsiteY184" fmla="*/ 191598 h 204581"/>
                <a:gd name="connsiteX185" fmla="*/ 95996 w 338346"/>
                <a:gd name="connsiteY185" fmla="*/ 190025 h 204581"/>
                <a:gd name="connsiteX186" fmla="*/ 98750 w 338346"/>
                <a:gd name="connsiteY186" fmla="*/ 186878 h 204581"/>
                <a:gd name="connsiteX187" fmla="*/ 99537 w 338346"/>
                <a:gd name="connsiteY187" fmla="*/ 186090 h 204581"/>
                <a:gd name="connsiteX188" fmla="*/ 101897 w 338346"/>
                <a:gd name="connsiteY188" fmla="*/ 184910 h 204581"/>
                <a:gd name="connsiteX189" fmla="*/ 105831 w 338346"/>
                <a:gd name="connsiteY189" fmla="*/ 183337 h 204581"/>
                <a:gd name="connsiteX190" fmla="*/ 109373 w 338346"/>
                <a:gd name="connsiteY190" fmla="*/ 182156 h 204581"/>
                <a:gd name="connsiteX191" fmla="*/ 112127 w 338346"/>
                <a:gd name="connsiteY191" fmla="*/ 182156 h 204581"/>
                <a:gd name="connsiteX192" fmla="*/ 115274 w 338346"/>
                <a:gd name="connsiteY192" fmla="*/ 181369 h 204581"/>
                <a:gd name="connsiteX193" fmla="*/ 118422 w 338346"/>
                <a:gd name="connsiteY193" fmla="*/ 178615 h 204581"/>
                <a:gd name="connsiteX194" fmla="*/ 115274 w 338346"/>
                <a:gd name="connsiteY194" fmla="*/ 179796 h 204581"/>
                <a:gd name="connsiteX195" fmla="*/ 112127 w 338346"/>
                <a:gd name="connsiteY195" fmla="*/ 180582 h 204581"/>
                <a:gd name="connsiteX196" fmla="*/ 115274 w 338346"/>
                <a:gd name="connsiteY196" fmla="*/ 179402 h 204581"/>
                <a:gd name="connsiteX197" fmla="*/ 118422 w 338346"/>
                <a:gd name="connsiteY197" fmla="*/ 177829 h 204581"/>
                <a:gd name="connsiteX198" fmla="*/ 119208 w 338346"/>
                <a:gd name="connsiteY198" fmla="*/ 175075 h 204581"/>
                <a:gd name="connsiteX199" fmla="*/ 122356 w 338346"/>
                <a:gd name="connsiteY199" fmla="*/ 172714 h 204581"/>
                <a:gd name="connsiteX200" fmla="*/ 125503 w 338346"/>
                <a:gd name="connsiteY200" fmla="*/ 171140 h 204581"/>
                <a:gd name="connsiteX201" fmla="*/ 128257 w 338346"/>
                <a:gd name="connsiteY201" fmla="*/ 168780 h 204581"/>
                <a:gd name="connsiteX202" fmla="*/ 131798 w 338346"/>
                <a:gd name="connsiteY202" fmla="*/ 166026 h 204581"/>
                <a:gd name="connsiteX203" fmla="*/ 134552 w 338346"/>
                <a:gd name="connsiteY203" fmla="*/ 162878 h 204581"/>
                <a:gd name="connsiteX204" fmla="*/ 136519 w 338346"/>
                <a:gd name="connsiteY204" fmla="*/ 160911 h 204581"/>
                <a:gd name="connsiteX205" fmla="*/ 145174 w 338346"/>
                <a:gd name="connsiteY205" fmla="*/ 155010 h 204581"/>
                <a:gd name="connsiteX206" fmla="*/ 146748 w 338346"/>
                <a:gd name="connsiteY206" fmla="*/ 154223 h 204581"/>
                <a:gd name="connsiteX207" fmla="*/ 150289 w 338346"/>
                <a:gd name="connsiteY207" fmla="*/ 151862 h 204581"/>
                <a:gd name="connsiteX208" fmla="*/ 153043 w 338346"/>
                <a:gd name="connsiteY208" fmla="*/ 149895 h 204581"/>
                <a:gd name="connsiteX209" fmla="*/ 155403 w 338346"/>
                <a:gd name="connsiteY209" fmla="*/ 147928 h 204581"/>
                <a:gd name="connsiteX210" fmla="*/ 158157 w 338346"/>
                <a:gd name="connsiteY210" fmla="*/ 144781 h 204581"/>
                <a:gd name="connsiteX211" fmla="*/ 158551 w 338346"/>
                <a:gd name="connsiteY211" fmla="*/ 144781 h 204581"/>
                <a:gd name="connsiteX212" fmla="*/ 175861 w 338346"/>
                <a:gd name="connsiteY212" fmla="*/ 127864 h 204581"/>
                <a:gd name="connsiteX213" fmla="*/ 182943 w 338346"/>
                <a:gd name="connsiteY213" fmla="*/ 124323 h 204581"/>
                <a:gd name="connsiteX214" fmla="*/ 194746 w 338346"/>
                <a:gd name="connsiteY214" fmla="*/ 120388 h 204581"/>
                <a:gd name="connsiteX215" fmla="*/ 209303 w 338346"/>
                <a:gd name="connsiteY215" fmla="*/ 114880 h 204581"/>
                <a:gd name="connsiteX216" fmla="*/ 210877 w 338346"/>
                <a:gd name="connsiteY216" fmla="*/ 114487 h 204581"/>
                <a:gd name="connsiteX217" fmla="*/ 225040 w 338346"/>
                <a:gd name="connsiteY217" fmla="*/ 112913 h 204581"/>
                <a:gd name="connsiteX218" fmla="*/ 225434 w 338346"/>
                <a:gd name="connsiteY218" fmla="*/ 112913 h 204581"/>
                <a:gd name="connsiteX219" fmla="*/ 228187 w 338346"/>
                <a:gd name="connsiteY219" fmla="*/ 114094 h 204581"/>
                <a:gd name="connsiteX220" fmla="*/ 231728 w 338346"/>
                <a:gd name="connsiteY220" fmla="*/ 112127 h 204581"/>
                <a:gd name="connsiteX221" fmla="*/ 233302 w 338346"/>
                <a:gd name="connsiteY221" fmla="*/ 113700 h 204581"/>
                <a:gd name="connsiteX222" fmla="*/ 236450 w 338346"/>
                <a:gd name="connsiteY222" fmla="*/ 111339 h 204581"/>
                <a:gd name="connsiteX223" fmla="*/ 238810 w 338346"/>
                <a:gd name="connsiteY223" fmla="*/ 108586 h 204581"/>
                <a:gd name="connsiteX224" fmla="*/ 236450 w 338346"/>
                <a:gd name="connsiteY224" fmla="*/ 105831 h 204581"/>
                <a:gd name="connsiteX225" fmla="*/ 233695 w 338346"/>
                <a:gd name="connsiteY225" fmla="*/ 105831 h 204581"/>
                <a:gd name="connsiteX226" fmla="*/ 233302 w 338346"/>
                <a:gd name="connsiteY226" fmla="*/ 105831 h 204581"/>
                <a:gd name="connsiteX227" fmla="*/ 235662 w 338346"/>
                <a:gd name="connsiteY227" fmla="*/ 97569 h 204581"/>
                <a:gd name="connsiteX228" fmla="*/ 236056 w 338346"/>
                <a:gd name="connsiteY228" fmla="*/ 97569 h 204581"/>
                <a:gd name="connsiteX229" fmla="*/ 236450 w 338346"/>
                <a:gd name="connsiteY229" fmla="*/ 97176 h 204581"/>
                <a:gd name="connsiteX230" fmla="*/ 264382 w 338346"/>
                <a:gd name="connsiteY230" fmla="*/ 81439 h 204581"/>
                <a:gd name="connsiteX231" fmla="*/ 269891 w 338346"/>
                <a:gd name="connsiteY231" fmla="*/ 77111 h 204581"/>
                <a:gd name="connsiteX232" fmla="*/ 276185 w 338346"/>
                <a:gd name="connsiteY232" fmla="*/ 71997 h 204581"/>
                <a:gd name="connsiteX233" fmla="*/ 300971 w 338346"/>
                <a:gd name="connsiteY233" fmla="*/ 56260 h 204581"/>
                <a:gd name="connsiteX234" fmla="*/ 306873 w 338346"/>
                <a:gd name="connsiteY234" fmla="*/ 50752 h 204581"/>
                <a:gd name="connsiteX235" fmla="*/ 307266 w 338346"/>
                <a:gd name="connsiteY235" fmla="*/ 50358 h 204581"/>
                <a:gd name="connsiteX236" fmla="*/ 311201 w 338346"/>
                <a:gd name="connsiteY236" fmla="*/ 48391 h 204581"/>
                <a:gd name="connsiteX237" fmla="*/ 313955 w 338346"/>
                <a:gd name="connsiteY237" fmla="*/ 46817 h 204581"/>
                <a:gd name="connsiteX238" fmla="*/ 317889 w 338346"/>
                <a:gd name="connsiteY238" fmla="*/ 43670 h 204581"/>
                <a:gd name="connsiteX239" fmla="*/ 318675 w 338346"/>
                <a:gd name="connsiteY239" fmla="*/ 40523 h 204581"/>
                <a:gd name="connsiteX240" fmla="*/ 320643 w 338346"/>
                <a:gd name="connsiteY240" fmla="*/ 37769 h 204581"/>
                <a:gd name="connsiteX241" fmla="*/ 321429 w 338346"/>
                <a:gd name="connsiteY241" fmla="*/ 35408 h 204581"/>
                <a:gd name="connsiteX242" fmla="*/ 321036 w 338346"/>
                <a:gd name="connsiteY242" fmla="*/ 32261 h 204581"/>
                <a:gd name="connsiteX243" fmla="*/ 324183 w 338346"/>
                <a:gd name="connsiteY243" fmla="*/ 29507 h 204581"/>
                <a:gd name="connsiteX244" fmla="*/ 326938 w 338346"/>
                <a:gd name="connsiteY244" fmla="*/ 28720 h 204581"/>
                <a:gd name="connsiteX245" fmla="*/ 330872 w 338346"/>
                <a:gd name="connsiteY245" fmla="*/ 26359 h 204581"/>
                <a:gd name="connsiteX246" fmla="*/ 334019 w 338346"/>
                <a:gd name="connsiteY246" fmla="*/ 24392 h 204581"/>
                <a:gd name="connsiteX247" fmla="*/ 336380 w 338346"/>
                <a:gd name="connsiteY247" fmla="*/ 23606 h 204581"/>
                <a:gd name="connsiteX248" fmla="*/ 338741 w 338346"/>
                <a:gd name="connsiteY248" fmla="*/ 20458 h 204581"/>
                <a:gd name="connsiteX249" fmla="*/ 336773 w 338346"/>
                <a:gd name="connsiteY249" fmla="*/ 22425 h 204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</a:cxnLst>
              <a:rect l="l" t="t" r="r" b="b"/>
              <a:pathLst>
                <a:path w="338346" h="204581">
                  <a:moveTo>
                    <a:pt x="333626" y="23606"/>
                  </a:moveTo>
                  <a:lnTo>
                    <a:pt x="330478" y="25179"/>
                  </a:lnTo>
                  <a:lnTo>
                    <a:pt x="327724" y="25179"/>
                  </a:lnTo>
                  <a:lnTo>
                    <a:pt x="324577" y="26359"/>
                  </a:lnTo>
                  <a:lnTo>
                    <a:pt x="324183" y="24786"/>
                  </a:lnTo>
                  <a:lnTo>
                    <a:pt x="327331" y="24392"/>
                  </a:lnTo>
                  <a:lnTo>
                    <a:pt x="330084" y="23606"/>
                  </a:lnTo>
                  <a:lnTo>
                    <a:pt x="333232" y="21638"/>
                  </a:lnTo>
                  <a:lnTo>
                    <a:pt x="336380" y="19278"/>
                  </a:lnTo>
                  <a:lnTo>
                    <a:pt x="336773" y="16524"/>
                  </a:lnTo>
                  <a:lnTo>
                    <a:pt x="334019" y="16917"/>
                  </a:lnTo>
                  <a:lnTo>
                    <a:pt x="330872" y="17704"/>
                  </a:lnTo>
                  <a:lnTo>
                    <a:pt x="329692" y="20458"/>
                  </a:lnTo>
                  <a:lnTo>
                    <a:pt x="326544" y="20458"/>
                  </a:lnTo>
                  <a:lnTo>
                    <a:pt x="324577" y="23606"/>
                  </a:lnTo>
                  <a:lnTo>
                    <a:pt x="327724" y="23606"/>
                  </a:lnTo>
                  <a:lnTo>
                    <a:pt x="324577" y="23999"/>
                  </a:lnTo>
                  <a:lnTo>
                    <a:pt x="321823" y="25179"/>
                  </a:lnTo>
                  <a:lnTo>
                    <a:pt x="319069" y="25573"/>
                  </a:lnTo>
                  <a:lnTo>
                    <a:pt x="321823" y="23606"/>
                  </a:lnTo>
                  <a:lnTo>
                    <a:pt x="324577" y="20851"/>
                  </a:lnTo>
                  <a:lnTo>
                    <a:pt x="327724" y="18491"/>
                  </a:lnTo>
                  <a:lnTo>
                    <a:pt x="324577" y="18098"/>
                  </a:lnTo>
                  <a:lnTo>
                    <a:pt x="327724" y="16917"/>
                  </a:lnTo>
                  <a:lnTo>
                    <a:pt x="330872" y="14163"/>
                  </a:lnTo>
                  <a:lnTo>
                    <a:pt x="327724" y="14950"/>
                  </a:lnTo>
                  <a:lnTo>
                    <a:pt x="324183" y="16524"/>
                  </a:lnTo>
                  <a:lnTo>
                    <a:pt x="321036" y="19278"/>
                  </a:lnTo>
                  <a:lnTo>
                    <a:pt x="317889" y="18884"/>
                  </a:lnTo>
                  <a:lnTo>
                    <a:pt x="302152" y="19671"/>
                  </a:lnTo>
                  <a:lnTo>
                    <a:pt x="303332" y="18098"/>
                  </a:lnTo>
                  <a:lnTo>
                    <a:pt x="306086" y="15343"/>
                  </a:lnTo>
                  <a:lnTo>
                    <a:pt x="308446" y="12196"/>
                  </a:lnTo>
                  <a:lnTo>
                    <a:pt x="308446" y="9442"/>
                  </a:lnTo>
                  <a:lnTo>
                    <a:pt x="305299" y="10622"/>
                  </a:lnTo>
                  <a:lnTo>
                    <a:pt x="302152" y="10622"/>
                  </a:lnTo>
                  <a:lnTo>
                    <a:pt x="302152" y="6295"/>
                  </a:lnTo>
                  <a:lnTo>
                    <a:pt x="303332" y="5114"/>
                  </a:lnTo>
                  <a:lnTo>
                    <a:pt x="305299" y="2360"/>
                  </a:lnTo>
                  <a:lnTo>
                    <a:pt x="308446" y="787"/>
                  </a:lnTo>
                  <a:lnTo>
                    <a:pt x="311594" y="787"/>
                  </a:lnTo>
                  <a:lnTo>
                    <a:pt x="314347" y="1180"/>
                  </a:lnTo>
                  <a:lnTo>
                    <a:pt x="311594" y="393"/>
                  </a:lnTo>
                  <a:lnTo>
                    <a:pt x="308446" y="0"/>
                  </a:lnTo>
                  <a:lnTo>
                    <a:pt x="305299" y="393"/>
                  </a:lnTo>
                  <a:lnTo>
                    <a:pt x="302545" y="3147"/>
                  </a:lnTo>
                  <a:lnTo>
                    <a:pt x="299398" y="3147"/>
                  </a:lnTo>
                  <a:lnTo>
                    <a:pt x="296643" y="4721"/>
                  </a:lnTo>
                  <a:lnTo>
                    <a:pt x="293497" y="6295"/>
                  </a:lnTo>
                  <a:lnTo>
                    <a:pt x="290349" y="7869"/>
                  </a:lnTo>
                  <a:lnTo>
                    <a:pt x="284840" y="10622"/>
                  </a:lnTo>
                  <a:lnTo>
                    <a:pt x="281300" y="13376"/>
                  </a:lnTo>
                  <a:lnTo>
                    <a:pt x="278939" y="16524"/>
                  </a:lnTo>
                  <a:lnTo>
                    <a:pt x="276972" y="19278"/>
                  </a:lnTo>
                  <a:lnTo>
                    <a:pt x="275005" y="22425"/>
                  </a:lnTo>
                  <a:lnTo>
                    <a:pt x="273038" y="25573"/>
                  </a:lnTo>
                  <a:lnTo>
                    <a:pt x="246678" y="41703"/>
                  </a:lnTo>
                  <a:lnTo>
                    <a:pt x="245498" y="42490"/>
                  </a:lnTo>
                  <a:lnTo>
                    <a:pt x="242351" y="42883"/>
                  </a:lnTo>
                  <a:lnTo>
                    <a:pt x="239596" y="46424"/>
                  </a:lnTo>
                  <a:lnTo>
                    <a:pt x="236450" y="48784"/>
                  </a:lnTo>
                  <a:lnTo>
                    <a:pt x="233695" y="51932"/>
                  </a:lnTo>
                  <a:lnTo>
                    <a:pt x="230548" y="54686"/>
                  </a:lnTo>
                  <a:lnTo>
                    <a:pt x="227794" y="57833"/>
                  </a:lnTo>
                  <a:lnTo>
                    <a:pt x="226220" y="59407"/>
                  </a:lnTo>
                  <a:lnTo>
                    <a:pt x="218352" y="66095"/>
                  </a:lnTo>
                  <a:lnTo>
                    <a:pt x="217958" y="66489"/>
                  </a:lnTo>
                  <a:lnTo>
                    <a:pt x="214417" y="69636"/>
                  </a:lnTo>
                  <a:lnTo>
                    <a:pt x="205368" y="74751"/>
                  </a:lnTo>
                  <a:lnTo>
                    <a:pt x="182943" y="85767"/>
                  </a:lnTo>
                  <a:lnTo>
                    <a:pt x="178222" y="88127"/>
                  </a:lnTo>
                  <a:lnTo>
                    <a:pt x="175861" y="88521"/>
                  </a:lnTo>
                  <a:lnTo>
                    <a:pt x="174288" y="90094"/>
                  </a:lnTo>
                  <a:lnTo>
                    <a:pt x="163666" y="95602"/>
                  </a:lnTo>
                  <a:lnTo>
                    <a:pt x="159732" y="97569"/>
                  </a:lnTo>
                  <a:lnTo>
                    <a:pt x="158157" y="97569"/>
                  </a:lnTo>
                  <a:lnTo>
                    <a:pt x="155010" y="99537"/>
                  </a:lnTo>
                  <a:lnTo>
                    <a:pt x="154617" y="99930"/>
                  </a:lnTo>
                  <a:lnTo>
                    <a:pt x="140847" y="105831"/>
                  </a:lnTo>
                  <a:lnTo>
                    <a:pt x="139666" y="105831"/>
                  </a:lnTo>
                  <a:lnTo>
                    <a:pt x="136126" y="107405"/>
                  </a:lnTo>
                  <a:lnTo>
                    <a:pt x="132585" y="108586"/>
                  </a:lnTo>
                  <a:lnTo>
                    <a:pt x="129437" y="110553"/>
                  </a:lnTo>
                  <a:lnTo>
                    <a:pt x="126290" y="112127"/>
                  </a:lnTo>
                  <a:lnTo>
                    <a:pt x="125503" y="112520"/>
                  </a:lnTo>
                  <a:lnTo>
                    <a:pt x="122356" y="113700"/>
                  </a:lnTo>
                  <a:lnTo>
                    <a:pt x="119208" y="115274"/>
                  </a:lnTo>
                  <a:lnTo>
                    <a:pt x="118422" y="115667"/>
                  </a:lnTo>
                  <a:lnTo>
                    <a:pt x="114094" y="117241"/>
                  </a:lnTo>
                  <a:lnTo>
                    <a:pt x="112520" y="117634"/>
                  </a:lnTo>
                  <a:lnTo>
                    <a:pt x="109373" y="117241"/>
                  </a:lnTo>
                  <a:lnTo>
                    <a:pt x="106619" y="118421"/>
                  </a:lnTo>
                  <a:lnTo>
                    <a:pt x="103471" y="118421"/>
                  </a:lnTo>
                  <a:lnTo>
                    <a:pt x="100324" y="119601"/>
                  </a:lnTo>
                  <a:lnTo>
                    <a:pt x="97176" y="122355"/>
                  </a:lnTo>
                  <a:lnTo>
                    <a:pt x="94029" y="123929"/>
                  </a:lnTo>
                  <a:lnTo>
                    <a:pt x="90882" y="125503"/>
                  </a:lnTo>
                  <a:lnTo>
                    <a:pt x="88127" y="126683"/>
                  </a:lnTo>
                  <a:lnTo>
                    <a:pt x="86948" y="128650"/>
                  </a:lnTo>
                  <a:lnTo>
                    <a:pt x="84193" y="129831"/>
                  </a:lnTo>
                  <a:lnTo>
                    <a:pt x="81046" y="131404"/>
                  </a:lnTo>
                  <a:lnTo>
                    <a:pt x="77899" y="132978"/>
                  </a:lnTo>
                  <a:lnTo>
                    <a:pt x="74751" y="135338"/>
                  </a:lnTo>
                  <a:lnTo>
                    <a:pt x="73964" y="136519"/>
                  </a:lnTo>
                  <a:lnTo>
                    <a:pt x="71211" y="138093"/>
                  </a:lnTo>
                  <a:lnTo>
                    <a:pt x="68063" y="139273"/>
                  </a:lnTo>
                  <a:lnTo>
                    <a:pt x="65309" y="140846"/>
                  </a:lnTo>
                  <a:lnTo>
                    <a:pt x="61768" y="143207"/>
                  </a:lnTo>
                  <a:lnTo>
                    <a:pt x="59801" y="144781"/>
                  </a:lnTo>
                  <a:lnTo>
                    <a:pt x="57047" y="144781"/>
                  </a:lnTo>
                  <a:lnTo>
                    <a:pt x="53899" y="146354"/>
                  </a:lnTo>
                  <a:lnTo>
                    <a:pt x="52326" y="149502"/>
                  </a:lnTo>
                  <a:lnTo>
                    <a:pt x="49178" y="148715"/>
                  </a:lnTo>
                  <a:lnTo>
                    <a:pt x="46425" y="150289"/>
                  </a:lnTo>
                  <a:lnTo>
                    <a:pt x="46817" y="153436"/>
                  </a:lnTo>
                  <a:lnTo>
                    <a:pt x="44064" y="153042"/>
                  </a:lnTo>
                  <a:lnTo>
                    <a:pt x="41310" y="153830"/>
                  </a:lnTo>
                  <a:lnTo>
                    <a:pt x="38556" y="156977"/>
                  </a:lnTo>
                  <a:lnTo>
                    <a:pt x="35802" y="157371"/>
                  </a:lnTo>
                  <a:lnTo>
                    <a:pt x="33835" y="160518"/>
                  </a:lnTo>
                  <a:lnTo>
                    <a:pt x="36589" y="160518"/>
                  </a:lnTo>
                  <a:lnTo>
                    <a:pt x="33441" y="161698"/>
                  </a:lnTo>
                  <a:lnTo>
                    <a:pt x="33047" y="162878"/>
                  </a:lnTo>
                  <a:lnTo>
                    <a:pt x="29507" y="165632"/>
                  </a:lnTo>
                  <a:lnTo>
                    <a:pt x="29113" y="165632"/>
                  </a:lnTo>
                  <a:lnTo>
                    <a:pt x="29507" y="162878"/>
                  </a:lnTo>
                  <a:lnTo>
                    <a:pt x="26359" y="162485"/>
                  </a:lnTo>
                  <a:lnTo>
                    <a:pt x="26359" y="165632"/>
                  </a:lnTo>
                  <a:lnTo>
                    <a:pt x="23212" y="165239"/>
                  </a:lnTo>
                  <a:lnTo>
                    <a:pt x="20458" y="167993"/>
                  </a:lnTo>
                  <a:lnTo>
                    <a:pt x="17310" y="170353"/>
                  </a:lnTo>
                  <a:lnTo>
                    <a:pt x="20458" y="170353"/>
                  </a:lnTo>
                  <a:lnTo>
                    <a:pt x="23606" y="169173"/>
                  </a:lnTo>
                  <a:lnTo>
                    <a:pt x="23999" y="169173"/>
                  </a:lnTo>
                  <a:lnTo>
                    <a:pt x="22425" y="170353"/>
                  </a:lnTo>
                  <a:lnTo>
                    <a:pt x="20065" y="171140"/>
                  </a:lnTo>
                  <a:lnTo>
                    <a:pt x="17310" y="172320"/>
                  </a:lnTo>
                  <a:lnTo>
                    <a:pt x="19278" y="172320"/>
                  </a:lnTo>
                  <a:lnTo>
                    <a:pt x="10622" y="178222"/>
                  </a:lnTo>
                  <a:lnTo>
                    <a:pt x="10229" y="178222"/>
                  </a:lnTo>
                  <a:lnTo>
                    <a:pt x="7475" y="178222"/>
                  </a:lnTo>
                  <a:lnTo>
                    <a:pt x="4721" y="179402"/>
                  </a:lnTo>
                  <a:lnTo>
                    <a:pt x="1573" y="182156"/>
                  </a:lnTo>
                  <a:lnTo>
                    <a:pt x="0" y="184910"/>
                  </a:lnTo>
                  <a:lnTo>
                    <a:pt x="394" y="185304"/>
                  </a:lnTo>
                  <a:lnTo>
                    <a:pt x="4328" y="188451"/>
                  </a:lnTo>
                  <a:lnTo>
                    <a:pt x="3148" y="188845"/>
                  </a:lnTo>
                  <a:lnTo>
                    <a:pt x="1180" y="191992"/>
                  </a:lnTo>
                  <a:lnTo>
                    <a:pt x="3934" y="192385"/>
                  </a:lnTo>
                  <a:lnTo>
                    <a:pt x="7082" y="192385"/>
                  </a:lnTo>
                  <a:lnTo>
                    <a:pt x="10229" y="193172"/>
                  </a:lnTo>
                  <a:lnTo>
                    <a:pt x="14164" y="193566"/>
                  </a:lnTo>
                  <a:lnTo>
                    <a:pt x="16131" y="193566"/>
                  </a:lnTo>
                  <a:lnTo>
                    <a:pt x="17310" y="192779"/>
                  </a:lnTo>
                  <a:lnTo>
                    <a:pt x="25967" y="191598"/>
                  </a:lnTo>
                  <a:lnTo>
                    <a:pt x="26359" y="195139"/>
                  </a:lnTo>
                  <a:lnTo>
                    <a:pt x="25179" y="198286"/>
                  </a:lnTo>
                  <a:lnTo>
                    <a:pt x="28327" y="198286"/>
                  </a:lnTo>
                  <a:lnTo>
                    <a:pt x="31080" y="197500"/>
                  </a:lnTo>
                  <a:lnTo>
                    <a:pt x="33047" y="196713"/>
                  </a:lnTo>
                  <a:lnTo>
                    <a:pt x="35802" y="199074"/>
                  </a:lnTo>
                  <a:lnTo>
                    <a:pt x="35408" y="201041"/>
                  </a:lnTo>
                  <a:lnTo>
                    <a:pt x="33441" y="202615"/>
                  </a:lnTo>
                  <a:lnTo>
                    <a:pt x="33441" y="205368"/>
                  </a:lnTo>
                  <a:lnTo>
                    <a:pt x="35015" y="204975"/>
                  </a:lnTo>
                  <a:lnTo>
                    <a:pt x="39736" y="204582"/>
                  </a:lnTo>
                  <a:lnTo>
                    <a:pt x="40523" y="204975"/>
                  </a:lnTo>
                  <a:lnTo>
                    <a:pt x="42883" y="204188"/>
                  </a:lnTo>
                  <a:lnTo>
                    <a:pt x="45638" y="204188"/>
                  </a:lnTo>
                  <a:lnTo>
                    <a:pt x="46031" y="207335"/>
                  </a:lnTo>
                  <a:lnTo>
                    <a:pt x="52326" y="207335"/>
                  </a:lnTo>
                  <a:lnTo>
                    <a:pt x="55080" y="206549"/>
                  </a:lnTo>
                  <a:lnTo>
                    <a:pt x="57833" y="206549"/>
                  </a:lnTo>
                  <a:lnTo>
                    <a:pt x="58620" y="206155"/>
                  </a:lnTo>
                  <a:lnTo>
                    <a:pt x="61768" y="205762"/>
                  </a:lnTo>
                  <a:lnTo>
                    <a:pt x="64522" y="204582"/>
                  </a:lnTo>
                  <a:lnTo>
                    <a:pt x="67669" y="204188"/>
                  </a:lnTo>
                  <a:lnTo>
                    <a:pt x="70817" y="203008"/>
                  </a:lnTo>
                  <a:lnTo>
                    <a:pt x="73964" y="201434"/>
                  </a:lnTo>
                  <a:lnTo>
                    <a:pt x="76718" y="200647"/>
                  </a:lnTo>
                  <a:lnTo>
                    <a:pt x="78685" y="197500"/>
                  </a:lnTo>
                  <a:lnTo>
                    <a:pt x="81833" y="196319"/>
                  </a:lnTo>
                  <a:lnTo>
                    <a:pt x="88521" y="193566"/>
                  </a:lnTo>
                  <a:lnTo>
                    <a:pt x="89701" y="192779"/>
                  </a:lnTo>
                  <a:lnTo>
                    <a:pt x="92455" y="191598"/>
                  </a:lnTo>
                  <a:lnTo>
                    <a:pt x="95996" y="190025"/>
                  </a:lnTo>
                  <a:lnTo>
                    <a:pt x="98750" y="186878"/>
                  </a:lnTo>
                  <a:lnTo>
                    <a:pt x="99537" y="186090"/>
                  </a:lnTo>
                  <a:lnTo>
                    <a:pt x="101897" y="184910"/>
                  </a:lnTo>
                  <a:lnTo>
                    <a:pt x="105831" y="183337"/>
                  </a:lnTo>
                  <a:lnTo>
                    <a:pt x="109373" y="182156"/>
                  </a:lnTo>
                  <a:lnTo>
                    <a:pt x="112127" y="182156"/>
                  </a:lnTo>
                  <a:lnTo>
                    <a:pt x="115274" y="181369"/>
                  </a:lnTo>
                  <a:lnTo>
                    <a:pt x="118422" y="178615"/>
                  </a:lnTo>
                  <a:lnTo>
                    <a:pt x="115274" y="179796"/>
                  </a:lnTo>
                  <a:lnTo>
                    <a:pt x="112127" y="180582"/>
                  </a:lnTo>
                  <a:lnTo>
                    <a:pt x="115274" y="179402"/>
                  </a:lnTo>
                  <a:lnTo>
                    <a:pt x="118422" y="177829"/>
                  </a:lnTo>
                  <a:lnTo>
                    <a:pt x="119208" y="175075"/>
                  </a:lnTo>
                  <a:lnTo>
                    <a:pt x="122356" y="172714"/>
                  </a:lnTo>
                  <a:lnTo>
                    <a:pt x="125503" y="171140"/>
                  </a:lnTo>
                  <a:lnTo>
                    <a:pt x="128257" y="168780"/>
                  </a:lnTo>
                  <a:lnTo>
                    <a:pt x="131798" y="166026"/>
                  </a:lnTo>
                  <a:lnTo>
                    <a:pt x="134552" y="162878"/>
                  </a:lnTo>
                  <a:lnTo>
                    <a:pt x="136519" y="160911"/>
                  </a:lnTo>
                  <a:lnTo>
                    <a:pt x="145174" y="155010"/>
                  </a:lnTo>
                  <a:lnTo>
                    <a:pt x="146748" y="154223"/>
                  </a:lnTo>
                  <a:lnTo>
                    <a:pt x="150289" y="151862"/>
                  </a:lnTo>
                  <a:lnTo>
                    <a:pt x="153043" y="149895"/>
                  </a:lnTo>
                  <a:lnTo>
                    <a:pt x="155403" y="147928"/>
                  </a:lnTo>
                  <a:lnTo>
                    <a:pt x="158157" y="144781"/>
                  </a:lnTo>
                  <a:lnTo>
                    <a:pt x="158551" y="144781"/>
                  </a:lnTo>
                  <a:lnTo>
                    <a:pt x="175861" y="127864"/>
                  </a:lnTo>
                  <a:lnTo>
                    <a:pt x="182943" y="124323"/>
                  </a:lnTo>
                  <a:lnTo>
                    <a:pt x="194746" y="120388"/>
                  </a:lnTo>
                  <a:lnTo>
                    <a:pt x="209303" y="114880"/>
                  </a:lnTo>
                  <a:lnTo>
                    <a:pt x="210877" y="114487"/>
                  </a:lnTo>
                  <a:lnTo>
                    <a:pt x="225040" y="112913"/>
                  </a:lnTo>
                  <a:lnTo>
                    <a:pt x="225434" y="112913"/>
                  </a:lnTo>
                  <a:lnTo>
                    <a:pt x="228187" y="114094"/>
                  </a:lnTo>
                  <a:lnTo>
                    <a:pt x="231728" y="112127"/>
                  </a:lnTo>
                  <a:lnTo>
                    <a:pt x="233302" y="113700"/>
                  </a:lnTo>
                  <a:lnTo>
                    <a:pt x="236450" y="111339"/>
                  </a:lnTo>
                  <a:lnTo>
                    <a:pt x="238810" y="108586"/>
                  </a:lnTo>
                  <a:lnTo>
                    <a:pt x="236450" y="105831"/>
                  </a:lnTo>
                  <a:lnTo>
                    <a:pt x="233695" y="105831"/>
                  </a:lnTo>
                  <a:lnTo>
                    <a:pt x="233302" y="105831"/>
                  </a:lnTo>
                  <a:lnTo>
                    <a:pt x="235662" y="97569"/>
                  </a:lnTo>
                  <a:lnTo>
                    <a:pt x="236056" y="97569"/>
                  </a:lnTo>
                  <a:lnTo>
                    <a:pt x="236450" y="97176"/>
                  </a:lnTo>
                  <a:lnTo>
                    <a:pt x="264382" y="81439"/>
                  </a:lnTo>
                  <a:lnTo>
                    <a:pt x="269891" y="77111"/>
                  </a:lnTo>
                  <a:lnTo>
                    <a:pt x="276185" y="71997"/>
                  </a:lnTo>
                  <a:lnTo>
                    <a:pt x="300971" y="56260"/>
                  </a:lnTo>
                  <a:lnTo>
                    <a:pt x="306873" y="50752"/>
                  </a:lnTo>
                  <a:lnTo>
                    <a:pt x="307266" y="50358"/>
                  </a:lnTo>
                  <a:lnTo>
                    <a:pt x="311201" y="48391"/>
                  </a:lnTo>
                  <a:lnTo>
                    <a:pt x="313955" y="46817"/>
                  </a:lnTo>
                  <a:lnTo>
                    <a:pt x="317889" y="43670"/>
                  </a:lnTo>
                  <a:lnTo>
                    <a:pt x="318675" y="40523"/>
                  </a:lnTo>
                  <a:lnTo>
                    <a:pt x="320643" y="37769"/>
                  </a:lnTo>
                  <a:lnTo>
                    <a:pt x="321429" y="35408"/>
                  </a:lnTo>
                  <a:lnTo>
                    <a:pt x="321036" y="32261"/>
                  </a:lnTo>
                  <a:lnTo>
                    <a:pt x="324183" y="29507"/>
                  </a:lnTo>
                  <a:lnTo>
                    <a:pt x="326938" y="28720"/>
                  </a:lnTo>
                  <a:lnTo>
                    <a:pt x="330872" y="26359"/>
                  </a:lnTo>
                  <a:lnTo>
                    <a:pt x="334019" y="24392"/>
                  </a:lnTo>
                  <a:lnTo>
                    <a:pt x="336380" y="23606"/>
                  </a:lnTo>
                  <a:lnTo>
                    <a:pt x="338741" y="20458"/>
                  </a:lnTo>
                  <a:lnTo>
                    <a:pt x="336773" y="2242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57" name="Freeform: Shape 4251">
              <a:extLst>
                <a:ext uri="{FF2B5EF4-FFF2-40B4-BE49-F238E27FC236}">
                  <a16:creationId xmlns:a16="http://schemas.microsoft.com/office/drawing/2014/main" id="{C49E9ECB-4092-4C81-8B65-07141D5B43EA}"/>
                </a:ext>
              </a:extLst>
            </p:cNvPr>
            <p:cNvSpPr/>
            <p:nvPr/>
          </p:nvSpPr>
          <p:spPr>
            <a:xfrm>
              <a:off x="10862755" y="5109366"/>
              <a:ext cx="7869" cy="3934"/>
            </a:xfrm>
            <a:custGeom>
              <a:avLst/>
              <a:gdLst>
                <a:gd name="connsiteX0" fmla="*/ 1180 w 7868"/>
                <a:gd name="connsiteY0" fmla="*/ 3934 h 3934"/>
                <a:gd name="connsiteX1" fmla="*/ 0 w 7868"/>
                <a:gd name="connsiteY1" fmla="*/ 7081 h 3934"/>
                <a:gd name="connsiteX2" fmla="*/ 3147 w 7868"/>
                <a:gd name="connsiteY2" fmla="*/ 5901 h 3934"/>
                <a:gd name="connsiteX3" fmla="*/ 5901 w 7868"/>
                <a:gd name="connsiteY3" fmla="*/ 3147 h 3934"/>
                <a:gd name="connsiteX4" fmla="*/ 7869 w 7868"/>
                <a:gd name="connsiteY4" fmla="*/ 0 h 3934"/>
                <a:gd name="connsiteX5" fmla="*/ 7081 w 7868"/>
                <a:gd name="connsiteY5" fmla="*/ 1180 h 3934"/>
                <a:gd name="connsiteX6" fmla="*/ 4327 w 7868"/>
                <a:gd name="connsiteY6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1180" y="3934"/>
                  </a:moveTo>
                  <a:lnTo>
                    <a:pt x="0" y="7081"/>
                  </a:lnTo>
                  <a:lnTo>
                    <a:pt x="3147" y="5901"/>
                  </a:lnTo>
                  <a:lnTo>
                    <a:pt x="5901" y="3147"/>
                  </a:lnTo>
                  <a:lnTo>
                    <a:pt x="7869" y="0"/>
                  </a:lnTo>
                  <a:lnTo>
                    <a:pt x="7081" y="1180"/>
                  </a:lnTo>
                  <a:lnTo>
                    <a:pt x="432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58" name="Freeform: Shape 4252">
              <a:extLst>
                <a:ext uri="{FF2B5EF4-FFF2-40B4-BE49-F238E27FC236}">
                  <a16:creationId xmlns:a16="http://schemas.microsoft.com/office/drawing/2014/main" id="{6135E544-9A3E-4A12-83D9-CE078DFCE70E}"/>
                </a:ext>
              </a:extLst>
            </p:cNvPr>
            <p:cNvSpPr/>
            <p:nvPr/>
          </p:nvSpPr>
          <p:spPr>
            <a:xfrm>
              <a:off x="9703327" y="2534784"/>
              <a:ext cx="3934" cy="7869"/>
            </a:xfrm>
            <a:custGeom>
              <a:avLst/>
              <a:gdLst>
                <a:gd name="connsiteX0" fmla="*/ 7082 w 3934"/>
                <a:gd name="connsiteY0" fmla="*/ 7082 h 7868"/>
                <a:gd name="connsiteX1" fmla="*/ 7476 w 3934"/>
                <a:gd name="connsiteY1" fmla="*/ 4328 h 7868"/>
                <a:gd name="connsiteX2" fmla="*/ 5901 w 3934"/>
                <a:gd name="connsiteY2" fmla="*/ 1180 h 7868"/>
                <a:gd name="connsiteX3" fmla="*/ 3934 w 3934"/>
                <a:gd name="connsiteY3" fmla="*/ 0 h 7868"/>
                <a:gd name="connsiteX4" fmla="*/ 3541 w 3934"/>
                <a:gd name="connsiteY4" fmla="*/ 2361 h 7868"/>
                <a:gd name="connsiteX5" fmla="*/ 0 w 3934"/>
                <a:gd name="connsiteY5" fmla="*/ 3934 h 7868"/>
                <a:gd name="connsiteX6" fmla="*/ 788 w 3934"/>
                <a:gd name="connsiteY6" fmla="*/ 5114 h 7868"/>
                <a:gd name="connsiteX7" fmla="*/ 3934 w 3934"/>
                <a:gd name="connsiteY7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7082" y="7082"/>
                  </a:moveTo>
                  <a:lnTo>
                    <a:pt x="7476" y="4328"/>
                  </a:lnTo>
                  <a:lnTo>
                    <a:pt x="5901" y="1180"/>
                  </a:lnTo>
                  <a:lnTo>
                    <a:pt x="3934" y="0"/>
                  </a:lnTo>
                  <a:lnTo>
                    <a:pt x="3541" y="2361"/>
                  </a:lnTo>
                  <a:lnTo>
                    <a:pt x="0" y="3934"/>
                  </a:lnTo>
                  <a:lnTo>
                    <a:pt x="788" y="5114"/>
                  </a:lnTo>
                  <a:lnTo>
                    <a:pt x="3934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59" name="Freeform: Shape 4253">
              <a:extLst>
                <a:ext uri="{FF2B5EF4-FFF2-40B4-BE49-F238E27FC236}">
                  <a16:creationId xmlns:a16="http://schemas.microsoft.com/office/drawing/2014/main" id="{48B75D14-D364-48DA-8E02-D942F505EA2A}"/>
                </a:ext>
              </a:extLst>
            </p:cNvPr>
            <p:cNvSpPr/>
            <p:nvPr/>
          </p:nvSpPr>
          <p:spPr>
            <a:xfrm>
              <a:off x="7004028" y="2662254"/>
              <a:ext cx="3934" cy="3934"/>
            </a:xfrm>
            <a:custGeom>
              <a:avLst/>
              <a:gdLst>
                <a:gd name="connsiteX0" fmla="*/ 7475 w 3934"/>
                <a:gd name="connsiteY0" fmla="*/ 787 h 0"/>
                <a:gd name="connsiteX1" fmla="*/ 5901 w 3934"/>
                <a:gd name="connsiteY1" fmla="*/ 393 h 0"/>
                <a:gd name="connsiteX2" fmla="*/ 3147 w 3934"/>
                <a:gd name="connsiteY2" fmla="*/ 0 h 0"/>
                <a:gd name="connsiteX3" fmla="*/ 0 w 3934"/>
                <a:gd name="connsiteY3" fmla="*/ 1967 h 0"/>
                <a:gd name="connsiteX4" fmla="*/ 787 w 3934"/>
                <a:gd name="connsiteY4" fmla="*/ 1574 h 0"/>
                <a:gd name="connsiteX5" fmla="*/ 0 w 3934"/>
                <a:gd name="connsiteY5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7475" y="787"/>
                  </a:moveTo>
                  <a:lnTo>
                    <a:pt x="5901" y="393"/>
                  </a:lnTo>
                  <a:lnTo>
                    <a:pt x="3147" y="0"/>
                  </a:lnTo>
                  <a:lnTo>
                    <a:pt x="0" y="1967"/>
                  </a:lnTo>
                  <a:lnTo>
                    <a:pt x="787" y="1574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60" name="Freeform: Shape 4254">
              <a:extLst>
                <a:ext uri="{FF2B5EF4-FFF2-40B4-BE49-F238E27FC236}">
                  <a16:creationId xmlns:a16="http://schemas.microsoft.com/office/drawing/2014/main" id="{F695C8E8-241D-4813-A596-06EA49D88BA6}"/>
                </a:ext>
              </a:extLst>
            </p:cNvPr>
            <p:cNvSpPr/>
            <p:nvPr/>
          </p:nvSpPr>
          <p:spPr>
            <a:xfrm>
              <a:off x="9755260" y="2570192"/>
              <a:ext cx="74751" cy="98357"/>
            </a:xfrm>
            <a:custGeom>
              <a:avLst/>
              <a:gdLst>
                <a:gd name="connsiteX0" fmla="*/ 2754 w 74751"/>
                <a:gd name="connsiteY0" fmla="*/ 20458 h 98356"/>
                <a:gd name="connsiteX1" fmla="*/ 0 w 74751"/>
                <a:gd name="connsiteY1" fmla="*/ 21245 h 98356"/>
                <a:gd name="connsiteX2" fmla="*/ 787 w 74751"/>
                <a:gd name="connsiteY2" fmla="*/ 24392 h 98356"/>
                <a:gd name="connsiteX3" fmla="*/ 3540 w 74751"/>
                <a:gd name="connsiteY3" fmla="*/ 25573 h 98356"/>
                <a:gd name="connsiteX4" fmla="*/ 5508 w 74751"/>
                <a:gd name="connsiteY4" fmla="*/ 28720 h 98356"/>
                <a:gd name="connsiteX5" fmla="*/ 8261 w 74751"/>
                <a:gd name="connsiteY5" fmla="*/ 29900 h 98356"/>
                <a:gd name="connsiteX6" fmla="*/ 11409 w 74751"/>
                <a:gd name="connsiteY6" fmla="*/ 30687 h 98356"/>
                <a:gd name="connsiteX7" fmla="*/ 13770 w 74751"/>
                <a:gd name="connsiteY7" fmla="*/ 31868 h 98356"/>
                <a:gd name="connsiteX8" fmla="*/ 14163 w 74751"/>
                <a:gd name="connsiteY8" fmla="*/ 32261 h 98356"/>
                <a:gd name="connsiteX9" fmla="*/ 15343 w 74751"/>
                <a:gd name="connsiteY9" fmla="*/ 35015 h 98356"/>
                <a:gd name="connsiteX10" fmla="*/ 18097 w 74751"/>
                <a:gd name="connsiteY10" fmla="*/ 37769 h 98356"/>
                <a:gd name="connsiteX11" fmla="*/ 18491 w 74751"/>
                <a:gd name="connsiteY11" fmla="*/ 38162 h 98356"/>
                <a:gd name="connsiteX12" fmla="*/ 15343 w 74751"/>
                <a:gd name="connsiteY12" fmla="*/ 36982 h 98356"/>
                <a:gd name="connsiteX13" fmla="*/ 12589 w 74751"/>
                <a:gd name="connsiteY13" fmla="*/ 36982 h 98356"/>
                <a:gd name="connsiteX14" fmla="*/ 11015 w 74751"/>
                <a:gd name="connsiteY14" fmla="*/ 34228 h 98356"/>
                <a:gd name="connsiteX15" fmla="*/ 8655 w 74751"/>
                <a:gd name="connsiteY15" fmla="*/ 31081 h 98356"/>
                <a:gd name="connsiteX16" fmla="*/ 6688 w 74751"/>
                <a:gd name="connsiteY16" fmla="*/ 34228 h 98356"/>
                <a:gd name="connsiteX17" fmla="*/ 9048 w 74751"/>
                <a:gd name="connsiteY17" fmla="*/ 37376 h 98356"/>
                <a:gd name="connsiteX18" fmla="*/ 11803 w 74751"/>
                <a:gd name="connsiteY18" fmla="*/ 38162 h 98356"/>
                <a:gd name="connsiteX19" fmla="*/ 14949 w 74751"/>
                <a:gd name="connsiteY19" fmla="*/ 41310 h 98356"/>
                <a:gd name="connsiteX20" fmla="*/ 15343 w 74751"/>
                <a:gd name="connsiteY20" fmla="*/ 44457 h 98356"/>
                <a:gd name="connsiteX21" fmla="*/ 17704 w 74751"/>
                <a:gd name="connsiteY21" fmla="*/ 41310 h 98356"/>
                <a:gd name="connsiteX22" fmla="*/ 19278 w 74751"/>
                <a:gd name="connsiteY22" fmla="*/ 40523 h 98356"/>
                <a:gd name="connsiteX23" fmla="*/ 22425 w 74751"/>
                <a:gd name="connsiteY23" fmla="*/ 39343 h 98356"/>
                <a:gd name="connsiteX24" fmla="*/ 25179 w 74751"/>
                <a:gd name="connsiteY24" fmla="*/ 41310 h 98356"/>
                <a:gd name="connsiteX25" fmla="*/ 24392 w 74751"/>
                <a:gd name="connsiteY25" fmla="*/ 44064 h 98356"/>
                <a:gd name="connsiteX26" fmla="*/ 27146 w 74751"/>
                <a:gd name="connsiteY26" fmla="*/ 45637 h 98356"/>
                <a:gd name="connsiteX27" fmla="*/ 30294 w 74751"/>
                <a:gd name="connsiteY27" fmla="*/ 43277 h 98356"/>
                <a:gd name="connsiteX28" fmla="*/ 29900 w 74751"/>
                <a:gd name="connsiteY28" fmla="*/ 40523 h 98356"/>
                <a:gd name="connsiteX29" fmla="*/ 27933 w 74751"/>
                <a:gd name="connsiteY29" fmla="*/ 37376 h 98356"/>
                <a:gd name="connsiteX30" fmla="*/ 24785 w 74751"/>
                <a:gd name="connsiteY30" fmla="*/ 36589 h 98356"/>
                <a:gd name="connsiteX31" fmla="*/ 21638 w 74751"/>
                <a:gd name="connsiteY31" fmla="*/ 37769 h 98356"/>
                <a:gd name="connsiteX32" fmla="*/ 22818 w 74751"/>
                <a:gd name="connsiteY32" fmla="*/ 34621 h 98356"/>
                <a:gd name="connsiteX33" fmla="*/ 22818 w 74751"/>
                <a:gd name="connsiteY33" fmla="*/ 34228 h 98356"/>
                <a:gd name="connsiteX34" fmla="*/ 24392 w 74751"/>
                <a:gd name="connsiteY34" fmla="*/ 27146 h 98356"/>
                <a:gd name="connsiteX35" fmla="*/ 28327 w 74751"/>
                <a:gd name="connsiteY35" fmla="*/ 32261 h 98356"/>
                <a:gd name="connsiteX36" fmla="*/ 28719 w 74751"/>
                <a:gd name="connsiteY36" fmla="*/ 32654 h 98356"/>
                <a:gd name="connsiteX37" fmla="*/ 38162 w 74751"/>
                <a:gd name="connsiteY37" fmla="*/ 46818 h 98356"/>
                <a:gd name="connsiteX38" fmla="*/ 38162 w 74751"/>
                <a:gd name="connsiteY38" fmla="*/ 47211 h 98356"/>
                <a:gd name="connsiteX39" fmla="*/ 39343 w 74751"/>
                <a:gd name="connsiteY39" fmla="*/ 49178 h 98356"/>
                <a:gd name="connsiteX40" fmla="*/ 36588 w 74751"/>
                <a:gd name="connsiteY40" fmla="*/ 60588 h 98356"/>
                <a:gd name="connsiteX41" fmla="*/ 33441 w 74751"/>
                <a:gd name="connsiteY41" fmla="*/ 61768 h 98356"/>
                <a:gd name="connsiteX42" fmla="*/ 33441 w 74751"/>
                <a:gd name="connsiteY42" fmla="*/ 64522 h 98356"/>
                <a:gd name="connsiteX43" fmla="*/ 35015 w 74751"/>
                <a:gd name="connsiteY43" fmla="*/ 67669 h 98356"/>
                <a:gd name="connsiteX44" fmla="*/ 35801 w 74751"/>
                <a:gd name="connsiteY44" fmla="*/ 70817 h 98356"/>
                <a:gd name="connsiteX45" fmla="*/ 37376 w 74751"/>
                <a:gd name="connsiteY45" fmla="*/ 72390 h 98356"/>
                <a:gd name="connsiteX46" fmla="*/ 38555 w 74751"/>
                <a:gd name="connsiteY46" fmla="*/ 75144 h 98356"/>
                <a:gd name="connsiteX47" fmla="*/ 41310 w 74751"/>
                <a:gd name="connsiteY47" fmla="*/ 77898 h 98356"/>
                <a:gd name="connsiteX48" fmla="*/ 43277 w 74751"/>
                <a:gd name="connsiteY48" fmla="*/ 80652 h 98356"/>
                <a:gd name="connsiteX49" fmla="*/ 43670 w 74751"/>
                <a:gd name="connsiteY49" fmla="*/ 83800 h 98356"/>
                <a:gd name="connsiteX50" fmla="*/ 42883 w 74751"/>
                <a:gd name="connsiteY50" fmla="*/ 86554 h 98356"/>
                <a:gd name="connsiteX51" fmla="*/ 40129 w 74751"/>
                <a:gd name="connsiteY51" fmla="*/ 86160 h 98356"/>
                <a:gd name="connsiteX52" fmla="*/ 42489 w 74751"/>
                <a:gd name="connsiteY52" fmla="*/ 88914 h 98356"/>
                <a:gd name="connsiteX53" fmla="*/ 44850 w 74751"/>
                <a:gd name="connsiteY53" fmla="*/ 92062 h 98356"/>
                <a:gd name="connsiteX54" fmla="*/ 47998 w 74751"/>
                <a:gd name="connsiteY54" fmla="*/ 92062 h 98356"/>
                <a:gd name="connsiteX55" fmla="*/ 50752 w 74751"/>
                <a:gd name="connsiteY55" fmla="*/ 92062 h 98356"/>
                <a:gd name="connsiteX56" fmla="*/ 53505 w 74751"/>
                <a:gd name="connsiteY56" fmla="*/ 94816 h 98356"/>
                <a:gd name="connsiteX57" fmla="*/ 56259 w 74751"/>
                <a:gd name="connsiteY57" fmla="*/ 94029 h 98356"/>
                <a:gd name="connsiteX58" fmla="*/ 56653 w 74751"/>
                <a:gd name="connsiteY58" fmla="*/ 91275 h 98356"/>
                <a:gd name="connsiteX59" fmla="*/ 53505 w 74751"/>
                <a:gd name="connsiteY59" fmla="*/ 89701 h 98356"/>
                <a:gd name="connsiteX60" fmla="*/ 51145 w 74751"/>
                <a:gd name="connsiteY60" fmla="*/ 86947 h 98356"/>
                <a:gd name="connsiteX61" fmla="*/ 49965 w 74751"/>
                <a:gd name="connsiteY61" fmla="*/ 83800 h 98356"/>
                <a:gd name="connsiteX62" fmla="*/ 49965 w 74751"/>
                <a:gd name="connsiteY62" fmla="*/ 80652 h 98356"/>
                <a:gd name="connsiteX63" fmla="*/ 50358 w 74751"/>
                <a:gd name="connsiteY63" fmla="*/ 77898 h 98356"/>
                <a:gd name="connsiteX64" fmla="*/ 49965 w 74751"/>
                <a:gd name="connsiteY64" fmla="*/ 77505 h 98356"/>
                <a:gd name="connsiteX65" fmla="*/ 55866 w 74751"/>
                <a:gd name="connsiteY65" fmla="*/ 79472 h 98356"/>
                <a:gd name="connsiteX66" fmla="*/ 55866 w 74751"/>
                <a:gd name="connsiteY66" fmla="*/ 79865 h 98356"/>
                <a:gd name="connsiteX67" fmla="*/ 53113 w 74751"/>
                <a:gd name="connsiteY67" fmla="*/ 79079 h 98356"/>
                <a:gd name="connsiteX68" fmla="*/ 54292 w 74751"/>
                <a:gd name="connsiteY68" fmla="*/ 82226 h 98356"/>
                <a:gd name="connsiteX69" fmla="*/ 56259 w 74751"/>
                <a:gd name="connsiteY69" fmla="*/ 84980 h 98356"/>
                <a:gd name="connsiteX70" fmla="*/ 58620 w 74751"/>
                <a:gd name="connsiteY70" fmla="*/ 87734 h 98356"/>
                <a:gd name="connsiteX71" fmla="*/ 60193 w 74751"/>
                <a:gd name="connsiteY71" fmla="*/ 90882 h 98356"/>
                <a:gd name="connsiteX72" fmla="*/ 60193 w 74751"/>
                <a:gd name="connsiteY72" fmla="*/ 94029 h 98356"/>
                <a:gd name="connsiteX73" fmla="*/ 59801 w 74751"/>
                <a:gd name="connsiteY73" fmla="*/ 96783 h 98356"/>
                <a:gd name="connsiteX74" fmla="*/ 59407 w 74751"/>
                <a:gd name="connsiteY74" fmla="*/ 99537 h 98356"/>
                <a:gd name="connsiteX75" fmla="*/ 62554 w 74751"/>
                <a:gd name="connsiteY75" fmla="*/ 97963 h 98356"/>
                <a:gd name="connsiteX76" fmla="*/ 65308 w 74751"/>
                <a:gd name="connsiteY76" fmla="*/ 96389 h 98356"/>
                <a:gd name="connsiteX77" fmla="*/ 66882 w 74751"/>
                <a:gd name="connsiteY77" fmla="*/ 93635 h 98356"/>
                <a:gd name="connsiteX78" fmla="*/ 69636 w 74751"/>
                <a:gd name="connsiteY78" fmla="*/ 90882 h 98356"/>
                <a:gd name="connsiteX79" fmla="*/ 66882 w 74751"/>
                <a:gd name="connsiteY79" fmla="*/ 88521 h 98356"/>
                <a:gd name="connsiteX80" fmla="*/ 65308 w 74751"/>
                <a:gd name="connsiteY80" fmla="*/ 85767 h 98356"/>
                <a:gd name="connsiteX81" fmla="*/ 68062 w 74751"/>
                <a:gd name="connsiteY81" fmla="*/ 84193 h 98356"/>
                <a:gd name="connsiteX82" fmla="*/ 70817 w 74751"/>
                <a:gd name="connsiteY82" fmla="*/ 85767 h 98356"/>
                <a:gd name="connsiteX83" fmla="*/ 73571 w 74751"/>
                <a:gd name="connsiteY83" fmla="*/ 86947 h 98356"/>
                <a:gd name="connsiteX84" fmla="*/ 74357 w 74751"/>
                <a:gd name="connsiteY84" fmla="*/ 83800 h 98356"/>
                <a:gd name="connsiteX85" fmla="*/ 73571 w 74751"/>
                <a:gd name="connsiteY85" fmla="*/ 81046 h 98356"/>
                <a:gd name="connsiteX86" fmla="*/ 74357 w 74751"/>
                <a:gd name="connsiteY86" fmla="*/ 78292 h 98356"/>
                <a:gd name="connsiteX87" fmla="*/ 73963 w 74751"/>
                <a:gd name="connsiteY87" fmla="*/ 75931 h 98356"/>
                <a:gd name="connsiteX88" fmla="*/ 73571 w 74751"/>
                <a:gd name="connsiteY88" fmla="*/ 72784 h 98356"/>
                <a:gd name="connsiteX89" fmla="*/ 73177 w 74751"/>
                <a:gd name="connsiteY89" fmla="*/ 72390 h 98356"/>
                <a:gd name="connsiteX90" fmla="*/ 71603 w 74751"/>
                <a:gd name="connsiteY90" fmla="*/ 64128 h 98356"/>
                <a:gd name="connsiteX91" fmla="*/ 71603 w 74751"/>
                <a:gd name="connsiteY91" fmla="*/ 63735 h 98356"/>
                <a:gd name="connsiteX92" fmla="*/ 70817 w 74751"/>
                <a:gd name="connsiteY92" fmla="*/ 61375 h 98356"/>
                <a:gd name="connsiteX93" fmla="*/ 71210 w 74751"/>
                <a:gd name="connsiteY93" fmla="*/ 63342 h 98356"/>
                <a:gd name="connsiteX94" fmla="*/ 70423 w 74751"/>
                <a:gd name="connsiteY94" fmla="*/ 60981 h 98356"/>
                <a:gd name="connsiteX95" fmla="*/ 70817 w 74751"/>
                <a:gd name="connsiteY95" fmla="*/ 58227 h 98356"/>
                <a:gd name="connsiteX96" fmla="*/ 70423 w 74751"/>
                <a:gd name="connsiteY96" fmla="*/ 55080 h 98356"/>
                <a:gd name="connsiteX97" fmla="*/ 71210 w 74751"/>
                <a:gd name="connsiteY97" fmla="*/ 52326 h 98356"/>
                <a:gd name="connsiteX98" fmla="*/ 71996 w 74751"/>
                <a:gd name="connsiteY98" fmla="*/ 49572 h 98356"/>
                <a:gd name="connsiteX99" fmla="*/ 70029 w 74751"/>
                <a:gd name="connsiteY99" fmla="*/ 46424 h 98356"/>
                <a:gd name="connsiteX100" fmla="*/ 73177 w 74751"/>
                <a:gd name="connsiteY100" fmla="*/ 41310 h 98356"/>
                <a:gd name="connsiteX101" fmla="*/ 75538 w 74751"/>
                <a:gd name="connsiteY101" fmla="*/ 38162 h 98356"/>
                <a:gd name="connsiteX102" fmla="*/ 73963 w 74751"/>
                <a:gd name="connsiteY102" fmla="*/ 35408 h 98356"/>
                <a:gd name="connsiteX103" fmla="*/ 71210 w 74751"/>
                <a:gd name="connsiteY103" fmla="*/ 33048 h 98356"/>
                <a:gd name="connsiteX104" fmla="*/ 73177 w 74751"/>
                <a:gd name="connsiteY104" fmla="*/ 30294 h 98356"/>
                <a:gd name="connsiteX105" fmla="*/ 70423 w 74751"/>
                <a:gd name="connsiteY105" fmla="*/ 30294 h 98356"/>
                <a:gd name="connsiteX106" fmla="*/ 67275 w 74751"/>
                <a:gd name="connsiteY106" fmla="*/ 28327 h 98356"/>
                <a:gd name="connsiteX107" fmla="*/ 66882 w 74751"/>
                <a:gd name="connsiteY107" fmla="*/ 25179 h 98356"/>
                <a:gd name="connsiteX108" fmla="*/ 63735 w 74751"/>
                <a:gd name="connsiteY108" fmla="*/ 23999 h 98356"/>
                <a:gd name="connsiteX109" fmla="*/ 60981 w 74751"/>
                <a:gd name="connsiteY109" fmla="*/ 23212 h 98356"/>
                <a:gd name="connsiteX110" fmla="*/ 58226 w 74751"/>
                <a:gd name="connsiteY110" fmla="*/ 23606 h 98356"/>
                <a:gd name="connsiteX111" fmla="*/ 55473 w 74751"/>
                <a:gd name="connsiteY111" fmla="*/ 22032 h 98356"/>
                <a:gd name="connsiteX112" fmla="*/ 58226 w 74751"/>
                <a:gd name="connsiteY112" fmla="*/ 19278 h 98356"/>
                <a:gd name="connsiteX113" fmla="*/ 59407 w 74751"/>
                <a:gd name="connsiteY113" fmla="*/ 16524 h 98356"/>
                <a:gd name="connsiteX114" fmla="*/ 59407 w 74751"/>
                <a:gd name="connsiteY114" fmla="*/ 16524 h 98356"/>
                <a:gd name="connsiteX115" fmla="*/ 59407 w 74751"/>
                <a:gd name="connsiteY115" fmla="*/ 16131 h 98356"/>
                <a:gd name="connsiteX116" fmla="*/ 58620 w 74751"/>
                <a:gd name="connsiteY116" fmla="*/ 13376 h 98356"/>
                <a:gd name="connsiteX117" fmla="*/ 57440 w 74751"/>
                <a:gd name="connsiteY117" fmla="*/ 12196 h 98356"/>
                <a:gd name="connsiteX118" fmla="*/ 56259 w 74751"/>
                <a:gd name="connsiteY118" fmla="*/ 10623 h 98356"/>
                <a:gd name="connsiteX119" fmla="*/ 53113 w 74751"/>
                <a:gd name="connsiteY119" fmla="*/ 9049 h 98356"/>
                <a:gd name="connsiteX120" fmla="*/ 53113 w 74751"/>
                <a:gd name="connsiteY120" fmla="*/ 9049 h 98356"/>
                <a:gd name="connsiteX121" fmla="*/ 52719 w 74751"/>
                <a:gd name="connsiteY121" fmla="*/ 9049 h 98356"/>
                <a:gd name="connsiteX122" fmla="*/ 52325 w 74751"/>
                <a:gd name="connsiteY122" fmla="*/ 9442 h 98356"/>
                <a:gd name="connsiteX123" fmla="*/ 50358 w 74751"/>
                <a:gd name="connsiteY123" fmla="*/ 9836 h 98356"/>
                <a:gd name="connsiteX124" fmla="*/ 47604 w 74751"/>
                <a:gd name="connsiteY124" fmla="*/ 12590 h 98356"/>
                <a:gd name="connsiteX125" fmla="*/ 47211 w 74751"/>
                <a:gd name="connsiteY125" fmla="*/ 12983 h 98356"/>
                <a:gd name="connsiteX126" fmla="*/ 46424 w 74751"/>
                <a:gd name="connsiteY126" fmla="*/ 12590 h 98356"/>
                <a:gd name="connsiteX127" fmla="*/ 44064 w 74751"/>
                <a:gd name="connsiteY127" fmla="*/ 11803 h 98356"/>
                <a:gd name="connsiteX128" fmla="*/ 42096 w 74751"/>
                <a:gd name="connsiteY128" fmla="*/ 11409 h 98356"/>
                <a:gd name="connsiteX129" fmla="*/ 32654 w 74751"/>
                <a:gd name="connsiteY129" fmla="*/ 2754 h 98356"/>
                <a:gd name="connsiteX130" fmla="*/ 32654 w 74751"/>
                <a:gd name="connsiteY130" fmla="*/ 0 h 98356"/>
                <a:gd name="connsiteX131" fmla="*/ 31474 w 74751"/>
                <a:gd name="connsiteY131" fmla="*/ 0 h 98356"/>
                <a:gd name="connsiteX132" fmla="*/ 30686 w 74751"/>
                <a:gd name="connsiteY132" fmla="*/ 787 h 98356"/>
                <a:gd name="connsiteX133" fmla="*/ 27933 w 74751"/>
                <a:gd name="connsiteY133" fmla="*/ 787 h 98356"/>
                <a:gd name="connsiteX134" fmla="*/ 24785 w 74751"/>
                <a:gd name="connsiteY134" fmla="*/ 787 h 98356"/>
                <a:gd name="connsiteX135" fmla="*/ 22031 w 74751"/>
                <a:gd name="connsiteY135" fmla="*/ 2361 h 98356"/>
                <a:gd name="connsiteX136" fmla="*/ 19278 w 74751"/>
                <a:gd name="connsiteY136" fmla="*/ 3147 h 98356"/>
                <a:gd name="connsiteX137" fmla="*/ 19671 w 74751"/>
                <a:gd name="connsiteY137" fmla="*/ 6295 h 98356"/>
                <a:gd name="connsiteX138" fmla="*/ 18097 w 74751"/>
                <a:gd name="connsiteY138" fmla="*/ 9049 h 98356"/>
                <a:gd name="connsiteX139" fmla="*/ 18491 w 74751"/>
                <a:gd name="connsiteY139" fmla="*/ 10623 h 98356"/>
                <a:gd name="connsiteX140" fmla="*/ 17310 w 74751"/>
                <a:gd name="connsiteY140" fmla="*/ 11803 h 98356"/>
                <a:gd name="connsiteX141" fmla="*/ 16130 w 74751"/>
                <a:gd name="connsiteY141" fmla="*/ 11803 h 98356"/>
                <a:gd name="connsiteX142" fmla="*/ 13376 w 74751"/>
                <a:gd name="connsiteY142" fmla="*/ 11016 h 98356"/>
                <a:gd name="connsiteX143" fmla="*/ 12589 w 74751"/>
                <a:gd name="connsiteY143" fmla="*/ 13770 h 98356"/>
                <a:gd name="connsiteX144" fmla="*/ 11409 w 74751"/>
                <a:gd name="connsiteY144" fmla="*/ 16524 h 98356"/>
                <a:gd name="connsiteX145" fmla="*/ 10622 w 74751"/>
                <a:gd name="connsiteY145" fmla="*/ 16917 h 98356"/>
                <a:gd name="connsiteX146" fmla="*/ 8655 w 74751"/>
                <a:gd name="connsiteY146" fmla="*/ 14557 h 98356"/>
                <a:gd name="connsiteX147" fmla="*/ 5508 w 74751"/>
                <a:gd name="connsiteY147" fmla="*/ 14950 h 98356"/>
                <a:gd name="connsiteX148" fmla="*/ 5901 w 74751"/>
                <a:gd name="connsiteY148" fmla="*/ 18098 h 98356"/>
                <a:gd name="connsiteX149" fmla="*/ 6688 w 74751"/>
                <a:gd name="connsiteY149" fmla="*/ 21245 h 98356"/>
                <a:gd name="connsiteX150" fmla="*/ 5508 w 74751"/>
                <a:gd name="connsiteY150" fmla="*/ 20065 h 98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</a:cxnLst>
              <a:rect l="l" t="t" r="r" b="b"/>
              <a:pathLst>
                <a:path w="74751" h="98356">
                  <a:moveTo>
                    <a:pt x="2754" y="20458"/>
                  </a:moveTo>
                  <a:lnTo>
                    <a:pt x="0" y="21245"/>
                  </a:lnTo>
                  <a:lnTo>
                    <a:pt x="787" y="24392"/>
                  </a:lnTo>
                  <a:lnTo>
                    <a:pt x="3540" y="25573"/>
                  </a:lnTo>
                  <a:lnTo>
                    <a:pt x="5508" y="28720"/>
                  </a:lnTo>
                  <a:lnTo>
                    <a:pt x="8261" y="29900"/>
                  </a:lnTo>
                  <a:lnTo>
                    <a:pt x="11409" y="30687"/>
                  </a:lnTo>
                  <a:lnTo>
                    <a:pt x="13770" y="31868"/>
                  </a:lnTo>
                  <a:lnTo>
                    <a:pt x="14163" y="32261"/>
                  </a:lnTo>
                  <a:lnTo>
                    <a:pt x="15343" y="35015"/>
                  </a:lnTo>
                  <a:lnTo>
                    <a:pt x="18097" y="37769"/>
                  </a:lnTo>
                  <a:lnTo>
                    <a:pt x="18491" y="38162"/>
                  </a:lnTo>
                  <a:lnTo>
                    <a:pt x="15343" y="36982"/>
                  </a:lnTo>
                  <a:lnTo>
                    <a:pt x="12589" y="36982"/>
                  </a:lnTo>
                  <a:lnTo>
                    <a:pt x="11015" y="34228"/>
                  </a:lnTo>
                  <a:lnTo>
                    <a:pt x="8655" y="31081"/>
                  </a:lnTo>
                  <a:lnTo>
                    <a:pt x="6688" y="34228"/>
                  </a:lnTo>
                  <a:lnTo>
                    <a:pt x="9048" y="37376"/>
                  </a:lnTo>
                  <a:lnTo>
                    <a:pt x="11803" y="38162"/>
                  </a:lnTo>
                  <a:lnTo>
                    <a:pt x="14949" y="41310"/>
                  </a:lnTo>
                  <a:lnTo>
                    <a:pt x="15343" y="44457"/>
                  </a:lnTo>
                  <a:lnTo>
                    <a:pt x="17704" y="41310"/>
                  </a:lnTo>
                  <a:lnTo>
                    <a:pt x="19278" y="40523"/>
                  </a:lnTo>
                  <a:lnTo>
                    <a:pt x="22425" y="39343"/>
                  </a:lnTo>
                  <a:lnTo>
                    <a:pt x="25179" y="41310"/>
                  </a:lnTo>
                  <a:lnTo>
                    <a:pt x="24392" y="44064"/>
                  </a:lnTo>
                  <a:lnTo>
                    <a:pt x="27146" y="45637"/>
                  </a:lnTo>
                  <a:lnTo>
                    <a:pt x="30294" y="43277"/>
                  </a:lnTo>
                  <a:lnTo>
                    <a:pt x="29900" y="40523"/>
                  </a:lnTo>
                  <a:lnTo>
                    <a:pt x="27933" y="37376"/>
                  </a:lnTo>
                  <a:lnTo>
                    <a:pt x="24785" y="36589"/>
                  </a:lnTo>
                  <a:lnTo>
                    <a:pt x="21638" y="37769"/>
                  </a:lnTo>
                  <a:lnTo>
                    <a:pt x="22818" y="34621"/>
                  </a:lnTo>
                  <a:lnTo>
                    <a:pt x="22818" y="34228"/>
                  </a:lnTo>
                  <a:lnTo>
                    <a:pt x="24392" y="27146"/>
                  </a:lnTo>
                  <a:lnTo>
                    <a:pt x="28327" y="32261"/>
                  </a:lnTo>
                  <a:lnTo>
                    <a:pt x="28719" y="32654"/>
                  </a:lnTo>
                  <a:lnTo>
                    <a:pt x="38162" y="46818"/>
                  </a:lnTo>
                  <a:lnTo>
                    <a:pt x="38162" y="47211"/>
                  </a:lnTo>
                  <a:lnTo>
                    <a:pt x="39343" y="49178"/>
                  </a:lnTo>
                  <a:lnTo>
                    <a:pt x="36588" y="60588"/>
                  </a:lnTo>
                  <a:lnTo>
                    <a:pt x="33441" y="61768"/>
                  </a:lnTo>
                  <a:lnTo>
                    <a:pt x="33441" y="64522"/>
                  </a:lnTo>
                  <a:lnTo>
                    <a:pt x="35015" y="67669"/>
                  </a:lnTo>
                  <a:lnTo>
                    <a:pt x="35801" y="70817"/>
                  </a:lnTo>
                  <a:lnTo>
                    <a:pt x="37376" y="72390"/>
                  </a:lnTo>
                  <a:lnTo>
                    <a:pt x="38555" y="75144"/>
                  </a:lnTo>
                  <a:lnTo>
                    <a:pt x="41310" y="77898"/>
                  </a:lnTo>
                  <a:lnTo>
                    <a:pt x="43277" y="80652"/>
                  </a:lnTo>
                  <a:lnTo>
                    <a:pt x="43670" y="83800"/>
                  </a:lnTo>
                  <a:lnTo>
                    <a:pt x="42883" y="86554"/>
                  </a:lnTo>
                  <a:lnTo>
                    <a:pt x="40129" y="86160"/>
                  </a:lnTo>
                  <a:lnTo>
                    <a:pt x="42489" y="88914"/>
                  </a:lnTo>
                  <a:lnTo>
                    <a:pt x="44850" y="92062"/>
                  </a:lnTo>
                  <a:lnTo>
                    <a:pt x="47998" y="92062"/>
                  </a:lnTo>
                  <a:lnTo>
                    <a:pt x="50752" y="92062"/>
                  </a:lnTo>
                  <a:lnTo>
                    <a:pt x="53505" y="94816"/>
                  </a:lnTo>
                  <a:lnTo>
                    <a:pt x="56259" y="94029"/>
                  </a:lnTo>
                  <a:lnTo>
                    <a:pt x="56653" y="91275"/>
                  </a:lnTo>
                  <a:lnTo>
                    <a:pt x="53505" y="89701"/>
                  </a:lnTo>
                  <a:lnTo>
                    <a:pt x="51145" y="86947"/>
                  </a:lnTo>
                  <a:lnTo>
                    <a:pt x="49965" y="83800"/>
                  </a:lnTo>
                  <a:lnTo>
                    <a:pt x="49965" y="80652"/>
                  </a:lnTo>
                  <a:lnTo>
                    <a:pt x="50358" y="77898"/>
                  </a:lnTo>
                  <a:lnTo>
                    <a:pt x="49965" y="77505"/>
                  </a:lnTo>
                  <a:lnTo>
                    <a:pt x="55866" y="79472"/>
                  </a:lnTo>
                  <a:lnTo>
                    <a:pt x="55866" y="79865"/>
                  </a:lnTo>
                  <a:lnTo>
                    <a:pt x="53113" y="79079"/>
                  </a:lnTo>
                  <a:lnTo>
                    <a:pt x="54292" y="82226"/>
                  </a:lnTo>
                  <a:lnTo>
                    <a:pt x="56259" y="84980"/>
                  </a:lnTo>
                  <a:lnTo>
                    <a:pt x="58620" y="87734"/>
                  </a:lnTo>
                  <a:lnTo>
                    <a:pt x="60193" y="90882"/>
                  </a:lnTo>
                  <a:lnTo>
                    <a:pt x="60193" y="94029"/>
                  </a:lnTo>
                  <a:lnTo>
                    <a:pt x="59801" y="96783"/>
                  </a:lnTo>
                  <a:lnTo>
                    <a:pt x="59407" y="99537"/>
                  </a:lnTo>
                  <a:lnTo>
                    <a:pt x="62554" y="97963"/>
                  </a:lnTo>
                  <a:lnTo>
                    <a:pt x="65308" y="96389"/>
                  </a:lnTo>
                  <a:lnTo>
                    <a:pt x="66882" y="93635"/>
                  </a:lnTo>
                  <a:lnTo>
                    <a:pt x="69636" y="90882"/>
                  </a:lnTo>
                  <a:lnTo>
                    <a:pt x="66882" y="88521"/>
                  </a:lnTo>
                  <a:lnTo>
                    <a:pt x="65308" y="85767"/>
                  </a:lnTo>
                  <a:lnTo>
                    <a:pt x="68062" y="84193"/>
                  </a:lnTo>
                  <a:lnTo>
                    <a:pt x="70817" y="85767"/>
                  </a:lnTo>
                  <a:lnTo>
                    <a:pt x="73571" y="86947"/>
                  </a:lnTo>
                  <a:lnTo>
                    <a:pt x="74357" y="83800"/>
                  </a:lnTo>
                  <a:lnTo>
                    <a:pt x="73571" y="81046"/>
                  </a:lnTo>
                  <a:lnTo>
                    <a:pt x="74357" y="78292"/>
                  </a:lnTo>
                  <a:lnTo>
                    <a:pt x="73963" y="75931"/>
                  </a:lnTo>
                  <a:lnTo>
                    <a:pt x="73571" y="72784"/>
                  </a:lnTo>
                  <a:lnTo>
                    <a:pt x="73177" y="72390"/>
                  </a:lnTo>
                  <a:lnTo>
                    <a:pt x="71603" y="64128"/>
                  </a:lnTo>
                  <a:lnTo>
                    <a:pt x="71603" y="63735"/>
                  </a:lnTo>
                  <a:lnTo>
                    <a:pt x="70817" y="61375"/>
                  </a:lnTo>
                  <a:lnTo>
                    <a:pt x="71210" y="63342"/>
                  </a:lnTo>
                  <a:lnTo>
                    <a:pt x="70423" y="60981"/>
                  </a:lnTo>
                  <a:lnTo>
                    <a:pt x="70817" y="58227"/>
                  </a:lnTo>
                  <a:lnTo>
                    <a:pt x="70423" y="55080"/>
                  </a:lnTo>
                  <a:lnTo>
                    <a:pt x="71210" y="52326"/>
                  </a:lnTo>
                  <a:lnTo>
                    <a:pt x="71996" y="49572"/>
                  </a:lnTo>
                  <a:lnTo>
                    <a:pt x="70029" y="46424"/>
                  </a:lnTo>
                  <a:lnTo>
                    <a:pt x="73177" y="41310"/>
                  </a:lnTo>
                  <a:lnTo>
                    <a:pt x="75538" y="38162"/>
                  </a:lnTo>
                  <a:lnTo>
                    <a:pt x="73963" y="35408"/>
                  </a:lnTo>
                  <a:lnTo>
                    <a:pt x="71210" y="33048"/>
                  </a:lnTo>
                  <a:lnTo>
                    <a:pt x="73177" y="30294"/>
                  </a:lnTo>
                  <a:lnTo>
                    <a:pt x="70423" y="30294"/>
                  </a:lnTo>
                  <a:lnTo>
                    <a:pt x="67275" y="28327"/>
                  </a:lnTo>
                  <a:lnTo>
                    <a:pt x="66882" y="25179"/>
                  </a:lnTo>
                  <a:lnTo>
                    <a:pt x="63735" y="23999"/>
                  </a:lnTo>
                  <a:lnTo>
                    <a:pt x="60981" y="23212"/>
                  </a:lnTo>
                  <a:lnTo>
                    <a:pt x="58226" y="23606"/>
                  </a:lnTo>
                  <a:lnTo>
                    <a:pt x="55473" y="22032"/>
                  </a:lnTo>
                  <a:lnTo>
                    <a:pt x="58226" y="19278"/>
                  </a:lnTo>
                  <a:lnTo>
                    <a:pt x="59407" y="16524"/>
                  </a:lnTo>
                  <a:lnTo>
                    <a:pt x="59407" y="16524"/>
                  </a:lnTo>
                  <a:lnTo>
                    <a:pt x="59407" y="16131"/>
                  </a:lnTo>
                  <a:lnTo>
                    <a:pt x="58620" y="13376"/>
                  </a:lnTo>
                  <a:lnTo>
                    <a:pt x="57440" y="12196"/>
                  </a:lnTo>
                  <a:lnTo>
                    <a:pt x="56259" y="10623"/>
                  </a:lnTo>
                  <a:lnTo>
                    <a:pt x="53113" y="9049"/>
                  </a:lnTo>
                  <a:lnTo>
                    <a:pt x="53113" y="9049"/>
                  </a:lnTo>
                  <a:lnTo>
                    <a:pt x="52719" y="9049"/>
                  </a:lnTo>
                  <a:lnTo>
                    <a:pt x="52325" y="9442"/>
                  </a:lnTo>
                  <a:lnTo>
                    <a:pt x="50358" y="9836"/>
                  </a:lnTo>
                  <a:lnTo>
                    <a:pt x="47604" y="12590"/>
                  </a:lnTo>
                  <a:lnTo>
                    <a:pt x="47211" y="12983"/>
                  </a:lnTo>
                  <a:lnTo>
                    <a:pt x="46424" y="12590"/>
                  </a:lnTo>
                  <a:lnTo>
                    <a:pt x="44064" y="11803"/>
                  </a:lnTo>
                  <a:lnTo>
                    <a:pt x="42096" y="11409"/>
                  </a:lnTo>
                  <a:lnTo>
                    <a:pt x="32654" y="2754"/>
                  </a:lnTo>
                  <a:lnTo>
                    <a:pt x="32654" y="0"/>
                  </a:lnTo>
                  <a:lnTo>
                    <a:pt x="31474" y="0"/>
                  </a:lnTo>
                  <a:lnTo>
                    <a:pt x="30686" y="787"/>
                  </a:lnTo>
                  <a:lnTo>
                    <a:pt x="27933" y="787"/>
                  </a:lnTo>
                  <a:lnTo>
                    <a:pt x="24785" y="787"/>
                  </a:lnTo>
                  <a:lnTo>
                    <a:pt x="22031" y="2361"/>
                  </a:lnTo>
                  <a:lnTo>
                    <a:pt x="19278" y="3147"/>
                  </a:lnTo>
                  <a:lnTo>
                    <a:pt x="19671" y="6295"/>
                  </a:lnTo>
                  <a:lnTo>
                    <a:pt x="18097" y="9049"/>
                  </a:lnTo>
                  <a:lnTo>
                    <a:pt x="18491" y="10623"/>
                  </a:lnTo>
                  <a:lnTo>
                    <a:pt x="17310" y="11803"/>
                  </a:lnTo>
                  <a:lnTo>
                    <a:pt x="16130" y="11803"/>
                  </a:lnTo>
                  <a:lnTo>
                    <a:pt x="13376" y="11016"/>
                  </a:lnTo>
                  <a:lnTo>
                    <a:pt x="12589" y="13770"/>
                  </a:lnTo>
                  <a:lnTo>
                    <a:pt x="11409" y="16524"/>
                  </a:lnTo>
                  <a:lnTo>
                    <a:pt x="10622" y="16917"/>
                  </a:lnTo>
                  <a:lnTo>
                    <a:pt x="8655" y="14557"/>
                  </a:lnTo>
                  <a:lnTo>
                    <a:pt x="5508" y="14950"/>
                  </a:lnTo>
                  <a:lnTo>
                    <a:pt x="5901" y="18098"/>
                  </a:lnTo>
                  <a:lnTo>
                    <a:pt x="6688" y="21245"/>
                  </a:lnTo>
                  <a:lnTo>
                    <a:pt x="5508" y="2006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61" name="Freeform: Shape 4255">
              <a:extLst>
                <a:ext uri="{FF2B5EF4-FFF2-40B4-BE49-F238E27FC236}">
                  <a16:creationId xmlns:a16="http://schemas.microsoft.com/office/drawing/2014/main" id="{2A87525C-B1FE-4882-B393-06536645B42B}"/>
                </a:ext>
              </a:extLst>
            </p:cNvPr>
            <p:cNvSpPr/>
            <p:nvPr/>
          </p:nvSpPr>
          <p:spPr>
            <a:xfrm>
              <a:off x="9778472" y="2644943"/>
              <a:ext cx="3934" cy="3934"/>
            </a:xfrm>
            <a:custGeom>
              <a:avLst/>
              <a:gdLst>
                <a:gd name="connsiteX0" fmla="*/ 1967 w 0"/>
                <a:gd name="connsiteY0" fmla="*/ 2754 h 0"/>
                <a:gd name="connsiteX1" fmla="*/ 1573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2754"/>
                  </a:moveTo>
                  <a:lnTo>
                    <a:pt x="1573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62" name="Freeform: Shape 4256">
              <a:extLst>
                <a:ext uri="{FF2B5EF4-FFF2-40B4-BE49-F238E27FC236}">
                  <a16:creationId xmlns:a16="http://schemas.microsoft.com/office/drawing/2014/main" id="{AEBE621F-8AFD-4A75-BB53-F7D1EC22ADFD}"/>
                </a:ext>
              </a:extLst>
            </p:cNvPr>
            <p:cNvSpPr/>
            <p:nvPr/>
          </p:nvSpPr>
          <p:spPr>
            <a:xfrm>
              <a:off x="9735588" y="2609535"/>
              <a:ext cx="7869" cy="3934"/>
            </a:xfrm>
            <a:custGeom>
              <a:avLst/>
              <a:gdLst>
                <a:gd name="connsiteX0" fmla="*/ 3147 w 7868"/>
                <a:gd name="connsiteY0" fmla="*/ 1180 h 3934"/>
                <a:gd name="connsiteX1" fmla="*/ 0 w 7868"/>
                <a:gd name="connsiteY1" fmla="*/ 0 h 3934"/>
                <a:gd name="connsiteX2" fmla="*/ 1180 w 7868"/>
                <a:gd name="connsiteY2" fmla="*/ 3147 h 3934"/>
                <a:gd name="connsiteX3" fmla="*/ 1180 w 7868"/>
                <a:gd name="connsiteY3" fmla="*/ 3541 h 3934"/>
                <a:gd name="connsiteX4" fmla="*/ 2360 w 7868"/>
                <a:gd name="connsiteY4" fmla="*/ 6688 h 3934"/>
                <a:gd name="connsiteX5" fmla="*/ 5508 w 7868"/>
                <a:gd name="connsiteY5" fmla="*/ 5114 h 3934"/>
                <a:gd name="connsiteX6" fmla="*/ 8261 w 7868"/>
                <a:gd name="connsiteY6" fmla="*/ 3934 h 3934"/>
                <a:gd name="connsiteX7" fmla="*/ 5901 w 7868"/>
                <a:gd name="connsiteY7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3147" y="1180"/>
                  </a:moveTo>
                  <a:lnTo>
                    <a:pt x="0" y="0"/>
                  </a:lnTo>
                  <a:lnTo>
                    <a:pt x="1180" y="3147"/>
                  </a:lnTo>
                  <a:lnTo>
                    <a:pt x="1180" y="3541"/>
                  </a:lnTo>
                  <a:lnTo>
                    <a:pt x="2360" y="6688"/>
                  </a:lnTo>
                  <a:lnTo>
                    <a:pt x="5508" y="5114"/>
                  </a:lnTo>
                  <a:lnTo>
                    <a:pt x="8261" y="3934"/>
                  </a:lnTo>
                  <a:lnTo>
                    <a:pt x="590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63" name="Freeform: Shape 4257">
              <a:extLst>
                <a:ext uri="{FF2B5EF4-FFF2-40B4-BE49-F238E27FC236}">
                  <a16:creationId xmlns:a16="http://schemas.microsoft.com/office/drawing/2014/main" id="{F7314575-9E43-423B-94C6-8E3EB48881A2}"/>
                </a:ext>
              </a:extLst>
            </p:cNvPr>
            <p:cNvSpPr/>
            <p:nvPr/>
          </p:nvSpPr>
          <p:spPr>
            <a:xfrm>
              <a:off x="9743850" y="2598519"/>
              <a:ext cx="3934" cy="3934"/>
            </a:xfrm>
            <a:custGeom>
              <a:avLst/>
              <a:gdLst>
                <a:gd name="connsiteX0" fmla="*/ 1967 w 0"/>
                <a:gd name="connsiteY0" fmla="*/ 4328 h 3934"/>
                <a:gd name="connsiteX1" fmla="*/ 1574 w 0"/>
                <a:gd name="connsiteY1" fmla="*/ 1574 h 3934"/>
                <a:gd name="connsiteX2" fmla="*/ 394 w 0"/>
                <a:gd name="connsiteY2" fmla="*/ 0 h 3934"/>
                <a:gd name="connsiteX3" fmla="*/ 394 w 0"/>
                <a:gd name="connsiteY3" fmla="*/ 3147 h 3934"/>
                <a:gd name="connsiteX4" fmla="*/ 0 w 0"/>
                <a:gd name="connsiteY4" fmla="*/ 5901 h 3934"/>
                <a:gd name="connsiteX5" fmla="*/ 2754 w 0"/>
                <a:gd name="connsiteY5" fmla="*/ 7082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3934">
                  <a:moveTo>
                    <a:pt x="1967" y="4328"/>
                  </a:moveTo>
                  <a:lnTo>
                    <a:pt x="1574" y="1574"/>
                  </a:lnTo>
                  <a:lnTo>
                    <a:pt x="394" y="0"/>
                  </a:lnTo>
                  <a:lnTo>
                    <a:pt x="394" y="3147"/>
                  </a:lnTo>
                  <a:lnTo>
                    <a:pt x="0" y="5901"/>
                  </a:lnTo>
                  <a:lnTo>
                    <a:pt x="2754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64" name="Freeform: Shape 4258">
              <a:extLst>
                <a:ext uri="{FF2B5EF4-FFF2-40B4-BE49-F238E27FC236}">
                  <a16:creationId xmlns:a16="http://schemas.microsoft.com/office/drawing/2014/main" id="{1D3C0CC2-AE9B-4FAE-BAF0-CDAEA28DBBB7}"/>
                </a:ext>
              </a:extLst>
            </p:cNvPr>
            <p:cNvSpPr/>
            <p:nvPr/>
          </p:nvSpPr>
          <p:spPr>
            <a:xfrm>
              <a:off x="9751325" y="2590650"/>
              <a:ext cx="3934" cy="3934"/>
            </a:xfrm>
            <a:custGeom>
              <a:avLst/>
              <a:gdLst>
                <a:gd name="connsiteX0" fmla="*/ 0 w 0"/>
                <a:gd name="connsiteY0" fmla="*/ 5901 h 3934"/>
                <a:gd name="connsiteX1" fmla="*/ 2754 w 0"/>
                <a:gd name="connsiteY1" fmla="*/ 3934 h 3934"/>
                <a:gd name="connsiteX2" fmla="*/ 2754 w 0"/>
                <a:gd name="connsiteY2" fmla="*/ 1180 h 3934"/>
                <a:gd name="connsiteX3" fmla="*/ 787 w 0"/>
                <a:gd name="connsiteY3" fmla="*/ 0 h 3934"/>
                <a:gd name="connsiteX4" fmla="*/ 0 w 0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5901"/>
                  </a:moveTo>
                  <a:lnTo>
                    <a:pt x="2754" y="3934"/>
                  </a:lnTo>
                  <a:lnTo>
                    <a:pt x="2754" y="1180"/>
                  </a:lnTo>
                  <a:lnTo>
                    <a:pt x="787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65" name="Freeform: Shape 4259">
              <a:extLst>
                <a:ext uri="{FF2B5EF4-FFF2-40B4-BE49-F238E27FC236}">
                  <a16:creationId xmlns:a16="http://schemas.microsoft.com/office/drawing/2014/main" id="{0224D051-79EA-493E-901D-2DC0F4723FF0}"/>
                </a:ext>
              </a:extLst>
            </p:cNvPr>
            <p:cNvSpPr/>
            <p:nvPr/>
          </p:nvSpPr>
          <p:spPr>
            <a:xfrm>
              <a:off x="9751718" y="2574127"/>
              <a:ext cx="3934" cy="3934"/>
            </a:xfrm>
            <a:custGeom>
              <a:avLst/>
              <a:gdLst>
                <a:gd name="connsiteX0" fmla="*/ 0 w 3934"/>
                <a:gd name="connsiteY0" fmla="*/ 393 h 0"/>
                <a:gd name="connsiteX1" fmla="*/ 1574 w 3934"/>
                <a:gd name="connsiteY1" fmla="*/ 3147 h 0"/>
                <a:gd name="connsiteX2" fmla="*/ 4328 w 3934"/>
                <a:gd name="connsiteY2" fmla="*/ 3147 h 0"/>
                <a:gd name="connsiteX3" fmla="*/ 2361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393"/>
                  </a:moveTo>
                  <a:lnTo>
                    <a:pt x="1574" y="3147"/>
                  </a:lnTo>
                  <a:lnTo>
                    <a:pt x="4328" y="3147"/>
                  </a:lnTo>
                  <a:lnTo>
                    <a:pt x="236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66" name="Freeform: Shape 4260">
              <a:extLst>
                <a:ext uri="{FF2B5EF4-FFF2-40B4-BE49-F238E27FC236}">
                  <a16:creationId xmlns:a16="http://schemas.microsoft.com/office/drawing/2014/main" id="{FAEA89A3-267A-4657-A6B3-0A6DB64BF94E}"/>
                </a:ext>
              </a:extLst>
            </p:cNvPr>
            <p:cNvSpPr/>
            <p:nvPr/>
          </p:nvSpPr>
          <p:spPr>
            <a:xfrm>
              <a:off x="9732047" y="2558783"/>
              <a:ext cx="3934" cy="3934"/>
            </a:xfrm>
            <a:custGeom>
              <a:avLst/>
              <a:gdLst>
                <a:gd name="connsiteX0" fmla="*/ 2754 w 3934"/>
                <a:gd name="connsiteY0" fmla="*/ 0 h 3934"/>
                <a:gd name="connsiteX1" fmla="*/ 0 w 3934"/>
                <a:gd name="connsiteY1" fmla="*/ 0 h 3934"/>
                <a:gd name="connsiteX2" fmla="*/ 394 w 3934"/>
                <a:gd name="connsiteY2" fmla="*/ 3147 h 3934"/>
                <a:gd name="connsiteX3" fmla="*/ 1574 w 3934"/>
                <a:gd name="connsiteY3" fmla="*/ 5901 h 3934"/>
                <a:gd name="connsiteX4" fmla="*/ 4721 w 3934"/>
                <a:gd name="connsiteY4" fmla="*/ 4721 h 3934"/>
                <a:gd name="connsiteX5" fmla="*/ 3934 w 3934"/>
                <a:gd name="connsiteY5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2754" y="0"/>
                  </a:moveTo>
                  <a:lnTo>
                    <a:pt x="0" y="0"/>
                  </a:lnTo>
                  <a:lnTo>
                    <a:pt x="394" y="3147"/>
                  </a:lnTo>
                  <a:lnTo>
                    <a:pt x="1574" y="5901"/>
                  </a:lnTo>
                  <a:lnTo>
                    <a:pt x="4721" y="4721"/>
                  </a:lnTo>
                  <a:lnTo>
                    <a:pt x="393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67" name="Freeform: Shape 4261">
              <a:extLst>
                <a:ext uri="{FF2B5EF4-FFF2-40B4-BE49-F238E27FC236}">
                  <a16:creationId xmlns:a16="http://schemas.microsoft.com/office/drawing/2014/main" id="{EAC13ADD-E6BC-4CAC-9099-406851558719}"/>
                </a:ext>
              </a:extLst>
            </p:cNvPr>
            <p:cNvSpPr/>
            <p:nvPr/>
          </p:nvSpPr>
          <p:spPr>
            <a:xfrm>
              <a:off x="9730474" y="2544620"/>
              <a:ext cx="3934" cy="11803"/>
            </a:xfrm>
            <a:custGeom>
              <a:avLst/>
              <a:gdLst>
                <a:gd name="connsiteX0" fmla="*/ 1180 w 3934"/>
                <a:gd name="connsiteY0" fmla="*/ 5114 h 11802"/>
                <a:gd name="connsiteX1" fmla="*/ 1180 w 3934"/>
                <a:gd name="connsiteY1" fmla="*/ 7869 h 11802"/>
                <a:gd name="connsiteX2" fmla="*/ 3148 w 3934"/>
                <a:gd name="connsiteY2" fmla="*/ 10623 h 11802"/>
                <a:gd name="connsiteX3" fmla="*/ 5901 w 3934"/>
                <a:gd name="connsiteY3" fmla="*/ 12196 h 11802"/>
                <a:gd name="connsiteX4" fmla="*/ 4721 w 3934"/>
                <a:gd name="connsiteY4" fmla="*/ 9049 h 11802"/>
                <a:gd name="connsiteX5" fmla="*/ 5508 w 3934"/>
                <a:gd name="connsiteY5" fmla="*/ 6295 h 11802"/>
                <a:gd name="connsiteX6" fmla="*/ 4327 w 3934"/>
                <a:gd name="connsiteY6" fmla="*/ 3147 h 11802"/>
                <a:gd name="connsiteX7" fmla="*/ 3540 w 3934"/>
                <a:gd name="connsiteY7" fmla="*/ 0 h 11802"/>
                <a:gd name="connsiteX8" fmla="*/ 3148 w 3934"/>
                <a:gd name="connsiteY8" fmla="*/ 0 h 11802"/>
                <a:gd name="connsiteX9" fmla="*/ 0 w 3934"/>
                <a:gd name="connsiteY9" fmla="*/ 1967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11802">
                  <a:moveTo>
                    <a:pt x="1180" y="5114"/>
                  </a:moveTo>
                  <a:lnTo>
                    <a:pt x="1180" y="7869"/>
                  </a:lnTo>
                  <a:lnTo>
                    <a:pt x="3148" y="10623"/>
                  </a:lnTo>
                  <a:lnTo>
                    <a:pt x="5901" y="12196"/>
                  </a:lnTo>
                  <a:lnTo>
                    <a:pt x="4721" y="9049"/>
                  </a:lnTo>
                  <a:lnTo>
                    <a:pt x="5508" y="6295"/>
                  </a:lnTo>
                  <a:lnTo>
                    <a:pt x="4327" y="3147"/>
                  </a:lnTo>
                  <a:lnTo>
                    <a:pt x="3540" y="0"/>
                  </a:lnTo>
                  <a:lnTo>
                    <a:pt x="3148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68" name="Freeform: Shape 4262">
              <a:extLst>
                <a:ext uri="{FF2B5EF4-FFF2-40B4-BE49-F238E27FC236}">
                  <a16:creationId xmlns:a16="http://schemas.microsoft.com/office/drawing/2014/main" id="{A753ACD9-66C6-471C-97D5-811BAA195E0B}"/>
                </a:ext>
              </a:extLst>
            </p:cNvPr>
            <p:cNvSpPr/>
            <p:nvPr/>
          </p:nvSpPr>
          <p:spPr>
            <a:xfrm>
              <a:off x="9685230" y="2537144"/>
              <a:ext cx="7869" cy="3934"/>
            </a:xfrm>
            <a:custGeom>
              <a:avLst/>
              <a:gdLst>
                <a:gd name="connsiteX0" fmla="*/ 6688 w 7868"/>
                <a:gd name="connsiteY0" fmla="*/ 3541 h 3934"/>
                <a:gd name="connsiteX1" fmla="*/ 3540 w 7868"/>
                <a:gd name="connsiteY1" fmla="*/ 3147 h 3934"/>
                <a:gd name="connsiteX2" fmla="*/ 1967 w 7868"/>
                <a:gd name="connsiteY2" fmla="*/ 393 h 3934"/>
                <a:gd name="connsiteX3" fmla="*/ 0 w 7868"/>
                <a:gd name="connsiteY3" fmla="*/ 0 h 3934"/>
                <a:gd name="connsiteX4" fmla="*/ 0 w 7868"/>
                <a:gd name="connsiteY4" fmla="*/ 393 h 3934"/>
                <a:gd name="connsiteX5" fmla="*/ 393 w 7868"/>
                <a:gd name="connsiteY5" fmla="*/ 3147 h 3934"/>
                <a:gd name="connsiteX6" fmla="*/ 1967 w 7868"/>
                <a:gd name="connsiteY6" fmla="*/ 6295 h 3934"/>
                <a:gd name="connsiteX7" fmla="*/ 7869 w 7868"/>
                <a:gd name="connsiteY7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6688" y="3541"/>
                  </a:moveTo>
                  <a:lnTo>
                    <a:pt x="3540" y="3147"/>
                  </a:lnTo>
                  <a:lnTo>
                    <a:pt x="1967" y="393"/>
                  </a:lnTo>
                  <a:lnTo>
                    <a:pt x="0" y="0"/>
                  </a:lnTo>
                  <a:lnTo>
                    <a:pt x="0" y="393"/>
                  </a:lnTo>
                  <a:lnTo>
                    <a:pt x="393" y="3147"/>
                  </a:lnTo>
                  <a:lnTo>
                    <a:pt x="1967" y="6295"/>
                  </a:lnTo>
                  <a:lnTo>
                    <a:pt x="7869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69" name="Freeform: Shape 4263">
              <a:extLst>
                <a:ext uri="{FF2B5EF4-FFF2-40B4-BE49-F238E27FC236}">
                  <a16:creationId xmlns:a16="http://schemas.microsoft.com/office/drawing/2014/main" id="{C44C3DF7-938D-4653-8035-169C3AB8BE8B}"/>
                </a:ext>
              </a:extLst>
            </p:cNvPr>
            <p:cNvSpPr/>
            <p:nvPr/>
          </p:nvSpPr>
          <p:spPr>
            <a:xfrm>
              <a:off x="9615200" y="3116268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787 w 0"/>
                <a:gd name="connsiteY1" fmla="*/ 0 h 0"/>
                <a:gd name="connsiteX2" fmla="*/ 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787" y="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70" name="Freeform: Shape 4264">
              <a:extLst>
                <a:ext uri="{FF2B5EF4-FFF2-40B4-BE49-F238E27FC236}">
                  <a16:creationId xmlns:a16="http://schemas.microsoft.com/office/drawing/2014/main" id="{AEC3331F-47A2-454B-872E-3F64E8B55529}"/>
                </a:ext>
              </a:extLst>
            </p:cNvPr>
            <p:cNvSpPr/>
            <p:nvPr/>
          </p:nvSpPr>
          <p:spPr>
            <a:xfrm>
              <a:off x="9615200" y="3119809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0 w 0"/>
                <a:gd name="connsiteY1" fmla="*/ 0 h 0"/>
                <a:gd name="connsiteX2" fmla="*/ 0 w 0"/>
                <a:gd name="connsiteY2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0" y="0"/>
                  </a:lnTo>
                  <a:lnTo>
                    <a:pt x="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71" name="Freeform: Shape 4265">
              <a:extLst>
                <a:ext uri="{FF2B5EF4-FFF2-40B4-BE49-F238E27FC236}">
                  <a16:creationId xmlns:a16="http://schemas.microsoft.com/office/drawing/2014/main" id="{77713113-D6F5-40C8-AF2D-2631B8FCB8B3}"/>
                </a:ext>
              </a:extLst>
            </p:cNvPr>
            <p:cNvSpPr/>
            <p:nvPr/>
          </p:nvSpPr>
          <p:spPr>
            <a:xfrm>
              <a:off x="9611265" y="3167807"/>
              <a:ext cx="3934" cy="3934"/>
            </a:xfrm>
            <a:custGeom>
              <a:avLst/>
              <a:gdLst>
                <a:gd name="connsiteX0" fmla="*/ 1180 w 0"/>
                <a:gd name="connsiteY0" fmla="*/ 3147 h 3934"/>
                <a:gd name="connsiteX1" fmla="*/ 3148 w 0"/>
                <a:gd name="connsiteY1" fmla="*/ 6295 h 3934"/>
                <a:gd name="connsiteX2" fmla="*/ 3148 w 0"/>
                <a:gd name="connsiteY2" fmla="*/ 6295 h 3934"/>
                <a:gd name="connsiteX3" fmla="*/ 0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180" y="3147"/>
                  </a:moveTo>
                  <a:lnTo>
                    <a:pt x="3148" y="6295"/>
                  </a:lnTo>
                  <a:lnTo>
                    <a:pt x="3148" y="629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72" name="Freeform: Shape 4266">
              <a:extLst>
                <a:ext uri="{FF2B5EF4-FFF2-40B4-BE49-F238E27FC236}">
                  <a16:creationId xmlns:a16="http://schemas.microsoft.com/office/drawing/2014/main" id="{2092A88F-E3A9-461D-B06D-B40EE0B68343}"/>
                </a:ext>
              </a:extLst>
            </p:cNvPr>
            <p:cNvSpPr/>
            <p:nvPr/>
          </p:nvSpPr>
          <p:spPr>
            <a:xfrm>
              <a:off x="9663984" y="3093056"/>
              <a:ext cx="3934" cy="3934"/>
            </a:xfrm>
            <a:custGeom>
              <a:avLst/>
              <a:gdLst>
                <a:gd name="connsiteX0" fmla="*/ 0 w 0"/>
                <a:gd name="connsiteY0" fmla="*/ 1967 h 0"/>
                <a:gd name="connsiteX1" fmla="*/ 2361 w 0"/>
                <a:gd name="connsiteY1" fmla="*/ 236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967"/>
                  </a:moveTo>
                  <a:lnTo>
                    <a:pt x="2361" y="236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73" name="Freeform: Shape 4267">
              <a:extLst>
                <a:ext uri="{FF2B5EF4-FFF2-40B4-BE49-F238E27FC236}">
                  <a16:creationId xmlns:a16="http://schemas.microsoft.com/office/drawing/2014/main" id="{F2038802-7364-4098-B760-47CE47195D86}"/>
                </a:ext>
              </a:extLst>
            </p:cNvPr>
            <p:cNvSpPr/>
            <p:nvPr/>
          </p:nvSpPr>
          <p:spPr>
            <a:xfrm>
              <a:off x="9669493" y="3098957"/>
              <a:ext cx="3934" cy="3934"/>
            </a:xfrm>
            <a:custGeom>
              <a:avLst/>
              <a:gdLst>
                <a:gd name="connsiteX0" fmla="*/ 787 w 0"/>
                <a:gd name="connsiteY0" fmla="*/ 1180 h 3934"/>
                <a:gd name="connsiteX1" fmla="*/ 0 w 0"/>
                <a:gd name="connsiteY1" fmla="*/ 0 h 3934"/>
                <a:gd name="connsiteX2" fmla="*/ 1573 w 0"/>
                <a:gd name="connsiteY2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787" y="1180"/>
                  </a:moveTo>
                  <a:lnTo>
                    <a:pt x="0" y="0"/>
                  </a:lnTo>
                  <a:lnTo>
                    <a:pt x="1573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74" name="Freeform: Shape 4268">
              <a:extLst>
                <a:ext uri="{FF2B5EF4-FFF2-40B4-BE49-F238E27FC236}">
                  <a16:creationId xmlns:a16="http://schemas.microsoft.com/office/drawing/2014/main" id="{1DCCC8C8-884F-402E-BA9D-AB78A9EE46C5}"/>
                </a:ext>
              </a:extLst>
            </p:cNvPr>
            <p:cNvSpPr/>
            <p:nvPr/>
          </p:nvSpPr>
          <p:spPr>
            <a:xfrm>
              <a:off x="9637232" y="3082827"/>
              <a:ext cx="3934" cy="3934"/>
            </a:xfrm>
            <a:custGeom>
              <a:avLst/>
              <a:gdLst>
                <a:gd name="connsiteX0" fmla="*/ 393 w 0"/>
                <a:gd name="connsiteY0" fmla="*/ 1180 h 0"/>
                <a:gd name="connsiteX1" fmla="*/ 3540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1180"/>
                  </a:moveTo>
                  <a:lnTo>
                    <a:pt x="3540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75" name="Freeform: Shape 4269">
              <a:extLst>
                <a:ext uri="{FF2B5EF4-FFF2-40B4-BE49-F238E27FC236}">
                  <a16:creationId xmlns:a16="http://schemas.microsoft.com/office/drawing/2014/main" id="{2086FD68-871D-4A7E-B478-176457C538CE}"/>
                </a:ext>
              </a:extLst>
            </p:cNvPr>
            <p:cNvSpPr/>
            <p:nvPr/>
          </p:nvSpPr>
          <p:spPr>
            <a:xfrm>
              <a:off x="9652575" y="3078892"/>
              <a:ext cx="3934" cy="3934"/>
            </a:xfrm>
            <a:custGeom>
              <a:avLst/>
              <a:gdLst>
                <a:gd name="connsiteX0" fmla="*/ 3148 w 3934"/>
                <a:gd name="connsiteY0" fmla="*/ 0 h 3934"/>
                <a:gd name="connsiteX1" fmla="*/ 0 w 3934"/>
                <a:gd name="connsiteY1" fmla="*/ 393 h 3934"/>
                <a:gd name="connsiteX2" fmla="*/ 394 w 3934"/>
                <a:gd name="connsiteY2" fmla="*/ 3541 h 3934"/>
                <a:gd name="connsiteX3" fmla="*/ 787 w 3934"/>
                <a:gd name="connsiteY3" fmla="*/ 3541 h 3934"/>
                <a:gd name="connsiteX4" fmla="*/ 394 w 3934"/>
                <a:gd name="connsiteY4" fmla="*/ 5901 h 3934"/>
                <a:gd name="connsiteX5" fmla="*/ 787 w 3934"/>
                <a:gd name="connsiteY5" fmla="*/ 5901 h 3934"/>
                <a:gd name="connsiteX6" fmla="*/ 3148 w 3934"/>
                <a:gd name="connsiteY6" fmla="*/ 3147 h 3934"/>
                <a:gd name="connsiteX7" fmla="*/ 2754 w 3934"/>
                <a:gd name="connsiteY7" fmla="*/ 2754 h 3934"/>
                <a:gd name="connsiteX8" fmla="*/ 3934 w 3934"/>
                <a:gd name="connsiteY8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3934">
                  <a:moveTo>
                    <a:pt x="3148" y="0"/>
                  </a:moveTo>
                  <a:lnTo>
                    <a:pt x="0" y="393"/>
                  </a:lnTo>
                  <a:lnTo>
                    <a:pt x="394" y="3541"/>
                  </a:lnTo>
                  <a:lnTo>
                    <a:pt x="787" y="3541"/>
                  </a:lnTo>
                  <a:lnTo>
                    <a:pt x="394" y="5901"/>
                  </a:lnTo>
                  <a:lnTo>
                    <a:pt x="787" y="5901"/>
                  </a:lnTo>
                  <a:lnTo>
                    <a:pt x="3148" y="3147"/>
                  </a:lnTo>
                  <a:lnTo>
                    <a:pt x="2754" y="2754"/>
                  </a:lnTo>
                  <a:lnTo>
                    <a:pt x="393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76" name="Freeform: Shape 4270">
              <a:extLst>
                <a:ext uri="{FF2B5EF4-FFF2-40B4-BE49-F238E27FC236}">
                  <a16:creationId xmlns:a16="http://schemas.microsoft.com/office/drawing/2014/main" id="{8C31F0C4-DB6C-4F49-862D-ECABA679EC24}"/>
                </a:ext>
              </a:extLst>
            </p:cNvPr>
            <p:cNvSpPr/>
            <p:nvPr/>
          </p:nvSpPr>
          <p:spPr>
            <a:xfrm>
              <a:off x="9632510" y="3073385"/>
              <a:ext cx="3934" cy="3934"/>
            </a:xfrm>
            <a:custGeom>
              <a:avLst/>
              <a:gdLst>
                <a:gd name="connsiteX0" fmla="*/ 1967 w 0"/>
                <a:gd name="connsiteY0" fmla="*/ 5508 h 3934"/>
                <a:gd name="connsiteX1" fmla="*/ 0 w 0"/>
                <a:gd name="connsiteY1" fmla="*/ 0 h 3934"/>
                <a:gd name="connsiteX2" fmla="*/ 0 w 0"/>
                <a:gd name="connsiteY2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967" y="5508"/>
                  </a:moveTo>
                  <a:lnTo>
                    <a:pt x="0" y="0"/>
                  </a:lnTo>
                  <a:lnTo>
                    <a:pt x="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77" name="Freeform: Shape 4271">
              <a:extLst>
                <a:ext uri="{FF2B5EF4-FFF2-40B4-BE49-F238E27FC236}">
                  <a16:creationId xmlns:a16="http://schemas.microsoft.com/office/drawing/2014/main" id="{AA73D97C-C1A0-4B0A-AE08-E79F62EF0DA7}"/>
                </a:ext>
              </a:extLst>
            </p:cNvPr>
            <p:cNvSpPr/>
            <p:nvPr/>
          </p:nvSpPr>
          <p:spPr>
            <a:xfrm>
              <a:off x="9633298" y="3072991"/>
              <a:ext cx="3934" cy="3934"/>
            </a:xfrm>
            <a:custGeom>
              <a:avLst/>
              <a:gdLst>
                <a:gd name="connsiteX0" fmla="*/ 1180 w 0"/>
                <a:gd name="connsiteY0" fmla="*/ 2754 h 3934"/>
                <a:gd name="connsiteX1" fmla="*/ 0 w 0"/>
                <a:gd name="connsiteY1" fmla="*/ 0 h 3934"/>
                <a:gd name="connsiteX2" fmla="*/ 1180 w 0"/>
                <a:gd name="connsiteY2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180" y="2754"/>
                  </a:moveTo>
                  <a:lnTo>
                    <a:pt x="0" y="0"/>
                  </a:lnTo>
                  <a:lnTo>
                    <a:pt x="1180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78" name="Freeform: Shape 4272">
              <a:extLst>
                <a:ext uri="{FF2B5EF4-FFF2-40B4-BE49-F238E27FC236}">
                  <a16:creationId xmlns:a16="http://schemas.microsoft.com/office/drawing/2014/main" id="{D71609BA-9B2D-4A21-8AE8-1B9B7FE6BCD6}"/>
                </a:ext>
              </a:extLst>
            </p:cNvPr>
            <p:cNvSpPr/>
            <p:nvPr/>
          </p:nvSpPr>
          <p:spPr>
            <a:xfrm>
              <a:off x="9635265" y="3065516"/>
              <a:ext cx="3934" cy="3934"/>
            </a:xfrm>
            <a:custGeom>
              <a:avLst/>
              <a:gdLst>
                <a:gd name="connsiteX0" fmla="*/ 2754 w 3934"/>
                <a:gd name="connsiteY0" fmla="*/ 4328 h 3934"/>
                <a:gd name="connsiteX1" fmla="*/ 5901 w 3934"/>
                <a:gd name="connsiteY1" fmla="*/ 5115 h 3934"/>
                <a:gd name="connsiteX2" fmla="*/ 4327 w 3934"/>
                <a:gd name="connsiteY2" fmla="*/ 4328 h 3934"/>
                <a:gd name="connsiteX3" fmla="*/ 5114 w 3934"/>
                <a:gd name="connsiteY3" fmla="*/ 4328 h 3934"/>
                <a:gd name="connsiteX4" fmla="*/ 5901 w 3934"/>
                <a:gd name="connsiteY4" fmla="*/ 5115 h 3934"/>
                <a:gd name="connsiteX5" fmla="*/ 6294 w 3934"/>
                <a:gd name="connsiteY5" fmla="*/ 2361 h 3934"/>
                <a:gd name="connsiteX6" fmla="*/ 5508 w 3934"/>
                <a:gd name="connsiteY6" fmla="*/ 1967 h 3934"/>
                <a:gd name="connsiteX7" fmla="*/ 5508 w 3934"/>
                <a:gd name="connsiteY7" fmla="*/ 1967 h 3934"/>
                <a:gd name="connsiteX8" fmla="*/ 5508 w 3934"/>
                <a:gd name="connsiteY8" fmla="*/ 1967 h 3934"/>
                <a:gd name="connsiteX9" fmla="*/ 3147 w 3934"/>
                <a:gd name="connsiteY9" fmla="*/ 0 h 3934"/>
                <a:gd name="connsiteX10" fmla="*/ 0 w 3934"/>
                <a:gd name="connsiteY10" fmla="*/ 393 h 3934"/>
                <a:gd name="connsiteX11" fmla="*/ 393 w 3934"/>
                <a:gd name="connsiteY11" fmla="*/ 787 h 3934"/>
                <a:gd name="connsiteX12" fmla="*/ 0 w 3934"/>
                <a:gd name="connsiteY12" fmla="*/ 787 h 3934"/>
                <a:gd name="connsiteX13" fmla="*/ 0 w 3934"/>
                <a:gd name="connsiteY13" fmla="*/ 1180 h 3934"/>
                <a:gd name="connsiteX14" fmla="*/ 1573 w 3934"/>
                <a:gd name="connsiteY14" fmla="*/ 2361 h 3934"/>
                <a:gd name="connsiteX15" fmla="*/ 0 w 3934"/>
                <a:gd name="connsiteY15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34" h="3934">
                  <a:moveTo>
                    <a:pt x="2754" y="4328"/>
                  </a:moveTo>
                  <a:lnTo>
                    <a:pt x="5901" y="5115"/>
                  </a:lnTo>
                  <a:lnTo>
                    <a:pt x="4327" y="4328"/>
                  </a:lnTo>
                  <a:lnTo>
                    <a:pt x="5114" y="4328"/>
                  </a:lnTo>
                  <a:lnTo>
                    <a:pt x="5901" y="5115"/>
                  </a:lnTo>
                  <a:lnTo>
                    <a:pt x="6294" y="2361"/>
                  </a:lnTo>
                  <a:lnTo>
                    <a:pt x="5508" y="1967"/>
                  </a:lnTo>
                  <a:lnTo>
                    <a:pt x="5508" y="1967"/>
                  </a:lnTo>
                  <a:lnTo>
                    <a:pt x="5508" y="1967"/>
                  </a:lnTo>
                  <a:lnTo>
                    <a:pt x="3147" y="0"/>
                  </a:lnTo>
                  <a:lnTo>
                    <a:pt x="0" y="393"/>
                  </a:lnTo>
                  <a:lnTo>
                    <a:pt x="393" y="787"/>
                  </a:lnTo>
                  <a:lnTo>
                    <a:pt x="0" y="787"/>
                  </a:lnTo>
                  <a:lnTo>
                    <a:pt x="0" y="1180"/>
                  </a:lnTo>
                  <a:lnTo>
                    <a:pt x="1573" y="2361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79" name="Freeform: Shape 4273">
              <a:extLst>
                <a:ext uri="{FF2B5EF4-FFF2-40B4-BE49-F238E27FC236}">
                  <a16:creationId xmlns:a16="http://schemas.microsoft.com/office/drawing/2014/main" id="{15162973-0C44-4635-85D8-7ECA544D4021}"/>
                </a:ext>
              </a:extLst>
            </p:cNvPr>
            <p:cNvSpPr/>
            <p:nvPr/>
          </p:nvSpPr>
          <p:spPr>
            <a:xfrm>
              <a:off x="7012290" y="2663041"/>
              <a:ext cx="3934" cy="3934"/>
            </a:xfrm>
            <a:custGeom>
              <a:avLst/>
              <a:gdLst>
                <a:gd name="connsiteX0" fmla="*/ 3147 w 3934"/>
                <a:gd name="connsiteY0" fmla="*/ 1180 h 0"/>
                <a:gd name="connsiteX1" fmla="*/ 5901 w 3934"/>
                <a:gd name="connsiteY1" fmla="*/ 2754 h 0"/>
                <a:gd name="connsiteX2" fmla="*/ 5901 w 3934"/>
                <a:gd name="connsiteY2" fmla="*/ 2361 h 0"/>
                <a:gd name="connsiteX3" fmla="*/ 3147 w 3934"/>
                <a:gd name="connsiteY3" fmla="*/ 1180 h 0"/>
                <a:gd name="connsiteX4" fmla="*/ 0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147" y="1180"/>
                  </a:moveTo>
                  <a:lnTo>
                    <a:pt x="5901" y="2754"/>
                  </a:lnTo>
                  <a:lnTo>
                    <a:pt x="5901" y="2361"/>
                  </a:lnTo>
                  <a:lnTo>
                    <a:pt x="3147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80" name="Freeform: Shape 4274">
              <a:extLst>
                <a:ext uri="{FF2B5EF4-FFF2-40B4-BE49-F238E27FC236}">
                  <a16:creationId xmlns:a16="http://schemas.microsoft.com/office/drawing/2014/main" id="{BD4B19FA-21B0-4F75-B74D-76A67EC10E31}"/>
                </a:ext>
              </a:extLst>
            </p:cNvPr>
            <p:cNvSpPr/>
            <p:nvPr/>
          </p:nvSpPr>
          <p:spPr>
            <a:xfrm>
              <a:off x="9615200" y="3111153"/>
              <a:ext cx="3934" cy="3934"/>
            </a:xfrm>
            <a:custGeom>
              <a:avLst/>
              <a:gdLst>
                <a:gd name="connsiteX0" fmla="*/ 1180 w 0"/>
                <a:gd name="connsiteY0" fmla="*/ 0 h 3934"/>
                <a:gd name="connsiteX1" fmla="*/ 0 w 0"/>
                <a:gd name="connsiteY1" fmla="*/ 3934 h 3934"/>
                <a:gd name="connsiteX2" fmla="*/ 1180 w 0"/>
                <a:gd name="connsiteY2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180" y="0"/>
                  </a:moveTo>
                  <a:lnTo>
                    <a:pt x="0" y="3934"/>
                  </a:lnTo>
                  <a:lnTo>
                    <a:pt x="118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81" name="Freeform: Shape 4275">
              <a:extLst>
                <a:ext uri="{FF2B5EF4-FFF2-40B4-BE49-F238E27FC236}">
                  <a16:creationId xmlns:a16="http://schemas.microsoft.com/office/drawing/2014/main" id="{67F5B8A5-2798-402D-8C48-C62AAE77DE7B}"/>
                </a:ext>
              </a:extLst>
            </p:cNvPr>
            <p:cNvSpPr/>
            <p:nvPr/>
          </p:nvSpPr>
          <p:spPr>
            <a:xfrm>
              <a:off x="9735195" y="3294097"/>
              <a:ext cx="3934" cy="7869"/>
            </a:xfrm>
            <a:custGeom>
              <a:avLst/>
              <a:gdLst>
                <a:gd name="connsiteX0" fmla="*/ 0 w 3934"/>
                <a:gd name="connsiteY0" fmla="*/ 3541 h 7868"/>
                <a:gd name="connsiteX1" fmla="*/ 1573 w 3934"/>
                <a:gd name="connsiteY1" fmla="*/ 5901 h 7868"/>
                <a:gd name="connsiteX2" fmla="*/ 3540 w 3934"/>
                <a:gd name="connsiteY2" fmla="*/ 9049 h 7868"/>
                <a:gd name="connsiteX3" fmla="*/ 5901 w 3934"/>
                <a:gd name="connsiteY3" fmla="*/ 11409 h 7868"/>
                <a:gd name="connsiteX4" fmla="*/ 5508 w 3934"/>
                <a:gd name="connsiteY4" fmla="*/ 8262 h 7868"/>
                <a:gd name="connsiteX5" fmla="*/ 4328 w 3934"/>
                <a:gd name="connsiteY5" fmla="*/ 5901 h 7868"/>
                <a:gd name="connsiteX6" fmla="*/ 4328 w 3934"/>
                <a:gd name="connsiteY6" fmla="*/ 5114 h 7868"/>
                <a:gd name="connsiteX7" fmla="*/ 4721 w 3934"/>
                <a:gd name="connsiteY7" fmla="*/ 5901 h 7868"/>
                <a:gd name="connsiteX8" fmla="*/ 4721 w 3934"/>
                <a:gd name="connsiteY8" fmla="*/ 5508 h 7868"/>
                <a:gd name="connsiteX9" fmla="*/ 3540 w 3934"/>
                <a:gd name="connsiteY9" fmla="*/ 2360 h 7868"/>
                <a:gd name="connsiteX10" fmla="*/ 394 w 3934"/>
                <a:gd name="connsiteY10" fmla="*/ 0 h 7868"/>
                <a:gd name="connsiteX11" fmla="*/ 1573 w 3934"/>
                <a:gd name="connsiteY11" fmla="*/ 1574 h 7868"/>
                <a:gd name="connsiteX12" fmla="*/ 394 w 3934"/>
                <a:gd name="connsiteY12" fmla="*/ 78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34" h="7868">
                  <a:moveTo>
                    <a:pt x="0" y="3541"/>
                  </a:moveTo>
                  <a:lnTo>
                    <a:pt x="1573" y="5901"/>
                  </a:lnTo>
                  <a:lnTo>
                    <a:pt x="3540" y="9049"/>
                  </a:lnTo>
                  <a:lnTo>
                    <a:pt x="5901" y="11409"/>
                  </a:lnTo>
                  <a:lnTo>
                    <a:pt x="5508" y="8262"/>
                  </a:lnTo>
                  <a:lnTo>
                    <a:pt x="4328" y="5901"/>
                  </a:lnTo>
                  <a:lnTo>
                    <a:pt x="4328" y="5114"/>
                  </a:lnTo>
                  <a:lnTo>
                    <a:pt x="4721" y="5901"/>
                  </a:lnTo>
                  <a:lnTo>
                    <a:pt x="4721" y="5508"/>
                  </a:lnTo>
                  <a:lnTo>
                    <a:pt x="3540" y="2360"/>
                  </a:lnTo>
                  <a:lnTo>
                    <a:pt x="394" y="0"/>
                  </a:lnTo>
                  <a:lnTo>
                    <a:pt x="1573" y="1574"/>
                  </a:lnTo>
                  <a:lnTo>
                    <a:pt x="39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82" name="Freeform: Shape 4276">
              <a:extLst>
                <a:ext uri="{FF2B5EF4-FFF2-40B4-BE49-F238E27FC236}">
                  <a16:creationId xmlns:a16="http://schemas.microsoft.com/office/drawing/2014/main" id="{7974B497-B13F-4BF4-9885-B983C4E26551}"/>
                </a:ext>
              </a:extLst>
            </p:cNvPr>
            <p:cNvSpPr/>
            <p:nvPr/>
          </p:nvSpPr>
          <p:spPr>
            <a:xfrm>
              <a:off x="9694279" y="3297244"/>
              <a:ext cx="3934" cy="3934"/>
            </a:xfrm>
            <a:custGeom>
              <a:avLst/>
              <a:gdLst>
                <a:gd name="connsiteX0" fmla="*/ 2360 w 0"/>
                <a:gd name="connsiteY0" fmla="*/ 2754 h 0"/>
                <a:gd name="connsiteX1" fmla="*/ 0 w 0"/>
                <a:gd name="connsiteY1" fmla="*/ 0 h 0"/>
                <a:gd name="connsiteX2" fmla="*/ 78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0" y="2754"/>
                  </a:moveTo>
                  <a:lnTo>
                    <a:pt x="0" y="0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83" name="Freeform: Shape 4277">
              <a:extLst>
                <a:ext uri="{FF2B5EF4-FFF2-40B4-BE49-F238E27FC236}">
                  <a16:creationId xmlns:a16="http://schemas.microsoft.com/office/drawing/2014/main" id="{A194B593-70CA-4D36-BB72-CE890619A200}"/>
                </a:ext>
              </a:extLst>
            </p:cNvPr>
            <p:cNvSpPr/>
            <p:nvPr/>
          </p:nvSpPr>
          <p:spPr>
            <a:xfrm>
              <a:off x="9713162" y="3277179"/>
              <a:ext cx="11803" cy="15737"/>
            </a:xfrm>
            <a:custGeom>
              <a:avLst/>
              <a:gdLst>
                <a:gd name="connsiteX0" fmla="*/ 10623 w 11802"/>
                <a:gd name="connsiteY0" fmla="*/ 10229 h 15737"/>
                <a:gd name="connsiteX1" fmla="*/ 7869 w 11802"/>
                <a:gd name="connsiteY1" fmla="*/ 9049 h 15737"/>
                <a:gd name="connsiteX2" fmla="*/ 6295 w 11802"/>
                <a:gd name="connsiteY2" fmla="*/ 6295 h 15737"/>
                <a:gd name="connsiteX3" fmla="*/ 3934 w 11802"/>
                <a:gd name="connsiteY3" fmla="*/ 3147 h 15737"/>
                <a:gd name="connsiteX4" fmla="*/ 3934 w 11802"/>
                <a:gd name="connsiteY4" fmla="*/ 2754 h 15737"/>
                <a:gd name="connsiteX5" fmla="*/ 3148 w 11802"/>
                <a:gd name="connsiteY5" fmla="*/ 1180 h 15737"/>
                <a:gd name="connsiteX6" fmla="*/ 0 w 11802"/>
                <a:gd name="connsiteY6" fmla="*/ 0 h 15737"/>
                <a:gd name="connsiteX7" fmla="*/ 0 w 11802"/>
                <a:gd name="connsiteY7" fmla="*/ 3147 h 15737"/>
                <a:gd name="connsiteX8" fmla="*/ 394 w 11802"/>
                <a:gd name="connsiteY8" fmla="*/ 3934 h 15737"/>
                <a:gd name="connsiteX9" fmla="*/ 0 w 11802"/>
                <a:gd name="connsiteY9" fmla="*/ 4328 h 15737"/>
                <a:gd name="connsiteX10" fmla="*/ 788 w 11802"/>
                <a:gd name="connsiteY10" fmla="*/ 4721 h 15737"/>
                <a:gd name="connsiteX11" fmla="*/ 1574 w 11802"/>
                <a:gd name="connsiteY11" fmla="*/ 6295 h 15737"/>
                <a:gd name="connsiteX12" fmla="*/ 5115 w 11802"/>
                <a:gd name="connsiteY12" fmla="*/ 8262 h 15737"/>
                <a:gd name="connsiteX13" fmla="*/ 7082 w 11802"/>
                <a:gd name="connsiteY13" fmla="*/ 10229 h 15737"/>
                <a:gd name="connsiteX14" fmla="*/ 6689 w 11802"/>
                <a:gd name="connsiteY14" fmla="*/ 9836 h 15737"/>
                <a:gd name="connsiteX15" fmla="*/ 8656 w 11802"/>
                <a:gd name="connsiteY15" fmla="*/ 11016 h 15737"/>
                <a:gd name="connsiteX16" fmla="*/ 11803 w 11802"/>
                <a:gd name="connsiteY16" fmla="*/ 13376 h 15737"/>
                <a:gd name="connsiteX17" fmla="*/ 13770 w 11802"/>
                <a:gd name="connsiteY17" fmla="*/ 16130 h 15737"/>
                <a:gd name="connsiteX18" fmla="*/ 14164 w 11802"/>
                <a:gd name="connsiteY18" fmla="*/ 16130 h 15737"/>
                <a:gd name="connsiteX19" fmla="*/ 12197 w 11802"/>
                <a:gd name="connsiteY19" fmla="*/ 13376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802" h="15737">
                  <a:moveTo>
                    <a:pt x="10623" y="10229"/>
                  </a:moveTo>
                  <a:lnTo>
                    <a:pt x="7869" y="9049"/>
                  </a:lnTo>
                  <a:lnTo>
                    <a:pt x="6295" y="6295"/>
                  </a:lnTo>
                  <a:lnTo>
                    <a:pt x="3934" y="3147"/>
                  </a:lnTo>
                  <a:lnTo>
                    <a:pt x="3934" y="2754"/>
                  </a:lnTo>
                  <a:lnTo>
                    <a:pt x="3148" y="1180"/>
                  </a:lnTo>
                  <a:lnTo>
                    <a:pt x="0" y="0"/>
                  </a:lnTo>
                  <a:lnTo>
                    <a:pt x="0" y="3147"/>
                  </a:lnTo>
                  <a:lnTo>
                    <a:pt x="394" y="3934"/>
                  </a:lnTo>
                  <a:lnTo>
                    <a:pt x="0" y="4328"/>
                  </a:lnTo>
                  <a:lnTo>
                    <a:pt x="788" y="4721"/>
                  </a:lnTo>
                  <a:lnTo>
                    <a:pt x="1574" y="6295"/>
                  </a:lnTo>
                  <a:lnTo>
                    <a:pt x="5115" y="8262"/>
                  </a:lnTo>
                  <a:lnTo>
                    <a:pt x="7082" y="10229"/>
                  </a:lnTo>
                  <a:lnTo>
                    <a:pt x="6689" y="9836"/>
                  </a:lnTo>
                  <a:lnTo>
                    <a:pt x="8656" y="11016"/>
                  </a:lnTo>
                  <a:lnTo>
                    <a:pt x="11803" y="13376"/>
                  </a:lnTo>
                  <a:lnTo>
                    <a:pt x="13770" y="16130"/>
                  </a:lnTo>
                  <a:lnTo>
                    <a:pt x="14164" y="16130"/>
                  </a:lnTo>
                  <a:lnTo>
                    <a:pt x="12197" y="1337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84" name="Freeform: Shape 4278">
              <a:extLst>
                <a:ext uri="{FF2B5EF4-FFF2-40B4-BE49-F238E27FC236}">
                  <a16:creationId xmlns:a16="http://schemas.microsoft.com/office/drawing/2014/main" id="{DC01C6A7-9224-4267-981B-2F001264D754}"/>
                </a:ext>
              </a:extLst>
            </p:cNvPr>
            <p:cNvSpPr/>
            <p:nvPr/>
          </p:nvSpPr>
          <p:spPr>
            <a:xfrm>
              <a:off x="9746997" y="3274032"/>
              <a:ext cx="3934" cy="3934"/>
            </a:xfrm>
            <a:custGeom>
              <a:avLst/>
              <a:gdLst>
                <a:gd name="connsiteX0" fmla="*/ 3540 w 3934"/>
                <a:gd name="connsiteY0" fmla="*/ 3147 h 0"/>
                <a:gd name="connsiteX1" fmla="*/ 3540 w 3934"/>
                <a:gd name="connsiteY1" fmla="*/ 2754 h 0"/>
                <a:gd name="connsiteX2" fmla="*/ 3934 w 3934"/>
                <a:gd name="connsiteY2" fmla="*/ 3147 h 0"/>
                <a:gd name="connsiteX3" fmla="*/ 3148 w 3934"/>
                <a:gd name="connsiteY3" fmla="*/ 1574 h 0"/>
                <a:gd name="connsiteX4" fmla="*/ 0 w 3934"/>
                <a:gd name="connsiteY4" fmla="*/ 0 h 0"/>
                <a:gd name="connsiteX5" fmla="*/ 3148 w 3934"/>
                <a:gd name="connsiteY5" fmla="*/ 2360 h 0"/>
                <a:gd name="connsiteX6" fmla="*/ 787 w 3934"/>
                <a:gd name="connsiteY6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>
                  <a:moveTo>
                    <a:pt x="3540" y="3147"/>
                  </a:moveTo>
                  <a:lnTo>
                    <a:pt x="3540" y="2754"/>
                  </a:lnTo>
                  <a:lnTo>
                    <a:pt x="3934" y="3147"/>
                  </a:lnTo>
                  <a:lnTo>
                    <a:pt x="3148" y="1574"/>
                  </a:lnTo>
                  <a:lnTo>
                    <a:pt x="0" y="0"/>
                  </a:lnTo>
                  <a:lnTo>
                    <a:pt x="3148" y="2360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85" name="Freeform: Shape 4279">
              <a:extLst>
                <a:ext uri="{FF2B5EF4-FFF2-40B4-BE49-F238E27FC236}">
                  <a16:creationId xmlns:a16="http://schemas.microsoft.com/office/drawing/2014/main" id="{28916A77-366C-4A36-9507-BED5196D579F}"/>
                </a:ext>
              </a:extLst>
            </p:cNvPr>
            <p:cNvSpPr/>
            <p:nvPr/>
          </p:nvSpPr>
          <p:spPr>
            <a:xfrm>
              <a:off x="9677754" y="3264983"/>
              <a:ext cx="7869" cy="7869"/>
            </a:xfrm>
            <a:custGeom>
              <a:avLst/>
              <a:gdLst>
                <a:gd name="connsiteX0" fmla="*/ 6689 w 7868"/>
                <a:gd name="connsiteY0" fmla="*/ 787 h 7868"/>
                <a:gd name="connsiteX1" fmla="*/ 3934 w 7868"/>
                <a:gd name="connsiteY1" fmla="*/ 0 h 7868"/>
                <a:gd name="connsiteX2" fmla="*/ 1180 w 7868"/>
                <a:gd name="connsiteY2" fmla="*/ 1180 h 7868"/>
                <a:gd name="connsiteX3" fmla="*/ 0 w 7868"/>
                <a:gd name="connsiteY3" fmla="*/ 3148 h 7868"/>
                <a:gd name="connsiteX4" fmla="*/ 788 w 7868"/>
                <a:gd name="connsiteY4" fmla="*/ 6295 h 7868"/>
                <a:gd name="connsiteX5" fmla="*/ 3934 w 7868"/>
                <a:gd name="connsiteY5" fmla="*/ 9049 h 7868"/>
                <a:gd name="connsiteX6" fmla="*/ 6689 w 7868"/>
                <a:gd name="connsiteY6" fmla="*/ 11409 h 7868"/>
                <a:gd name="connsiteX7" fmla="*/ 7476 w 7868"/>
                <a:gd name="connsiteY7" fmla="*/ 11409 h 7868"/>
                <a:gd name="connsiteX8" fmla="*/ 8262 w 7868"/>
                <a:gd name="connsiteY8" fmla="*/ 8262 h 7868"/>
                <a:gd name="connsiteX9" fmla="*/ 9443 w 7868"/>
                <a:gd name="connsiteY9" fmla="*/ 7082 h 7868"/>
                <a:gd name="connsiteX10" fmla="*/ 9443 w 7868"/>
                <a:gd name="connsiteY10" fmla="*/ 7475 h 7868"/>
                <a:gd name="connsiteX11" fmla="*/ 9836 w 7868"/>
                <a:gd name="connsiteY11" fmla="*/ 5901 h 7868"/>
                <a:gd name="connsiteX12" fmla="*/ 10229 w 7868"/>
                <a:gd name="connsiteY12" fmla="*/ 5508 h 7868"/>
                <a:gd name="connsiteX13" fmla="*/ 10229 w 7868"/>
                <a:gd name="connsiteY13" fmla="*/ 5508 h 7868"/>
                <a:gd name="connsiteX14" fmla="*/ 10623 w 7868"/>
                <a:gd name="connsiteY14" fmla="*/ 4721 h 7868"/>
                <a:gd name="connsiteX15" fmla="*/ 9443 w 7868"/>
                <a:gd name="connsiteY15" fmla="*/ 2361 h 7868"/>
                <a:gd name="connsiteX16" fmla="*/ 9443 w 7868"/>
                <a:gd name="connsiteY16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868" h="7868">
                  <a:moveTo>
                    <a:pt x="6689" y="787"/>
                  </a:moveTo>
                  <a:lnTo>
                    <a:pt x="3934" y="0"/>
                  </a:lnTo>
                  <a:lnTo>
                    <a:pt x="1180" y="1180"/>
                  </a:lnTo>
                  <a:lnTo>
                    <a:pt x="0" y="3148"/>
                  </a:lnTo>
                  <a:lnTo>
                    <a:pt x="788" y="6295"/>
                  </a:lnTo>
                  <a:lnTo>
                    <a:pt x="3934" y="9049"/>
                  </a:lnTo>
                  <a:lnTo>
                    <a:pt x="6689" y="11409"/>
                  </a:lnTo>
                  <a:lnTo>
                    <a:pt x="7476" y="11409"/>
                  </a:lnTo>
                  <a:lnTo>
                    <a:pt x="8262" y="8262"/>
                  </a:lnTo>
                  <a:lnTo>
                    <a:pt x="9443" y="7082"/>
                  </a:lnTo>
                  <a:lnTo>
                    <a:pt x="9443" y="7475"/>
                  </a:lnTo>
                  <a:lnTo>
                    <a:pt x="9836" y="5901"/>
                  </a:lnTo>
                  <a:lnTo>
                    <a:pt x="10229" y="5508"/>
                  </a:lnTo>
                  <a:lnTo>
                    <a:pt x="10229" y="5508"/>
                  </a:lnTo>
                  <a:lnTo>
                    <a:pt x="10623" y="4721"/>
                  </a:lnTo>
                  <a:lnTo>
                    <a:pt x="9443" y="2361"/>
                  </a:lnTo>
                  <a:lnTo>
                    <a:pt x="9443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86" name="Freeform: Shape 4280">
              <a:extLst>
                <a:ext uri="{FF2B5EF4-FFF2-40B4-BE49-F238E27FC236}">
                  <a16:creationId xmlns:a16="http://schemas.microsoft.com/office/drawing/2014/main" id="{C1F1197F-EF0B-4749-8142-398E48CAC5BE}"/>
                </a:ext>
              </a:extLst>
            </p:cNvPr>
            <p:cNvSpPr/>
            <p:nvPr/>
          </p:nvSpPr>
          <p:spPr>
            <a:xfrm>
              <a:off x="9741883" y="3274032"/>
              <a:ext cx="3934" cy="3934"/>
            </a:xfrm>
            <a:custGeom>
              <a:avLst/>
              <a:gdLst>
                <a:gd name="connsiteX0" fmla="*/ 2754 w 0"/>
                <a:gd name="connsiteY0" fmla="*/ 1574 h 0"/>
                <a:gd name="connsiteX1" fmla="*/ 2754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574"/>
                  </a:move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87" name="Freeform: Shape 4281">
              <a:extLst>
                <a:ext uri="{FF2B5EF4-FFF2-40B4-BE49-F238E27FC236}">
                  <a16:creationId xmlns:a16="http://schemas.microsoft.com/office/drawing/2014/main" id="{4FB87B33-A3C7-4183-89F3-C54EE19F5C36}"/>
                </a:ext>
              </a:extLst>
            </p:cNvPr>
            <p:cNvSpPr/>
            <p:nvPr/>
          </p:nvSpPr>
          <p:spPr>
            <a:xfrm>
              <a:off x="9704901" y="3273245"/>
              <a:ext cx="3934" cy="3934"/>
            </a:xfrm>
            <a:custGeom>
              <a:avLst/>
              <a:gdLst>
                <a:gd name="connsiteX0" fmla="*/ 393 w 0"/>
                <a:gd name="connsiteY0" fmla="*/ 1967 h 0"/>
                <a:gd name="connsiteX1" fmla="*/ 0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1967"/>
                  </a:moveTo>
                  <a:lnTo>
                    <a:pt x="0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88" name="Freeform: Shape 4282">
              <a:extLst>
                <a:ext uri="{FF2B5EF4-FFF2-40B4-BE49-F238E27FC236}">
                  <a16:creationId xmlns:a16="http://schemas.microsoft.com/office/drawing/2014/main" id="{D267165C-6BFB-4C39-85B3-8FF471F3B945}"/>
                </a:ext>
              </a:extLst>
            </p:cNvPr>
            <p:cNvSpPr/>
            <p:nvPr/>
          </p:nvSpPr>
          <p:spPr>
            <a:xfrm>
              <a:off x="9721425" y="3273638"/>
              <a:ext cx="3934" cy="3934"/>
            </a:xfrm>
            <a:custGeom>
              <a:avLst/>
              <a:gdLst>
                <a:gd name="connsiteX0" fmla="*/ 787 w 0"/>
                <a:gd name="connsiteY0" fmla="*/ 787 h 0"/>
                <a:gd name="connsiteX1" fmla="*/ 0 w 0"/>
                <a:gd name="connsiteY1" fmla="*/ 0 h 0"/>
                <a:gd name="connsiteX2" fmla="*/ 0 w 0"/>
                <a:gd name="connsiteY2" fmla="*/ 3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787"/>
                  </a:moveTo>
                  <a:lnTo>
                    <a:pt x="0" y="0"/>
                  </a:lnTo>
                  <a:lnTo>
                    <a:pt x="0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89" name="Freeform: Shape 4283">
              <a:extLst>
                <a:ext uri="{FF2B5EF4-FFF2-40B4-BE49-F238E27FC236}">
                  <a16:creationId xmlns:a16="http://schemas.microsoft.com/office/drawing/2014/main" id="{7B73358B-01F2-420D-968C-4D9AC35E17EB}"/>
                </a:ext>
              </a:extLst>
            </p:cNvPr>
            <p:cNvSpPr/>
            <p:nvPr/>
          </p:nvSpPr>
          <p:spPr>
            <a:xfrm>
              <a:off x="9736768" y="3270098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1967 w 0"/>
                <a:gd name="connsiteY1" fmla="*/ 314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1967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90" name="Freeform: Shape 4284">
              <a:extLst>
                <a:ext uri="{FF2B5EF4-FFF2-40B4-BE49-F238E27FC236}">
                  <a16:creationId xmlns:a16="http://schemas.microsoft.com/office/drawing/2014/main" id="{574130A3-3BB5-4F66-9995-A7BBA2961437}"/>
                </a:ext>
              </a:extLst>
            </p:cNvPr>
            <p:cNvSpPr/>
            <p:nvPr/>
          </p:nvSpPr>
          <p:spPr>
            <a:xfrm>
              <a:off x="9686803" y="3264983"/>
              <a:ext cx="3934" cy="3934"/>
            </a:xfrm>
            <a:custGeom>
              <a:avLst/>
              <a:gdLst>
                <a:gd name="connsiteX0" fmla="*/ 0 w 0"/>
                <a:gd name="connsiteY0" fmla="*/ 1574 h 0"/>
                <a:gd name="connsiteX1" fmla="*/ 394 w 0"/>
                <a:gd name="connsiteY1" fmla="*/ 2361 h 0"/>
                <a:gd name="connsiteX2" fmla="*/ 39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574"/>
                  </a:moveTo>
                  <a:lnTo>
                    <a:pt x="394" y="2361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91" name="Freeform: Shape 4285">
              <a:extLst>
                <a:ext uri="{FF2B5EF4-FFF2-40B4-BE49-F238E27FC236}">
                  <a16:creationId xmlns:a16="http://schemas.microsoft.com/office/drawing/2014/main" id="{163A6F9E-C341-4C08-B225-FAC3AADFC2D5}"/>
                </a:ext>
              </a:extLst>
            </p:cNvPr>
            <p:cNvSpPr/>
            <p:nvPr/>
          </p:nvSpPr>
          <p:spPr>
            <a:xfrm>
              <a:off x="9678934" y="3215411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0 w 0"/>
                <a:gd name="connsiteY1" fmla="*/ 0 h 0"/>
                <a:gd name="connsiteX2" fmla="*/ 0 w 0"/>
                <a:gd name="connsiteY2" fmla="*/ 0 h 0"/>
                <a:gd name="connsiteX3" fmla="*/ 0 w 0"/>
                <a:gd name="connsiteY3" fmla="*/ 787 h 0"/>
                <a:gd name="connsiteX4" fmla="*/ 2754 w 0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787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92" name="Freeform: Shape 4286">
              <a:extLst>
                <a:ext uri="{FF2B5EF4-FFF2-40B4-BE49-F238E27FC236}">
                  <a16:creationId xmlns:a16="http://schemas.microsoft.com/office/drawing/2014/main" id="{8E176D46-EDC0-49D4-8D48-3CFB86E94B1F}"/>
                </a:ext>
              </a:extLst>
            </p:cNvPr>
            <p:cNvSpPr/>
            <p:nvPr/>
          </p:nvSpPr>
          <p:spPr>
            <a:xfrm>
              <a:off x="9624249" y="3253967"/>
              <a:ext cx="11803" cy="3934"/>
            </a:xfrm>
            <a:custGeom>
              <a:avLst/>
              <a:gdLst>
                <a:gd name="connsiteX0" fmla="*/ 2754 w 11802"/>
                <a:gd name="connsiteY0" fmla="*/ 3541 h 3934"/>
                <a:gd name="connsiteX1" fmla="*/ 4721 w 11802"/>
                <a:gd name="connsiteY1" fmla="*/ 4721 h 3934"/>
                <a:gd name="connsiteX2" fmla="*/ 7082 w 11802"/>
                <a:gd name="connsiteY2" fmla="*/ 6295 h 3934"/>
                <a:gd name="connsiteX3" fmla="*/ 7082 w 11802"/>
                <a:gd name="connsiteY3" fmla="*/ 5901 h 3934"/>
                <a:gd name="connsiteX4" fmla="*/ 7082 w 11802"/>
                <a:gd name="connsiteY4" fmla="*/ 5901 h 3934"/>
                <a:gd name="connsiteX5" fmla="*/ 9049 w 11802"/>
                <a:gd name="connsiteY5" fmla="*/ 7082 h 3934"/>
                <a:gd name="connsiteX6" fmla="*/ 11803 w 11802"/>
                <a:gd name="connsiteY6" fmla="*/ 7475 h 3934"/>
                <a:gd name="connsiteX7" fmla="*/ 7082 w 11802"/>
                <a:gd name="connsiteY7" fmla="*/ 4721 h 3934"/>
                <a:gd name="connsiteX8" fmla="*/ 6294 w 11802"/>
                <a:gd name="connsiteY8" fmla="*/ 1967 h 3934"/>
                <a:gd name="connsiteX9" fmla="*/ 3148 w 11802"/>
                <a:gd name="connsiteY9" fmla="*/ 0 h 3934"/>
                <a:gd name="connsiteX10" fmla="*/ 1180 w 11802"/>
                <a:gd name="connsiteY10" fmla="*/ 394 h 3934"/>
                <a:gd name="connsiteX11" fmla="*/ 787 w 11802"/>
                <a:gd name="connsiteY11" fmla="*/ 394 h 3934"/>
                <a:gd name="connsiteX12" fmla="*/ 787 w 11802"/>
                <a:gd name="connsiteY12" fmla="*/ 394 h 3934"/>
                <a:gd name="connsiteX13" fmla="*/ 0 w 11802"/>
                <a:gd name="connsiteY13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802" h="3934">
                  <a:moveTo>
                    <a:pt x="2754" y="3541"/>
                  </a:moveTo>
                  <a:lnTo>
                    <a:pt x="4721" y="4721"/>
                  </a:lnTo>
                  <a:lnTo>
                    <a:pt x="7082" y="6295"/>
                  </a:lnTo>
                  <a:lnTo>
                    <a:pt x="7082" y="5901"/>
                  </a:lnTo>
                  <a:lnTo>
                    <a:pt x="7082" y="5901"/>
                  </a:lnTo>
                  <a:lnTo>
                    <a:pt x="9049" y="7082"/>
                  </a:lnTo>
                  <a:lnTo>
                    <a:pt x="11803" y="7475"/>
                  </a:lnTo>
                  <a:lnTo>
                    <a:pt x="7082" y="4721"/>
                  </a:lnTo>
                  <a:lnTo>
                    <a:pt x="6294" y="1967"/>
                  </a:lnTo>
                  <a:lnTo>
                    <a:pt x="3148" y="0"/>
                  </a:lnTo>
                  <a:lnTo>
                    <a:pt x="1180" y="394"/>
                  </a:lnTo>
                  <a:lnTo>
                    <a:pt x="787" y="394"/>
                  </a:lnTo>
                  <a:lnTo>
                    <a:pt x="787" y="394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93" name="Freeform: Shape 4287">
              <a:extLst>
                <a:ext uri="{FF2B5EF4-FFF2-40B4-BE49-F238E27FC236}">
                  <a16:creationId xmlns:a16="http://schemas.microsoft.com/office/drawing/2014/main" id="{1AA57F5A-B276-4FB1-8C9E-AEE8E6ADB55C}"/>
                </a:ext>
              </a:extLst>
            </p:cNvPr>
            <p:cNvSpPr/>
            <p:nvPr/>
          </p:nvSpPr>
          <p:spPr>
            <a:xfrm>
              <a:off x="9732047" y="3251607"/>
              <a:ext cx="3934" cy="3934"/>
            </a:xfrm>
            <a:custGeom>
              <a:avLst/>
              <a:gdLst>
                <a:gd name="connsiteX0" fmla="*/ 1574 w 3934"/>
                <a:gd name="connsiteY0" fmla="*/ 787 h 0"/>
                <a:gd name="connsiteX1" fmla="*/ 0 w 3934"/>
                <a:gd name="connsiteY1" fmla="*/ 787 h 0"/>
                <a:gd name="connsiteX2" fmla="*/ 5509 w 3934"/>
                <a:gd name="connsiteY2" fmla="*/ 3147 h 0"/>
                <a:gd name="connsiteX3" fmla="*/ 4721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574" y="787"/>
                  </a:moveTo>
                  <a:lnTo>
                    <a:pt x="0" y="787"/>
                  </a:lnTo>
                  <a:lnTo>
                    <a:pt x="5509" y="3147"/>
                  </a:lnTo>
                  <a:lnTo>
                    <a:pt x="472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94" name="Freeform: Shape 4288">
              <a:extLst>
                <a:ext uri="{FF2B5EF4-FFF2-40B4-BE49-F238E27FC236}">
                  <a16:creationId xmlns:a16="http://schemas.microsoft.com/office/drawing/2014/main" id="{DCAD73EC-DE7E-4B5E-9350-7F5E196059B1}"/>
                </a:ext>
              </a:extLst>
            </p:cNvPr>
            <p:cNvSpPr/>
            <p:nvPr/>
          </p:nvSpPr>
          <p:spPr>
            <a:xfrm>
              <a:off x="9671460" y="3213051"/>
              <a:ext cx="11803" cy="11803"/>
            </a:xfrm>
            <a:custGeom>
              <a:avLst/>
              <a:gdLst>
                <a:gd name="connsiteX0" fmla="*/ 11409 w 11802"/>
                <a:gd name="connsiteY0" fmla="*/ 3934 h 11802"/>
                <a:gd name="connsiteX1" fmla="*/ 10229 w 11802"/>
                <a:gd name="connsiteY1" fmla="*/ 3934 h 11802"/>
                <a:gd name="connsiteX2" fmla="*/ 10229 w 11802"/>
                <a:gd name="connsiteY2" fmla="*/ 6688 h 11802"/>
                <a:gd name="connsiteX3" fmla="*/ 7082 w 11802"/>
                <a:gd name="connsiteY3" fmla="*/ 5901 h 11802"/>
                <a:gd name="connsiteX4" fmla="*/ 7475 w 11802"/>
                <a:gd name="connsiteY4" fmla="*/ 3147 h 11802"/>
                <a:gd name="connsiteX5" fmla="*/ 6688 w 11802"/>
                <a:gd name="connsiteY5" fmla="*/ 3147 h 11802"/>
                <a:gd name="connsiteX6" fmla="*/ 7082 w 11802"/>
                <a:gd name="connsiteY6" fmla="*/ 1967 h 11802"/>
                <a:gd name="connsiteX7" fmla="*/ 5901 w 11802"/>
                <a:gd name="connsiteY7" fmla="*/ 787 h 11802"/>
                <a:gd name="connsiteX8" fmla="*/ 5508 w 11802"/>
                <a:gd name="connsiteY8" fmla="*/ 393 h 11802"/>
                <a:gd name="connsiteX9" fmla="*/ 3934 w 11802"/>
                <a:gd name="connsiteY9" fmla="*/ 393 h 11802"/>
                <a:gd name="connsiteX10" fmla="*/ 5115 w 11802"/>
                <a:gd name="connsiteY10" fmla="*/ 0 h 11802"/>
                <a:gd name="connsiteX11" fmla="*/ 1967 w 11802"/>
                <a:gd name="connsiteY11" fmla="*/ 393 h 11802"/>
                <a:gd name="connsiteX12" fmla="*/ 0 w 11802"/>
                <a:gd name="connsiteY12" fmla="*/ 1967 h 11802"/>
                <a:gd name="connsiteX13" fmla="*/ 787 w 11802"/>
                <a:gd name="connsiteY13" fmla="*/ 1574 h 11802"/>
                <a:gd name="connsiteX14" fmla="*/ 393 w 11802"/>
                <a:gd name="connsiteY14" fmla="*/ 1967 h 11802"/>
                <a:gd name="connsiteX15" fmla="*/ 393 w 11802"/>
                <a:gd name="connsiteY15" fmla="*/ 1967 h 11802"/>
                <a:gd name="connsiteX16" fmla="*/ 0 w 11802"/>
                <a:gd name="connsiteY16" fmla="*/ 1967 h 11802"/>
                <a:gd name="connsiteX17" fmla="*/ 393 w 11802"/>
                <a:gd name="connsiteY17" fmla="*/ 5114 h 11802"/>
                <a:gd name="connsiteX18" fmla="*/ 3148 w 11802"/>
                <a:gd name="connsiteY18" fmla="*/ 8655 h 11802"/>
                <a:gd name="connsiteX19" fmla="*/ 3540 w 11802"/>
                <a:gd name="connsiteY19" fmla="*/ 11409 h 11802"/>
                <a:gd name="connsiteX20" fmla="*/ 4327 w 11802"/>
                <a:gd name="connsiteY20" fmla="*/ 14557 h 11802"/>
                <a:gd name="connsiteX21" fmla="*/ 6688 w 11802"/>
                <a:gd name="connsiteY21" fmla="*/ 13376 h 11802"/>
                <a:gd name="connsiteX22" fmla="*/ 6688 w 11802"/>
                <a:gd name="connsiteY22" fmla="*/ 13770 h 11802"/>
                <a:gd name="connsiteX23" fmla="*/ 6688 w 11802"/>
                <a:gd name="connsiteY23" fmla="*/ 13376 h 11802"/>
                <a:gd name="connsiteX24" fmla="*/ 7475 w 11802"/>
                <a:gd name="connsiteY24" fmla="*/ 13376 h 11802"/>
                <a:gd name="connsiteX25" fmla="*/ 7869 w 11802"/>
                <a:gd name="connsiteY25" fmla="*/ 10622 h 11802"/>
                <a:gd name="connsiteX26" fmla="*/ 7475 w 11802"/>
                <a:gd name="connsiteY26" fmla="*/ 7475 h 11802"/>
                <a:gd name="connsiteX27" fmla="*/ 10622 w 11802"/>
                <a:gd name="connsiteY27" fmla="*/ 9442 h 11802"/>
                <a:gd name="connsiteX28" fmla="*/ 12589 w 11802"/>
                <a:gd name="connsiteY28" fmla="*/ 10622 h 11802"/>
                <a:gd name="connsiteX29" fmla="*/ 14163 w 11802"/>
                <a:gd name="connsiteY29" fmla="*/ 11409 h 11802"/>
                <a:gd name="connsiteX30" fmla="*/ 14163 w 11802"/>
                <a:gd name="connsiteY30" fmla="*/ 9049 h 11802"/>
                <a:gd name="connsiteX31" fmla="*/ 13770 w 11802"/>
                <a:gd name="connsiteY31" fmla="*/ 9049 h 11802"/>
                <a:gd name="connsiteX32" fmla="*/ 14557 w 11802"/>
                <a:gd name="connsiteY32" fmla="*/ 7475 h 11802"/>
                <a:gd name="connsiteX33" fmla="*/ 11803 w 11802"/>
                <a:gd name="connsiteY33" fmla="*/ 4721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1802" h="11802">
                  <a:moveTo>
                    <a:pt x="11409" y="3934"/>
                  </a:moveTo>
                  <a:lnTo>
                    <a:pt x="10229" y="3934"/>
                  </a:lnTo>
                  <a:lnTo>
                    <a:pt x="10229" y="6688"/>
                  </a:lnTo>
                  <a:lnTo>
                    <a:pt x="7082" y="5901"/>
                  </a:lnTo>
                  <a:lnTo>
                    <a:pt x="7475" y="3147"/>
                  </a:lnTo>
                  <a:lnTo>
                    <a:pt x="6688" y="3147"/>
                  </a:lnTo>
                  <a:lnTo>
                    <a:pt x="7082" y="1967"/>
                  </a:lnTo>
                  <a:lnTo>
                    <a:pt x="5901" y="787"/>
                  </a:lnTo>
                  <a:lnTo>
                    <a:pt x="5508" y="393"/>
                  </a:lnTo>
                  <a:lnTo>
                    <a:pt x="3934" y="393"/>
                  </a:lnTo>
                  <a:lnTo>
                    <a:pt x="5115" y="0"/>
                  </a:lnTo>
                  <a:lnTo>
                    <a:pt x="1967" y="393"/>
                  </a:lnTo>
                  <a:lnTo>
                    <a:pt x="0" y="1967"/>
                  </a:lnTo>
                  <a:lnTo>
                    <a:pt x="787" y="1574"/>
                  </a:lnTo>
                  <a:lnTo>
                    <a:pt x="393" y="1967"/>
                  </a:lnTo>
                  <a:lnTo>
                    <a:pt x="393" y="1967"/>
                  </a:lnTo>
                  <a:lnTo>
                    <a:pt x="0" y="1967"/>
                  </a:lnTo>
                  <a:lnTo>
                    <a:pt x="393" y="5114"/>
                  </a:lnTo>
                  <a:lnTo>
                    <a:pt x="3148" y="8655"/>
                  </a:lnTo>
                  <a:lnTo>
                    <a:pt x="3540" y="11409"/>
                  </a:lnTo>
                  <a:lnTo>
                    <a:pt x="4327" y="14557"/>
                  </a:lnTo>
                  <a:lnTo>
                    <a:pt x="6688" y="13376"/>
                  </a:lnTo>
                  <a:lnTo>
                    <a:pt x="6688" y="13770"/>
                  </a:lnTo>
                  <a:lnTo>
                    <a:pt x="6688" y="13376"/>
                  </a:lnTo>
                  <a:lnTo>
                    <a:pt x="7475" y="13376"/>
                  </a:lnTo>
                  <a:lnTo>
                    <a:pt x="7869" y="10622"/>
                  </a:lnTo>
                  <a:lnTo>
                    <a:pt x="7475" y="7475"/>
                  </a:lnTo>
                  <a:lnTo>
                    <a:pt x="10622" y="9442"/>
                  </a:lnTo>
                  <a:lnTo>
                    <a:pt x="12589" y="10622"/>
                  </a:lnTo>
                  <a:lnTo>
                    <a:pt x="14163" y="11409"/>
                  </a:lnTo>
                  <a:lnTo>
                    <a:pt x="14163" y="9049"/>
                  </a:lnTo>
                  <a:lnTo>
                    <a:pt x="13770" y="9049"/>
                  </a:lnTo>
                  <a:lnTo>
                    <a:pt x="14557" y="7475"/>
                  </a:lnTo>
                  <a:lnTo>
                    <a:pt x="11803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95" name="Freeform: Shape 4289">
              <a:extLst>
                <a:ext uri="{FF2B5EF4-FFF2-40B4-BE49-F238E27FC236}">
                  <a16:creationId xmlns:a16="http://schemas.microsoft.com/office/drawing/2014/main" id="{CDC592E3-9B23-4E0C-AB00-8C6B7426E07B}"/>
                </a:ext>
              </a:extLst>
            </p:cNvPr>
            <p:cNvSpPr/>
            <p:nvPr/>
          </p:nvSpPr>
          <p:spPr>
            <a:xfrm>
              <a:off x="9685622" y="3294490"/>
              <a:ext cx="3934" cy="15737"/>
            </a:xfrm>
            <a:custGeom>
              <a:avLst/>
              <a:gdLst>
                <a:gd name="connsiteX0" fmla="*/ 1180 w 3934"/>
                <a:gd name="connsiteY0" fmla="*/ 2754 h 15737"/>
                <a:gd name="connsiteX1" fmla="*/ 1967 w 3934"/>
                <a:gd name="connsiteY1" fmla="*/ 5508 h 15737"/>
                <a:gd name="connsiteX2" fmla="*/ 1574 w 3934"/>
                <a:gd name="connsiteY2" fmla="*/ 7475 h 15737"/>
                <a:gd name="connsiteX3" fmla="*/ 0 w 3934"/>
                <a:gd name="connsiteY3" fmla="*/ 10229 h 15737"/>
                <a:gd name="connsiteX4" fmla="*/ 1180 w 3934"/>
                <a:gd name="connsiteY4" fmla="*/ 13377 h 15737"/>
                <a:gd name="connsiteX5" fmla="*/ 1574 w 3934"/>
                <a:gd name="connsiteY5" fmla="*/ 16131 h 15737"/>
                <a:gd name="connsiteX6" fmla="*/ 3541 w 3934"/>
                <a:gd name="connsiteY6" fmla="*/ 19278 h 15737"/>
                <a:gd name="connsiteX7" fmla="*/ 3541 w 3934"/>
                <a:gd name="connsiteY7" fmla="*/ 17311 h 15737"/>
                <a:gd name="connsiteX8" fmla="*/ 4328 w 3934"/>
                <a:gd name="connsiteY8" fmla="*/ 14163 h 15737"/>
                <a:gd name="connsiteX9" fmla="*/ 4722 w 3934"/>
                <a:gd name="connsiteY9" fmla="*/ 11409 h 15737"/>
                <a:gd name="connsiteX10" fmla="*/ 5115 w 3934"/>
                <a:gd name="connsiteY10" fmla="*/ 8655 h 15737"/>
                <a:gd name="connsiteX11" fmla="*/ 4722 w 3934"/>
                <a:gd name="connsiteY11" fmla="*/ 5508 h 15737"/>
                <a:gd name="connsiteX12" fmla="*/ 5509 w 3934"/>
                <a:gd name="connsiteY12" fmla="*/ 3541 h 15737"/>
                <a:gd name="connsiteX13" fmla="*/ 5901 w 3934"/>
                <a:gd name="connsiteY13" fmla="*/ 787 h 15737"/>
                <a:gd name="connsiteX14" fmla="*/ 3934 w 3934"/>
                <a:gd name="connsiteY14" fmla="*/ 0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34" h="15737">
                  <a:moveTo>
                    <a:pt x="1180" y="2754"/>
                  </a:moveTo>
                  <a:lnTo>
                    <a:pt x="1967" y="5508"/>
                  </a:lnTo>
                  <a:lnTo>
                    <a:pt x="1574" y="7475"/>
                  </a:lnTo>
                  <a:lnTo>
                    <a:pt x="0" y="10229"/>
                  </a:lnTo>
                  <a:lnTo>
                    <a:pt x="1180" y="13377"/>
                  </a:lnTo>
                  <a:lnTo>
                    <a:pt x="1574" y="16131"/>
                  </a:lnTo>
                  <a:lnTo>
                    <a:pt x="3541" y="19278"/>
                  </a:lnTo>
                  <a:lnTo>
                    <a:pt x="3541" y="17311"/>
                  </a:lnTo>
                  <a:lnTo>
                    <a:pt x="4328" y="14163"/>
                  </a:lnTo>
                  <a:lnTo>
                    <a:pt x="4722" y="11409"/>
                  </a:lnTo>
                  <a:lnTo>
                    <a:pt x="5115" y="8655"/>
                  </a:lnTo>
                  <a:lnTo>
                    <a:pt x="4722" y="5508"/>
                  </a:lnTo>
                  <a:lnTo>
                    <a:pt x="5509" y="3541"/>
                  </a:lnTo>
                  <a:lnTo>
                    <a:pt x="5901" y="787"/>
                  </a:lnTo>
                  <a:lnTo>
                    <a:pt x="393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96" name="Freeform: Shape 4290">
              <a:extLst>
                <a:ext uri="{FF2B5EF4-FFF2-40B4-BE49-F238E27FC236}">
                  <a16:creationId xmlns:a16="http://schemas.microsoft.com/office/drawing/2014/main" id="{5374228F-0CC3-498E-9E3E-6BE1A1A59C5C}"/>
                </a:ext>
              </a:extLst>
            </p:cNvPr>
            <p:cNvSpPr/>
            <p:nvPr/>
          </p:nvSpPr>
          <p:spPr>
            <a:xfrm>
              <a:off x="9743063" y="3246886"/>
              <a:ext cx="11803" cy="15737"/>
            </a:xfrm>
            <a:custGeom>
              <a:avLst/>
              <a:gdLst>
                <a:gd name="connsiteX0" fmla="*/ 1573 w 11802"/>
                <a:gd name="connsiteY0" fmla="*/ 13770 h 15737"/>
                <a:gd name="connsiteX1" fmla="*/ 0 w 11802"/>
                <a:gd name="connsiteY1" fmla="*/ 12983 h 15737"/>
                <a:gd name="connsiteX2" fmla="*/ 787 w 11802"/>
                <a:gd name="connsiteY2" fmla="*/ 16130 h 15737"/>
                <a:gd name="connsiteX3" fmla="*/ 3540 w 11802"/>
                <a:gd name="connsiteY3" fmla="*/ 17311 h 15737"/>
                <a:gd name="connsiteX4" fmla="*/ 4328 w 11802"/>
                <a:gd name="connsiteY4" fmla="*/ 17311 h 15737"/>
                <a:gd name="connsiteX5" fmla="*/ 5901 w 11802"/>
                <a:gd name="connsiteY5" fmla="*/ 18491 h 15737"/>
                <a:gd name="connsiteX6" fmla="*/ 8655 w 11802"/>
                <a:gd name="connsiteY6" fmla="*/ 16130 h 15737"/>
                <a:gd name="connsiteX7" fmla="*/ 10229 w 11802"/>
                <a:gd name="connsiteY7" fmla="*/ 14557 h 15737"/>
                <a:gd name="connsiteX8" fmla="*/ 10229 w 11802"/>
                <a:gd name="connsiteY8" fmla="*/ 15344 h 15737"/>
                <a:gd name="connsiteX9" fmla="*/ 11016 w 11802"/>
                <a:gd name="connsiteY9" fmla="*/ 13770 h 15737"/>
                <a:gd name="connsiteX10" fmla="*/ 11409 w 11802"/>
                <a:gd name="connsiteY10" fmla="*/ 13377 h 15737"/>
                <a:gd name="connsiteX11" fmla="*/ 11409 w 11802"/>
                <a:gd name="connsiteY11" fmla="*/ 13377 h 15737"/>
                <a:gd name="connsiteX12" fmla="*/ 11803 w 11802"/>
                <a:gd name="connsiteY12" fmla="*/ 12590 h 15737"/>
                <a:gd name="connsiteX13" fmla="*/ 11803 w 11802"/>
                <a:gd name="connsiteY13" fmla="*/ 9442 h 15737"/>
                <a:gd name="connsiteX14" fmla="*/ 11409 w 11802"/>
                <a:gd name="connsiteY14" fmla="*/ 7082 h 15737"/>
                <a:gd name="connsiteX15" fmla="*/ 11016 w 11802"/>
                <a:gd name="connsiteY15" fmla="*/ 10623 h 15737"/>
                <a:gd name="connsiteX16" fmla="*/ 10622 w 11802"/>
                <a:gd name="connsiteY16" fmla="*/ 10229 h 15737"/>
                <a:gd name="connsiteX17" fmla="*/ 10622 w 11802"/>
                <a:gd name="connsiteY17" fmla="*/ 7475 h 15737"/>
                <a:gd name="connsiteX18" fmla="*/ 9049 w 11802"/>
                <a:gd name="connsiteY18" fmla="*/ 5114 h 15737"/>
                <a:gd name="connsiteX19" fmla="*/ 9836 w 11802"/>
                <a:gd name="connsiteY19" fmla="*/ 5114 h 15737"/>
                <a:gd name="connsiteX20" fmla="*/ 7869 w 11802"/>
                <a:gd name="connsiteY20" fmla="*/ 3541 h 15737"/>
                <a:gd name="connsiteX21" fmla="*/ 6688 w 11802"/>
                <a:gd name="connsiteY21" fmla="*/ 2360 h 15737"/>
                <a:gd name="connsiteX22" fmla="*/ 5115 w 11802"/>
                <a:gd name="connsiteY22" fmla="*/ 0 h 15737"/>
                <a:gd name="connsiteX23" fmla="*/ 2361 w 11802"/>
                <a:gd name="connsiteY23" fmla="*/ 0 h 15737"/>
                <a:gd name="connsiteX24" fmla="*/ 1573 w 11802"/>
                <a:gd name="connsiteY24" fmla="*/ 2754 h 15737"/>
                <a:gd name="connsiteX25" fmla="*/ 1967 w 11802"/>
                <a:gd name="connsiteY25" fmla="*/ 2754 h 15737"/>
                <a:gd name="connsiteX26" fmla="*/ 1573 w 11802"/>
                <a:gd name="connsiteY26" fmla="*/ 3147 h 15737"/>
                <a:gd name="connsiteX27" fmla="*/ 2361 w 11802"/>
                <a:gd name="connsiteY27" fmla="*/ 6295 h 15737"/>
                <a:gd name="connsiteX28" fmla="*/ 2754 w 11802"/>
                <a:gd name="connsiteY28" fmla="*/ 9049 h 15737"/>
                <a:gd name="connsiteX29" fmla="*/ 1967 w 11802"/>
                <a:gd name="connsiteY29" fmla="*/ 12196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1802" h="15737">
                  <a:moveTo>
                    <a:pt x="1573" y="13770"/>
                  </a:moveTo>
                  <a:lnTo>
                    <a:pt x="0" y="12983"/>
                  </a:lnTo>
                  <a:lnTo>
                    <a:pt x="787" y="16130"/>
                  </a:lnTo>
                  <a:lnTo>
                    <a:pt x="3540" y="17311"/>
                  </a:lnTo>
                  <a:lnTo>
                    <a:pt x="4328" y="17311"/>
                  </a:lnTo>
                  <a:lnTo>
                    <a:pt x="5901" y="18491"/>
                  </a:lnTo>
                  <a:lnTo>
                    <a:pt x="8655" y="16130"/>
                  </a:lnTo>
                  <a:lnTo>
                    <a:pt x="10229" y="14557"/>
                  </a:lnTo>
                  <a:lnTo>
                    <a:pt x="10229" y="15344"/>
                  </a:lnTo>
                  <a:lnTo>
                    <a:pt x="11016" y="13770"/>
                  </a:lnTo>
                  <a:lnTo>
                    <a:pt x="11409" y="13377"/>
                  </a:lnTo>
                  <a:lnTo>
                    <a:pt x="11409" y="13377"/>
                  </a:lnTo>
                  <a:lnTo>
                    <a:pt x="11803" y="12590"/>
                  </a:lnTo>
                  <a:lnTo>
                    <a:pt x="11803" y="9442"/>
                  </a:lnTo>
                  <a:lnTo>
                    <a:pt x="11409" y="7082"/>
                  </a:lnTo>
                  <a:lnTo>
                    <a:pt x="11016" y="10623"/>
                  </a:lnTo>
                  <a:lnTo>
                    <a:pt x="10622" y="10229"/>
                  </a:lnTo>
                  <a:lnTo>
                    <a:pt x="10622" y="7475"/>
                  </a:lnTo>
                  <a:lnTo>
                    <a:pt x="9049" y="5114"/>
                  </a:lnTo>
                  <a:lnTo>
                    <a:pt x="9836" y="5114"/>
                  </a:lnTo>
                  <a:lnTo>
                    <a:pt x="7869" y="3541"/>
                  </a:lnTo>
                  <a:lnTo>
                    <a:pt x="6688" y="2360"/>
                  </a:lnTo>
                  <a:lnTo>
                    <a:pt x="5115" y="0"/>
                  </a:lnTo>
                  <a:lnTo>
                    <a:pt x="2361" y="0"/>
                  </a:lnTo>
                  <a:lnTo>
                    <a:pt x="1573" y="2754"/>
                  </a:lnTo>
                  <a:lnTo>
                    <a:pt x="1967" y="2754"/>
                  </a:lnTo>
                  <a:lnTo>
                    <a:pt x="1573" y="3147"/>
                  </a:lnTo>
                  <a:lnTo>
                    <a:pt x="2361" y="6295"/>
                  </a:lnTo>
                  <a:lnTo>
                    <a:pt x="2754" y="9049"/>
                  </a:lnTo>
                  <a:lnTo>
                    <a:pt x="1967" y="1219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97" name="Freeform: Shape 4291">
              <a:extLst>
                <a:ext uri="{FF2B5EF4-FFF2-40B4-BE49-F238E27FC236}">
                  <a16:creationId xmlns:a16="http://schemas.microsoft.com/office/drawing/2014/main" id="{722CBBEB-B830-4634-A3C6-D154CE8EA648}"/>
                </a:ext>
              </a:extLst>
            </p:cNvPr>
            <p:cNvSpPr/>
            <p:nvPr/>
          </p:nvSpPr>
          <p:spPr>
            <a:xfrm>
              <a:off x="9754079" y="3293310"/>
              <a:ext cx="3934" cy="3934"/>
            </a:xfrm>
            <a:custGeom>
              <a:avLst/>
              <a:gdLst>
                <a:gd name="connsiteX0" fmla="*/ 0 w 0"/>
                <a:gd name="connsiteY0" fmla="*/ 5508 h 3934"/>
                <a:gd name="connsiteX1" fmla="*/ 2754 w 0"/>
                <a:gd name="connsiteY1" fmla="*/ 3147 h 3934"/>
                <a:gd name="connsiteX2" fmla="*/ 2360 w 0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0" y="5508"/>
                  </a:moveTo>
                  <a:lnTo>
                    <a:pt x="2754" y="3147"/>
                  </a:lnTo>
                  <a:lnTo>
                    <a:pt x="236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98" name="Freeform: Shape 4292">
              <a:extLst>
                <a:ext uri="{FF2B5EF4-FFF2-40B4-BE49-F238E27FC236}">
                  <a16:creationId xmlns:a16="http://schemas.microsoft.com/office/drawing/2014/main" id="{4EDAF309-8735-4C3B-906C-C6F9AF406D71}"/>
                </a:ext>
              </a:extLst>
            </p:cNvPr>
            <p:cNvSpPr/>
            <p:nvPr/>
          </p:nvSpPr>
          <p:spPr>
            <a:xfrm>
              <a:off x="9755260" y="3297638"/>
              <a:ext cx="47211" cy="82620"/>
            </a:xfrm>
            <a:custGeom>
              <a:avLst/>
              <a:gdLst>
                <a:gd name="connsiteX0" fmla="*/ 10622 w 47211"/>
                <a:gd name="connsiteY0" fmla="*/ 2360 h 82619"/>
                <a:gd name="connsiteX1" fmla="*/ 8655 w 47211"/>
                <a:gd name="connsiteY1" fmla="*/ 1574 h 82619"/>
                <a:gd name="connsiteX2" fmla="*/ 5508 w 47211"/>
                <a:gd name="connsiteY2" fmla="*/ 1180 h 82619"/>
                <a:gd name="connsiteX3" fmla="*/ 2754 w 47211"/>
                <a:gd name="connsiteY3" fmla="*/ 787 h 82619"/>
                <a:gd name="connsiteX4" fmla="*/ 0 w 47211"/>
                <a:gd name="connsiteY4" fmla="*/ 2360 h 82619"/>
                <a:gd name="connsiteX5" fmla="*/ 393 w 47211"/>
                <a:gd name="connsiteY5" fmla="*/ 3934 h 82619"/>
                <a:gd name="connsiteX6" fmla="*/ 787 w 47211"/>
                <a:gd name="connsiteY6" fmla="*/ 4721 h 82619"/>
                <a:gd name="connsiteX7" fmla="*/ 2754 w 47211"/>
                <a:gd name="connsiteY7" fmla="*/ 9836 h 82619"/>
                <a:gd name="connsiteX8" fmla="*/ 3934 w 47211"/>
                <a:gd name="connsiteY8" fmla="*/ 12589 h 82619"/>
                <a:gd name="connsiteX9" fmla="*/ 7081 w 47211"/>
                <a:gd name="connsiteY9" fmla="*/ 15343 h 82619"/>
                <a:gd name="connsiteX10" fmla="*/ 9836 w 47211"/>
                <a:gd name="connsiteY10" fmla="*/ 17704 h 82619"/>
                <a:gd name="connsiteX11" fmla="*/ 11409 w 47211"/>
                <a:gd name="connsiteY11" fmla="*/ 18098 h 82619"/>
                <a:gd name="connsiteX12" fmla="*/ 14557 w 47211"/>
                <a:gd name="connsiteY12" fmla="*/ 21245 h 82619"/>
                <a:gd name="connsiteX13" fmla="*/ 22425 w 47211"/>
                <a:gd name="connsiteY13" fmla="*/ 33835 h 82619"/>
                <a:gd name="connsiteX14" fmla="*/ 20458 w 47211"/>
                <a:gd name="connsiteY14" fmla="*/ 35408 h 82619"/>
                <a:gd name="connsiteX15" fmla="*/ 23212 w 47211"/>
                <a:gd name="connsiteY15" fmla="*/ 38162 h 82619"/>
                <a:gd name="connsiteX16" fmla="*/ 24785 w 47211"/>
                <a:gd name="connsiteY16" fmla="*/ 40129 h 82619"/>
                <a:gd name="connsiteX17" fmla="*/ 21638 w 47211"/>
                <a:gd name="connsiteY17" fmla="*/ 38556 h 82619"/>
                <a:gd name="connsiteX18" fmla="*/ 19671 w 47211"/>
                <a:gd name="connsiteY18" fmla="*/ 40916 h 82619"/>
                <a:gd name="connsiteX19" fmla="*/ 16524 w 47211"/>
                <a:gd name="connsiteY19" fmla="*/ 43277 h 82619"/>
                <a:gd name="connsiteX20" fmla="*/ 13376 w 47211"/>
                <a:gd name="connsiteY20" fmla="*/ 43277 h 82619"/>
                <a:gd name="connsiteX21" fmla="*/ 11803 w 47211"/>
                <a:gd name="connsiteY21" fmla="*/ 40129 h 82619"/>
                <a:gd name="connsiteX22" fmla="*/ 8655 w 47211"/>
                <a:gd name="connsiteY22" fmla="*/ 38949 h 82619"/>
                <a:gd name="connsiteX23" fmla="*/ 5901 w 47211"/>
                <a:gd name="connsiteY23" fmla="*/ 35802 h 82619"/>
                <a:gd name="connsiteX24" fmla="*/ 4721 w 47211"/>
                <a:gd name="connsiteY24" fmla="*/ 38949 h 82619"/>
                <a:gd name="connsiteX25" fmla="*/ 5508 w 47211"/>
                <a:gd name="connsiteY25" fmla="*/ 41703 h 82619"/>
                <a:gd name="connsiteX26" fmla="*/ 7475 w 47211"/>
                <a:gd name="connsiteY26" fmla="*/ 44457 h 82619"/>
                <a:gd name="connsiteX27" fmla="*/ 7869 w 47211"/>
                <a:gd name="connsiteY27" fmla="*/ 47604 h 82619"/>
                <a:gd name="connsiteX28" fmla="*/ 8261 w 47211"/>
                <a:gd name="connsiteY28" fmla="*/ 50359 h 82619"/>
                <a:gd name="connsiteX29" fmla="*/ 8261 w 47211"/>
                <a:gd name="connsiteY29" fmla="*/ 51932 h 82619"/>
                <a:gd name="connsiteX30" fmla="*/ 8655 w 47211"/>
                <a:gd name="connsiteY30" fmla="*/ 54686 h 82619"/>
                <a:gd name="connsiteX31" fmla="*/ 9836 w 47211"/>
                <a:gd name="connsiteY31" fmla="*/ 55866 h 82619"/>
                <a:gd name="connsiteX32" fmla="*/ 12589 w 47211"/>
                <a:gd name="connsiteY32" fmla="*/ 57833 h 82619"/>
                <a:gd name="connsiteX33" fmla="*/ 12589 w 47211"/>
                <a:gd name="connsiteY33" fmla="*/ 57833 h 82619"/>
                <a:gd name="connsiteX34" fmla="*/ 21638 w 47211"/>
                <a:gd name="connsiteY34" fmla="*/ 64128 h 82619"/>
                <a:gd name="connsiteX35" fmla="*/ 20851 w 47211"/>
                <a:gd name="connsiteY35" fmla="*/ 66882 h 82619"/>
                <a:gd name="connsiteX36" fmla="*/ 20851 w 47211"/>
                <a:gd name="connsiteY36" fmla="*/ 69636 h 82619"/>
                <a:gd name="connsiteX37" fmla="*/ 20458 w 47211"/>
                <a:gd name="connsiteY37" fmla="*/ 72784 h 82619"/>
                <a:gd name="connsiteX38" fmla="*/ 21638 w 47211"/>
                <a:gd name="connsiteY38" fmla="*/ 75538 h 82619"/>
                <a:gd name="connsiteX39" fmla="*/ 22031 w 47211"/>
                <a:gd name="connsiteY39" fmla="*/ 75931 h 82619"/>
                <a:gd name="connsiteX40" fmla="*/ 21638 w 47211"/>
                <a:gd name="connsiteY40" fmla="*/ 81439 h 82619"/>
                <a:gd name="connsiteX41" fmla="*/ 24785 w 47211"/>
                <a:gd name="connsiteY41" fmla="*/ 83013 h 82619"/>
                <a:gd name="connsiteX42" fmla="*/ 27540 w 47211"/>
                <a:gd name="connsiteY42" fmla="*/ 84980 h 82619"/>
                <a:gd name="connsiteX43" fmla="*/ 30294 w 47211"/>
                <a:gd name="connsiteY43" fmla="*/ 86160 h 82619"/>
                <a:gd name="connsiteX44" fmla="*/ 29900 w 47211"/>
                <a:gd name="connsiteY44" fmla="*/ 83406 h 82619"/>
                <a:gd name="connsiteX45" fmla="*/ 28719 w 47211"/>
                <a:gd name="connsiteY45" fmla="*/ 80259 h 82619"/>
                <a:gd name="connsiteX46" fmla="*/ 28327 w 47211"/>
                <a:gd name="connsiteY46" fmla="*/ 77505 h 82619"/>
                <a:gd name="connsiteX47" fmla="*/ 31474 w 47211"/>
                <a:gd name="connsiteY47" fmla="*/ 79472 h 82619"/>
                <a:gd name="connsiteX48" fmla="*/ 34228 w 47211"/>
                <a:gd name="connsiteY48" fmla="*/ 78685 h 82619"/>
                <a:gd name="connsiteX49" fmla="*/ 36588 w 47211"/>
                <a:gd name="connsiteY49" fmla="*/ 75538 h 82619"/>
                <a:gd name="connsiteX50" fmla="*/ 33834 w 47211"/>
                <a:gd name="connsiteY50" fmla="*/ 72784 h 82619"/>
                <a:gd name="connsiteX51" fmla="*/ 33047 w 47211"/>
                <a:gd name="connsiteY51" fmla="*/ 69636 h 82619"/>
                <a:gd name="connsiteX52" fmla="*/ 33047 w 47211"/>
                <a:gd name="connsiteY52" fmla="*/ 66882 h 82619"/>
                <a:gd name="connsiteX53" fmla="*/ 32654 w 47211"/>
                <a:gd name="connsiteY53" fmla="*/ 66489 h 82619"/>
                <a:gd name="connsiteX54" fmla="*/ 30686 w 47211"/>
                <a:gd name="connsiteY54" fmla="*/ 63735 h 82619"/>
                <a:gd name="connsiteX55" fmla="*/ 28327 w 47211"/>
                <a:gd name="connsiteY55" fmla="*/ 62948 h 82619"/>
                <a:gd name="connsiteX56" fmla="*/ 27933 w 47211"/>
                <a:gd name="connsiteY56" fmla="*/ 55473 h 82619"/>
                <a:gd name="connsiteX57" fmla="*/ 27933 w 47211"/>
                <a:gd name="connsiteY57" fmla="*/ 52719 h 82619"/>
                <a:gd name="connsiteX58" fmla="*/ 27146 w 47211"/>
                <a:gd name="connsiteY58" fmla="*/ 49572 h 82619"/>
                <a:gd name="connsiteX59" fmla="*/ 26752 w 47211"/>
                <a:gd name="connsiteY59" fmla="*/ 49178 h 82619"/>
                <a:gd name="connsiteX60" fmla="*/ 26752 w 47211"/>
                <a:gd name="connsiteY60" fmla="*/ 46031 h 82619"/>
                <a:gd name="connsiteX61" fmla="*/ 25179 w 47211"/>
                <a:gd name="connsiteY61" fmla="*/ 44064 h 82619"/>
                <a:gd name="connsiteX62" fmla="*/ 28719 w 47211"/>
                <a:gd name="connsiteY62" fmla="*/ 44064 h 82619"/>
                <a:gd name="connsiteX63" fmla="*/ 31474 w 47211"/>
                <a:gd name="connsiteY63" fmla="*/ 47211 h 82619"/>
                <a:gd name="connsiteX64" fmla="*/ 31867 w 47211"/>
                <a:gd name="connsiteY64" fmla="*/ 47604 h 82619"/>
                <a:gd name="connsiteX65" fmla="*/ 33047 w 47211"/>
                <a:gd name="connsiteY65" fmla="*/ 50359 h 82619"/>
                <a:gd name="connsiteX66" fmla="*/ 33441 w 47211"/>
                <a:gd name="connsiteY66" fmla="*/ 50752 h 82619"/>
                <a:gd name="connsiteX67" fmla="*/ 38162 w 47211"/>
                <a:gd name="connsiteY67" fmla="*/ 49965 h 82619"/>
                <a:gd name="connsiteX68" fmla="*/ 40916 w 47211"/>
                <a:gd name="connsiteY68" fmla="*/ 49572 h 82619"/>
                <a:gd name="connsiteX69" fmla="*/ 43670 w 47211"/>
                <a:gd name="connsiteY69" fmla="*/ 49965 h 82619"/>
                <a:gd name="connsiteX70" fmla="*/ 46424 w 47211"/>
                <a:gd name="connsiteY70" fmla="*/ 50752 h 82619"/>
                <a:gd name="connsiteX71" fmla="*/ 49178 w 47211"/>
                <a:gd name="connsiteY71" fmla="*/ 52326 h 82619"/>
                <a:gd name="connsiteX72" fmla="*/ 47211 w 47211"/>
                <a:gd name="connsiteY72" fmla="*/ 49572 h 82619"/>
                <a:gd name="connsiteX73" fmla="*/ 45244 w 47211"/>
                <a:gd name="connsiteY73" fmla="*/ 46424 h 82619"/>
                <a:gd name="connsiteX74" fmla="*/ 42096 w 47211"/>
                <a:gd name="connsiteY74" fmla="*/ 45244 h 82619"/>
                <a:gd name="connsiteX75" fmla="*/ 44456 w 47211"/>
                <a:gd name="connsiteY75" fmla="*/ 42096 h 82619"/>
                <a:gd name="connsiteX76" fmla="*/ 44064 w 47211"/>
                <a:gd name="connsiteY76" fmla="*/ 40916 h 82619"/>
                <a:gd name="connsiteX77" fmla="*/ 42096 w 47211"/>
                <a:gd name="connsiteY77" fmla="*/ 39343 h 82619"/>
                <a:gd name="connsiteX78" fmla="*/ 38949 w 47211"/>
                <a:gd name="connsiteY78" fmla="*/ 34621 h 82619"/>
                <a:gd name="connsiteX79" fmla="*/ 37376 w 47211"/>
                <a:gd name="connsiteY79" fmla="*/ 26753 h 82619"/>
                <a:gd name="connsiteX80" fmla="*/ 36982 w 47211"/>
                <a:gd name="connsiteY80" fmla="*/ 25179 h 82619"/>
                <a:gd name="connsiteX81" fmla="*/ 36195 w 47211"/>
                <a:gd name="connsiteY81" fmla="*/ 22425 h 82619"/>
                <a:gd name="connsiteX82" fmla="*/ 36982 w 47211"/>
                <a:gd name="connsiteY82" fmla="*/ 20065 h 82619"/>
                <a:gd name="connsiteX83" fmla="*/ 37768 w 47211"/>
                <a:gd name="connsiteY83" fmla="*/ 18491 h 82619"/>
                <a:gd name="connsiteX84" fmla="*/ 38162 w 47211"/>
                <a:gd name="connsiteY84" fmla="*/ 18098 h 82619"/>
                <a:gd name="connsiteX85" fmla="*/ 36195 w 47211"/>
                <a:gd name="connsiteY85" fmla="*/ 14950 h 82619"/>
                <a:gd name="connsiteX86" fmla="*/ 38162 w 47211"/>
                <a:gd name="connsiteY86" fmla="*/ 13376 h 82619"/>
                <a:gd name="connsiteX87" fmla="*/ 37768 w 47211"/>
                <a:gd name="connsiteY87" fmla="*/ 12589 h 82619"/>
                <a:gd name="connsiteX88" fmla="*/ 37376 w 47211"/>
                <a:gd name="connsiteY88" fmla="*/ 12196 h 82619"/>
                <a:gd name="connsiteX89" fmla="*/ 36982 w 47211"/>
                <a:gd name="connsiteY89" fmla="*/ 11803 h 82619"/>
                <a:gd name="connsiteX90" fmla="*/ 33834 w 47211"/>
                <a:gd name="connsiteY90" fmla="*/ 10229 h 82619"/>
                <a:gd name="connsiteX91" fmla="*/ 31080 w 47211"/>
                <a:gd name="connsiteY91" fmla="*/ 9836 h 82619"/>
                <a:gd name="connsiteX92" fmla="*/ 30686 w 47211"/>
                <a:gd name="connsiteY92" fmla="*/ 8655 h 82619"/>
                <a:gd name="connsiteX93" fmla="*/ 30686 w 47211"/>
                <a:gd name="connsiteY93" fmla="*/ 5508 h 82619"/>
                <a:gd name="connsiteX94" fmla="*/ 28719 w 47211"/>
                <a:gd name="connsiteY94" fmla="*/ 2360 h 82619"/>
                <a:gd name="connsiteX95" fmla="*/ 26752 w 47211"/>
                <a:gd name="connsiteY95" fmla="*/ 787 h 82619"/>
                <a:gd name="connsiteX96" fmla="*/ 23606 w 47211"/>
                <a:gd name="connsiteY96" fmla="*/ 393 h 82619"/>
                <a:gd name="connsiteX97" fmla="*/ 22425 w 47211"/>
                <a:gd name="connsiteY97" fmla="*/ 1180 h 82619"/>
                <a:gd name="connsiteX98" fmla="*/ 21638 w 47211"/>
                <a:gd name="connsiteY98" fmla="*/ 393 h 82619"/>
                <a:gd name="connsiteX99" fmla="*/ 18491 w 47211"/>
                <a:gd name="connsiteY99" fmla="*/ 0 h 82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47211" h="82619">
                  <a:moveTo>
                    <a:pt x="10622" y="2360"/>
                  </a:moveTo>
                  <a:lnTo>
                    <a:pt x="8655" y="1574"/>
                  </a:lnTo>
                  <a:lnTo>
                    <a:pt x="5508" y="1180"/>
                  </a:lnTo>
                  <a:lnTo>
                    <a:pt x="2754" y="787"/>
                  </a:lnTo>
                  <a:lnTo>
                    <a:pt x="0" y="2360"/>
                  </a:lnTo>
                  <a:lnTo>
                    <a:pt x="393" y="3934"/>
                  </a:lnTo>
                  <a:lnTo>
                    <a:pt x="787" y="4721"/>
                  </a:lnTo>
                  <a:lnTo>
                    <a:pt x="2754" y="9836"/>
                  </a:lnTo>
                  <a:lnTo>
                    <a:pt x="3934" y="12589"/>
                  </a:lnTo>
                  <a:lnTo>
                    <a:pt x="7081" y="15343"/>
                  </a:lnTo>
                  <a:lnTo>
                    <a:pt x="9836" y="17704"/>
                  </a:lnTo>
                  <a:lnTo>
                    <a:pt x="11409" y="18098"/>
                  </a:lnTo>
                  <a:lnTo>
                    <a:pt x="14557" y="21245"/>
                  </a:lnTo>
                  <a:lnTo>
                    <a:pt x="22425" y="33835"/>
                  </a:lnTo>
                  <a:lnTo>
                    <a:pt x="20458" y="35408"/>
                  </a:lnTo>
                  <a:lnTo>
                    <a:pt x="23212" y="38162"/>
                  </a:lnTo>
                  <a:lnTo>
                    <a:pt x="24785" y="40129"/>
                  </a:lnTo>
                  <a:lnTo>
                    <a:pt x="21638" y="38556"/>
                  </a:lnTo>
                  <a:lnTo>
                    <a:pt x="19671" y="40916"/>
                  </a:lnTo>
                  <a:lnTo>
                    <a:pt x="16524" y="43277"/>
                  </a:lnTo>
                  <a:lnTo>
                    <a:pt x="13376" y="43277"/>
                  </a:lnTo>
                  <a:lnTo>
                    <a:pt x="11803" y="40129"/>
                  </a:lnTo>
                  <a:lnTo>
                    <a:pt x="8655" y="38949"/>
                  </a:lnTo>
                  <a:lnTo>
                    <a:pt x="5901" y="35802"/>
                  </a:lnTo>
                  <a:lnTo>
                    <a:pt x="4721" y="38949"/>
                  </a:lnTo>
                  <a:lnTo>
                    <a:pt x="5508" y="41703"/>
                  </a:lnTo>
                  <a:lnTo>
                    <a:pt x="7475" y="44457"/>
                  </a:lnTo>
                  <a:lnTo>
                    <a:pt x="7869" y="47604"/>
                  </a:lnTo>
                  <a:lnTo>
                    <a:pt x="8261" y="50359"/>
                  </a:lnTo>
                  <a:lnTo>
                    <a:pt x="8261" y="51932"/>
                  </a:lnTo>
                  <a:lnTo>
                    <a:pt x="8655" y="54686"/>
                  </a:lnTo>
                  <a:lnTo>
                    <a:pt x="9836" y="55866"/>
                  </a:lnTo>
                  <a:lnTo>
                    <a:pt x="12589" y="57833"/>
                  </a:lnTo>
                  <a:lnTo>
                    <a:pt x="12589" y="57833"/>
                  </a:lnTo>
                  <a:lnTo>
                    <a:pt x="21638" y="64128"/>
                  </a:lnTo>
                  <a:lnTo>
                    <a:pt x="20851" y="66882"/>
                  </a:lnTo>
                  <a:lnTo>
                    <a:pt x="20851" y="69636"/>
                  </a:lnTo>
                  <a:lnTo>
                    <a:pt x="20458" y="72784"/>
                  </a:lnTo>
                  <a:lnTo>
                    <a:pt x="21638" y="75538"/>
                  </a:lnTo>
                  <a:lnTo>
                    <a:pt x="22031" y="75931"/>
                  </a:lnTo>
                  <a:lnTo>
                    <a:pt x="21638" y="81439"/>
                  </a:lnTo>
                  <a:lnTo>
                    <a:pt x="24785" y="83013"/>
                  </a:lnTo>
                  <a:lnTo>
                    <a:pt x="27540" y="84980"/>
                  </a:lnTo>
                  <a:lnTo>
                    <a:pt x="30294" y="86160"/>
                  </a:lnTo>
                  <a:lnTo>
                    <a:pt x="29900" y="83406"/>
                  </a:lnTo>
                  <a:lnTo>
                    <a:pt x="28719" y="80259"/>
                  </a:lnTo>
                  <a:lnTo>
                    <a:pt x="28327" y="77505"/>
                  </a:lnTo>
                  <a:lnTo>
                    <a:pt x="31474" y="79472"/>
                  </a:lnTo>
                  <a:lnTo>
                    <a:pt x="34228" y="78685"/>
                  </a:lnTo>
                  <a:lnTo>
                    <a:pt x="36588" y="75538"/>
                  </a:lnTo>
                  <a:lnTo>
                    <a:pt x="33834" y="72784"/>
                  </a:lnTo>
                  <a:lnTo>
                    <a:pt x="33047" y="69636"/>
                  </a:lnTo>
                  <a:lnTo>
                    <a:pt x="33047" y="66882"/>
                  </a:lnTo>
                  <a:lnTo>
                    <a:pt x="32654" y="66489"/>
                  </a:lnTo>
                  <a:lnTo>
                    <a:pt x="30686" y="63735"/>
                  </a:lnTo>
                  <a:lnTo>
                    <a:pt x="28327" y="62948"/>
                  </a:lnTo>
                  <a:lnTo>
                    <a:pt x="27933" y="55473"/>
                  </a:lnTo>
                  <a:lnTo>
                    <a:pt x="27933" y="52719"/>
                  </a:lnTo>
                  <a:lnTo>
                    <a:pt x="27146" y="49572"/>
                  </a:lnTo>
                  <a:lnTo>
                    <a:pt x="26752" y="49178"/>
                  </a:lnTo>
                  <a:lnTo>
                    <a:pt x="26752" y="46031"/>
                  </a:lnTo>
                  <a:lnTo>
                    <a:pt x="25179" y="44064"/>
                  </a:lnTo>
                  <a:lnTo>
                    <a:pt x="28719" y="44064"/>
                  </a:lnTo>
                  <a:lnTo>
                    <a:pt x="31474" y="47211"/>
                  </a:lnTo>
                  <a:lnTo>
                    <a:pt x="31867" y="47604"/>
                  </a:lnTo>
                  <a:lnTo>
                    <a:pt x="33047" y="50359"/>
                  </a:lnTo>
                  <a:lnTo>
                    <a:pt x="33441" y="50752"/>
                  </a:lnTo>
                  <a:lnTo>
                    <a:pt x="38162" y="49965"/>
                  </a:lnTo>
                  <a:lnTo>
                    <a:pt x="40916" y="49572"/>
                  </a:lnTo>
                  <a:lnTo>
                    <a:pt x="43670" y="49965"/>
                  </a:lnTo>
                  <a:lnTo>
                    <a:pt x="46424" y="50752"/>
                  </a:lnTo>
                  <a:lnTo>
                    <a:pt x="49178" y="52326"/>
                  </a:lnTo>
                  <a:lnTo>
                    <a:pt x="47211" y="49572"/>
                  </a:lnTo>
                  <a:lnTo>
                    <a:pt x="45244" y="46424"/>
                  </a:lnTo>
                  <a:lnTo>
                    <a:pt x="42096" y="45244"/>
                  </a:lnTo>
                  <a:lnTo>
                    <a:pt x="44456" y="42096"/>
                  </a:lnTo>
                  <a:lnTo>
                    <a:pt x="44064" y="40916"/>
                  </a:lnTo>
                  <a:lnTo>
                    <a:pt x="42096" y="39343"/>
                  </a:lnTo>
                  <a:lnTo>
                    <a:pt x="38949" y="34621"/>
                  </a:lnTo>
                  <a:lnTo>
                    <a:pt x="37376" y="26753"/>
                  </a:lnTo>
                  <a:lnTo>
                    <a:pt x="36982" y="25179"/>
                  </a:lnTo>
                  <a:lnTo>
                    <a:pt x="36195" y="22425"/>
                  </a:lnTo>
                  <a:lnTo>
                    <a:pt x="36982" y="20065"/>
                  </a:lnTo>
                  <a:lnTo>
                    <a:pt x="37768" y="18491"/>
                  </a:lnTo>
                  <a:lnTo>
                    <a:pt x="38162" y="18098"/>
                  </a:lnTo>
                  <a:lnTo>
                    <a:pt x="36195" y="14950"/>
                  </a:lnTo>
                  <a:lnTo>
                    <a:pt x="38162" y="13376"/>
                  </a:lnTo>
                  <a:lnTo>
                    <a:pt x="37768" y="12589"/>
                  </a:lnTo>
                  <a:lnTo>
                    <a:pt x="37376" y="12196"/>
                  </a:lnTo>
                  <a:lnTo>
                    <a:pt x="36982" y="11803"/>
                  </a:lnTo>
                  <a:lnTo>
                    <a:pt x="33834" y="10229"/>
                  </a:lnTo>
                  <a:lnTo>
                    <a:pt x="31080" y="9836"/>
                  </a:lnTo>
                  <a:lnTo>
                    <a:pt x="30686" y="8655"/>
                  </a:lnTo>
                  <a:lnTo>
                    <a:pt x="30686" y="5508"/>
                  </a:lnTo>
                  <a:lnTo>
                    <a:pt x="28719" y="2360"/>
                  </a:lnTo>
                  <a:lnTo>
                    <a:pt x="26752" y="787"/>
                  </a:lnTo>
                  <a:lnTo>
                    <a:pt x="23606" y="393"/>
                  </a:lnTo>
                  <a:lnTo>
                    <a:pt x="22425" y="1180"/>
                  </a:lnTo>
                  <a:lnTo>
                    <a:pt x="21638" y="393"/>
                  </a:lnTo>
                  <a:lnTo>
                    <a:pt x="1849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99" name="Freeform: Shape 4293">
              <a:extLst>
                <a:ext uri="{FF2B5EF4-FFF2-40B4-BE49-F238E27FC236}">
                  <a16:creationId xmlns:a16="http://schemas.microsoft.com/office/drawing/2014/main" id="{3A035337-9F28-4BFD-9B1E-6D0EC41D3E05}"/>
                </a:ext>
              </a:extLst>
            </p:cNvPr>
            <p:cNvSpPr/>
            <p:nvPr/>
          </p:nvSpPr>
          <p:spPr>
            <a:xfrm>
              <a:off x="9633298" y="3264983"/>
              <a:ext cx="39343" cy="43277"/>
            </a:xfrm>
            <a:custGeom>
              <a:avLst/>
              <a:gdLst>
                <a:gd name="connsiteX0" fmla="*/ 36982 w 39342"/>
                <a:gd name="connsiteY0" fmla="*/ 16524 h 43276"/>
                <a:gd name="connsiteX1" fmla="*/ 35408 w 39342"/>
                <a:gd name="connsiteY1" fmla="*/ 13377 h 43276"/>
                <a:gd name="connsiteX2" fmla="*/ 35015 w 39342"/>
                <a:gd name="connsiteY2" fmla="*/ 12983 h 43276"/>
                <a:gd name="connsiteX3" fmla="*/ 34228 w 39342"/>
                <a:gd name="connsiteY3" fmla="*/ 10229 h 43276"/>
                <a:gd name="connsiteX4" fmla="*/ 31474 w 39342"/>
                <a:gd name="connsiteY4" fmla="*/ 8262 h 43276"/>
                <a:gd name="connsiteX5" fmla="*/ 29900 w 39342"/>
                <a:gd name="connsiteY5" fmla="*/ 6688 h 43276"/>
                <a:gd name="connsiteX6" fmla="*/ 29507 w 39342"/>
                <a:gd name="connsiteY6" fmla="*/ 6295 h 43276"/>
                <a:gd name="connsiteX7" fmla="*/ 26359 w 39342"/>
                <a:gd name="connsiteY7" fmla="*/ 3148 h 43276"/>
                <a:gd name="connsiteX8" fmla="*/ 23606 w 39342"/>
                <a:gd name="connsiteY8" fmla="*/ 3934 h 43276"/>
                <a:gd name="connsiteX9" fmla="*/ 20458 w 39342"/>
                <a:gd name="connsiteY9" fmla="*/ 2361 h 43276"/>
                <a:gd name="connsiteX10" fmla="*/ 20064 w 39342"/>
                <a:gd name="connsiteY10" fmla="*/ 1967 h 43276"/>
                <a:gd name="connsiteX11" fmla="*/ 16917 w 39342"/>
                <a:gd name="connsiteY11" fmla="*/ 1180 h 43276"/>
                <a:gd name="connsiteX12" fmla="*/ 10229 w 39342"/>
                <a:gd name="connsiteY12" fmla="*/ 1574 h 43276"/>
                <a:gd name="connsiteX13" fmla="*/ 8655 w 39342"/>
                <a:gd name="connsiteY13" fmla="*/ 1180 h 43276"/>
                <a:gd name="connsiteX14" fmla="*/ 5901 w 39342"/>
                <a:gd name="connsiteY14" fmla="*/ 1180 h 43276"/>
                <a:gd name="connsiteX15" fmla="*/ 3147 w 39342"/>
                <a:gd name="connsiteY15" fmla="*/ 0 h 43276"/>
                <a:gd name="connsiteX16" fmla="*/ 0 w 39342"/>
                <a:gd name="connsiteY16" fmla="*/ 2361 h 43276"/>
                <a:gd name="connsiteX17" fmla="*/ 1967 w 39342"/>
                <a:gd name="connsiteY17" fmla="*/ 5115 h 43276"/>
                <a:gd name="connsiteX18" fmla="*/ 3147 w 39342"/>
                <a:gd name="connsiteY18" fmla="*/ 5508 h 43276"/>
                <a:gd name="connsiteX19" fmla="*/ 5901 w 39342"/>
                <a:gd name="connsiteY19" fmla="*/ 7869 h 43276"/>
                <a:gd name="connsiteX20" fmla="*/ 6294 w 39342"/>
                <a:gd name="connsiteY20" fmla="*/ 8655 h 43276"/>
                <a:gd name="connsiteX21" fmla="*/ 9048 w 39342"/>
                <a:gd name="connsiteY21" fmla="*/ 10623 h 43276"/>
                <a:gd name="connsiteX22" fmla="*/ 9442 w 39342"/>
                <a:gd name="connsiteY22" fmla="*/ 11409 h 43276"/>
                <a:gd name="connsiteX23" fmla="*/ 12196 w 39342"/>
                <a:gd name="connsiteY23" fmla="*/ 13377 h 43276"/>
                <a:gd name="connsiteX24" fmla="*/ 14949 w 39342"/>
                <a:gd name="connsiteY24" fmla="*/ 18098 h 43276"/>
                <a:gd name="connsiteX25" fmla="*/ 15343 w 39342"/>
                <a:gd name="connsiteY25" fmla="*/ 19278 h 43276"/>
                <a:gd name="connsiteX26" fmla="*/ 16130 w 39342"/>
                <a:gd name="connsiteY26" fmla="*/ 21245 h 43276"/>
                <a:gd name="connsiteX27" fmla="*/ 15737 w 39342"/>
                <a:gd name="connsiteY27" fmla="*/ 23606 h 43276"/>
                <a:gd name="connsiteX28" fmla="*/ 17310 w 39342"/>
                <a:gd name="connsiteY28" fmla="*/ 27540 h 43276"/>
                <a:gd name="connsiteX29" fmla="*/ 21245 w 39342"/>
                <a:gd name="connsiteY29" fmla="*/ 34228 h 43276"/>
                <a:gd name="connsiteX30" fmla="*/ 22031 w 39342"/>
                <a:gd name="connsiteY30" fmla="*/ 35015 h 43276"/>
                <a:gd name="connsiteX31" fmla="*/ 23606 w 39342"/>
                <a:gd name="connsiteY31" fmla="*/ 37376 h 43276"/>
                <a:gd name="connsiteX32" fmla="*/ 23998 w 39342"/>
                <a:gd name="connsiteY32" fmla="*/ 37769 h 43276"/>
                <a:gd name="connsiteX33" fmla="*/ 27540 w 39342"/>
                <a:gd name="connsiteY33" fmla="*/ 42490 h 43276"/>
                <a:gd name="connsiteX34" fmla="*/ 29113 w 39342"/>
                <a:gd name="connsiteY34" fmla="*/ 43670 h 43276"/>
                <a:gd name="connsiteX35" fmla="*/ 32654 w 39342"/>
                <a:gd name="connsiteY35" fmla="*/ 44851 h 43276"/>
                <a:gd name="connsiteX36" fmla="*/ 34621 w 39342"/>
                <a:gd name="connsiteY36" fmla="*/ 41310 h 43276"/>
                <a:gd name="connsiteX37" fmla="*/ 36195 w 39342"/>
                <a:gd name="connsiteY37" fmla="*/ 41310 h 43276"/>
                <a:gd name="connsiteX38" fmla="*/ 36588 w 39342"/>
                <a:gd name="connsiteY38" fmla="*/ 38556 h 43276"/>
                <a:gd name="connsiteX39" fmla="*/ 37376 w 39342"/>
                <a:gd name="connsiteY39" fmla="*/ 35015 h 43276"/>
                <a:gd name="connsiteX40" fmla="*/ 39343 w 39342"/>
                <a:gd name="connsiteY40" fmla="*/ 32655 h 43276"/>
                <a:gd name="connsiteX41" fmla="*/ 39735 w 39342"/>
                <a:gd name="connsiteY41" fmla="*/ 29507 h 43276"/>
                <a:gd name="connsiteX42" fmla="*/ 37376 w 39342"/>
                <a:gd name="connsiteY42" fmla="*/ 20065 h 43276"/>
                <a:gd name="connsiteX43" fmla="*/ 37376 w 39342"/>
                <a:gd name="connsiteY43" fmla="*/ 20065 h 43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2" h="43276">
                  <a:moveTo>
                    <a:pt x="36982" y="16524"/>
                  </a:moveTo>
                  <a:lnTo>
                    <a:pt x="35408" y="13377"/>
                  </a:lnTo>
                  <a:lnTo>
                    <a:pt x="35015" y="12983"/>
                  </a:lnTo>
                  <a:lnTo>
                    <a:pt x="34228" y="10229"/>
                  </a:lnTo>
                  <a:lnTo>
                    <a:pt x="31474" y="8262"/>
                  </a:lnTo>
                  <a:lnTo>
                    <a:pt x="29900" y="6688"/>
                  </a:lnTo>
                  <a:lnTo>
                    <a:pt x="29507" y="6295"/>
                  </a:lnTo>
                  <a:lnTo>
                    <a:pt x="26359" y="3148"/>
                  </a:lnTo>
                  <a:lnTo>
                    <a:pt x="23606" y="3934"/>
                  </a:lnTo>
                  <a:lnTo>
                    <a:pt x="20458" y="2361"/>
                  </a:lnTo>
                  <a:lnTo>
                    <a:pt x="20064" y="1967"/>
                  </a:lnTo>
                  <a:lnTo>
                    <a:pt x="16917" y="1180"/>
                  </a:lnTo>
                  <a:lnTo>
                    <a:pt x="10229" y="1574"/>
                  </a:lnTo>
                  <a:lnTo>
                    <a:pt x="8655" y="1180"/>
                  </a:lnTo>
                  <a:lnTo>
                    <a:pt x="5901" y="1180"/>
                  </a:lnTo>
                  <a:lnTo>
                    <a:pt x="3147" y="0"/>
                  </a:lnTo>
                  <a:lnTo>
                    <a:pt x="0" y="2361"/>
                  </a:lnTo>
                  <a:lnTo>
                    <a:pt x="1967" y="5115"/>
                  </a:lnTo>
                  <a:lnTo>
                    <a:pt x="3147" y="5508"/>
                  </a:lnTo>
                  <a:lnTo>
                    <a:pt x="5901" y="7869"/>
                  </a:lnTo>
                  <a:lnTo>
                    <a:pt x="6294" y="8655"/>
                  </a:lnTo>
                  <a:lnTo>
                    <a:pt x="9048" y="10623"/>
                  </a:lnTo>
                  <a:lnTo>
                    <a:pt x="9442" y="11409"/>
                  </a:lnTo>
                  <a:lnTo>
                    <a:pt x="12196" y="13377"/>
                  </a:lnTo>
                  <a:lnTo>
                    <a:pt x="14949" y="18098"/>
                  </a:lnTo>
                  <a:lnTo>
                    <a:pt x="15343" y="19278"/>
                  </a:lnTo>
                  <a:lnTo>
                    <a:pt x="16130" y="21245"/>
                  </a:lnTo>
                  <a:lnTo>
                    <a:pt x="15737" y="23606"/>
                  </a:lnTo>
                  <a:lnTo>
                    <a:pt x="17310" y="27540"/>
                  </a:lnTo>
                  <a:lnTo>
                    <a:pt x="21245" y="34228"/>
                  </a:lnTo>
                  <a:lnTo>
                    <a:pt x="22031" y="35015"/>
                  </a:lnTo>
                  <a:lnTo>
                    <a:pt x="23606" y="37376"/>
                  </a:lnTo>
                  <a:lnTo>
                    <a:pt x="23998" y="37769"/>
                  </a:lnTo>
                  <a:lnTo>
                    <a:pt x="27540" y="42490"/>
                  </a:lnTo>
                  <a:lnTo>
                    <a:pt x="29113" y="43670"/>
                  </a:lnTo>
                  <a:lnTo>
                    <a:pt x="32654" y="44851"/>
                  </a:lnTo>
                  <a:lnTo>
                    <a:pt x="34621" y="41310"/>
                  </a:lnTo>
                  <a:lnTo>
                    <a:pt x="36195" y="41310"/>
                  </a:lnTo>
                  <a:lnTo>
                    <a:pt x="36588" y="38556"/>
                  </a:lnTo>
                  <a:lnTo>
                    <a:pt x="37376" y="35015"/>
                  </a:lnTo>
                  <a:lnTo>
                    <a:pt x="39343" y="32655"/>
                  </a:lnTo>
                  <a:lnTo>
                    <a:pt x="39735" y="29507"/>
                  </a:lnTo>
                  <a:lnTo>
                    <a:pt x="37376" y="20065"/>
                  </a:lnTo>
                  <a:lnTo>
                    <a:pt x="37376" y="2006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00" name="Freeform: Shape 4294">
              <a:extLst>
                <a:ext uri="{FF2B5EF4-FFF2-40B4-BE49-F238E27FC236}">
                  <a16:creationId xmlns:a16="http://schemas.microsoft.com/office/drawing/2014/main" id="{EFA45694-D9FD-48C8-B3CC-BEE7EC0C72A0}"/>
                </a:ext>
              </a:extLst>
            </p:cNvPr>
            <p:cNvSpPr/>
            <p:nvPr/>
          </p:nvSpPr>
          <p:spPr>
            <a:xfrm>
              <a:off x="5302459" y="1085401"/>
              <a:ext cx="11803" cy="3934"/>
            </a:xfrm>
            <a:custGeom>
              <a:avLst/>
              <a:gdLst>
                <a:gd name="connsiteX0" fmla="*/ 13376 w 11802"/>
                <a:gd name="connsiteY0" fmla="*/ 1180 h 0"/>
                <a:gd name="connsiteX1" fmla="*/ 9836 w 11802"/>
                <a:gd name="connsiteY1" fmla="*/ 393 h 0"/>
                <a:gd name="connsiteX2" fmla="*/ 7081 w 11802"/>
                <a:gd name="connsiteY2" fmla="*/ 393 h 0"/>
                <a:gd name="connsiteX3" fmla="*/ 3540 w 11802"/>
                <a:gd name="connsiteY3" fmla="*/ 0 h 0"/>
                <a:gd name="connsiteX4" fmla="*/ 0 w 11802"/>
                <a:gd name="connsiteY4" fmla="*/ 2361 h 0"/>
                <a:gd name="connsiteX5" fmla="*/ 10229 w 11802"/>
                <a:gd name="connsiteY5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02">
                  <a:moveTo>
                    <a:pt x="13376" y="1180"/>
                  </a:moveTo>
                  <a:lnTo>
                    <a:pt x="9836" y="393"/>
                  </a:lnTo>
                  <a:lnTo>
                    <a:pt x="7081" y="393"/>
                  </a:lnTo>
                  <a:lnTo>
                    <a:pt x="3540" y="0"/>
                  </a:lnTo>
                  <a:lnTo>
                    <a:pt x="0" y="2361"/>
                  </a:lnTo>
                  <a:lnTo>
                    <a:pt x="10229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01" name="Freeform: Shape 4295">
              <a:extLst>
                <a:ext uri="{FF2B5EF4-FFF2-40B4-BE49-F238E27FC236}">
                  <a16:creationId xmlns:a16="http://schemas.microsoft.com/office/drawing/2014/main" id="{329D8B1C-AC66-4C0B-92BA-12A5108D4ABD}"/>
                </a:ext>
              </a:extLst>
            </p:cNvPr>
            <p:cNvSpPr/>
            <p:nvPr/>
          </p:nvSpPr>
          <p:spPr>
            <a:xfrm>
              <a:off x="5783619" y="1141268"/>
              <a:ext cx="15737" cy="3934"/>
            </a:xfrm>
            <a:custGeom>
              <a:avLst/>
              <a:gdLst>
                <a:gd name="connsiteX0" fmla="*/ 12590 w 15737"/>
                <a:gd name="connsiteY0" fmla="*/ 393 h 3934"/>
                <a:gd name="connsiteX1" fmla="*/ 9442 w 15737"/>
                <a:gd name="connsiteY1" fmla="*/ 0 h 3934"/>
                <a:gd name="connsiteX2" fmla="*/ 6295 w 15737"/>
                <a:gd name="connsiteY2" fmla="*/ 0 h 3934"/>
                <a:gd name="connsiteX3" fmla="*/ 3148 w 15737"/>
                <a:gd name="connsiteY3" fmla="*/ 1180 h 3934"/>
                <a:gd name="connsiteX4" fmla="*/ 0 w 15737"/>
                <a:gd name="connsiteY4" fmla="*/ 3147 h 3934"/>
                <a:gd name="connsiteX5" fmla="*/ 2754 w 15737"/>
                <a:gd name="connsiteY5" fmla="*/ 3934 h 3934"/>
                <a:gd name="connsiteX6" fmla="*/ 5901 w 15737"/>
                <a:gd name="connsiteY6" fmla="*/ 3541 h 3934"/>
                <a:gd name="connsiteX7" fmla="*/ 8656 w 15737"/>
                <a:gd name="connsiteY7" fmla="*/ 3147 h 3934"/>
                <a:gd name="connsiteX8" fmla="*/ 11803 w 15737"/>
                <a:gd name="connsiteY8" fmla="*/ 2754 h 3934"/>
                <a:gd name="connsiteX9" fmla="*/ 14950 w 15737"/>
                <a:gd name="connsiteY9" fmla="*/ 2361 h 3934"/>
                <a:gd name="connsiteX10" fmla="*/ 18098 w 15737"/>
                <a:gd name="connsiteY10" fmla="*/ 2361 h 3934"/>
                <a:gd name="connsiteX11" fmla="*/ 18491 w 15737"/>
                <a:gd name="connsiteY11" fmla="*/ 1574 h 3934"/>
                <a:gd name="connsiteX12" fmla="*/ 15737 w 15737"/>
                <a:gd name="connsiteY12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3934">
                  <a:moveTo>
                    <a:pt x="12590" y="393"/>
                  </a:moveTo>
                  <a:lnTo>
                    <a:pt x="9442" y="0"/>
                  </a:lnTo>
                  <a:lnTo>
                    <a:pt x="6295" y="0"/>
                  </a:lnTo>
                  <a:lnTo>
                    <a:pt x="3148" y="1180"/>
                  </a:lnTo>
                  <a:lnTo>
                    <a:pt x="0" y="3147"/>
                  </a:lnTo>
                  <a:lnTo>
                    <a:pt x="2754" y="3934"/>
                  </a:lnTo>
                  <a:lnTo>
                    <a:pt x="5901" y="3541"/>
                  </a:lnTo>
                  <a:lnTo>
                    <a:pt x="8656" y="3147"/>
                  </a:lnTo>
                  <a:lnTo>
                    <a:pt x="11803" y="2754"/>
                  </a:lnTo>
                  <a:lnTo>
                    <a:pt x="14950" y="2361"/>
                  </a:lnTo>
                  <a:lnTo>
                    <a:pt x="18098" y="2361"/>
                  </a:lnTo>
                  <a:lnTo>
                    <a:pt x="18491" y="1574"/>
                  </a:lnTo>
                  <a:lnTo>
                    <a:pt x="1573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02" name="Freeform: Shape 4296">
              <a:extLst>
                <a:ext uri="{FF2B5EF4-FFF2-40B4-BE49-F238E27FC236}">
                  <a16:creationId xmlns:a16="http://schemas.microsoft.com/office/drawing/2014/main" id="{EB67DCD2-FF10-4A51-9F32-A6A6DA433198}"/>
                </a:ext>
              </a:extLst>
            </p:cNvPr>
            <p:cNvSpPr/>
            <p:nvPr/>
          </p:nvSpPr>
          <p:spPr>
            <a:xfrm>
              <a:off x="5789914" y="1099958"/>
              <a:ext cx="11803" cy="3934"/>
            </a:xfrm>
            <a:custGeom>
              <a:avLst/>
              <a:gdLst>
                <a:gd name="connsiteX0" fmla="*/ 3148 w 11802"/>
                <a:gd name="connsiteY0" fmla="*/ 4328 h 3934"/>
                <a:gd name="connsiteX1" fmla="*/ 6295 w 11802"/>
                <a:gd name="connsiteY1" fmla="*/ 5901 h 3934"/>
                <a:gd name="connsiteX2" fmla="*/ 9049 w 11802"/>
                <a:gd name="connsiteY2" fmla="*/ 6295 h 3934"/>
                <a:gd name="connsiteX3" fmla="*/ 12197 w 11802"/>
                <a:gd name="connsiteY3" fmla="*/ 3934 h 3934"/>
                <a:gd name="connsiteX4" fmla="*/ 9442 w 11802"/>
                <a:gd name="connsiteY4" fmla="*/ 2754 h 3934"/>
                <a:gd name="connsiteX5" fmla="*/ 6295 w 11802"/>
                <a:gd name="connsiteY5" fmla="*/ 787 h 3934"/>
                <a:gd name="connsiteX6" fmla="*/ 3148 w 11802"/>
                <a:gd name="connsiteY6" fmla="*/ 0 h 3934"/>
                <a:gd name="connsiteX7" fmla="*/ 0 w 11802"/>
                <a:gd name="connsiteY7" fmla="*/ 0 h 3934"/>
                <a:gd name="connsiteX8" fmla="*/ 394 w 11802"/>
                <a:gd name="connsiteY8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 h="3934">
                  <a:moveTo>
                    <a:pt x="3148" y="4328"/>
                  </a:moveTo>
                  <a:lnTo>
                    <a:pt x="6295" y="5901"/>
                  </a:lnTo>
                  <a:lnTo>
                    <a:pt x="9049" y="6295"/>
                  </a:lnTo>
                  <a:lnTo>
                    <a:pt x="12197" y="3934"/>
                  </a:lnTo>
                  <a:lnTo>
                    <a:pt x="9442" y="2754"/>
                  </a:lnTo>
                  <a:lnTo>
                    <a:pt x="6295" y="787"/>
                  </a:lnTo>
                  <a:lnTo>
                    <a:pt x="3148" y="0"/>
                  </a:lnTo>
                  <a:lnTo>
                    <a:pt x="0" y="0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03" name="Freeform: Shape 4297">
              <a:extLst>
                <a:ext uri="{FF2B5EF4-FFF2-40B4-BE49-F238E27FC236}">
                  <a16:creationId xmlns:a16="http://schemas.microsoft.com/office/drawing/2014/main" id="{1E59F571-C88A-4FAC-9D2A-849B66493DE0}"/>
                </a:ext>
              </a:extLst>
            </p:cNvPr>
            <p:cNvSpPr/>
            <p:nvPr/>
          </p:nvSpPr>
          <p:spPr>
            <a:xfrm>
              <a:off x="5814307" y="1107433"/>
              <a:ext cx="11803" cy="3934"/>
            </a:xfrm>
            <a:custGeom>
              <a:avLst/>
              <a:gdLst>
                <a:gd name="connsiteX0" fmla="*/ 6688 w 11802"/>
                <a:gd name="connsiteY0" fmla="*/ 2754 h 0"/>
                <a:gd name="connsiteX1" fmla="*/ 9442 w 11802"/>
                <a:gd name="connsiteY1" fmla="*/ 3541 h 0"/>
                <a:gd name="connsiteX2" fmla="*/ 12589 w 11802"/>
                <a:gd name="connsiteY2" fmla="*/ 2361 h 0"/>
                <a:gd name="connsiteX3" fmla="*/ 9442 w 11802"/>
                <a:gd name="connsiteY3" fmla="*/ 787 h 0"/>
                <a:gd name="connsiteX4" fmla="*/ 6295 w 11802"/>
                <a:gd name="connsiteY4" fmla="*/ 0 h 0"/>
                <a:gd name="connsiteX5" fmla="*/ 3541 w 11802"/>
                <a:gd name="connsiteY5" fmla="*/ 0 h 0"/>
                <a:gd name="connsiteX6" fmla="*/ 0 w 11802"/>
                <a:gd name="connsiteY6" fmla="*/ 1574 h 0"/>
                <a:gd name="connsiteX7" fmla="*/ 3541 w 11802"/>
                <a:gd name="connsiteY7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>
                  <a:moveTo>
                    <a:pt x="6688" y="2754"/>
                  </a:moveTo>
                  <a:lnTo>
                    <a:pt x="9442" y="3541"/>
                  </a:lnTo>
                  <a:lnTo>
                    <a:pt x="12589" y="2361"/>
                  </a:lnTo>
                  <a:lnTo>
                    <a:pt x="9442" y="787"/>
                  </a:lnTo>
                  <a:lnTo>
                    <a:pt x="6295" y="0"/>
                  </a:lnTo>
                  <a:lnTo>
                    <a:pt x="3541" y="0"/>
                  </a:lnTo>
                  <a:lnTo>
                    <a:pt x="0" y="1574"/>
                  </a:lnTo>
                  <a:lnTo>
                    <a:pt x="354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04" name="Freeform: Shape 4298">
              <a:extLst>
                <a:ext uri="{FF2B5EF4-FFF2-40B4-BE49-F238E27FC236}">
                  <a16:creationId xmlns:a16="http://schemas.microsoft.com/office/drawing/2014/main" id="{7A81EB40-5FD4-405B-867C-3D22C227F786}"/>
                </a:ext>
              </a:extLst>
            </p:cNvPr>
            <p:cNvSpPr/>
            <p:nvPr/>
          </p:nvSpPr>
          <p:spPr>
            <a:xfrm>
              <a:off x="7857370" y="1118449"/>
              <a:ext cx="106225" cy="27540"/>
            </a:xfrm>
            <a:custGeom>
              <a:avLst/>
              <a:gdLst>
                <a:gd name="connsiteX0" fmla="*/ 18885 w 106225"/>
                <a:gd name="connsiteY0" fmla="*/ 24392 h 27539"/>
                <a:gd name="connsiteX1" fmla="*/ 16131 w 106225"/>
                <a:gd name="connsiteY1" fmla="*/ 24786 h 27539"/>
                <a:gd name="connsiteX2" fmla="*/ 19278 w 106225"/>
                <a:gd name="connsiteY2" fmla="*/ 24786 h 27539"/>
                <a:gd name="connsiteX3" fmla="*/ 22819 w 106225"/>
                <a:gd name="connsiteY3" fmla="*/ 25179 h 27539"/>
                <a:gd name="connsiteX4" fmla="*/ 24393 w 106225"/>
                <a:gd name="connsiteY4" fmla="*/ 25179 h 27539"/>
                <a:gd name="connsiteX5" fmla="*/ 38949 w 106225"/>
                <a:gd name="connsiteY5" fmla="*/ 27146 h 27539"/>
                <a:gd name="connsiteX6" fmla="*/ 41704 w 106225"/>
                <a:gd name="connsiteY6" fmla="*/ 27540 h 27539"/>
                <a:gd name="connsiteX7" fmla="*/ 42884 w 106225"/>
                <a:gd name="connsiteY7" fmla="*/ 27540 h 27539"/>
                <a:gd name="connsiteX8" fmla="*/ 47998 w 106225"/>
                <a:gd name="connsiteY8" fmla="*/ 28327 h 27539"/>
                <a:gd name="connsiteX9" fmla="*/ 51145 w 106225"/>
                <a:gd name="connsiteY9" fmla="*/ 28327 h 27539"/>
                <a:gd name="connsiteX10" fmla="*/ 51145 w 106225"/>
                <a:gd name="connsiteY10" fmla="*/ 27933 h 27539"/>
                <a:gd name="connsiteX11" fmla="*/ 54293 w 106225"/>
                <a:gd name="connsiteY11" fmla="*/ 27540 h 27539"/>
                <a:gd name="connsiteX12" fmla="*/ 57047 w 106225"/>
                <a:gd name="connsiteY12" fmla="*/ 27146 h 27539"/>
                <a:gd name="connsiteX13" fmla="*/ 60194 w 106225"/>
                <a:gd name="connsiteY13" fmla="*/ 26753 h 27539"/>
                <a:gd name="connsiteX14" fmla="*/ 63342 w 106225"/>
                <a:gd name="connsiteY14" fmla="*/ 25573 h 27539"/>
                <a:gd name="connsiteX15" fmla="*/ 66489 w 106225"/>
                <a:gd name="connsiteY15" fmla="*/ 25179 h 27539"/>
                <a:gd name="connsiteX16" fmla="*/ 69637 w 106225"/>
                <a:gd name="connsiteY16" fmla="*/ 25179 h 27539"/>
                <a:gd name="connsiteX17" fmla="*/ 73178 w 106225"/>
                <a:gd name="connsiteY17" fmla="*/ 24786 h 27539"/>
                <a:gd name="connsiteX18" fmla="*/ 76325 w 106225"/>
                <a:gd name="connsiteY18" fmla="*/ 24786 h 27539"/>
                <a:gd name="connsiteX19" fmla="*/ 79472 w 106225"/>
                <a:gd name="connsiteY19" fmla="*/ 23999 h 27539"/>
                <a:gd name="connsiteX20" fmla="*/ 83013 w 106225"/>
                <a:gd name="connsiteY20" fmla="*/ 23606 h 27539"/>
                <a:gd name="connsiteX21" fmla="*/ 88915 w 106225"/>
                <a:gd name="connsiteY21" fmla="*/ 23606 h 27539"/>
                <a:gd name="connsiteX22" fmla="*/ 92849 w 106225"/>
                <a:gd name="connsiteY22" fmla="*/ 23212 h 27539"/>
                <a:gd name="connsiteX23" fmla="*/ 102685 w 106225"/>
                <a:gd name="connsiteY23" fmla="*/ 23212 h 27539"/>
                <a:gd name="connsiteX24" fmla="*/ 106225 w 106225"/>
                <a:gd name="connsiteY24" fmla="*/ 23212 h 27539"/>
                <a:gd name="connsiteX25" fmla="*/ 108979 w 106225"/>
                <a:gd name="connsiteY25" fmla="*/ 20852 h 27539"/>
                <a:gd name="connsiteX26" fmla="*/ 105832 w 106225"/>
                <a:gd name="connsiteY26" fmla="*/ 20458 h 27539"/>
                <a:gd name="connsiteX27" fmla="*/ 103078 w 106225"/>
                <a:gd name="connsiteY27" fmla="*/ 18491 h 27539"/>
                <a:gd name="connsiteX28" fmla="*/ 100324 w 106225"/>
                <a:gd name="connsiteY28" fmla="*/ 17311 h 27539"/>
                <a:gd name="connsiteX29" fmla="*/ 97177 w 106225"/>
                <a:gd name="connsiteY29" fmla="*/ 16524 h 27539"/>
                <a:gd name="connsiteX30" fmla="*/ 95603 w 106225"/>
                <a:gd name="connsiteY30" fmla="*/ 13376 h 27539"/>
                <a:gd name="connsiteX31" fmla="*/ 99144 w 106225"/>
                <a:gd name="connsiteY31" fmla="*/ 13770 h 27539"/>
                <a:gd name="connsiteX32" fmla="*/ 102291 w 106225"/>
                <a:gd name="connsiteY32" fmla="*/ 13376 h 27539"/>
                <a:gd name="connsiteX33" fmla="*/ 105832 w 106225"/>
                <a:gd name="connsiteY33" fmla="*/ 13376 h 27539"/>
                <a:gd name="connsiteX34" fmla="*/ 108586 w 106225"/>
                <a:gd name="connsiteY34" fmla="*/ 11803 h 27539"/>
                <a:gd name="connsiteX35" fmla="*/ 105438 w 106225"/>
                <a:gd name="connsiteY35" fmla="*/ 11016 h 27539"/>
                <a:gd name="connsiteX36" fmla="*/ 102291 w 106225"/>
                <a:gd name="connsiteY36" fmla="*/ 9836 h 27539"/>
                <a:gd name="connsiteX37" fmla="*/ 99537 w 106225"/>
                <a:gd name="connsiteY37" fmla="*/ 9836 h 27539"/>
                <a:gd name="connsiteX38" fmla="*/ 96389 w 106225"/>
                <a:gd name="connsiteY38" fmla="*/ 9442 h 27539"/>
                <a:gd name="connsiteX39" fmla="*/ 93636 w 106225"/>
                <a:gd name="connsiteY39" fmla="*/ 9049 h 27539"/>
                <a:gd name="connsiteX40" fmla="*/ 90488 w 106225"/>
                <a:gd name="connsiteY40" fmla="*/ 9049 h 27539"/>
                <a:gd name="connsiteX41" fmla="*/ 87734 w 106225"/>
                <a:gd name="connsiteY41" fmla="*/ 8262 h 27539"/>
                <a:gd name="connsiteX42" fmla="*/ 84587 w 106225"/>
                <a:gd name="connsiteY42" fmla="*/ 7869 h 27539"/>
                <a:gd name="connsiteX43" fmla="*/ 81440 w 106225"/>
                <a:gd name="connsiteY43" fmla="*/ 7082 h 27539"/>
                <a:gd name="connsiteX44" fmla="*/ 78292 w 106225"/>
                <a:gd name="connsiteY44" fmla="*/ 5901 h 27539"/>
                <a:gd name="connsiteX45" fmla="*/ 75538 w 106225"/>
                <a:gd name="connsiteY45" fmla="*/ 5508 h 27539"/>
                <a:gd name="connsiteX46" fmla="*/ 72391 w 106225"/>
                <a:gd name="connsiteY46" fmla="*/ 3934 h 27539"/>
                <a:gd name="connsiteX47" fmla="*/ 69243 w 106225"/>
                <a:gd name="connsiteY47" fmla="*/ 3541 h 27539"/>
                <a:gd name="connsiteX48" fmla="*/ 66489 w 106225"/>
                <a:gd name="connsiteY48" fmla="*/ 2754 h 27539"/>
                <a:gd name="connsiteX49" fmla="*/ 63342 w 106225"/>
                <a:gd name="connsiteY49" fmla="*/ 1967 h 27539"/>
                <a:gd name="connsiteX50" fmla="*/ 59408 w 106225"/>
                <a:gd name="connsiteY50" fmla="*/ 787 h 27539"/>
                <a:gd name="connsiteX51" fmla="*/ 59014 w 106225"/>
                <a:gd name="connsiteY51" fmla="*/ 787 h 27539"/>
                <a:gd name="connsiteX52" fmla="*/ 55474 w 106225"/>
                <a:gd name="connsiteY52" fmla="*/ 0 h 27539"/>
                <a:gd name="connsiteX53" fmla="*/ 52326 w 106225"/>
                <a:gd name="connsiteY53" fmla="*/ 0 h 27539"/>
                <a:gd name="connsiteX54" fmla="*/ 48785 w 106225"/>
                <a:gd name="connsiteY54" fmla="*/ 0 h 27539"/>
                <a:gd name="connsiteX55" fmla="*/ 45638 w 106225"/>
                <a:gd name="connsiteY55" fmla="*/ 0 h 27539"/>
                <a:gd name="connsiteX56" fmla="*/ 42097 w 106225"/>
                <a:gd name="connsiteY56" fmla="*/ 787 h 27539"/>
                <a:gd name="connsiteX57" fmla="*/ 45244 w 106225"/>
                <a:gd name="connsiteY57" fmla="*/ 1180 h 27539"/>
                <a:gd name="connsiteX58" fmla="*/ 48392 w 106225"/>
                <a:gd name="connsiteY58" fmla="*/ 1180 h 27539"/>
                <a:gd name="connsiteX59" fmla="*/ 51933 w 106225"/>
                <a:gd name="connsiteY59" fmla="*/ 1574 h 27539"/>
                <a:gd name="connsiteX60" fmla="*/ 45638 w 106225"/>
                <a:gd name="connsiteY60" fmla="*/ 1574 h 27539"/>
                <a:gd name="connsiteX61" fmla="*/ 42490 w 106225"/>
                <a:gd name="connsiteY61" fmla="*/ 2754 h 27539"/>
                <a:gd name="connsiteX62" fmla="*/ 39736 w 106225"/>
                <a:gd name="connsiteY62" fmla="*/ 3934 h 27539"/>
                <a:gd name="connsiteX63" fmla="*/ 36196 w 106225"/>
                <a:gd name="connsiteY63" fmla="*/ 3934 h 27539"/>
                <a:gd name="connsiteX64" fmla="*/ 33441 w 106225"/>
                <a:gd name="connsiteY64" fmla="*/ 3934 h 27539"/>
                <a:gd name="connsiteX65" fmla="*/ 29901 w 106225"/>
                <a:gd name="connsiteY65" fmla="*/ 4328 h 27539"/>
                <a:gd name="connsiteX66" fmla="*/ 27147 w 106225"/>
                <a:gd name="connsiteY66" fmla="*/ 4721 h 27539"/>
                <a:gd name="connsiteX67" fmla="*/ 23999 w 106225"/>
                <a:gd name="connsiteY67" fmla="*/ 4721 h 27539"/>
                <a:gd name="connsiteX68" fmla="*/ 20458 w 106225"/>
                <a:gd name="connsiteY68" fmla="*/ 5508 h 27539"/>
                <a:gd name="connsiteX69" fmla="*/ 17311 w 106225"/>
                <a:gd name="connsiteY69" fmla="*/ 5508 h 27539"/>
                <a:gd name="connsiteX70" fmla="*/ 14164 w 106225"/>
                <a:gd name="connsiteY70" fmla="*/ 7869 h 27539"/>
                <a:gd name="connsiteX71" fmla="*/ 11409 w 106225"/>
                <a:gd name="connsiteY71" fmla="*/ 8262 h 27539"/>
                <a:gd name="connsiteX72" fmla="*/ 8656 w 106225"/>
                <a:gd name="connsiteY72" fmla="*/ 8655 h 27539"/>
                <a:gd name="connsiteX73" fmla="*/ 10229 w 106225"/>
                <a:gd name="connsiteY73" fmla="*/ 11803 h 27539"/>
                <a:gd name="connsiteX74" fmla="*/ 13377 w 106225"/>
                <a:gd name="connsiteY74" fmla="*/ 11016 h 27539"/>
                <a:gd name="connsiteX75" fmla="*/ 16524 w 106225"/>
                <a:gd name="connsiteY75" fmla="*/ 11016 h 27539"/>
                <a:gd name="connsiteX76" fmla="*/ 19671 w 106225"/>
                <a:gd name="connsiteY76" fmla="*/ 11803 h 27539"/>
                <a:gd name="connsiteX77" fmla="*/ 16524 w 106225"/>
                <a:gd name="connsiteY77" fmla="*/ 14163 h 27539"/>
                <a:gd name="connsiteX78" fmla="*/ 18098 w 106225"/>
                <a:gd name="connsiteY78" fmla="*/ 16524 h 27539"/>
                <a:gd name="connsiteX79" fmla="*/ 16918 w 106225"/>
                <a:gd name="connsiteY79" fmla="*/ 16917 h 27539"/>
                <a:gd name="connsiteX80" fmla="*/ 12590 w 106225"/>
                <a:gd name="connsiteY80" fmla="*/ 16917 h 27539"/>
                <a:gd name="connsiteX81" fmla="*/ 9442 w 106225"/>
                <a:gd name="connsiteY81" fmla="*/ 16917 h 27539"/>
                <a:gd name="connsiteX82" fmla="*/ 6689 w 106225"/>
                <a:gd name="connsiteY82" fmla="*/ 18491 h 27539"/>
                <a:gd name="connsiteX83" fmla="*/ 9442 w 106225"/>
                <a:gd name="connsiteY83" fmla="*/ 18884 h 27539"/>
                <a:gd name="connsiteX84" fmla="*/ 11016 w 106225"/>
                <a:gd name="connsiteY84" fmla="*/ 18884 h 27539"/>
                <a:gd name="connsiteX85" fmla="*/ 9442 w 106225"/>
                <a:gd name="connsiteY85" fmla="*/ 19671 h 27539"/>
                <a:gd name="connsiteX86" fmla="*/ 6689 w 106225"/>
                <a:gd name="connsiteY86" fmla="*/ 19278 h 27539"/>
                <a:gd name="connsiteX87" fmla="*/ 3148 w 106225"/>
                <a:gd name="connsiteY87" fmla="*/ 19671 h 27539"/>
                <a:gd name="connsiteX88" fmla="*/ 0 w 106225"/>
                <a:gd name="connsiteY88" fmla="*/ 21638 h 27539"/>
                <a:gd name="connsiteX89" fmla="*/ 3148 w 106225"/>
                <a:gd name="connsiteY89" fmla="*/ 22032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106225" h="27539">
                  <a:moveTo>
                    <a:pt x="18885" y="24392"/>
                  </a:moveTo>
                  <a:lnTo>
                    <a:pt x="16131" y="24786"/>
                  </a:lnTo>
                  <a:lnTo>
                    <a:pt x="19278" y="24786"/>
                  </a:lnTo>
                  <a:lnTo>
                    <a:pt x="22819" y="25179"/>
                  </a:lnTo>
                  <a:lnTo>
                    <a:pt x="24393" y="25179"/>
                  </a:lnTo>
                  <a:lnTo>
                    <a:pt x="38949" y="27146"/>
                  </a:lnTo>
                  <a:lnTo>
                    <a:pt x="41704" y="27540"/>
                  </a:lnTo>
                  <a:lnTo>
                    <a:pt x="42884" y="27540"/>
                  </a:lnTo>
                  <a:lnTo>
                    <a:pt x="47998" y="28327"/>
                  </a:lnTo>
                  <a:lnTo>
                    <a:pt x="51145" y="28327"/>
                  </a:lnTo>
                  <a:lnTo>
                    <a:pt x="51145" y="27933"/>
                  </a:lnTo>
                  <a:lnTo>
                    <a:pt x="54293" y="27540"/>
                  </a:lnTo>
                  <a:lnTo>
                    <a:pt x="57047" y="27146"/>
                  </a:lnTo>
                  <a:lnTo>
                    <a:pt x="60194" y="26753"/>
                  </a:lnTo>
                  <a:lnTo>
                    <a:pt x="63342" y="25573"/>
                  </a:lnTo>
                  <a:lnTo>
                    <a:pt x="66489" y="25179"/>
                  </a:lnTo>
                  <a:lnTo>
                    <a:pt x="69637" y="25179"/>
                  </a:lnTo>
                  <a:lnTo>
                    <a:pt x="73178" y="24786"/>
                  </a:lnTo>
                  <a:lnTo>
                    <a:pt x="76325" y="24786"/>
                  </a:lnTo>
                  <a:lnTo>
                    <a:pt x="79472" y="23999"/>
                  </a:lnTo>
                  <a:lnTo>
                    <a:pt x="83013" y="23606"/>
                  </a:lnTo>
                  <a:lnTo>
                    <a:pt x="88915" y="23606"/>
                  </a:lnTo>
                  <a:lnTo>
                    <a:pt x="92849" y="23212"/>
                  </a:lnTo>
                  <a:lnTo>
                    <a:pt x="102685" y="23212"/>
                  </a:lnTo>
                  <a:lnTo>
                    <a:pt x="106225" y="23212"/>
                  </a:lnTo>
                  <a:lnTo>
                    <a:pt x="108979" y="20852"/>
                  </a:lnTo>
                  <a:lnTo>
                    <a:pt x="105832" y="20458"/>
                  </a:lnTo>
                  <a:lnTo>
                    <a:pt x="103078" y="18491"/>
                  </a:lnTo>
                  <a:lnTo>
                    <a:pt x="100324" y="17311"/>
                  </a:lnTo>
                  <a:lnTo>
                    <a:pt x="97177" y="16524"/>
                  </a:lnTo>
                  <a:lnTo>
                    <a:pt x="95603" y="13376"/>
                  </a:lnTo>
                  <a:lnTo>
                    <a:pt x="99144" y="13770"/>
                  </a:lnTo>
                  <a:lnTo>
                    <a:pt x="102291" y="13376"/>
                  </a:lnTo>
                  <a:lnTo>
                    <a:pt x="105832" y="13376"/>
                  </a:lnTo>
                  <a:lnTo>
                    <a:pt x="108586" y="11803"/>
                  </a:lnTo>
                  <a:lnTo>
                    <a:pt x="105438" y="11016"/>
                  </a:lnTo>
                  <a:lnTo>
                    <a:pt x="102291" y="9836"/>
                  </a:lnTo>
                  <a:lnTo>
                    <a:pt x="99537" y="9836"/>
                  </a:lnTo>
                  <a:lnTo>
                    <a:pt x="96389" y="9442"/>
                  </a:lnTo>
                  <a:lnTo>
                    <a:pt x="93636" y="9049"/>
                  </a:lnTo>
                  <a:lnTo>
                    <a:pt x="90488" y="9049"/>
                  </a:lnTo>
                  <a:lnTo>
                    <a:pt x="87734" y="8262"/>
                  </a:lnTo>
                  <a:lnTo>
                    <a:pt x="84587" y="7869"/>
                  </a:lnTo>
                  <a:lnTo>
                    <a:pt x="81440" y="7082"/>
                  </a:lnTo>
                  <a:lnTo>
                    <a:pt x="78292" y="5901"/>
                  </a:lnTo>
                  <a:lnTo>
                    <a:pt x="75538" y="5508"/>
                  </a:lnTo>
                  <a:lnTo>
                    <a:pt x="72391" y="3934"/>
                  </a:lnTo>
                  <a:lnTo>
                    <a:pt x="69243" y="3541"/>
                  </a:lnTo>
                  <a:lnTo>
                    <a:pt x="66489" y="2754"/>
                  </a:lnTo>
                  <a:lnTo>
                    <a:pt x="63342" y="1967"/>
                  </a:lnTo>
                  <a:lnTo>
                    <a:pt x="59408" y="787"/>
                  </a:lnTo>
                  <a:lnTo>
                    <a:pt x="59014" y="787"/>
                  </a:lnTo>
                  <a:lnTo>
                    <a:pt x="55474" y="0"/>
                  </a:lnTo>
                  <a:lnTo>
                    <a:pt x="52326" y="0"/>
                  </a:lnTo>
                  <a:lnTo>
                    <a:pt x="48785" y="0"/>
                  </a:lnTo>
                  <a:lnTo>
                    <a:pt x="45638" y="0"/>
                  </a:lnTo>
                  <a:lnTo>
                    <a:pt x="42097" y="787"/>
                  </a:lnTo>
                  <a:lnTo>
                    <a:pt x="45244" y="1180"/>
                  </a:lnTo>
                  <a:lnTo>
                    <a:pt x="48392" y="1180"/>
                  </a:lnTo>
                  <a:lnTo>
                    <a:pt x="51933" y="1574"/>
                  </a:lnTo>
                  <a:lnTo>
                    <a:pt x="45638" y="1574"/>
                  </a:lnTo>
                  <a:lnTo>
                    <a:pt x="42490" y="2754"/>
                  </a:lnTo>
                  <a:lnTo>
                    <a:pt x="39736" y="3934"/>
                  </a:lnTo>
                  <a:lnTo>
                    <a:pt x="36196" y="3934"/>
                  </a:lnTo>
                  <a:lnTo>
                    <a:pt x="33441" y="3934"/>
                  </a:lnTo>
                  <a:lnTo>
                    <a:pt x="29901" y="4328"/>
                  </a:lnTo>
                  <a:lnTo>
                    <a:pt x="27147" y="4721"/>
                  </a:lnTo>
                  <a:lnTo>
                    <a:pt x="23999" y="4721"/>
                  </a:lnTo>
                  <a:lnTo>
                    <a:pt x="20458" y="5508"/>
                  </a:lnTo>
                  <a:lnTo>
                    <a:pt x="17311" y="5508"/>
                  </a:lnTo>
                  <a:lnTo>
                    <a:pt x="14164" y="7869"/>
                  </a:lnTo>
                  <a:lnTo>
                    <a:pt x="11409" y="8262"/>
                  </a:lnTo>
                  <a:lnTo>
                    <a:pt x="8656" y="8655"/>
                  </a:lnTo>
                  <a:lnTo>
                    <a:pt x="10229" y="11803"/>
                  </a:lnTo>
                  <a:lnTo>
                    <a:pt x="13377" y="11016"/>
                  </a:lnTo>
                  <a:lnTo>
                    <a:pt x="16524" y="11016"/>
                  </a:lnTo>
                  <a:lnTo>
                    <a:pt x="19671" y="11803"/>
                  </a:lnTo>
                  <a:lnTo>
                    <a:pt x="16524" y="14163"/>
                  </a:lnTo>
                  <a:lnTo>
                    <a:pt x="18098" y="16524"/>
                  </a:lnTo>
                  <a:lnTo>
                    <a:pt x="16918" y="16917"/>
                  </a:lnTo>
                  <a:lnTo>
                    <a:pt x="12590" y="16917"/>
                  </a:lnTo>
                  <a:lnTo>
                    <a:pt x="9442" y="16917"/>
                  </a:lnTo>
                  <a:lnTo>
                    <a:pt x="6689" y="18491"/>
                  </a:lnTo>
                  <a:lnTo>
                    <a:pt x="9442" y="18884"/>
                  </a:lnTo>
                  <a:lnTo>
                    <a:pt x="11016" y="18884"/>
                  </a:lnTo>
                  <a:lnTo>
                    <a:pt x="9442" y="19671"/>
                  </a:lnTo>
                  <a:lnTo>
                    <a:pt x="6689" y="19278"/>
                  </a:lnTo>
                  <a:lnTo>
                    <a:pt x="3148" y="19671"/>
                  </a:lnTo>
                  <a:lnTo>
                    <a:pt x="0" y="21638"/>
                  </a:lnTo>
                  <a:lnTo>
                    <a:pt x="3148" y="2203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05" name="Freeform: Shape 4299">
              <a:extLst>
                <a:ext uri="{FF2B5EF4-FFF2-40B4-BE49-F238E27FC236}">
                  <a16:creationId xmlns:a16="http://schemas.microsoft.com/office/drawing/2014/main" id="{9D4138BA-3F66-4E74-BF93-3C8663EB7FD2}"/>
                </a:ext>
              </a:extLst>
            </p:cNvPr>
            <p:cNvSpPr/>
            <p:nvPr/>
          </p:nvSpPr>
          <p:spPr>
            <a:xfrm>
              <a:off x="7809372" y="1119629"/>
              <a:ext cx="27540" cy="3934"/>
            </a:xfrm>
            <a:custGeom>
              <a:avLst/>
              <a:gdLst>
                <a:gd name="connsiteX0" fmla="*/ 6295 w 27539"/>
                <a:gd name="connsiteY0" fmla="*/ 3147 h 0"/>
                <a:gd name="connsiteX1" fmla="*/ 9442 w 27539"/>
                <a:gd name="connsiteY1" fmla="*/ 3147 h 0"/>
                <a:gd name="connsiteX2" fmla="*/ 12589 w 27539"/>
                <a:gd name="connsiteY2" fmla="*/ 3541 h 0"/>
                <a:gd name="connsiteX3" fmla="*/ 15737 w 27539"/>
                <a:gd name="connsiteY3" fmla="*/ 3541 h 0"/>
                <a:gd name="connsiteX4" fmla="*/ 25179 w 27539"/>
                <a:gd name="connsiteY4" fmla="*/ 3541 h 0"/>
                <a:gd name="connsiteX5" fmla="*/ 28327 w 27539"/>
                <a:gd name="connsiteY5" fmla="*/ 2754 h 0"/>
                <a:gd name="connsiteX6" fmla="*/ 25179 w 27539"/>
                <a:gd name="connsiteY6" fmla="*/ 787 h 0"/>
                <a:gd name="connsiteX7" fmla="*/ 22425 w 27539"/>
                <a:gd name="connsiteY7" fmla="*/ 393 h 0"/>
                <a:gd name="connsiteX8" fmla="*/ 19278 w 27539"/>
                <a:gd name="connsiteY8" fmla="*/ 393 h 0"/>
                <a:gd name="connsiteX9" fmla="*/ 15737 w 27539"/>
                <a:gd name="connsiteY9" fmla="*/ 0 h 0"/>
                <a:gd name="connsiteX10" fmla="*/ 6295 w 27539"/>
                <a:gd name="connsiteY10" fmla="*/ 0 h 0"/>
                <a:gd name="connsiteX11" fmla="*/ 2754 w 27539"/>
                <a:gd name="connsiteY11" fmla="*/ 393 h 0"/>
                <a:gd name="connsiteX12" fmla="*/ 0 w 27539"/>
                <a:gd name="connsiteY12" fmla="*/ 787 h 0"/>
                <a:gd name="connsiteX13" fmla="*/ 3148 w 27539"/>
                <a:gd name="connsiteY1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39">
                  <a:moveTo>
                    <a:pt x="6295" y="3147"/>
                  </a:moveTo>
                  <a:lnTo>
                    <a:pt x="9442" y="3147"/>
                  </a:lnTo>
                  <a:lnTo>
                    <a:pt x="12589" y="3541"/>
                  </a:lnTo>
                  <a:lnTo>
                    <a:pt x="15737" y="3541"/>
                  </a:lnTo>
                  <a:lnTo>
                    <a:pt x="25179" y="3541"/>
                  </a:lnTo>
                  <a:lnTo>
                    <a:pt x="28327" y="2754"/>
                  </a:lnTo>
                  <a:lnTo>
                    <a:pt x="25179" y="787"/>
                  </a:lnTo>
                  <a:lnTo>
                    <a:pt x="22425" y="393"/>
                  </a:lnTo>
                  <a:lnTo>
                    <a:pt x="19278" y="393"/>
                  </a:lnTo>
                  <a:lnTo>
                    <a:pt x="15737" y="0"/>
                  </a:lnTo>
                  <a:lnTo>
                    <a:pt x="6295" y="0"/>
                  </a:lnTo>
                  <a:lnTo>
                    <a:pt x="2754" y="393"/>
                  </a:lnTo>
                  <a:lnTo>
                    <a:pt x="0" y="787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06" name="Freeform: Shape 4300">
              <a:extLst>
                <a:ext uri="{FF2B5EF4-FFF2-40B4-BE49-F238E27FC236}">
                  <a16:creationId xmlns:a16="http://schemas.microsoft.com/office/drawing/2014/main" id="{3732478B-F6C8-4988-AFED-4D9C3A6CCD21}"/>
                </a:ext>
              </a:extLst>
            </p:cNvPr>
            <p:cNvSpPr/>
            <p:nvPr/>
          </p:nvSpPr>
          <p:spPr>
            <a:xfrm>
              <a:off x="7854616" y="1145202"/>
              <a:ext cx="51145" cy="7869"/>
            </a:xfrm>
            <a:custGeom>
              <a:avLst/>
              <a:gdLst>
                <a:gd name="connsiteX0" fmla="*/ 5115 w 51145"/>
                <a:gd name="connsiteY0" fmla="*/ 1574 h 7868"/>
                <a:gd name="connsiteX1" fmla="*/ 8262 w 51145"/>
                <a:gd name="connsiteY1" fmla="*/ 3541 h 7868"/>
                <a:gd name="connsiteX2" fmla="*/ 11409 w 51145"/>
                <a:gd name="connsiteY2" fmla="*/ 5508 h 7868"/>
                <a:gd name="connsiteX3" fmla="*/ 14557 w 51145"/>
                <a:gd name="connsiteY3" fmla="*/ 5901 h 7868"/>
                <a:gd name="connsiteX4" fmla="*/ 17311 w 51145"/>
                <a:gd name="connsiteY4" fmla="*/ 6295 h 7868"/>
                <a:gd name="connsiteX5" fmla="*/ 27147 w 51145"/>
                <a:gd name="connsiteY5" fmla="*/ 6295 h 7868"/>
                <a:gd name="connsiteX6" fmla="*/ 30294 w 51145"/>
                <a:gd name="connsiteY6" fmla="*/ 6688 h 7868"/>
                <a:gd name="connsiteX7" fmla="*/ 33048 w 51145"/>
                <a:gd name="connsiteY7" fmla="*/ 7475 h 7868"/>
                <a:gd name="connsiteX8" fmla="*/ 29900 w 51145"/>
                <a:gd name="connsiteY8" fmla="*/ 8262 h 7868"/>
                <a:gd name="connsiteX9" fmla="*/ 27147 w 51145"/>
                <a:gd name="connsiteY9" fmla="*/ 8655 h 7868"/>
                <a:gd name="connsiteX10" fmla="*/ 30294 w 51145"/>
                <a:gd name="connsiteY10" fmla="*/ 9442 h 7868"/>
                <a:gd name="connsiteX11" fmla="*/ 33048 w 51145"/>
                <a:gd name="connsiteY11" fmla="*/ 9442 h 7868"/>
                <a:gd name="connsiteX12" fmla="*/ 36195 w 51145"/>
                <a:gd name="connsiteY12" fmla="*/ 9836 h 7868"/>
                <a:gd name="connsiteX13" fmla="*/ 39736 w 51145"/>
                <a:gd name="connsiteY13" fmla="*/ 9442 h 7868"/>
                <a:gd name="connsiteX14" fmla="*/ 42884 w 51145"/>
                <a:gd name="connsiteY14" fmla="*/ 9442 h 7868"/>
                <a:gd name="connsiteX15" fmla="*/ 46031 w 51145"/>
                <a:gd name="connsiteY15" fmla="*/ 8655 h 7868"/>
                <a:gd name="connsiteX16" fmla="*/ 48785 w 51145"/>
                <a:gd name="connsiteY16" fmla="*/ 7869 h 7868"/>
                <a:gd name="connsiteX17" fmla="*/ 51932 w 51145"/>
                <a:gd name="connsiteY17" fmla="*/ 7082 h 7868"/>
                <a:gd name="connsiteX18" fmla="*/ 54686 w 51145"/>
                <a:gd name="connsiteY18" fmla="*/ 5901 h 7868"/>
                <a:gd name="connsiteX19" fmla="*/ 51932 w 51145"/>
                <a:gd name="connsiteY19" fmla="*/ 3147 h 7868"/>
                <a:gd name="connsiteX20" fmla="*/ 49178 w 51145"/>
                <a:gd name="connsiteY20" fmla="*/ 2361 h 7868"/>
                <a:gd name="connsiteX21" fmla="*/ 46031 w 51145"/>
                <a:gd name="connsiteY21" fmla="*/ 2361 h 7868"/>
                <a:gd name="connsiteX22" fmla="*/ 42884 w 51145"/>
                <a:gd name="connsiteY22" fmla="*/ 1967 h 7868"/>
                <a:gd name="connsiteX23" fmla="*/ 40523 w 51145"/>
                <a:gd name="connsiteY23" fmla="*/ 1574 h 7868"/>
                <a:gd name="connsiteX24" fmla="*/ 37376 w 51145"/>
                <a:gd name="connsiteY24" fmla="*/ 1180 h 7868"/>
                <a:gd name="connsiteX25" fmla="*/ 34622 w 51145"/>
                <a:gd name="connsiteY25" fmla="*/ 1180 h 7868"/>
                <a:gd name="connsiteX26" fmla="*/ 31474 w 51145"/>
                <a:gd name="connsiteY26" fmla="*/ 1574 h 7868"/>
                <a:gd name="connsiteX27" fmla="*/ 28327 w 51145"/>
                <a:gd name="connsiteY27" fmla="*/ 787 h 7868"/>
                <a:gd name="connsiteX28" fmla="*/ 22032 w 51145"/>
                <a:gd name="connsiteY28" fmla="*/ 787 h 7868"/>
                <a:gd name="connsiteX29" fmla="*/ 18885 w 51145"/>
                <a:gd name="connsiteY29" fmla="*/ 393 h 7868"/>
                <a:gd name="connsiteX30" fmla="*/ 16130 w 51145"/>
                <a:gd name="connsiteY30" fmla="*/ 393 h 7868"/>
                <a:gd name="connsiteX31" fmla="*/ 9836 w 51145"/>
                <a:gd name="connsiteY31" fmla="*/ 393 h 7868"/>
                <a:gd name="connsiteX32" fmla="*/ 6295 w 51145"/>
                <a:gd name="connsiteY32" fmla="*/ 393 h 7868"/>
                <a:gd name="connsiteX33" fmla="*/ 3541 w 51145"/>
                <a:gd name="connsiteY33" fmla="*/ 393 h 7868"/>
                <a:gd name="connsiteX34" fmla="*/ 0 w 51145"/>
                <a:gd name="connsiteY34" fmla="*/ 0 h 7868"/>
                <a:gd name="connsiteX35" fmla="*/ 3148 w 51145"/>
                <a:gd name="connsiteY35" fmla="*/ 393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1145" h="7868">
                  <a:moveTo>
                    <a:pt x="5115" y="1574"/>
                  </a:moveTo>
                  <a:lnTo>
                    <a:pt x="8262" y="3541"/>
                  </a:lnTo>
                  <a:lnTo>
                    <a:pt x="11409" y="5508"/>
                  </a:lnTo>
                  <a:lnTo>
                    <a:pt x="14557" y="5901"/>
                  </a:lnTo>
                  <a:lnTo>
                    <a:pt x="17311" y="6295"/>
                  </a:lnTo>
                  <a:lnTo>
                    <a:pt x="27147" y="6295"/>
                  </a:lnTo>
                  <a:lnTo>
                    <a:pt x="30294" y="6688"/>
                  </a:lnTo>
                  <a:lnTo>
                    <a:pt x="33048" y="7475"/>
                  </a:lnTo>
                  <a:lnTo>
                    <a:pt x="29900" y="8262"/>
                  </a:lnTo>
                  <a:lnTo>
                    <a:pt x="27147" y="8655"/>
                  </a:lnTo>
                  <a:lnTo>
                    <a:pt x="30294" y="9442"/>
                  </a:lnTo>
                  <a:lnTo>
                    <a:pt x="33048" y="9442"/>
                  </a:lnTo>
                  <a:lnTo>
                    <a:pt x="36195" y="9836"/>
                  </a:lnTo>
                  <a:lnTo>
                    <a:pt x="39736" y="9442"/>
                  </a:lnTo>
                  <a:lnTo>
                    <a:pt x="42884" y="9442"/>
                  </a:lnTo>
                  <a:lnTo>
                    <a:pt x="46031" y="8655"/>
                  </a:lnTo>
                  <a:lnTo>
                    <a:pt x="48785" y="7869"/>
                  </a:lnTo>
                  <a:lnTo>
                    <a:pt x="51932" y="7082"/>
                  </a:lnTo>
                  <a:lnTo>
                    <a:pt x="54686" y="5901"/>
                  </a:lnTo>
                  <a:lnTo>
                    <a:pt x="51932" y="3147"/>
                  </a:lnTo>
                  <a:lnTo>
                    <a:pt x="49178" y="2361"/>
                  </a:lnTo>
                  <a:lnTo>
                    <a:pt x="46031" y="2361"/>
                  </a:lnTo>
                  <a:lnTo>
                    <a:pt x="42884" y="1967"/>
                  </a:lnTo>
                  <a:lnTo>
                    <a:pt x="40523" y="1574"/>
                  </a:lnTo>
                  <a:lnTo>
                    <a:pt x="37376" y="1180"/>
                  </a:lnTo>
                  <a:lnTo>
                    <a:pt x="34622" y="1180"/>
                  </a:lnTo>
                  <a:lnTo>
                    <a:pt x="31474" y="1574"/>
                  </a:lnTo>
                  <a:lnTo>
                    <a:pt x="28327" y="787"/>
                  </a:lnTo>
                  <a:lnTo>
                    <a:pt x="22032" y="787"/>
                  </a:lnTo>
                  <a:lnTo>
                    <a:pt x="18885" y="393"/>
                  </a:lnTo>
                  <a:lnTo>
                    <a:pt x="16130" y="393"/>
                  </a:lnTo>
                  <a:lnTo>
                    <a:pt x="9836" y="393"/>
                  </a:lnTo>
                  <a:lnTo>
                    <a:pt x="6295" y="393"/>
                  </a:lnTo>
                  <a:lnTo>
                    <a:pt x="3541" y="393"/>
                  </a:lnTo>
                  <a:lnTo>
                    <a:pt x="0" y="0"/>
                  </a:lnTo>
                  <a:lnTo>
                    <a:pt x="3148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07" name="Freeform: Shape 4301">
              <a:extLst>
                <a:ext uri="{FF2B5EF4-FFF2-40B4-BE49-F238E27FC236}">
                  <a16:creationId xmlns:a16="http://schemas.microsoft.com/office/drawing/2014/main" id="{C0B323CF-53D7-4ECC-80A1-F7CFD69AD7E7}"/>
                </a:ext>
              </a:extLst>
            </p:cNvPr>
            <p:cNvSpPr/>
            <p:nvPr/>
          </p:nvSpPr>
          <p:spPr>
            <a:xfrm>
              <a:off x="7903795" y="1142448"/>
              <a:ext cx="149502" cy="31474"/>
            </a:xfrm>
            <a:custGeom>
              <a:avLst/>
              <a:gdLst>
                <a:gd name="connsiteX0" fmla="*/ 58621 w 149502"/>
                <a:gd name="connsiteY0" fmla="*/ 1180 h 31474"/>
                <a:gd name="connsiteX1" fmla="*/ 55080 w 149502"/>
                <a:gd name="connsiteY1" fmla="*/ 1574 h 31474"/>
                <a:gd name="connsiteX2" fmla="*/ 51932 w 149502"/>
                <a:gd name="connsiteY2" fmla="*/ 1967 h 31474"/>
                <a:gd name="connsiteX3" fmla="*/ 49178 w 149502"/>
                <a:gd name="connsiteY3" fmla="*/ 1967 h 31474"/>
                <a:gd name="connsiteX4" fmla="*/ 45637 w 149502"/>
                <a:gd name="connsiteY4" fmla="*/ 2361 h 31474"/>
                <a:gd name="connsiteX5" fmla="*/ 42884 w 149502"/>
                <a:gd name="connsiteY5" fmla="*/ 1967 h 31474"/>
                <a:gd name="connsiteX6" fmla="*/ 36195 w 149502"/>
                <a:gd name="connsiteY6" fmla="*/ 1967 h 31474"/>
                <a:gd name="connsiteX7" fmla="*/ 32655 w 149502"/>
                <a:gd name="connsiteY7" fmla="*/ 2361 h 31474"/>
                <a:gd name="connsiteX8" fmla="*/ 29507 w 149502"/>
                <a:gd name="connsiteY8" fmla="*/ 3934 h 31474"/>
                <a:gd name="connsiteX9" fmla="*/ 26753 w 149502"/>
                <a:gd name="connsiteY9" fmla="*/ 3147 h 31474"/>
                <a:gd name="connsiteX10" fmla="*/ 23999 w 149502"/>
                <a:gd name="connsiteY10" fmla="*/ 3541 h 31474"/>
                <a:gd name="connsiteX11" fmla="*/ 21245 w 149502"/>
                <a:gd name="connsiteY11" fmla="*/ 5115 h 31474"/>
                <a:gd name="connsiteX12" fmla="*/ 18491 w 149502"/>
                <a:gd name="connsiteY12" fmla="*/ 5508 h 31474"/>
                <a:gd name="connsiteX13" fmla="*/ 14950 w 149502"/>
                <a:gd name="connsiteY13" fmla="*/ 7082 h 31474"/>
                <a:gd name="connsiteX14" fmla="*/ 18098 w 149502"/>
                <a:gd name="connsiteY14" fmla="*/ 7475 h 31474"/>
                <a:gd name="connsiteX15" fmla="*/ 20852 w 149502"/>
                <a:gd name="connsiteY15" fmla="*/ 7869 h 31474"/>
                <a:gd name="connsiteX16" fmla="*/ 24392 w 149502"/>
                <a:gd name="connsiteY16" fmla="*/ 9049 h 31474"/>
                <a:gd name="connsiteX17" fmla="*/ 21245 w 149502"/>
                <a:gd name="connsiteY17" fmla="*/ 9442 h 31474"/>
                <a:gd name="connsiteX18" fmla="*/ 18098 w 149502"/>
                <a:gd name="connsiteY18" fmla="*/ 9836 h 31474"/>
                <a:gd name="connsiteX19" fmla="*/ 14950 w 149502"/>
                <a:gd name="connsiteY19" fmla="*/ 10623 h 31474"/>
                <a:gd name="connsiteX20" fmla="*/ 12196 w 149502"/>
                <a:gd name="connsiteY20" fmla="*/ 13376 h 31474"/>
                <a:gd name="connsiteX21" fmla="*/ 9049 w 149502"/>
                <a:gd name="connsiteY21" fmla="*/ 14557 h 31474"/>
                <a:gd name="connsiteX22" fmla="*/ 6295 w 149502"/>
                <a:gd name="connsiteY22" fmla="*/ 15344 h 31474"/>
                <a:gd name="connsiteX23" fmla="*/ 3148 w 149502"/>
                <a:gd name="connsiteY23" fmla="*/ 14950 h 31474"/>
                <a:gd name="connsiteX24" fmla="*/ 0 w 149502"/>
                <a:gd name="connsiteY24" fmla="*/ 14950 h 31474"/>
                <a:gd name="connsiteX25" fmla="*/ 3148 w 149502"/>
                <a:gd name="connsiteY25" fmla="*/ 15344 h 31474"/>
                <a:gd name="connsiteX26" fmla="*/ 6295 w 149502"/>
                <a:gd name="connsiteY26" fmla="*/ 15344 h 31474"/>
                <a:gd name="connsiteX27" fmla="*/ 9049 w 149502"/>
                <a:gd name="connsiteY27" fmla="*/ 17311 h 31474"/>
                <a:gd name="connsiteX28" fmla="*/ 12196 w 149502"/>
                <a:gd name="connsiteY28" fmla="*/ 14950 h 31474"/>
                <a:gd name="connsiteX29" fmla="*/ 14950 w 149502"/>
                <a:gd name="connsiteY29" fmla="*/ 14950 h 31474"/>
                <a:gd name="connsiteX30" fmla="*/ 18491 w 149502"/>
                <a:gd name="connsiteY30" fmla="*/ 15344 h 31474"/>
                <a:gd name="connsiteX31" fmla="*/ 21638 w 149502"/>
                <a:gd name="connsiteY31" fmla="*/ 16130 h 31474"/>
                <a:gd name="connsiteX32" fmla="*/ 18885 w 149502"/>
                <a:gd name="connsiteY32" fmla="*/ 16524 h 31474"/>
                <a:gd name="connsiteX33" fmla="*/ 21638 w 149502"/>
                <a:gd name="connsiteY33" fmla="*/ 16917 h 31474"/>
                <a:gd name="connsiteX34" fmla="*/ 25179 w 149502"/>
                <a:gd name="connsiteY34" fmla="*/ 15737 h 31474"/>
                <a:gd name="connsiteX35" fmla="*/ 28327 w 149502"/>
                <a:gd name="connsiteY35" fmla="*/ 15737 h 31474"/>
                <a:gd name="connsiteX36" fmla="*/ 31081 w 149502"/>
                <a:gd name="connsiteY36" fmla="*/ 18098 h 31474"/>
                <a:gd name="connsiteX37" fmla="*/ 34228 w 149502"/>
                <a:gd name="connsiteY37" fmla="*/ 20852 h 31474"/>
                <a:gd name="connsiteX38" fmla="*/ 36982 w 149502"/>
                <a:gd name="connsiteY38" fmla="*/ 22032 h 31474"/>
                <a:gd name="connsiteX39" fmla="*/ 40129 w 149502"/>
                <a:gd name="connsiteY39" fmla="*/ 22425 h 31474"/>
                <a:gd name="connsiteX40" fmla="*/ 43277 w 149502"/>
                <a:gd name="connsiteY40" fmla="*/ 23606 h 31474"/>
                <a:gd name="connsiteX41" fmla="*/ 46425 w 149502"/>
                <a:gd name="connsiteY41" fmla="*/ 25179 h 31474"/>
                <a:gd name="connsiteX42" fmla="*/ 49178 w 149502"/>
                <a:gd name="connsiteY42" fmla="*/ 25966 h 31474"/>
                <a:gd name="connsiteX43" fmla="*/ 51932 w 149502"/>
                <a:gd name="connsiteY43" fmla="*/ 25966 h 31474"/>
                <a:gd name="connsiteX44" fmla="*/ 55080 w 149502"/>
                <a:gd name="connsiteY44" fmla="*/ 26753 h 31474"/>
                <a:gd name="connsiteX45" fmla="*/ 58227 w 149502"/>
                <a:gd name="connsiteY45" fmla="*/ 25966 h 31474"/>
                <a:gd name="connsiteX46" fmla="*/ 60981 w 149502"/>
                <a:gd name="connsiteY46" fmla="*/ 25179 h 31474"/>
                <a:gd name="connsiteX47" fmla="*/ 64129 w 149502"/>
                <a:gd name="connsiteY47" fmla="*/ 25966 h 31474"/>
                <a:gd name="connsiteX48" fmla="*/ 66882 w 149502"/>
                <a:gd name="connsiteY48" fmla="*/ 27540 h 31474"/>
                <a:gd name="connsiteX49" fmla="*/ 73571 w 149502"/>
                <a:gd name="connsiteY49" fmla="*/ 27540 h 31474"/>
                <a:gd name="connsiteX50" fmla="*/ 76718 w 149502"/>
                <a:gd name="connsiteY50" fmla="*/ 27146 h 31474"/>
                <a:gd name="connsiteX51" fmla="*/ 79472 w 149502"/>
                <a:gd name="connsiteY51" fmla="*/ 27540 h 31474"/>
                <a:gd name="connsiteX52" fmla="*/ 86554 w 149502"/>
                <a:gd name="connsiteY52" fmla="*/ 27540 h 31474"/>
                <a:gd name="connsiteX53" fmla="*/ 89308 w 149502"/>
                <a:gd name="connsiteY53" fmla="*/ 27933 h 31474"/>
                <a:gd name="connsiteX54" fmla="*/ 92455 w 149502"/>
                <a:gd name="connsiteY54" fmla="*/ 29114 h 31474"/>
                <a:gd name="connsiteX55" fmla="*/ 95209 w 149502"/>
                <a:gd name="connsiteY55" fmla="*/ 29507 h 31474"/>
                <a:gd name="connsiteX56" fmla="*/ 98750 w 149502"/>
                <a:gd name="connsiteY56" fmla="*/ 30294 h 31474"/>
                <a:gd name="connsiteX57" fmla="*/ 102291 w 149502"/>
                <a:gd name="connsiteY57" fmla="*/ 30687 h 31474"/>
                <a:gd name="connsiteX58" fmla="*/ 105832 w 149502"/>
                <a:gd name="connsiteY58" fmla="*/ 30687 h 31474"/>
                <a:gd name="connsiteX59" fmla="*/ 108979 w 149502"/>
                <a:gd name="connsiteY59" fmla="*/ 31081 h 31474"/>
                <a:gd name="connsiteX60" fmla="*/ 105832 w 149502"/>
                <a:gd name="connsiteY60" fmla="*/ 31474 h 31474"/>
                <a:gd name="connsiteX61" fmla="*/ 112520 w 149502"/>
                <a:gd name="connsiteY61" fmla="*/ 31474 h 31474"/>
                <a:gd name="connsiteX62" fmla="*/ 115274 w 149502"/>
                <a:gd name="connsiteY62" fmla="*/ 31868 h 31474"/>
                <a:gd name="connsiteX63" fmla="*/ 118421 w 149502"/>
                <a:gd name="connsiteY63" fmla="*/ 31474 h 31474"/>
                <a:gd name="connsiteX64" fmla="*/ 121569 w 149502"/>
                <a:gd name="connsiteY64" fmla="*/ 31868 h 31474"/>
                <a:gd name="connsiteX65" fmla="*/ 125110 w 149502"/>
                <a:gd name="connsiteY65" fmla="*/ 32261 h 31474"/>
                <a:gd name="connsiteX66" fmla="*/ 128257 w 149502"/>
                <a:gd name="connsiteY66" fmla="*/ 31868 h 31474"/>
                <a:gd name="connsiteX67" fmla="*/ 131011 w 149502"/>
                <a:gd name="connsiteY67" fmla="*/ 31474 h 31474"/>
                <a:gd name="connsiteX68" fmla="*/ 137699 w 149502"/>
                <a:gd name="connsiteY68" fmla="*/ 31474 h 31474"/>
                <a:gd name="connsiteX69" fmla="*/ 140847 w 149502"/>
                <a:gd name="connsiteY69" fmla="*/ 31081 h 31474"/>
                <a:gd name="connsiteX70" fmla="*/ 143601 w 149502"/>
                <a:gd name="connsiteY70" fmla="*/ 31474 h 31474"/>
                <a:gd name="connsiteX71" fmla="*/ 146748 w 149502"/>
                <a:gd name="connsiteY71" fmla="*/ 30294 h 31474"/>
                <a:gd name="connsiteX72" fmla="*/ 149502 w 149502"/>
                <a:gd name="connsiteY72" fmla="*/ 27540 h 31474"/>
                <a:gd name="connsiteX73" fmla="*/ 145961 w 149502"/>
                <a:gd name="connsiteY73" fmla="*/ 25966 h 31474"/>
                <a:gd name="connsiteX74" fmla="*/ 143207 w 149502"/>
                <a:gd name="connsiteY74" fmla="*/ 24392 h 31474"/>
                <a:gd name="connsiteX75" fmla="*/ 139666 w 149502"/>
                <a:gd name="connsiteY75" fmla="*/ 23999 h 31474"/>
                <a:gd name="connsiteX76" fmla="*/ 136519 w 149502"/>
                <a:gd name="connsiteY76" fmla="*/ 22425 h 31474"/>
                <a:gd name="connsiteX77" fmla="*/ 132978 w 149502"/>
                <a:gd name="connsiteY77" fmla="*/ 22032 h 31474"/>
                <a:gd name="connsiteX78" fmla="*/ 130224 w 149502"/>
                <a:gd name="connsiteY78" fmla="*/ 21638 h 31474"/>
                <a:gd name="connsiteX79" fmla="*/ 127470 w 149502"/>
                <a:gd name="connsiteY79" fmla="*/ 21245 h 31474"/>
                <a:gd name="connsiteX80" fmla="*/ 124323 w 149502"/>
                <a:gd name="connsiteY80" fmla="*/ 19671 h 31474"/>
                <a:gd name="connsiteX81" fmla="*/ 127470 w 149502"/>
                <a:gd name="connsiteY81" fmla="*/ 20065 h 31474"/>
                <a:gd name="connsiteX82" fmla="*/ 131011 w 149502"/>
                <a:gd name="connsiteY82" fmla="*/ 20852 h 31474"/>
                <a:gd name="connsiteX83" fmla="*/ 134158 w 149502"/>
                <a:gd name="connsiteY83" fmla="*/ 20458 h 31474"/>
                <a:gd name="connsiteX84" fmla="*/ 132585 w 149502"/>
                <a:gd name="connsiteY84" fmla="*/ 17311 h 31474"/>
                <a:gd name="connsiteX85" fmla="*/ 130617 w 149502"/>
                <a:gd name="connsiteY85" fmla="*/ 14557 h 31474"/>
                <a:gd name="connsiteX86" fmla="*/ 127470 w 149502"/>
                <a:gd name="connsiteY86" fmla="*/ 12196 h 31474"/>
                <a:gd name="connsiteX87" fmla="*/ 124716 w 149502"/>
                <a:gd name="connsiteY87" fmla="*/ 9442 h 31474"/>
                <a:gd name="connsiteX88" fmla="*/ 127470 w 149502"/>
                <a:gd name="connsiteY88" fmla="*/ 9049 h 31474"/>
                <a:gd name="connsiteX89" fmla="*/ 128257 w 149502"/>
                <a:gd name="connsiteY89" fmla="*/ 8655 h 31474"/>
                <a:gd name="connsiteX90" fmla="*/ 125110 w 149502"/>
                <a:gd name="connsiteY90" fmla="*/ 7082 h 31474"/>
                <a:gd name="connsiteX91" fmla="*/ 124323 w 149502"/>
                <a:gd name="connsiteY91" fmla="*/ 6688 h 31474"/>
                <a:gd name="connsiteX92" fmla="*/ 122749 w 149502"/>
                <a:gd name="connsiteY92" fmla="*/ 6295 h 31474"/>
                <a:gd name="connsiteX93" fmla="*/ 120388 w 149502"/>
                <a:gd name="connsiteY93" fmla="*/ 5901 h 31474"/>
                <a:gd name="connsiteX94" fmla="*/ 118028 w 149502"/>
                <a:gd name="connsiteY94" fmla="*/ 5115 h 31474"/>
                <a:gd name="connsiteX95" fmla="*/ 115274 w 149502"/>
                <a:gd name="connsiteY95" fmla="*/ 4721 h 31474"/>
                <a:gd name="connsiteX96" fmla="*/ 111733 w 149502"/>
                <a:gd name="connsiteY96" fmla="*/ 3934 h 31474"/>
                <a:gd name="connsiteX97" fmla="*/ 108192 w 149502"/>
                <a:gd name="connsiteY97" fmla="*/ 3541 h 31474"/>
                <a:gd name="connsiteX98" fmla="*/ 106618 w 149502"/>
                <a:gd name="connsiteY98" fmla="*/ 3147 h 31474"/>
                <a:gd name="connsiteX99" fmla="*/ 103865 w 149502"/>
                <a:gd name="connsiteY99" fmla="*/ 2754 h 31474"/>
                <a:gd name="connsiteX100" fmla="*/ 100324 w 149502"/>
                <a:gd name="connsiteY100" fmla="*/ 2754 h 31474"/>
                <a:gd name="connsiteX101" fmla="*/ 97570 w 149502"/>
                <a:gd name="connsiteY101" fmla="*/ 3147 h 31474"/>
                <a:gd name="connsiteX102" fmla="*/ 94422 w 149502"/>
                <a:gd name="connsiteY102" fmla="*/ 3147 h 31474"/>
                <a:gd name="connsiteX103" fmla="*/ 91275 w 149502"/>
                <a:gd name="connsiteY103" fmla="*/ 3934 h 31474"/>
                <a:gd name="connsiteX104" fmla="*/ 81439 w 149502"/>
                <a:gd name="connsiteY104" fmla="*/ 3934 h 31474"/>
                <a:gd name="connsiteX105" fmla="*/ 81439 w 149502"/>
                <a:gd name="connsiteY105" fmla="*/ 3541 h 31474"/>
                <a:gd name="connsiteX106" fmla="*/ 83013 w 149502"/>
                <a:gd name="connsiteY106" fmla="*/ 2361 h 31474"/>
                <a:gd name="connsiteX107" fmla="*/ 80259 w 149502"/>
                <a:gd name="connsiteY107" fmla="*/ 1967 h 31474"/>
                <a:gd name="connsiteX108" fmla="*/ 77505 w 149502"/>
                <a:gd name="connsiteY108" fmla="*/ 787 h 31474"/>
                <a:gd name="connsiteX109" fmla="*/ 74358 w 149502"/>
                <a:gd name="connsiteY109" fmla="*/ 393 h 31474"/>
                <a:gd name="connsiteX110" fmla="*/ 71210 w 149502"/>
                <a:gd name="connsiteY110" fmla="*/ 0 h 31474"/>
                <a:gd name="connsiteX111" fmla="*/ 67669 w 149502"/>
                <a:gd name="connsiteY111" fmla="*/ 0 h 31474"/>
                <a:gd name="connsiteX112" fmla="*/ 64129 w 149502"/>
                <a:gd name="connsiteY112" fmla="*/ 393 h 31474"/>
                <a:gd name="connsiteX113" fmla="*/ 60981 w 149502"/>
                <a:gd name="connsiteY113" fmla="*/ 393 h 31474"/>
                <a:gd name="connsiteX114" fmla="*/ 58621 w 149502"/>
                <a:gd name="connsiteY114" fmla="*/ 1180 h 31474"/>
                <a:gd name="connsiteX115" fmla="*/ 84193 w 149502"/>
                <a:gd name="connsiteY115" fmla="*/ 7869 h 31474"/>
                <a:gd name="connsiteX116" fmla="*/ 84587 w 149502"/>
                <a:gd name="connsiteY116" fmla="*/ 10229 h 31474"/>
                <a:gd name="connsiteX117" fmla="*/ 81439 w 149502"/>
                <a:gd name="connsiteY117" fmla="*/ 11016 h 31474"/>
                <a:gd name="connsiteX118" fmla="*/ 78685 w 149502"/>
                <a:gd name="connsiteY118" fmla="*/ 11016 h 31474"/>
                <a:gd name="connsiteX119" fmla="*/ 81439 w 149502"/>
                <a:gd name="connsiteY119" fmla="*/ 10229 h 31474"/>
                <a:gd name="connsiteX120" fmla="*/ 81833 w 149502"/>
                <a:gd name="connsiteY120" fmla="*/ 7869 h 31474"/>
                <a:gd name="connsiteX121" fmla="*/ 84193 w 149502"/>
                <a:gd name="connsiteY121" fmla="*/ 7869 h 3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149502" h="31474">
                  <a:moveTo>
                    <a:pt x="58621" y="1180"/>
                  </a:moveTo>
                  <a:lnTo>
                    <a:pt x="55080" y="1574"/>
                  </a:lnTo>
                  <a:lnTo>
                    <a:pt x="51932" y="1967"/>
                  </a:lnTo>
                  <a:lnTo>
                    <a:pt x="49178" y="1967"/>
                  </a:lnTo>
                  <a:lnTo>
                    <a:pt x="45637" y="2361"/>
                  </a:lnTo>
                  <a:lnTo>
                    <a:pt x="42884" y="1967"/>
                  </a:lnTo>
                  <a:lnTo>
                    <a:pt x="36195" y="1967"/>
                  </a:lnTo>
                  <a:lnTo>
                    <a:pt x="32655" y="2361"/>
                  </a:lnTo>
                  <a:lnTo>
                    <a:pt x="29507" y="3934"/>
                  </a:lnTo>
                  <a:lnTo>
                    <a:pt x="26753" y="3147"/>
                  </a:lnTo>
                  <a:lnTo>
                    <a:pt x="23999" y="3541"/>
                  </a:lnTo>
                  <a:lnTo>
                    <a:pt x="21245" y="5115"/>
                  </a:lnTo>
                  <a:lnTo>
                    <a:pt x="18491" y="5508"/>
                  </a:lnTo>
                  <a:lnTo>
                    <a:pt x="14950" y="7082"/>
                  </a:lnTo>
                  <a:lnTo>
                    <a:pt x="18098" y="7475"/>
                  </a:lnTo>
                  <a:lnTo>
                    <a:pt x="20852" y="7869"/>
                  </a:lnTo>
                  <a:lnTo>
                    <a:pt x="24392" y="9049"/>
                  </a:lnTo>
                  <a:lnTo>
                    <a:pt x="21245" y="9442"/>
                  </a:lnTo>
                  <a:lnTo>
                    <a:pt x="18098" y="9836"/>
                  </a:lnTo>
                  <a:lnTo>
                    <a:pt x="14950" y="10623"/>
                  </a:lnTo>
                  <a:lnTo>
                    <a:pt x="12196" y="13376"/>
                  </a:lnTo>
                  <a:lnTo>
                    <a:pt x="9049" y="14557"/>
                  </a:lnTo>
                  <a:lnTo>
                    <a:pt x="6295" y="15344"/>
                  </a:lnTo>
                  <a:lnTo>
                    <a:pt x="3148" y="14950"/>
                  </a:lnTo>
                  <a:lnTo>
                    <a:pt x="0" y="14950"/>
                  </a:lnTo>
                  <a:lnTo>
                    <a:pt x="3148" y="15344"/>
                  </a:lnTo>
                  <a:lnTo>
                    <a:pt x="6295" y="15344"/>
                  </a:lnTo>
                  <a:lnTo>
                    <a:pt x="9049" y="17311"/>
                  </a:lnTo>
                  <a:lnTo>
                    <a:pt x="12196" y="14950"/>
                  </a:lnTo>
                  <a:lnTo>
                    <a:pt x="14950" y="14950"/>
                  </a:lnTo>
                  <a:lnTo>
                    <a:pt x="18491" y="15344"/>
                  </a:lnTo>
                  <a:lnTo>
                    <a:pt x="21638" y="16130"/>
                  </a:lnTo>
                  <a:lnTo>
                    <a:pt x="18885" y="16524"/>
                  </a:lnTo>
                  <a:lnTo>
                    <a:pt x="21638" y="16917"/>
                  </a:lnTo>
                  <a:lnTo>
                    <a:pt x="25179" y="15737"/>
                  </a:lnTo>
                  <a:lnTo>
                    <a:pt x="28327" y="15737"/>
                  </a:lnTo>
                  <a:lnTo>
                    <a:pt x="31081" y="18098"/>
                  </a:lnTo>
                  <a:lnTo>
                    <a:pt x="34228" y="20852"/>
                  </a:lnTo>
                  <a:lnTo>
                    <a:pt x="36982" y="22032"/>
                  </a:lnTo>
                  <a:lnTo>
                    <a:pt x="40129" y="22425"/>
                  </a:lnTo>
                  <a:lnTo>
                    <a:pt x="43277" y="23606"/>
                  </a:lnTo>
                  <a:lnTo>
                    <a:pt x="46425" y="25179"/>
                  </a:lnTo>
                  <a:lnTo>
                    <a:pt x="49178" y="25966"/>
                  </a:lnTo>
                  <a:lnTo>
                    <a:pt x="51932" y="25966"/>
                  </a:lnTo>
                  <a:lnTo>
                    <a:pt x="55080" y="26753"/>
                  </a:lnTo>
                  <a:lnTo>
                    <a:pt x="58227" y="25966"/>
                  </a:lnTo>
                  <a:lnTo>
                    <a:pt x="60981" y="25179"/>
                  </a:lnTo>
                  <a:lnTo>
                    <a:pt x="64129" y="25966"/>
                  </a:lnTo>
                  <a:lnTo>
                    <a:pt x="66882" y="27540"/>
                  </a:lnTo>
                  <a:lnTo>
                    <a:pt x="73571" y="27540"/>
                  </a:lnTo>
                  <a:lnTo>
                    <a:pt x="76718" y="27146"/>
                  </a:lnTo>
                  <a:lnTo>
                    <a:pt x="79472" y="27540"/>
                  </a:lnTo>
                  <a:lnTo>
                    <a:pt x="86554" y="27540"/>
                  </a:lnTo>
                  <a:lnTo>
                    <a:pt x="89308" y="27933"/>
                  </a:lnTo>
                  <a:lnTo>
                    <a:pt x="92455" y="29114"/>
                  </a:lnTo>
                  <a:lnTo>
                    <a:pt x="95209" y="29507"/>
                  </a:lnTo>
                  <a:lnTo>
                    <a:pt x="98750" y="30294"/>
                  </a:lnTo>
                  <a:lnTo>
                    <a:pt x="102291" y="30687"/>
                  </a:lnTo>
                  <a:lnTo>
                    <a:pt x="105832" y="30687"/>
                  </a:lnTo>
                  <a:lnTo>
                    <a:pt x="108979" y="31081"/>
                  </a:lnTo>
                  <a:lnTo>
                    <a:pt x="105832" y="31474"/>
                  </a:lnTo>
                  <a:lnTo>
                    <a:pt x="112520" y="31474"/>
                  </a:lnTo>
                  <a:lnTo>
                    <a:pt x="115274" y="31868"/>
                  </a:lnTo>
                  <a:lnTo>
                    <a:pt x="118421" y="31474"/>
                  </a:lnTo>
                  <a:lnTo>
                    <a:pt x="121569" y="31868"/>
                  </a:lnTo>
                  <a:lnTo>
                    <a:pt x="125110" y="32261"/>
                  </a:lnTo>
                  <a:lnTo>
                    <a:pt x="128257" y="31868"/>
                  </a:lnTo>
                  <a:lnTo>
                    <a:pt x="131011" y="31474"/>
                  </a:lnTo>
                  <a:lnTo>
                    <a:pt x="137699" y="31474"/>
                  </a:lnTo>
                  <a:lnTo>
                    <a:pt x="140847" y="31081"/>
                  </a:lnTo>
                  <a:lnTo>
                    <a:pt x="143601" y="31474"/>
                  </a:lnTo>
                  <a:lnTo>
                    <a:pt x="146748" y="30294"/>
                  </a:lnTo>
                  <a:lnTo>
                    <a:pt x="149502" y="27540"/>
                  </a:lnTo>
                  <a:lnTo>
                    <a:pt x="145961" y="25966"/>
                  </a:lnTo>
                  <a:lnTo>
                    <a:pt x="143207" y="24392"/>
                  </a:lnTo>
                  <a:lnTo>
                    <a:pt x="139666" y="23999"/>
                  </a:lnTo>
                  <a:lnTo>
                    <a:pt x="136519" y="22425"/>
                  </a:lnTo>
                  <a:lnTo>
                    <a:pt x="132978" y="22032"/>
                  </a:lnTo>
                  <a:lnTo>
                    <a:pt x="130224" y="21638"/>
                  </a:lnTo>
                  <a:lnTo>
                    <a:pt x="127470" y="21245"/>
                  </a:lnTo>
                  <a:lnTo>
                    <a:pt x="124323" y="19671"/>
                  </a:lnTo>
                  <a:lnTo>
                    <a:pt x="127470" y="20065"/>
                  </a:lnTo>
                  <a:lnTo>
                    <a:pt x="131011" y="20852"/>
                  </a:lnTo>
                  <a:lnTo>
                    <a:pt x="134158" y="20458"/>
                  </a:lnTo>
                  <a:lnTo>
                    <a:pt x="132585" y="17311"/>
                  </a:lnTo>
                  <a:lnTo>
                    <a:pt x="130617" y="14557"/>
                  </a:lnTo>
                  <a:lnTo>
                    <a:pt x="127470" y="12196"/>
                  </a:lnTo>
                  <a:lnTo>
                    <a:pt x="124716" y="9442"/>
                  </a:lnTo>
                  <a:lnTo>
                    <a:pt x="127470" y="9049"/>
                  </a:lnTo>
                  <a:lnTo>
                    <a:pt x="128257" y="8655"/>
                  </a:lnTo>
                  <a:lnTo>
                    <a:pt x="125110" y="7082"/>
                  </a:lnTo>
                  <a:lnTo>
                    <a:pt x="124323" y="6688"/>
                  </a:lnTo>
                  <a:lnTo>
                    <a:pt x="122749" y="6295"/>
                  </a:lnTo>
                  <a:lnTo>
                    <a:pt x="120388" y="5901"/>
                  </a:lnTo>
                  <a:lnTo>
                    <a:pt x="118028" y="5115"/>
                  </a:lnTo>
                  <a:lnTo>
                    <a:pt x="115274" y="4721"/>
                  </a:lnTo>
                  <a:lnTo>
                    <a:pt x="111733" y="3934"/>
                  </a:lnTo>
                  <a:lnTo>
                    <a:pt x="108192" y="3541"/>
                  </a:lnTo>
                  <a:lnTo>
                    <a:pt x="106618" y="3147"/>
                  </a:lnTo>
                  <a:lnTo>
                    <a:pt x="103865" y="2754"/>
                  </a:lnTo>
                  <a:lnTo>
                    <a:pt x="100324" y="2754"/>
                  </a:lnTo>
                  <a:lnTo>
                    <a:pt x="97570" y="3147"/>
                  </a:lnTo>
                  <a:lnTo>
                    <a:pt x="94422" y="3147"/>
                  </a:lnTo>
                  <a:lnTo>
                    <a:pt x="91275" y="3934"/>
                  </a:lnTo>
                  <a:lnTo>
                    <a:pt x="81439" y="3934"/>
                  </a:lnTo>
                  <a:lnTo>
                    <a:pt x="81439" y="3541"/>
                  </a:lnTo>
                  <a:lnTo>
                    <a:pt x="83013" y="2361"/>
                  </a:lnTo>
                  <a:lnTo>
                    <a:pt x="80259" y="1967"/>
                  </a:lnTo>
                  <a:lnTo>
                    <a:pt x="77505" y="787"/>
                  </a:lnTo>
                  <a:lnTo>
                    <a:pt x="74358" y="393"/>
                  </a:lnTo>
                  <a:lnTo>
                    <a:pt x="71210" y="0"/>
                  </a:lnTo>
                  <a:lnTo>
                    <a:pt x="67669" y="0"/>
                  </a:lnTo>
                  <a:lnTo>
                    <a:pt x="64129" y="393"/>
                  </a:lnTo>
                  <a:lnTo>
                    <a:pt x="60981" y="393"/>
                  </a:lnTo>
                  <a:lnTo>
                    <a:pt x="58621" y="1180"/>
                  </a:lnTo>
                  <a:close/>
                  <a:moveTo>
                    <a:pt x="84193" y="7869"/>
                  </a:moveTo>
                  <a:lnTo>
                    <a:pt x="84587" y="10229"/>
                  </a:lnTo>
                  <a:lnTo>
                    <a:pt x="81439" y="11016"/>
                  </a:lnTo>
                  <a:lnTo>
                    <a:pt x="78685" y="11016"/>
                  </a:lnTo>
                  <a:lnTo>
                    <a:pt x="81439" y="10229"/>
                  </a:lnTo>
                  <a:lnTo>
                    <a:pt x="81833" y="7869"/>
                  </a:lnTo>
                  <a:lnTo>
                    <a:pt x="84193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08" name="Freeform: Shape 4302">
              <a:extLst>
                <a:ext uri="{FF2B5EF4-FFF2-40B4-BE49-F238E27FC236}">
                  <a16:creationId xmlns:a16="http://schemas.microsoft.com/office/drawing/2014/main" id="{5C503742-0506-41E4-A573-AC7E7194FABB}"/>
                </a:ext>
              </a:extLst>
            </p:cNvPr>
            <p:cNvSpPr/>
            <p:nvPr/>
          </p:nvSpPr>
          <p:spPr>
            <a:xfrm>
              <a:off x="4177653" y="5489809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0 h 0"/>
                <a:gd name="connsiteX2" fmla="*/ 3147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09" name="Freeform: Shape 4303">
              <a:extLst>
                <a:ext uri="{FF2B5EF4-FFF2-40B4-BE49-F238E27FC236}">
                  <a16:creationId xmlns:a16="http://schemas.microsoft.com/office/drawing/2014/main" id="{79B105F7-395D-4CB7-BB1B-ABC4605F7181}"/>
                </a:ext>
              </a:extLst>
            </p:cNvPr>
            <p:cNvSpPr/>
            <p:nvPr/>
          </p:nvSpPr>
          <p:spPr>
            <a:xfrm>
              <a:off x="4205979" y="5483121"/>
              <a:ext cx="3934" cy="3934"/>
            </a:xfrm>
            <a:custGeom>
              <a:avLst/>
              <a:gdLst>
                <a:gd name="connsiteX0" fmla="*/ 2754 w 0"/>
                <a:gd name="connsiteY0" fmla="*/ 0 h 3934"/>
                <a:gd name="connsiteX1" fmla="*/ 0 w 0"/>
                <a:gd name="connsiteY1" fmla="*/ 2360 h 3934"/>
                <a:gd name="connsiteX2" fmla="*/ 0 w 0"/>
                <a:gd name="connsiteY2" fmla="*/ 5114 h 3934"/>
                <a:gd name="connsiteX3" fmla="*/ 3148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2754" y="0"/>
                  </a:moveTo>
                  <a:lnTo>
                    <a:pt x="0" y="2360"/>
                  </a:lnTo>
                  <a:lnTo>
                    <a:pt x="0" y="5114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10" name="Freeform: Shape 4304">
              <a:extLst>
                <a:ext uri="{FF2B5EF4-FFF2-40B4-BE49-F238E27FC236}">
                  <a16:creationId xmlns:a16="http://schemas.microsoft.com/office/drawing/2014/main" id="{45E55221-14AC-4B49-A2CC-6FCB44E1F9F4}"/>
                </a:ext>
              </a:extLst>
            </p:cNvPr>
            <p:cNvSpPr/>
            <p:nvPr/>
          </p:nvSpPr>
          <p:spPr>
            <a:xfrm>
              <a:off x="4185521" y="5483908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967 w 0"/>
                <a:gd name="connsiteY1" fmla="*/ 2754 h 0"/>
                <a:gd name="connsiteX2" fmla="*/ 3147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967" y="2754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11" name="Freeform: Shape 4305">
              <a:extLst>
                <a:ext uri="{FF2B5EF4-FFF2-40B4-BE49-F238E27FC236}">
                  <a16:creationId xmlns:a16="http://schemas.microsoft.com/office/drawing/2014/main" id="{96C66E72-52E3-4B66-B652-A1D2DC293790}"/>
                </a:ext>
              </a:extLst>
            </p:cNvPr>
            <p:cNvSpPr/>
            <p:nvPr/>
          </p:nvSpPr>
          <p:spPr>
            <a:xfrm>
              <a:off x="4181587" y="5481940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12" name="Freeform: Shape 4306">
              <a:extLst>
                <a:ext uri="{FF2B5EF4-FFF2-40B4-BE49-F238E27FC236}">
                  <a16:creationId xmlns:a16="http://schemas.microsoft.com/office/drawing/2014/main" id="{38FAE27E-A485-456F-ACA4-FEABB2A03EB1}"/>
                </a:ext>
              </a:extLst>
            </p:cNvPr>
            <p:cNvSpPr/>
            <p:nvPr/>
          </p:nvSpPr>
          <p:spPr>
            <a:xfrm>
              <a:off x="9510155" y="2367184"/>
              <a:ext cx="3934" cy="3934"/>
            </a:xfrm>
            <a:custGeom>
              <a:avLst/>
              <a:gdLst>
                <a:gd name="connsiteX0" fmla="*/ 1573 w 0"/>
                <a:gd name="connsiteY0" fmla="*/ 393 h 0"/>
                <a:gd name="connsiteX1" fmla="*/ 1180 w 0"/>
                <a:gd name="connsiteY1" fmla="*/ 0 h 0"/>
                <a:gd name="connsiteX2" fmla="*/ 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3" y="393"/>
                  </a:moveTo>
                  <a:lnTo>
                    <a:pt x="1180" y="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13" name="Freeform: Shape 4307">
              <a:extLst>
                <a:ext uri="{FF2B5EF4-FFF2-40B4-BE49-F238E27FC236}">
                  <a16:creationId xmlns:a16="http://schemas.microsoft.com/office/drawing/2014/main" id="{4F88D016-D2DD-4891-8F41-7D4BD80A89D2}"/>
                </a:ext>
              </a:extLst>
            </p:cNvPr>
            <p:cNvSpPr/>
            <p:nvPr/>
          </p:nvSpPr>
          <p:spPr>
            <a:xfrm>
              <a:off x="4351154" y="5596821"/>
              <a:ext cx="3934" cy="3934"/>
            </a:xfrm>
            <a:custGeom>
              <a:avLst/>
              <a:gdLst>
                <a:gd name="connsiteX0" fmla="*/ 2754 w 0"/>
                <a:gd name="connsiteY0" fmla="*/ 1967 h 0"/>
                <a:gd name="connsiteX1" fmla="*/ 2754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967"/>
                  </a:moveTo>
                  <a:lnTo>
                    <a:pt x="2754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14" name="Freeform: Shape 4308">
              <a:extLst>
                <a:ext uri="{FF2B5EF4-FFF2-40B4-BE49-F238E27FC236}">
                  <a16:creationId xmlns:a16="http://schemas.microsoft.com/office/drawing/2014/main" id="{1EC2BF2C-C3C1-4564-A3B2-CF3194E68036}"/>
                </a:ext>
              </a:extLst>
            </p:cNvPr>
            <p:cNvSpPr/>
            <p:nvPr/>
          </p:nvSpPr>
          <p:spPr>
            <a:xfrm>
              <a:off x="4334236" y="5592100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147 w 0"/>
                <a:gd name="connsiteY1" fmla="*/ 393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147" y="393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15" name="Freeform: Shape 4309">
              <a:extLst>
                <a:ext uri="{FF2B5EF4-FFF2-40B4-BE49-F238E27FC236}">
                  <a16:creationId xmlns:a16="http://schemas.microsoft.com/office/drawing/2014/main" id="{3A4548FE-6646-4D84-A0D2-46F3028DF1F0}"/>
                </a:ext>
              </a:extLst>
            </p:cNvPr>
            <p:cNvSpPr/>
            <p:nvPr/>
          </p:nvSpPr>
          <p:spPr>
            <a:xfrm>
              <a:off x="4334236" y="5589739"/>
              <a:ext cx="3934" cy="3934"/>
            </a:xfrm>
            <a:custGeom>
              <a:avLst/>
              <a:gdLst>
                <a:gd name="connsiteX0" fmla="*/ 2754 w 0"/>
                <a:gd name="connsiteY0" fmla="*/ 1967 h 0"/>
                <a:gd name="connsiteX1" fmla="*/ 2754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967"/>
                  </a:moveTo>
                  <a:lnTo>
                    <a:pt x="2754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16" name="Freeform: Shape 4310">
              <a:extLst>
                <a:ext uri="{FF2B5EF4-FFF2-40B4-BE49-F238E27FC236}">
                  <a16:creationId xmlns:a16="http://schemas.microsoft.com/office/drawing/2014/main" id="{A4F210A2-09CE-458B-A2DB-19640C11791E}"/>
                </a:ext>
              </a:extLst>
            </p:cNvPr>
            <p:cNvSpPr/>
            <p:nvPr/>
          </p:nvSpPr>
          <p:spPr>
            <a:xfrm>
              <a:off x="4330695" y="5581084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2754 w 0"/>
                <a:gd name="connsiteY1" fmla="*/ 1573 h 0"/>
                <a:gd name="connsiteX2" fmla="*/ 2361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2754" y="1573"/>
                  </a:lnTo>
                  <a:lnTo>
                    <a:pt x="236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17" name="Freeform: Shape 4311">
              <a:extLst>
                <a:ext uri="{FF2B5EF4-FFF2-40B4-BE49-F238E27FC236}">
                  <a16:creationId xmlns:a16="http://schemas.microsoft.com/office/drawing/2014/main" id="{D116EFDA-0E3E-4D58-9E4D-5C9183D963E0}"/>
                </a:ext>
              </a:extLst>
            </p:cNvPr>
            <p:cNvSpPr/>
            <p:nvPr/>
          </p:nvSpPr>
          <p:spPr>
            <a:xfrm>
              <a:off x="4283091" y="5576363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147 w 0"/>
                <a:gd name="connsiteY1" fmla="*/ 787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147" y="787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18" name="Freeform: Shape 4312">
              <a:extLst>
                <a:ext uri="{FF2B5EF4-FFF2-40B4-BE49-F238E27FC236}">
                  <a16:creationId xmlns:a16="http://schemas.microsoft.com/office/drawing/2014/main" id="{046B23D4-C1BA-451E-80FD-EF16C2769E2B}"/>
                </a:ext>
              </a:extLst>
            </p:cNvPr>
            <p:cNvSpPr/>
            <p:nvPr/>
          </p:nvSpPr>
          <p:spPr>
            <a:xfrm>
              <a:off x="4266174" y="5566134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2754 w 0"/>
                <a:gd name="connsiteY1" fmla="*/ 393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2754" y="39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19" name="Freeform: Shape 4313">
              <a:extLst>
                <a:ext uri="{FF2B5EF4-FFF2-40B4-BE49-F238E27FC236}">
                  <a16:creationId xmlns:a16="http://schemas.microsoft.com/office/drawing/2014/main" id="{21844064-C2B3-4899-9F23-94BDD18B4B0D}"/>
                </a:ext>
              </a:extLst>
            </p:cNvPr>
            <p:cNvSpPr/>
            <p:nvPr/>
          </p:nvSpPr>
          <p:spPr>
            <a:xfrm>
              <a:off x="4267747" y="5563380"/>
              <a:ext cx="3934" cy="3934"/>
            </a:xfrm>
            <a:custGeom>
              <a:avLst/>
              <a:gdLst>
                <a:gd name="connsiteX0" fmla="*/ 2754 w 0"/>
                <a:gd name="connsiteY0" fmla="*/ 2360 h 0"/>
                <a:gd name="connsiteX1" fmla="*/ 3147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360"/>
                  </a:moveTo>
                  <a:lnTo>
                    <a:pt x="3147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20" name="Freeform: Shape 4314">
              <a:extLst>
                <a:ext uri="{FF2B5EF4-FFF2-40B4-BE49-F238E27FC236}">
                  <a16:creationId xmlns:a16="http://schemas.microsoft.com/office/drawing/2014/main" id="{C153350F-F8B3-4E56-92E5-A12469A360B1}"/>
                </a:ext>
              </a:extLst>
            </p:cNvPr>
            <p:cNvSpPr/>
            <p:nvPr/>
          </p:nvSpPr>
          <p:spPr>
            <a:xfrm>
              <a:off x="4283878" y="5559446"/>
              <a:ext cx="3934" cy="3934"/>
            </a:xfrm>
            <a:custGeom>
              <a:avLst/>
              <a:gdLst>
                <a:gd name="connsiteX0" fmla="*/ 0 w 0"/>
                <a:gd name="connsiteY0" fmla="*/ 1180 h 0"/>
                <a:gd name="connsiteX1" fmla="*/ 2754 w 0"/>
                <a:gd name="connsiteY1" fmla="*/ 2754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180"/>
                  </a:moveTo>
                  <a:lnTo>
                    <a:pt x="2754" y="2754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21" name="Freeform: Shape 4315">
              <a:extLst>
                <a:ext uri="{FF2B5EF4-FFF2-40B4-BE49-F238E27FC236}">
                  <a16:creationId xmlns:a16="http://schemas.microsoft.com/office/drawing/2014/main" id="{68285682-CCB0-4A07-B421-3162F62C0240}"/>
                </a:ext>
              </a:extLst>
            </p:cNvPr>
            <p:cNvSpPr/>
            <p:nvPr/>
          </p:nvSpPr>
          <p:spPr>
            <a:xfrm>
              <a:off x="4265387" y="5558659"/>
              <a:ext cx="3934" cy="3934"/>
            </a:xfrm>
            <a:custGeom>
              <a:avLst/>
              <a:gdLst>
                <a:gd name="connsiteX0" fmla="*/ 3147 w 0"/>
                <a:gd name="connsiteY0" fmla="*/ 2360 h 0"/>
                <a:gd name="connsiteX1" fmla="*/ 0 w 0"/>
                <a:gd name="connsiteY1" fmla="*/ 0 h 0"/>
                <a:gd name="connsiteX2" fmla="*/ 314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2360"/>
                  </a:moveTo>
                  <a:lnTo>
                    <a:pt x="0" y="0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22" name="Freeform: Shape 4316">
              <a:extLst>
                <a:ext uri="{FF2B5EF4-FFF2-40B4-BE49-F238E27FC236}">
                  <a16:creationId xmlns:a16="http://schemas.microsoft.com/office/drawing/2014/main" id="{2CAFA1FC-CFCA-4904-B8E4-E0FD657073AA}"/>
                </a:ext>
              </a:extLst>
            </p:cNvPr>
            <p:cNvSpPr/>
            <p:nvPr/>
          </p:nvSpPr>
          <p:spPr>
            <a:xfrm>
              <a:off x="4308270" y="5553544"/>
              <a:ext cx="3934" cy="3934"/>
            </a:xfrm>
            <a:custGeom>
              <a:avLst/>
              <a:gdLst>
                <a:gd name="connsiteX0" fmla="*/ 2754 w 0"/>
                <a:gd name="connsiteY0" fmla="*/ 3147 h 0"/>
                <a:gd name="connsiteX1" fmla="*/ 2754 w 0"/>
                <a:gd name="connsiteY1" fmla="*/ 0 h 0"/>
                <a:gd name="connsiteX2" fmla="*/ 0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147"/>
                  </a:moveTo>
                  <a:lnTo>
                    <a:pt x="2754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23" name="Freeform: Shape 4317">
              <a:extLst>
                <a:ext uri="{FF2B5EF4-FFF2-40B4-BE49-F238E27FC236}">
                  <a16:creationId xmlns:a16="http://schemas.microsoft.com/office/drawing/2014/main" id="{4D86B3AF-9FDC-444B-9651-E92F5E2CA654}"/>
                </a:ext>
              </a:extLst>
            </p:cNvPr>
            <p:cNvSpPr/>
            <p:nvPr/>
          </p:nvSpPr>
          <p:spPr>
            <a:xfrm>
              <a:off x="4260272" y="5546462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574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574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24" name="Freeform: Shape 4318">
              <a:extLst>
                <a:ext uri="{FF2B5EF4-FFF2-40B4-BE49-F238E27FC236}">
                  <a16:creationId xmlns:a16="http://schemas.microsoft.com/office/drawing/2014/main" id="{91539633-9FA5-4EA9-A33E-728FE8439B6E}"/>
                </a:ext>
              </a:extLst>
            </p:cNvPr>
            <p:cNvSpPr/>
            <p:nvPr/>
          </p:nvSpPr>
          <p:spPr>
            <a:xfrm>
              <a:off x="4204406" y="5522857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2754 w 0"/>
                <a:gd name="connsiteY1" fmla="*/ 196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2754" y="196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25" name="Freeform: Shape 4319">
              <a:extLst>
                <a:ext uri="{FF2B5EF4-FFF2-40B4-BE49-F238E27FC236}">
                  <a16:creationId xmlns:a16="http://schemas.microsoft.com/office/drawing/2014/main" id="{21A354FF-8320-4D54-9087-6BDD5E8B9ABD}"/>
                </a:ext>
              </a:extLst>
            </p:cNvPr>
            <p:cNvSpPr/>
            <p:nvPr/>
          </p:nvSpPr>
          <p:spPr>
            <a:xfrm>
              <a:off x="4186702" y="5491776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393 h 0"/>
                <a:gd name="connsiteX2" fmla="*/ 3147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393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26" name="Freeform: Shape 4320">
              <a:extLst>
                <a:ext uri="{FF2B5EF4-FFF2-40B4-BE49-F238E27FC236}">
                  <a16:creationId xmlns:a16="http://schemas.microsoft.com/office/drawing/2014/main" id="{8A630EAC-6D38-4042-B5CE-9D4B8110E64A}"/>
                </a:ext>
              </a:extLst>
            </p:cNvPr>
            <p:cNvSpPr/>
            <p:nvPr/>
          </p:nvSpPr>
          <p:spPr>
            <a:xfrm>
              <a:off x="7179890" y="1136547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0 w 0"/>
                <a:gd name="connsiteY1" fmla="*/ 1180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0" y="118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27" name="Freeform: Shape 4321">
              <a:extLst>
                <a:ext uri="{FF2B5EF4-FFF2-40B4-BE49-F238E27FC236}">
                  <a16:creationId xmlns:a16="http://schemas.microsoft.com/office/drawing/2014/main" id="{26DFCE7D-78AE-4C68-A9AC-511636280F15}"/>
                </a:ext>
              </a:extLst>
            </p:cNvPr>
            <p:cNvSpPr/>
            <p:nvPr/>
          </p:nvSpPr>
          <p:spPr>
            <a:xfrm>
              <a:off x="7204282" y="1135366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148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14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28" name="Freeform: Shape 4322">
              <a:extLst>
                <a:ext uri="{FF2B5EF4-FFF2-40B4-BE49-F238E27FC236}">
                  <a16:creationId xmlns:a16="http://schemas.microsoft.com/office/drawing/2014/main" id="{7D64F933-6BFA-4836-AD3F-97D252F21BDF}"/>
                </a:ext>
              </a:extLst>
            </p:cNvPr>
            <p:cNvSpPr/>
            <p:nvPr/>
          </p:nvSpPr>
          <p:spPr>
            <a:xfrm>
              <a:off x="7227101" y="1121203"/>
              <a:ext cx="3934" cy="3934"/>
            </a:xfrm>
            <a:custGeom>
              <a:avLst/>
              <a:gdLst>
                <a:gd name="connsiteX0" fmla="*/ 6295 w 3934"/>
                <a:gd name="connsiteY0" fmla="*/ 0 h 0"/>
                <a:gd name="connsiteX1" fmla="*/ 3541 w 3934"/>
                <a:gd name="connsiteY1" fmla="*/ 0 h 0"/>
                <a:gd name="connsiteX2" fmla="*/ 0 w 3934"/>
                <a:gd name="connsiteY2" fmla="*/ 393 h 0"/>
                <a:gd name="connsiteX3" fmla="*/ 0 w 3934"/>
                <a:gd name="connsiteY3" fmla="*/ 787 h 0"/>
                <a:gd name="connsiteX4" fmla="*/ 3148 w 3934"/>
                <a:gd name="connsiteY4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0"/>
                  </a:moveTo>
                  <a:lnTo>
                    <a:pt x="3541" y="0"/>
                  </a:lnTo>
                  <a:lnTo>
                    <a:pt x="0" y="393"/>
                  </a:lnTo>
                  <a:lnTo>
                    <a:pt x="0" y="787"/>
                  </a:lnTo>
                  <a:lnTo>
                    <a:pt x="314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29" name="Freeform: Shape 4323">
              <a:extLst>
                <a:ext uri="{FF2B5EF4-FFF2-40B4-BE49-F238E27FC236}">
                  <a16:creationId xmlns:a16="http://schemas.microsoft.com/office/drawing/2014/main" id="{6061D51B-B0C5-41F0-8557-F070D85B6E2D}"/>
                </a:ext>
              </a:extLst>
            </p:cNvPr>
            <p:cNvSpPr/>
            <p:nvPr/>
          </p:nvSpPr>
          <p:spPr>
            <a:xfrm>
              <a:off x="7233789" y="1122383"/>
              <a:ext cx="3934" cy="3934"/>
            </a:xfrm>
            <a:custGeom>
              <a:avLst/>
              <a:gdLst>
                <a:gd name="connsiteX0" fmla="*/ 3541 w 0"/>
                <a:gd name="connsiteY0" fmla="*/ 0 h 0"/>
                <a:gd name="connsiteX1" fmla="*/ 0 w 0"/>
                <a:gd name="connsiteY1" fmla="*/ 393 h 0"/>
                <a:gd name="connsiteX2" fmla="*/ 78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541" y="0"/>
                  </a:moveTo>
                  <a:lnTo>
                    <a:pt x="0" y="393"/>
                  </a:lnTo>
                  <a:lnTo>
                    <a:pt x="78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30" name="Freeform: Shape 4324">
              <a:extLst>
                <a:ext uri="{FF2B5EF4-FFF2-40B4-BE49-F238E27FC236}">
                  <a16:creationId xmlns:a16="http://schemas.microsoft.com/office/drawing/2014/main" id="{725D414A-70C6-445F-A668-A407D0850EB2}"/>
                </a:ext>
              </a:extLst>
            </p:cNvPr>
            <p:cNvSpPr/>
            <p:nvPr/>
          </p:nvSpPr>
          <p:spPr>
            <a:xfrm>
              <a:off x="7908515" y="1299819"/>
              <a:ext cx="3934" cy="3934"/>
            </a:xfrm>
            <a:custGeom>
              <a:avLst/>
              <a:gdLst>
                <a:gd name="connsiteX0" fmla="*/ 6295 w 3934"/>
                <a:gd name="connsiteY0" fmla="*/ 1967 h 0"/>
                <a:gd name="connsiteX1" fmla="*/ 3148 w 3934"/>
                <a:gd name="connsiteY1" fmla="*/ 787 h 0"/>
                <a:gd name="connsiteX2" fmla="*/ 0 w 3934"/>
                <a:gd name="connsiteY2" fmla="*/ 0 h 0"/>
                <a:gd name="connsiteX3" fmla="*/ 3148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5" y="1967"/>
                  </a:moveTo>
                  <a:lnTo>
                    <a:pt x="3148" y="787"/>
                  </a:lnTo>
                  <a:lnTo>
                    <a:pt x="0" y="0"/>
                  </a:lnTo>
                  <a:lnTo>
                    <a:pt x="3148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31" name="Freeform: Shape 4325">
              <a:extLst>
                <a:ext uri="{FF2B5EF4-FFF2-40B4-BE49-F238E27FC236}">
                  <a16:creationId xmlns:a16="http://schemas.microsoft.com/office/drawing/2014/main" id="{5B8BBF87-972A-4E9C-931D-8567EFC983B6}"/>
                </a:ext>
              </a:extLst>
            </p:cNvPr>
            <p:cNvSpPr/>
            <p:nvPr/>
          </p:nvSpPr>
          <p:spPr>
            <a:xfrm>
              <a:off x="7322704" y="1248280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393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393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32" name="Freeform: Shape 4326">
              <a:extLst>
                <a:ext uri="{FF2B5EF4-FFF2-40B4-BE49-F238E27FC236}">
                  <a16:creationId xmlns:a16="http://schemas.microsoft.com/office/drawing/2014/main" id="{25F698E5-11C1-470A-9D54-4D742BDF2320}"/>
                </a:ext>
              </a:extLst>
            </p:cNvPr>
            <p:cNvSpPr/>
            <p:nvPr/>
          </p:nvSpPr>
          <p:spPr>
            <a:xfrm>
              <a:off x="8825593" y="1329326"/>
              <a:ext cx="3934" cy="3934"/>
            </a:xfrm>
            <a:custGeom>
              <a:avLst/>
              <a:gdLst>
                <a:gd name="connsiteX0" fmla="*/ 5508 w 3934"/>
                <a:gd name="connsiteY0" fmla="*/ 1180 h 0"/>
                <a:gd name="connsiteX1" fmla="*/ 2754 w 3934"/>
                <a:gd name="connsiteY1" fmla="*/ 0 h 0"/>
                <a:gd name="connsiteX2" fmla="*/ 0 w 3934"/>
                <a:gd name="connsiteY2" fmla="*/ 0 h 0"/>
                <a:gd name="connsiteX3" fmla="*/ 3147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508" y="1180"/>
                  </a:moveTo>
                  <a:lnTo>
                    <a:pt x="2754" y="0"/>
                  </a:lnTo>
                  <a:lnTo>
                    <a:pt x="0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33" name="Freeform: Shape 4327">
              <a:extLst>
                <a:ext uri="{FF2B5EF4-FFF2-40B4-BE49-F238E27FC236}">
                  <a16:creationId xmlns:a16="http://schemas.microsoft.com/office/drawing/2014/main" id="{AA85281C-81ED-4897-972B-D4A0D84A027F}"/>
                </a:ext>
              </a:extLst>
            </p:cNvPr>
            <p:cNvSpPr/>
            <p:nvPr/>
          </p:nvSpPr>
          <p:spPr>
            <a:xfrm>
              <a:off x="6593684" y="1408798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967 w 0"/>
                <a:gd name="connsiteY1" fmla="*/ 1180 h 0"/>
                <a:gd name="connsiteX2" fmla="*/ 3148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967" y="1180"/>
                  </a:lnTo>
                  <a:lnTo>
                    <a:pt x="314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34" name="Freeform: Shape 4328">
              <a:extLst>
                <a:ext uri="{FF2B5EF4-FFF2-40B4-BE49-F238E27FC236}">
                  <a16:creationId xmlns:a16="http://schemas.microsoft.com/office/drawing/2014/main" id="{132EBAF7-19B4-4C06-9773-001F4D0FD636}"/>
                </a:ext>
              </a:extLst>
            </p:cNvPr>
            <p:cNvSpPr/>
            <p:nvPr/>
          </p:nvSpPr>
          <p:spPr>
            <a:xfrm>
              <a:off x="6934392" y="1554366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2754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2754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35" name="Freeform: Shape 4329">
              <a:extLst>
                <a:ext uri="{FF2B5EF4-FFF2-40B4-BE49-F238E27FC236}">
                  <a16:creationId xmlns:a16="http://schemas.microsoft.com/office/drawing/2014/main" id="{1BA45E25-6D6A-4E5E-8867-9899BFAD9C66}"/>
                </a:ext>
              </a:extLst>
            </p:cNvPr>
            <p:cNvSpPr/>
            <p:nvPr/>
          </p:nvSpPr>
          <p:spPr>
            <a:xfrm>
              <a:off x="7029601" y="156302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93 w 0"/>
                <a:gd name="connsiteY1" fmla="*/ 393 h 0"/>
                <a:gd name="connsiteX2" fmla="*/ 393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93" y="393"/>
                  </a:lnTo>
                  <a:lnTo>
                    <a:pt x="393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36" name="Freeform: Shape 4330">
              <a:extLst>
                <a:ext uri="{FF2B5EF4-FFF2-40B4-BE49-F238E27FC236}">
                  <a16:creationId xmlns:a16="http://schemas.microsoft.com/office/drawing/2014/main" id="{7ACD8C5A-8B31-4FAD-987A-1E5C75089F7F}"/>
                </a:ext>
              </a:extLst>
            </p:cNvPr>
            <p:cNvSpPr/>
            <p:nvPr/>
          </p:nvSpPr>
          <p:spPr>
            <a:xfrm>
              <a:off x="7342375" y="1289196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393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393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37" name="Freeform: Shape 4331">
              <a:extLst>
                <a:ext uri="{FF2B5EF4-FFF2-40B4-BE49-F238E27FC236}">
                  <a16:creationId xmlns:a16="http://schemas.microsoft.com/office/drawing/2014/main" id="{2DBFECC9-7554-4209-8C10-F8A8E21DDD8E}"/>
                </a:ext>
              </a:extLst>
            </p:cNvPr>
            <p:cNvSpPr/>
            <p:nvPr/>
          </p:nvSpPr>
          <p:spPr>
            <a:xfrm>
              <a:off x="7330179" y="1244739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94 w 0"/>
                <a:gd name="connsiteY1" fmla="*/ 787 h 0"/>
                <a:gd name="connsiteX2" fmla="*/ 3541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94" y="787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38" name="Freeform: Shape 4332">
              <a:extLst>
                <a:ext uri="{FF2B5EF4-FFF2-40B4-BE49-F238E27FC236}">
                  <a16:creationId xmlns:a16="http://schemas.microsoft.com/office/drawing/2014/main" id="{87F33614-5B5E-4034-9319-D517CC297BA7}"/>
                </a:ext>
              </a:extLst>
            </p:cNvPr>
            <p:cNvSpPr/>
            <p:nvPr/>
          </p:nvSpPr>
          <p:spPr>
            <a:xfrm>
              <a:off x="4967259" y="1304146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393 h 0"/>
                <a:gd name="connsiteX2" fmla="*/ 3148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393"/>
                  </a:lnTo>
                  <a:lnTo>
                    <a:pt x="3148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39" name="Freeform: Shape 4333">
              <a:extLst>
                <a:ext uri="{FF2B5EF4-FFF2-40B4-BE49-F238E27FC236}">
                  <a16:creationId xmlns:a16="http://schemas.microsoft.com/office/drawing/2014/main" id="{C1128DB8-0440-4FDA-9372-67C208ED00C7}"/>
                </a:ext>
              </a:extLst>
            </p:cNvPr>
            <p:cNvSpPr/>
            <p:nvPr/>
          </p:nvSpPr>
          <p:spPr>
            <a:xfrm>
              <a:off x="4975915" y="130532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18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40" name="Freeform: Shape 4334">
              <a:extLst>
                <a:ext uri="{FF2B5EF4-FFF2-40B4-BE49-F238E27FC236}">
                  <a16:creationId xmlns:a16="http://schemas.microsoft.com/office/drawing/2014/main" id="{457F3DF1-3827-43F2-A8F8-767EC11458F0}"/>
                </a:ext>
              </a:extLst>
            </p:cNvPr>
            <p:cNvSpPr/>
            <p:nvPr/>
          </p:nvSpPr>
          <p:spPr>
            <a:xfrm>
              <a:off x="1127024" y="2866442"/>
              <a:ext cx="3934" cy="3934"/>
            </a:xfrm>
            <a:custGeom>
              <a:avLst/>
              <a:gdLst>
                <a:gd name="connsiteX0" fmla="*/ 4721 w 3934"/>
                <a:gd name="connsiteY0" fmla="*/ 1180 h 3934"/>
                <a:gd name="connsiteX1" fmla="*/ 4721 w 3934"/>
                <a:gd name="connsiteY1" fmla="*/ 1180 h 3934"/>
                <a:gd name="connsiteX2" fmla="*/ 4721 w 3934"/>
                <a:gd name="connsiteY2" fmla="*/ 787 h 3934"/>
                <a:gd name="connsiteX3" fmla="*/ 4328 w 3934"/>
                <a:gd name="connsiteY3" fmla="*/ 787 h 3934"/>
                <a:gd name="connsiteX4" fmla="*/ 4328 w 3934"/>
                <a:gd name="connsiteY4" fmla="*/ 393 h 3934"/>
                <a:gd name="connsiteX5" fmla="*/ 3934 w 3934"/>
                <a:gd name="connsiteY5" fmla="*/ 393 h 3934"/>
                <a:gd name="connsiteX6" fmla="*/ 3934 w 3934"/>
                <a:gd name="connsiteY6" fmla="*/ 0 h 3934"/>
                <a:gd name="connsiteX7" fmla="*/ 3541 w 3934"/>
                <a:gd name="connsiteY7" fmla="*/ 0 h 3934"/>
                <a:gd name="connsiteX8" fmla="*/ 3541 w 3934"/>
                <a:gd name="connsiteY8" fmla="*/ 0 h 3934"/>
                <a:gd name="connsiteX9" fmla="*/ 1967 w 3934"/>
                <a:gd name="connsiteY9" fmla="*/ 0 h 3934"/>
                <a:gd name="connsiteX10" fmla="*/ 1574 w 3934"/>
                <a:gd name="connsiteY10" fmla="*/ 0 h 3934"/>
                <a:gd name="connsiteX11" fmla="*/ 1180 w 3934"/>
                <a:gd name="connsiteY11" fmla="*/ 0 h 3934"/>
                <a:gd name="connsiteX12" fmla="*/ 1180 w 3934"/>
                <a:gd name="connsiteY12" fmla="*/ 393 h 3934"/>
                <a:gd name="connsiteX13" fmla="*/ 787 w 3934"/>
                <a:gd name="connsiteY13" fmla="*/ 393 h 3934"/>
                <a:gd name="connsiteX14" fmla="*/ 787 w 3934"/>
                <a:gd name="connsiteY14" fmla="*/ 787 h 3934"/>
                <a:gd name="connsiteX15" fmla="*/ 393 w 3934"/>
                <a:gd name="connsiteY15" fmla="*/ 787 h 3934"/>
                <a:gd name="connsiteX16" fmla="*/ 393 w 3934"/>
                <a:gd name="connsiteY16" fmla="*/ 1180 h 3934"/>
                <a:gd name="connsiteX17" fmla="*/ 393 w 3934"/>
                <a:gd name="connsiteY17" fmla="*/ 1180 h 3934"/>
                <a:gd name="connsiteX18" fmla="*/ 393 w 3934"/>
                <a:gd name="connsiteY18" fmla="*/ 1574 h 3934"/>
                <a:gd name="connsiteX19" fmla="*/ 0 w 3934"/>
                <a:gd name="connsiteY19" fmla="*/ 1967 h 3934"/>
                <a:gd name="connsiteX20" fmla="*/ 0 w 3934"/>
                <a:gd name="connsiteY20" fmla="*/ 3147 h 3934"/>
                <a:gd name="connsiteX21" fmla="*/ 393 w 3934"/>
                <a:gd name="connsiteY21" fmla="*/ 3147 h 3934"/>
                <a:gd name="connsiteX22" fmla="*/ 393 w 3934"/>
                <a:gd name="connsiteY22" fmla="*/ 3934 h 3934"/>
                <a:gd name="connsiteX23" fmla="*/ 393 w 3934"/>
                <a:gd name="connsiteY23" fmla="*/ 3934 h 3934"/>
                <a:gd name="connsiteX24" fmla="*/ 393 w 3934"/>
                <a:gd name="connsiteY24" fmla="*/ 4328 h 3934"/>
                <a:gd name="connsiteX25" fmla="*/ 787 w 3934"/>
                <a:gd name="connsiteY25" fmla="*/ 4328 h 3934"/>
                <a:gd name="connsiteX26" fmla="*/ 787 w 3934"/>
                <a:gd name="connsiteY26" fmla="*/ 4328 h 3934"/>
                <a:gd name="connsiteX27" fmla="*/ 1180 w 3934"/>
                <a:gd name="connsiteY27" fmla="*/ 4328 h 3934"/>
                <a:gd name="connsiteX28" fmla="*/ 1180 w 3934"/>
                <a:gd name="connsiteY28" fmla="*/ 4721 h 3934"/>
                <a:gd name="connsiteX29" fmla="*/ 1574 w 3934"/>
                <a:gd name="connsiteY29" fmla="*/ 4721 h 3934"/>
                <a:gd name="connsiteX30" fmla="*/ 1574 w 3934"/>
                <a:gd name="connsiteY30" fmla="*/ 5115 h 3934"/>
                <a:gd name="connsiteX31" fmla="*/ 3541 w 3934"/>
                <a:gd name="connsiteY31" fmla="*/ 5115 h 3934"/>
                <a:gd name="connsiteX32" fmla="*/ 3541 w 3934"/>
                <a:gd name="connsiteY32" fmla="*/ 4721 h 3934"/>
                <a:gd name="connsiteX33" fmla="*/ 3934 w 3934"/>
                <a:gd name="connsiteY33" fmla="*/ 4721 h 3934"/>
                <a:gd name="connsiteX34" fmla="*/ 3934 w 3934"/>
                <a:gd name="connsiteY34" fmla="*/ 4328 h 3934"/>
                <a:gd name="connsiteX35" fmla="*/ 4328 w 3934"/>
                <a:gd name="connsiteY35" fmla="*/ 4328 h 3934"/>
                <a:gd name="connsiteX36" fmla="*/ 4721 w 3934"/>
                <a:gd name="connsiteY36" fmla="*/ 4328 h 3934"/>
                <a:gd name="connsiteX37" fmla="*/ 4721 w 3934"/>
                <a:gd name="connsiteY37" fmla="*/ 3934 h 3934"/>
                <a:gd name="connsiteX38" fmla="*/ 4721 w 3934"/>
                <a:gd name="connsiteY38" fmla="*/ 3934 h 3934"/>
                <a:gd name="connsiteX39" fmla="*/ 4721 w 3934"/>
                <a:gd name="connsiteY39" fmla="*/ 3147 h 3934"/>
                <a:gd name="connsiteX40" fmla="*/ 5115 w 3934"/>
                <a:gd name="connsiteY40" fmla="*/ 3147 h 3934"/>
                <a:gd name="connsiteX41" fmla="*/ 5115 w 3934"/>
                <a:gd name="connsiteY41" fmla="*/ 2754 h 3934"/>
                <a:gd name="connsiteX42" fmla="*/ 5115 w 3934"/>
                <a:gd name="connsiteY42" fmla="*/ 1574 h 3934"/>
                <a:gd name="connsiteX43" fmla="*/ 4721 w 3934"/>
                <a:gd name="connsiteY43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4721" y="1180"/>
                  </a:moveTo>
                  <a:lnTo>
                    <a:pt x="4721" y="1180"/>
                  </a:lnTo>
                  <a:lnTo>
                    <a:pt x="4721" y="787"/>
                  </a:lnTo>
                  <a:lnTo>
                    <a:pt x="4328" y="787"/>
                  </a:lnTo>
                  <a:lnTo>
                    <a:pt x="4328" y="393"/>
                  </a:lnTo>
                  <a:lnTo>
                    <a:pt x="3934" y="393"/>
                  </a:lnTo>
                  <a:lnTo>
                    <a:pt x="3934" y="0"/>
                  </a:lnTo>
                  <a:lnTo>
                    <a:pt x="3541" y="0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574" y="0"/>
                  </a:lnTo>
                  <a:lnTo>
                    <a:pt x="1180" y="0"/>
                  </a:lnTo>
                  <a:lnTo>
                    <a:pt x="1180" y="393"/>
                  </a:lnTo>
                  <a:lnTo>
                    <a:pt x="787" y="393"/>
                  </a:lnTo>
                  <a:lnTo>
                    <a:pt x="787" y="787"/>
                  </a:lnTo>
                  <a:lnTo>
                    <a:pt x="393" y="787"/>
                  </a:lnTo>
                  <a:lnTo>
                    <a:pt x="393" y="1180"/>
                  </a:lnTo>
                  <a:lnTo>
                    <a:pt x="393" y="1180"/>
                  </a:lnTo>
                  <a:lnTo>
                    <a:pt x="393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393" y="3147"/>
                  </a:lnTo>
                  <a:lnTo>
                    <a:pt x="393" y="3934"/>
                  </a:lnTo>
                  <a:lnTo>
                    <a:pt x="393" y="3934"/>
                  </a:lnTo>
                  <a:lnTo>
                    <a:pt x="393" y="4328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574" y="4721"/>
                  </a:lnTo>
                  <a:lnTo>
                    <a:pt x="1574" y="5115"/>
                  </a:lnTo>
                  <a:lnTo>
                    <a:pt x="3541" y="5115"/>
                  </a:lnTo>
                  <a:lnTo>
                    <a:pt x="3541" y="4721"/>
                  </a:lnTo>
                  <a:lnTo>
                    <a:pt x="3934" y="4721"/>
                  </a:lnTo>
                  <a:lnTo>
                    <a:pt x="3934" y="4328"/>
                  </a:lnTo>
                  <a:lnTo>
                    <a:pt x="4328" y="4328"/>
                  </a:lnTo>
                  <a:lnTo>
                    <a:pt x="4721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4721" y="3147"/>
                  </a:lnTo>
                  <a:lnTo>
                    <a:pt x="5115" y="3147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4721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41" name="Freeform: Shape 4335">
              <a:extLst>
                <a:ext uri="{FF2B5EF4-FFF2-40B4-BE49-F238E27FC236}">
                  <a16:creationId xmlns:a16="http://schemas.microsoft.com/office/drawing/2014/main" id="{D5017D25-CCC4-4958-947D-C37E95355607}"/>
                </a:ext>
              </a:extLst>
            </p:cNvPr>
            <p:cNvSpPr/>
            <p:nvPr/>
          </p:nvSpPr>
          <p:spPr>
            <a:xfrm>
              <a:off x="1162826" y="2908932"/>
              <a:ext cx="3934" cy="3934"/>
            </a:xfrm>
            <a:custGeom>
              <a:avLst/>
              <a:gdLst>
                <a:gd name="connsiteX0" fmla="*/ 5115 w 3934"/>
                <a:gd name="connsiteY0" fmla="*/ 1180 h 3934"/>
                <a:gd name="connsiteX1" fmla="*/ 4721 w 3934"/>
                <a:gd name="connsiteY1" fmla="*/ 1180 h 3934"/>
                <a:gd name="connsiteX2" fmla="*/ 4721 w 3934"/>
                <a:gd name="connsiteY2" fmla="*/ 787 h 3934"/>
                <a:gd name="connsiteX3" fmla="*/ 4328 w 3934"/>
                <a:gd name="connsiteY3" fmla="*/ 787 h 3934"/>
                <a:gd name="connsiteX4" fmla="*/ 4328 w 3934"/>
                <a:gd name="connsiteY4" fmla="*/ 393 h 3934"/>
                <a:gd name="connsiteX5" fmla="*/ 4328 w 3934"/>
                <a:gd name="connsiteY5" fmla="*/ 393 h 3934"/>
                <a:gd name="connsiteX6" fmla="*/ 4328 w 3934"/>
                <a:gd name="connsiteY6" fmla="*/ 0 h 3934"/>
                <a:gd name="connsiteX7" fmla="*/ 3541 w 3934"/>
                <a:gd name="connsiteY7" fmla="*/ 0 h 3934"/>
                <a:gd name="connsiteX8" fmla="*/ 3541 w 3934"/>
                <a:gd name="connsiteY8" fmla="*/ 0 h 3934"/>
                <a:gd name="connsiteX9" fmla="*/ 1967 w 3934"/>
                <a:gd name="connsiteY9" fmla="*/ 0 h 3934"/>
                <a:gd name="connsiteX10" fmla="*/ 1967 w 3934"/>
                <a:gd name="connsiteY10" fmla="*/ 0 h 3934"/>
                <a:gd name="connsiteX11" fmla="*/ 1180 w 3934"/>
                <a:gd name="connsiteY11" fmla="*/ 0 h 3934"/>
                <a:gd name="connsiteX12" fmla="*/ 1180 w 3934"/>
                <a:gd name="connsiteY12" fmla="*/ 393 h 3934"/>
                <a:gd name="connsiteX13" fmla="*/ 1180 w 3934"/>
                <a:gd name="connsiteY13" fmla="*/ 393 h 3934"/>
                <a:gd name="connsiteX14" fmla="*/ 1180 w 3934"/>
                <a:gd name="connsiteY14" fmla="*/ 787 h 3934"/>
                <a:gd name="connsiteX15" fmla="*/ 787 w 3934"/>
                <a:gd name="connsiteY15" fmla="*/ 787 h 3934"/>
                <a:gd name="connsiteX16" fmla="*/ 787 w 3934"/>
                <a:gd name="connsiteY16" fmla="*/ 1180 h 3934"/>
                <a:gd name="connsiteX17" fmla="*/ 393 w 3934"/>
                <a:gd name="connsiteY17" fmla="*/ 1180 h 3934"/>
                <a:gd name="connsiteX18" fmla="*/ 393 w 3934"/>
                <a:gd name="connsiteY18" fmla="*/ 1574 h 3934"/>
                <a:gd name="connsiteX19" fmla="*/ 0 w 3934"/>
                <a:gd name="connsiteY19" fmla="*/ 1967 h 3934"/>
                <a:gd name="connsiteX20" fmla="*/ 0 w 3934"/>
                <a:gd name="connsiteY20" fmla="*/ 3147 h 3934"/>
                <a:gd name="connsiteX21" fmla="*/ 393 w 3934"/>
                <a:gd name="connsiteY21" fmla="*/ 3147 h 3934"/>
                <a:gd name="connsiteX22" fmla="*/ 393 w 3934"/>
                <a:gd name="connsiteY22" fmla="*/ 3934 h 3934"/>
                <a:gd name="connsiteX23" fmla="*/ 787 w 3934"/>
                <a:gd name="connsiteY23" fmla="*/ 3934 h 3934"/>
                <a:gd name="connsiteX24" fmla="*/ 787 w 3934"/>
                <a:gd name="connsiteY24" fmla="*/ 4328 h 3934"/>
                <a:gd name="connsiteX25" fmla="*/ 1180 w 3934"/>
                <a:gd name="connsiteY25" fmla="*/ 4328 h 3934"/>
                <a:gd name="connsiteX26" fmla="*/ 1180 w 3934"/>
                <a:gd name="connsiteY26" fmla="*/ 4328 h 3934"/>
                <a:gd name="connsiteX27" fmla="*/ 1180 w 3934"/>
                <a:gd name="connsiteY27" fmla="*/ 4328 h 3934"/>
                <a:gd name="connsiteX28" fmla="*/ 1180 w 3934"/>
                <a:gd name="connsiteY28" fmla="*/ 4721 h 3934"/>
                <a:gd name="connsiteX29" fmla="*/ 1967 w 3934"/>
                <a:gd name="connsiteY29" fmla="*/ 4721 h 3934"/>
                <a:gd name="connsiteX30" fmla="*/ 1967 w 3934"/>
                <a:gd name="connsiteY30" fmla="*/ 5114 h 3934"/>
                <a:gd name="connsiteX31" fmla="*/ 3541 w 3934"/>
                <a:gd name="connsiteY31" fmla="*/ 5114 h 3934"/>
                <a:gd name="connsiteX32" fmla="*/ 3541 w 3934"/>
                <a:gd name="connsiteY32" fmla="*/ 4721 h 3934"/>
                <a:gd name="connsiteX33" fmla="*/ 4328 w 3934"/>
                <a:gd name="connsiteY33" fmla="*/ 4721 h 3934"/>
                <a:gd name="connsiteX34" fmla="*/ 4328 w 3934"/>
                <a:gd name="connsiteY34" fmla="*/ 4328 h 3934"/>
                <a:gd name="connsiteX35" fmla="*/ 4328 w 3934"/>
                <a:gd name="connsiteY35" fmla="*/ 4328 h 3934"/>
                <a:gd name="connsiteX36" fmla="*/ 4721 w 3934"/>
                <a:gd name="connsiteY36" fmla="*/ 4328 h 3934"/>
                <a:gd name="connsiteX37" fmla="*/ 4721 w 3934"/>
                <a:gd name="connsiteY37" fmla="*/ 3934 h 3934"/>
                <a:gd name="connsiteX38" fmla="*/ 5115 w 3934"/>
                <a:gd name="connsiteY38" fmla="*/ 3934 h 3934"/>
                <a:gd name="connsiteX39" fmla="*/ 5115 w 3934"/>
                <a:gd name="connsiteY39" fmla="*/ 3147 h 3934"/>
                <a:gd name="connsiteX40" fmla="*/ 5115 w 3934"/>
                <a:gd name="connsiteY40" fmla="*/ 3147 h 3934"/>
                <a:gd name="connsiteX41" fmla="*/ 5115 w 3934"/>
                <a:gd name="connsiteY41" fmla="*/ 2754 h 3934"/>
                <a:gd name="connsiteX42" fmla="*/ 5115 w 3934"/>
                <a:gd name="connsiteY42" fmla="*/ 1574 h 3934"/>
                <a:gd name="connsiteX43" fmla="*/ 5115 w 3934"/>
                <a:gd name="connsiteY43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5115" y="1180"/>
                  </a:moveTo>
                  <a:lnTo>
                    <a:pt x="4721" y="1180"/>
                  </a:lnTo>
                  <a:lnTo>
                    <a:pt x="4721" y="787"/>
                  </a:lnTo>
                  <a:lnTo>
                    <a:pt x="4328" y="787"/>
                  </a:lnTo>
                  <a:lnTo>
                    <a:pt x="4328" y="393"/>
                  </a:lnTo>
                  <a:lnTo>
                    <a:pt x="4328" y="393"/>
                  </a:lnTo>
                  <a:lnTo>
                    <a:pt x="4328" y="0"/>
                  </a:lnTo>
                  <a:lnTo>
                    <a:pt x="3541" y="0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967" y="0"/>
                  </a:lnTo>
                  <a:lnTo>
                    <a:pt x="1180" y="0"/>
                  </a:lnTo>
                  <a:lnTo>
                    <a:pt x="1180" y="393"/>
                  </a:lnTo>
                  <a:lnTo>
                    <a:pt x="1180" y="393"/>
                  </a:lnTo>
                  <a:lnTo>
                    <a:pt x="1180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393" y="3147"/>
                  </a:lnTo>
                  <a:lnTo>
                    <a:pt x="393" y="3934"/>
                  </a:lnTo>
                  <a:lnTo>
                    <a:pt x="787" y="3934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967" y="4721"/>
                  </a:lnTo>
                  <a:lnTo>
                    <a:pt x="1967" y="5114"/>
                  </a:lnTo>
                  <a:lnTo>
                    <a:pt x="3541" y="5114"/>
                  </a:lnTo>
                  <a:lnTo>
                    <a:pt x="3541" y="4721"/>
                  </a:lnTo>
                  <a:lnTo>
                    <a:pt x="4328" y="4721"/>
                  </a:lnTo>
                  <a:lnTo>
                    <a:pt x="4328" y="4328"/>
                  </a:lnTo>
                  <a:lnTo>
                    <a:pt x="4328" y="4328"/>
                  </a:lnTo>
                  <a:lnTo>
                    <a:pt x="4721" y="4328"/>
                  </a:lnTo>
                  <a:lnTo>
                    <a:pt x="4721" y="3934"/>
                  </a:lnTo>
                  <a:lnTo>
                    <a:pt x="5115" y="3934"/>
                  </a:lnTo>
                  <a:lnTo>
                    <a:pt x="5115" y="3147"/>
                  </a:lnTo>
                  <a:lnTo>
                    <a:pt x="5115" y="3147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5115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42" name="Freeform: Shape 4336">
              <a:extLst>
                <a:ext uri="{FF2B5EF4-FFF2-40B4-BE49-F238E27FC236}">
                  <a16:creationId xmlns:a16="http://schemas.microsoft.com/office/drawing/2014/main" id="{56101ABC-08BE-4BC5-B866-47AB75A5DFCF}"/>
                </a:ext>
              </a:extLst>
            </p:cNvPr>
            <p:cNvSpPr/>
            <p:nvPr/>
          </p:nvSpPr>
          <p:spPr>
            <a:xfrm>
              <a:off x="1206496" y="2914440"/>
              <a:ext cx="3934" cy="3934"/>
            </a:xfrm>
            <a:custGeom>
              <a:avLst/>
              <a:gdLst>
                <a:gd name="connsiteX0" fmla="*/ 5115 w 3934"/>
                <a:gd name="connsiteY0" fmla="*/ 1180 h 3934"/>
                <a:gd name="connsiteX1" fmla="*/ 4721 w 3934"/>
                <a:gd name="connsiteY1" fmla="*/ 1180 h 3934"/>
                <a:gd name="connsiteX2" fmla="*/ 4721 w 3934"/>
                <a:gd name="connsiteY2" fmla="*/ 787 h 3934"/>
                <a:gd name="connsiteX3" fmla="*/ 4328 w 3934"/>
                <a:gd name="connsiteY3" fmla="*/ 787 h 3934"/>
                <a:gd name="connsiteX4" fmla="*/ 4328 w 3934"/>
                <a:gd name="connsiteY4" fmla="*/ 787 h 3934"/>
                <a:gd name="connsiteX5" fmla="*/ 3934 w 3934"/>
                <a:gd name="connsiteY5" fmla="*/ 787 h 3934"/>
                <a:gd name="connsiteX6" fmla="*/ 3934 w 3934"/>
                <a:gd name="connsiteY6" fmla="*/ 393 h 3934"/>
                <a:gd name="connsiteX7" fmla="*/ 3541 w 3934"/>
                <a:gd name="connsiteY7" fmla="*/ 393 h 3934"/>
                <a:gd name="connsiteX8" fmla="*/ 3541 w 3934"/>
                <a:gd name="connsiteY8" fmla="*/ 0 h 3934"/>
                <a:gd name="connsiteX9" fmla="*/ 1967 w 3934"/>
                <a:gd name="connsiteY9" fmla="*/ 0 h 3934"/>
                <a:gd name="connsiteX10" fmla="*/ 1967 w 3934"/>
                <a:gd name="connsiteY10" fmla="*/ 393 h 3934"/>
                <a:gd name="connsiteX11" fmla="*/ 1180 w 3934"/>
                <a:gd name="connsiteY11" fmla="*/ 393 h 3934"/>
                <a:gd name="connsiteX12" fmla="*/ 1180 w 3934"/>
                <a:gd name="connsiteY12" fmla="*/ 787 h 3934"/>
                <a:gd name="connsiteX13" fmla="*/ 787 w 3934"/>
                <a:gd name="connsiteY13" fmla="*/ 787 h 3934"/>
                <a:gd name="connsiteX14" fmla="*/ 787 w 3934"/>
                <a:gd name="connsiteY14" fmla="*/ 787 h 3934"/>
                <a:gd name="connsiteX15" fmla="*/ 787 w 3934"/>
                <a:gd name="connsiteY15" fmla="*/ 787 h 3934"/>
                <a:gd name="connsiteX16" fmla="*/ 787 w 3934"/>
                <a:gd name="connsiteY16" fmla="*/ 1180 h 3934"/>
                <a:gd name="connsiteX17" fmla="*/ 393 w 3934"/>
                <a:gd name="connsiteY17" fmla="*/ 1180 h 3934"/>
                <a:gd name="connsiteX18" fmla="*/ 393 w 3934"/>
                <a:gd name="connsiteY18" fmla="*/ 1574 h 3934"/>
                <a:gd name="connsiteX19" fmla="*/ 0 w 3934"/>
                <a:gd name="connsiteY19" fmla="*/ 1967 h 3934"/>
                <a:gd name="connsiteX20" fmla="*/ 0 w 3934"/>
                <a:gd name="connsiteY20" fmla="*/ 3541 h 3934"/>
                <a:gd name="connsiteX21" fmla="*/ 393 w 3934"/>
                <a:gd name="connsiteY21" fmla="*/ 3541 h 3934"/>
                <a:gd name="connsiteX22" fmla="*/ 393 w 3934"/>
                <a:gd name="connsiteY22" fmla="*/ 3934 h 3934"/>
                <a:gd name="connsiteX23" fmla="*/ 787 w 3934"/>
                <a:gd name="connsiteY23" fmla="*/ 3934 h 3934"/>
                <a:gd name="connsiteX24" fmla="*/ 787 w 3934"/>
                <a:gd name="connsiteY24" fmla="*/ 4328 h 3934"/>
                <a:gd name="connsiteX25" fmla="*/ 787 w 3934"/>
                <a:gd name="connsiteY25" fmla="*/ 4328 h 3934"/>
                <a:gd name="connsiteX26" fmla="*/ 787 w 3934"/>
                <a:gd name="connsiteY26" fmla="*/ 4721 h 3934"/>
                <a:gd name="connsiteX27" fmla="*/ 1180 w 3934"/>
                <a:gd name="connsiteY27" fmla="*/ 4721 h 3934"/>
                <a:gd name="connsiteX28" fmla="*/ 1180 w 3934"/>
                <a:gd name="connsiteY28" fmla="*/ 4721 h 3934"/>
                <a:gd name="connsiteX29" fmla="*/ 1967 w 3934"/>
                <a:gd name="connsiteY29" fmla="*/ 4721 h 3934"/>
                <a:gd name="connsiteX30" fmla="*/ 1967 w 3934"/>
                <a:gd name="connsiteY30" fmla="*/ 5114 h 3934"/>
                <a:gd name="connsiteX31" fmla="*/ 3541 w 3934"/>
                <a:gd name="connsiteY31" fmla="*/ 5114 h 3934"/>
                <a:gd name="connsiteX32" fmla="*/ 3541 w 3934"/>
                <a:gd name="connsiteY32" fmla="*/ 4721 h 3934"/>
                <a:gd name="connsiteX33" fmla="*/ 3934 w 3934"/>
                <a:gd name="connsiteY33" fmla="*/ 4721 h 3934"/>
                <a:gd name="connsiteX34" fmla="*/ 3934 w 3934"/>
                <a:gd name="connsiteY34" fmla="*/ 4721 h 3934"/>
                <a:gd name="connsiteX35" fmla="*/ 4328 w 3934"/>
                <a:gd name="connsiteY35" fmla="*/ 4721 h 3934"/>
                <a:gd name="connsiteX36" fmla="*/ 4721 w 3934"/>
                <a:gd name="connsiteY36" fmla="*/ 4328 h 3934"/>
                <a:gd name="connsiteX37" fmla="*/ 4721 w 3934"/>
                <a:gd name="connsiteY37" fmla="*/ 3934 h 3934"/>
                <a:gd name="connsiteX38" fmla="*/ 5115 w 3934"/>
                <a:gd name="connsiteY38" fmla="*/ 3934 h 3934"/>
                <a:gd name="connsiteX39" fmla="*/ 5115 w 3934"/>
                <a:gd name="connsiteY39" fmla="*/ 3541 h 3934"/>
                <a:gd name="connsiteX40" fmla="*/ 5115 w 3934"/>
                <a:gd name="connsiteY40" fmla="*/ 3541 h 3934"/>
                <a:gd name="connsiteX41" fmla="*/ 5115 w 3934"/>
                <a:gd name="connsiteY41" fmla="*/ 2754 h 3934"/>
                <a:gd name="connsiteX42" fmla="*/ 5115 w 3934"/>
                <a:gd name="connsiteY42" fmla="*/ 1574 h 3934"/>
                <a:gd name="connsiteX43" fmla="*/ 5115 w 3934"/>
                <a:gd name="connsiteY43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5115" y="1180"/>
                  </a:moveTo>
                  <a:lnTo>
                    <a:pt x="4721" y="1180"/>
                  </a:lnTo>
                  <a:lnTo>
                    <a:pt x="4721" y="787"/>
                  </a:lnTo>
                  <a:lnTo>
                    <a:pt x="4328" y="787"/>
                  </a:lnTo>
                  <a:lnTo>
                    <a:pt x="4328" y="787"/>
                  </a:lnTo>
                  <a:lnTo>
                    <a:pt x="3934" y="787"/>
                  </a:lnTo>
                  <a:lnTo>
                    <a:pt x="3934" y="393"/>
                  </a:lnTo>
                  <a:lnTo>
                    <a:pt x="3541" y="393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967" y="393"/>
                  </a:lnTo>
                  <a:lnTo>
                    <a:pt x="1180" y="393"/>
                  </a:lnTo>
                  <a:lnTo>
                    <a:pt x="1180" y="787"/>
                  </a:lnTo>
                  <a:lnTo>
                    <a:pt x="787" y="787"/>
                  </a:lnTo>
                  <a:lnTo>
                    <a:pt x="787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574"/>
                  </a:lnTo>
                  <a:lnTo>
                    <a:pt x="0" y="1967"/>
                  </a:lnTo>
                  <a:lnTo>
                    <a:pt x="0" y="3541"/>
                  </a:lnTo>
                  <a:lnTo>
                    <a:pt x="393" y="3541"/>
                  </a:lnTo>
                  <a:lnTo>
                    <a:pt x="393" y="3934"/>
                  </a:lnTo>
                  <a:lnTo>
                    <a:pt x="787" y="3934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787" y="4721"/>
                  </a:lnTo>
                  <a:lnTo>
                    <a:pt x="1180" y="4721"/>
                  </a:lnTo>
                  <a:lnTo>
                    <a:pt x="1180" y="4721"/>
                  </a:lnTo>
                  <a:lnTo>
                    <a:pt x="1967" y="4721"/>
                  </a:lnTo>
                  <a:lnTo>
                    <a:pt x="1967" y="5114"/>
                  </a:lnTo>
                  <a:lnTo>
                    <a:pt x="3541" y="5114"/>
                  </a:lnTo>
                  <a:lnTo>
                    <a:pt x="3541" y="4721"/>
                  </a:lnTo>
                  <a:lnTo>
                    <a:pt x="3934" y="4721"/>
                  </a:lnTo>
                  <a:lnTo>
                    <a:pt x="3934" y="4721"/>
                  </a:lnTo>
                  <a:lnTo>
                    <a:pt x="4328" y="4721"/>
                  </a:lnTo>
                  <a:lnTo>
                    <a:pt x="4721" y="4328"/>
                  </a:lnTo>
                  <a:lnTo>
                    <a:pt x="4721" y="3934"/>
                  </a:lnTo>
                  <a:lnTo>
                    <a:pt x="5115" y="3934"/>
                  </a:lnTo>
                  <a:lnTo>
                    <a:pt x="5115" y="3541"/>
                  </a:lnTo>
                  <a:lnTo>
                    <a:pt x="5115" y="3541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5115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43" name="Freeform: Shape 4337">
              <a:extLst>
                <a:ext uri="{FF2B5EF4-FFF2-40B4-BE49-F238E27FC236}">
                  <a16:creationId xmlns:a16="http://schemas.microsoft.com/office/drawing/2014/main" id="{0DE39E9A-384C-4E6B-B1C1-295834CB8BE0}"/>
                </a:ext>
              </a:extLst>
            </p:cNvPr>
            <p:cNvSpPr/>
            <p:nvPr/>
          </p:nvSpPr>
          <p:spPr>
            <a:xfrm>
              <a:off x="1282427" y="2931358"/>
              <a:ext cx="3934" cy="3934"/>
            </a:xfrm>
            <a:custGeom>
              <a:avLst/>
              <a:gdLst>
                <a:gd name="connsiteX0" fmla="*/ 4721 w 3934"/>
                <a:gd name="connsiteY0" fmla="*/ 787 h 3934"/>
                <a:gd name="connsiteX1" fmla="*/ 4328 w 3934"/>
                <a:gd name="connsiteY1" fmla="*/ 787 h 3934"/>
                <a:gd name="connsiteX2" fmla="*/ 4328 w 3934"/>
                <a:gd name="connsiteY2" fmla="*/ 787 h 3934"/>
                <a:gd name="connsiteX3" fmla="*/ 3934 w 3934"/>
                <a:gd name="connsiteY3" fmla="*/ 787 h 3934"/>
                <a:gd name="connsiteX4" fmla="*/ 3934 w 3934"/>
                <a:gd name="connsiteY4" fmla="*/ 393 h 3934"/>
                <a:gd name="connsiteX5" fmla="*/ 3934 w 3934"/>
                <a:gd name="connsiteY5" fmla="*/ 393 h 3934"/>
                <a:gd name="connsiteX6" fmla="*/ 3934 w 3934"/>
                <a:gd name="connsiteY6" fmla="*/ 0 h 3934"/>
                <a:gd name="connsiteX7" fmla="*/ 3147 w 3934"/>
                <a:gd name="connsiteY7" fmla="*/ 0 h 3934"/>
                <a:gd name="connsiteX8" fmla="*/ 3147 w 3934"/>
                <a:gd name="connsiteY8" fmla="*/ 0 h 3934"/>
                <a:gd name="connsiteX9" fmla="*/ 1967 w 3934"/>
                <a:gd name="connsiteY9" fmla="*/ 0 h 3934"/>
                <a:gd name="connsiteX10" fmla="*/ 1574 w 3934"/>
                <a:gd name="connsiteY10" fmla="*/ 0 h 3934"/>
                <a:gd name="connsiteX11" fmla="*/ 787 w 3934"/>
                <a:gd name="connsiteY11" fmla="*/ 0 h 3934"/>
                <a:gd name="connsiteX12" fmla="*/ 787 w 3934"/>
                <a:gd name="connsiteY12" fmla="*/ 393 h 3934"/>
                <a:gd name="connsiteX13" fmla="*/ 787 w 3934"/>
                <a:gd name="connsiteY13" fmla="*/ 393 h 3934"/>
                <a:gd name="connsiteX14" fmla="*/ 787 w 3934"/>
                <a:gd name="connsiteY14" fmla="*/ 787 h 3934"/>
                <a:gd name="connsiteX15" fmla="*/ 393 w 3934"/>
                <a:gd name="connsiteY15" fmla="*/ 787 h 3934"/>
                <a:gd name="connsiteX16" fmla="*/ 393 w 3934"/>
                <a:gd name="connsiteY16" fmla="*/ 787 h 3934"/>
                <a:gd name="connsiteX17" fmla="*/ 0 w 3934"/>
                <a:gd name="connsiteY17" fmla="*/ 787 h 3934"/>
                <a:gd name="connsiteX18" fmla="*/ 0 w 3934"/>
                <a:gd name="connsiteY18" fmla="*/ 1574 h 3934"/>
                <a:gd name="connsiteX19" fmla="*/ 0 w 3934"/>
                <a:gd name="connsiteY19" fmla="*/ 1967 h 3934"/>
                <a:gd name="connsiteX20" fmla="*/ 0 w 3934"/>
                <a:gd name="connsiteY20" fmla="*/ 3147 h 3934"/>
                <a:gd name="connsiteX21" fmla="*/ 0 w 3934"/>
                <a:gd name="connsiteY21" fmla="*/ 3147 h 3934"/>
                <a:gd name="connsiteX22" fmla="*/ 0 w 3934"/>
                <a:gd name="connsiteY22" fmla="*/ 3934 h 3934"/>
                <a:gd name="connsiteX23" fmla="*/ 393 w 3934"/>
                <a:gd name="connsiteY23" fmla="*/ 3934 h 3934"/>
                <a:gd name="connsiteX24" fmla="*/ 393 w 3934"/>
                <a:gd name="connsiteY24" fmla="*/ 3934 h 3934"/>
                <a:gd name="connsiteX25" fmla="*/ 787 w 3934"/>
                <a:gd name="connsiteY25" fmla="*/ 3934 h 3934"/>
                <a:gd name="connsiteX26" fmla="*/ 787 w 3934"/>
                <a:gd name="connsiteY26" fmla="*/ 4328 h 3934"/>
                <a:gd name="connsiteX27" fmla="*/ 787 w 3934"/>
                <a:gd name="connsiteY27" fmla="*/ 4328 h 3934"/>
                <a:gd name="connsiteX28" fmla="*/ 787 w 3934"/>
                <a:gd name="connsiteY28" fmla="*/ 4721 h 3934"/>
                <a:gd name="connsiteX29" fmla="*/ 1574 w 3934"/>
                <a:gd name="connsiteY29" fmla="*/ 4721 h 3934"/>
                <a:gd name="connsiteX30" fmla="*/ 1574 w 3934"/>
                <a:gd name="connsiteY30" fmla="*/ 5115 h 3934"/>
                <a:gd name="connsiteX31" fmla="*/ 3147 w 3934"/>
                <a:gd name="connsiteY31" fmla="*/ 5115 h 3934"/>
                <a:gd name="connsiteX32" fmla="*/ 3147 w 3934"/>
                <a:gd name="connsiteY32" fmla="*/ 4721 h 3934"/>
                <a:gd name="connsiteX33" fmla="*/ 3934 w 3934"/>
                <a:gd name="connsiteY33" fmla="*/ 4721 h 3934"/>
                <a:gd name="connsiteX34" fmla="*/ 3934 w 3934"/>
                <a:gd name="connsiteY34" fmla="*/ 4328 h 3934"/>
                <a:gd name="connsiteX35" fmla="*/ 3934 w 3934"/>
                <a:gd name="connsiteY35" fmla="*/ 4328 h 3934"/>
                <a:gd name="connsiteX36" fmla="*/ 4328 w 3934"/>
                <a:gd name="connsiteY36" fmla="*/ 3934 h 3934"/>
                <a:gd name="connsiteX37" fmla="*/ 4328 w 3934"/>
                <a:gd name="connsiteY37" fmla="*/ 3934 h 3934"/>
                <a:gd name="connsiteX38" fmla="*/ 4721 w 3934"/>
                <a:gd name="connsiteY38" fmla="*/ 3934 h 3934"/>
                <a:gd name="connsiteX39" fmla="*/ 4721 w 3934"/>
                <a:gd name="connsiteY39" fmla="*/ 3147 h 3934"/>
                <a:gd name="connsiteX40" fmla="*/ 5115 w 3934"/>
                <a:gd name="connsiteY40" fmla="*/ 3147 h 3934"/>
                <a:gd name="connsiteX41" fmla="*/ 5115 w 3934"/>
                <a:gd name="connsiteY41" fmla="*/ 2754 h 3934"/>
                <a:gd name="connsiteX42" fmla="*/ 5115 w 3934"/>
                <a:gd name="connsiteY42" fmla="*/ 1574 h 3934"/>
                <a:gd name="connsiteX43" fmla="*/ 4721 w 3934"/>
                <a:gd name="connsiteY43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4721" y="787"/>
                  </a:moveTo>
                  <a:lnTo>
                    <a:pt x="4328" y="787"/>
                  </a:lnTo>
                  <a:lnTo>
                    <a:pt x="4328" y="787"/>
                  </a:lnTo>
                  <a:lnTo>
                    <a:pt x="3934" y="787"/>
                  </a:lnTo>
                  <a:lnTo>
                    <a:pt x="3934" y="393"/>
                  </a:lnTo>
                  <a:lnTo>
                    <a:pt x="3934" y="393"/>
                  </a:lnTo>
                  <a:lnTo>
                    <a:pt x="3934" y="0"/>
                  </a:lnTo>
                  <a:lnTo>
                    <a:pt x="3147" y="0"/>
                  </a:lnTo>
                  <a:lnTo>
                    <a:pt x="3147" y="0"/>
                  </a:lnTo>
                  <a:lnTo>
                    <a:pt x="1967" y="0"/>
                  </a:lnTo>
                  <a:lnTo>
                    <a:pt x="1574" y="0"/>
                  </a:lnTo>
                  <a:lnTo>
                    <a:pt x="787" y="0"/>
                  </a:lnTo>
                  <a:lnTo>
                    <a:pt x="787" y="393"/>
                  </a:lnTo>
                  <a:lnTo>
                    <a:pt x="787" y="393"/>
                  </a:lnTo>
                  <a:lnTo>
                    <a:pt x="787" y="787"/>
                  </a:lnTo>
                  <a:lnTo>
                    <a:pt x="393" y="787"/>
                  </a:lnTo>
                  <a:lnTo>
                    <a:pt x="393" y="787"/>
                  </a:lnTo>
                  <a:lnTo>
                    <a:pt x="0" y="787"/>
                  </a:lnTo>
                  <a:lnTo>
                    <a:pt x="0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0" y="3147"/>
                  </a:lnTo>
                  <a:lnTo>
                    <a:pt x="0" y="3934"/>
                  </a:lnTo>
                  <a:lnTo>
                    <a:pt x="393" y="3934"/>
                  </a:lnTo>
                  <a:lnTo>
                    <a:pt x="393" y="3934"/>
                  </a:lnTo>
                  <a:lnTo>
                    <a:pt x="787" y="3934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787" y="4721"/>
                  </a:lnTo>
                  <a:lnTo>
                    <a:pt x="1574" y="4721"/>
                  </a:lnTo>
                  <a:lnTo>
                    <a:pt x="1574" y="5115"/>
                  </a:lnTo>
                  <a:lnTo>
                    <a:pt x="3147" y="5115"/>
                  </a:lnTo>
                  <a:lnTo>
                    <a:pt x="3147" y="4721"/>
                  </a:lnTo>
                  <a:lnTo>
                    <a:pt x="3934" y="4721"/>
                  </a:lnTo>
                  <a:lnTo>
                    <a:pt x="3934" y="4328"/>
                  </a:lnTo>
                  <a:lnTo>
                    <a:pt x="3934" y="4328"/>
                  </a:lnTo>
                  <a:lnTo>
                    <a:pt x="4328" y="3934"/>
                  </a:lnTo>
                  <a:lnTo>
                    <a:pt x="4328" y="3934"/>
                  </a:lnTo>
                  <a:lnTo>
                    <a:pt x="4721" y="3934"/>
                  </a:lnTo>
                  <a:lnTo>
                    <a:pt x="4721" y="3147"/>
                  </a:lnTo>
                  <a:lnTo>
                    <a:pt x="5115" y="3147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4721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44" name="Freeform: Shape 4338">
              <a:extLst>
                <a:ext uri="{FF2B5EF4-FFF2-40B4-BE49-F238E27FC236}">
                  <a16:creationId xmlns:a16="http://schemas.microsoft.com/office/drawing/2014/main" id="{06925427-0E3D-4C55-A657-FB45DB2C526F}"/>
                </a:ext>
              </a:extLst>
            </p:cNvPr>
            <p:cNvSpPr/>
            <p:nvPr/>
          </p:nvSpPr>
          <p:spPr>
            <a:xfrm>
              <a:off x="1310754" y="2979749"/>
              <a:ext cx="3934" cy="3934"/>
            </a:xfrm>
            <a:custGeom>
              <a:avLst/>
              <a:gdLst>
                <a:gd name="connsiteX0" fmla="*/ 5115 w 3934"/>
                <a:gd name="connsiteY0" fmla="*/ 1180 h 3934"/>
                <a:gd name="connsiteX1" fmla="*/ 4721 w 3934"/>
                <a:gd name="connsiteY1" fmla="*/ 1180 h 3934"/>
                <a:gd name="connsiteX2" fmla="*/ 4721 w 3934"/>
                <a:gd name="connsiteY2" fmla="*/ 1180 h 3934"/>
                <a:gd name="connsiteX3" fmla="*/ 4328 w 3934"/>
                <a:gd name="connsiteY3" fmla="*/ 1180 h 3934"/>
                <a:gd name="connsiteX4" fmla="*/ 4328 w 3934"/>
                <a:gd name="connsiteY4" fmla="*/ 787 h 3934"/>
                <a:gd name="connsiteX5" fmla="*/ 3934 w 3934"/>
                <a:gd name="connsiteY5" fmla="*/ 787 h 3934"/>
                <a:gd name="connsiteX6" fmla="*/ 3934 w 3934"/>
                <a:gd name="connsiteY6" fmla="*/ 393 h 3934"/>
                <a:gd name="connsiteX7" fmla="*/ 3541 w 3934"/>
                <a:gd name="connsiteY7" fmla="*/ 393 h 3934"/>
                <a:gd name="connsiteX8" fmla="*/ 3541 w 3934"/>
                <a:gd name="connsiteY8" fmla="*/ 0 h 3934"/>
                <a:gd name="connsiteX9" fmla="*/ 1967 w 3934"/>
                <a:gd name="connsiteY9" fmla="*/ 0 h 3934"/>
                <a:gd name="connsiteX10" fmla="*/ 1967 w 3934"/>
                <a:gd name="connsiteY10" fmla="*/ 393 h 3934"/>
                <a:gd name="connsiteX11" fmla="*/ 1180 w 3934"/>
                <a:gd name="connsiteY11" fmla="*/ 393 h 3934"/>
                <a:gd name="connsiteX12" fmla="*/ 1180 w 3934"/>
                <a:gd name="connsiteY12" fmla="*/ 787 h 3934"/>
                <a:gd name="connsiteX13" fmla="*/ 787 w 3934"/>
                <a:gd name="connsiteY13" fmla="*/ 787 h 3934"/>
                <a:gd name="connsiteX14" fmla="*/ 787 w 3934"/>
                <a:gd name="connsiteY14" fmla="*/ 1180 h 3934"/>
                <a:gd name="connsiteX15" fmla="*/ 787 w 3934"/>
                <a:gd name="connsiteY15" fmla="*/ 1180 h 3934"/>
                <a:gd name="connsiteX16" fmla="*/ 787 w 3934"/>
                <a:gd name="connsiteY16" fmla="*/ 1180 h 3934"/>
                <a:gd name="connsiteX17" fmla="*/ 393 w 3934"/>
                <a:gd name="connsiteY17" fmla="*/ 1180 h 3934"/>
                <a:gd name="connsiteX18" fmla="*/ 393 w 3934"/>
                <a:gd name="connsiteY18" fmla="*/ 1967 h 3934"/>
                <a:gd name="connsiteX19" fmla="*/ 0 w 3934"/>
                <a:gd name="connsiteY19" fmla="*/ 1967 h 3934"/>
                <a:gd name="connsiteX20" fmla="*/ 0 w 3934"/>
                <a:gd name="connsiteY20" fmla="*/ 3541 h 3934"/>
                <a:gd name="connsiteX21" fmla="*/ 393 w 3934"/>
                <a:gd name="connsiteY21" fmla="*/ 3541 h 3934"/>
                <a:gd name="connsiteX22" fmla="*/ 393 w 3934"/>
                <a:gd name="connsiteY22" fmla="*/ 4328 h 3934"/>
                <a:gd name="connsiteX23" fmla="*/ 787 w 3934"/>
                <a:gd name="connsiteY23" fmla="*/ 4328 h 3934"/>
                <a:gd name="connsiteX24" fmla="*/ 787 w 3934"/>
                <a:gd name="connsiteY24" fmla="*/ 4328 h 3934"/>
                <a:gd name="connsiteX25" fmla="*/ 787 w 3934"/>
                <a:gd name="connsiteY25" fmla="*/ 4328 h 3934"/>
                <a:gd name="connsiteX26" fmla="*/ 787 w 3934"/>
                <a:gd name="connsiteY26" fmla="*/ 4721 h 3934"/>
                <a:gd name="connsiteX27" fmla="*/ 1180 w 3934"/>
                <a:gd name="connsiteY27" fmla="*/ 4721 h 3934"/>
                <a:gd name="connsiteX28" fmla="*/ 1180 w 3934"/>
                <a:gd name="connsiteY28" fmla="*/ 5114 h 3934"/>
                <a:gd name="connsiteX29" fmla="*/ 1967 w 3934"/>
                <a:gd name="connsiteY29" fmla="*/ 5114 h 3934"/>
                <a:gd name="connsiteX30" fmla="*/ 1967 w 3934"/>
                <a:gd name="connsiteY30" fmla="*/ 5114 h 3934"/>
                <a:gd name="connsiteX31" fmla="*/ 3541 w 3934"/>
                <a:gd name="connsiteY31" fmla="*/ 5114 h 3934"/>
                <a:gd name="connsiteX32" fmla="*/ 3541 w 3934"/>
                <a:gd name="connsiteY32" fmla="*/ 5114 h 3934"/>
                <a:gd name="connsiteX33" fmla="*/ 3934 w 3934"/>
                <a:gd name="connsiteY33" fmla="*/ 5114 h 3934"/>
                <a:gd name="connsiteX34" fmla="*/ 3934 w 3934"/>
                <a:gd name="connsiteY34" fmla="*/ 4721 h 3934"/>
                <a:gd name="connsiteX35" fmla="*/ 4328 w 3934"/>
                <a:gd name="connsiteY35" fmla="*/ 4721 h 3934"/>
                <a:gd name="connsiteX36" fmla="*/ 4721 w 3934"/>
                <a:gd name="connsiteY36" fmla="*/ 4328 h 3934"/>
                <a:gd name="connsiteX37" fmla="*/ 4721 w 3934"/>
                <a:gd name="connsiteY37" fmla="*/ 4328 h 3934"/>
                <a:gd name="connsiteX38" fmla="*/ 5115 w 3934"/>
                <a:gd name="connsiteY38" fmla="*/ 4328 h 3934"/>
                <a:gd name="connsiteX39" fmla="*/ 5115 w 3934"/>
                <a:gd name="connsiteY39" fmla="*/ 3541 h 3934"/>
                <a:gd name="connsiteX40" fmla="*/ 5115 w 3934"/>
                <a:gd name="connsiteY40" fmla="*/ 3541 h 3934"/>
                <a:gd name="connsiteX41" fmla="*/ 5115 w 3934"/>
                <a:gd name="connsiteY41" fmla="*/ 3147 h 3934"/>
                <a:gd name="connsiteX42" fmla="*/ 5115 w 3934"/>
                <a:gd name="connsiteY42" fmla="*/ 1967 h 3934"/>
                <a:gd name="connsiteX43" fmla="*/ 5115 w 3934"/>
                <a:gd name="connsiteY43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5115" y="1180"/>
                  </a:moveTo>
                  <a:lnTo>
                    <a:pt x="4721" y="1180"/>
                  </a:lnTo>
                  <a:lnTo>
                    <a:pt x="4721" y="1180"/>
                  </a:lnTo>
                  <a:lnTo>
                    <a:pt x="4328" y="1180"/>
                  </a:lnTo>
                  <a:lnTo>
                    <a:pt x="4328" y="787"/>
                  </a:lnTo>
                  <a:lnTo>
                    <a:pt x="3934" y="787"/>
                  </a:lnTo>
                  <a:lnTo>
                    <a:pt x="3934" y="393"/>
                  </a:lnTo>
                  <a:lnTo>
                    <a:pt x="3541" y="393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967" y="393"/>
                  </a:lnTo>
                  <a:lnTo>
                    <a:pt x="1180" y="393"/>
                  </a:lnTo>
                  <a:lnTo>
                    <a:pt x="1180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787" y="1180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967"/>
                  </a:lnTo>
                  <a:lnTo>
                    <a:pt x="0" y="1967"/>
                  </a:lnTo>
                  <a:lnTo>
                    <a:pt x="0" y="3541"/>
                  </a:lnTo>
                  <a:lnTo>
                    <a:pt x="393" y="3541"/>
                  </a:lnTo>
                  <a:lnTo>
                    <a:pt x="393" y="4328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787" y="4721"/>
                  </a:lnTo>
                  <a:lnTo>
                    <a:pt x="1180" y="4721"/>
                  </a:lnTo>
                  <a:lnTo>
                    <a:pt x="1180" y="5114"/>
                  </a:lnTo>
                  <a:lnTo>
                    <a:pt x="1967" y="5114"/>
                  </a:lnTo>
                  <a:lnTo>
                    <a:pt x="1967" y="5114"/>
                  </a:lnTo>
                  <a:lnTo>
                    <a:pt x="3541" y="5114"/>
                  </a:lnTo>
                  <a:lnTo>
                    <a:pt x="3541" y="5114"/>
                  </a:lnTo>
                  <a:lnTo>
                    <a:pt x="3934" y="5114"/>
                  </a:lnTo>
                  <a:lnTo>
                    <a:pt x="3934" y="4721"/>
                  </a:lnTo>
                  <a:lnTo>
                    <a:pt x="4328" y="4721"/>
                  </a:lnTo>
                  <a:lnTo>
                    <a:pt x="4721" y="4328"/>
                  </a:lnTo>
                  <a:lnTo>
                    <a:pt x="4721" y="4328"/>
                  </a:lnTo>
                  <a:lnTo>
                    <a:pt x="5115" y="4328"/>
                  </a:lnTo>
                  <a:lnTo>
                    <a:pt x="5115" y="3541"/>
                  </a:lnTo>
                  <a:lnTo>
                    <a:pt x="5115" y="3541"/>
                  </a:lnTo>
                  <a:lnTo>
                    <a:pt x="5115" y="3147"/>
                  </a:lnTo>
                  <a:lnTo>
                    <a:pt x="5115" y="1967"/>
                  </a:lnTo>
                  <a:lnTo>
                    <a:pt x="5115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45" name="Freeform: Shape 4339">
              <a:extLst>
                <a:ext uri="{FF2B5EF4-FFF2-40B4-BE49-F238E27FC236}">
                  <a16:creationId xmlns:a16="http://schemas.microsoft.com/office/drawing/2014/main" id="{9A7FFAE7-3C73-4A32-9361-0DAF273D7D2F}"/>
                </a:ext>
              </a:extLst>
            </p:cNvPr>
            <p:cNvSpPr/>
            <p:nvPr/>
          </p:nvSpPr>
          <p:spPr>
            <a:xfrm>
              <a:off x="3821208" y="3093056"/>
              <a:ext cx="3934" cy="3934"/>
            </a:xfrm>
            <a:custGeom>
              <a:avLst/>
              <a:gdLst>
                <a:gd name="connsiteX0" fmla="*/ 3541 w 3934"/>
                <a:gd name="connsiteY0" fmla="*/ 4721 h 3934"/>
                <a:gd name="connsiteX1" fmla="*/ 3934 w 3934"/>
                <a:gd name="connsiteY1" fmla="*/ 4721 h 3934"/>
                <a:gd name="connsiteX2" fmla="*/ 3934 w 3934"/>
                <a:gd name="connsiteY2" fmla="*/ 4328 h 3934"/>
                <a:gd name="connsiteX3" fmla="*/ 4328 w 3934"/>
                <a:gd name="connsiteY3" fmla="*/ 4328 h 3934"/>
                <a:gd name="connsiteX4" fmla="*/ 4721 w 3934"/>
                <a:gd name="connsiteY4" fmla="*/ 3934 h 3934"/>
                <a:gd name="connsiteX5" fmla="*/ 4721 w 3934"/>
                <a:gd name="connsiteY5" fmla="*/ 3934 h 3934"/>
                <a:gd name="connsiteX6" fmla="*/ 4721 w 3934"/>
                <a:gd name="connsiteY6" fmla="*/ 3934 h 3934"/>
                <a:gd name="connsiteX7" fmla="*/ 4721 w 3934"/>
                <a:gd name="connsiteY7" fmla="*/ 3147 h 3934"/>
                <a:gd name="connsiteX8" fmla="*/ 5114 w 3934"/>
                <a:gd name="connsiteY8" fmla="*/ 3147 h 3934"/>
                <a:gd name="connsiteX9" fmla="*/ 5114 w 3934"/>
                <a:gd name="connsiteY9" fmla="*/ 2754 h 3934"/>
                <a:gd name="connsiteX10" fmla="*/ 5114 w 3934"/>
                <a:gd name="connsiteY10" fmla="*/ 1574 h 3934"/>
                <a:gd name="connsiteX11" fmla="*/ 4721 w 3934"/>
                <a:gd name="connsiteY11" fmla="*/ 1574 h 3934"/>
                <a:gd name="connsiteX12" fmla="*/ 4721 w 3934"/>
                <a:gd name="connsiteY12" fmla="*/ 1180 h 3934"/>
                <a:gd name="connsiteX13" fmla="*/ 4721 w 3934"/>
                <a:gd name="connsiteY13" fmla="*/ 1180 h 3934"/>
                <a:gd name="connsiteX14" fmla="*/ 4721 w 3934"/>
                <a:gd name="connsiteY14" fmla="*/ 787 h 3934"/>
                <a:gd name="connsiteX15" fmla="*/ 4328 w 3934"/>
                <a:gd name="connsiteY15" fmla="*/ 787 h 3934"/>
                <a:gd name="connsiteX16" fmla="*/ 4328 w 3934"/>
                <a:gd name="connsiteY16" fmla="*/ 393 h 3934"/>
                <a:gd name="connsiteX17" fmla="*/ 3934 w 3934"/>
                <a:gd name="connsiteY17" fmla="*/ 393 h 3934"/>
                <a:gd name="connsiteX18" fmla="*/ 3934 w 3934"/>
                <a:gd name="connsiteY18" fmla="*/ 0 h 3934"/>
                <a:gd name="connsiteX19" fmla="*/ 3541 w 3934"/>
                <a:gd name="connsiteY19" fmla="*/ 0 h 3934"/>
                <a:gd name="connsiteX20" fmla="*/ 3541 w 3934"/>
                <a:gd name="connsiteY20" fmla="*/ 0 h 3934"/>
                <a:gd name="connsiteX21" fmla="*/ 1967 w 3934"/>
                <a:gd name="connsiteY21" fmla="*/ 0 h 3934"/>
                <a:gd name="connsiteX22" fmla="*/ 1574 w 3934"/>
                <a:gd name="connsiteY22" fmla="*/ 0 h 3934"/>
                <a:gd name="connsiteX23" fmla="*/ 1180 w 3934"/>
                <a:gd name="connsiteY23" fmla="*/ 0 h 3934"/>
                <a:gd name="connsiteX24" fmla="*/ 1180 w 3934"/>
                <a:gd name="connsiteY24" fmla="*/ 393 h 3934"/>
                <a:gd name="connsiteX25" fmla="*/ 787 w 3934"/>
                <a:gd name="connsiteY25" fmla="*/ 393 h 3934"/>
                <a:gd name="connsiteX26" fmla="*/ 787 w 3934"/>
                <a:gd name="connsiteY26" fmla="*/ 787 h 3934"/>
                <a:gd name="connsiteX27" fmla="*/ 787 w 3934"/>
                <a:gd name="connsiteY27" fmla="*/ 787 h 3934"/>
                <a:gd name="connsiteX28" fmla="*/ 787 w 3934"/>
                <a:gd name="connsiteY28" fmla="*/ 1180 h 3934"/>
                <a:gd name="connsiteX29" fmla="*/ 394 w 3934"/>
                <a:gd name="connsiteY29" fmla="*/ 1180 h 3934"/>
                <a:gd name="connsiteX30" fmla="*/ 394 w 3934"/>
                <a:gd name="connsiteY30" fmla="*/ 1574 h 3934"/>
                <a:gd name="connsiteX31" fmla="*/ 0 w 3934"/>
                <a:gd name="connsiteY31" fmla="*/ 1967 h 3934"/>
                <a:gd name="connsiteX32" fmla="*/ 0 w 3934"/>
                <a:gd name="connsiteY32" fmla="*/ 3147 h 3934"/>
                <a:gd name="connsiteX33" fmla="*/ 394 w 3934"/>
                <a:gd name="connsiteY33" fmla="*/ 3147 h 3934"/>
                <a:gd name="connsiteX34" fmla="*/ 394 w 3934"/>
                <a:gd name="connsiteY34" fmla="*/ 3934 h 3934"/>
                <a:gd name="connsiteX35" fmla="*/ 787 w 3934"/>
                <a:gd name="connsiteY35" fmla="*/ 3934 h 3934"/>
                <a:gd name="connsiteX36" fmla="*/ 787 w 3934"/>
                <a:gd name="connsiteY36" fmla="*/ 3934 h 3934"/>
                <a:gd name="connsiteX37" fmla="*/ 787 w 3934"/>
                <a:gd name="connsiteY37" fmla="*/ 3934 h 3934"/>
                <a:gd name="connsiteX38" fmla="*/ 787 w 3934"/>
                <a:gd name="connsiteY38" fmla="*/ 4328 h 3934"/>
                <a:gd name="connsiteX39" fmla="*/ 1180 w 3934"/>
                <a:gd name="connsiteY39" fmla="*/ 4328 h 3934"/>
                <a:gd name="connsiteX40" fmla="*/ 1180 w 3934"/>
                <a:gd name="connsiteY40" fmla="*/ 4721 h 3934"/>
                <a:gd name="connsiteX41" fmla="*/ 1574 w 3934"/>
                <a:gd name="connsiteY41" fmla="*/ 4721 h 3934"/>
                <a:gd name="connsiteX42" fmla="*/ 1574 w 3934"/>
                <a:gd name="connsiteY42" fmla="*/ 5114 h 3934"/>
                <a:gd name="connsiteX43" fmla="*/ 3541 w 3934"/>
                <a:gd name="connsiteY4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541" y="4721"/>
                  </a:moveTo>
                  <a:lnTo>
                    <a:pt x="3934" y="4721"/>
                  </a:lnTo>
                  <a:lnTo>
                    <a:pt x="3934" y="4328"/>
                  </a:lnTo>
                  <a:lnTo>
                    <a:pt x="4328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4721" y="3147"/>
                  </a:lnTo>
                  <a:lnTo>
                    <a:pt x="5114" y="3147"/>
                  </a:lnTo>
                  <a:lnTo>
                    <a:pt x="5114" y="2754"/>
                  </a:lnTo>
                  <a:lnTo>
                    <a:pt x="5114" y="1574"/>
                  </a:lnTo>
                  <a:lnTo>
                    <a:pt x="4721" y="1574"/>
                  </a:lnTo>
                  <a:lnTo>
                    <a:pt x="4721" y="1180"/>
                  </a:lnTo>
                  <a:lnTo>
                    <a:pt x="4721" y="1180"/>
                  </a:lnTo>
                  <a:lnTo>
                    <a:pt x="4721" y="787"/>
                  </a:lnTo>
                  <a:lnTo>
                    <a:pt x="4328" y="787"/>
                  </a:lnTo>
                  <a:lnTo>
                    <a:pt x="4328" y="393"/>
                  </a:lnTo>
                  <a:lnTo>
                    <a:pt x="3934" y="393"/>
                  </a:lnTo>
                  <a:lnTo>
                    <a:pt x="3934" y="0"/>
                  </a:lnTo>
                  <a:lnTo>
                    <a:pt x="3541" y="0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574" y="0"/>
                  </a:lnTo>
                  <a:lnTo>
                    <a:pt x="1180" y="0"/>
                  </a:lnTo>
                  <a:lnTo>
                    <a:pt x="1180" y="393"/>
                  </a:lnTo>
                  <a:lnTo>
                    <a:pt x="787" y="393"/>
                  </a:lnTo>
                  <a:lnTo>
                    <a:pt x="787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4" y="1180"/>
                  </a:lnTo>
                  <a:lnTo>
                    <a:pt x="394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394" y="3147"/>
                  </a:lnTo>
                  <a:lnTo>
                    <a:pt x="394" y="3934"/>
                  </a:lnTo>
                  <a:lnTo>
                    <a:pt x="787" y="3934"/>
                  </a:lnTo>
                  <a:lnTo>
                    <a:pt x="787" y="3934"/>
                  </a:lnTo>
                  <a:lnTo>
                    <a:pt x="787" y="3934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574" y="4721"/>
                  </a:lnTo>
                  <a:lnTo>
                    <a:pt x="1574" y="5114"/>
                  </a:lnTo>
                  <a:lnTo>
                    <a:pt x="3541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46" name="Freeform: Shape 4340">
              <a:extLst>
                <a:ext uri="{FF2B5EF4-FFF2-40B4-BE49-F238E27FC236}">
                  <a16:creationId xmlns:a16="http://schemas.microsoft.com/office/drawing/2014/main" id="{0457A6C3-9156-4CAA-A2A7-E6084E47A6B6}"/>
                </a:ext>
              </a:extLst>
            </p:cNvPr>
            <p:cNvSpPr/>
            <p:nvPr/>
          </p:nvSpPr>
          <p:spPr>
            <a:xfrm>
              <a:off x="10519687" y="5298997"/>
              <a:ext cx="3934" cy="3934"/>
            </a:xfrm>
            <a:custGeom>
              <a:avLst/>
              <a:gdLst>
                <a:gd name="connsiteX0" fmla="*/ 5115 w 3934"/>
                <a:gd name="connsiteY0" fmla="*/ 1180 h 3934"/>
                <a:gd name="connsiteX1" fmla="*/ 4722 w 3934"/>
                <a:gd name="connsiteY1" fmla="*/ 1180 h 3934"/>
                <a:gd name="connsiteX2" fmla="*/ 4722 w 3934"/>
                <a:gd name="connsiteY2" fmla="*/ 787 h 3934"/>
                <a:gd name="connsiteX3" fmla="*/ 4328 w 3934"/>
                <a:gd name="connsiteY3" fmla="*/ 787 h 3934"/>
                <a:gd name="connsiteX4" fmla="*/ 4328 w 3934"/>
                <a:gd name="connsiteY4" fmla="*/ 787 h 3934"/>
                <a:gd name="connsiteX5" fmla="*/ 4328 w 3934"/>
                <a:gd name="connsiteY5" fmla="*/ 787 h 3934"/>
                <a:gd name="connsiteX6" fmla="*/ 4328 w 3934"/>
                <a:gd name="connsiteY6" fmla="*/ 393 h 3934"/>
                <a:gd name="connsiteX7" fmla="*/ 3541 w 3934"/>
                <a:gd name="connsiteY7" fmla="*/ 393 h 3934"/>
                <a:gd name="connsiteX8" fmla="*/ 3541 w 3934"/>
                <a:gd name="connsiteY8" fmla="*/ 0 h 3934"/>
                <a:gd name="connsiteX9" fmla="*/ 1967 w 3934"/>
                <a:gd name="connsiteY9" fmla="*/ 0 h 3934"/>
                <a:gd name="connsiteX10" fmla="*/ 1967 w 3934"/>
                <a:gd name="connsiteY10" fmla="*/ 393 h 3934"/>
                <a:gd name="connsiteX11" fmla="*/ 1180 w 3934"/>
                <a:gd name="connsiteY11" fmla="*/ 393 h 3934"/>
                <a:gd name="connsiteX12" fmla="*/ 1180 w 3934"/>
                <a:gd name="connsiteY12" fmla="*/ 787 h 3934"/>
                <a:gd name="connsiteX13" fmla="*/ 1180 w 3934"/>
                <a:gd name="connsiteY13" fmla="*/ 787 h 3934"/>
                <a:gd name="connsiteX14" fmla="*/ 1180 w 3934"/>
                <a:gd name="connsiteY14" fmla="*/ 787 h 3934"/>
                <a:gd name="connsiteX15" fmla="*/ 788 w 3934"/>
                <a:gd name="connsiteY15" fmla="*/ 787 h 3934"/>
                <a:gd name="connsiteX16" fmla="*/ 788 w 3934"/>
                <a:gd name="connsiteY16" fmla="*/ 1180 h 3934"/>
                <a:gd name="connsiteX17" fmla="*/ 394 w 3934"/>
                <a:gd name="connsiteY17" fmla="*/ 1180 h 3934"/>
                <a:gd name="connsiteX18" fmla="*/ 394 w 3934"/>
                <a:gd name="connsiteY18" fmla="*/ 1574 h 3934"/>
                <a:gd name="connsiteX19" fmla="*/ 0 w 3934"/>
                <a:gd name="connsiteY19" fmla="*/ 1967 h 3934"/>
                <a:gd name="connsiteX20" fmla="*/ 0 w 3934"/>
                <a:gd name="connsiteY20" fmla="*/ 3541 h 3934"/>
                <a:gd name="connsiteX21" fmla="*/ 394 w 3934"/>
                <a:gd name="connsiteY21" fmla="*/ 3541 h 3934"/>
                <a:gd name="connsiteX22" fmla="*/ 394 w 3934"/>
                <a:gd name="connsiteY22" fmla="*/ 3934 h 3934"/>
                <a:gd name="connsiteX23" fmla="*/ 788 w 3934"/>
                <a:gd name="connsiteY23" fmla="*/ 3934 h 3934"/>
                <a:gd name="connsiteX24" fmla="*/ 788 w 3934"/>
                <a:gd name="connsiteY24" fmla="*/ 4328 h 3934"/>
                <a:gd name="connsiteX25" fmla="*/ 1180 w 3934"/>
                <a:gd name="connsiteY25" fmla="*/ 4328 h 3934"/>
                <a:gd name="connsiteX26" fmla="*/ 1180 w 3934"/>
                <a:gd name="connsiteY26" fmla="*/ 4721 h 3934"/>
                <a:gd name="connsiteX27" fmla="*/ 1180 w 3934"/>
                <a:gd name="connsiteY27" fmla="*/ 4721 h 3934"/>
                <a:gd name="connsiteX28" fmla="*/ 1180 w 3934"/>
                <a:gd name="connsiteY28" fmla="*/ 4721 h 3934"/>
                <a:gd name="connsiteX29" fmla="*/ 1967 w 3934"/>
                <a:gd name="connsiteY29" fmla="*/ 4721 h 3934"/>
                <a:gd name="connsiteX30" fmla="*/ 1967 w 3934"/>
                <a:gd name="connsiteY30" fmla="*/ 5115 h 3934"/>
                <a:gd name="connsiteX31" fmla="*/ 3541 w 3934"/>
                <a:gd name="connsiteY31" fmla="*/ 5115 h 3934"/>
                <a:gd name="connsiteX32" fmla="*/ 3541 w 3934"/>
                <a:gd name="connsiteY32" fmla="*/ 4721 h 3934"/>
                <a:gd name="connsiteX33" fmla="*/ 4328 w 3934"/>
                <a:gd name="connsiteY33" fmla="*/ 4721 h 3934"/>
                <a:gd name="connsiteX34" fmla="*/ 4328 w 3934"/>
                <a:gd name="connsiteY34" fmla="*/ 4721 h 3934"/>
                <a:gd name="connsiteX35" fmla="*/ 4328 w 3934"/>
                <a:gd name="connsiteY35" fmla="*/ 4721 h 3934"/>
                <a:gd name="connsiteX36" fmla="*/ 4722 w 3934"/>
                <a:gd name="connsiteY36" fmla="*/ 4328 h 3934"/>
                <a:gd name="connsiteX37" fmla="*/ 4722 w 3934"/>
                <a:gd name="connsiteY37" fmla="*/ 3934 h 3934"/>
                <a:gd name="connsiteX38" fmla="*/ 5115 w 3934"/>
                <a:gd name="connsiteY38" fmla="*/ 3934 h 3934"/>
                <a:gd name="connsiteX39" fmla="*/ 5115 w 3934"/>
                <a:gd name="connsiteY39" fmla="*/ 3541 h 3934"/>
                <a:gd name="connsiteX40" fmla="*/ 5115 w 3934"/>
                <a:gd name="connsiteY40" fmla="*/ 3541 h 3934"/>
                <a:gd name="connsiteX41" fmla="*/ 5115 w 3934"/>
                <a:gd name="connsiteY41" fmla="*/ 2754 h 3934"/>
                <a:gd name="connsiteX42" fmla="*/ 5115 w 3934"/>
                <a:gd name="connsiteY42" fmla="*/ 1574 h 3934"/>
                <a:gd name="connsiteX43" fmla="*/ 5115 w 3934"/>
                <a:gd name="connsiteY43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5115" y="1180"/>
                  </a:moveTo>
                  <a:lnTo>
                    <a:pt x="4722" y="1180"/>
                  </a:lnTo>
                  <a:lnTo>
                    <a:pt x="4722" y="787"/>
                  </a:lnTo>
                  <a:lnTo>
                    <a:pt x="4328" y="787"/>
                  </a:lnTo>
                  <a:lnTo>
                    <a:pt x="4328" y="787"/>
                  </a:lnTo>
                  <a:lnTo>
                    <a:pt x="4328" y="787"/>
                  </a:lnTo>
                  <a:lnTo>
                    <a:pt x="4328" y="393"/>
                  </a:lnTo>
                  <a:lnTo>
                    <a:pt x="3541" y="393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967" y="393"/>
                  </a:lnTo>
                  <a:lnTo>
                    <a:pt x="1180" y="393"/>
                  </a:lnTo>
                  <a:lnTo>
                    <a:pt x="1180" y="787"/>
                  </a:lnTo>
                  <a:lnTo>
                    <a:pt x="1180" y="787"/>
                  </a:lnTo>
                  <a:lnTo>
                    <a:pt x="1180" y="787"/>
                  </a:lnTo>
                  <a:lnTo>
                    <a:pt x="788" y="787"/>
                  </a:lnTo>
                  <a:lnTo>
                    <a:pt x="788" y="1180"/>
                  </a:lnTo>
                  <a:lnTo>
                    <a:pt x="394" y="1180"/>
                  </a:lnTo>
                  <a:lnTo>
                    <a:pt x="394" y="1574"/>
                  </a:lnTo>
                  <a:lnTo>
                    <a:pt x="0" y="1967"/>
                  </a:lnTo>
                  <a:lnTo>
                    <a:pt x="0" y="3541"/>
                  </a:lnTo>
                  <a:lnTo>
                    <a:pt x="394" y="3541"/>
                  </a:lnTo>
                  <a:lnTo>
                    <a:pt x="394" y="3934"/>
                  </a:lnTo>
                  <a:lnTo>
                    <a:pt x="788" y="3934"/>
                  </a:lnTo>
                  <a:lnTo>
                    <a:pt x="788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180" y="4721"/>
                  </a:lnTo>
                  <a:lnTo>
                    <a:pt x="1180" y="4721"/>
                  </a:lnTo>
                  <a:lnTo>
                    <a:pt x="1967" y="4721"/>
                  </a:lnTo>
                  <a:lnTo>
                    <a:pt x="1967" y="5115"/>
                  </a:lnTo>
                  <a:lnTo>
                    <a:pt x="3541" y="5115"/>
                  </a:lnTo>
                  <a:lnTo>
                    <a:pt x="3541" y="4721"/>
                  </a:lnTo>
                  <a:lnTo>
                    <a:pt x="4328" y="4721"/>
                  </a:lnTo>
                  <a:lnTo>
                    <a:pt x="4328" y="4721"/>
                  </a:lnTo>
                  <a:lnTo>
                    <a:pt x="4328" y="4721"/>
                  </a:lnTo>
                  <a:lnTo>
                    <a:pt x="4722" y="4328"/>
                  </a:lnTo>
                  <a:lnTo>
                    <a:pt x="4722" y="3934"/>
                  </a:lnTo>
                  <a:lnTo>
                    <a:pt x="5115" y="3934"/>
                  </a:lnTo>
                  <a:lnTo>
                    <a:pt x="5115" y="3541"/>
                  </a:lnTo>
                  <a:lnTo>
                    <a:pt x="5115" y="3541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5115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47" name="Freeform: Shape 4341">
              <a:extLst>
                <a:ext uri="{FF2B5EF4-FFF2-40B4-BE49-F238E27FC236}">
                  <a16:creationId xmlns:a16="http://schemas.microsoft.com/office/drawing/2014/main" id="{83196315-3227-4D38-9C38-C273642903BA}"/>
                </a:ext>
              </a:extLst>
            </p:cNvPr>
            <p:cNvSpPr/>
            <p:nvPr/>
          </p:nvSpPr>
          <p:spPr>
            <a:xfrm>
              <a:off x="10668796" y="4091572"/>
              <a:ext cx="3934" cy="3934"/>
            </a:xfrm>
            <a:custGeom>
              <a:avLst/>
              <a:gdLst>
                <a:gd name="connsiteX0" fmla="*/ 0 w 3934"/>
                <a:gd name="connsiteY0" fmla="*/ 4328 h 3934"/>
                <a:gd name="connsiteX1" fmla="*/ 393 w 3934"/>
                <a:gd name="connsiteY1" fmla="*/ 4328 h 3934"/>
                <a:gd name="connsiteX2" fmla="*/ 393 w 3934"/>
                <a:gd name="connsiteY2" fmla="*/ 4328 h 3934"/>
                <a:gd name="connsiteX3" fmla="*/ 787 w 3934"/>
                <a:gd name="connsiteY3" fmla="*/ 4328 h 3934"/>
                <a:gd name="connsiteX4" fmla="*/ 787 w 3934"/>
                <a:gd name="connsiteY4" fmla="*/ 4721 h 3934"/>
                <a:gd name="connsiteX5" fmla="*/ 787 w 3934"/>
                <a:gd name="connsiteY5" fmla="*/ 4721 h 3934"/>
                <a:gd name="connsiteX6" fmla="*/ 787 w 3934"/>
                <a:gd name="connsiteY6" fmla="*/ 5114 h 3934"/>
                <a:gd name="connsiteX7" fmla="*/ 1573 w 3934"/>
                <a:gd name="connsiteY7" fmla="*/ 5114 h 3934"/>
                <a:gd name="connsiteX8" fmla="*/ 1573 w 3934"/>
                <a:gd name="connsiteY8" fmla="*/ 5114 h 3934"/>
                <a:gd name="connsiteX9" fmla="*/ 3148 w 3934"/>
                <a:gd name="connsiteY9" fmla="*/ 5114 h 3934"/>
                <a:gd name="connsiteX10" fmla="*/ 3148 w 3934"/>
                <a:gd name="connsiteY10" fmla="*/ 5114 h 3934"/>
                <a:gd name="connsiteX11" fmla="*/ 3934 w 3934"/>
                <a:gd name="connsiteY11" fmla="*/ 5114 h 3934"/>
                <a:gd name="connsiteX12" fmla="*/ 3934 w 3934"/>
                <a:gd name="connsiteY12" fmla="*/ 4721 h 3934"/>
                <a:gd name="connsiteX13" fmla="*/ 3934 w 3934"/>
                <a:gd name="connsiteY13" fmla="*/ 4721 h 3934"/>
                <a:gd name="connsiteX14" fmla="*/ 4327 w 3934"/>
                <a:gd name="connsiteY14" fmla="*/ 4328 h 3934"/>
                <a:gd name="connsiteX15" fmla="*/ 4327 w 3934"/>
                <a:gd name="connsiteY15" fmla="*/ 4328 h 3934"/>
                <a:gd name="connsiteX16" fmla="*/ 4721 w 3934"/>
                <a:gd name="connsiteY16" fmla="*/ 4328 h 3934"/>
                <a:gd name="connsiteX17" fmla="*/ 4721 w 3934"/>
                <a:gd name="connsiteY17" fmla="*/ 3541 h 3934"/>
                <a:gd name="connsiteX18" fmla="*/ 4721 w 3934"/>
                <a:gd name="connsiteY18" fmla="*/ 3541 h 3934"/>
                <a:gd name="connsiteX19" fmla="*/ 4721 w 3934"/>
                <a:gd name="connsiteY19" fmla="*/ 3147 h 3934"/>
                <a:gd name="connsiteX20" fmla="*/ 4721 w 3934"/>
                <a:gd name="connsiteY20" fmla="*/ 1967 h 3934"/>
                <a:gd name="connsiteX21" fmla="*/ 4721 w 3934"/>
                <a:gd name="connsiteY21" fmla="*/ 1967 h 3934"/>
                <a:gd name="connsiteX22" fmla="*/ 4721 w 3934"/>
                <a:gd name="connsiteY22" fmla="*/ 1180 h 3934"/>
                <a:gd name="connsiteX23" fmla="*/ 4327 w 3934"/>
                <a:gd name="connsiteY23" fmla="*/ 1180 h 3934"/>
                <a:gd name="connsiteX24" fmla="*/ 4327 w 3934"/>
                <a:gd name="connsiteY24" fmla="*/ 1180 h 3934"/>
                <a:gd name="connsiteX25" fmla="*/ 3934 w 3934"/>
                <a:gd name="connsiteY25" fmla="*/ 1180 h 3934"/>
                <a:gd name="connsiteX26" fmla="*/ 3934 w 3934"/>
                <a:gd name="connsiteY26" fmla="*/ 787 h 3934"/>
                <a:gd name="connsiteX27" fmla="*/ 3934 w 3934"/>
                <a:gd name="connsiteY27" fmla="*/ 787 h 3934"/>
                <a:gd name="connsiteX28" fmla="*/ 3934 w 3934"/>
                <a:gd name="connsiteY28" fmla="*/ 393 h 3934"/>
                <a:gd name="connsiteX29" fmla="*/ 3148 w 3934"/>
                <a:gd name="connsiteY29" fmla="*/ 393 h 3934"/>
                <a:gd name="connsiteX30" fmla="*/ 3148 w 3934"/>
                <a:gd name="connsiteY30" fmla="*/ 0 h 3934"/>
                <a:gd name="connsiteX31" fmla="*/ 1967 w 3934"/>
                <a:gd name="connsiteY31" fmla="*/ 0 h 3934"/>
                <a:gd name="connsiteX32" fmla="*/ 1573 w 3934"/>
                <a:gd name="connsiteY32" fmla="*/ 393 h 3934"/>
                <a:gd name="connsiteX33" fmla="*/ 787 w 3934"/>
                <a:gd name="connsiteY33" fmla="*/ 393 h 3934"/>
                <a:gd name="connsiteX34" fmla="*/ 787 w 3934"/>
                <a:gd name="connsiteY34" fmla="*/ 787 h 3934"/>
                <a:gd name="connsiteX35" fmla="*/ 787 w 3934"/>
                <a:gd name="connsiteY35" fmla="*/ 787 h 3934"/>
                <a:gd name="connsiteX36" fmla="*/ 787 w 3934"/>
                <a:gd name="connsiteY36" fmla="*/ 1180 h 3934"/>
                <a:gd name="connsiteX37" fmla="*/ 393 w 3934"/>
                <a:gd name="connsiteY37" fmla="*/ 1180 h 3934"/>
                <a:gd name="connsiteX38" fmla="*/ 393 w 3934"/>
                <a:gd name="connsiteY38" fmla="*/ 1180 h 3934"/>
                <a:gd name="connsiteX39" fmla="*/ 0 w 3934"/>
                <a:gd name="connsiteY39" fmla="*/ 1180 h 3934"/>
                <a:gd name="connsiteX40" fmla="*/ 0 w 3934"/>
                <a:gd name="connsiteY40" fmla="*/ 1967 h 3934"/>
                <a:gd name="connsiteX41" fmla="*/ 0 w 3934"/>
                <a:gd name="connsiteY41" fmla="*/ 2360 h 3934"/>
                <a:gd name="connsiteX42" fmla="*/ 0 w 3934"/>
                <a:gd name="connsiteY42" fmla="*/ 3541 h 3934"/>
                <a:gd name="connsiteX43" fmla="*/ 0 w 3934"/>
                <a:gd name="connsiteY43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0" y="4328"/>
                  </a:moveTo>
                  <a:lnTo>
                    <a:pt x="393" y="4328"/>
                  </a:lnTo>
                  <a:lnTo>
                    <a:pt x="393" y="4328"/>
                  </a:lnTo>
                  <a:lnTo>
                    <a:pt x="787" y="4328"/>
                  </a:lnTo>
                  <a:lnTo>
                    <a:pt x="787" y="4721"/>
                  </a:lnTo>
                  <a:lnTo>
                    <a:pt x="787" y="4721"/>
                  </a:lnTo>
                  <a:lnTo>
                    <a:pt x="787" y="5114"/>
                  </a:lnTo>
                  <a:lnTo>
                    <a:pt x="1573" y="5114"/>
                  </a:lnTo>
                  <a:lnTo>
                    <a:pt x="1573" y="5114"/>
                  </a:lnTo>
                  <a:lnTo>
                    <a:pt x="3148" y="5114"/>
                  </a:lnTo>
                  <a:lnTo>
                    <a:pt x="3148" y="5114"/>
                  </a:lnTo>
                  <a:lnTo>
                    <a:pt x="3934" y="5114"/>
                  </a:lnTo>
                  <a:lnTo>
                    <a:pt x="3934" y="4721"/>
                  </a:lnTo>
                  <a:lnTo>
                    <a:pt x="3934" y="4721"/>
                  </a:lnTo>
                  <a:lnTo>
                    <a:pt x="4327" y="4328"/>
                  </a:lnTo>
                  <a:lnTo>
                    <a:pt x="4327" y="4328"/>
                  </a:lnTo>
                  <a:lnTo>
                    <a:pt x="4721" y="4328"/>
                  </a:lnTo>
                  <a:lnTo>
                    <a:pt x="4721" y="3541"/>
                  </a:lnTo>
                  <a:lnTo>
                    <a:pt x="4721" y="3541"/>
                  </a:lnTo>
                  <a:lnTo>
                    <a:pt x="4721" y="3147"/>
                  </a:lnTo>
                  <a:lnTo>
                    <a:pt x="4721" y="1967"/>
                  </a:lnTo>
                  <a:lnTo>
                    <a:pt x="4721" y="1967"/>
                  </a:lnTo>
                  <a:lnTo>
                    <a:pt x="4721" y="1180"/>
                  </a:lnTo>
                  <a:lnTo>
                    <a:pt x="4327" y="1180"/>
                  </a:lnTo>
                  <a:lnTo>
                    <a:pt x="4327" y="1180"/>
                  </a:lnTo>
                  <a:lnTo>
                    <a:pt x="3934" y="1180"/>
                  </a:lnTo>
                  <a:lnTo>
                    <a:pt x="3934" y="787"/>
                  </a:lnTo>
                  <a:lnTo>
                    <a:pt x="3934" y="787"/>
                  </a:lnTo>
                  <a:lnTo>
                    <a:pt x="3934" y="393"/>
                  </a:lnTo>
                  <a:lnTo>
                    <a:pt x="3148" y="393"/>
                  </a:lnTo>
                  <a:lnTo>
                    <a:pt x="3148" y="0"/>
                  </a:lnTo>
                  <a:lnTo>
                    <a:pt x="1967" y="0"/>
                  </a:lnTo>
                  <a:lnTo>
                    <a:pt x="1573" y="393"/>
                  </a:lnTo>
                  <a:lnTo>
                    <a:pt x="787" y="393"/>
                  </a:lnTo>
                  <a:lnTo>
                    <a:pt x="787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180"/>
                  </a:lnTo>
                  <a:lnTo>
                    <a:pt x="0" y="1180"/>
                  </a:lnTo>
                  <a:lnTo>
                    <a:pt x="0" y="1967"/>
                  </a:lnTo>
                  <a:lnTo>
                    <a:pt x="0" y="2360"/>
                  </a:lnTo>
                  <a:lnTo>
                    <a:pt x="0" y="3541"/>
                  </a:lnTo>
                  <a:lnTo>
                    <a:pt x="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48" name="Freeform: Shape 4342">
              <a:extLst>
                <a:ext uri="{FF2B5EF4-FFF2-40B4-BE49-F238E27FC236}">
                  <a16:creationId xmlns:a16="http://schemas.microsoft.com/office/drawing/2014/main" id="{6E14A0EF-B208-4439-B9EA-6BBF5E769A69}"/>
                </a:ext>
              </a:extLst>
            </p:cNvPr>
            <p:cNvSpPr/>
            <p:nvPr/>
          </p:nvSpPr>
          <p:spPr>
            <a:xfrm>
              <a:off x="10514966" y="4538504"/>
              <a:ext cx="3934" cy="3934"/>
            </a:xfrm>
            <a:custGeom>
              <a:avLst/>
              <a:gdLst>
                <a:gd name="connsiteX0" fmla="*/ 3541 w 3934"/>
                <a:gd name="connsiteY0" fmla="*/ 5114 h 3934"/>
                <a:gd name="connsiteX1" fmla="*/ 3541 w 3934"/>
                <a:gd name="connsiteY1" fmla="*/ 4721 h 3934"/>
                <a:gd name="connsiteX2" fmla="*/ 3934 w 3934"/>
                <a:gd name="connsiteY2" fmla="*/ 4721 h 3934"/>
                <a:gd name="connsiteX3" fmla="*/ 3934 w 3934"/>
                <a:gd name="connsiteY3" fmla="*/ 4328 h 3934"/>
                <a:gd name="connsiteX4" fmla="*/ 4328 w 3934"/>
                <a:gd name="connsiteY4" fmla="*/ 4328 h 3934"/>
                <a:gd name="connsiteX5" fmla="*/ 4721 w 3934"/>
                <a:gd name="connsiteY5" fmla="*/ 4328 h 3934"/>
                <a:gd name="connsiteX6" fmla="*/ 4721 w 3934"/>
                <a:gd name="connsiteY6" fmla="*/ 3934 h 3934"/>
                <a:gd name="connsiteX7" fmla="*/ 4721 w 3934"/>
                <a:gd name="connsiteY7" fmla="*/ 3934 h 3934"/>
                <a:gd name="connsiteX8" fmla="*/ 4721 w 3934"/>
                <a:gd name="connsiteY8" fmla="*/ 3541 h 3934"/>
                <a:gd name="connsiteX9" fmla="*/ 5115 w 3934"/>
                <a:gd name="connsiteY9" fmla="*/ 3541 h 3934"/>
                <a:gd name="connsiteX10" fmla="*/ 5115 w 3934"/>
                <a:gd name="connsiteY10" fmla="*/ 2754 h 3934"/>
                <a:gd name="connsiteX11" fmla="*/ 5115 w 3934"/>
                <a:gd name="connsiteY11" fmla="*/ 1574 h 3934"/>
                <a:gd name="connsiteX12" fmla="*/ 4721 w 3934"/>
                <a:gd name="connsiteY12" fmla="*/ 1574 h 3934"/>
                <a:gd name="connsiteX13" fmla="*/ 4721 w 3934"/>
                <a:gd name="connsiteY13" fmla="*/ 1180 h 3934"/>
                <a:gd name="connsiteX14" fmla="*/ 4721 w 3934"/>
                <a:gd name="connsiteY14" fmla="*/ 1180 h 3934"/>
                <a:gd name="connsiteX15" fmla="*/ 4721 w 3934"/>
                <a:gd name="connsiteY15" fmla="*/ 787 h 3934"/>
                <a:gd name="connsiteX16" fmla="*/ 4328 w 3934"/>
                <a:gd name="connsiteY16" fmla="*/ 787 h 3934"/>
                <a:gd name="connsiteX17" fmla="*/ 4328 w 3934"/>
                <a:gd name="connsiteY17" fmla="*/ 394 h 3934"/>
                <a:gd name="connsiteX18" fmla="*/ 3934 w 3934"/>
                <a:gd name="connsiteY18" fmla="*/ 394 h 3934"/>
                <a:gd name="connsiteX19" fmla="*/ 3934 w 3934"/>
                <a:gd name="connsiteY19" fmla="*/ 394 h 3934"/>
                <a:gd name="connsiteX20" fmla="*/ 3541 w 3934"/>
                <a:gd name="connsiteY20" fmla="*/ 394 h 3934"/>
                <a:gd name="connsiteX21" fmla="*/ 3541 w 3934"/>
                <a:gd name="connsiteY21" fmla="*/ 0 h 3934"/>
                <a:gd name="connsiteX22" fmla="*/ 1967 w 3934"/>
                <a:gd name="connsiteY22" fmla="*/ 0 h 3934"/>
                <a:gd name="connsiteX23" fmla="*/ 1967 w 3934"/>
                <a:gd name="connsiteY23" fmla="*/ 394 h 3934"/>
                <a:gd name="connsiteX24" fmla="*/ 1180 w 3934"/>
                <a:gd name="connsiteY24" fmla="*/ 394 h 3934"/>
                <a:gd name="connsiteX25" fmla="*/ 1180 w 3934"/>
                <a:gd name="connsiteY25" fmla="*/ 394 h 3934"/>
                <a:gd name="connsiteX26" fmla="*/ 787 w 3934"/>
                <a:gd name="connsiteY26" fmla="*/ 394 h 3934"/>
                <a:gd name="connsiteX27" fmla="*/ 787 w 3934"/>
                <a:gd name="connsiteY27" fmla="*/ 787 h 3934"/>
                <a:gd name="connsiteX28" fmla="*/ 787 w 3934"/>
                <a:gd name="connsiteY28" fmla="*/ 787 h 3934"/>
                <a:gd name="connsiteX29" fmla="*/ 787 w 3934"/>
                <a:gd name="connsiteY29" fmla="*/ 1180 h 3934"/>
                <a:gd name="connsiteX30" fmla="*/ 394 w 3934"/>
                <a:gd name="connsiteY30" fmla="*/ 1180 h 3934"/>
                <a:gd name="connsiteX31" fmla="*/ 394 w 3934"/>
                <a:gd name="connsiteY31" fmla="*/ 1574 h 3934"/>
                <a:gd name="connsiteX32" fmla="*/ 0 w 3934"/>
                <a:gd name="connsiteY32" fmla="*/ 1967 h 3934"/>
                <a:gd name="connsiteX33" fmla="*/ 0 w 3934"/>
                <a:gd name="connsiteY33" fmla="*/ 3541 h 3934"/>
                <a:gd name="connsiteX34" fmla="*/ 394 w 3934"/>
                <a:gd name="connsiteY34" fmla="*/ 3541 h 3934"/>
                <a:gd name="connsiteX35" fmla="*/ 394 w 3934"/>
                <a:gd name="connsiteY35" fmla="*/ 3934 h 3934"/>
                <a:gd name="connsiteX36" fmla="*/ 787 w 3934"/>
                <a:gd name="connsiteY36" fmla="*/ 3934 h 3934"/>
                <a:gd name="connsiteX37" fmla="*/ 787 w 3934"/>
                <a:gd name="connsiteY37" fmla="*/ 4328 h 3934"/>
                <a:gd name="connsiteX38" fmla="*/ 787 w 3934"/>
                <a:gd name="connsiteY38" fmla="*/ 4328 h 3934"/>
                <a:gd name="connsiteX39" fmla="*/ 787 w 3934"/>
                <a:gd name="connsiteY39" fmla="*/ 4328 h 3934"/>
                <a:gd name="connsiteX40" fmla="*/ 1180 w 3934"/>
                <a:gd name="connsiteY40" fmla="*/ 4328 h 3934"/>
                <a:gd name="connsiteX41" fmla="*/ 1180 w 3934"/>
                <a:gd name="connsiteY41" fmla="*/ 4721 h 3934"/>
                <a:gd name="connsiteX42" fmla="*/ 1967 w 3934"/>
                <a:gd name="connsiteY42" fmla="*/ 4721 h 3934"/>
                <a:gd name="connsiteX43" fmla="*/ 1967 w 3934"/>
                <a:gd name="connsiteY4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541" y="5114"/>
                  </a:moveTo>
                  <a:lnTo>
                    <a:pt x="3541" y="4721"/>
                  </a:lnTo>
                  <a:lnTo>
                    <a:pt x="3934" y="4721"/>
                  </a:lnTo>
                  <a:lnTo>
                    <a:pt x="3934" y="4328"/>
                  </a:lnTo>
                  <a:lnTo>
                    <a:pt x="4328" y="4328"/>
                  </a:lnTo>
                  <a:lnTo>
                    <a:pt x="4721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4721" y="3541"/>
                  </a:lnTo>
                  <a:lnTo>
                    <a:pt x="5115" y="3541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4721" y="1574"/>
                  </a:lnTo>
                  <a:lnTo>
                    <a:pt x="4721" y="1180"/>
                  </a:lnTo>
                  <a:lnTo>
                    <a:pt x="4721" y="1180"/>
                  </a:lnTo>
                  <a:lnTo>
                    <a:pt x="4721" y="787"/>
                  </a:lnTo>
                  <a:lnTo>
                    <a:pt x="4328" y="787"/>
                  </a:lnTo>
                  <a:lnTo>
                    <a:pt x="4328" y="394"/>
                  </a:lnTo>
                  <a:lnTo>
                    <a:pt x="3934" y="394"/>
                  </a:lnTo>
                  <a:lnTo>
                    <a:pt x="3934" y="394"/>
                  </a:lnTo>
                  <a:lnTo>
                    <a:pt x="3541" y="394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967" y="394"/>
                  </a:lnTo>
                  <a:lnTo>
                    <a:pt x="1180" y="394"/>
                  </a:lnTo>
                  <a:lnTo>
                    <a:pt x="1180" y="394"/>
                  </a:lnTo>
                  <a:lnTo>
                    <a:pt x="787" y="394"/>
                  </a:lnTo>
                  <a:lnTo>
                    <a:pt x="787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4" y="1180"/>
                  </a:lnTo>
                  <a:lnTo>
                    <a:pt x="394" y="1574"/>
                  </a:lnTo>
                  <a:lnTo>
                    <a:pt x="0" y="1967"/>
                  </a:lnTo>
                  <a:lnTo>
                    <a:pt x="0" y="3541"/>
                  </a:lnTo>
                  <a:lnTo>
                    <a:pt x="394" y="3541"/>
                  </a:lnTo>
                  <a:lnTo>
                    <a:pt x="394" y="3934"/>
                  </a:lnTo>
                  <a:lnTo>
                    <a:pt x="787" y="3934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967" y="4721"/>
                  </a:lnTo>
                  <a:lnTo>
                    <a:pt x="1967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49" name="Freeform: Shape 4343">
              <a:extLst>
                <a:ext uri="{FF2B5EF4-FFF2-40B4-BE49-F238E27FC236}">
                  <a16:creationId xmlns:a16="http://schemas.microsoft.com/office/drawing/2014/main" id="{6C46CB2B-48A2-4010-87D2-B3053DD085E4}"/>
                </a:ext>
              </a:extLst>
            </p:cNvPr>
            <p:cNvSpPr/>
            <p:nvPr/>
          </p:nvSpPr>
          <p:spPr>
            <a:xfrm>
              <a:off x="10367038" y="4216681"/>
              <a:ext cx="3934" cy="3934"/>
            </a:xfrm>
            <a:custGeom>
              <a:avLst/>
              <a:gdLst>
                <a:gd name="connsiteX0" fmla="*/ 3147 w 3934"/>
                <a:gd name="connsiteY0" fmla="*/ 5114 h 3934"/>
                <a:gd name="connsiteX1" fmla="*/ 3147 w 3934"/>
                <a:gd name="connsiteY1" fmla="*/ 4721 h 3934"/>
                <a:gd name="connsiteX2" fmla="*/ 3934 w 3934"/>
                <a:gd name="connsiteY2" fmla="*/ 4721 h 3934"/>
                <a:gd name="connsiteX3" fmla="*/ 3934 w 3934"/>
                <a:gd name="connsiteY3" fmla="*/ 4721 h 3934"/>
                <a:gd name="connsiteX4" fmla="*/ 3934 w 3934"/>
                <a:gd name="connsiteY4" fmla="*/ 4721 h 3934"/>
                <a:gd name="connsiteX5" fmla="*/ 4327 w 3934"/>
                <a:gd name="connsiteY5" fmla="*/ 4328 h 3934"/>
                <a:gd name="connsiteX6" fmla="*/ 4327 w 3934"/>
                <a:gd name="connsiteY6" fmla="*/ 3934 h 3934"/>
                <a:gd name="connsiteX7" fmla="*/ 4721 w 3934"/>
                <a:gd name="connsiteY7" fmla="*/ 3934 h 3934"/>
                <a:gd name="connsiteX8" fmla="*/ 4721 w 3934"/>
                <a:gd name="connsiteY8" fmla="*/ 3541 h 3934"/>
                <a:gd name="connsiteX9" fmla="*/ 5114 w 3934"/>
                <a:gd name="connsiteY9" fmla="*/ 3541 h 3934"/>
                <a:gd name="connsiteX10" fmla="*/ 5114 w 3934"/>
                <a:gd name="connsiteY10" fmla="*/ 2754 h 3934"/>
                <a:gd name="connsiteX11" fmla="*/ 5114 w 3934"/>
                <a:gd name="connsiteY11" fmla="*/ 1574 h 3934"/>
                <a:gd name="connsiteX12" fmla="*/ 4721 w 3934"/>
                <a:gd name="connsiteY12" fmla="*/ 1574 h 3934"/>
                <a:gd name="connsiteX13" fmla="*/ 4721 w 3934"/>
                <a:gd name="connsiteY13" fmla="*/ 1180 h 3934"/>
                <a:gd name="connsiteX14" fmla="*/ 4327 w 3934"/>
                <a:gd name="connsiteY14" fmla="*/ 1180 h 3934"/>
                <a:gd name="connsiteX15" fmla="*/ 4327 w 3934"/>
                <a:gd name="connsiteY15" fmla="*/ 787 h 3934"/>
                <a:gd name="connsiteX16" fmla="*/ 3934 w 3934"/>
                <a:gd name="connsiteY16" fmla="*/ 787 h 3934"/>
                <a:gd name="connsiteX17" fmla="*/ 3934 w 3934"/>
                <a:gd name="connsiteY17" fmla="*/ 393 h 3934"/>
                <a:gd name="connsiteX18" fmla="*/ 3934 w 3934"/>
                <a:gd name="connsiteY18" fmla="*/ 393 h 3934"/>
                <a:gd name="connsiteX19" fmla="*/ 3934 w 3934"/>
                <a:gd name="connsiteY19" fmla="*/ 393 h 3934"/>
                <a:gd name="connsiteX20" fmla="*/ 3147 w 3934"/>
                <a:gd name="connsiteY20" fmla="*/ 393 h 3934"/>
                <a:gd name="connsiteX21" fmla="*/ 3147 w 3934"/>
                <a:gd name="connsiteY21" fmla="*/ 0 h 3934"/>
                <a:gd name="connsiteX22" fmla="*/ 1967 w 3934"/>
                <a:gd name="connsiteY22" fmla="*/ 0 h 3934"/>
                <a:gd name="connsiteX23" fmla="*/ 1573 w 3934"/>
                <a:gd name="connsiteY23" fmla="*/ 393 h 3934"/>
                <a:gd name="connsiteX24" fmla="*/ 1180 w 3934"/>
                <a:gd name="connsiteY24" fmla="*/ 393 h 3934"/>
                <a:gd name="connsiteX25" fmla="*/ 1180 w 3934"/>
                <a:gd name="connsiteY25" fmla="*/ 393 h 3934"/>
                <a:gd name="connsiteX26" fmla="*/ 787 w 3934"/>
                <a:gd name="connsiteY26" fmla="*/ 393 h 3934"/>
                <a:gd name="connsiteX27" fmla="*/ 787 w 3934"/>
                <a:gd name="connsiteY27" fmla="*/ 787 h 3934"/>
                <a:gd name="connsiteX28" fmla="*/ 393 w 3934"/>
                <a:gd name="connsiteY28" fmla="*/ 787 h 3934"/>
                <a:gd name="connsiteX29" fmla="*/ 393 w 3934"/>
                <a:gd name="connsiteY29" fmla="*/ 1180 h 3934"/>
                <a:gd name="connsiteX30" fmla="*/ 0 w 3934"/>
                <a:gd name="connsiteY30" fmla="*/ 1180 h 3934"/>
                <a:gd name="connsiteX31" fmla="*/ 0 w 3934"/>
                <a:gd name="connsiteY31" fmla="*/ 1574 h 3934"/>
                <a:gd name="connsiteX32" fmla="*/ 0 w 3934"/>
                <a:gd name="connsiteY32" fmla="*/ 1967 h 3934"/>
                <a:gd name="connsiteX33" fmla="*/ 0 w 3934"/>
                <a:gd name="connsiteY33" fmla="*/ 3541 h 3934"/>
                <a:gd name="connsiteX34" fmla="*/ 0 w 3934"/>
                <a:gd name="connsiteY34" fmla="*/ 3541 h 3934"/>
                <a:gd name="connsiteX35" fmla="*/ 0 w 3934"/>
                <a:gd name="connsiteY35" fmla="*/ 3934 h 3934"/>
                <a:gd name="connsiteX36" fmla="*/ 393 w 3934"/>
                <a:gd name="connsiteY36" fmla="*/ 3934 h 3934"/>
                <a:gd name="connsiteX37" fmla="*/ 393 w 3934"/>
                <a:gd name="connsiteY37" fmla="*/ 4328 h 3934"/>
                <a:gd name="connsiteX38" fmla="*/ 787 w 3934"/>
                <a:gd name="connsiteY38" fmla="*/ 4328 h 3934"/>
                <a:gd name="connsiteX39" fmla="*/ 787 w 3934"/>
                <a:gd name="connsiteY39" fmla="*/ 4721 h 3934"/>
                <a:gd name="connsiteX40" fmla="*/ 1180 w 3934"/>
                <a:gd name="connsiteY40" fmla="*/ 4721 h 3934"/>
                <a:gd name="connsiteX41" fmla="*/ 1180 w 3934"/>
                <a:gd name="connsiteY41" fmla="*/ 4721 h 3934"/>
                <a:gd name="connsiteX42" fmla="*/ 1573 w 3934"/>
                <a:gd name="connsiteY42" fmla="*/ 4721 h 3934"/>
                <a:gd name="connsiteX43" fmla="*/ 1573 w 3934"/>
                <a:gd name="connsiteY4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147" y="5114"/>
                  </a:moveTo>
                  <a:lnTo>
                    <a:pt x="3147" y="4721"/>
                  </a:lnTo>
                  <a:lnTo>
                    <a:pt x="3934" y="4721"/>
                  </a:lnTo>
                  <a:lnTo>
                    <a:pt x="3934" y="4721"/>
                  </a:lnTo>
                  <a:lnTo>
                    <a:pt x="3934" y="4721"/>
                  </a:lnTo>
                  <a:lnTo>
                    <a:pt x="4327" y="4328"/>
                  </a:lnTo>
                  <a:lnTo>
                    <a:pt x="4327" y="3934"/>
                  </a:lnTo>
                  <a:lnTo>
                    <a:pt x="4721" y="3934"/>
                  </a:lnTo>
                  <a:lnTo>
                    <a:pt x="4721" y="3541"/>
                  </a:lnTo>
                  <a:lnTo>
                    <a:pt x="5114" y="3541"/>
                  </a:lnTo>
                  <a:lnTo>
                    <a:pt x="5114" y="2754"/>
                  </a:lnTo>
                  <a:lnTo>
                    <a:pt x="5114" y="1574"/>
                  </a:lnTo>
                  <a:lnTo>
                    <a:pt x="4721" y="1574"/>
                  </a:lnTo>
                  <a:lnTo>
                    <a:pt x="4721" y="1180"/>
                  </a:lnTo>
                  <a:lnTo>
                    <a:pt x="4327" y="1180"/>
                  </a:lnTo>
                  <a:lnTo>
                    <a:pt x="4327" y="787"/>
                  </a:lnTo>
                  <a:lnTo>
                    <a:pt x="3934" y="787"/>
                  </a:lnTo>
                  <a:lnTo>
                    <a:pt x="3934" y="393"/>
                  </a:lnTo>
                  <a:lnTo>
                    <a:pt x="3934" y="393"/>
                  </a:lnTo>
                  <a:lnTo>
                    <a:pt x="3934" y="393"/>
                  </a:lnTo>
                  <a:lnTo>
                    <a:pt x="3147" y="393"/>
                  </a:lnTo>
                  <a:lnTo>
                    <a:pt x="3147" y="0"/>
                  </a:lnTo>
                  <a:lnTo>
                    <a:pt x="1967" y="0"/>
                  </a:lnTo>
                  <a:lnTo>
                    <a:pt x="1573" y="393"/>
                  </a:lnTo>
                  <a:lnTo>
                    <a:pt x="1180" y="393"/>
                  </a:lnTo>
                  <a:lnTo>
                    <a:pt x="1180" y="393"/>
                  </a:lnTo>
                  <a:lnTo>
                    <a:pt x="787" y="393"/>
                  </a:lnTo>
                  <a:lnTo>
                    <a:pt x="787" y="787"/>
                  </a:lnTo>
                  <a:lnTo>
                    <a:pt x="393" y="787"/>
                  </a:lnTo>
                  <a:lnTo>
                    <a:pt x="393" y="1180"/>
                  </a:lnTo>
                  <a:lnTo>
                    <a:pt x="0" y="1180"/>
                  </a:lnTo>
                  <a:lnTo>
                    <a:pt x="0" y="1574"/>
                  </a:lnTo>
                  <a:lnTo>
                    <a:pt x="0" y="1967"/>
                  </a:lnTo>
                  <a:lnTo>
                    <a:pt x="0" y="3541"/>
                  </a:lnTo>
                  <a:lnTo>
                    <a:pt x="0" y="3541"/>
                  </a:lnTo>
                  <a:lnTo>
                    <a:pt x="0" y="3934"/>
                  </a:lnTo>
                  <a:lnTo>
                    <a:pt x="393" y="3934"/>
                  </a:lnTo>
                  <a:lnTo>
                    <a:pt x="393" y="4328"/>
                  </a:lnTo>
                  <a:lnTo>
                    <a:pt x="787" y="4328"/>
                  </a:lnTo>
                  <a:lnTo>
                    <a:pt x="787" y="4721"/>
                  </a:lnTo>
                  <a:lnTo>
                    <a:pt x="1180" y="4721"/>
                  </a:lnTo>
                  <a:lnTo>
                    <a:pt x="1180" y="4721"/>
                  </a:lnTo>
                  <a:lnTo>
                    <a:pt x="1573" y="4721"/>
                  </a:lnTo>
                  <a:lnTo>
                    <a:pt x="1573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50" name="Freeform: Shape 4344">
              <a:extLst>
                <a:ext uri="{FF2B5EF4-FFF2-40B4-BE49-F238E27FC236}">
                  <a16:creationId xmlns:a16="http://schemas.microsoft.com/office/drawing/2014/main" id="{FCCBFF77-CD0D-4B00-AE00-6E4ED2387321}"/>
                </a:ext>
              </a:extLst>
            </p:cNvPr>
            <p:cNvSpPr/>
            <p:nvPr/>
          </p:nvSpPr>
          <p:spPr>
            <a:xfrm>
              <a:off x="9559726" y="4886686"/>
              <a:ext cx="3934" cy="3934"/>
            </a:xfrm>
            <a:custGeom>
              <a:avLst/>
              <a:gdLst>
                <a:gd name="connsiteX0" fmla="*/ 5115 w 3934"/>
                <a:gd name="connsiteY0" fmla="*/ 1180 h 3934"/>
                <a:gd name="connsiteX1" fmla="*/ 4722 w 3934"/>
                <a:gd name="connsiteY1" fmla="*/ 1180 h 3934"/>
                <a:gd name="connsiteX2" fmla="*/ 4722 w 3934"/>
                <a:gd name="connsiteY2" fmla="*/ 787 h 3934"/>
                <a:gd name="connsiteX3" fmla="*/ 4328 w 3934"/>
                <a:gd name="connsiteY3" fmla="*/ 787 h 3934"/>
                <a:gd name="connsiteX4" fmla="*/ 4328 w 3934"/>
                <a:gd name="connsiteY4" fmla="*/ 394 h 3934"/>
                <a:gd name="connsiteX5" fmla="*/ 3934 w 3934"/>
                <a:gd name="connsiteY5" fmla="*/ 394 h 3934"/>
                <a:gd name="connsiteX6" fmla="*/ 3934 w 3934"/>
                <a:gd name="connsiteY6" fmla="*/ 394 h 3934"/>
                <a:gd name="connsiteX7" fmla="*/ 3541 w 3934"/>
                <a:gd name="connsiteY7" fmla="*/ 394 h 3934"/>
                <a:gd name="connsiteX8" fmla="*/ 3541 w 3934"/>
                <a:gd name="connsiteY8" fmla="*/ 0 h 3934"/>
                <a:gd name="connsiteX9" fmla="*/ 1967 w 3934"/>
                <a:gd name="connsiteY9" fmla="*/ 0 h 3934"/>
                <a:gd name="connsiteX10" fmla="*/ 1967 w 3934"/>
                <a:gd name="connsiteY10" fmla="*/ 394 h 3934"/>
                <a:gd name="connsiteX11" fmla="*/ 1180 w 3934"/>
                <a:gd name="connsiteY11" fmla="*/ 394 h 3934"/>
                <a:gd name="connsiteX12" fmla="*/ 1180 w 3934"/>
                <a:gd name="connsiteY12" fmla="*/ 394 h 3934"/>
                <a:gd name="connsiteX13" fmla="*/ 1180 w 3934"/>
                <a:gd name="connsiteY13" fmla="*/ 394 h 3934"/>
                <a:gd name="connsiteX14" fmla="*/ 1180 w 3934"/>
                <a:gd name="connsiteY14" fmla="*/ 787 h 3934"/>
                <a:gd name="connsiteX15" fmla="*/ 788 w 3934"/>
                <a:gd name="connsiteY15" fmla="*/ 787 h 3934"/>
                <a:gd name="connsiteX16" fmla="*/ 788 w 3934"/>
                <a:gd name="connsiteY16" fmla="*/ 1180 h 3934"/>
                <a:gd name="connsiteX17" fmla="*/ 394 w 3934"/>
                <a:gd name="connsiteY17" fmla="*/ 1180 h 3934"/>
                <a:gd name="connsiteX18" fmla="*/ 394 w 3934"/>
                <a:gd name="connsiteY18" fmla="*/ 1574 h 3934"/>
                <a:gd name="connsiteX19" fmla="*/ 0 w 3934"/>
                <a:gd name="connsiteY19" fmla="*/ 1967 h 3934"/>
                <a:gd name="connsiteX20" fmla="*/ 0 w 3934"/>
                <a:gd name="connsiteY20" fmla="*/ 3147 h 3934"/>
                <a:gd name="connsiteX21" fmla="*/ 394 w 3934"/>
                <a:gd name="connsiteY21" fmla="*/ 3147 h 3934"/>
                <a:gd name="connsiteX22" fmla="*/ 394 w 3934"/>
                <a:gd name="connsiteY22" fmla="*/ 3934 h 3934"/>
                <a:gd name="connsiteX23" fmla="*/ 788 w 3934"/>
                <a:gd name="connsiteY23" fmla="*/ 3934 h 3934"/>
                <a:gd name="connsiteX24" fmla="*/ 788 w 3934"/>
                <a:gd name="connsiteY24" fmla="*/ 4328 h 3934"/>
                <a:gd name="connsiteX25" fmla="*/ 1180 w 3934"/>
                <a:gd name="connsiteY25" fmla="*/ 4328 h 3934"/>
                <a:gd name="connsiteX26" fmla="*/ 1180 w 3934"/>
                <a:gd name="connsiteY26" fmla="*/ 4328 h 3934"/>
                <a:gd name="connsiteX27" fmla="*/ 1180 w 3934"/>
                <a:gd name="connsiteY27" fmla="*/ 4328 h 3934"/>
                <a:gd name="connsiteX28" fmla="*/ 1180 w 3934"/>
                <a:gd name="connsiteY28" fmla="*/ 4721 h 3934"/>
                <a:gd name="connsiteX29" fmla="*/ 1967 w 3934"/>
                <a:gd name="connsiteY29" fmla="*/ 4721 h 3934"/>
                <a:gd name="connsiteX30" fmla="*/ 1967 w 3934"/>
                <a:gd name="connsiteY30" fmla="*/ 5114 h 3934"/>
                <a:gd name="connsiteX31" fmla="*/ 3541 w 3934"/>
                <a:gd name="connsiteY31" fmla="*/ 5114 h 3934"/>
                <a:gd name="connsiteX32" fmla="*/ 3541 w 3934"/>
                <a:gd name="connsiteY32" fmla="*/ 4721 h 3934"/>
                <a:gd name="connsiteX33" fmla="*/ 3934 w 3934"/>
                <a:gd name="connsiteY33" fmla="*/ 4721 h 3934"/>
                <a:gd name="connsiteX34" fmla="*/ 3934 w 3934"/>
                <a:gd name="connsiteY34" fmla="*/ 4328 h 3934"/>
                <a:gd name="connsiteX35" fmla="*/ 4328 w 3934"/>
                <a:gd name="connsiteY35" fmla="*/ 4328 h 3934"/>
                <a:gd name="connsiteX36" fmla="*/ 4722 w 3934"/>
                <a:gd name="connsiteY36" fmla="*/ 4328 h 3934"/>
                <a:gd name="connsiteX37" fmla="*/ 4722 w 3934"/>
                <a:gd name="connsiteY37" fmla="*/ 3934 h 3934"/>
                <a:gd name="connsiteX38" fmla="*/ 5115 w 3934"/>
                <a:gd name="connsiteY38" fmla="*/ 3934 h 3934"/>
                <a:gd name="connsiteX39" fmla="*/ 5115 w 3934"/>
                <a:gd name="connsiteY39" fmla="*/ 3147 h 3934"/>
                <a:gd name="connsiteX40" fmla="*/ 5115 w 3934"/>
                <a:gd name="connsiteY40" fmla="*/ 3147 h 3934"/>
                <a:gd name="connsiteX41" fmla="*/ 5115 w 3934"/>
                <a:gd name="connsiteY41" fmla="*/ 2754 h 3934"/>
                <a:gd name="connsiteX42" fmla="*/ 5115 w 3934"/>
                <a:gd name="connsiteY42" fmla="*/ 1574 h 3934"/>
                <a:gd name="connsiteX43" fmla="*/ 5115 w 3934"/>
                <a:gd name="connsiteY43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5115" y="1180"/>
                  </a:moveTo>
                  <a:lnTo>
                    <a:pt x="4722" y="1180"/>
                  </a:lnTo>
                  <a:lnTo>
                    <a:pt x="4722" y="787"/>
                  </a:lnTo>
                  <a:lnTo>
                    <a:pt x="4328" y="787"/>
                  </a:lnTo>
                  <a:lnTo>
                    <a:pt x="4328" y="394"/>
                  </a:lnTo>
                  <a:lnTo>
                    <a:pt x="3934" y="394"/>
                  </a:lnTo>
                  <a:lnTo>
                    <a:pt x="3934" y="394"/>
                  </a:lnTo>
                  <a:lnTo>
                    <a:pt x="3541" y="394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967" y="394"/>
                  </a:lnTo>
                  <a:lnTo>
                    <a:pt x="1180" y="394"/>
                  </a:lnTo>
                  <a:lnTo>
                    <a:pt x="1180" y="394"/>
                  </a:lnTo>
                  <a:lnTo>
                    <a:pt x="1180" y="394"/>
                  </a:lnTo>
                  <a:lnTo>
                    <a:pt x="1180" y="787"/>
                  </a:lnTo>
                  <a:lnTo>
                    <a:pt x="788" y="787"/>
                  </a:lnTo>
                  <a:lnTo>
                    <a:pt x="788" y="1180"/>
                  </a:lnTo>
                  <a:lnTo>
                    <a:pt x="394" y="1180"/>
                  </a:lnTo>
                  <a:lnTo>
                    <a:pt x="394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394" y="3147"/>
                  </a:lnTo>
                  <a:lnTo>
                    <a:pt x="394" y="3934"/>
                  </a:lnTo>
                  <a:lnTo>
                    <a:pt x="788" y="3934"/>
                  </a:lnTo>
                  <a:lnTo>
                    <a:pt x="788" y="4328"/>
                  </a:lnTo>
                  <a:lnTo>
                    <a:pt x="1180" y="4328"/>
                  </a:lnTo>
                  <a:lnTo>
                    <a:pt x="1180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967" y="4721"/>
                  </a:lnTo>
                  <a:lnTo>
                    <a:pt x="1967" y="5114"/>
                  </a:lnTo>
                  <a:lnTo>
                    <a:pt x="3541" y="5114"/>
                  </a:lnTo>
                  <a:lnTo>
                    <a:pt x="3541" y="4721"/>
                  </a:lnTo>
                  <a:lnTo>
                    <a:pt x="3934" y="4721"/>
                  </a:lnTo>
                  <a:lnTo>
                    <a:pt x="3934" y="4328"/>
                  </a:lnTo>
                  <a:lnTo>
                    <a:pt x="4328" y="4328"/>
                  </a:lnTo>
                  <a:lnTo>
                    <a:pt x="4722" y="4328"/>
                  </a:lnTo>
                  <a:lnTo>
                    <a:pt x="4722" y="3934"/>
                  </a:lnTo>
                  <a:lnTo>
                    <a:pt x="5115" y="3934"/>
                  </a:lnTo>
                  <a:lnTo>
                    <a:pt x="5115" y="3147"/>
                  </a:lnTo>
                  <a:lnTo>
                    <a:pt x="5115" y="3147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5115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51" name="Freeform: Shape 4345">
              <a:extLst>
                <a:ext uri="{FF2B5EF4-FFF2-40B4-BE49-F238E27FC236}">
                  <a16:creationId xmlns:a16="http://schemas.microsoft.com/office/drawing/2014/main" id="{59E66C79-46CC-47E8-B392-9EDF55009A21}"/>
                </a:ext>
              </a:extLst>
            </p:cNvPr>
            <p:cNvSpPr/>
            <p:nvPr/>
          </p:nvSpPr>
          <p:spPr>
            <a:xfrm>
              <a:off x="9716704" y="4197797"/>
              <a:ext cx="3934" cy="3934"/>
            </a:xfrm>
            <a:custGeom>
              <a:avLst/>
              <a:gdLst>
                <a:gd name="connsiteX0" fmla="*/ 3148 w 3934"/>
                <a:gd name="connsiteY0" fmla="*/ 5114 h 3934"/>
                <a:gd name="connsiteX1" fmla="*/ 3148 w 3934"/>
                <a:gd name="connsiteY1" fmla="*/ 5114 h 3934"/>
                <a:gd name="connsiteX2" fmla="*/ 3934 w 3934"/>
                <a:gd name="connsiteY2" fmla="*/ 5114 h 3934"/>
                <a:gd name="connsiteX3" fmla="*/ 3934 w 3934"/>
                <a:gd name="connsiteY3" fmla="*/ 4721 h 3934"/>
                <a:gd name="connsiteX4" fmla="*/ 3934 w 3934"/>
                <a:gd name="connsiteY4" fmla="*/ 4721 h 3934"/>
                <a:gd name="connsiteX5" fmla="*/ 4327 w 3934"/>
                <a:gd name="connsiteY5" fmla="*/ 4328 h 3934"/>
                <a:gd name="connsiteX6" fmla="*/ 4327 w 3934"/>
                <a:gd name="connsiteY6" fmla="*/ 4328 h 3934"/>
                <a:gd name="connsiteX7" fmla="*/ 4721 w 3934"/>
                <a:gd name="connsiteY7" fmla="*/ 4328 h 3934"/>
                <a:gd name="connsiteX8" fmla="*/ 4721 w 3934"/>
                <a:gd name="connsiteY8" fmla="*/ 3541 h 3934"/>
                <a:gd name="connsiteX9" fmla="*/ 5115 w 3934"/>
                <a:gd name="connsiteY9" fmla="*/ 3541 h 3934"/>
                <a:gd name="connsiteX10" fmla="*/ 5115 w 3934"/>
                <a:gd name="connsiteY10" fmla="*/ 3147 h 3934"/>
                <a:gd name="connsiteX11" fmla="*/ 5115 w 3934"/>
                <a:gd name="connsiteY11" fmla="*/ 1967 h 3934"/>
                <a:gd name="connsiteX12" fmla="*/ 4721 w 3934"/>
                <a:gd name="connsiteY12" fmla="*/ 1967 h 3934"/>
                <a:gd name="connsiteX13" fmla="*/ 4721 w 3934"/>
                <a:gd name="connsiteY13" fmla="*/ 1180 h 3934"/>
                <a:gd name="connsiteX14" fmla="*/ 4327 w 3934"/>
                <a:gd name="connsiteY14" fmla="*/ 1180 h 3934"/>
                <a:gd name="connsiteX15" fmla="*/ 4327 w 3934"/>
                <a:gd name="connsiteY15" fmla="*/ 1180 h 3934"/>
                <a:gd name="connsiteX16" fmla="*/ 3934 w 3934"/>
                <a:gd name="connsiteY16" fmla="*/ 1180 h 3934"/>
                <a:gd name="connsiteX17" fmla="*/ 3934 w 3934"/>
                <a:gd name="connsiteY17" fmla="*/ 787 h 3934"/>
                <a:gd name="connsiteX18" fmla="*/ 3934 w 3934"/>
                <a:gd name="connsiteY18" fmla="*/ 787 h 3934"/>
                <a:gd name="connsiteX19" fmla="*/ 3934 w 3934"/>
                <a:gd name="connsiteY19" fmla="*/ 393 h 3934"/>
                <a:gd name="connsiteX20" fmla="*/ 3148 w 3934"/>
                <a:gd name="connsiteY20" fmla="*/ 393 h 3934"/>
                <a:gd name="connsiteX21" fmla="*/ 3148 w 3934"/>
                <a:gd name="connsiteY21" fmla="*/ 0 h 3934"/>
                <a:gd name="connsiteX22" fmla="*/ 1967 w 3934"/>
                <a:gd name="connsiteY22" fmla="*/ 0 h 3934"/>
                <a:gd name="connsiteX23" fmla="*/ 1573 w 3934"/>
                <a:gd name="connsiteY23" fmla="*/ 393 h 3934"/>
                <a:gd name="connsiteX24" fmla="*/ 787 w 3934"/>
                <a:gd name="connsiteY24" fmla="*/ 393 h 3934"/>
                <a:gd name="connsiteX25" fmla="*/ 787 w 3934"/>
                <a:gd name="connsiteY25" fmla="*/ 787 h 3934"/>
                <a:gd name="connsiteX26" fmla="*/ 787 w 3934"/>
                <a:gd name="connsiteY26" fmla="*/ 787 h 3934"/>
                <a:gd name="connsiteX27" fmla="*/ 787 w 3934"/>
                <a:gd name="connsiteY27" fmla="*/ 1180 h 3934"/>
                <a:gd name="connsiteX28" fmla="*/ 393 w 3934"/>
                <a:gd name="connsiteY28" fmla="*/ 1180 h 3934"/>
                <a:gd name="connsiteX29" fmla="*/ 393 w 3934"/>
                <a:gd name="connsiteY29" fmla="*/ 1180 h 3934"/>
                <a:gd name="connsiteX30" fmla="*/ 0 w 3934"/>
                <a:gd name="connsiteY30" fmla="*/ 1180 h 3934"/>
                <a:gd name="connsiteX31" fmla="*/ 0 w 3934"/>
                <a:gd name="connsiteY31" fmla="*/ 1967 h 3934"/>
                <a:gd name="connsiteX32" fmla="*/ 0 w 3934"/>
                <a:gd name="connsiteY32" fmla="*/ 2360 h 3934"/>
                <a:gd name="connsiteX33" fmla="*/ 0 w 3934"/>
                <a:gd name="connsiteY33" fmla="*/ 3541 h 3934"/>
                <a:gd name="connsiteX34" fmla="*/ 0 w 3934"/>
                <a:gd name="connsiteY34" fmla="*/ 3541 h 3934"/>
                <a:gd name="connsiteX35" fmla="*/ 0 w 3934"/>
                <a:gd name="connsiteY35" fmla="*/ 4328 h 3934"/>
                <a:gd name="connsiteX36" fmla="*/ 393 w 3934"/>
                <a:gd name="connsiteY36" fmla="*/ 4328 h 3934"/>
                <a:gd name="connsiteX37" fmla="*/ 393 w 3934"/>
                <a:gd name="connsiteY37" fmla="*/ 4328 h 3934"/>
                <a:gd name="connsiteX38" fmla="*/ 787 w 3934"/>
                <a:gd name="connsiteY38" fmla="*/ 4328 h 3934"/>
                <a:gd name="connsiteX39" fmla="*/ 787 w 3934"/>
                <a:gd name="connsiteY39" fmla="*/ 4721 h 3934"/>
                <a:gd name="connsiteX40" fmla="*/ 787 w 3934"/>
                <a:gd name="connsiteY40" fmla="*/ 4721 h 3934"/>
                <a:gd name="connsiteX41" fmla="*/ 787 w 3934"/>
                <a:gd name="connsiteY41" fmla="*/ 5114 h 3934"/>
                <a:gd name="connsiteX42" fmla="*/ 1573 w 3934"/>
                <a:gd name="connsiteY42" fmla="*/ 5114 h 3934"/>
                <a:gd name="connsiteX43" fmla="*/ 1573 w 3934"/>
                <a:gd name="connsiteY4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148" y="5114"/>
                  </a:moveTo>
                  <a:lnTo>
                    <a:pt x="3148" y="5114"/>
                  </a:lnTo>
                  <a:lnTo>
                    <a:pt x="3934" y="5114"/>
                  </a:lnTo>
                  <a:lnTo>
                    <a:pt x="3934" y="4721"/>
                  </a:lnTo>
                  <a:lnTo>
                    <a:pt x="3934" y="4721"/>
                  </a:lnTo>
                  <a:lnTo>
                    <a:pt x="4327" y="4328"/>
                  </a:lnTo>
                  <a:lnTo>
                    <a:pt x="4327" y="4328"/>
                  </a:lnTo>
                  <a:lnTo>
                    <a:pt x="4721" y="4328"/>
                  </a:lnTo>
                  <a:lnTo>
                    <a:pt x="4721" y="3541"/>
                  </a:lnTo>
                  <a:lnTo>
                    <a:pt x="5115" y="3541"/>
                  </a:lnTo>
                  <a:lnTo>
                    <a:pt x="5115" y="3147"/>
                  </a:lnTo>
                  <a:lnTo>
                    <a:pt x="5115" y="1967"/>
                  </a:lnTo>
                  <a:lnTo>
                    <a:pt x="4721" y="1967"/>
                  </a:lnTo>
                  <a:lnTo>
                    <a:pt x="4721" y="1180"/>
                  </a:lnTo>
                  <a:lnTo>
                    <a:pt x="4327" y="1180"/>
                  </a:lnTo>
                  <a:lnTo>
                    <a:pt x="4327" y="1180"/>
                  </a:lnTo>
                  <a:lnTo>
                    <a:pt x="3934" y="1180"/>
                  </a:lnTo>
                  <a:lnTo>
                    <a:pt x="3934" y="787"/>
                  </a:lnTo>
                  <a:lnTo>
                    <a:pt x="3934" y="787"/>
                  </a:lnTo>
                  <a:lnTo>
                    <a:pt x="3934" y="393"/>
                  </a:lnTo>
                  <a:lnTo>
                    <a:pt x="3148" y="393"/>
                  </a:lnTo>
                  <a:lnTo>
                    <a:pt x="3148" y="0"/>
                  </a:lnTo>
                  <a:lnTo>
                    <a:pt x="1967" y="0"/>
                  </a:lnTo>
                  <a:lnTo>
                    <a:pt x="1573" y="393"/>
                  </a:lnTo>
                  <a:lnTo>
                    <a:pt x="787" y="393"/>
                  </a:lnTo>
                  <a:lnTo>
                    <a:pt x="787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180"/>
                  </a:lnTo>
                  <a:lnTo>
                    <a:pt x="0" y="1180"/>
                  </a:lnTo>
                  <a:lnTo>
                    <a:pt x="0" y="1967"/>
                  </a:lnTo>
                  <a:lnTo>
                    <a:pt x="0" y="2360"/>
                  </a:lnTo>
                  <a:lnTo>
                    <a:pt x="0" y="3541"/>
                  </a:lnTo>
                  <a:lnTo>
                    <a:pt x="0" y="3541"/>
                  </a:lnTo>
                  <a:lnTo>
                    <a:pt x="0" y="4328"/>
                  </a:lnTo>
                  <a:lnTo>
                    <a:pt x="393" y="4328"/>
                  </a:lnTo>
                  <a:lnTo>
                    <a:pt x="393" y="4328"/>
                  </a:lnTo>
                  <a:lnTo>
                    <a:pt x="787" y="4328"/>
                  </a:lnTo>
                  <a:lnTo>
                    <a:pt x="787" y="4721"/>
                  </a:lnTo>
                  <a:lnTo>
                    <a:pt x="787" y="4721"/>
                  </a:lnTo>
                  <a:lnTo>
                    <a:pt x="787" y="5114"/>
                  </a:lnTo>
                  <a:lnTo>
                    <a:pt x="1573" y="5114"/>
                  </a:lnTo>
                  <a:lnTo>
                    <a:pt x="1573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52" name="Freeform: Shape 4346">
              <a:extLst>
                <a:ext uri="{FF2B5EF4-FFF2-40B4-BE49-F238E27FC236}">
                  <a16:creationId xmlns:a16="http://schemas.microsoft.com/office/drawing/2014/main" id="{5F41D690-4A8C-47B8-B360-6B7731FE9F2F}"/>
                </a:ext>
              </a:extLst>
            </p:cNvPr>
            <p:cNvSpPr/>
            <p:nvPr/>
          </p:nvSpPr>
          <p:spPr>
            <a:xfrm>
              <a:off x="9831978" y="3527398"/>
              <a:ext cx="3934" cy="3934"/>
            </a:xfrm>
            <a:custGeom>
              <a:avLst/>
              <a:gdLst>
                <a:gd name="connsiteX0" fmla="*/ 1967 w 3934"/>
                <a:gd name="connsiteY0" fmla="*/ 0 h 3934"/>
                <a:gd name="connsiteX1" fmla="*/ 1967 w 3934"/>
                <a:gd name="connsiteY1" fmla="*/ 394 h 3934"/>
                <a:gd name="connsiteX2" fmla="*/ 1180 w 3934"/>
                <a:gd name="connsiteY2" fmla="*/ 394 h 3934"/>
                <a:gd name="connsiteX3" fmla="*/ 1180 w 3934"/>
                <a:gd name="connsiteY3" fmla="*/ 787 h 3934"/>
                <a:gd name="connsiteX4" fmla="*/ 1180 w 3934"/>
                <a:gd name="connsiteY4" fmla="*/ 787 h 3934"/>
                <a:gd name="connsiteX5" fmla="*/ 1180 w 3934"/>
                <a:gd name="connsiteY5" fmla="*/ 787 h 3934"/>
                <a:gd name="connsiteX6" fmla="*/ 787 w 3934"/>
                <a:gd name="connsiteY6" fmla="*/ 787 h 3934"/>
                <a:gd name="connsiteX7" fmla="*/ 787 w 3934"/>
                <a:gd name="connsiteY7" fmla="*/ 1180 h 3934"/>
                <a:gd name="connsiteX8" fmla="*/ 393 w 3934"/>
                <a:gd name="connsiteY8" fmla="*/ 1180 h 3934"/>
                <a:gd name="connsiteX9" fmla="*/ 393 w 3934"/>
                <a:gd name="connsiteY9" fmla="*/ 1967 h 3934"/>
                <a:gd name="connsiteX10" fmla="*/ 0 w 3934"/>
                <a:gd name="connsiteY10" fmla="*/ 1967 h 3934"/>
                <a:gd name="connsiteX11" fmla="*/ 0 w 3934"/>
                <a:gd name="connsiteY11" fmla="*/ 3541 h 3934"/>
                <a:gd name="connsiteX12" fmla="*/ 393 w 3934"/>
                <a:gd name="connsiteY12" fmla="*/ 3541 h 3934"/>
                <a:gd name="connsiteX13" fmla="*/ 393 w 3934"/>
                <a:gd name="connsiteY13" fmla="*/ 3934 h 3934"/>
                <a:gd name="connsiteX14" fmla="*/ 787 w 3934"/>
                <a:gd name="connsiteY14" fmla="*/ 3934 h 3934"/>
                <a:gd name="connsiteX15" fmla="*/ 787 w 3934"/>
                <a:gd name="connsiteY15" fmla="*/ 4328 h 3934"/>
                <a:gd name="connsiteX16" fmla="*/ 1180 w 3934"/>
                <a:gd name="connsiteY16" fmla="*/ 4328 h 3934"/>
                <a:gd name="connsiteX17" fmla="*/ 1180 w 3934"/>
                <a:gd name="connsiteY17" fmla="*/ 4721 h 3934"/>
                <a:gd name="connsiteX18" fmla="*/ 1180 w 3934"/>
                <a:gd name="connsiteY18" fmla="*/ 4721 h 3934"/>
                <a:gd name="connsiteX19" fmla="*/ 1180 w 3934"/>
                <a:gd name="connsiteY19" fmla="*/ 4721 h 3934"/>
                <a:gd name="connsiteX20" fmla="*/ 1967 w 3934"/>
                <a:gd name="connsiteY20" fmla="*/ 4721 h 3934"/>
                <a:gd name="connsiteX21" fmla="*/ 1967 w 3934"/>
                <a:gd name="connsiteY21" fmla="*/ 5114 h 3934"/>
                <a:gd name="connsiteX22" fmla="*/ 3540 w 3934"/>
                <a:gd name="connsiteY22" fmla="*/ 5114 h 3934"/>
                <a:gd name="connsiteX23" fmla="*/ 3540 w 3934"/>
                <a:gd name="connsiteY23" fmla="*/ 4721 h 3934"/>
                <a:gd name="connsiteX24" fmla="*/ 3934 w 3934"/>
                <a:gd name="connsiteY24" fmla="*/ 4721 h 3934"/>
                <a:gd name="connsiteX25" fmla="*/ 3934 w 3934"/>
                <a:gd name="connsiteY25" fmla="*/ 4721 h 3934"/>
                <a:gd name="connsiteX26" fmla="*/ 4327 w 3934"/>
                <a:gd name="connsiteY26" fmla="*/ 4721 h 3934"/>
                <a:gd name="connsiteX27" fmla="*/ 4721 w 3934"/>
                <a:gd name="connsiteY27" fmla="*/ 4328 h 3934"/>
                <a:gd name="connsiteX28" fmla="*/ 4721 w 3934"/>
                <a:gd name="connsiteY28" fmla="*/ 3934 h 3934"/>
                <a:gd name="connsiteX29" fmla="*/ 5114 w 3934"/>
                <a:gd name="connsiteY29" fmla="*/ 3934 h 3934"/>
                <a:gd name="connsiteX30" fmla="*/ 5114 w 3934"/>
                <a:gd name="connsiteY30" fmla="*/ 3541 h 3934"/>
                <a:gd name="connsiteX31" fmla="*/ 5114 w 3934"/>
                <a:gd name="connsiteY31" fmla="*/ 3541 h 3934"/>
                <a:gd name="connsiteX32" fmla="*/ 5114 w 3934"/>
                <a:gd name="connsiteY32" fmla="*/ 2754 h 3934"/>
                <a:gd name="connsiteX33" fmla="*/ 5114 w 3934"/>
                <a:gd name="connsiteY33" fmla="*/ 1967 h 3934"/>
                <a:gd name="connsiteX34" fmla="*/ 5114 w 3934"/>
                <a:gd name="connsiteY34" fmla="*/ 1967 h 3934"/>
                <a:gd name="connsiteX35" fmla="*/ 5114 w 3934"/>
                <a:gd name="connsiteY35" fmla="*/ 1180 h 3934"/>
                <a:gd name="connsiteX36" fmla="*/ 4721 w 3934"/>
                <a:gd name="connsiteY36" fmla="*/ 1180 h 3934"/>
                <a:gd name="connsiteX37" fmla="*/ 4721 w 3934"/>
                <a:gd name="connsiteY37" fmla="*/ 787 h 3934"/>
                <a:gd name="connsiteX38" fmla="*/ 4327 w 3934"/>
                <a:gd name="connsiteY38" fmla="*/ 787 h 3934"/>
                <a:gd name="connsiteX39" fmla="*/ 4327 w 3934"/>
                <a:gd name="connsiteY39" fmla="*/ 787 h 3934"/>
                <a:gd name="connsiteX40" fmla="*/ 3934 w 3934"/>
                <a:gd name="connsiteY40" fmla="*/ 787 h 3934"/>
                <a:gd name="connsiteX41" fmla="*/ 3934 w 3934"/>
                <a:gd name="connsiteY41" fmla="*/ 394 h 3934"/>
                <a:gd name="connsiteX42" fmla="*/ 3540 w 3934"/>
                <a:gd name="connsiteY42" fmla="*/ 394 h 3934"/>
                <a:gd name="connsiteX43" fmla="*/ 3540 w 3934"/>
                <a:gd name="connsiteY4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1967" y="0"/>
                  </a:moveTo>
                  <a:lnTo>
                    <a:pt x="1967" y="394"/>
                  </a:lnTo>
                  <a:lnTo>
                    <a:pt x="1180" y="394"/>
                  </a:lnTo>
                  <a:lnTo>
                    <a:pt x="1180" y="787"/>
                  </a:lnTo>
                  <a:lnTo>
                    <a:pt x="1180" y="787"/>
                  </a:lnTo>
                  <a:lnTo>
                    <a:pt x="1180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967"/>
                  </a:lnTo>
                  <a:lnTo>
                    <a:pt x="0" y="1967"/>
                  </a:lnTo>
                  <a:lnTo>
                    <a:pt x="0" y="3541"/>
                  </a:lnTo>
                  <a:lnTo>
                    <a:pt x="393" y="3541"/>
                  </a:lnTo>
                  <a:lnTo>
                    <a:pt x="393" y="3934"/>
                  </a:lnTo>
                  <a:lnTo>
                    <a:pt x="787" y="3934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180" y="4721"/>
                  </a:lnTo>
                  <a:lnTo>
                    <a:pt x="1180" y="4721"/>
                  </a:lnTo>
                  <a:lnTo>
                    <a:pt x="1967" y="4721"/>
                  </a:lnTo>
                  <a:lnTo>
                    <a:pt x="1967" y="5114"/>
                  </a:lnTo>
                  <a:lnTo>
                    <a:pt x="3540" y="5114"/>
                  </a:lnTo>
                  <a:lnTo>
                    <a:pt x="3540" y="4721"/>
                  </a:lnTo>
                  <a:lnTo>
                    <a:pt x="3934" y="4721"/>
                  </a:lnTo>
                  <a:lnTo>
                    <a:pt x="3934" y="4721"/>
                  </a:lnTo>
                  <a:lnTo>
                    <a:pt x="4327" y="4721"/>
                  </a:lnTo>
                  <a:lnTo>
                    <a:pt x="4721" y="4328"/>
                  </a:lnTo>
                  <a:lnTo>
                    <a:pt x="4721" y="3934"/>
                  </a:lnTo>
                  <a:lnTo>
                    <a:pt x="5114" y="3934"/>
                  </a:lnTo>
                  <a:lnTo>
                    <a:pt x="5114" y="3541"/>
                  </a:lnTo>
                  <a:lnTo>
                    <a:pt x="5114" y="3541"/>
                  </a:lnTo>
                  <a:lnTo>
                    <a:pt x="5114" y="2754"/>
                  </a:lnTo>
                  <a:lnTo>
                    <a:pt x="5114" y="1967"/>
                  </a:lnTo>
                  <a:lnTo>
                    <a:pt x="5114" y="1967"/>
                  </a:lnTo>
                  <a:lnTo>
                    <a:pt x="5114" y="1180"/>
                  </a:lnTo>
                  <a:lnTo>
                    <a:pt x="4721" y="1180"/>
                  </a:lnTo>
                  <a:lnTo>
                    <a:pt x="4721" y="787"/>
                  </a:lnTo>
                  <a:lnTo>
                    <a:pt x="4327" y="787"/>
                  </a:lnTo>
                  <a:lnTo>
                    <a:pt x="4327" y="787"/>
                  </a:lnTo>
                  <a:lnTo>
                    <a:pt x="3934" y="787"/>
                  </a:lnTo>
                  <a:lnTo>
                    <a:pt x="3934" y="394"/>
                  </a:lnTo>
                  <a:lnTo>
                    <a:pt x="3540" y="394"/>
                  </a:lnTo>
                  <a:lnTo>
                    <a:pt x="354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53" name="Freeform: Shape 4347">
              <a:extLst>
                <a:ext uri="{FF2B5EF4-FFF2-40B4-BE49-F238E27FC236}">
                  <a16:creationId xmlns:a16="http://schemas.microsoft.com/office/drawing/2014/main" id="{9871FBCE-C63D-4795-B717-E2E200C21B91}"/>
                </a:ext>
              </a:extLst>
            </p:cNvPr>
            <p:cNvSpPr/>
            <p:nvPr/>
          </p:nvSpPr>
          <p:spPr>
            <a:xfrm>
              <a:off x="9710016" y="4134062"/>
              <a:ext cx="3934" cy="3934"/>
            </a:xfrm>
            <a:custGeom>
              <a:avLst/>
              <a:gdLst>
                <a:gd name="connsiteX0" fmla="*/ 3540 w 3934"/>
                <a:gd name="connsiteY0" fmla="*/ 4721 h 3934"/>
                <a:gd name="connsiteX1" fmla="*/ 3934 w 3934"/>
                <a:gd name="connsiteY1" fmla="*/ 4721 h 3934"/>
                <a:gd name="connsiteX2" fmla="*/ 3934 w 3934"/>
                <a:gd name="connsiteY2" fmla="*/ 4328 h 3934"/>
                <a:gd name="connsiteX3" fmla="*/ 4327 w 3934"/>
                <a:gd name="connsiteY3" fmla="*/ 4328 h 3934"/>
                <a:gd name="connsiteX4" fmla="*/ 4721 w 3934"/>
                <a:gd name="connsiteY4" fmla="*/ 4328 h 3934"/>
                <a:gd name="connsiteX5" fmla="*/ 4721 w 3934"/>
                <a:gd name="connsiteY5" fmla="*/ 3934 h 3934"/>
                <a:gd name="connsiteX6" fmla="*/ 4721 w 3934"/>
                <a:gd name="connsiteY6" fmla="*/ 3934 h 3934"/>
                <a:gd name="connsiteX7" fmla="*/ 4721 w 3934"/>
                <a:gd name="connsiteY7" fmla="*/ 3147 h 3934"/>
                <a:gd name="connsiteX8" fmla="*/ 5114 w 3934"/>
                <a:gd name="connsiteY8" fmla="*/ 3147 h 3934"/>
                <a:gd name="connsiteX9" fmla="*/ 5114 w 3934"/>
                <a:gd name="connsiteY9" fmla="*/ 2754 h 3934"/>
                <a:gd name="connsiteX10" fmla="*/ 5114 w 3934"/>
                <a:gd name="connsiteY10" fmla="*/ 1574 h 3934"/>
                <a:gd name="connsiteX11" fmla="*/ 4721 w 3934"/>
                <a:gd name="connsiteY11" fmla="*/ 1574 h 3934"/>
                <a:gd name="connsiteX12" fmla="*/ 4721 w 3934"/>
                <a:gd name="connsiteY12" fmla="*/ 1180 h 3934"/>
                <a:gd name="connsiteX13" fmla="*/ 4721 w 3934"/>
                <a:gd name="connsiteY13" fmla="*/ 1180 h 3934"/>
                <a:gd name="connsiteX14" fmla="*/ 4721 w 3934"/>
                <a:gd name="connsiteY14" fmla="*/ 787 h 3934"/>
                <a:gd name="connsiteX15" fmla="*/ 4327 w 3934"/>
                <a:gd name="connsiteY15" fmla="*/ 787 h 3934"/>
                <a:gd name="connsiteX16" fmla="*/ 4327 w 3934"/>
                <a:gd name="connsiteY16" fmla="*/ 393 h 3934"/>
                <a:gd name="connsiteX17" fmla="*/ 3934 w 3934"/>
                <a:gd name="connsiteY17" fmla="*/ 393 h 3934"/>
                <a:gd name="connsiteX18" fmla="*/ 3934 w 3934"/>
                <a:gd name="connsiteY18" fmla="*/ 0 h 3934"/>
                <a:gd name="connsiteX19" fmla="*/ 3540 w 3934"/>
                <a:gd name="connsiteY19" fmla="*/ 0 h 3934"/>
                <a:gd name="connsiteX20" fmla="*/ 3540 w 3934"/>
                <a:gd name="connsiteY20" fmla="*/ 0 h 3934"/>
                <a:gd name="connsiteX21" fmla="*/ 1967 w 3934"/>
                <a:gd name="connsiteY21" fmla="*/ 0 h 3934"/>
                <a:gd name="connsiteX22" fmla="*/ 1573 w 3934"/>
                <a:gd name="connsiteY22" fmla="*/ 0 h 3934"/>
                <a:gd name="connsiteX23" fmla="*/ 1180 w 3934"/>
                <a:gd name="connsiteY23" fmla="*/ 0 h 3934"/>
                <a:gd name="connsiteX24" fmla="*/ 1180 w 3934"/>
                <a:gd name="connsiteY24" fmla="*/ 393 h 3934"/>
                <a:gd name="connsiteX25" fmla="*/ 787 w 3934"/>
                <a:gd name="connsiteY25" fmla="*/ 393 h 3934"/>
                <a:gd name="connsiteX26" fmla="*/ 787 w 3934"/>
                <a:gd name="connsiteY26" fmla="*/ 787 h 3934"/>
                <a:gd name="connsiteX27" fmla="*/ 393 w 3934"/>
                <a:gd name="connsiteY27" fmla="*/ 787 h 3934"/>
                <a:gd name="connsiteX28" fmla="*/ 393 w 3934"/>
                <a:gd name="connsiteY28" fmla="*/ 1180 h 3934"/>
                <a:gd name="connsiteX29" fmla="*/ 393 w 3934"/>
                <a:gd name="connsiteY29" fmla="*/ 1180 h 3934"/>
                <a:gd name="connsiteX30" fmla="*/ 393 w 3934"/>
                <a:gd name="connsiteY30" fmla="*/ 1574 h 3934"/>
                <a:gd name="connsiteX31" fmla="*/ 0 w 3934"/>
                <a:gd name="connsiteY31" fmla="*/ 1967 h 3934"/>
                <a:gd name="connsiteX32" fmla="*/ 0 w 3934"/>
                <a:gd name="connsiteY32" fmla="*/ 3147 h 3934"/>
                <a:gd name="connsiteX33" fmla="*/ 393 w 3934"/>
                <a:gd name="connsiteY33" fmla="*/ 3147 h 3934"/>
                <a:gd name="connsiteX34" fmla="*/ 393 w 3934"/>
                <a:gd name="connsiteY34" fmla="*/ 3934 h 3934"/>
                <a:gd name="connsiteX35" fmla="*/ 393 w 3934"/>
                <a:gd name="connsiteY35" fmla="*/ 3934 h 3934"/>
                <a:gd name="connsiteX36" fmla="*/ 393 w 3934"/>
                <a:gd name="connsiteY36" fmla="*/ 4328 h 3934"/>
                <a:gd name="connsiteX37" fmla="*/ 787 w 3934"/>
                <a:gd name="connsiteY37" fmla="*/ 4328 h 3934"/>
                <a:gd name="connsiteX38" fmla="*/ 787 w 3934"/>
                <a:gd name="connsiteY38" fmla="*/ 4328 h 3934"/>
                <a:gd name="connsiteX39" fmla="*/ 1180 w 3934"/>
                <a:gd name="connsiteY39" fmla="*/ 4328 h 3934"/>
                <a:gd name="connsiteX40" fmla="*/ 1180 w 3934"/>
                <a:gd name="connsiteY40" fmla="*/ 4721 h 3934"/>
                <a:gd name="connsiteX41" fmla="*/ 1573 w 3934"/>
                <a:gd name="connsiteY41" fmla="*/ 4721 h 3934"/>
                <a:gd name="connsiteX42" fmla="*/ 1573 w 3934"/>
                <a:gd name="connsiteY42" fmla="*/ 5114 h 3934"/>
                <a:gd name="connsiteX43" fmla="*/ 3540 w 3934"/>
                <a:gd name="connsiteY4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540" y="4721"/>
                  </a:moveTo>
                  <a:lnTo>
                    <a:pt x="3934" y="4721"/>
                  </a:lnTo>
                  <a:lnTo>
                    <a:pt x="3934" y="4328"/>
                  </a:lnTo>
                  <a:lnTo>
                    <a:pt x="4327" y="4328"/>
                  </a:lnTo>
                  <a:lnTo>
                    <a:pt x="4721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4721" y="3147"/>
                  </a:lnTo>
                  <a:lnTo>
                    <a:pt x="5114" y="3147"/>
                  </a:lnTo>
                  <a:lnTo>
                    <a:pt x="5114" y="2754"/>
                  </a:lnTo>
                  <a:lnTo>
                    <a:pt x="5114" y="1574"/>
                  </a:lnTo>
                  <a:lnTo>
                    <a:pt x="4721" y="1574"/>
                  </a:lnTo>
                  <a:lnTo>
                    <a:pt x="4721" y="1180"/>
                  </a:lnTo>
                  <a:lnTo>
                    <a:pt x="4721" y="1180"/>
                  </a:lnTo>
                  <a:lnTo>
                    <a:pt x="4721" y="787"/>
                  </a:lnTo>
                  <a:lnTo>
                    <a:pt x="4327" y="787"/>
                  </a:lnTo>
                  <a:lnTo>
                    <a:pt x="4327" y="393"/>
                  </a:lnTo>
                  <a:lnTo>
                    <a:pt x="3934" y="393"/>
                  </a:lnTo>
                  <a:lnTo>
                    <a:pt x="3934" y="0"/>
                  </a:lnTo>
                  <a:lnTo>
                    <a:pt x="3540" y="0"/>
                  </a:lnTo>
                  <a:lnTo>
                    <a:pt x="3540" y="0"/>
                  </a:lnTo>
                  <a:lnTo>
                    <a:pt x="1967" y="0"/>
                  </a:lnTo>
                  <a:lnTo>
                    <a:pt x="1573" y="0"/>
                  </a:lnTo>
                  <a:lnTo>
                    <a:pt x="1180" y="0"/>
                  </a:lnTo>
                  <a:lnTo>
                    <a:pt x="1180" y="393"/>
                  </a:lnTo>
                  <a:lnTo>
                    <a:pt x="787" y="393"/>
                  </a:lnTo>
                  <a:lnTo>
                    <a:pt x="787" y="787"/>
                  </a:lnTo>
                  <a:lnTo>
                    <a:pt x="393" y="787"/>
                  </a:lnTo>
                  <a:lnTo>
                    <a:pt x="393" y="1180"/>
                  </a:lnTo>
                  <a:lnTo>
                    <a:pt x="393" y="1180"/>
                  </a:lnTo>
                  <a:lnTo>
                    <a:pt x="393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393" y="3147"/>
                  </a:lnTo>
                  <a:lnTo>
                    <a:pt x="393" y="3934"/>
                  </a:lnTo>
                  <a:lnTo>
                    <a:pt x="393" y="3934"/>
                  </a:lnTo>
                  <a:lnTo>
                    <a:pt x="393" y="4328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573" y="4721"/>
                  </a:lnTo>
                  <a:lnTo>
                    <a:pt x="1573" y="5114"/>
                  </a:lnTo>
                  <a:lnTo>
                    <a:pt x="3540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54" name="Freeform: Shape 4348">
              <a:extLst>
                <a:ext uri="{FF2B5EF4-FFF2-40B4-BE49-F238E27FC236}">
                  <a16:creationId xmlns:a16="http://schemas.microsoft.com/office/drawing/2014/main" id="{09C7996B-5957-4C6D-A122-BFE3087C45D1}"/>
                </a:ext>
              </a:extLst>
            </p:cNvPr>
            <p:cNvSpPr/>
            <p:nvPr/>
          </p:nvSpPr>
          <p:spPr>
            <a:xfrm>
              <a:off x="9722211" y="4144291"/>
              <a:ext cx="3934" cy="3934"/>
            </a:xfrm>
            <a:custGeom>
              <a:avLst/>
              <a:gdLst>
                <a:gd name="connsiteX0" fmla="*/ 3541 w 3934"/>
                <a:gd name="connsiteY0" fmla="*/ 5115 h 3934"/>
                <a:gd name="connsiteX1" fmla="*/ 3541 w 3934"/>
                <a:gd name="connsiteY1" fmla="*/ 4721 h 3934"/>
                <a:gd name="connsiteX2" fmla="*/ 3934 w 3934"/>
                <a:gd name="connsiteY2" fmla="*/ 4721 h 3934"/>
                <a:gd name="connsiteX3" fmla="*/ 3934 w 3934"/>
                <a:gd name="connsiteY3" fmla="*/ 4328 h 3934"/>
                <a:gd name="connsiteX4" fmla="*/ 4328 w 3934"/>
                <a:gd name="connsiteY4" fmla="*/ 4328 h 3934"/>
                <a:gd name="connsiteX5" fmla="*/ 4721 w 3934"/>
                <a:gd name="connsiteY5" fmla="*/ 3934 h 3934"/>
                <a:gd name="connsiteX6" fmla="*/ 4721 w 3934"/>
                <a:gd name="connsiteY6" fmla="*/ 3934 h 3934"/>
                <a:gd name="connsiteX7" fmla="*/ 4721 w 3934"/>
                <a:gd name="connsiteY7" fmla="*/ 3934 h 3934"/>
                <a:gd name="connsiteX8" fmla="*/ 4721 w 3934"/>
                <a:gd name="connsiteY8" fmla="*/ 3148 h 3934"/>
                <a:gd name="connsiteX9" fmla="*/ 5115 w 3934"/>
                <a:gd name="connsiteY9" fmla="*/ 3148 h 3934"/>
                <a:gd name="connsiteX10" fmla="*/ 5115 w 3934"/>
                <a:gd name="connsiteY10" fmla="*/ 2754 h 3934"/>
                <a:gd name="connsiteX11" fmla="*/ 5115 w 3934"/>
                <a:gd name="connsiteY11" fmla="*/ 1574 h 3934"/>
                <a:gd name="connsiteX12" fmla="*/ 4721 w 3934"/>
                <a:gd name="connsiteY12" fmla="*/ 1574 h 3934"/>
                <a:gd name="connsiteX13" fmla="*/ 4721 w 3934"/>
                <a:gd name="connsiteY13" fmla="*/ 1180 h 3934"/>
                <a:gd name="connsiteX14" fmla="*/ 4721 w 3934"/>
                <a:gd name="connsiteY14" fmla="*/ 1180 h 3934"/>
                <a:gd name="connsiteX15" fmla="*/ 4721 w 3934"/>
                <a:gd name="connsiteY15" fmla="*/ 787 h 3934"/>
                <a:gd name="connsiteX16" fmla="*/ 4328 w 3934"/>
                <a:gd name="connsiteY16" fmla="*/ 787 h 3934"/>
                <a:gd name="connsiteX17" fmla="*/ 4328 w 3934"/>
                <a:gd name="connsiteY17" fmla="*/ 394 h 3934"/>
                <a:gd name="connsiteX18" fmla="*/ 3934 w 3934"/>
                <a:gd name="connsiteY18" fmla="*/ 394 h 3934"/>
                <a:gd name="connsiteX19" fmla="*/ 3934 w 3934"/>
                <a:gd name="connsiteY19" fmla="*/ 0 h 3934"/>
                <a:gd name="connsiteX20" fmla="*/ 3541 w 3934"/>
                <a:gd name="connsiteY20" fmla="*/ 0 h 3934"/>
                <a:gd name="connsiteX21" fmla="*/ 3541 w 3934"/>
                <a:gd name="connsiteY21" fmla="*/ 0 h 3934"/>
                <a:gd name="connsiteX22" fmla="*/ 1967 w 3934"/>
                <a:gd name="connsiteY22" fmla="*/ 0 h 3934"/>
                <a:gd name="connsiteX23" fmla="*/ 1574 w 3934"/>
                <a:gd name="connsiteY23" fmla="*/ 0 h 3934"/>
                <a:gd name="connsiteX24" fmla="*/ 1180 w 3934"/>
                <a:gd name="connsiteY24" fmla="*/ 0 h 3934"/>
                <a:gd name="connsiteX25" fmla="*/ 1180 w 3934"/>
                <a:gd name="connsiteY25" fmla="*/ 394 h 3934"/>
                <a:gd name="connsiteX26" fmla="*/ 787 w 3934"/>
                <a:gd name="connsiteY26" fmla="*/ 394 h 3934"/>
                <a:gd name="connsiteX27" fmla="*/ 787 w 3934"/>
                <a:gd name="connsiteY27" fmla="*/ 787 h 3934"/>
                <a:gd name="connsiteX28" fmla="*/ 394 w 3934"/>
                <a:gd name="connsiteY28" fmla="*/ 787 h 3934"/>
                <a:gd name="connsiteX29" fmla="*/ 394 w 3934"/>
                <a:gd name="connsiteY29" fmla="*/ 1180 h 3934"/>
                <a:gd name="connsiteX30" fmla="*/ 394 w 3934"/>
                <a:gd name="connsiteY30" fmla="*/ 1180 h 3934"/>
                <a:gd name="connsiteX31" fmla="*/ 394 w 3934"/>
                <a:gd name="connsiteY31" fmla="*/ 1574 h 3934"/>
                <a:gd name="connsiteX32" fmla="*/ 0 w 3934"/>
                <a:gd name="connsiteY32" fmla="*/ 1967 h 3934"/>
                <a:gd name="connsiteX33" fmla="*/ 0 w 3934"/>
                <a:gd name="connsiteY33" fmla="*/ 3148 h 3934"/>
                <a:gd name="connsiteX34" fmla="*/ 394 w 3934"/>
                <a:gd name="connsiteY34" fmla="*/ 3148 h 3934"/>
                <a:gd name="connsiteX35" fmla="*/ 394 w 3934"/>
                <a:gd name="connsiteY35" fmla="*/ 3934 h 3934"/>
                <a:gd name="connsiteX36" fmla="*/ 394 w 3934"/>
                <a:gd name="connsiteY36" fmla="*/ 3934 h 3934"/>
                <a:gd name="connsiteX37" fmla="*/ 394 w 3934"/>
                <a:gd name="connsiteY37" fmla="*/ 3934 h 3934"/>
                <a:gd name="connsiteX38" fmla="*/ 787 w 3934"/>
                <a:gd name="connsiteY38" fmla="*/ 3934 h 3934"/>
                <a:gd name="connsiteX39" fmla="*/ 787 w 3934"/>
                <a:gd name="connsiteY39" fmla="*/ 4328 h 3934"/>
                <a:gd name="connsiteX40" fmla="*/ 1180 w 3934"/>
                <a:gd name="connsiteY40" fmla="*/ 4328 h 3934"/>
                <a:gd name="connsiteX41" fmla="*/ 1180 w 3934"/>
                <a:gd name="connsiteY41" fmla="*/ 4721 h 3934"/>
                <a:gd name="connsiteX42" fmla="*/ 1574 w 3934"/>
                <a:gd name="connsiteY42" fmla="*/ 4721 h 3934"/>
                <a:gd name="connsiteX43" fmla="*/ 1574 w 3934"/>
                <a:gd name="connsiteY43" fmla="*/ 511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541" y="5115"/>
                  </a:moveTo>
                  <a:lnTo>
                    <a:pt x="3541" y="4721"/>
                  </a:lnTo>
                  <a:lnTo>
                    <a:pt x="3934" y="4721"/>
                  </a:lnTo>
                  <a:lnTo>
                    <a:pt x="3934" y="4328"/>
                  </a:lnTo>
                  <a:lnTo>
                    <a:pt x="4328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4721" y="3148"/>
                  </a:lnTo>
                  <a:lnTo>
                    <a:pt x="5115" y="3148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4721" y="1574"/>
                  </a:lnTo>
                  <a:lnTo>
                    <a:pt x="4721" y="1180"/>
                  </a:lnTo>
                  <a:lnTo>
                    <a:pt x="4721" y="1180"/>
                  </a:lnTo>
                  <a:lnTo>
                    <a:pt x="4721" y="787"/>
                  </a:lnTo>
                  <a:lnTo>
                    <a:pt x="4328" y="787"/>
                  </a:lnTo>
                  <a:lnTo>
                    <a:pt x="4328" y="394"/>
                  </a:lnTo>
                  <a:lnTo>
                    <a:pt x="3934" y="394"/>
                  </a:lnTo>
                  <a:lnTo>
                    <a:pt x="3934" y="0"/>
                  </a:lnTo>
                  <a:lnTo>
                    <a:pt x="3541" y="0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574" y="0"/>
                  </a:lnTo>
                  <a:lnTo>
                    <a:pt x="1180" y="0"/>
                  </a:lnTo>
                  <a:lnTo>
                    <a:pt x="1180" y="394"/>
                  </a:lnTo>
                  <a:lnTo>
                    <a:pt x="787" y="394"/>
                  </a:lnTo>
                  <a:lnTo>
                    <a:pt x="787" y="787"/>
                  </a:lnTo>
                  <a:lnTo>
                    <a:pt x="394" y="787"/>
                  </a:lnTo>
                  <a:lnTo>
                    <a:pt x="394" y="1180"/>
                  </a:lnTo>
                  <a:lnTo>
                    <a:pt x="394" y="1180"/>
                  </a:lnTo>
                  <a:lnTo>
                    <a:pt x="394" y="1574"/>
                  </a:lnTo>
                  <a:lnTo>
                    <a:pt x="0" y="1967"/>
                  </a:lnTo>
                  <a:lnTo>
                    <a:pt x="0" y="3148"/>
                  </a:lnTo>
                  <a:lnTo>
                    <a:pt x="394" y="3148"/>
                  </a:lnTo>
                  <a:lnTo>
                    <a:pt x="394" y="3934"/>
                  </a:lnTo>
                  <a:lnTo>
                    <a:pt x="394" y="3934"/>
                  </a:lnTo>
                  <a:lnTo>
                    <a:pt x="394" y="3934"/>
                  </a:lnTo>
                  <a:lnTo>
                    <a:pt x="787" y="3934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574" y="4721"/>
                  </a:lnTo>
                  <a:lnTo>
                    <a:pt x="1574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55" name="Freeform: Shape 4349">
              <a:extLst>
                <a:ext uri="{FF2B5EF4-FFF2-40B4-BE49-F238E27FC236}">
                  <a16:creationId xmlns:a16="http://schemas.microsoft.com/office/drawing/2014/main" id="{374F6E56-633A-4896-A6AD-F2F1AAE2EEA9}"/>
                </a:ext>
              </a:extLst>
            </p:cNvPr>
            <p:cNvSpPr/>
            <p:nvPr/>
          </p:nvSpPr>
          <p:spPr>
            <a:xfrm>
              <a:off x="9556579" y="4384281"/>
              <a:ext cx="3934" cy="3934"/>
            </a:xfrm>
            <a:custGeom>
              <a:avLst/>
              <a:gdLst>
                <a:gd name="connsiteX0" fmla="*/ 3540 w 3934"/>
                <a:gd name="connsiteY0" fmla="*/ 4721 h 3934"/>
                <a:gd name="connsiteX1" fmla="*/ 3540 w 3934"/>
                <a:gd name="connsiteY1" fmla="*/ 4721 h 3934"/>
                <a:gd name="connsiteX2" fmla="*/ 4327 w 3934"/>
                <a:gd name="connsiteY2" fmla="*/ 4721 h 3934"/>
                <a:gd name="connsiteX3" fmla="*/ 4327 w 3934"/>
                <a:gd name="connsiteY3" fmla="*/ 4328 h 3934"/>
                <a:gd name="connsiteX4" fmla="*/ 4327 w 3934"/>
                <a:gd name="connsiteY4" fmla="*/ 4328 h 3934"/>
                <a:gd name="connsiteX5" fmla="*/ 4721 w 3934"/>
                <a:gd name="connsiteY5" fmla="*/ 3934 h 3934"/>
                <a:gd name="connsiteX6" fmla="*/ 4721 w 3934"/>
                <a:gd name="connsiteY6" fmla="*/ 3934 h 3934"/>
                <a:gd name="connsiteX7" fmla="*/ 5114 w 3934"/>
                <a:gd name="connsiteY7" fmla="*/ 3934 h 3934"/>
                <a:gd name="connsiteX8" fmla="*/ 5114 w 3934"/>
                <a:gd name="connsiteY8" fmla="*/ 3148 h 3934"/>
                <a:gd name="connsiteX9" fmla="*/ 5114 w 3934"/>
                <a:gd name="connsiteY9" fmla="*/ 3148 h 3934"/>
                <a:gd name="connsiteX10" fmla="*/ 5114 w 3934"/>
                <a:gd name="connsiteY10" fmla="*/ 2754 h 3934"/>
                <a:gd name="connsiteX11" fmla="*/ 5114 w 3934"/>
                <a:gd name="connsiteY11" fmla="*/ 1574 h 3934"/>
                <a:gd name="connsiteX12" fmla="*/ 5114 w 3934"/>
                <a:gd name="connsiteY12" fmla="*/ 1574 h 3934"/>
                <a:gd name="connsiteX13" fmla="*/ 5114 w 3934"/>
                <a:gd name="connsiteY13" fmla="*/ 787 h 3934"/>
                <a:gd name="connsiteX14" fmla="*/ 4721 w 3934"/>
                <a:gd name="connsiteY14" fmla="*/ 787 h 3934"/>
                <a:gd name="connsiteX15" fmla="*/ 4721 w 3934"/>
                <a:gd name="connsiteY15" fmla="*/ 787 h 3934"/>
                <a:gd name="connsiteX16" fmla="*/ 4327 w 3934"/>
                <a:gd name="connsiteY16" fmla="*/ 787 h 3934"/>
                <a:gd name="connsiteX17" fmla="*/ 4327 w 3934"/>
                <a:gd name="connsiteY17" fmla="*/ 394 h 3934"/>
                <a:gd name="connsiteX18" fmla="*/ 4327 w 3934"/>
                <a:gd name="connsiteY18" fmla="*/ 394 h 3934"/>
                <a:gd name="connsiteX19" fmla="*/ 4327 w 3934"/>
                <a:gd name="connsiteY19" fmla="*/ 0 h 3934"/>
                <a:gd name="connsiteX20" fmla="*/ 3540 w 3934"/>
                <a:gd name="connsiteY20" fmla="*/ 0 h 3934"/>
                <a:gd name="connsiteX21" fmla="*/ 3540 w 3934"/>
                <a:gd name="connsiteY21" fmla="*/ 0 h 3934"/>
                <a:gd name="connsiteX22" fmla="*/ 1967 w 3934"/>
                <a:gd name="connsiteY22" fmla="*/ 0 h 3934"/>
                <a:gd name="connsiteX23" fmla="*/ 1967 w 3934"/>
                <a:gd name="connsiteY23" fmla="*/ 0 h 3934"/>
                <a:gd name="connsiteX24" fmla="*/ 1180 w 3934"/>
                <a:gd name="connsiteY24" fmla="*/ 0 h 3934"/>
                <a:gd name="connsiteX25" fmla="*/ 1180 w 3934"/>
                <a:gd name="connsiteY25" fmla="*/ 394 h 3934"/>
                <a:gd name="connsiteX26" fmla="*/ 1180 w 3934"/>
                <a:gd name="connsiteY26" fmla="*/ 394 h 3934"/>
                <a:gd name="connsiteX27" fmla="*/ 1180 w 3934"/>
                <a:gd name="connsiteY27" fmla="*/ 787 h 3934"/>
                <a:gd name="connsiteX28" fmla="*/ 787 w 3934"/>
                <a:gd name="connsiteY28" fmla="*/ 787 h 3934"/>
                <a:gd name="connsiteX29" fmla="*/ 787 w 3934"/>
                <a:gd name="connsiteY29" fmla="*/ 787 h 3934"/>
                <a:gd name="connsiteX30" fmla="*/ 393 w 3934"/>
                <a:gd name="connsiteY30" fmla="*/ 787 h 3934"/>
                <a:gd name="connsiteX31" fmla="*/ 393 w 3934"/>
                <a:gd name="connsiteY31" fmla="*/ 1574 h 3934"/>
                <a:gd name="connsiteX32" fmla="*/ 0 w 3934"/>
                <a:gd name="connsiteY32" fmla="*/ 1967 h 3934"/>
                <a:gd name="connsiteX33" fmla="*/ 0 w 3934"/>
                <a:gd name="connsiteY33" fmla="*/ 3148 h 3934"/>
                <a:gd name="connsiteX34" fmla="*/ 393 w 3934"/>
                <a:gd name="connsiteY34" fmla="*/ 3148 h 3934"/>
                <a:gd name="connsiteX35" fmla="*/ 393 w 3934"/>
                <a:gd name="connsiteY35" fmla="*/ 3934 h 3934"/>
                <a:gd name="connsiteX36" fmla="*/ 787 w 3934"/>
                <a:gd name="connsiteY36" fmla="*/ 3934 h 3934"/>
                <a:gd name="connsiteX37" fmla="*/ 787 w 3934"/>
                <a:gd name="connsiteY37" fmla="*/ 3934 h 3934"/>
                <a:gd name="connsiteX38" fmla="*/ 1180 w 3934"/>
                <a:gd name="connsiteY38" fmla="*/ 3934 h 3934"/>
                <a:gd name="connsiteX39" fmla="*/ 1180 w 3934"/>
                <a:gd name="connsiteY39" fmla="*/ 4328 h 3934"/>
                <a:gd name="connsiteX40" fmla="*/ 1180 w 3934"/>
                <a:gd name="connsiteY40" fmla="*/ 4328 h 3934"/>
                <a:gd name="connsiteX41" fmla="*/ 1180 w 3934"/>
                <a:gd name="connsiteY41" fmla="*/ 4721 h 3934"/>
                <a:gd name="connsiteX42" fmla="*/ 1967 w 3934"/>
                <a:gd name="connsiteY42" fmla="*/ 4721 h 3934"/>
                <a:gd name="connsiteX43" fmla="*/ 1967 w 3934"/>
                <a:gd name="connsiteY43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540" y="4721"/>
                  </a:moveTo>
                  <a:lnTo>
                    <a:pt x="3540" y="4721"/>
                  </a:lnTo>
                  <a:lnTo>
                    <a:pt x="4327" y="4721"/>
                  </a:lnTo>
                  <a:lnTo>
                    <a:pt x="4327" y="4328"/>
                  </a:lnTo>
                  <a:lnTo>
                    <a:pt x="4327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5114" y="3934"/>
                  </a:lnTo>
                  <a:lnTo>
                    <a:pt x="5114" y="3148"/>
                  </a:lnTo>
                  <a:lnTo>
                    <a:pt x="5114" y="3148"/>
                  </a:lnTo>
                  <a:lnTo>
                    <a:pt x="5114" y="2754"/>
                  </a:lnTo>
                  <a:lnTo>
                    <a:pt x="5114" y="1574"/>
                  </a:lnTo>
                  <a:lnTo>
                    <a:pt x="5114" y="1574"/>
                  </a:lnTo>
                  <a:lnTo>
                    <a:pt x="5114" y="787"/>
                  </a:lnTo>
                  <a:lnTo>
                    <a:pt x="4721" y="787"/>
                  </a:lnTo>
                  <a:lnTo>
                    <a:pt x="4721" y="787"/>
                  </a:lnTo>
                  <a:lnTo>
                    <a:pt x="4327" y="787"/>
                  </a:lnTo>
                  <a:lnTo>
                    <a:pt x="4327" y="394"/>
                  </a:lnTo>
                  <a:lnTo>
                    <a:pt x="4327" y="394"/>
                  </a:lnTo>
                  <a:lnTo>
                    <a:pt x="4327" y="0"/>
                  </a:lnTo>
                  <a:lnTo>
                    <a:pt x="3540" y="0"/>
                  </a:lnTo>
                  <a:lnTo>
                    <a:pt x="3540" y="0"/>
                  </a:lnTo>
                  <a:lnTo>
                    <a:pt x="1967" y="0"/>
                  </a:lnTo>
                  <a:lnTo>
                    <a:pt x="1967" y="0"/>
                  </a:lnTo>
                  <a:lnTo>
                    <a:pt x="1180" y="0"/>
                  </a:lnTo>
                  <a:lnTo>
                    <a:pt x="1180" y="394"/>
                  </a:lnTo>
                  <a:lnTo>
                    <a:pt x="1180" y="394"/>
                  </a:lnTo>
                  <a:lnTo>
                    <a:pt x="1180" y="787"/>
                  </a:lnTo>
                  <a:lnTo>
                    <a:pt x="787" y="787"/>
                  </a:lnTo>
                  <a:lnTo>
                    <a:pt x="787" y="787"/>
                  </a:lnTo>
                  <a:lnTo>
                    <a:pt x="393" y="787"/>
                  </a:lnTo>
                  <a:lnTo>
                    <a:pt x="393" y="1574"/>
                  </a:lnTo>
                  <a:lnTo>
                    <a:pt x="0" y="1967"/>
                  </a:lnTo>
                  <a:lnTo>
                    <a:pt x="0" y="3148"/>
                  </a:lnTo>
                  <a:lnTo>
                    <a:pt x="393" y="3148"/>
                  </a:lnTo>
                  <a:lnTo>
                    <a:pt x="393" y="3934"/>
                  </a:lnTo>
                  <a:lnTo>
                    <a:pt x="787" y="3934"/>
                  </a:lnTo>
                  <a:lnTo>
                    <a:pt x="787" y="3934"/>
                  </a:lnTo>
                  <a:lnTo>
                    <a:pt x="1180" y="3934"/>
                  </a:lnTo>
                  <a:lnTo>
                    <a:pt x="1180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967" y="4721"/>
                  </a:lnTo>
                  <a:lnTo>
                    <a:pt x="1967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56" name="Freeform: Shape 4350">
              <a:extLst>
                <a:ext uri="{FF2B5EF4-FFF2-40B4-BE49-F238E27FC236}">
                  <a16:creationId xmlns:a16="http://schemas.microsoft.com/office/drawing/2014/main" id="{6662EA03-DC3D-40FE-B803-A5C5EF10660D}"/>
                </a:ext>
              </a:extLst>
            </p:cNvPr>
            <p:cNvSpPr/>
            <p:nvPr/>
          </p:nvSpPr>
          <p:spPr>
            <a:xfrm>
              <a:off x="2274256" y="1520924"/>
              <a:ext cx="7869" cy="7869"/>
            </a:xfrm>
            <a:custGeom>
              <a:avLst/>
              <a:gdLst>
                <a:gd name="connsiteX0" fmla="*/ 393 w 7868"/>
                <a:gd name="connsiteY0" fmla="*/ 8262 h 7868"/>
                <a:gd name="connsiteX1" fmla="*/ 393 w 7868"/>
                <a:gd name="connsiteY1" fmla="*/ 8262 h 7868"/>
                <a:gd name="connsiteX2" fmla="*/ 393 w 7868"/>
                <a:gd name="connsiteY2" fmla="*/ 8262 h 7868"/>
                <a:gd name="connsiteX3" fmla="*/ 787 w 7868"/>
                <a:gd name="connsiteY3" fmla="*/ 8262 h 7868"/>
                <a:gd name="connsiteX4" fmla="*/ 787 w 7868"/>
                <a:gd name="connsiteY4" fmla="*/ 8655 h 7868"/>
                <a:gd name="connsiteX5" fmla="*/ 1180 w 7868"/>
                <a:gd name="connsiteY5" fmla="*/ 8655 h 7868"/>
                <a:gd name="connsiteX6" fmla="*/ 1180 w 7868"/>
                <a:gd name="connsiteY6" fmla="*/ 9049 h 7868"/>
                <a:gd name="connsiteX7" fmla="*/ 1574 w 7868"/>
                <a:gd name="connsiteY7" fmla="*/ 9049 h 7868"/>
                <a:gd name="connsiteX8" fmla="*/ 1574 w 7868"/>
                <a:gd name="connsiteY8" fmla="*/ 9049 h 7868"/>
                <a:gd name="connsiteX9" fmla="*/ 3541 w 7868"/>
                <a:gd name="connsiteY9" fmla="*/ 9049 h 7868"/>
                <a:gd name="connsiteX10" fmla="*/ 3541 w 7868"/>
                <a:gd name="connsiteY10" fmla="*/ 9049 h 7868"/>
                <a:gd name="connsiteX11" fmla="*/ 3934 w 7868"/>
                <a:gd name="connsiteY11" fmla="*/ 9049 h 7868"/>
                <a:gd name="connsiteX12" fmla="*/ 3934 w 7868"/>
                <a:gd name="connsiteY12" fmla="*/ 8655 h 7868"/>
                <a:gd name="connsiteX13" fmla="*/ 4328 w 7868"/>
                <a:gd name="connsiteY13" fmla="*/ 8655 h 7868"/>
                <a:gd name="connsiteX14" fmla="*/ 4721 w 7868"/>
                <a:gd name="connsiteY14" fmla="*/ 8262 h 7868"/>
                <a:gd name="connsiteX15" fmla="*/ 4721 w 7868"/>
                <a:gd name="connsiteY15" fmla="*/ 8262 h 7868"/>
                <a:gd name="connsiteX16" fmla="*/ 4721 w 7868"/>
                <a:gd name="connsiteY16" fmla="*/ 8262 h 7868"/>
                <a:gd name="connsiteX17" fmla="*/ 4721 w 7868"/>
                <a:gd name="connsiteY17" fmla="*/ 7475 h 7868"/>
                <a:gd name="connsiteX18" fmla="*/ 5114 w 7868"/>
                <a:gd name="connsiteY18" fmla="*/ 7475 h 7868"/>
                <a:gd name="connsiteX19" fmla="*/ 5114 w 7868"/>
                <a:gd name="connsiteY19" fmla="*/ 7082 h 7868"/>
                <a:gd name="connsiteX20" fmla="*/ 5114 w 7868"/>
                <a:gd name="connsiteY20" fmla="*/ 5901 h 7868"/>
                <a:gd name="connsiteX21" fmla="*/ 4721 w 7868"/>
                <a:gd name="connsiteY21" fmla="*/ 5901 h 7868"/>
                <a:gd name="connsiteX22" fmla="*/ 4721 w 7868"/>
                <a:gd name="connsiteY22" fmla="*/ 5508 h 7868"/>
                <a:gd name="connsiteX23" fmla="*/ 5114 w 7868"/>
                <a:gd name="connsiteY23" fmla="*/ 5508 h 7868"/>
                <a:gd name="connsiteX24" fmla="*/ 7869 w 7868"/>
                <a:gd name="connsiteY24" fmla="*/ 4328 h 7868"/>
                <a:gd name="connsiteX25" fmla="*/ 10622 w 7868"/>
                <a:gd name="connsiteY25" fmla="*/ 3147 h 7868"/>
                <a:gd name="connsiteX26" fmla="*/ 9442 w 7868"/>
                <a:gd name="connsiteY26" fmla="*/ 393 h 7868"/>
                <a:gd name="connsiteX27" fmla="*/ 9442 w 7868"/>
                <a:gd name="connsiteY27" fmla="*/ 393 h 7868"/>
                <a:gd name="connsiteX28" fmla="*/ 9442 w 7868"/>
                <a:gd name="connsiteY28" fmla="*/ 0 h 7868"/>
                <a:gd name="connsiteX29" fmla="*/ 8262 w 7868"/>
                <a:gd name="connsiteY29" fmla="*/ 0 h 7868"/>
                <a:gd name="connsiteX30" fmla="*/ 7082 w 7868"/>
                <a:gd name="connsiteY30" fmla="*/ 787 h 7868"/>
                <a:gd name="connsiteX31" fmla="*/ 6688 w 7868"/>
                <a:gd name="connsiteY31" fmla="*/ 1180 h 7868"/>
                <a:gd name="connsiteX32" fmla="*/ 6688 w 7868"/>
                <a:gd name="connsiteY32" fmla="*/ 787 h 7868"/>
                <a:gd name="connsiteX33" fmla="*/ 2361 w 7868"/>
                <a:gd name="connsiteY33" fmla="*/ 4328 h 7868"/>
                <a:gd name="connsiteX34" fmla="*/ 1967 w 7868"/>
                <a:gd name="connsiteY34" fmla="*/ 4328 h 7868"/>
                <a:gd name="connsiteX35" fmla="*/ 1574 w 7868"/>
                <a:gd name="connsiteY35" fmla="*/ 4328 h 7868"/>
                <a:gd name="connsiteX36" fmla="*/ 1180 w 7868"/>
                <a:gd name="connsiteY36" fmla="*/ 4328 h 7868"/>
                <a:gd name="connsiteX37" fmla="*/ 1180 w 7868"/>
                <a:gd name="connsiteY37" fmla="*/ 4721 h 7868"/>
                <a:gd name="connsiteX38" fmla="*/ 787 w 7868"/>
                <a:gd name="connsiteY38" fmla="*/ 4721 h 7868"/>
                <a:gd name="connsiteX39" fmla="*/ 787 w 7868"/>
                <a:gd name="connsiteY39" fmla="*/ 5115 h 7868"/>
                <a:gd name="connsiteX40" fmla="*/ 393 w 7868"/>
                <a:gd name="connsiteY40" fmla="*/ 5115 h 7868"/>
                <a:gd name="connsiteX41" fmla="*/ 393 w 7868"/>
                <a:gd name="connsiteY41" fmla="*/ 5115 h 7868"/>
                <a:gd name="connsiteX42" fmla="*/ 393 w 7868"/>
                <a:gd name="connsiteY42" fmla="*/ 5115 h 7868"/>
                <a:gd name="connsiteX43" fmla="*/ 393 w 7868"/>
                <a:gd name="connsiteY43" fmla="*/ 5901 h 7868"/>
                <a:gd name="connsiteX44" fmla="*/ 0 w 7868"/>
                <a:gd name="connsiteY44" fmla="*/ 6295 h 7868"/>
                <a:gd name="connsiteX45" fmla="*/ 0 w 7868"/>
                <a:gd name="connsiteY45" fmla="*/ 7475 h 7868"/>
                <a:gd name="connsiteX46" fmla="*/ 393 w 7868"/>
                <a:gd name="connsiteY46" fmla="*/ 747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7868" h="7868">
                  <a:moveTo>
                    <a:pt x="393" y="8262"/>
                  </a:moveTo>
                  <a:lnTo>
                    <a:pt x="393" y="8262"/>
                  </a:lnTo>
                  <a:lnTo>
                    <a:pt x="393" y="8262"/>
                  </a:lnTo>
                  <a:lnTo>
                    <a:pt x="787" y="8262"/>
                  </a:lnTo>
                  <a:lnTo>
                    <a:pt x="787" y="8655"/>
                  </a:lnTo>
                  <a:lnTo>
                    <a:pt x="1180" y="8655"/>
                  </a:lnTo>
                  <a:lnTo>
                    <a:pt x="1180" y="9049"/>
                  </a:lnTo>
                  <a:lnTo>
                    <a:pt x="1574" y="9049"/>
                  </a:lnTo>
                  <a:lnTo>
                    <a:pt x="1574" y="9049"/>
                  </a:lnTo>
                  <a:lnTo>
                    <a:pt x="3541" y="9049"/>
                  </a:lnTo>
                  <a:lnTo>
                    <a:pt x="3541" y="9049"/>
                  </a:lnTo>
                  <a:lnTo>
                    <a:pt x="3934" y="9049"/>
                  </a:lnTo>
                  <a:lnTo>
                    <a:pt x="3934" y="8655"/>
                  </a:lnTo>
                  <a:lnTo>
                    <a:pt x="4328" y="8655"/>
                  </a:lnTo>
                  <a:lnTo>
                    <a:pt x="4721" y="8262"/>
                  </a:lnTo>
                  <a:lnTo>
                    <a:pt x="4721" y="8262"/>
                  </a:lnTo>
                  <a:lnTo>
                    <a:pt x="4721" y="8262"/>
                  </a:lnTo>
                  <a:lnTo>
                    <a:pt x="4721" y="7475"/>
                  </a:lnTo>
                  <a:lnTo>
                    <a:pt x="5114" y="7475"/>
                  </a:lnTo>
                  <a:lnTo>
                    <a:pt x="5114" y="7082"/>
                  </a:lnTo>
                  <a:lnTo>
                    <a:pt x="5114" y="5901"/>
                  </a:lnTo>
                  <a:lnTo>
                    <a:pt x="4721" y="5901"/>
                  </a:lnTo>
                  <a:lnTo>
                    <a:pt x="4721" y="5508"/>
                  </a:lnTo>
                  <a:lnTo>
                    <a:pt x="5114" y="5508"/>
                  </a:lnTo>
                  <a:lnTo>
                    <a:pt x="7869" y="4328"/>
                  </a:lnTo>
                  <a:lnTo>
                    <a:pt x="10622" y="3147"/>
                  </a:lnTo>
                  <a:lnTo>
                    <a:pt x="9442" y="393"/>
                  </a:lnTo>
                  <a:lnTo>
                    <a:pt x="9442" y="393"/>
                  </a:lnTo>
                  <a:lnTo>
                    <a:pt x="9442" y="0"/>
                  </a:lnTo>
                  <a:lnTo>
                    <a:pt x="8262" y="0"/>
                  </a:lnTo>
                  <a:lnTo>
                    <a:pt x="7082" y="787"/>
                  </a:lnTo>
                  <a:lnTo>
                    <a:pt x="6688" y="1180"/>
                  </a:lnTo>
                  <a:lnTo>
                    <a:pt x="6688" y="787"/>
                  </a:lnTo>
                  <a:lnTo>
                    <a:pt x="2361" y="4328"/>
                  </a:lnTo>
                  <a:lnTo>
                    <a:pt x="1967" y="4328"/>
                  </a:lnTo>
                  <a:lnTo>
                    <a:pt x="1574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787" y="4721"/>
                  </a:lnTo>
                  <a:lnTo>
                    <a:pt x="787" y="5115"/>
                  </a:lnTo>
                  <a:lnTo>
                    <a:pt x="393" y="5115"/>
                  </a:lnTo>
                  <a:lnTo>
                    <a:pt x="393" y="5115"/>
                  </a:lnTo>
                  <a:lnTo>
                    <a:pt x="393" y="5115"/>
                  </a:lnTo>
                  <a:lnTo>
                    <a:pt x="393" y="5901"/>
                  </a:lnTo>
                  <a:lnTo>
                    <a:pt x="0" y="6295"/>
                  </a:lnTo>
                  <a:lnTo>
                    <a:pt x="0" y="7475"/>
                  </a:lnTo>
                  <a:lnTo>
                    <a:pt x="393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57" name="Freeform: Shape 4351">
              <a:extLst>
                <a:ext uri="{FF2B5EF4-FFF2-40B4-BE49-F238E27FC236}">
                  <a16:creationId xmlns:a16="http://schemas.microsoft.com/office/drawing/2014/main" id="{4D7631FD-8F5C-45D0-B056-635753DBFB50}"/>
                </a:ext>
              </a:extLst>
            </p:cNvPr>
            <p:cNvSpPr/>
            <p:nvPr/>
          </p:nvSpPr>
          <p:spPr>
            <a:xfrm>
              <a:off x="9515270" y="4890621"/>
              <a:ext cx="3934" cy="3934"/>
            </a:xfrm>
            <a:custGeom>
              <a:avLst/>
              <a:gdLst>
                <a:gd name="connsiteX0" fmla="*/ 4721 w 3934"/>
                <a:gd name="connsiteY0" fmla="*/ 1180 h 3934"/>
                <a:gd name="connsiteX1" fmla="*/ 4327 w 3934"/>
                <a:gd name="connsiteY1" fmla="*/ 1180 h 3934"/>
                <a:gd name="connsiteX2" fmla="*/ 4327 w 3934"/>
                <a:gd name="connsiteY2" fmla="*/ 787 h 3934"/>
                <a:gd name="connsiteX3" fmla="*/ 3934 w 3934"/>
                <a:gd name="connsiteY3" fmla="*/ 787 h 3934"/>
                <a:gd name="connsiteX4" fmla="*/ 3934 w 3934"/>
                <a:gd name="connsiteY4" fmla="*/ 394 h 3934"/>
                <a:gd name="connsiteX5" fmla="*/ 3934 w 3934"/>
                <a:gd name="connsiteY5" fmla="*/ 394 h 3934"/>
                <a:gd name="connsiteX6" fmla="*/ 3934 w 3934"/>
                <a:gd name="connsiteY6" fmla="*/ 394 h 3934"/>
                <a:gd name="connsiteX7" fmla="*/ 3147 w 3934"/>
                <a:gd name="connsiteY7" fmla="*/ 394 h 3934"/>
                <a:gd name="connsiteX8" fmla="*/ 3147 w 3934"/>
                <a:gd name="connsiteY8" fmla="*/ 0 h 3934"/>
                <a:gd name="connsiteX9" fmla="*/ 1967 w 3934"/>
                <a:gd name="connsiteY9" fmla="*/ 0 h 3934"/>
                <a:gd name="connsiteX10" fmla="*/ 1573 w 3934"/>
                <a:gd name="connsiteY10" fmla="*/ 394 h 3934"/>
                <a:gd name="connsiteX11" fmla="*/ 1180 w 3934"/>
                <a:gd name="connsiteY11" fmla="*/ 394 h 3934"/>
                <a:gd name="connsiteX12" fmla="*/ 1180 w 3934"/>
                <a:gd name="connsiteY12" fmla="*/ 394 h 3934"/>
                <a:gd name="connsiteX13" fmla="*/ 787 w 3934"/>
                <a:gd name="connsiteY13" fmla="*/ 394 h 3934"/>
                <a:gd name="connsiteX14" fmla="*/ 787 w 3934"/>
                <a:gd name="connsiteY14" fmla="*/ 787 h 3934"/>
                <a:gd name="connsiteX15" fmla="*/ 393 w 3934"/>
                <a:gd name="connsiteY15" fmla="*/ 787 h 3934"/>
                <a:gd name="connsiteX16" fmla="*/ 393 w 3934"/>
                <a:gd name="connsiteY16" fmla="*/ 1180 h 3934"/>
                <a:gd name="connsiteX17" fmla="*/ 0 w 3934"/>
                <a:gd name="connsiteY17" fmla="*/ 1180 h 3934"/>
                <a:gd name="connsiteX18" fmla="*/ 0 w 3934"/>
                <a:gd name="connsiteY18" fmla="*/ 1574 h 3934"/>
                <a:gd name="connsiteX19" fmla="*/ 0 w 3934"/>
                <a:gd name="connsiteY19" fmla="*/ 1967 h 3934"/>
                <a:gd name="connsiteX20" fmla="*/ 0 w 3934"/>
                <a:gd name="connsiteY20" fmla="*/ 3541 h 3934"/>
                <a:gd name="connsiteX21" fmla="*/ 0 w 3934"/>
                <a:gd name="connsiteY21" fmla="*/ 3541 h 3934"/>
                <a:gd name="connsiteX22" fmla="*/ 0 w 3934"/>
                <a:gd name="connsiteY22" fmla="*/ 3934 h 3934"/>
                <a:gd name="connsiteX23" fmla="*/ 393 w 3934"/>
                <a:gd name="connsiteY23" fmla="*/ 3934 h 3934"/>
                <a:gd name="connsiteX24" fmla="*/ 393 w 3934"/>
                <a:gd name="connsiteY24" fmla="*/ 4328 h 3934"/>
                <a:gd name="connsiteX25" fmla="*/ 787 w 3934"/>
                <a:gd name="connsiteY25" fmla="*/ 4328 h 3934"/>
                <a:gd name="connsiteX26" fmla="*/ 787 w 3934"/>
                <a:gd name="connsiteY26" fmla="*/ 4328 h 3934"/>
                <a:gd name="connsiteX27" fmla="*/ 1180 w 3934"/>
                <a:gd name="connsiteY27" fmla="*/ 4328 h 3934"/>
                <a:gd name="connsiteX28" fmla="*/ 1180 w 3934"/>
                <a:gd name="connsiteY28" fmla="*/ 4721 h 3934"/>
                <a:gd name="connsiteX29" fmla="*/ 1573 w 3934"/>
                <a:gd name="connsiteY29" fmla="*/ 4721 h 3934"/>
                <a:gd name="connsiteX30" fmla="*/ 1573 w 3934"/>
                <a:gd name="connsiteY30" fmla="*/ 5114 h 3934"/>
                <a:gd name="connsiteX31" fmla="*/ 3147 w 3934"/>
                <a:gd name="connsiteY31" fmla="*/ 5114 h 3934"/>
                <a:gd name="connsiteX32" fmla="*/ 3147 w 3934"/>
                <a:gd name="connsiteY32" fmla="*/ 4721 h 3934"/>
                <a:gd name="connsiteX33" fmla="*/ 3934 w 3934"/>
                <a:gd name="connsiteY33" fmla="*/ 4721 h 3934"/>
                <a:gd name="connsiteX34" fmla="*/ 3934 w 3934"/>
                <a:gd name="connsiteY34" fmla="*/ 4328 h 3934"/>
                <a:gd name="connsiteX35" fmla="*/ 3934 w 3934"/>
                <a:gd name="connsiteY35" fmla="*/ 4328 h 3934"/>
                <a:gd name="connsiteX36" fmla="*/ 4327 w 3934"/>
                <a:gd name="connsiteY36" fmla="*/ 4328 h 3934"/>
                <a:gd name="connsiteX37" fmla="*/ 4327 w 3934"/>
                <a:gd name="connsiteY37" fmla="*/ 3934 h 3934"/>
                <a:gd name="connsiteX38" fmla="*/ 4721 w 3934"/>
                <a:gd name="connsiteY38" fmla="*/ 3934 h 3934"/>
                <a:gd name="connsiteX39" fmla="*/ 4721 w 3934"/>
                <a:gd name="connsiteY39" fmla="*/ 3541 h 3934"/>
                <a:gd name="connsiteX40" fmla="*/ 5114 w 3934"/>
                <a:gd name="connsiteY40" fmla="*/ 3541 h 3934"/>
                <a:gd name="connsiteX41" fmla="*/ 5114 w 3934"/>
                <a:gd name="connsiteY41" fmla="*/ 2754 h 3934"/>
                <a:gd name="connsiteX42" fmla="*/ 5114 w 3934"/>
                <a:gd name="connsiteY42" fmla="*/ 1574 h 3934"/>
                <a:gd name="connsiteX43" fmla="*/ 4721 w 3934"/>
                <a:gd name="connsiteY43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4721" y="1180"/>
                  </a:moveTo>
                  <a:lnTo>
                    <a:pt x="4327" y="1180"/>
                  </a:lnTo>
                  <a:lnTo>
                    <a:pt x="4327" y="787"/>
                  </a:lnTo>
                  <a:lnTo>
                    <a:pt x="3934" y="787"/>
                  </a:lnTo>
                  <a:lnTo>
                    <a:pt x="3934" y="394"/>
                  </a:lnTo>
                  <a:lnTo>
                    <a:pt x="3934" y="394"/>
                  </a:lnTo>
                  <a:lnTo>
                    <a:pt x="3934" y="394"/>
                  </a:lnTo>
                  <a:lnTo>
                    <a:pt x="3147" y="394"/>
                  </a:lnTo>
                  <a:lnTo>
                    <a:pt x="3147" y="0"/>
                  </a:lnTo>
                  <a:lnTo>
                    <a:pt x="1967" y="0"/>
                  </a:lnTo>
                  <a:lnTo>
                    <a:pt x="1573" y="394"/>
                  </a:lnTo>
                  <a:lnTo>
                    <a:pt x="1180" y="394"/>
                  </a:lnTo>
                  <a:lnTo>
                    <a:pt x="1180" y="394"/>
                  </a:lnTo>
                  <a:lnTo>
                    <a:pt x="787" y="394"/>
                  </a:lnTo>
                  <a:lnTo>
                    <a:pt x="787" y="787"/>
                  </a:lnTo>
                  <a:lnTo>
                    <a:pt x="393" y="787"/>
                  </a:lnTo>
                  <a:lnTo>
                    <a:pt x="393" y="1180"/>
                  </a:lnTo>
                  <a:lnTo>
                    <a:pt x="0" y="1180"/>
                  </a:lnTo>
                  <a:lnTo>
                    <a:pt x="0" y="1574"/>
                  </a:lnTo>
                  <a:lnTo>
                    <a:pt x="0" y="1967"/>
                  </a:lnTo>
                  <a:lnTo>
                    <a:pt x="0" y="3541"/>
                  </a:lnTo>
                  <a:lnTo>
                    <a:pt x="0" y="3541"/>
                  </a:lnTo>
                  <a:lnTo>
                    <a:pt x="0" y="3934"/>
                  </a:lnTo>
                  <a:lnTo>
                    <a:pt x="393" y="3934"/>
                  </a:lnTo>
                  <a:lnTo>
                    <a:pt x="393" y="4328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573" y="4721"/>
                  </a:lnTo>
                  <a:lnTo>
                    <a:pt x="1573" y="5114"/>
                  </a:lnTo>
                  <a:lnTo>
                    <a:pt x="3147" y="5114"/>
                  </a:lnTo>
                  <a:lnTo>
                    <a:pt x="3147" y="4721"/>
                  </a:lnTo>
                  <a:lnTo>
                    <a:pt x="3934" y="4721"/>
                  </a:lnTo>
                  <a:lnTo>
                    <a:pt x="3934" y="4328"/>
                  </a:lnTo>
                  <a:lnTo>
                    <a:pt x="3934" y="4328"/>
                  </a:lnTo>
                  <a:lnTo>
                    <a:pt x="4327" y="4328"/>
                  </a:lnTo>
                  <a:lnTo>
                    <a:pt x="4327" y="3934"/>
                  </a:lnTo>
                  <a:lnTo>
                    <a:pt x="4721" y="3934"/>
                  </a:lnTo>
                  <a:lnTo>
                    <a:pt x="4721" y="3541"/>
                  </a:lnTo>
                  <a:lnTo>
                    <a:pt x="5114" y="3541"/>
                  </a:lnTo>
                  <a:lnTo>
                    <a:pt x="5114" y="2754"/>
                  </a:lnTo>
                  <a:lnTo>
                    <a:pt x="5114" y="1574"/>
                  </a:lnTo>
                  <a:lnTo>
                    <a:pt x="4721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58" name="Freeform: Shape 4352">
              <a:extLst>
                <a:ext uri="{FF2B5EF4-FFF2-40B4-BE49-F238E27FC236}">
                  <a16:creationId xmlns:a16="http://schemas.microsoft.com/office/drawing/2014/main" id="{AA61D096-8607-49EE-B8E5-B6F3997BB3A7}"/>
                </a:ext>
              </a:extLst>
            </p:cNvPr>
            <p:cNvSpPr/>
            <p:nvPr/>
          </p:nvSpPr>
          <p:spPr>
            <a:xfrm>
              <a:off x="10541719" y="4088818"/>
              <a:ext cx="3934" cy="3934"/>
            </a:xfrm>
            <a:custGeom>
              <a:avLst/>
              <a:gdLst>
                <a:gd name="connsiteX0" fmla="*/ 2361 w 3934"/>
                <a:gd name="connsiteY0" fmla="*/ 0 h 3934"/>
                <a:gd name="connsiteX1" fmla="*/ 2361 w 3934"/>
                <a:gd name="connsiteY1" fmla="*/ 393 h 3934"/>
                <a:gd name="connsiteX2" fmla="*/ 1573 w 3934"/>
                <a:gd name="connsiteY2" fmla="*/ 393 h 3934"/>
                <a:gd name="connsiteX3" fmla="*/ 1573 w 3934"/>
                <a:gd name="connsiteY3" fmla="*/ 787 h 3934"/>
                <a:gd name="connsiteX4" fmla="*/ 1573 w 3934"/>
                <a:gd name="connsiteY4" fmla="*/ 787 h 3934"/>
                <a:gd name="connsiteX5" fmla="*/ 1573 w 3934"/>
                <a:gd name="connsiteY5" fmla="*/ 787 h 3934"/>
                <a:gd name="connsiteX6" fmla="*/ 0 w 3934"/>
                <a:gd name="connsiteY6" fmla="*/ 1180 h 3934"/>
                <a:gd name="connsiteX7" fmla="*/ 1180 w 3934"/>
                <a:gd name="connsiteY7" fmla="*/ 1180 h 3934"/>
                <a:gd name="connsiteX8" fmla="*/ 1180 w 3934"/>
                <a:gd name="connsiteY8" fmla="*/ 1180 h 3934"/>
                <a:gd name="connsiteX9" fmla="*/ 787 w 3934"/>
                <a:gd name="connsiteY9" fmla="*/ 1180 h 3934"/>
                <a:gd name="connsiteX10" fmla="*/ 787 w 3934"/>
                <a:gd name="connsiteY10" fmla="*/ 1967 h 3934"/>
                <a:gd name="connsiteX11" fmla="*/ 394 w 3934"/>
                <a:gd name="connsiteY11" fmla="*/ 1967 h 3934"/>
                <a:gd name="connsiteX12" fmla="*/ 394 w 3934"/>
                <a:gd name="connsiteY12" fmla="*/ 3541 h 3934"/>
                <a:gd name="connsiteX13" fmla="*/ 787 w 3934"/>
                <a:gd name="connsiteY13" fmla="*/ 3541 h 3934"/>
                <a:gd name="connsiteX14" fmla="*/ 787 w 3934"/>
                <a:gd name="connsiteY14" fmla="*/ 3934 h 3934"/>
                <a:gd name="connsiteX15" fmla="*/ 1180 w 3934"/>
                <a:gd name="connsiteY15" fmla="*/ 3934 h 3934"/>
                <a:gd name="connsiteX16" fmla="*/ 1180 w 3934"/>
                <a:gd name="connsiteY16" fmla="*/ 4328 h 3934"/>
                <a:gd name="connsiteX17" fmla="*/ 1573 w 3934"/>
                <a:gd name="connsiteY17" fmla="*/ 4328 h 3934"/>
                <a:gd name="connsiteX18" fmla="*/ 1573 w 3934"/>
                <a:gd name="connsiteY18" fmla="*/ 4721 h 3934"/>
                <a:gd name="connsiteX19" fmla="*/ 1573 w 3934"/>
                <a:gd name="connsiteY19" fmla="*/ 4721 h 3934"/>
                <a:gd name="connsiteX20" fmla="*/ 1573 w 3934"/>
                <a:gd name="connsiteY20" fmla="*/ 5114 h 3934"/>
                <a:gd name="connsiteX21" fmla="*/ 2361 w 3934"/>
                <a:gd name="connsiteY21" fmla="*/ 5114 h 3934"/>
                <a:gd name="connsiteX22" fmla="*/ 2361 w 3934"/>
                <a:gd name="connsiteY22" fmla="*/ 5114 h 3934"/>
                <a:gd name="connsiteX23" fmla="*/ 3934 w 3934"/>
                <a:gd name="connsiteY23" fmla="*/ 5114 h 3934"/>
                <a:gd name="connsiteX24" fmla="*/ 3934 w 3934"/>
                <a:gd name="connsiteY24" fmla="*/ 5114 h 3934"/>
                <a:gd name="connsiteX25" fmla="*/ 4328 w 3934"/>
                <a:gd name="connsiteY25" fmla="*/ 5114 h 3934"/>
                <a:gd name="connsiteX26" fmla="*/ 4328 w 3934"/>
                <a:gd name="connsiteY26" fmla="*/ 4721 h 3934"/>
                <a:gd name="connsiteX27" fmla="*/ 4721 w 3934"/>
                <a:gd name="connsiteY27" fmla="*/ 4721 h 3934"/>
                <a:gd name="connsiteX28" fmla="*/ 5115 w 3934"/>
                <a:gd name="connsiteY28" fmla="*/ 4328 h 3934"/>
                <a:gd name="connsiteX29" fmla="*/ 5115 w 3934"/>
                <a:gd name="connsiteY29" fmla="*/ 3934 h 3934"/>
                <a:gd name="connsiteX30" fmla="*/ 5508 w 3934"/>
                <a:gd name="connsiteY30" fmla="*/ 3934 h 3934"/>
                <a:gd name="connsiteX31" fmla="*/ 5508 w 3934"/>
                <a:gd name="connsiteY31" fmla="*/ 3541 h 3934"/>
                <a:gd name="connsiteX32" fmla="*/ 5508 w 3934"/>
                <a:gd name="connsiteY32" fmla="*/ 3541 h 3934"/>
                <a:gd name="connsiteX33" fmla="*/ 5508 w 3934"/>
                <a:gd name="connsiteY33" fmla="*/ 2754 h 3934"/>
                <a:gd name="connsiteX34" fmla="*/ 5508 w 3934"/>
                <a:gd name="connsiteY34" fmla="*/ 1967 h 3934"/>
                <a:gd name="connsiteX35" fmla="*/ 5508 w 3934"/>
                <a:gd name="connsiteY35" fmla="*/ 1967 h 3934"/>
                <a:gd name="connsiteX36" fmla="*/ 5508 w 3934"/>
                <a:gd name="connsiteY36" fmla="*/ 1180 h 3934"/>
                <a:gd name="connsiteX37" fmla="*/ 5115 w 3934"/>
                <a:gd name="connsiteY37" fmla="*/ 1180 h 3934"/>
                <a:gd name="connsiteX38" fmla="*/ 5115 w 3934"/>
                <a:gd name="connsiteY38" fmla="*/ 787 h 3934"/>
                <a:gd name="connsiteX39" fmla="*/ 4721 w 3934"/>
                <a:gd name="connsiteY39" fmla="*/ 787 h 3934"/>
                <a:gd name="connsiteX40" fmla="*/ 4721 w 3934"/>
                <a:gd name="connsiteY40" fmla="*/ 787 h 3934"/>
                <a:gd name="connsiteX41" fmla="*/ 4328 w 3934"/>
                <a:gd name="connsiteY41" fmla="*/ 787 h 3934"/>
                <a:gd name="connsiteX42" fmla="*/ 4328 w 3934"/>
                <a:gd name="connsiteY42" fmla="*/ 393 h 3934"/>
                <a:gd name="connsiteX43" fmla="*/ 3934 w 3934"/>
                <a:gd name="connsiteY43" fmla="*/ 393 h 3934"/>
                <a:gd name="connsiteX44" fmla="*/ 3934 w 3934"/>
                <a:gd name="connsiteY4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3934" h="3934">
                  <a:moveTo>
                    <a:pt x="2361" y="0"/>
                  </a:moveTo>
                  <a:lnTo>
                    <a:pt x="2361" y="393"/>
                  </a:lnTo>
                  <a:lnTo>
                    <a:pt x="1573" y="393"/>
                  </a:lnTo>
                  <a:lnTo>
                    <a:pt x="1573" y="787"/>
                  </a:lnTo>
                  <a:lnTo>
                    <a:pt x="1573" y="787"/>
                  </a:lnTo>
                  <a:lnTo>
                    <a:pt x="1573" y="787"/>
                  </a:lnTo>
                  <a:lnTo>
                    <a:pt x="0" y="1180"/>
                  </a:lnTo>
                  <a:lnTo>
                    <a:pt x="1180" y="1180"/>
                  </a:lnTo>
                  <a:lnTo>
                    <a:pt x="1180" y="1180"/>
                  </a:lnTo>
                  <a:lnTo>
                    <a:pt x="787" y="1180"/>
                  </a:lnTo>
                  <a:lnTo>
                    <a:pt x="787" y="1967"/>
                  </a:lnTo>
                  <a:lnTo>
                    <a:pt x="394" y="1967"/>
                  </a:lnTo>
                  <a:lnTo>
                    <a:pt x="394" y="3541"/>
                  </a:lnTo>
                  <a:lnTo>
                    <a:pt x="787" y="3541"/>
                  </a:lnTo>
                  <a:lnTo>
                    <a:pt x="787" y="3934"/>
                  </a:lnTo>
                  <a:lnTo>
                    <a:pt x="1180" y="3934"/>
                  </a:lnTo>
                  <a:lnTo>
                    <a:pt x="1180" y="4328"/>
                  </a:lnTo>
                  <a:lnTo>
                    <a:pt x="1573" y="4328"/>
                  </a:lnTo>
                  <a:lnTo>
                    <a:pt x="1573" y="4721"/>
                  </a:lnTo>
                  <a:lnTo>
                    <a:pt x="1573" y="4721"/>
                  </a:lnTo>
                  <a:lnTo>
                    <a:pt x="1573" y="5114"/>
                  </a:lnTo>
                  <a:lnTo>
                    <a:pt x="2361" y="5114"/>
                  </a:lnTo>
                  <a:lnTo>
                    <a:pt x="2361" y="5114"/>
                  </a:lnTo>
                  <a:lnTo>
                    <a:pt x="3934" y="5114"/>
                  </a:lnTo>
                  <a:lnTo>
                    <a:pt x="3934" y="5114"/>
                  </a:lnTo>
                  <a:lnTo>
                    <a:pt x="4328" y="5114"/>
                  </a:lnTo>
                  <a:lnTo>
                    <a:pt x="4328" y="4721"/>
                  </a:lnTo>
                  <a:lnTo>
                    <a:pt x="4721" y="4721"/>
                  </a:lnTo>
                  <a:lnTo>
                    <a:pt x="5115" y="4328"/>
                  </a:lnTo>
                  <a:lnTo>
                    <a:pt x="5115" y="3934"/>
                  </a:lnTo>
                  <a:lnTo>
                    <a:pt x="5508" y="3934"/>
                  </a:lnTo>
                  <a:lnTo>
                    <a:pt x="5508" y="3541"/>
                  </a:lnTo>
                  <a:lnTo>
                    <a:pt x="5508" y="3541"/>
                  </a:lnTo>
                  <a:lnTo>
                    <a:pt x="5508" y="2754"/>
                  </a:lnTo>
                  <a:lnTo>
                    <a:pt x="5508" y="1967"/>
                  </a:lnTo>
                  <a:lnTo>
                    <a:pt x="5508" y="1967"/>
                  </a:lnTo>
                  <a:lnTo>
                    <a:pt x="5508" y="1180"/>
                  </a:lnTo>
                  <a:lnTo>
                    <a:pt x="5115" y="1180"/>
                  </a:lnTo>
                  <a:lnTo>
                    <a:pt x="5115" y="787"/>
                  </a:lnTo>
                  <a:lnTo>
                    <a:pt x="4721" y="787"/>
                  </a:lnTo>
                  <a:lnTo>
                    <a:pt x="4721" y="787"/>
                  </a:lnTo>
                  <a:lnTo>
                    <a:pt x="4328" y="787"/>
                  </a:lnTo>
                  <a:lnTo>
                    <a:pt x="4328" y="393"/>
                  </a:lnTo>
                  <a:lnTo>
                    <a:pt x="3934" y="393"/>
                  </a:lnTo>
                  <a:lnTo>
                    <a:pt x="393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59" name="Freeform: Shape 4353">
              <a:extLst>
                <a:ext uri="{FF2B5EF4-FFF2-40B4-BE49-F238E27FC236}">
                  <a16:creationId xmlns:a16="http://schemas.microsoft.com/office/drawing/2014/main" id="{DBE3DFF0-5B10-4687-80C7-6C1836410A4E}"/>
                </a:ext>
              </a:extLst>
            </p:cNvPr>
            <p:cNvSpPr/>
            <p:nvPr/>
          </p:nvSpPr>
          <p:spPr>
            <a:xfrm>
              <a:off x="10572406" y="4084490"/>
              <a:ext cx="3934" cy="3934"/>
            </a:xfrm>
            <a:custGeom>
              <a:avLst/>
              <a:gdLst>
                <a:gd name="connsiteX0" fmla="*/ 1180 w 3934"/>
                <a:gd name="connsiteY0" fmla="*/ 393 h 3934"/>
                <a:gd name="connsiteX1" fmla="*/ 787 w 3934"/>
                <a:gd name="connsiteY1" fmla="*/ 393 h 3934"/>
                <a:gd name="connsiteX2" fmla="*/ 787 w 3934"/>
                <a:gd name="connsiteY2" fmla="*/ 787 h 3934"/>
                <a:gd name="connsiteX3" fmla="*/ 393 w 3934"/>
                <a:gd name="connsiteY3" fmla="*/ 787 h 3934"/>
                <a:gd name="connsiteX4" fmla="*/ 393 w 3934"/>
                <a:gd name="connsiteY4" fmla="*/ 1180 h 3934"/>
                <a:gd name="connsiteX5" fmla="*/ 0 w 3934"/>
                <a:gd name="connsiteY5" fmla="*/ 1180 h 3934"/>
                <a:gd name="connsiteX6" fmla="*/ 0 w 3934"/>
                <a:gd name="connsiteY6" fmla="*/ 1574 h 3934"/>
                <a:gd name="connsiteX7" fmla="*/ 0 w 3934"/>
                <a:gd name="connsiteY7" fmla="*/ 1967 h 3934"/>
                <a:gd name="connsiteX8" fmla="*/ 0 w 3934"/>
                <a:gd name="connsiteY8" fmla="*/ 3147 h 3934"/>
                <a:gd name="connsiteX9" fmla="*/ 0 w 3934"/>
                <a:gd name="connsiteY9" fmla="*/ 3147 h 3934"/>
                <a:gd name="connsiteX10" fmla="*/ 0 w 3934"/>
                <a:gd name="connsiteY10" fmla="*/ 3934 h 3934"/>
                <a:gd name="connsiteX11" fmla="*/ 393 w 3934"/>
                <a:gd name="connsiteY11" fmla="*/ 3934 h 3934"/>
                <a:gd name="connsiteX12" fmla="*/ 393 w 3934"/>
                <a:gd name="connsiteY12" fmla="*/ 4328 h 3934"/>
                <a:gd name="connsiteX13" fmla="*/ 787 w 3934"/>
                <a:gd name="connsiteY13" fmla="*/ 4328 h 3934"/>
                <a:gd name="connsiteX14" fmla="*/ 787 w 3934"/>
                <a:gd name="connsiteY14" fmla="*/ 4328 h 3934"/>
                <a:gd name="connsiteX15" fmla="*/ 1180 w 3934"/>
                <a:gd name="connsiteY15" fmla="*/ 4328 h 3934"/>
                <a:gd name="connsiteX16" fmla="*/ 1180 w 3934"/>
                <a:gd name="connsiteY16" fmla="*/ 4721 h 3934"/>
                <a:gd name="connsiteX17" fmla="*/ 1573 w 3934"/>
                <a:gd name="connsiteY17" fmla="*/ 4721 h 3934"/>
                <a:gd name="connsiteX18" fmla="*/ 1573 w 3934"/>
                <a:gd name="connsiteY18" fmla="*/ 5114 h 3934"/>
                <a:gd name="connsiteX19" fmla="*/ 3148 w 3934"/>
                <a:gd name="connsiteY19" fmla="*/ 5114 h 3934"/>
                <a:gd name="connsiteX20" fmla="*/ 3148 w 3934"/>
                <a:gd name="connsiteY20" fmla="*/ 4721 h 3934"/>
                <a:gd name="connsiteX21" fmla="*/ 3934 w 3934"/>
                <a:gd name="connsiteY21" fmla="*/ 4721 h 3934"/>
                <a:gd name="connsiteX22" fmla="*/ 3934 w 3934"/>
                <a:gd name="connsiteY22" fmla="*/ 4328 h 3934"/>
                <a:gd name="connsiteX23" fmla="*/ 4327 w 3934"/>
                <a:gd name="connsiteY23" fmla="*/ 4328 h 3934"/>
                <a:gd name="connsiteX24" fmla="*/ 4327 w 3934"/>
                <a:gd name="connsiteY24" fmla="*/ 4328 h 3934"/>
                <a:gd name="connsiteX25" fmla="*/ 4327 w 3934"/>
                <a:gd name="connsiteY25" fmla="*/ 3934 h 3934"/>
                <a:gd name="connsiteX26" fmla="*/ 4721 w 3934"/>
                <a:gd name="connsiteY26" fmla="*/ 3934 h 3934"/>
                <a:gd name="connsiteX27" fmla="*/ 4721 w 3934"/>
                <a:gd name="connsiteY27" fmla="*/ 3147 h 3934"/>
                <a:gd name="connsiteX28" fmla="*/ 5115 w 3934"/>
                <a:gd name="connsiteY28" fmla="*/ 3147 h 3934"/>
                <a:gd name="connsiteX29" fmla="*/ 5115 w 3934"/>
                <a:gd name="connsiteY29" fmla="*/ 2754 h 3934"/>
                <a:gd name="connsiteX30" fmla="*/ 5115 w 3934"/>
                <a:gd name="connsiteY30" fmla="*/ 1574 h 3934"/>
                <a:gd name="connsiteX31" fmla="*/ 4721 w 3934"/>
                <a:gd name="connsiteY31" fmla="*/ 1574 h 3934"/>
                <a:gd name="connsiteX32" fmla="*/ 4721 w 3934"/>
                <a:gd name="connsiteY32" fmla="*/ 1180 h 3934"/>
                <a:gd name="connsiteX33" fmla="*/ 4327 w 3934"/>
                <a:gd name="connsiteY33" fmla="*/ 1180 h 3934"/>
                <a:gd name="connsiteX34" fmla="*/ 4327 w 3934"/>
                <a:gd name="connsiteY34" fmla="*/ 787 h 3934"/>
                <a:gd name="connsiteX35" fmla="*/ 4327 w 3934"/>
                <a:gd name="connsiteY35" fmla="*/ 787 h 3934"/>
                <a:gd name="connsiteX36" fmla="*/ 4327 w 3934"/>
                <a:gd name="connsiteY36" fmla="*/ 393 h 3934"/>
                <a:gd name="connsiteX37" fmla="*/ 3934 w 3934"/>
                <a:gd name="connsiteY37" fmla="*/ 393 h 3934"/>
                <a:gd name="connsiteX38" fmla="*/ 3934 w 3934"/>
                <a:gd name="connsiteY38" fmla="*/ 0 h 3934"/>
                <a:gd name="connsiteX39" fmla="*/ 3148 w 3934"/>
                <a:gd name="connsiteY39" fmla="*/ 0 h 3934"/>
                <a:gd name="connsiteX40" fmla="*/ 3148 w 3934"/>
                <a:gd name="connsiteY40" fmla="*/ 0 h 3934"/>
                <a:gd name="connsiteX41" fmla="*/ 1967 w 3934"/>
                <a:gd name="connsiteY41" fmla="*/ 0 h 3934"/>
                <a:gd name="connsiteX42" fmla="*/ 1573 w 3934"/>
                <a:gd name="connsiteY42" fmla="*/ 0 h 3934"/>
                <a:gd name="connsiteX43" fmla="*/ 1180 w 3934"/>
                <a:gd name="connsiteY4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1180" y="393"/>
                  </a:moveTo>
                  <a:lnTo>
                    <a:pt x="787" y="393"/>
                  </a:lnTo>
                  <a:lnTo>
                    <a:pt x="787" y="787"/>
                  </a:lnTo>
                  <a:lnTo>
                    <a:pt x="393" y="787"/>
                  </a:lnTo>
                  <a:lnTo>
                    <a:pt x="393" y="1180"/>
                  </a:lnTo>
                  <a:lnTo>
                    <a:pt x="0" y="1180"/>
                  </a:lnTo>
                  <a:lnTo>
                    <a:pt x="0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0" y="3147"/>
                  </a:lnTo>
                  <a:lnTo>
                    <a:pt x="0" y="3934"/>
                  </a:lnTo>
                  <a:lnTo>
                    <a:pt x="393" y="3934"/>
                  </a:lnTo>
                  <a:lnTo>
                    <a:pt x="393" y="4328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573" y="4721"/>
                  </a:lnTo>
                  <a:lnTo>
                    <a:pt x="1573" y="5114"/>
                  </a:lnTo>
                  <a:lnTo>
                    <a:pt x="3148" y="5114"/>
                  </a:lnTo>
                  <a:lnTo>
                    <a:pt x="3148" y="4721"/>
                  </a:lnTo>
                  <a:lnTo>
                    <a:pt x="3934" y="4721"/>
                  </a:lnTo>
                  <a:lnTo>
                    <a:pt x="3934" y="4328"/>
                  </a:lnTo>
                  <a:lnTo>
                    <a:pt x="4327" y="4328"/>
                  </a:lnTo>
                  <a:lnTo>
                    <a:pt x="4327" y="4328"/>
                  </a:lnTo>
                  <a:lnTo>
                    <a:pt x="4327" y="3934"/>
                  </a:lnTo>
                  <a:lnTo>
                    <a:pt x="4721" y="3934"/>
                  </a:lnTo>
                  <a:lnTo>
                    <a:pt x="4721" y="3147"/>
                  </a:lnTo>
                  <a:lnTo>
                    <a:pt x="5115" y="3147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4721" y="1574"/>
                  </a:lnTo>
                  <a:lnTo>
                    <a:pt x="4721" y="1180"/>
                  </a:lnTo>
                  <a:lnTo>
                    <a:pt x="4327" y="1180"/>
                  </a:lnTo>
                  <a:lnTo>
                    <a:pt x="4327" y="787"/>
                  </a:lnTo>
                  <a:lnTo>
                    <a:pt x="4327" y="787"/>
                  </a:lnTo>
                  <a:lnTo>
                    <a:pt x="4327" y="393"/>
                  </a:lnTo>
                  <a:lnTo>
                    <a:pt x="3934" y="393"/>
                  </a:lnTo>
                  <a:lnTo>
                    <a:pt x="3934" y="0"/>
                  </a:lnTo>
                  <a:lnTo>
                    <a:pt x="3148" y="0"/>
                  </a:lnTo>
                  <a:lnTo>
                    <a:pt x="3148" y="0"/>
                  </a:lnTo>
                  <a:lnTo>
                    <a:pt x="1967" y="0"/>
                  </a:lnTo>
                  <a:lnTo>
                    <a:pt x="1573" y="0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60" name="Freeform: Shape 4354">
              <a:extLst>
                <a:ext uri="{FF2B5EF4-FFF2-40B4-BE49-F238E27FC236}">
                  <a16:creationId xmlns:a16="http://schemas.microsoft.com/office/drawing/2014/main" id="{B36A3F3C-1B7A-4D38-9124-9CEF5EEADE3D}"/>
                </a:ext>
              </a:extLst>
            </p:cNvPr>
            <p:cNvSpPr/>
            <p:nvPr/>
          </p:nvSpPr>
          <p:spPr>
            <a:xfrm>
              <a:off x="10070788" y="3689097"/>
              <a:ext cx="3934" cy="3934"/>
            </a:xfrm>
            <a:custGeom>
              <a:avLst/>
              <a:gdLst>
                <a:gd name="connsiteX0" fmla="*/ 3540 w 3934"/>
                <a:gd name="connsiteY0" fmla="*/ 5114 h 3934"/>
                <a:gd name="connsiteX1" fmla="*/ 3540 w 3934"/>
                <a:gd name="connsiteY1" fmla="*/ 4721 h 3934"/>
                <a:gd name="connsiteX2" fmla="*/ 3934 w 3934"/>
                <a:gd name="connsiteY2" fmla="*/ 4721 h 3934"/>
                <a:gd name="connsiteX3" fmla="*/ 3934 w 3934"/>
                <a:gd name="connsiteY3" fmla="*/ 4328 h 3934"/>
                <a:gd name="connsiteX4" fmla="*/ 4327 w 3934"/>
                <a:gd name="connsiteY4" fmla="*/ 4328 h 3934"/>
                <a:gd name="connsiteX5" fmla="*/ 4721 w 3934"/>
                <a:gd name="connsiteY5" fmla="*/ 3934 h 3934"/>
                <a:gd name="connsiteX6" fmla="*/ 4721 w 3934"/>
                <a:gd name="connsiteY6" fmla="*/ 3934 h 3934"/>
                <a:gd name="connsiteX7" fmla="*/ 5115 w 3934"/>
                <a:gd name="connsiteY7" fmla="*/ 3934 h 3934"/>
                <a:gd name="connsiteX8" fmla="*/ 5115 w 3934"/>
                <a:gd name="connsiteY8" fmla="*/ 3147 h 3934"/>
                <a:gd name="connsiteX9" fmla="*/ 5115 w 3934"/>
                <a:gd name="connsiteY9" fmla="*/ 3147 h 3934"/>
                <a:gd name="connsiteX10" fmla="*/ 5115 w 3934"/>
                <a:gd name="connsiteY10" fmla="*/ 2754 h 3934"/>
                <a:gd name="connsiteX11" fmla="*/ 5115 w 3934"/>
                <a:gd name="connsiteY11" fmla="*/ 1574 h 3934"/>
                <a:gd name="connsiteX12" fmla="*/ 5115 w 3934"/>
                <a:gd name="connsiteY12" fmla="*/ 1574 h 3934"/>
                <a:gd name="connsiteX13" fmla="*/ 5115 w 3934"/>
                <a:gd name="connsiteY13" fmla="*/ 1180 h 3934"/>
                <a:gd name="connsiteX14" fmla="*/ 4721 w 3934"/>
                <a:gd name="connsiteY14" fmla="*/ 1180 h 3934"/>
                <a:gd name="connsiteX15" fmla="*/ 4721 w 3934"/>
                <a:gd name="connsiteY15" fmla="*/ 787 h 3934"/>
                <a:gd name="connsiteX16" fmla="*/ 4327 w 3934"/>
                <a:gd name="connsiteY16" fmla="*/ 787 h 3934"/>
                <a:gd name="connsiteX17" fmla="*/ 4327 w 3934"/>
                <a:gd name="connsiteY17" fmla="*/ 393 h 3934"/>
                <a:gd name="connsiteX18" fmla="*/ 3934 w 3934"/>
                <a:gd name="connsiteY18" fmla="*/ 393 h 3934"/>
                <a:gd name="connsiteX19" fmla="*/ 3934 w 3934"/>
                <a:gd name="connsiteY19" fmla="*/ 0 h 3934"/>
                <a:gd name="connsiteX20" fmla="*/ 3540 w 3934"/>
                <a:gd name="connsiteY20" fmla="*/ 0 h 3934"/>
                <a:gd name="connsiteX21" fmla="*/ 3540 w 3934"/>
                <a:gd name="connsiteY21" fmla="*/ 0 h 3934"/>
                <a:gd name="connsiteX22" fmla="*/ 1967 w 3934"/>
                <a:gd name="connsiteY22" fmla="*/ 0 h 3934"/>
                <a:gd name="connsiteX23" fmla="*/ 1967 w 3934"/>
                <a:gd name="connsiteY23" fmla="*/ 0 h 3934"/>
                <a:gd name="connsiteX24" fmla="*/ 1180 w 3934"/>
                <a:gd name="connsiteY24" fmla="*/ 0 h 3934"/>
                <a:gd name="connsiteX25" fmla="*/ 1180 w 3934"/>
                <a:gd name="connsiteY25" fmla="*/ 393 h 3934"/>
                <a:gd name="connsiteX26" fmla="*/ 787 w 3934"/>
                <a:gd name="connsiteY26" fmla="*/ 393 h 3934"/>
                <a:gd name="connsiteX27" fmla="*/ 787 w 3934"/>
                <a:gd name="connsiteY27" fmla="*/ 787 h 3934"/>
                <a:gd name="connsiteX28" fmla="*/ 787 w 3934"/>
                <a:gd name="connsiteY28" fmla="*/ 787 h 3934"/>
                <a:gd name="connsiteX29" fmla="*/ 787 w 3934"/>
                <a:gd name="connsiteY29" fmla="*/ 1180 h 3934"/>
                <a:gd name="connsiteX30" fmla="*/ 393 w 3934"/>
                <a:gd name="connsiteY30" fmla="*/ 1180 h 3934"/>
                <a:gd name="connsiteX31" fmla="*/ 393 w 3934"/>
                <a:gd name="connsiteY31" fmla="*/ 1574 h 3934"/>
                <a:gd name="connsiteX32" fmla="*/ 0 w 3934"/>
                <a:gd name="connsiteY32" fmla="*/ 1967 h 3934"/>
                <a:gd name="connsiteX33" fmla="*/ 0 w 3934"/>
                <a:gd name="connsiteY33" fmla="*/ 3147 h 3934"/>
                <a:gd name="connsiteX34" fmla="*/ 393 w 3934"/>
                <a:gd name="connsiteY34" fmla="*/ 3147 h 3934"/>
                <a:gd name="connsiteX35" fmla="*/ 393 w 3934"/>
                <a:gd name="connsiteY35" fmla="*/ 3934 h 3934"/>
                <a:gd name="connsiteX36" fmla="*/ 787 w 3934"/>
                <a:gd name="connsiteY36" fmla="*/ 3934 h 3934"/>
                <a:gd name="connsiteX37" fmla="*/ 787 w 3934"/>
                <a:gd name="connsiteY37" fmla="*/ 3934 h 3934"/>
                <a:gd name="connsiteX38" fmla="*/ 787 w 3934"/>
                <a:gd name="connsiteY38" fmla="*/ 3934 h 3934"/>
                <a:gd name="connsiteX39" fmla="*/ 787 w 3934"/>
                <a:gd name="connsiteY39" fmla="*/ 4328 h 3934"/>
                <a:gd name="connsiteX40" fmla="*/ 1180 w 3934"/>
                <a:gd name="connsiteY40" fmla="*/ 4328 h 3934"/>
                <a:gd name="connsiteX41" fmla="*/ 1180 w 3934"/>
                <a:gd name="connsiteY41" fmla="*/ 4721 h 3934"/>
                <a:gd name="connsiteX42" fmla="*/ 1967 w 3934"/>
                <a:gd name="connsiteY42" fmla="*/ 4721 h 3934"/>
                <a:gd name="connsiteX43" fmla="*/ 1967 w 3934"/>
                <a:gd name="connsiteY4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540" y="5114"/>
                  </a:moveTo>
                  <a:lnTo>
                    <a:pt x="3540" y="4721"/>
                  </a:lnTo>
                  <a:lnTo>
                    <a:pt x="3934" y="4721"/>
                  </a:lnTo>
                  <a:lnTo>
                    <a:pt x="3934" y="4328"/>
                  </a:lnTo>
                  <a:lnTo>
                    <a:pt x="4327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5115" y="3934"/>
                  </a:lnTo>
                  <a:lnTo>
                    <a:pt x="5115" y="3147"/>
                  </a:lnTo>
                  <a:lnTo>
                    <a:pt x="5115" y="3147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5115" y="1574"/>
                  </a:lnTo>
                  <a:lnTo>
                    <a:pt x="5115" y="1180"/>
                  </a:lnTo>
                  <a:lnTo>
                    <a:pt x="4721" y="1180"/>
                  </a:lnTo>
                  <a:lnTo>
                    <a:pt x="4721" y="787"/>
                  </a:lnTo>
                  <a:lnTo>
                    <a:pt x="4327" y="787"/>
                  </a:lnTo>
                  <a:lnTo>
                    <a:pt x="4327" y="393"/>
                  </a:lnTo>
                  <a:lnTo>
                    <a:pt x="3934" y="393"/>
                  </a:lnTo>
                  <a:lnTo>
                    <a:pt x="3934" y="0"/>
                  </a:lnTo>
                  <a:lnTo>
                    <a:pt x="3540" y="0"/>
                  </a:lnTo>
                  <a:lnTo>
                    <a:pt x="3540" y="0"/>
                  </a:lnTo>
                  <a:lnTo>
                    <a:pt x="1967" y="0"/>
                  </a:lnTo>
                  <a:lnTo>
                    <a:pt x="1967" y="0"/>
                  </a:lnTo>
                  <a:lnTo>
                    <a:pt x="1180" y="0"/>
                  </a:lnTo>
                  <a:lnTo>
                    <a:pt x="1180" y="393"/>
                  </a:lnTo>
                  <a:lnTo>
                    <a:pt x="787" y="393"/>
                  </a:lnTo>
                  <a:lnTo>
                    <a:pt x="787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393" y="3147"/>
                  </a:lnTo>
                  <a:lnTo>
                    <a:pt x="393" y="3934"/>
                  </a:lnTo>
                  <a:lnTo>
                    <a:pt x="787" y="3934"/>
                  </a:lnTo>
                  <a:lnTo>
                    <a:pt x="787" y="3934"/>
                  </a:lnTo>
                  <a:lnTo>
                    <a:pt x="787" y="3934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967" y="4721"/>
                  </a:lnTo>
                  <a:lnTo>
                    <a:pt x="1967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61" name="Freeform: Shape 4355">
              <a:extLst>
                <a:ext uri="{FF2B5EF4-FFF2-40B4-BE49-F238E27FC236}">
                  <a16:creationId xmlns:a16="http://schemas.microsoft.com/office/drawing/2014/main" id="{4265638F-0BD3-440D-BCFA-6758F556598F}"/>
                </a:ext>
              </a:extLst>
            </p:cNvPr>
            <p:cNvSpPr/>
            <p:nvPr/>
          </p:nvSpPr>
          <p:spPr>
            <a:xfrm>
              <a:off x="9800504" y="3556512"/>
              <a:ext cx="3934" cy="3934"/>
            </a:xfrm>
            <a:custGeom>
              <a:avLst/>
              <a:gdLst>
                <a:gd name="connsiteX0" fmla="*/ 1967 w 3934"/>
                <a:gd name="connsiteY0" fmla="*/ 0 h 3934"/>
                <a:gd name="connsiteX1" fmla="*/ 1967 w 3934"/>
                <a:gd name="connsiteY1" fmla="*/ 0 h 3934"/>
                <a:gd name="connsiteX2" fmla="*/ 1180 w 3934"/>
                <a:gd name="connsiteY2" fmla="*/ 0 h 3934"/>
                <a:gd name="connsiteX3" fmla="*/ 1180 w 3934"/>
                <a:gd name="connsiteY3" fmla="*/ 393 h 3934"/>
                <a:gd name="connsiteX4" fmla="*/ 1180 w 3934"/>
                <a:gd name="connsiteY4" fmla="*/ 393 h 3934"/>
                <a:gd name="connsiteX5" fmla="*/ 1180 w 3934"/>
                <a:gd name="connsiteY5" fmla="*/ 787 h 3934"/>
                <a:gd name="connsiteX6" fmla="*/ 787 w 3934"/>
                <a:gd name="connsiteY6" fmla="*/ 787 h 3934"/>
                <a:gd name="connsiteX7" fmla="*/ 787 w 3934"/>
                <a:gd name="connsiteY7" fmla="*/ 1180 h 3934"/>
                <a:gd name="connsiteX8" fmla="*/ 393 w 3934"/>
                <a:gd name="connsiteY8" fmla="*/ 1180 h 3934"/>
                <a:gd name="connsiteX9" fmla="*/ 393 w 3934"/>
                <a:gd name="connsiteY9" fmla="*/ 1574 h 3934"/>
                <a:gd name="connsiteX10" fmla="*/ 0 w 3934"/>
                <a:gd name="connsiteY10" fmla="*/ 1967 h 3934"/>
                <a:gd name="connsiteX11" fmla="*/ 0 w 3934"/>
                <a:gd name="connsiteY11" fmla="*/ 3147 h 3934"/>
                <a:gd name="connsiteX12" fmla="*/ 393 w 3934"/>
                <a:gd name="connsiteY12" fmla="*/ 3147 h 3934"/>
                <a:gd name="connsiteX13" fmla="*/ 393 w 3934"/>
                <a:gd name="connsiteY13" fmla="*/ 3934 h 3934"/>
                <a:gd name="connsiteX14" fmla="*/ 787 w 3934"/>
                <a:gd name="connsiteY14" fmla="*/ 3934 h 3934"/>
                <a:gd name="connsiteX15" fmla="*/ 787 w 3934"/>
                <a:gd name="connsiteY15" fmla="*/ 3934 h 3934"/>
                <a:gd name="connsiteX16" fmla="*/ 1180 w 3934"/>
                <a:gd name="connsiteY16" fmla="*/ 3934 h 3934"/>
                <a:gd name="connsiteX17" fmla="*/ 1180 w 3934"/>
                <a:gd name="connsiteY17" fmla="*/ 4328 h 3934"/>
                <a:gd name="connsiteX18" fmla="*/ 1180 w 3934"/>
                <a:gd name="connsiteY18" fmla="*/ 4328 h 3934"/>
                <a:gd name="connsiteX19" fmla="*/ 1180 w 3934"/>
                <a:gd name="connsiteY19" fmla="*/ 4721 h 3934"/>
                <a:gd name="connsiteX20" fmla="*/ 1967 w 3934"/>
                <a:gd name="connsiteY20" fmla="*/ 4721 h 3934"/>
                <a:gd name="connsiteX21" fmla="*/ 1967 w 3934"/>
                <a:gd name="connsiteY21" fmla="*/ 5114 h 3934"/>
                <a:gd name="connsiteX22" fmla="*/ 3540 w 3934"/>
                <a:gd name="connsiteY22" fmla="*/ 5114 h 3934"/>
                <a:gd name="connsiteX23" fmla="*/ 3540 w 3934"/>
                <a:gd name="connsiteY23" fmla="*/ 4721 h 3934"/>
                <a:gd name="connsiteX24" fmla="*/ 3934 w 3934"/>
                <a:gd name="connsiteY24" fmla="*/ 4721 h 3934"/>
                <a:gd name="connsiteX25" fmla="*/ 3934 w 3934"/>
                <a:gd name="connsiteY25" fmla="*/ 4328 h 3934"/>
                <a:gd name="connsiteX26" fmla="*/ 4327 w 3934"/>
                <a:gd name="connsiteY26" fmla="*/ 4328 h 3934"/>
                <a:gd name="connsiteX27" fmla="*/ 4721 w 3934"/>
                <a:gd name="connsiteY27" fmla="*/ 3934 h 3934"/>
                <a:gd name="connsiteX28" fmla="*/ 4721 w 3934"/>
                <a:gd name="connsiteY28" fmla="*/ 3934 h 3934"/>
                <a:gd name="connsiteX29" fmla="*/ 5114 w 3934"/>
                <a:gd name="connsiteY29" fmla="*/ 3934 h 3934"/>
                <a:gd name="connsiteX30" fmla="*/ 5114 w 3934"/>
                <a:gd name="connsiteY30" fmla="*/ 3147 h 3934"/>
                <a:gd name="connsiteX31" fmla="*/ 5114 w 3934"/>
                <a:gd name="connsiteY31" fmla="*/ 3147 h 3934"/>
                <a:gd name="connsiteX32" fmla="*/ 5114 w 3934"/>
                <a:gd name="connsiteY32" fmla="*/ 2754 h 3934"/>
                <a:gd name="connsiteX33" fmla="*/ 5114 w 3934"/>
                <a:gd name="connsiteY33" fmla="*/ 1574 h 3934"/>
                <a:gd name="connsiteX34" fmla="*/ 5114 w 3934"/>
                <a:gd name="connsiteY34" fmla="*/ 1574 h 3934"/>
                <a:gd name="connsiteX35" fmla="*/ 5114 w 3934"/>
                <a:gd name="connsiteY35" fmla="*/ 1180 h 3934"/>
                <a:gd name="connsiteX36" fmla="*/ 4721 w 3934"/>
                <a:gd name="connsiteY36" fmla="*/ 1180 h 3934"/>
                <a:gd name="connsiteX37" fmla="*/ 4721 w 3934"/>
                <a:gd name="connsiteY37" fmla="*/ 787 h 3934"/>
                <a:gd name="connsiteX38" fmla="*/ 4327 w 3934"/>
                <a:gd name="connsiteY38" fmla="*/ 787 h 3934"/>
                <a:gd name="connsiteX39" fmla="*/ 4327 w 3934"/>
                <a:gd name="connsiteY39" fmla="*/ 393 h 3934"/>
                <a:gd name="connsiteX40" fmla="*/ 3934 w 3934"/>
                <a:gd name="connsiteY40" fmla="*/ 393 h 3934"/>
                <a:gd name="connsiteX41" fmla="*/ 3934 w 3934"/>
                <a:gd name="connsiteY41" fmla="*/ 0 h 3934"/>
                <a:gd name="connsiteX42" fmla="*/ 3540 w 3934"/>
                <a:gd name="connsiteY42" fmla="*/ 0 h 3934"/>
                <a:gd name="connsiteX43" fmla="*/ 3540 w 3934"/>
                <a:gd name="connsiteY4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1967" y="0"/>
                  </a:moveTo>
                  <a:lnTo>
                    <a:pt x="1967" y="0"/>
                  </a:lnTo>
                  <a:lnTo>
                    <a:pt x="1180" y="0"/>
                  </a:lnTo>
                  <a:lnTo>
                    <a:pt x="1180" y="393"/>
                  </a:lnTo>
                  <a:lnTo>
                    <a:pt x="1180" y="393"/>
                  </a:lnTo>
                  <a:lnTo>
                    <a:pt x="1180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393" y="3147"/>
                  </a:lnTo>
                  <a:lnTo>
                    <a:pt x="393" y="3934"/>
                  </a:lnTo>
                  <a:lnTo>
                    <a:pt x="787" y="3934"/>
                  </a:lnTo>
                  <a:lnTo>
                    <a:pt x="787" y="3934"/>
                  </a:lnTo>
                  <a:lnTo>
                    <a:pt x="1180" y="3934"/>
                  </a:lnTo>
                  <a:lnTo>
                    <a:pt x="1180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967" y="4721"/>
                  </a:lnTo>
                  <a:lnTo>
                    <a:pt x="1967" y="5114"/>
                  </a:lnTo>
                  <a:lnTo>
                    <a:pt x="3540" y="5114"/>
                  </a:lnTo>
                  <a:lnTo>
                    <a:pt x="3540" y="4721"/>
                  </a:lnTo>
                  <a:lnTo>
                    <a:pt x="3934" y="4721"/>
                  </a:lnTo>
                  <a:lnTo>
                    <a:pt x="3934" y="4328"/>
                  </a:lnTo>
                  <a:lnTo>
                    <a:pt x="4327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5114" y="3934"/>
                  </a:lnTo>
                  <a:lnTo>
                    <a:pt x="5114" y="3147"/>
                  </a:lnTo>
                  <a:lnTo>
                    <a:pt x="5114" y="3147"/>
                  </a:lnTo>
                  <a:lnTo>
                    <a:pt x="5114" y="2754"/>
                  </a:lnTo>
                  <a:lnTo>
                    <a:pt x="5114" y="1574"/>
                  </a:lnTo>
                  <a:lnTo>
                    <a:pt x="5114" y="1574"/>
                  </a:lnTo>
                  <a:lnTo>
                    <a:pt x="5114" y="1180"/>
                  </a:lnTo>
                  <a:lnTo>
                    <a:pt x="4721" y="1180"/>
                  </a:lnTo>
                  <a:lnTo>
                    <a:pt x="4721" y="787"/>
                  </a:lnTo>
                  <a:lnTo>
                    <a:pt x="4327" y="787"/>
                  </a:lnTo>
                  <a:lnTo>
                    <a:pt x="4327" y="393"/>
                  </a:lnTo>
                  <a:lnTo>
                    <a:pt x="3934" y="393"/>
                  </a:lnTo>
                  <a:lnTo>
                    <a:pt x="3934" y="0"/>
                  </a:lnTo>
                  <a:lnTo>
                    <a:pt x="3540" y="0"/>
                  </a:lnTo>
                  <a:lnTo>
                    <a:pt x="354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62" name="Freeform: Shape 4356">
              <a:extLst>
                <a:ext uri="{FF2B5EF4-FFF2-40B4-BE49-F238E27FC236}">
                  <a16:creationId xmlns:a16="http://schemas.microsoft.com/office/drawing/2014/main" id="{AC2101EA-FFCD-4A91-A8B3-22B1A19D6C9A}"/>
                </a:ext>
              </a:extLst>
            </p:cNvPr>
            <p:cNvSpPr/>
            <p:nvPr/>
          </p:nvSpPr>
          <p:spPr>
            <a:xfrm>
              <a:off x="9801683" y="3564381"/>
              <a:ext cx="3934" cy="3934"/>
            </a:xfrm>
            <a:custGeom>
              <a:avLst/>
              <a:gdLst>
                <a:gd name="connsiteX0" fmla="*/ 3148 w 3934"/>
                <a:gd name="connsiteY0" fmla="*/ 5114 h 3934"/>
                <a:gd name="connsiteX1" fmla="*/ 3148 w 3934"/>
                <a:gd name="connsiteY1" fmla="*/ 4721 h 3934"/>
                <a:gd name="connsiteX2" fmla="*/ 3934 w 3934"/>
                <a:gd name="connsiteY2" fmla="*/ 4721 h 3934"/>
                <a:gd name="connsiteX3" fmla="*/ 3934 w 3934"/>
                <a:gd name="connsiteY3" fmla="*/ 4328 h 3934"/>
                <a:gd name="connsiteX4" fmla="*/ 3934 w 3934"/>
                <a:gd name="connsiteY4" fmla="*/ 4328 h 3934"/>
                <a:gd name="connsiteX5" fmla="*/ 4328 w 3934"/>
                <a:gd name="connsiteY5" fmla="*/ 4328 h 3934"/>
                <a:gd name="connsiteX6" fmla="*/ 4328 w 3934"/>
                <a:gd name="connsiteY6" fmla="*/ 3934 h 3934"/>
                <a:gd name="connsiteX7" fmla="*/ 4722 w 3934"/>
                <a:gd name="connsiteY7" fmla="*/ 3934 h 3934"/>
                <a:gd name="connsiteX8" fmla="*/ 4722 w 3934"/>
                <a:gd name="connsiteY8" fmla="*/ 3147 h 3934"/>
                <a:gd name="connsiteX9" fmla="*/ 4722 w 3934"/>
                <a:gd name="connsiteY9" fmla="*/ 3147 h 3934"/>
                <a:gd name="connsiteX10" fmla="*/ 4722 w 3934"/>
                <a:gd name="connsiteY10" fmla="*/ 2754 h 3934"/>
                <a:gd name="connsiteX11" fmla="*/ 4722 w 3934"/>
                <a:gd name="connsiteY11" fmla="*/ 1574 h 3934"/>
                <a:gd name="connsiteX12" fmla="*/ 4722 w 3934"/>
                <a:gd name="connsiteY12" fmla="*/ 1574 h 3934"/>
                <a:gd name="connsiteX13" fmla="*/ 4722 w 3934"/>
                <a:gd name="connsiteY13" fmla="*/ 1180 h 3934"/>
                <a:gd name="connsiteX14" fmla="*/ 4328 w 3934"/>
                <a:gd name="connsiteY14" fmla="*/ 1180 h 3934"/>
                <a:gd name="connsiteX15" fmla="*/ 4328 w 3934"/>
                <a:gd name="connsiteY15" fmla="*/ 787 h 3934"/>
                <a:gd name="connsiteX16" fmla="*/ 3934 w 3934"/>
                <a:gd name="connsiteY16" fmla="*/ 787 h 3934"/>
                <a:gd name="connsiteX17" fmla="*/ 3934 w 3934"/>
                <a:gd name="connsiteY17" fmla="*/ 393 h 3934"/>
                <a:gd name="connsiteX18" fmla="*/ 3934 w 3934"/>
                <a:gd name="connsiteY18" fmla="*/ 393 h 3934"/>
                <a:gd name="connsiteX19" fmla="*/ 3934 w 3934"/>
                <a:gd name="connsiteY19" fmla="*/ 393 h 3934"/>
                <a:gd name="connsiteX20" fmla="*/ 3148 w 3934"/>
                <a:gd name="connsiteY20" fmla="*/ 393 h 3934"/>
                <a:gd name="connsiteX21" fmla="*/ 3148 w 3934"/>
                <a:gd name="connsiteY21" fmla="*/ 0 h 3934"/>
                <a:gd name="connsiteX22" fmla="*/ 1967 w 3934"/>
                <a:gd name="connsiteY22" fmla="*/ 0 h 3934"/>
                <a:gd name="connsiteX23" fmla="*/ 1574 w 3934"/>
                <a:gd name="connsiteY23" fmla="*/ 393 h 3934"/>
                <a:gd name="connsiteX24" fmla="*/ 788 w 3934"/>
                <a:gd name="connsiteY24" fmla="*/ 393 h 3934"/>
                <a:gd name="connsiteX25" fmla="*/ 788 w 3934"/>
                <a:gd name="connsiteY25" fmla="*/ 393 h 3934"/>
                <a:gd name="connsiteX26" fmla="*/ 788 w 3934"/>
                <a:gd name="connsiteY26" fmla="*/ 393 h 3934"/>
                <a:gd name="connsiteX27" fmla="*/ 788 w 3934"/>
                <a:gd name="connsiteY27" fmla="*/ 787 h 3934"/>
                <a:gd name="connsiteX28" fmla="*/ 394 w 3934"/>
                <a:gd name="connsiteY28" fmla="*/ 787 h 3934"/>
                <a:gd name="connsiteX29" fmla="*/ 394 w 3934"/>
                <a:gd name="connsiteY29" fmla="*/ 1180 h 3934"/>
                <a:gd name="connsiteX30" fmla="*/ 0 w 3934"/>
                <a:gd name="connsiteY30" fmla="*/ 1180 h 3934"/>
                <a:gd name="connsiteX31" fmla="*/ 0 w 3934"/>
                <a:gd name="connsiteY31" fmla="*/ 1574 h 3934"/>
                <a:gd name="connsiteX32" fmla="*/ 0 w 3934"/>
                <a:gd name="connsiteY32" fmla="*/ 1967 h 3934"/>
                <a:gd name="connsiteX33" fmla="*/ 0 w 3934"/>
                <a:gd name="connsiteY33" fmla="*/ 3147 h 3934"/>
                <a:gd name="connsiteX34" fmla="*/ 0 w 3934"/>
                <a:gd name="connsiteY34" fmla="*/ 3147 h 3934"/>
                <a:gd name="connsiteX35" fmla="*/ 0 w 3934"/>
                <a:gd name="connsiteY35" fmla="*/ 3934 h 3934"/>
                <a:gd name="connsiteX36" fmla="*/ 394 w 3934"/>
                <a:gd name="connsiteY36" fmla="*/ 3934 h 3934"/>
                <a:gd name="connsiteX37" fmla="*/ 394 w 3934"/>
                <a:gd name="connsiteY37" fmla="*/ 4328 h 3934"/>
                <a:gd name="connsiteX38" fmla="*/ 788 w 3934"/>
                <a:gd name="connsiteY38" fmla="*/ 4328 h 3934"/>
                <a:gd name="connsiteX39" fmla="*/ 788 w 3934"/>
                <a:gd name="connsiteY39" fmla="*/ 4328 h 3934"/>
                <a:gd name="connsiteX40" fmla="*/ 788 w 3934"/>
                <a:gd name="connsiteY40" fmla="*/ 4328 h 3934"/>
                <a:gd name="connsiteX41" fmla="*/ 788 w 3934"/>
                <a:gd name="connsiteY41" fmla="*/ 4721 h 3934"/>
                <a:gd name="connsiteX42" fmla="*/ 1574 w 3934"/>
                <a:gd name="connsiteY42" fmla="*/ 4721 h 3934"/>
                <a:gd name="connsiteX43" fmla="*/ 1574 w 3934"/>
                <a:gd name="connsiteY4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148" y="5114"/>
                  </a:moveTo>
                  <a:lnTo>
                    <a:pt x="3148" y="4721"/>
                  </a:lnTo>
                  <a:lnTo>
                    <a:pt x="3934" y="4721"/>
                  </a:lnTo>
                  <a:lnTo>
                    <a:pt x="3934" y="4328"/>
                  </a:lnTo>
                  <a:lnTo>
                    <a:pt x="3934" y="4328"/>
                  </a:lnTo>
                  <a:lnTo>
                    <a:pt x="4328" y="4328"/>
                  </a:lnTo>
                  <a:lnTo>
                    <a:pt x="4328" y="3934"/>
                  </a:lnTo>
                  <a:lnTo>
                    <a:pt x="4722" y="3934"/>
                  </a:lnTo>
                  <a:lnTo>
                    <a:pt x="4722" y="3147"/>
                  </a:lnTo>
                  <a:lnTo>
                    <a:pt x="4722" y="3147"/>
                  </a:lnTo>
                  <a:lnTo>
                    <a:pt x="4722" y="2754"/>
                  </a:lnTo>
                  <a:lnTo>
                    <a:pt x="4722" y="1574"/>
                  </a:lnTo>
                  <a:lnTo>
                    <a:pt x="4722" y="1574"/>
                  </a:lnTo>
                  <a:lnTo>
                    <a:pt x="4722" y="1180"/>
                  </a:lnTo>
                  <a:lnTo>
                    <a:pt x="4328" y="1180"/>
                  </a:lnTo>
                  <a:lnTo>
                    <a:pt x="4328" y="787"/>
                  </a:lnTo>
                  <a:lnTo>
                    <a:pt x="3934" y="787"/>
                  </a:lnTo>
                  <a:lnTo>
                    <a:pt x="3934" y="393"/>
                  </a:lnTo>
                  <a:lnTo>
                    <a:pt x="3934" y="393"/>
                  </a:lnTo>
                  <a:lnTo>
                    <a:pt x="3934" y="393"/>
                  </a:lnTo>
                  <a:lnTo>
                    <a:pt x="3148" y="393"/>
                  </a:lnTo>
                  <a:lnTo>
                    <a:pt x="3148" y="0"/>
                  </a:lnTo>
                  <a:lnTo>
                    <a:pt x="1967" y="0"/>
                  </a:lnTo>
                  <a:lnTo>
                    <a:pt x="1574" y="393"/>
                  </a:lnTo>
                  <a:lnTo>
                    <a:pt x="788" y="393"/>
                  </a:lnTo>
                  <a:lnTo>
                    <a:pt x="788" y="393"/>
                  </a:lnTo>
                  <a:lnTo>
                    <a:pt x="788" y="393"/>
                  </a:lnTo>
                  <a:lnTo>
                    <a:pt x="788" y="787"/>
                  </a:lnTo>
                  <a:lnTo>
                    <a:pt x="394" y="787"/>
                  </a:lnTo>
                  <a:lnTo>
                    <a:pt x="394" y="1180"/>
                  </a:lnTo>
                  <a:lnTo>
                    <a:pt x="0" y="1180"/>
                  </a:lnTo>
                  <a:lnTo>
                    <a:pt x="0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0" y="3147"/>
                  </a:lnTo>
                  <a:lnTo>
                    <a:pt x="0" y="3934"/>
                  </a:lnTo>
                  <a:lnTo>
                    <a:pt x="394" y="3934"/>
                  </a:lnTo>
                  <a:lnTo>
                    <a:pt x="394" y="4328"/>
                  </a:lnTo>
                  <a:lnTo>
                    <a:pt x="788" y="4328"/>
                  </a:lnTo>
                  <a:lnTo>
                    <a:pt x="788" y="4328"/>
                  </a:lnTo>
                  <a:lnTo>
                    <a:pt x="788" y="4328"/>
                  </a:lnTo>
                  <a:lnTo>
                    <a:pt x="788" y="4721"/>
                  </a:lnTo>
                  <a:lnTo>
                    <a:pt x="1574" y="4721"/>
                  </a:lnTo>
                  <a:lnTo>
                    <a:pt x="1574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63" name="Freeform: Shape 4357">
              <a:extLst>
                <a:ext uri="{FF2B5EF4-FFF2-40B4-BE49-F238E27FC236}">
                  <a16:creationId xmlns:a16="http://schemas.microsoft.com/office/drawing/2014/main" id="{BD8573CA-5E1F-4D42-9395-B7899D1D64E4}"/>
                </a:ext>
              </a:extLst>
            </p:cNvPr>
            <p:cNvSpPr/>
            <p:nvPr/>
          </p:nvSpPr>
          <p:spPr>
            <a:xfrm>
              <a:off x="4201258" y="3137120"/>
              <a:ext cx="3934" cy="3934"/>
            </a:xfrm>
            <a:custGeom>
              <a:avLst/>
              <a:gdLst>
                <a:gd name="connsiteX0" fmla="*/ 3541 w 3934"/>
                <a:gd name="connsiteY0" fmla="*/ 4721 h 3934"/>
                <a:gd name="connsiteX1" fmla="*/ 3934 w 3934"/>
                <a:gd name="connsiteY1" fmla="*/ 4721 h 3934"/>
                <a:gd name="connsiteX2" fmla="*/ 3934 w 3934"/>
                <a:gd name="connsiteY2" fmla="*/ 4721 h 3934"/>
                <a:gd name="connsiteX3" fmla="*/ 4328 w 3934"/>
                <a:gd name="connsiteY3" fmla="*/ 4721 h 3934"/>
                <a:gd name="connsiteX4" fmla="*/ 4721 w 3934"/>
                <a:gd name="connsiteY4" fmla="*/ 4328 h 3934"/>
                <a:gd name="connsiteX5" fmla="*/ 4721 w 3934"/>
                <a:gd name="connsiteY5" fmla="*/ 3934 h 3934"/>
                <a:gd name="connsiteX6" fmla="*/ 4721 w 3934"/>
                <a:gd name="connsiteY6" fmla="*/ 3934 h 3934"/>
                <a:gd name="connsiteX7" fmla="*/ 4721 w 3934"/>
                <a:gd name="connsiteY7" fmla="*/ 3541 h 3934"/>
                <a:gd name="connsiteX8" fmla="*/ 5114 w 3934"/>
                <a:gd name="connsiteY8" fmla="*/ 3541 h 3934"/>
                <a:gd name="connsiteX9" fmla="*/ 5114 w 3934"/>
                <a:gd name="connsiteY9" fmla="*/ 2754 h 3934"/>
                <a:gd name="connsiteX10" fmla="*/ 5114 w 3934"/>
                <a:gd name="connsiteY10" fmla="*/ 1574 h 3934"/>
                <a:gd name="connsiteX11" fmla="*/ 4721 w 3934"/>
                <a:gd name="connsiteY11" fmla="*/ 1574 h 3934"/>
                <a:gd name="connsiteX12" fmla="*/ 4721 w 3934"/>
                <a:gd name="connsiteY12" fmla="*/ 1180 h 3934"/>
                <a:gd name="connsiteX13" fmla="*/ 4721 w 3934"/>
                <a:gd name="connsiteY13" fmla="*/ 1180 h 3934"/>
                <a:gd name="connsiteX14" fmla="*/ 4721 w 3934"/>
                <a:gd name="connsiteY14" fmla="*/ 787 h 3934"/>
                <a:gd name="connsiteX15" fmla="*/ 4328 w 3934"/>
                <a:gd name="connsiteY15" fmla="*/ 787 h 3934"/>
                <a:gd name="connsiteX16" fmla="*/ 4328 w 3934"/>
                <a:gd name="connsiteY16" fmla="*/ 394 h 3934"/>
                <a:gd name="connsiteX17" fmla="*/ 3934 w 3934"/>
                <a:gd name="connsiteY17" fmla="*/ 394 h 3934"/>
                <a:gd name="connsiteX18" fmla="*/ 3934 w 3934"/>
                <a:gd name="connsiteY18" fmla="*/ 394 h 3934"/>
                <a:gd name="connsiteX19" fmla="*/ 3541 w 3934"/>
                <a:gd name="connsiteY19" fmla="*/ 394 h 3934"/>
                <a:gd name="connsiteX20" fmla="*/ 3541 w 3934"/>
                <a:gd name="connsiteY20" fmla="*/ 0 h 3934"/>
                <a:gd name="connsiteX21" fmla="*/ 1967 w 3934"/>
                <a:gd name="connsiteY21" fmla="*/ 0 h 3934"/>
                <a:gd name="connsiteX22" fmla="*/ 1574 w 3934"/>
                <a:gd name="connsiteY22" fmla="*/ 394 h 3934"/>
                <a:gd name="connsiteX23" fmla="*/ 1180 w 3934"/>
                <a:gd name="connsiteY23" fmla="*/ 394 h 3934"/>
                <a:gd name="connsiteX24" fmla="*/ 1180 w 3934"/>
                <a:gd name="connsiteY24" fmla="*/ 394 h 3934"/>
                <a:gd name="connsiteX25" fmla="*/ 787 w 3934"/>
                <a:gd name="connsiteY25" fmla="*/ 394 h 3934"/>
                <a:gd name="connsiteX26" fmla="*/ 787 w 3934"/>
                <a:gd name="connsiteY26" fmla="*/ 787 h 3934"/>
                <a:gd name="connsiteX27" fmla="*/ 787 w 3934"/>
                <a:gd name="connsiteY27" fmla="*/ 787 h 3934"/>
                <a:gd name="connsiteX28" fmla="*/ 787 w 3934"/>
                <a:gd name="connsiteY28" fmla="*/ 1180 h 3934"/>
                <a:gd name="connsiteX29" fmla="*/ 393 w 3934"/>
                <a:gd name="connsiteY29" fmla="*/ 1180 h 3934"/>
                <a:gd name="connsiteX30" fmla="*/ 393 w 3934"/>
                <a:gd name="connsiteY30" fmla="*/ 1574 h 3934"/>
                <a:gd name="connsiteX31" fmla="*/ 0 w 3934"/>
                <a:gd name="connsiteY31" fmla="*/ 1967 h 3934"/>
                <a:gd name="connsiteX32" fmla="*/ 0 w 3934"/>
                <a:gd name="connsiteY32" fmla="*/ 3541 h 3934"/>
                <a:gd name="connsiteX33" fmla="*/ 393 w 3934"/>
                <a:gd name="connsiteY33" fmla="*/ 3541 h 3934"/>
                <a:gd name="connsiteX34" fmla="*/ 393 w 3934"/>
                <a:gd name="connsiteY34" fmla="*/ 3934 h 3934"/>
                <a:gd name="connsiteX35" fmla="*/ 787 w 3934"/>
                <a:gd name="connsiteY35" fmla="*/ 3934 h 3934"/>
                <a:gd name="connsiteX36" fmla="*/ 787 w 3934"/>
                <a:gd name="connsiteY36" fmla="*/ 4328 h 3934"/>
                <a:gd name="connsiteX37" fmla="*/ 787 w 3934"/>
                <a:gd name="connsiteY37" fmla="*/ 4328 h 3934"/>
                <a:gd name="connsiteX38" fmla="*/ 787 w 3934"/>
                <a:gd name="connsiteY38" fmla="*/ 4721 h 3934"/>
                <a:gd name="connsiteX39" fmla="*/ 1180 w 3934"/>
                <a:gd name="connsiteY39" fmla="*/ 4721 h 3934"/>
                <a:gd name="connsiteX40" fmla="*/ 1180 w 3934"/>
                <a:gd name="connsiteY40" fmla="*/ 4721 h 3934"/>
                <a:gd name="connsiteX41" fmla="*/ 1574 w 3934"/>
                <a:gd name="connsiteY41" fmla="*/ 4721 h 3934"/>
                <a:gd name="connsiteX42" fmla="*/ 1574 w 3934"/>
                <a:gd name="connsiteY42" fmla="*/ 5115 h 3934"/>
                <a:gd name="connsiteX43" fmla="*/ 3541 w 3934"/>
                <a:gd name="connsiteY43" fmla="*/ 511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541" y="4721"/>
                  </a:moveTo>
                  <a:lnTo>
                    <a:pt x="3934" y="4721"/>
                  </a:lnTo>
                  <a:lnTo>
                    <a:pt x="3934" y="4721"/>
                  </a:lnTo>
                  <a:lnTo>
                    <a:pt x="4328" y="4721"/>
                  </a:lnTo>
                  <a:lnTo>
                    <a:pt x="4721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4721" y="3541"/>
                  </a:lnTo>
                  <a:lnTo>
                    <a:pt x="5114" y="3541"/>
                  </a:lnTo>
                  <a:lnTo>
                    <a:pt x="5114" y="2754"/>
                  </a:lnTo>
                  <a:lnTo>
                    <a:pt x="5114" y="1574"/>
                  </a:lnTo>
                  <a:lnTo>
                    <a:pt x="4721" y="1574"/>
                  </a:lnTo>
                  <a:lnTo>
                    <a:pt x="4721" y="1180"/>
                  </a:lnTo>
                  <a:lnTo>
                    <a:pt x="4721" y="1180"/>
                  </a:lnTo>
                  <a:lnTo>
                    <a:pt x="4721" y="787"/>
                  </a:lnTo>
                  <a:lnTo>
                    <a:pt x="4328" y="787"/>
                  </a:lnTo>
                  <a:lnTo>
                    <a:pt x="4328" y="394"/>
                  </a:lnTo>
                  <a:lnTo>
                    <a:pt x="3934" y="394"/>
                  </a:lnTo>
                  <a:lnTo>
                    <a:pt x="3934" y="394"/>
                  </a:lnTo>
                  <a:lnTo>
                    <a:pt x="3541" y="394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574" y="394"/>
                  </a:lnTo>
                  <a:lnTo>
                    <a:pt x="1180" y="394"/>
                  </a:lnTo>
                  <a:lnTo>
                    <a:pt x="1180" y="394"/>
                  </a:lnTo>
                  <a:lnTo>
                    <a:pt x="787" y="394"/>
                  </a:lnTo>
                  <a:lnTo>
                    <a:pt x="787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574"/>
                  </a:lnTo>
                  <a:lnTo>
                    <a:pt x="0" y="1967"/>
                  </a:lnTo>
                  <a:lnTo>
                    <a:pt x="0" y="3541"/>
                  </a:lnTo>
                  <a:lnTo>
                    <a:pt x="393" y="3541"/>
                  </a:lnTo>
                  <a:lnTo>
                    <a:pt x="393" y="3934"/>
                  </a:lnTo>
                  <a:lnTo>
                    <a:pt x="787" y="3934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787" y="4721"/>
                  </a:lnTo>
                  <a:lnTo>
                    <a:pt x="1180" y="4721"/>
                  </a:lnTo>
                  <a:lnTo>
                    <a:pt x="1180" y="4721"/>
                  </a:lnTo>
                  <a:lnTo>
                    <a:pt x="1574" y="4721"/>
                  </a:lnTo>
                  <a:lnTo>
                    <a:pt x="1574" y="5115"/>
                  </a:lnTo>
                  <a:lnTo>
                    <a:pt x="3541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64" name="Freeform: Shape 4358">
              <a:extLst>
                <a:ext uri="{FF2B5EF4-FFF2-40B4-BE49-F238E27FC236}">
                  <a16:creationId xmlns:a16="http://schemas.microsoft.com/office/drawing/2014/main" id="{11A15A91-62C5-4352-B2AF-85DE64DC865D}"/>
                </a:ext>
              </a:extLst>
            </p:cNvPr>
            <p:cNvSpPr/>
            <p:nvPr/>
          </p:nvSpPr>
          <p:spPr>
            <a:xfrm>
              <a:off x="4203225" y="3117055"/>
              <a:ext cx="3934" cy="3934"/>
            </a:xfrm>
            <a:custGeom>
              <a:avLst/>
              <a:gdLst>
                <a:gd name="connsiteX0" fmla="*/ 3541 w 3934"/>
                <a:gd name="connsiteY0" fmla="*/ 4721 h 3934"/>
                <a:gd name="connsiteX1" fmla="*/ 3934 w 3934"/>
                <a:gd name="connsiteY1" fmla="*/ 4721 h 3934"/>
                <a:gd name="connsiteX2" fmla="*/ 3934 w 3934"/>
                <a:gd name="connsiteY2" fmla="*/ 4328 h 3934"/>
                <a:gd name="connsiteX3" fmla="*/ 4328 w 3934"/>
                <a:gd name="connsiteY3" fmla="*/ 4328 h 3934"/>
                <a:gd name="connsiteX4" fmla="*/ 4721 w 3934"/>
                <a:gd name="connsiteY4" fmla="*/ 4328 h 3934"/>
                <a:gd name="connsiteX5" fmla="*/ 4721 w 3934"/>
                <a:gd name="connsiteY5" fmla="*/ 3934 h 3934"/>
                <a:gd name="connsiteX6" fmla="*/ 4721 w 3934"/>
                <a:gd name="connsiteY6" fmla="*/ 3934 h 3934"/>
                <a:gd name="connsiteX7" fmla="*/ 4721 w 3934"/>
                <a:gd name="connsiteY7" fmla="*/ 3541 h 3934"/>
                <a:gd name="connsiteX8" fmla="*/ 5114 w 3934"/>
                <a:gd name="connsiteY8" fmla="*/ 3541 h 3934"/>
                <a:gd name="connsiteX9" fmla="*/ 5114 w 3934"/>
                <a:gd name="connsiteY9" fmla="*/ 2754 h 3934"/>
                <a:gd name="connsiteX10" fmla="*/ 5114 w 3934"/>
                <a:gd name="connsiteY10" fmla="*/ 1574 h 3934"/>
                <a:gd name="connsiteX11" fmla="*/ 4721 w 3934"/>
                <a:gd name="connsiteY11" fmla="*/ 1574 h 3934"/>
                <a:gd name="connsiteX12" fmla="*/ 4721 w 3934"/>
                <a:gd name="connsiteY12" fmla="*/ 1180 h 3934"/>
                <a:gd name="connsiteX13" fmla="*/ 4721 w 3934"/>
                <a:gd name="connsiteY13" fmla="*/ 1180 h 3934"/>
                <a:gd name="connsiteX14" fmla="*/ 4721 w 3934"/>
                <a:gd name="connsiteY14" fmla="*/ 787 h 3934"/>
                <a:gd name="connsiteX15" fmla="*/ 4328 w 3934"/>
                <a:gd name="connsiteY15" fmla="*/ 787 h 3934"/>
                <a:gd name="connsiteX16" fmla="*/ 4328 w 3934"/>
                <a:gd name="connsiteY16" fmla="*/ 393 h 3934"/>
                <a:gd name="connsiteX17" fmla="*/ 3934 w 3934"/>
                <a:gd name="connsiteY17" fmla="*/ 393 h 3934"/>
                <a:gd name="connsiteX18" fmla="*/ 3934 w 3934"/>
                <a:gd name="connsiteY18" fmla="*/ 393 h 3934"/>
                <a:gd name="connsiteX19" fmla="*/ 3541 w 3934"/>
                <a:gd name="connsiteY19" fmla="*/ 393 h 3934"/>
                <a:gd name="connsiteX20" fmla="*/ 3541 w 3934"/>
                <a:gd name="connsiteY20" fmla="*/ 0 h 3934"/>
                <a:gd name="connsiteX21" fmla="*/ 1967 w 3934"/>
                <a:gd name="connsiteY21" fmla="*/ 0 h 3934"/>
                <a:gd name="connsiteX22" fmla="*/ 1574 w 3934"/>
                <a:gd name="connsiteY22" fmla="*/ 393 h 3934"/>
                <a:gd name="connsiteX23" fmla="*/ 1180 w 3934"/>
                <a:gd name="connsiteY23" fmla="*/ 393 h 3934"/>
                <a:gd name="connsiteX24" fmla="*/ 1180 w 3934"/>
                <a:gd name="connsiteY24" fmla="*/ 393 h 3934"/>
                <a:gd name="connsiteX25" fmla="*/ 787 w 3934"/>
                <a:gd name="connsiteY25" fmla="*/ 393 h 3934"/>
                <a:gd name="connsiteX26" fmla="*/ 787 w 3934"/>
                <a:gd name="connsiteY26" fmla="*/ 787 h 3934"/>
                <a:gd name="connsiteX27" fmla="*/ 787 w 3934"/>
                <a:gd name="connsiteY27" fmla="*/ 787 h 3934"/>
                <a:gd name="connsiteX28" fmla="*/ 787 w 3934"/>
                <a:gd name="connsiteY28" fmla="*/ 1180 h 3934"/>
                <a:gd name="connsiteX29" fmla="*/ 393 w 3934"/>
                <a:gd name="connsiteY29" fmla="*/ 1180 h 3934"/>
                <a:gd name="connsiteX30" fmla="*/ 393 w 3934"/>
                <a:gd name="connsiteY30" fmla="*/ 1574 h 3934"/>
                <a:gd name="connsiteX31" fmla="*/ 0 w 3934"/>
                <a:gd name="connsiteY31" fmla="*/ 1967 h 3934"/>
                <a:gd name="connsiteX32" fmla="*/ 0 w 3934"/>
                <a:gd name="connsiteY32" fmla="*/ 3541 h 3934"/>
                <a:gd name="connsiteX33" fmla="*/ 393 w 3934"/>
                <a:gd name="connsiteY33" fmla="*/ 3541 h 3934"/>
                <a:gd name="connsiteX34" fmla="*/ 393 w 3934"/>
                <a:gd name="connsiteY34" fmla="*/ 3934 h 3934"/>
                <a:gd name="connsiteX35" fmla="*/ 787 w 3934"/>
                <a:gd name="connsiteY35" fmla="*/ 3934 h 3934"/>
                <a:gd name="connsiteX36" fmla="*/ 787 w 3934"/>
                <a:gd name="connsiteY36" fmla="*/ 4328 h 3934"/>
                <a:gd name="connsiteX37" fmla="*/ 787 w 3934"/>
                <a:gd name="connsiteY37" fmla="*/ 4328 h 3934"/>
                <a:gd name="connsiteX38" fmla="*/ 787 w 3934"/>
                <a:gd name="connsiteY38" fmla="*/ 4328 h 3934"/>
                <a:gd name="connsiteX39" fmla="*/ 1180 w 3934"/>
                <a:gd name="connsiteY39" fmla="*/ 4328 h 3934"/>
                <a:gd name="connsiteX40" fmla="*/ 1180 w 3934"/>
                <a:gd name="connsiteY40" fmla="*/ 4721 h 3934"/>
                <a:gd name="connsiteX41" fmla="*/ 1574 w 3934"/>
                <a:gd name="connsiteY41" fmla="*/ 4721 h 3934"/>
                <a:gd name="connsiteX42" fmla="*/ 1574 w 3934"/>
                <a:gd name="connsiteY42" fmla="*/ 5114 h 3934"/>
                <a:gd name="connsiteX43" fmla="*/ 3541 w 3934"/>
                <a:gd name="connsiteY4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541" y="4721"/>
                  </a:moveTo>
                  <a:lnTo>
                    <a:pt x="3934" y="4721"/>
                  </a:lnTo>
                  <a:lnTo>
                    <a:pt x="3934" y="4328"/>
                  </a:lnTo>
                  <a:lnTo>
                    <a:pt x="4328" y="4328"/>
                  </a:lnTo>
                  <a:lnTo>
                    <a:pt x="4721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4721" y="3541"/>
                  </a:lnTo>
                  <a:lnTo>
                    <a:pt x="5114" y="3541"/>
                  </a:lnTo>
                  <a:lnTo>
                    <a:pt x="5114" y="2754"/>
                  </a:lnTo>
                  <a:lnTo>
                    <a:pt x="5114" y="1574"/>
                  </a:lnTo>
                  <a:lnTo>
                    <a:pt x="4721" y="1574"/>
                  </a:lnTo>
                  <a:lnTo>
                    <a:pt x="4721" y="1180"/>
                  </a:lnTo>
                  <a:lnTo>
                    <a:pt x="4721" y="1180"/>
                  </a:lnTo>
                  <a:lnTo>
                    <a:pt x="4721" y="787"/>
                  </a:lnTo>
                  <a:lnTo>
                    <a:pt x="4328" y="787"/>
                  </a:lnTo>
                  <a:lnTo>
                    <a:pt x="4328" y="393"/>
                  </a:lnTo>
                  <a:lnTo>
                    <a:pt x="3934" y="393"/>
                  </a:lnTo>
                  <a:lnTo>
                    <a:pt x="3934" y="393"/>
                  </a:lnTo>
                  <a:lnTo>
                    <a:pt x="3541" y="393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574" y="393"/>
                  </a:lnTo>
                  <a:lnTo>
                    <a:pt x="1180" y="393"/>
                  </a:lnTo>
                  <a:lnTo>
                    <a:pt x="1180" y="393"/>
                  </a:lnTo>
                  <a:lnTo>
                    <a:pt x="787" y="393"/>
                  </a:lnTo>
                  <a:lnTo>
                    <a:pt x="787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574"/>
                  </a:lnTo>
                  <a:lnTo>
                    <a:pt x="0" y="1967"/>
                  </a:lnTo>
                  <a:lnTo>
                    <a:pt x="0" y="3541"/>
                  </a:lnTo>
                  <a:lnTo>
                    <a:pt x="393" y="3541"/>
                  </a:lnTo>
                  <a:lnTo>
                    <a:pt x="393" y="3934"/>
                  </a:lnTo>
                  <a:lnTo>
                    <a:pt x="787" y="3934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574" y="4721"/>
                  </a:lnTo>
                  <a:lnTo>
                    <a:pt x="1574" y="5114"/>
                  </a:lnTo>
                  <a:lnTo>
                    <a:pt x="3541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65" name="Freeform: Shape 4359">
              <a:extLst>
                <a:ext uri="{FF2B5EF4-FFF2-40B4-BE49-F238E27FC236}">
                  <a16:creationId xmlns:a16="http://schemas.microsoft.com/office/drawing/2014/main" id="{3A678486-9A36-4610-88FA-A9BBF31A89E2}"/>
                </a:ext>
              </a:extLst>
            </p:cNvPr>
            <p:cNvSpPr/>
            <p:nvPr/>
          </p:nvSpPr>
          <p:spPr>
            <a:xfrm>
              <a:off x="6457952" y="2496228"/>
              <a:ext cx="3934" cy="3934"/>
            </a:xfrm>
            <a:custGeom>
              <a:avLst/>
              <a:gdLst>
                <a:gd name="connsiteX0" fmla="*/ 3541 w 3934"/>
                <a:gd name="connsiteY0" fmla="*/ 5114 h 3934"/>
                <a:gd name="connsiteX1" fmla="*/ 3541 w 3934"/>
                <a:gd name="connsiteY1" fmla="*/ 4721 h 3934"/>
                <a:gd name="connsiteX2" fmla="*/ 4328 w 3934"/>
                <a:gd name="connsiteY2" fmla="*/ 4721 h 3934"/>
                <a:gd name="connsiteX3" fmla="*/ 4328 w 3934"/>
                <a:gd name="connsiteY3" fmla="*/ 4328 h 3934"/>
                <a:gd name="connsiteX4" fmla="*/ 4328 w 3934"/>
                <a:gd name="connsiteY4" fmla="*/ 4328 h 3934"/>
                <a:gd name="connsiteX5" fmla="*/ 4721 w 3934"/>
                <a:gd name="connsiteY5" fmla="*/ 3934 h 3934"/>
                <a:gd name="connsiteX6" fmla="*/ 4721 w 3934"/>
                <a:gd name="connsiteY6" fmla="*/ 3934 h 3934"/>
                <a:gd name="connsiteX7" fmla="*/ 5115 w 3934"/>
                <a:gd name="connsiteY7" fmla="*/ 3934 h 3934"/>
                <a:gd name="connsiteX8" fmla="*/ 5115 w 3934"/>
                <a:gd name="connsiteY8" fmla="*/ 3147 h 3934"/>
                <a:gd name="connsiteX9" fmla="*/ 5115 w 3934"/>
                <a:gd name="connsiteY9" fmla="*/ 3147 h 3934"/>
                <a:gd name="connsiteX10" fmla="*/ 5115 w 3934"/>
                <a:gd name="connsiteY10" fmla="*/ 2754 h 3934"/>
                <a:gd name="connsiteX11" fmla="*/ 5115 w 3934"/>
                <a:gd name="connsiteY11" fmla="*/ 1574 h 3934"/>
                <a:gd name="connsiteX12" fmla="*/ 5115 w 3934"/>
                <a:gd name="connsiteY12" fmla="*/ 1574 h 3934"/>
                <a:gd name="connsiteX13" fmla="*/ 5115 w 3934"/>
                <a:gd name="connsiteY13" fmla="*/ 1180 h 3934"/>
                <a:gd name="connsiteX14" fmla="*/ 4721 w 3934"/>
                <a:gd name="connsiteY14" fmla="*/ 1180 h 3934"/>
                <a:gd name="connsiteX15" fmla="*/ 4721 w 3934"/>
                <a:gd name="connsiteY15" fmla="*/ 787 h 3934"/>
                <a:gd name="connsiteX16" fmla="*/ 4328 w 3934"/>
                <a:gd name="connsiteY16" fmla="*/ 787 h 3934"/>
                <a:gd name="connsiteX17" fmla="*/ 4328 w 3934"/>
                <a:gd name="connsiteY17" fmla="*/ 393 h 3934"/>
                <a:gd name="connsiteX18" fmla="*/ 4328 w 3934"/>
                <a:gd name="connsiteY18" fmla="*/ 393 h 3934"/>
                <a:gd name="connsiteX19" fmla="*/ 4328 w 3934"/>
                <a:gd name="connsiteY19" fmla="*/ 0 h 3934"/>
                <a:gd name="connsiteX20" fmla="*/ 3541 w 3934"/>
                <a:gd name="connsiteY20" fmla="*/ 0 h 3934"/>
                <a:gd name="connsiteX21" fmla="*/ 3541 w 3934"/>
                <a:gd name="connsiteY21" fmla="*/ 0 h 3934"/>
                <a:gd name="connsiteX22" fmla="*/ 1967 w 3934"/>
                <a:gd name="connsiteY22" fmla="*/ 0 h 3934"/>
                <a:gd name="connsiteX23" fmla="*/ 1967 w 3934"/>
                <a:gd name="connsiteY23" fmla="*/ 0 h 3934"/>
                <a:gd name="connsiteX24" fmla="*/ 1180 w 3934"/>
                <a:gd name="connsiteY24" fmla="*/ 0 h 3934"/>
                <a:gd name="connsiteX25" fmla="*/ 1180 w 3934"/>
                <a:gd name="connsiteY25" fmla="*/ 393 h 3934"/>
                <a:gd name="connsiteX26" fmla="*/ 1180 w 3934"/>
                <a:gd name="connsiteY26" fmla="*/ 393 h 3934"/>
                <a:gd name="connsiteX27" fmla="*/ 1180 w 3934"/>
                <a:gd name="connsiteY27" fmla="*/ 787 h 3934"/>
                <a:gd name="connsiteX28" fmla="*/ 787 w 3934"/>
                <a:gd name="connsiteY28" fmla="*/ 787 h 3934"/>
                <a:gd name="connsiteX29" fmla="*/ 787 w 3934"/>
                <a:gd name="connsiteY29" fmla="*/ 1180 h 3934"/>
                <a:gd name="connsiteX30" fmla="*/ 393 w 3934"/>
                <a:gd name="connsiteY30" fmla="*/ 1180 h 3934"/>
                <a:gd name="connsiteX31" fmla="*/ 393 w 3934"/>
                <a:gd name="connsiteY31" fmla="*/ 1574 h 3934"/>
                <a:gd name="connsiteX32" fmla="*/ 0 w 3934"/>
                <a:gd name="connsiteY32" fmla="*/ 1967 h 3934"/>
                <a:gd name="connsiteX33" fmla="*/ 0 w 3934"/>
                <a:gd name="connsiteY33" fmla="*/ 3147 h 3934"/>
                <a:gd name="connsiteX34" fmla="*/ 393 w 3934"/>
                <a:gd name="connsiteY34" fmla="*/ 3147 h 3934"/>
                <a:gd name="connsiteX35" fmla="*/ 393 w 3934"/>
                <a:gd name="connsiteY35" fmla="*/ 3934 h 3934"/>
                <a:gd name="connsiteX36" fmla="*/ 787 w 3934"/>
                <a:gd name="connsiteY36" fmla="*/ 3934 h 3934"/>
                <a:gd name="connsiteX37" fmla="*/ 787 w 3934"/>
                <a:gd name="connsiteY37" fmla="*/ 3934 h 3934"/>
                <a:gd name="connsiteX38" fmla="*/ 1180 w 3934"/>
                <a:gd name="connsiteY38" fmla="*/ 3934 h 3934"/>
                <a:gd name="connsiteX39" fmla="*/ 1180 w 3934"/>
                <a:gd name="connsiteY39" fmla="*/ 4328 h 3934"/>
                <a:gd name="connsiteX40" fmla="*/ 1180 w 3934"/>
                <a:gd name="connsiteY40" fmla="*/ 4328 h 3934"/>
                <a:gd name="connsiteX41" fmla="*/ 1180 w 3934"/>
                <a:gd name="connsiteY41" fmla="*/ 4721 h 3934"/>
                <a:gd name="connsiteX42" fmla="*/ 1967 w 3934"/>
                <a:gd name="connsiteY42" fmla="*/ 4721 h 3934"/>
                <a:gd name="connsiteX43" fmla="*/ 1967 w 3934"/>
                <a:gd name="connsiteY4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541" y="5114"/>
                  </a:moveTo>
                  <a:lnTo>
                    <a:pt x="3541" y="4721"/>
                  </a:lnTo>
                  <a:lnTo>
                    <a:pt x="4328" y="4721"/>
                  </a:lnTo>
                  <a:lnTo>
                    <a:pt x="4328" y="4328"/>
                  </a:lnTo>
                  <a:lnTo>
                    <a:pt x="4328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5115" y="3934"/>
                  </a:lnTo>
                  <a:lnTo>
                    <a:pt x="5115" y="3147"/>
                  </a:lnTo>
                  <a:lnTo>
                    <a:pt x="5115" y="3147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5115" y="1574"/>
                  </a:lnTo>
                  <a:lnTo>
                    <a:pt x="5115" y="1180"/>
                  </a:lnTo>
                  <a:lnTo>
                    <a:pt x="4721" y="1180"/>
                  </a:lnTo>
                  <a:lnTo>
                    <a:pt x="4721" y="787"/>
                  </a:lnTo>
                  <a:lnTo>
                    <a:pt x="4328" y="787"/>
                  </a:lnTo>
                  <a:lnTo>
                    <a:pt x="4328" y="393"/>
                  </a:lnTo>
                  <a:lnTo>
                    <a:pt x="4328" y="393"/>
                  </a:lnTo>
                  <a:lnTo>
                    <a:pt x="4328" y="0"/>
                  </a:lnTo>
                  <a:lnTo>
                    <a:pt x="3541" y="0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967" y="0"/>
                  </a:lnTo>
                  <a:lnTo>
                    <a:pt x="1180" y="0"/>
                  </a:lnTo>
                  <a:lnTo>
                    <a:pt x="1180" y="393"/>
                  </a:lnTo>
                  <a:lnTo>
                    <a:pt x="1180" y="393"/>
                  </a:lnTo>
                  <a:lnTo>
                    <a:pt x="1180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393" y="3147"/>
                  </a:lnTo>
                  <a:lnTo>
                    <a:pt x="393" y="3934"/>
                  </a:lnTo>
                  <a:lnTo>
                    <a:pt x="787" y="3934"/>
                  </a:lnTo>
                  <a:lnTo>
                    <a:pt x="787" y="3934"/>
                  </a:lnTo>
                  <a:lnTo>
                    <a:pt x="1180" y="3934"/>
                  </a:lnTo>
                  <a:lnTo>
                    <a:pt x="1180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967" y="4721"/>
                  </a:lnTo>
                  <a:lnTo>
                    <a:pt x="1967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66" name="Freeform: Shape 4360">
              <a:extLst>
                <a:ext uri="{FF2B5EF4-FFF2-40B4-BE49-F238E27FC236}">
                  <a16:creationId xmlns:a16="http://schemas.microsoft.com/office/drawing/2014/main" id="{662DCBF4-D695-45C6-BC2F-E2CAB125CF02}"/>
                </a:ext>
              </a:extLst>
            </p:cNvPr>
            <p:cNvSpPr/>
            <p:nvPr/>
          </p:nvSpPr>
          <p:spPr>
            <a:xfrm>
              <a:off x="7304606" y="4300088"/>
              <a:ext cx="3934" cy="3934"/>
            </a:xfrm>
            <a:custGeom>
              <a:avLst/>
              <a:gdLst>
                <a:gd name="connsiteX0" fmla="*/ 3541 w 3934"/>
                <a:gd name="connsiteY0" fmla="*/ 787 h 3934"/>
                <a:gd name="connsiteX1" fmla="*/ 3148 w 3934"/>
                <a:gd name="connsiteY1" fmla="*/ 393 h 3934"/>
                <a:gd name="connsiteX2" fmla="*/ 3148 w 3934"/>
                <a:gd name="connsiteY2" fmla="*/ 393 h 3934"/>
                <a:gd name="connsiteX3" fmla="*/ 3148 w 3934"/>
                <a:gd name="connsiteY3" fmla="*/ 0 h 3934"/>
                <a:gd name="connsiteX4" fmla="*/ 2754 w 3934"/>
                <a:gd name="connsiteY4" fmla="*/ 0 h 3934"/>
                <a:gd name="connsiteX5" fmla="*/ 2361 w 3934"/>
                <a:gd name="connsiteY5" fmla="*/ 0 h 3934"/>
                <a:gd name="connsiteX6" fmla="*/ 1180 w 3934"/>
                <a:gd name="connsiteY6" fmla="*/ 0 h 3934"/>
                <a:gd name="connsiteX7" fmla="*/ 1180 w 3934"/>
                <a:gd name="connsiteY7" fmla="*/ 0 h 3934"/>
                <a:gd name="connsiteX8" fmla="*/ 787 w 3934"/>
                <a:gd name="connsiteY8" fmla="*/ 0 h 3934"/>
                <a:gd name="connsiteX9" fmla="*/ 394 w 3934"/>
                <a:gd name="connsiteY9" fmla="*/ 393 h 3934"/>
                <a:gd name="connsiteX10" fmla="*/ 394 w 3934"/>
                <a:gd name="connsiteY10" fmla="*/ 787 h 3934"/>
                <a:gd name="connsiteX11" fmla="*/ 394 w 3934"/>
                <a:gd name="connsiteY11" fmla="*/ 787 h 3934"/>
                <a:gd name="connsiteX12" fmla="*/ 394 w 3934"/>
                <a:gd name="connsiteY12" fmla="*/ 1180 h 3934"/>
                <a:gd name="connsiteX13" fmla="*/ 0 w 3934"/>
                <a:gd name="connsiteY13" fmla="*/ 1180 h 3934"/>
                <a:gd name="connsiteX14" fmla="*/ 0 w 3934"/>
                <a:gd name="connsiteY14" fmla="*/ 2360 h 3934"/>
                <a:gd name="connsiteX15" fmla="*/ 394 w 3934"/>
                <a:gd name="connsiteY15" fmla="*/ 2754 h 3934"/>
                <a:gd name="connsiteX16" fmla="*/ 394 w 3934"/>
                <a:gd name="connsiteY16" fmla="*/ 3147 h 3934"/>
                <a:gd name="connsiteX17" fmla="*/ 394 w 3934"/>
                <a:gd name="connsiteY17" fmla="*/ 3147 h 3934"/>
                <a:gd name="connsiteX18" fmla="*/ 394 w 3934"/>
                <a:gd name="connsiteY18" fmla="*/ 3147 h 3934"/>
                <a:gd name="connsiteX19" fmla="*/ 787 w 3934"/>
                <a:gd name="connsiteY19" fmla="*/ 3541 h 3934"/>
                <a:gd name="connsiteX20" fmla="*/ 1180 w 3934"/>
                <a:gd name="connsiteY20" fmla="*/ 3541 h 3934"/>
                <a:gd name="connsiteX21" fmla="*/ 1180 w 3934"/>
                <a:gd name="connsiteY21" fmla="*/ 3934 h 3934"/>
                <a:gd name="connsiteX22" fmla="*/ 2361 w 3934"/>
                <a:gd name="connsiteY22" fmla="*/ 3934 h 3934"/>
                <a:gd name="connsiteX23" fmla="*/ 2754 w 3934"/>
                <a:gd name="connsiteY23" fmla="*/ 3541 h 3934"/>
                <a:gd name="connsiteX24" fmla="*/ 3148 w 3934"/>
                <a:gd name="connsiteY24" fmla="*/ 3541 h 3934"/>
                <a:gd name="connsiteX25" fmla="*/ 3148 w 3934"/>
                <a:gd name="connsiteY25" fmla="*/ 3147 h 3934"/>
                <a:gd name="connsiteX26" fmla="*/ 3148 w 3934"/>
                <a:gd name="connsiteY26" fmla="*/ 3147 h 3934"/>
                <a:gd name="connsiteX27" fmla="*/ 3148 w 3934"/>
                <a:gd name="connsiteY27" fmla="*/ 3147 h 3934"/>
                <a:gd name="connsiteX28" fmla="*/ 3541 w 3934"/>
                <a:gd name="connsiteY28" fmla="*/ 3147 h 3934"/>
                <a:gd name="connsiteX29" fmla="*/ 3541 w 3934"/>
                <a:gd name="connsiteY29" fmla="*/ 2754 h 3934"/>
                <a:gd name="connsiteX30" fmla="*/ 3934 w 3934"/>
                <a:gd name="connsiteY30" fmla="*/ 2360 h 3934"/>
                <a:gd name="connsiteX31" fmla="*/ 3934 w 3934"/>
                <a:gd name="connsiteY31" fmla="*/ 1967 h 3934"/>
                <a:gd name="connsiteX32" fmla="*/ 3934 w 3934"/>
                <a:gd name="connsiteY32" fmla="*/ 1180 h 3934"/>
                <a:gd name="connsiteX33" fmla="*/ 3541 w 3934"/>
                <a:gd name="connsiteY33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934" h="3934">
                  <a:moveTo>
                    <a:pt x="3541" y="787"/>
                  </a:moveTo>
                  <a:lnTo>
                    <a:pt x="3148" y="393"/>
                  </a:lnTo>
                  <a:lnTo>
                    <a:pt x="3148" y="393"/>
                  </a:lnTo>
                  <a:lnTo>
                    <a:pt x="3148" y="0"/>
                  </a:lnTo>
                  <a:lnTo>
                    <a:pt x="2754" y="0"/>
                  </a:lnTo>
                  <a:lnTo>
                    <a:pt x="2361" y="0"/>
                  </a:lnTo>
                  <a:lnTo>
                    <a:pt x="1180" y="0"/>
                  </a:lnTo>
                  <a:lnTo>
                    <a:pt x="1180" y="0"/>
                  </a:lnTo>
                  <a:lnTo>
                    <a:pt x="787" y="0"/>
                  </a:lnTo>
                  <a:lnTo>
                    <a:pt x="394" y="393"/>
                  </a:lnTo>
                  <a:lnTo>
                    <a:pt x="394" y="787"/>
                  </a:lnTo>
                  <a:lnTo>
                    <a:pt x="394" y="787"/>
                  </a:lnTo>
                  <a:lnTo>
                    <a:pt x="394" y="1180"/>
                  </a:lnTo>
                  <a:lnTo>
                    <a:pt x="0" y="1180"/>
                  </a:lnTo>
                  <a:lnTo>
                    <a:pt x="0" y="2360"/>
                  </a:lnTo>
                  <a:lnTo>
                    <a:pt x="394" y="2754"/>
                  </a:lnTo>
                  <a:lnTo>
                    <a:pt x="394" y="3147"/>
                  </a:lnTo>
                  <a:lnTo>
                    <a:pt x="394" y="3147"/>
                  </a:lnTo>
                  <a:lnTo>
                    <a:pt x="394" y="3147"/>
                  </a:lnTo>
                  <a:lnTo>
                    <a:pt x="787" y="3541"/>
                  </a:lnTo>
                  <a:lnTo>
                    <a:pt x="1180" y="3541"/>
                  </a:lnTo>
                  <a:lnTo>
                    <a:pt x="1180" y="3934"/>
                  </a:lnTo>
                  <a:lnTo>
                    <a:pt x="2361" y="3934"/>
                  </a:lnTo>
                  <a:lnTo>
                    <a:pt x="2754" y="3541"/>
                  </a:lnTo>
                  <a:lnTo>
                    <a:pt x="3148" y="3541"/>
                  </a:lnTo>
                  <a:lnTo>
                    <a:pt x="3148" y="3147"/>
                  </a:lnTo>
                  <a:lnTo>
                    <a:pt x="3148" y="3147"/>
                  </a:lnTo>
                  <a:lnTo>
                    <a:pt x="3148" y="3147"/>
                  </a:lnTo>
                  <a:lnTo>
                    <a:pt x="3541" y="3147"/>
                  </a:lnTo>
                  <a:lnTo>
                    <a:pt x="3541" y="2754"/>
                  </a:lnTo>
                  <a:lnTo>
                    <a:pt x="3934" y="2360"/>
                  </a:lnTo>
                  <a:lnTo>
                    <a:pt x="3934" y="1967"/>
                  </a:lnTo>
                  <a:lnTo>
                    <a:pt x="3934" y="1180"/>
                  </a:lnTo>
                  <a:lnTo>
                    <a:pt x="354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es-X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4367" name="Group 4366">
            <a:extLst>
              <a:ext uri="{FF2B5EF4-FFF2-40B4-BE49-F238E27FC236}">
                <a16:creationId xmlns:a16="http://schemas.microsoft.com/office/drawing/2014/main" id="{0E521B9D-5374-43EF-9733-A59D5DCCEC5E}"/>
              </a:ext>
            </a:extLst>
          </p:cNvPr>
          <p:cNvGrpSpPr/>
          <p:nvPr/>
        </p:nvGrpSpPr>
        <p:grpSpPr>
          <a:xfrm>
            <a:off x="350204" y="2092809"/>
            <a:ext cx="2877107" cy="2135213"/>
            <a:chOff x="-159728" y="1044636"/>
            <a:chExt cx="3001988" cy="2227892"/>
          </a:xfrm>
        </p:grpSpPr>
        <p:cxnSp>
          <p:nvCxnSpPr>
            <p:cNvPr id="4368" name="Connector: Elbow 4361">
              <a:extLst>
                <a:ext uri="{FF2B5EF4-FFF2-40B4-BE49-F238E27FC236}">
                  <a16:creationId xmlns:a16="http://schemas.microsoft.com/office/drawing/2014/main" id="{DC6B0E2E-5C87-4C71-BF6B-714B7C59764D}"/>
                </a:ext>
              </a:extLst>
            </p:cNvPr>
            <p:cNvCxnSpPr>
              <a:cxnSpLocks/>
              <a:stCxn id="4369" idx="3"/>
            </p:cNvCxnSpPr>
            <p:nvPr/>
          </p:nvCxnSpPr>
          <p:spPr>
            <a:xfrm flipV="1">
              <a:off x="1978979" y="1292288"/>
              <a:ext cx="863281" cy="866294"/>
            </a:xfrm>
            <a:prstGeom prst="bentConnector2">
              <a:avLst/>
            </a:prstGeom>
            <a:ln w="12700"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69" name="Rounded Rectangle 4368">
              <a:extLst>
                <a:ext uri="{FF2B5EF4-FFF2-40B4-BE49-F238E27FC236}">
                  <a16:creationId xmlns:a16="http://schemas.microsoft.com/office/drawing/2014/main" id="{F61A8A55-CB76-4AB3-AB77-8D5A26D5ED84}"/>
                </a:ext>
              </a:extLst>
            </p:cNvPr>
            <p:cNvSpPr/>
            <p:nvPr/>
          </p:nvSpPr>
          <p:spPr>
            <a:xfrm>
              <a:off x="-159728" y="1044636"/>
              <a:ext cx="2138707" cy="2227892"/>
            </a:xfrm>
            <a:prstGeom prst="roundRect">
              <a:avLst>
                <a:gd name="adj" fmla="val 4507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5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x-es-XL" sz="1400" b="1" i="0" u="none" strike="noStrike" kern="1200" cap="none" spc="0" normalizeH="0" baseline="0">
                  <a:ln>
                    <a:noFill/>
                  </a:ln>
                  <a:solidFill>
                    <a:srgbClr val="0079C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dmond, Washington</a:t>
              </a:r>
            </a:p>
            <a:p>
              <a:pPr marL="133350" marR="0" lvl="0" indent="-127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x-es-XL" sz="1200" b="0" i="0" u="none" strike="noStrike" kern="1200" cap="none" spc="0" normalizeH="0" baseline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levadores de personas</a:t>
              </a:r>
            </a:p>
            <a:p>
              <a:pPr marL="133350" marR="0" lvl="0" indent="-127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x-es-XL" sz="1200" b="0" i="0" u="none" strike="noStrike" kern="1200" cap="none" spc="0" normalizeH="0" baseline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lataformas articuladas</a:t>
              </a:r>
            </a:p>
            <a:p>
              <a:pPr marL="133350" marR="0" lvl="0" indent="-127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x-es-XL" sz="1200" b="0" i="0" u="none" strike="noStrike" kern="1200" cap="none" spc="0" normalizeH="0" baseline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lataformas de tijera</a:t>
              </a:r>
              <a:endParaRPr kumimoji="0" lang="x-es-XL" sz="1400" b="0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4370" name="Group 4369">
              <a:extLst>
                <a:ext uri="{FF2B5EF4-FFF2-40B4-BE49-F238E27FC236}">
                  <a16:creationId xmlns:a16="http://schemas.microsoft.com/office/drawing/2014/main" id="{38D531DB-1E62-4169-B83D-9C250225F8F6}"/>
                </a:ext>
              </a:extLst>
            </p:cNvPr>
            <p:cNvGrpSpPr/>
            <p:nvPr/>
          </p:nvGrpSpPr>
          <p:grpSpPr>
            <a:xfrm>
              <a:off x="23205" y="2331884"/>
              <a:ext cx="1308868" cy="670831"/>
              <a:chOff x="-927331" y="375568"/>
              <a:chExt cx="3155761" cy="1617415"/>
            </a:xfrm>
          </p:grpSpPr>
          <p:pic>
            <p:nvPicPr>
              <p:cNvPr id="4371" name="Picture 4370">
                <a:extLst>
                  <a:ext uri="{FF2B5EF4-FFF2-40B4-BE49-F238E27FC236}">
                    <a16:creationId xmlns:a16="http://schemas.microsoft.com/office/drawing/2014/main" id="{07FC021C-E3AC-460F-B910-418F041238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927331" y="740251"/>
                <a:ext cx="563880" cy="1252732"/>
              </a:xfrm>
              <a:prstGeom prst="rect">
                <a:avLst/>
              </a:prstGeom>
            </p:spPr>
          </p:pic>
          <p:pic>
            <p:nvPicPr>
              <p:cNvPr id="4372" name="Picture 4371">
                <a:extLst>
                  <a:ext uri="{FF2B5EF4-FFF2-40B4-BE49-F238E27FC236}">
                    <a16:creationId xmlns:a16="http://schemas.microsoft.com/office/drawing/2014/main" id="{745B679D-D717-4AEB-B402-13D98C748E1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04439" y="375568"/>
                <a:ext cx="1023991" cy="1540862"/>
              </a:xfrm>
              <a:prstGeom prst="rect">
                <a:avLst/>
              </a:prstGeom>
            </p:spPr>
          </p:pic>
          <p:pic>
            <p:nvPicPr>
              <p:cNvPr id="4373" name="Picture 4372">
                <a:extLst>
                  <a:ext uri="{FF2B5EF4-FFF2-40B4-BE49-F238E27FC236}">
                    <a16:creationId xmlns:a16="http://schemas.microsoft.com/office/drawing/2014/main" id="{84545E6D-27E2-4212-803C-A68DFB8B3B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8207" y="513691"/>
                <a:ext cx="652579" cy="1418050"/>
              </a:xfrm>
              <a:prstGeom prst="rect">
                <a:avLst/>
              </a:prstGeom>
            </p:spPr>
          </p:pic>
        </p:grpSp>
      </p:grpSp>
      <p:sp>
        <p:nvSpPr>
          <p:cNvPr id="4375" name="Rounded Rectangle 4374">
            <a:extLst>
              <a:ext uri="{FF2B5EF4-FFF2-40B4-BE49-F238E27FC236}">
                <a16:creationId xmlns:a16="http://schemas.microsoft.com/office/drawing/2014/main" id="{27B8E7FA-E40F-4633-9C8B-6B84928CF65F}"/>
              </a:ext>
            </a:extLst>
          </p:cNvPr>
          <p:cNvSpPr/>
          <p:nvPr/>
        </p:nvSpPr>
        <p:spPr>
          <a:xfrm>
            <a:off x="350204" y="4510816"/>
            <a:ext cx="2685921" cy="1190100"/>
          </a:xfrm>
          <a:prstGeom prst="roundRect">
            <a:avLst>
              <a:gd name="adj" fmla="val 4687"/>
            </a:avLst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x-es-XL" sz="1400" b="1" i="0" u="none" strike="noStrike" kern="1200" cap="none" spc="0" normalizeH="0" baseline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ses Lake, </a:t>
            </a:r>
            <a:br>
              <a:rPr kumimoji="0" lang="x-es-XL" sz="1400" b="1" i="0" u="none" strike="noStrike" kern="1200" cap="none" spc="0" normalizeH="0" baseline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x-es-XL" sz="1400" b="1" i="0" u="none" strike="noStrike" kern="1200" cap="none" spc="0" normalizeH="0" baseline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ashington</a:t>
            </a:r>
          </a:p>
          <a:p>
            <a:pPr marL="133350" marR="0" lvl="0" indent="-127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Char char="•"/>
              <a:defRPr/>
            </a:pPr>
            <a:r>
              <a:rPr kumimoji="0" lang="x-es-XL" sz="1200" b="0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ataformas telescópicas</a:t>
            </a:r>
          </a:p>
          <a:p>
            <a:pPr marL="133350" marR="0" lvl="0" indent="-127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Char char="•"/>
              <a:defRPr/>
            </a:pPr>
            <a:r>
              <a:rPr kumimoji="0" lang="x-es-XL" sz="1200" b="0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ataformas articuladas</a:t>
            </a:r>
          </a:p>
        </p:txBody>
      </p:sp>
      <p:cxnSp>
        <p:nvCxnSpPr>
          <p:cNvPr id="4376" name="Connector: Elbow 4364">
            <a:extLst>
              <a:ext uri="{FF2B5EF4-FFF2-40B4-BE49-F238E27FC236}">
                <a16:creationId xmlns:a16="http://schemas.microsoft.com/office/drawing/2014/main" id="{F29AA758-3468-4513-9447-08495347DAAF}"/>
              </a:ext>
            </a:extLst>
          </p:cNvPr>
          <p:cNvCxnSpPr>
            <a:cxnSpLocks/>
            <a:stCxn id="4375" idx="3"/>
          </p:cNvCxnSpPr>
          <p:nvPr/>
        </p:nvCxnSpPr>
        <p:spPr>
          <a:xfrm flipV="1">
            <a:off x="3036125" y="2448170"/>
            <a:ext cx="261712" cy="2657696"/>
          </a:xfrm>
          <a:prstGeom prst="bentConnector2">
            <a:avLst/>
          </a:prstGeom>
          <a:ln w="12700">
            <a:solidFill>
              <a:schemeClr val="accent1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77" name="Group 4376">
            <a:extLst>
              <a:ext uri="{FF2B5EF4-FFF2-40B4-BE49-F238E27FC236}">
                <a16:creationId xmlns:a16="http://schemas.microsoft.com/office/drawing/2014/main" id="{FC4611D5-3B8A-43C7-9857-C2811EF6865A}"/>
              </a:ext>
            </a:extLst>
          </p:cNvPr>
          <p:cNvGrpSpPr/>
          <p:nvPr/>
        </p:nvGrpSpPr>
        <p:grpSpPr>
          <a:xfrm>
            <a:off x="2256013" y="4595174"/>
            <a:ext cx="535406" cy="1021384"/>
            <a:chOff x="3027872" y="3263939"/>
            <a:chExt cx="1559504" cy="2975029"/>
          </a:xfrm>
        </p:grpSpPr>
        <p:pic>
          <p:nvPicPr>
            <p:cNvPr id="4378" name="Graphic 4385">
              <a:extLst>
                <a:ext uri="{FF2B5EF4-FFF2-40B4-BE49-F238E27FC236}">
                  <a16:creationId xmlns:a16="http://schemas.microsoft.com/office/drawing/2014/main" id="{9226AD4E-A7A2-4D47-BDF3-BA3DACC5749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611395" y="3961680"/>
              <a:ext cx="975981" cy="2277288"/>
            </a:xfrm>
            <a:prstGeom prst="rect">
              <a:avLst/>
            </a:prstGeom>
          </p:spPr>
        </p:pic>
        <p:pic>
          <p:nvPicPr>
            <p:cNvPr id="4379" name="Graphic 4386">
              <a:extLst>
                <a:ext uri="{FF2B5EF4-FFF2-40B4-BE49-F238E27FC236}">
                  <a16:creationId xmlns:a16="http://schemas.microsoft.com/office/drawing/2014/main" id="{C5FFC487-3A10-47AA-9F02-60F8E85D8C8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027872" y="3263939"/>
              <a:ext cx="767978" cy="2969518"/>
            </a:xfrm>
            <a:prstGeom prst="rect">
              <a:avLst/>
            </a:prstGeom>
          </p:spPr>
        </p:pic>
      </p:grpSp>
      <p:grpSp>
        <p:nvGrpSpPr>
          <p:cNvPr id="4380" name="Group 4379">
            <a:extLst>
              <a:ext uri="{FF2B5EF4-FFF2-40B4-BE49-F238E27FC236}">
                <a16:creationId xmlns:a16="http://schemas.microsoft.com/office/drawing/2014/main" id="{9898D5B8-1A19-46CE-BBF0-6DE276AC7525}"/>
              </a:ext>
            </a:extLst>
          </p:cNvPr>
          <p:cNvGrpSpPr/>
          <p:nvPr/>
        </p:nvGrpSpPr>
        <p:grpSpPr>
          <a:xfrm>
            <a:off x="3395387" y="3109204"/>
            <a:ext cx="2313468" cy="2660809"/>
            <a:chOff x="3315510" y="2425426"/>
            <a:chExt cx="2413883" cy="2776304"/>
          </a:xfrm>
        </p:grpSpPr>
        <p:sp>
          <p:nvSpPr>
            <p:cNvPr id="4381" name="Rounded Rectangle 4380">
              <a:extLst>
                <a:ext uri="{FF2B5EF4-FFF2-40B4-BE49-F238E27FC236}">
                  <a16:creationId xmlns:a16="http://schemas.microsoft.com/office/drawing/2014/main" id="{8A5A893D-DA33-4FC7-82BB-E344801315C8}"/>
                </a:ext>
              </a:extLst>
            </p:cNvPr>
            <p:cNvSpPr/>
            <p:nvPr/>
          </p:nvSpPr>
          <p:spPr>
            <a:xfrm>
              <a:off x="3632985" y="4256405"/>
              <a:ext cx="2096408" cy="945325"/>
            </a:xfrm>
            <a:prstGeom prst="roundRect">
              <a:avLst>
                <a:gd name="adj" fmla="val 4475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5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x-es-XL" sz="1400" b="1" i="0" u="none" strike="noStrike" kern="1200" cap="none" spc="0" normalizeH="0" baseline="0">
                  <a:ln>
                    <a:noFill/>
                  </a:ln>
                  <a:solidFill>
                    <a:srgbClr val="0079C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onterrey,</a:t>
              </a:r>
              <a:br>
                <a:rPr kumimoji="0" lang="x-es-XL" sz="1400" b="1" i="0" u="none" strike="noStrike" kern="1200" cap="none" spc="0" normalizeH="0" baseline="0">
                  <a:ln>
                    <a:noFill/>
                  </a:ln>
                  <a:solidFill>
                    <a:srgbClr val="0079C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x-es-XL" sz="1400" b="1" i="0" u="none" strike="noStrike" kern="1200" cap="none" spc="0" normalizeH="0" baseline="0">
                  <a:ln>
                    <a:noFill/>
                  </a:ln>
                  <a:solidFill>
                    <a:srgbClr val="0079C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éxico</a:t>
              </a:r>
              <a:endParaRPr kumimoji="0" lang="x-es-XL" sz="14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141288" marR="0" lvl="0" indent="-141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x-es-XL" sz="1200" b="0" i="0" u="none" strike="noStrike" kern="1200" cap="none" spc="0" normalizeH="0" baseline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anipuladores telescópicos</a:t>
              </a:r>
            </a:p>
          </p:txBody>
        </p:sp>
        <p:cxnSp>
          <p:nvCxnSpPr>
            <p:cNvPr id="4382" name="Connector: Elbow 4366">
              <a:extLst>
                <a:ext uri="{FF2B5EF4-FFF2-40B4-BE49-F238E27FC236}">
                  <a16:creationId xmlns:a16="http://schemas.microsoft.com/office/drawing/2014/main" id="{D032B0E4-54E5-4560-8A94-C5034E95F96D}"/>
                </a:ext>
              </a:extLst>
            </p:cNvPr>
            <p:cNvCxnSpPr>
              <a:cxnSpLocks/>
              <a:stCxn id="4381" idx="0"/>
            </p:cNvCxnSpPr>
            <p:nvPr/>
          </p:nvCxnSpPr>
          <p:spPr>
            <a:xfrm rot="16200000" flipV="1">
              <a:off x="3082860" y="2658076"/>
              <a:ext cx="1830980" cy="1365679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1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383" name="Graphic 4397">
              <a:extLst>
                <a:ext uri="{FF2B5EF4-FFF2-40B4-BE49-F238E27FC236}">
                  <a16:creationId xmlns:a16="http://schemas.microsoft.com/office/drawing/2014/main" id="{489D0F8E-19FB-4031-AB18-9F9E6F7F58B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965637" y="4385594"/>
              <a:ext cx="236531" cy="581470"/>
            </a:xfrm>
            <a:prstGeom prst="rect">
              <a:avLst/>
            </a:prstGeom>
          </p:spPr>
        </p:pic>
      </p:grpSp>
      <p:grpSp>
        <p:nvGrpSpPr>
          <p:cNvPr id="4391" name="Group 4390">
            <a:extLst>
              <a:ext uri="{FF2B5EF4-FFF2-40B4-BE49-F238E27FC236}">
                <a16:creationId xmlns:a16="http://schemas.microsoft.com/office/drawing/2014/main" id="{39204C76-ACC1-4350-940D-5CB271BAEDCB}"/>
              </a:ext>
            </a:extLst>
          </p:cNvPr>
          <p:cNvGrpSpPr/>
          <p:nvPr/>
        </p:nvGrpSpPr>
        <p:grpSpPr>
          <a:xfrm>
            <a:off x="6583370" y="2535343"/>
            <a:ext cx="2521663" cy="3165573"/>
            <a:chOff x="6423670" y="2260197"/>
            <a:chExt cx="2631116" cy="3302977"/>
          </a:xfrm>
        </p:grpSpPr>
        <p:cxnSp>
          <p:nvCxnSpPr>
            <p:cNvPr id="4392" name="Connector: Elbow 4372">
              <a:extLst>
                <a:ext uri="{FF2B5EF4-FFF2-40B4-BE49-F238E27FC236}">
                  <a16:creationId xmlns:a16="http://schemas.microsoft.com/office/drawing/2014/main" id="{DF8C0D49-140B-4214-8987-9B450805C4CE}"/>
                </a:ext>
              </a:extLst>
            </p:cNvPr>
            <p:cNvCxnSpPr>
              <a:cxnSpLocks/>
              <a:stCxn id="4393" idx="0"/>
            </p:cNvCxnSpPr>
            <p:nvPr/>
          </p:nvCxnSpPr>
          <p:spPr>
            <a:xfrm rot="16200000" flipV="1">
              <a:off x="6534924" y="2148943"/>
              <a:ext cx="1202252" cy="1424759"/>
            </a:xfrm>
            <a:prstGeom prst="bentConnector2">
              <a:avLst/>
            </a:prstGeom>
            <a:ln w="12700">
              <a:solidFill>
                <a:schemeClr val="accent1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93" name="Rounded Rectangle 4392">
              <a:extLst>
                <a:ext uri="{FF2B5EF4-FFF2-40B4-BE49-F238E27FC236}">
                  <a16:creationId xmlns:a16="http://schemas.microsoft.com/office/drawing/2014/main" id="{C5412C79-0872-44CD-8FEC-C71A1B16F95F}"/>
                </a:ext>
              </a:extLst>
            </p:cNvPr>
            <p:cNvSpPr/>
            <p:nvPr/>
          </p:nvSpPr>
          <p:spPr>
            <a:xfrm>
              <a:off x="6642071" y="3462449"/>
              <a:ext cx="2412715" cy="2100725"/>
            </a:xfrm>
            <a:prstGeom prst="roundRect">
              <a:avLst>
                <a:gd name="adj" fmla="val 4797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5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x-es-XL" sz="1400" b="1" i="0" u="none" strike="noStrike" kern="1200" cap="none" spc="0" normalizeH="0" baseline="0">
                  <a:ln>
                    <a:noFill/>
                  </a:ln>
                  <a:solidFill>
                    <a:srgbClr val="0079C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Umbertide, </a:t>
              </a:r>
              <a:br>
                <a:rPr kumimoji="0" lang="x-es-XL" sz="1400" b="1" i="0" u="none" strike="noStrike" kern="1200" cap="none" spc="0" normalizeH="0" baseline="0">
                  <a:ln>
                    <a:noFill/>
                  </a:ln>
                  <a:solidFill>
                    <a:srgbClr val="0079C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x-es-XL" sz="1400" b="1" i="0" u="none" strike="noStrike" kern="1200" cap="none" spc="0" normalizeH="0" baseline="0">
                  <a:ln>
                    <a:noFill/>
                  </a:ln>
                  <a:solidFill>
                    <a:srgbClr val="0079C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Italia</a:t>
              </a:r>
            </a:p>
            <a:p>
              <a:pPr marL="133350" marR="0" lvl="0" indent="-1333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x-es-XL" sz="1200" b="0" i="0" u="none" strike="noStrike" kern="1200" cap="none" spc="0" normalizeH="0" baseline="0">
                  <a:ln>
                    <a:noFill/>
                  </a:ln>
                  <a:solidFill>
                    <a:srgbClr val="7C878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anipuladores telescópicos</a:t>
              </a:r>
            </a:p>
            <a:p>
              <a:pPr marL="133350" marR="0" lvl="0" indent="-1333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x-es-XL" sz="1200" b="0" i="0" u="none" strike="noStrike" kern="1200" cap="none" spc="0" normalizeH="0" baseline="0">
                  <a:ln>
                    <a:noFill/>
                  </a:ln>
                  <a:solidFill>
                    <a:srgbClr val="7C878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lataformas telescópicas</a:t>
              </a:r>
            </a:p>
            <a:p>
              <a:pPr marL="133350" marR="0" lvl="0" indent="-1333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x-es-XL" sz="1200" b="0" i="0" u="none" strike="noStrike" kern="1200" cap="none" spc="0" normalizeH="0" baseline="0">
                  <a:ln>
                    <a:noFill/>
                  </a:ln>
                  <a:solidFill>
                    <a:srgbClr val="7C878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lataformas articuladas</a:t>
              </a:r>
            </a:p>
            <a:p>
              <a:pPr marL="27432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x-es-XL" sz="1200" b="0" i="0" u="none" strike="noStrike" kern="1200" cap="none" spc="0" normalizeH="0" baseline="0" noProof="0" dirty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4394" name="Group 4393">
              <a:extLst>
                <a:ext uri="{FF2B5EF4-FFF2-40B4-BE49-F238E27FC236}">
                  <a16:creationId xmlns:a16="http://schemas.microsoft.com/office/drawing/2014/main" id="{659D19BB-5395-47A8-8CE7-DCB513217DF6}"/>
                </a:ext>
              </a:extLst>
            </p:cNvPr>
            <p:cNvGrpSpPr/>
            <p:nvPr/>
          </p:nvGrpSpPr>
          <p:grpSpPr>
            <a:xfrm>
              <a:off x="7179109" y="4710879"/>
              <a:ext cx="886109" cy="764547"/>
              <a:chOff x="7191809" y="4768029"/>
              <a:chExt cx="886109" cy="764547"/>
            </a:xfrm>
          </p:grpSpPr>
          <p:pic>
            <p:nvPicPr>
              <p:cNvPr id="4395" name="Graphic 4425">
                <a:extLst>
                  <a:ext uri="{FF2B5EF4-FFF2-40B4-BE49-F238E27FC236}">
                    <a16:creationId xmlns:a16="http://schemas.microsoft.com/office/drawing/2014/main" id="{B5BA19C9-46B6-4BDB-9FB7-17CDDAE0D02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7191809" y="4856301"/>
                <a:ext cx="450851" cy="676275"/>
              </a:xfrm>
              <a:prstGeom prst="rect">
                <a:avLst/>
              </a:prstGeom>
            </p:spPr>
          </p:pic>
          <p:pic>
            <p:nvPicPr>
              <p:cNvPr id="4396" name="Graphic 4427">
                <a:extLst>
                  <a:ext uri="{FF2B5EF4-FFF2-40B4-BE49-F238E27FC236}">
                    <a16:creationId xmlns:a16="http://schemas.microsoft.com/office/drawing/2014/main" id="{B05E920E-1AB9-4943-AA40-27130697B8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7766100" y="4768029"/>
                <a:ext cx="311818" cy="743334"/>
              </a:xfrm>
              <a:prstGeom prst="rect">
                <a:avLst/>
              </a:prstGeom>
            </p:spPr>
          </p:pic>
        </p:grpSp>
      </p:grpSp>
      <p:grpSp>
        <p:nvGrpSpPr>
          <p:cNvPr id="4397" name="Group 4396">
            <a:extLst>
              <a:ext uri="{FF2B5EF4-FFF2-40B4-BE49-F238E27FC236}">
                <a16:creationId xmlns:a16="http://schemas.microsoft.com/office/drawing/2014/main" id="{76E3BC3A-A577-49A5-B807-4296B1DA0BB9}"/>
              </a:ext>
            </a:extLst>
          </p:cNvPr>
          <p:cNvGrpSpPr/>
          <p:nvPr/>
        </p:nvGrpSpPr>
        <p:grpSpPr>
          <a:xfrm>
            <a:off x="9489936" y="3131609"/>
            <a:ext cx="2351859" cy="2569308"/>
            <a:chOff x="9467854" y="2781301"/>
            <a:chExt cx="2453943" cy="2680829"/>
          </a:xfrm>
        </p:grpSpPr>
        <p:sp>
          <p:nvSpPr>
            <p:cNvPr id="4398" name="Rounded Rectangle 4397">
              <a:extLst>
                <a:ext uri="{FF2B5EF4-FFF2-40B4-BE49-F238E27FC236}">
                  <a16:creationId xmlns:a16="http://schemas.microsoft.com/office/drawing/2014/main" id="{5F9EE5F6-1CFF-4935-B009-85DA4DA8123A}"/>
                </a:ext>
              </a:extLst>
            </p:cNvPr>
            <p:cNvSpPr/>
            <p:nvPr/>
          </p:nvSpPr>
          <p:spPr>
            <a:xfrm>
              <a:off x="9581762" y="3345764"/>
              <a:ext cx="2340035" cy="2116366"/>
            </a:xfrm>
            <a:prstGeom prst="roundRect">
              <a:avLst>
                <a:gd name="adj" fmla="val 4531"/>
              </a:avLst>
            </a:prstGeom>
            <a:solidFill>
              <a:schemeClr val="bg1">
                <a:alpha val="50000"/>
              </a:schemeClr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5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x-es-XL" sz="1400" b="1" i="0" u="none" strike="noStrike" kern="1200" cap="none" spc="0" normalizeH="0" baseline="0">
                  <a:ln>
                    <a:noFill/>
                  </a:ln>
                  <a:solidFill>
                    <a:srgbClr val="0079C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hangzhou, </a:t>
              </a:r>
              <a:br>
                <a:rPr kumimoji="0" lang="x-es-XL" sz="1400" b="1" i="0" u="none" strike="noStrike" kern="1200" cap="none" spc="0" normalizeH="0" baseline="0">
                  <a:ln>
                    <a:noFill/>
                  </a:ln>
                  <a:solidFill>
                    <a:srgbClr val="0079C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x-es-XL" sz="1400" b="1" i="0" u="none" strike="noStrike" kern="1200" cap="none" spc="0" normalizeH="0" baseline="0">
                  <a:ln>
                    <a:noFill/>
                  </a:ln>
                  <a:solidFill>
                    <a:srgbClr val="0079C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hina</a:t>
              </a:r>
            </a:p>
            <a:p>
              <a:pPr marL="133350" marR="0" lvl="0" indent="-1333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x-es-XL" sz="1200" b="0" i="0" u="none" strike="noStrike" kern="1200" cap="none" spc="0" normalizeH="0" baseline="0">
                  <a:ln>
                    <a:noFill/>
                  </a:ln>
                  <a:solidFill>
                    <a:srgbClr val="7C878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lataformas de tijera</a:t>
              </a:r>
            </a:p>
            <a:p>
              <a:pPr marL="133350" marR="0" lvl="0" indent="-1333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x-es-XL" sz="1200" b="0" i="0" u="none" strike="noStrike" kern="1200" cap="none" spc="0" normalizeH="0" baseline="0">
                  <a:ln>
                    <a:noFill/>
                  </a:ln>
                  <a:solidFill>
                    <a:srgbClr val="7C878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lataformas telescópicas</a:t>
              </a:r>
            </a:p>
          </p:txBody>
        </p:sp>
        <p:cxnSp>
          <p:nvCxnSpPr>
            <p:cNvPr id="4399" name="Connector: Elbow 4374">
              <a:extLst>
                <a:ext uri="{FF2B5EF4-FFF2-40B4-BE49-F238E27FC236}">
                  <a16:creationId xmlns:a16="http://schemas.microsoft.com/office/drawing/2014/main" id="{FB75E0B3-38BC-4745-81D5-D01EAE58AE18}"/>
                </a:ext>
              </a:extLst>
            </p:cNvPr>
            <p:cNvCxnSpPr>
              <a:cxnSpLocks/>
              <a:stCxn id="4398" idx="0"/>
            </p:cNvCxnSpPr>
            <p:nvPr/>
          </p:nvCxnSpPr>
          <p:spPr>
            <a:xfrm rot="16200000" flipV="1">
              <a:off x="9827585" y="2421570"/>
              <a:ext cx="564463" cy="1283925"/>
            </a:xfrm>
            <a:prstGeom prst="bentConnector2">
              <a:avLst/>
            </a:prstGeom>
            <a:ln w="12700"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400" name="Graphic 4438">
              <a:extLst>
                <a:ext uri="{FF2B5EF4-FFF2-40B4-BE49-F238E27FC236}">
                  <a16:creationId xmlns:a16="http://schemas.microsoft.com/office/drawing/2014/main" id="{2344314B-AC45-4BAE-8C6C-84ED8CACDCC7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9847751" y="4635806"/>
              <a:ext cx="272080" cy="745264"/>
            </a:xfrm>
            <a:prstGeom prst="rect">
              <a:avLst/>
            </a:prstGeom>
          </p:spPr>
        </p:pic>
        <p:pic>
          <p:nvPicPr>
            <p:cNvPr id="4401" name="Graphic 4441">
              <a:extLst>
                <a:ext uri="{FF2B5EF4-FFF2-40B4-BE49-F238E27FC236}">
                  <a16:creationId xmlns:a16="http://schemas.microsoft.com/office/drawing/2014/main" id="{5FD3C60F-EFA6-4448-977B-B25D953E345D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10328517" y="4615237"/>
              <a:ext cx="338063" cy="769560"/>
            </a:xfrm>
            <a:prstGeom prst="rect">
              <a:avLst/>
            </a:prstGeom>
          </p:spPr>
        </p:pic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57B11124-82BA-4C03-B566-88E342B79A4E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8210251" y="4965436"/>
            <a:ext cx="408467" cy="609653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F1378BF5-135B-6040-932D-050A416B24A8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828395" y="2159899"/>
            <a:ext cx="397239" cy="397239"/>
          </a:xfrm>
          <a:prstGeom prst="rect">
            <a:avLst/>
          </a:prstGeom>
        </p:spPr>
      </p:pic>
      <p:pic>
        <p:nvPicPr>
          <p:cNvPr id="4385" name="Graphic 4384">
            <a:extLst>
              <a:ext uri="{FF2B5EF4-FFF2-40B4-BE49-F238E27FC236}">
                <a16:creationId xmlns:a16="http://schemas.microsoft.com/office/drawing/2014/main" id="{54DC3A10-D4A9-3845-9C17-0B864694AD41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592893" y="4516494"/>
            <a:ext cx="397239" cy="397239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33BECF0D-B59D-5048-9633-C19588DF90C0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212634" y="4844283"/>
            <a:ext cx="396000" cy="396000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191A8417-77EE-964B-BEDC-FFC2D83E13AB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8651195" y="3672590"/>
            <a:ext cx="396000" cy="396000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B80AB331-45D2-0946-97A4-3FEDD0FD5074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1301218" y="3691694"/>
            <a:ext cx="396000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71744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3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9" presetClass="emph" presetSubtype="0" nodeType="after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10" dur="indefinite"/>
                                        <p:tgtEl>
                                          <p:spTgt spid="436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1" dur="indefinite"/>
                                        <p:tgtEl>
                                          <p:spTgt spid="43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5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43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500"/>
                            </p:stCondLst>
                            <p:childTnLst>
                              <p:par>
                                <p:cTn id="17" presetID="9" presetClass="emph" presetSubtype="0" nodeType="after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18" dur="indefinite"/>
                                        <p:tgtEl>
                                          <p:spTgt spid="438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9" dur="indefinite"/>
                                        <p:tgtEl>
                                          <p:spTgt spid="43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5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43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4500"/>
                            </p:stCondLst>
                            <p:childTnLst>
                              <p:par>
                                <p:cTn id="25" presetID="9" presetClass="emph" presetSubtype="0" nodeType="after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26" dur="indefinite"/>
                                        <p:tgtEl>
                                          <p:spTgt spid="439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7" dur="indefinite"/>
                                        <p:tgtEl>
                                          <p:spTgt spid="43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95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43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njb90jW3SW3HaNg8MI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enie QBD_2022">
  <a:themeElements>
    <a:clrScheme name="Genie 2019 V1">
      <a:dk1>
        <a:sysClr val="windowText" lastClr="000000"/>
      </a:dk1>
      <a:lt1>
        <a:sysClr val="window" lastClr="FFFFFF"/>
      </a:lt1>
      <a:dk2>
        <a:srgbClr val="002855"/>
      </a:dk2>
      <a:lt2>
        <a:srgbClr val="0079C1"/>
      </a:lt2>
      <a:accent1>
        <a:srgbClr val="0079C1"/>
      </a:accent1>
      <a:accent2>
        <a:srgbClr val="7C878E"/>
      </a:accent2>
      <a:accent3>
        <a:srgbClr val="C1C6C8"/>
      </a:accent3>
      <a:accent4>
        <a:srgbClr val="000000"/>
      </a:accent4>
      <a:accent5>
        <a:srgbClr val="A07400"/>
      </a:accent5>
      <a:accent6>
        <a:srgbClr val="002855"/>
      </a:accent6>
      <a:hlink>
        <a:srgbClr val="C1C6C8"/>
      </a:hlink>
      <a:folHlink>
        <a:srgbClr val="A074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enie QBD_2022" id="{B0A5B87F-7575-4E3B-A6C6-537402C535D5}" vid="{5355D4FC-832E-4B59-94A5-60921FF75156}"/>
    </a:ext>
  </a:extLst>
</a:theme>
</file>

<file path=ppt/theme/theme2.xml><?xml version="1.0" encoding="utf-8"?>
<a:theme xmlns:a="http://schemas.openxmlformats.org/drawingml/2006/main" name="Blank">
  <a:themeElements>
    <a:clrScheme name="Genie 2019 V1">
      <a:dk1>
        <a:sysClr val="windowText" lastClr="000000"/>
      </a:dk1>
      <a:lt1>
        <a:sysClr val="window" lastClr="FFFFFF"/>
      </a:lt1>
      <a:dk2>
        <a:srgbClr val="002855"/>
      </a:dk2>
      <a:lt2>
        <a:srgbClr val="0079C1"/>
      </a:lt2>
      <a:accent1>
        <a:srgbClr val="0079C1"/>
      </a:accent1>
      <a:accent2>
        <a:srgbClr val="7C878E"/>
      </a:accent2>
      <a:accent3>
        <a:srgbClr val="C1C6C8"/>
      </a:accent3>
      <a:accent4>
        <a:srgbClr val="000000"/>
      </a:accent4>
      <a:accent5>
        <a:srgbClr val="A07400"/>
      </a:accent5>
      <a:accent6>
        <a:srgbClr val="002855"/>
      </a:accent6>
      <a:hlink>
        <a:srgbClr val="C1C6C8"/>
      </a:hlink>
      <a:folHlink>
        <a:srgbClr val="A074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0E3F4AD4DE80B449E19F1E9F4552C67" ma:contentTypeVersion="25" ma:contentTypeDescription="Create a new document." ma:contentTypeScope="" ma:versionID="fd900ad49414dee7069e650daec38c01">
  <xsd:schema xmlns:xsd="http://www.w3.org/2001/XMLSchema" xmlns:xs="http://www.w3.org/2001/XMLSchema" xmlns:p="http://schemas.microsoft.com/office/2006/metadata/properties" xmlns:ns1="http://schemas.microsoft.com/sharepoint/v3" xmlns:ns2="a8a9adf9-c756-4366-b7e7-cdacca637964" xmlns:ns3="a7929fc3-2b74-463f-8c5e-f811cd3f9428" targetNamespace="http://schemas.microsoft.com/office/2006/metadata/properties" ma:root="true" ma:fieldsID="174c583bf3023c7f3d27d6cf84ec6904" ns1:_="" ns2:_="" ns3:_="">
    <xsd:import namespace="http://schemas.microsoft.com/sharepoint/v3"/>
    <xsd:import namespace="a8a9adf9-c756-4366-b7e7-cdacca637964"/>
    <xsd:import namespace="a7929fc3-2b74-463f-8c5e-f811cd3f942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1:_ip_UnifiedCompliancePolicyProperties" minOccurs="0"/>
                <xsd:element ref="ns1:_ip_UnifiedCompliancePolicyUIAction" minOccurs="0"/>
                <xsd:element ref="ns3:SharedWithUsers" minOccurs="0"/>
                <xsd:element ref="ns3:SharedWithDetails" minOccurs="0"/>
                <xsd:element ref="ns2:DateAdded" minOccurs="0"/>
                <xsd:element ref="ns2:Year" minOccurs="0"/>
                <xsd:element ref="ns2:PRTyp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Responsibl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a9adf9-c756-4366-b7e7-cdacca63796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DateAdded" ma:index="22" nillable="true" ma:displayName="Date Added" ma:format="DateTime" ma:internalName="DateAdded">
      <xsd:simpleType>
        <xsd:restriction base="dms:DateTime"/>
      </xsd:simpleType>
    </xsd:element>
    <xsd:element name="Year" ma:index="23" nillable="true" ma:displayName="Year and Month" ma:format="Dropdown" ma:internalName="Year">
      <xsd:simpleType>
        <xsd:restriction base="dms:Text">
          <xsd:maxLength value="255"/>
        </xsd:restriction>
      </xsd:simpleType>
    </xsd:element>
    <xsd:element name="PRType" ma:index="24" nillable="true" ma:displayName="PR Type" ma:description="Type of PR Effort" ma:format="Dropdown" ma:internalName="PRType">
      <xsd:simpleType>
        <xsd:restriction base="dms:Choice">
          <xsd:enumeration value="Pitch"/>
          <xsd:enumeration value="Response"/>
          <xsd:enumeration value="Delivery Story"/>
          <xsd:enumeration value="Application Story"/>
        </xsd:restriction>
      </xsd:simpleType>
    </xsd:element>
    <xsd:element name="MediaLengthInSeconds" ma:index="25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7" nillable="true" ma:taxonomy="true" ma:internalName="lcf76f155ced4ddcb4097134ff3c332f" ma:taxonomyFieldName="MediaServiceImageTags" ma:displayName="Image Tags" ma:readOnly="false" ma:fieldId="{5cf76f15-5ced-4ddc-b409-7134ff3c332f}" ma:taxonomyMulti="true" ma:sspId="e3c20cf5-3ef7-4c08-89b4-4c316c7a935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9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Responsible" ma:index="31" nillable="true" ma:displayName="Responsible" ma:format="Dropdown" ma:list="UserInfo" ma:SharePointGroup="0" ma:internalName="Responsibl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929fc3-2b74-463f-8c5e-f811cd3f9428" elementFormDefault="qualified">
    <xsd:import namespace="http://schemas.microsoft.com/office/2006/documentManagement/types"/>
    <xsd:import namespace="http://schemas.microsoft.com/office/infopath/2007/PartnerControls"/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8" nillable="true" ma:displayName="Taxonomy Catch All Column" ma:hidden="true" ma:list="{bac1423d-102a-425f-a7c7-cc4e92b1b517}" ma:internalName="TaxCatchAll" ma:showField="CatchAllData" ma:web="a7929fc3-2b74-463f-8c5e-f811cd3f942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PRType xmlns="a8a9adf9-c756-4366-b7e7-cdacca637964" xsi:nil="true"/>
    <_ip_UnifiedCompliancePolicyProperties xmlns="http://schemas.microsoft.com/sharepoint/v3" xsi:nil="true"/>
    <Year xmlns="a8a9adf9-c756-4366-b7e7-cdacca637964" xsi:nil="true"/>
    <DateAdded xmlns="a8a9adf9-c756-4366-b7e7-cdacca637964" xsi:nil="true"/>
    <lcf76f155ced4ddcb4097134ff3c332f xmlns="a8a9adf9-c756-4366-b7e7-cdacca637964">
      <Terms xmlns="http://schemas.microsoft.com/office/infopath/2007/PartnerControls"/>
    </lcf76f155ced4ddcb4097134ff3c332f>
    <TaxCatchAll xmlns="a7929fc3-2b74-463f-8c5e-f811cd3f9428" xsi:nil="true"/>
    <SharedWithUsers xmlns="a7929fc3-2b74-463f-8c5e-f811cd3f9428">
      <UserInfo>
        <DisplayName>Hovey, Keith</DisplayName>
        <AccountId>41</AccountId>
        <AccountType/>
      </UserInfo>
      <UserInfo>
        <DisplayName>Henri, Judith</DisplayName>
        <AccountId>22</AccountId>
        <AccountType/>
      </UserInfo>
      <UserInfo>
        <DisplayName>Kopac, Amalija</DisplayName>
        <AccountId>468</AccountId>
        <AccountType/>
      </UserInfo>
    </SharedWithUsers>
    <Responsible xmlns="a8a9adf9-c756-4366-b7e7-cdacca637964">
      <UserInfo>
        <DisplayName/>
        <AccountId xsi:nil="true"/>
        <AccountType/>
      </UserInfo>
    </Responsible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2E4CE37-F804-45B6-9953-FB7B058CB103}"/>
</file>

<file path=customXml/itemProps2.xml><?xml version="1.0" encoding="utf-8"?>
<ds:datastoreItem xmlns:ds="http://schemas.openxmlformats.org/officeDocument/2006/customXml" ds:itemID="{954F0EF1-9D64-48D3-96FB-5728B26859D5}">
  <ds:schemaRefs>
    <ds:schemaRef ds:uri="http://purl.org/dc/elements/1.1/"/>
    <ds:schemaRef ds:uri="a8a9adf9-c756-4366-b7e7-cdacca637964"/>
    <ds:schemaRef ds:uri="http://schemas.microsoft.com/sharepoint/v3"/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a7929fc3-2b74-463f-8c5e-f811cd3f9428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BB609FF0-EAF5-4385-A62E-68E9FFEAE68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3</TotalTime>
  <Words>4153</Words>
  <Application>Microsoft Office PowerPoint</Application>
  <PresentationFormat>Widescreen</PresentationFormat>
  <Paragraphs>642</Paragraphs>
  <Slides>55</Slides>
  <Notes>41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55</vt:i4>
      </vt:variant>
    </vt:vector>
  </HeadingPairs>
  <TitlesOfParts>
    <vt:vector size="65" baseType="lpstr">
      <vt:lpstr>ＭＳ Ｐゴシック</vt:lpstr>
      <vt:lpstr>Arial</vt:lpstr>
      <vt:lpstr>Arial Narrow</vt:lpstr>
      <vt:lpstr>Calibri</vt:lpstr>
      <vt:lpstr>Roboto Bold</vt:lpstr>
      <vt:lpstr>Times</vt:lpstr>
      <vt:lpstr>Wingdings</vt:lpstr>
      <vt:lpstr>Genie QBD_2022</vt:lpstr>
      <vt:lpstr>Blank</vt:lpstr>
      <vt:lpstr>think-cell Slide</vt:lpstr>
      <vt:lpstr>História de Genie</vt:lpstr>
      <vt:lpstr>Índice</vt:lpstr>
      <vt:lpstr>Genie® 55 años de calidad </vt:lpstr>
      <vt:lpstr>55 años de calidad: La Historia de Genie</vt:lpstr>
      <vt:lpstr>Acerca de Genie </vt:lpstr>
      <vt:lpstr>Calidad en la que puede confiar</vt:lpstr>
      <vt:lpstr>Avanzando juntos</vt:lpstr>
      <vt:lpstr>Gama de productos</vt:lpstr>
      <vt:lpstr>Presencia de fabricación global</vt:lpstr>
      <vt:lpstr>Genie - Una marca Terex</vt:lpstr>
      <vt:lpstr>Distinciones de Genie </vt:lpstr>
      <vt:lpstr>El Sistema Operativo de Genie</vt:lpstr>
      <vt:lpstr>Quality by Design </vt:lpstr>
      <vt:lpstr>Apresentação do PowerPoint</vt:lpstr>
      <vt:lpstr>Quality By Design en todo lo que Genie hac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Genie</vt:lpstr>
      <vt:lpstr>Apresentação do PowerPoint</vt:lpstr>
      <vt:lpstr>Apresentação do PowerPoint</vt:lpstr>
      <vt:lpstr>Quality by Design Implementación en Genie</vt:lpstr>
      <vt:lpstr>Aliados Genie®</vt:lpstr>
      <vt:lpstr>Filosofía de cooperación</vt:lpstr>
      <vt:lpstr>Equipo Genie</vt:lpstr>
      <vt:lpstr>Centrado en usted</vt:lpstr>
      <vt:lpstr>Le apoyamos</vt:lpstr>
      <vt:lpstr>Cómo le ayudamos a tener éxito</vt:lpstr>
      <vt:lpstr>Innovadores en el sector </vt:lpstr>
      <vt:lpstr>Esfuerzo para un éxito compartido</vt:lpstr>
      <vt:lpstr>Demostrar fiabilidad</vt:lpstr>
      <vt:lpstr>Apresentação do PowerPoint</vt:lpstr>
      <vt:lpstr>Productos Genie®</vt:lpstr>
      <vt:lpstr>Gama de productos</vt:lpstr>
      <vt:lpstr>Aplicaciones destacadas – Plataformas de brazo</vt:lpstr>
      <vt:lpstr>Aplicaciones destacadas – Plataformas de tijera</vt:lpstr>
      <vt:lpstr>Aplicaciones destacadas – Manipuladores telescópicos</vt:lpstr>
      <vt:lpstr>Aplicaciones destacadas – Elevadores de material</vt:lpstr>
      <vt:lpstr>Aplicaciones destacadas – Elevadores de personas</vt:lpstr>
      <vt:lpstr>Plataformas de tijera</vt:lpstr>
      <vt:lpstr>Plataformas articuladas</vt:lpstr>
      <vt:lpstr>Plataformas telescópicas</vt:lpstr>
      <vt:lpstr>Manipuladores telescópicos (ANSI)</vt:lpstr>
      <vt:lpstr>Elevadores de material</vt:lpstr>
      <vt:lpstr>Elevadores de Personas</vt:lpstr>
      <vt:lpstr>Repuestos y servicios Genie®</vt:lpstr>
      <vt:lpstr>Lift Connect</vt:lpstr>
      <vt:lpstr>Repuestos y servicio en todo el mundo</vt:lpstr>
      <vt:lpstr>Almacen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tent</dc:title>
  <dc:creator>George, Nicole</dc:creator>
  <cp:lastModifiedBy>Picini, Bruno</cp:lastModifiedBy>
  <cp:revision>7</cp:revision>
  <dcterms:created xsi:type="dcterms:W3CDTF">2022-02-24T15:47:39Z</dcterms:created>
  <dcterms:modified xsi:type="dcterms:W3CDTF">2022-08-22T18:34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0E3F4AD4DE80B449E19F1E9F4552C67</vt:lpwstr>
  </property>
  <property fmtid="{D5CDD505-2E9C-101B-9397-08002B2CF9AE}" pid="3" name="MediaServiceImageTags">
    <vt:lpwstr/>
  </property>
</Properties>
</file>